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7.xml" ContentType="application/vnd.openxmlformats-officedocument.presentationml.tags+xml"/>
  <Override PartName="/ppt/notesSlides/notesSlide24.xml" ContentType="application/vnd.openxmlformats-officedocument.presentationml.notesSlide+xml"/>
  <Override PartName="/ppt/charts/chart1.xml" ContentType="application/vnd.openxmlformats-officedocument.drawingml.chart+xml"/>
  <Override PartName="/ppt/notesSlides/notesSlide25.xml" ContentType="application/vnd.openxmlformats-officedocument.presentationml.notesSlide+xml"/>
  <Override PartName="/ppt/charts/chart2.xml" ContentType="application/vnd.openxmlformats-officedocument.drawingml.chart+xml"/>
  <Override PartName="/ppt/notesSlides/notesSlide2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27.xml" ContentType="application/vnd.openxmlformats-officedocument.presentationml.notesSlide+xml"/>
  <Override PartName="/ppt/charts/chart5.xml" ContentType="application/vnd.openxmlformats-officedocument.drawingml.chart+xml"/>
  <Override PartName="/ppt/notesSlides/notesSlide28.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Slides/notesSlide29.xml" ContentType="application/vnd.openxmlformats-officedocument.presentationml.notesSlide+xml"/>
  <Override PartName="/ppt/charts/chart10.xml" ContentType="application/vnd.openxmlformats-officedocument.drawingml.chart+xml"/>
  <Override PartName="/ppt/notesSlides/notesSlide30.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1.xml" ContentType="application/vnd.openxmlformats-officedocument.presentationml.notesSlide+xml"/>
  <Override PartName="/ppt/charts/chart13.xml" ContentType="application/vnd.openxmlformats-officedocument.drawingml.chart+xml"/>
  <Override PartName="/ppt/notesSlides/notesSlide32.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notesSlides/notesSlide33.xml" ContentType="application/vnd.openxmlformats-officedocument.presentationml.notesSlide+xml"/>
  <Override PartName="/ppt/charts/chart18.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4.xml" ContentType="application/vnd.openxmlformats-officedocument.presentationml.notesSlide+xml"/>
  <Override PartName="/ppt/charts/chart19.xml" ContentType="application/vnd.openxmlformats-officedocument.drawingml.chart+xml"/>
  <Override PartName="/ppt/notesSlides/notesSlide35.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notesSlides/notesSlide36.xml" ContentType="application/vnd.openxmlformats-officedocument.presentationml.notesSlide+xml"/>
  <Override PartName="/ppt/charts/chart24.xml" ContentType="application/vnd.openxmlformats-officedocument.drawingml.chart+xml"/>
  <Override PartName="/ppt/notesSlides/notesSlide37.xml" ContentType="application/vnd.openxmlformats-officedocument.presentationml.notesSlide+xml"/>
  <Override PartName="/ppt/charts/chart25.xml" ContentType="application/vnd.openxmlformats-officedocument.drawingml.chart+xml"/>
  <Override PartName="/ppt/notesSlides/notesSlide38.xml" ContentType="application/vnd.openxmlformats-officedocument.presentationml.notesSlide+xml"/>
  <Override PartName="/ppt/charts/chart26.xml" ContentType="application/vnd.openxmlformats-officedocument.drawingml.chart+xml"/>
  <Override PartName="/ppt/notesSlides/notesSlide39.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heme/themeOverride1.xml" ContentType="application/vnd.openxmlformats-officedocument.themeOverride+xml"/>
  <Override PartName="/ppt/notesSlides/notesSlide40.xml" ContentType="application/vnd.openxmlformats-officedocument.presentationml.notesSlide+xml"/>
  <Override PartName="/ppt/charts/chart31.xml" ContentType="application/vnd.openxmlformats-officedocument.drawingml.chart+xml"/>
  <Override PartName="/ppt/notesSlides/notesSlide41.xml" ContentType="application/vnd.openxmlformats-officedocument.presentationml.notesSlide+xml"/>
  <Override PartName="/ppt/charts/chart32.xml" ContentType="application/vnd.openxmlformats-officedocument.drawingml.chart+xml"/>
  <Override PartName="/ppt/notesSlides/notesSlide4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notesSlides/notesSlide43.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notesSlides/notesSlide44.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5.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notesSlides/notesSlide46.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notesSlides/notesSlide47.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notesSlides/notesSlide48.xml" ContentType="application/vnd.openxmlformats-officedocument.presentationml.notesSlide+xml"/>
  <Override PartName="/ppt/charts/chart45.xml" ContentType="application/vnd.openxmlformats-officedocument.drawingml.chart+xml"/>
  <Override PartName="/ppt/notesSlides/notesSlide49.xml" ContentType="application/vnd.openxmlformats-officedocument.presentationml.notesSlide+xml"/>
  <Override PartName="/ppt/charts/chart46.xml" ContentType="application/vnd.openxmlformats-officedocument.drawingml.chart+xml"/>
  <Override PartName="/ppt/theme/themeOverride2.xml" ContentType="application/vnd.openxmlformats-officedocument.themeOverride+xml"/>
  <Override PartName="/ppt/charts/chart47.xml" ContentType="application/vnd.openxmlformats-officedocument.drawingml.chart+xml"/>
  <Override PartName="/ppt/charts/style3.xml" ContentType="application/vnd.ms-office.chartstyle+xml"/>
  <Override PartName="/ppt/charts/colors3.xml" ContentType="application/vnd.ms-office.chartcolorstyle+xml"/>
  <Override PartName="/ppt/charts/chart48.xml" ContentType="application/vnd.openxmlformats-officedocument.drawingml.chart+xml"/>
  <Override PartName="/ppt/charts/style4.xml" ContentType="application/vnd.ms-office.chartstyle+xml"/>
  <Override PartName="/ppt/charts/colors4.xml" ContentType="application/vnd.ms-office.chartcolorstyle+xml"/>
  <Override PartName="/ppt/charts/chart49.xml" ContentType="application/vnd.openxmlformats-officedocument.drawingml.chart+xml"/>
  <Override PartName="/ppt/charts/style5.xml" ContentType="application/vnd.ms-office.chartstyle+xml"/>
  <Override PartName="/ppt/charts/colors5.xml" ContentType="application/vnd.ms-office.chartcolorstyle+xml"/>
  <Override PartName="/ppt/charts/chart50.xml" ContentType="application/vnd.openxmlformats-officedocument.drawingml.chart+xml"/>
  <Override PartName="/ppt/charts/style6.xml" ContentType="application/vnd.ms-office.chartstyle+xml"/>
  <Override PartName="/ppt/charts/colors6.xml" ContentType="application/vnd.ms-office.chartcolorstyle+xml"/>
  <Override PartName="/ppt/charts/chart51.xml" ContentType="application/vnd.openxmlformats-officedocument.drawingml.chart+xml"/>
  <Override PartName="/ppt/charts/style7.xml" ContentType="application/vnd.ms-office.chartstyle+xml"/>
  <Override PartName="/ppt/charts/colors7.xml" ContentType="application/vnd.ms-office.chartcolorstyle+xml"/>
  <Override PartName="/ppt/charts/chart52.xml" ContentType="application/vnd.openxmlformats-officedocument.drawingml.chart+xml"/>
  <Override PartName="/ppt/charts/style8.xml" ContentType="application/vnd.ms-office.chartstyle+xml"/>
  <Override PartName="/ppt/charts/colors8.xml" ContentType="application/vnd.ms-office.chartcolorstyle+xml"/>
  <Override PartName="/ppt/charts/chart53.xml" ContentType="application/vnd.openxmlformats-officedocument.drawingml.chart+xml"/>
  <Override PartName="/ppt/charts/style9.xml" ContentType="application/vnd.ms-office.chartstyle+xml"/>
  <Override PartName="/ppt/charts/colors9.xml" ContentType="application/vnd.ms-office.chartcolorstyle+xml"/>
  <Override PartName="/ppt/charts/chart54.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55.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56.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50.xml" ContentType="application/vnd.openxmlformats-officedocument.presentationml.notesSlide+xml"/>
  <Override PartName="/ppt/charts/chart57.xml" ContentType="application/vnd.openxmlformats-officedocument.drawingml.chart+xml"/>
  <Override PartName="/ppt/notesSlides/notesSlide51.xml" ContentType="application/vnd.openxmlformats-officedocument.presentationml.notesSlide+xml"/>
  <Override PartName="/ppt/charts/chart58.xml" ContentType="application/vnd.openxmlformats-officedocument.drawingml.chart+xml"/>
  <Override PartName="/ppt/notesSlides/notesSlide52.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notesSlides/notesSlide53.xml" ContentType="application/vnd.openxmlformats-officedocument.presentationml.notesSlide+xml"/>
  <Override PartName="/ppt/charts/chart61.xml" ContentType="application/vnd.openxmlformats-officedocument.drawingml.chart+xml"/>
  <Override PartName="/ppt/notesSlides/notesSlide54.xml" ContentType="application/vnd.openxmlformats-officedocument.presentationml.notesSlide+xml"/>
  <Override PartName="/ppt/charts/chart62.xml" ContentType="application/vnd.openxmlformats-officedocument.drawingml.chart+xml"/>
  <Override PartName="/ppt/notesSlides/notesSlide55.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notesSlides/notesSlide56.xml" ContentType="application/vnd.openxmlformats-officedocument.presentationml.notesSlide+xml"/>
  <Override PartName="/ppt/charts/chart65.xml" ContentType="application/vnd.openxmlformats-officedocument.drawingml.chart+xml"/>
  <Override PartName="/ppt/notesSlides/notesSlide57.xml" ContentType="application/vnd.openxmlformats-officedocument.presentationml.notesSlide+xml"/>
  <Override PartName="/ppt/charts/chart66.xml" ContentType="application/vnd.openxmlformats-officedocument.drawingml.chart+xml"/>
  <Override PartName="/ppt/notesSlides/notesSlide58.xml" ContentType="application/vnd.openxmlformats-officedocument.presentationml.notesSlide+xml"/>
  <Override PartName="/ppt/charts/chart67.xml" ContentType="application/vnd.openxmlformats-officedocument.drawingml.chart+xml"/>
  <Override PartName="/ppt/notesSlides/notesSlide59.xml" ContentType="application/vnd.openxmlformats-officedocument.presentationml.notesSlide+xml"/>
  <Override PartName="/ppt/charts/chart68.xml" ContentType="application/vnd.openxmlformats-officedocument.drawingml.chart+xml"/>
  <Override PartName="/ppt/notesSlides/notesSlide60.xml" ContentType="application/vnd.openxmlformats-officedocument.presentationml.notesSlide+xml"/>
  <Override PartName="/ppt/charts/chart69.xml" ContentType="application/vnd.openxmlformats-officedocument.drawingml.chart+xml"/>
  <Override PartName="/ppt/notesSlides/notesSlide61.xml" ContentType="application/vnd.openxmlformats-officedocument.presentationml.notesSlide+xml"/>
  <Override PartName="/ppt/charts/chart70.xml" ContentType="application/vnd.openxmlformats-officedocument.drawingml.chart+xml"/>
  <Override PartName="/ppt/notesSlides/notesSlide62.xml" ContentType="application/vnd.openxmlformats-officedocument.presentationml.notesSlide+xml"/>
  <Override PartName="/ppt/charts/chart71.xml" ContentType="application/vnd.openxmlformats-officedocument.drawingml.chart+xml"/>
  <Override PartName="/ppt/notesSlides/notesSlide63.xml" ContentType="application/vnd.openxmlformats-officedocument.presentationml.notesSlide+xml"/>
  <Override PartName="/ppt/charts/chart72.xml" ContentType="application/vnd.openxmlformats-officedocument.drawingml.chart+xml"/>
  <Override PartName="/ppt/notesSlides/notesSlide64.xml" ContentType="application/vnd.openxmlformats-officedocument.presentationml.notesSlide+xml"/>
  <Override PartName="/ppt/charts/chart73.xml" ContentType="application/vnd.openxmlformats-officedocument.drawingml.chart+xml"/>
  <Override PartName="/ppt/notesSlides/notesSlide65.xml" ContentType="application/vnd.openxmlformats-officedocument.presentationml.notesSlide+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7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charts/chart79.xml" ContentType="application/vnd.openxmlformats-officedocument.drawingml.chart+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charts/chart80.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81.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82.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70.xml" ContentType="application/vnd.openxmlformats-officedocument.presentationml.notesSlide+xml"/>
  <Override PartName="/ppt/charts/chart83.xml" ContentType="application/vnd.openxmlformats-officedocument.drawingml.chart+xml"/>
  <Override PartName="/ppt/tags/tag112.xml" ContentType="application/vnd.openxmlformats-officedocument.presentationml.tags+xml"/>
  <Override PartName="/ppt/notesSlides/notesSlide171.xml" ContentType="application/vnd.openxmlformats-officedocument.presentationml.notesSlide+xml"/>
  <Override PartName="/ppt/charts/chart84.xml" ContentType="application/vnd.openxmlformats-officedocument.drawingml.chart+xml"/>
  <Override PartName="/ppt/tags/tag113.xml" ContentType="application/vnd.openxmlformats-officedocument.presentationml.tags+xml"/>
  <Override PartName="/ppt/tags/tag114.xml" ContentType="application/vnd.openxmlformats-officedocument.presentationml.tags+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charts/chart85.xml" ContentType="application/vnd.openxmlformats-officedocument.drawingml.chart+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9" r:id="rId1"/>
  </p:sldMasterIdLst>
  <p:notesMasterIdLst>
    <p:notesMasterId r:id="rId319"/>
  </p:notesMasterIdLst>
  <p:handoutMasterIdLst>
    <p:handoutMasterId r:id="rId320"/>
  </p:handoutMasterIdLst>
  <p:sldIdLst>
    <p:sldId id="671" r:id="rId2"/>
    <p:sldId id="668" r:id="rId3"/>
    <p:sldId id="669" r:id="rId4"/>
    <p:sldId id="779" r:id="rId5"/>
    <p:sldId id="780" r:id="rId6"/>
    <p:sldId id="781" r:id="rId7"/>
    <p:sldId id="475" r:id="rId8"/>
    <p:sldId id="951" r:id="rId9"/>
    <p:sldId id="698" r:id="rId10"/>
    <p:sldId id="440" r:id="rId11"/>
    <p:sldId id="441" r:id="rId12"/>
    <p:sldId id="442" r:id="rId13"/>
    <p:sldId id="443" r:id="rId14"/>
    <p:sldId id="444" r:id="rId15"/>
    <p:sldId id="445" r:id="rId16"/>
    <p:sldId id="446" r:id="rId17"/>
    <p:sldId id="581" r:id="rId18"/>
    <p:sldId id="582" r:id="rId19"/>
    <p:sldId id="583" r:id="rId20"/>
    <p:sldId id="585" r:id="rId21"/>
    <p:sldId id="447" r:id="rId22"/>
    <p:sldId id="448" r:id="rId23"/>
    <p:sldId id="449" r:id="rId24"/>
    <p:sldId id="450" r:id="rId25"/>
    <p:sldId id="451" r:id="rId26"/>
    <p:sldId id="452" r:id="rId27"/>
    <p:sldId id="453" r:id="rId28"/>
    <p:sldId id="454" r:id="rId29"/>
    <p:sldId id="455" r:id="rId30"/>
    <p:sldId id="456" r:id="rId31"/>
    <p:sldId id="457" r:id="rId32"/>
    <p:sldId id="458" r:id="rId33"/>
    <p:sldId id="459" r:id="rId34"/>
    <p:sldId id="460" r:id="rId35"/>
    <p:sldId id="461" r:id="rId36"/>
    <p:sldId id="462" r:id="rId37"/>
    <p:sldId id="463" r:id="rId38"/>
    <p:sldId id="468" r:id="rId39"/>
    <p:sldId id="472" r:id="rId40"/>
    <p:sldId id="473" r:id="rId41"/>
    <p:sldId id="474" r:id="rId42"/>
    <p:sldId id="587" r:id="rId43"/>
    <p:sldId id="588" r:id="rId44"/>
    <p:sldId id="589" r:id="rId45"/>
    <p:sldId id="590" r:id="rId46"/>
    <p:sldId id="591" r:id="rId47"/>
    <p:sldId id="592" r:id="rId48"/>
    <p:sldId id="593" r:id="rId49"/>
    <p:sldId id="594" r:id="rId50"/>
    <p:sldId id="595" r:id="rId51"/>
    <p:sldId id="674" r:id="rId52"/>
    <p:sldId id="535" r:id="rId53"/>
    <p:sldId id="536" r:id="rId54"/>
    <p:sldId id="537" r:id="rId55"/>
    <p:sldId id="538" r:id="rId56"/>
    <p:sldId id="539" r:id="rId57"/>
    <p:sldId id="540" r:id="rId58"/>
    <p:sldId id="541" r:id="rId59"/>
    <p:sldId id="523" r:id="rId60"/>
    <p:sldId id="524" r:id="rId61"/>
    <p:sldId id="525" r:id="rId62"/>
    <p:sldId id="526" r:id="rId63"/>
    <p:sldId id="527" r:id="rId64"/>
    <p:sldId id="528" r:id="rId65"/>
    <p:sldId id="529" r:id="rId66"/>
    <p:sldId id="530" r:id="rId67"/>
    <p:sldId id="531" r:id="rId68"/>
    <p:sldId id="532" r:id="rId69"/>
    <p:sldId id="533" r:id="rId70"/>
    <p:sldId id="534" r:id="rId71"/>
    <p:sldId id="509" r:id="rId72"/>
    <p:sldId id="510" r:id="rId73"/>
    <p:sldId id="511" r:id="rId74"/>
    <p:sldId id="675" r:id="rId75"/>
    <p:sldId id="512" r:id="rId76"/>
    <p:sldId id="513" r:id="rId77"/>
    <p:sldId id="514" r:id="rId78"/>
    <p:sldId id="515" r:id="rId79"/>
    <p:sldId id="518" r:id="rId80"/>
    <p:sldId id="519" r:id="rId81"/>
    <p:sldId id="520" r:id="rId82"/>
    <p:sldId id="522" r:id="rId83"/>
    <p:sldId id="516" r:id="rId84"/>
    <p:sldId id="517" r:id="rId85"/>
    <p:sldId id="542" r:id="rId86"/>
    <p:sldId id="544" r:id="rId87"/>
    <p:sldId id="545" r:id="rId88"/>
    <p:sldId id="546" r:id="rId89"/>
    <p:sldId id="547" r:id="rId90"/>
    <p:sldId id="548" r:id="rId91"/>
    <p:sldId id="549" r:id="rId92"/>
    <p:sldId id="550" r:id="rId93"/>
    <p:sldId id="551" r:id="rId94"/>
    <p:sldId id="552" r:id="rId95"/>
    <p:sldId id="553" r:id="rId96"/>
    <p:sldId id="554" r:id="rId97"/>
    <p:sldId id="555" r:id="rId98"/>
    <p:sldId id="556" r:id="rId99"/>
    <p:sldId id="557" r:id="rId100"/>
    <p:sldId id="621" r:id="rId101"/>
    <p:sldId id="623" r:id="rId102"/>
    <p:sldId id="624" r:id="rId103"/>
    <p:sldId id="625" r:id="rId104"/>
    <p:sldId id="626" r:id="rId105"/>
    <p:sldId id="627" r:id="rId106"/>
    <p:sldId id="628" r:id="rId107"/>
    <p:sldId id="629" r:id="rId108"/>
    <p:sldId id="630" r:id="rId109"/>
    <p:sldId id="558" r:id="rId110"/>
    <p:sldId id="1596" r:id="rId111"/>
    <p:sldId id="797" r:id="rId112"/>
    <p:sldId id="686" r:id="rId113"/>
    <p:sldId id="687" r:id="rId114"/>
    <p:sldId id="688" r:id="rId115"/>
    <p:sldId id="689" r:id="rId116"/>
    <p:sldId id="479" r:id="rId117"/>
    <p:sldId id="480" r:id="rId118"/>
    <p:sldId id="481" r:id="rId119"/>
    <p:sldId id="482" r:id="rId120"/>
    <p:sldId id="483" r:id="rId121"/>
    <p:sldId id="950" r:id="rId122"/>
    <p:sldId id="485" r:id="rId123"/>
    <p:sldId id="486" r:id="rId124"/>
    <p:sldId id="487" r:id="rId125"/>
    <p:sldId id="488" r:id="rId126"/>
    <p:sldId id="489" r:id="rId127"/>
    <p:sldId id="667" r:id="rId128"/>
    <p:sldId id="491" r:id="rId129"/>
    <p:sldId id="492" r:id="rId130"/>
    <p:sldId id="493" r:id="rId131"/>
    <p:sldId id="494" r:id="rId132"/>
    <p:sldId id="495" r:id="rId133"/>
    <p:sldId id="499" r:id="rId134"/>
    <p:sldId id="497" r:id="rId135"/>
    <p:sldId id="498" r:id="rId136"/>
    <p:sldId id="586" r:id="rId137"/>
    <p:sldId id="584" r:id="rId138"/>
    <p:sldId id="735" r:id="rId139"/>
    <p:sldId id="736" r:id="rId140"/>
    <p:sldId id="737" r:id="rId141"/>
    <p:sldId id="738" r:id="rId142"/>
    <p:sldId id="739" r:id="rId143"/>
    <p:sldId id="741" r:id="rId144"/>
    <p:sldId id="742" r:id="rId145"/>
    <p:sldId id="743" r:id="rId146"/>
    <p:sldId id="744" r:id="rId147"/>
    <p:sldId id="745" r:id="rId148"/>
    <p:sldId id="746" r:id="rId149"/>
    <p:sldId id="747" r:id="rId150"/>
    <p:sldId id="748" r:id="rId151"/>
    <p:sldId id="749" r:id="rId152"/>
    <p:sldId id="750" r:id="rId153"/>
    <p:sldId id="751" r:id="rId154"/>
    <p:sldId id="752" r:id="rId155"/>
    <p:sldId id="754" r:id="rId156"/>
    <p:sldId id="755" r:id="rId157"/>
    <p:sldId id="756" r:id="rId158"/>
    <p:sldId id="757" r:id="rId159"/>
    <p:sldId id="758" r:id="rId160"/>
    <p:sldId id="759" r:id="rId161"/>
    <p:sldId id="760" r:id="rId162"/>
    <p:sldId id="683" r:id="rId163"/>
    <p:sldId id="685" r:id="rId164"/>
    <p:sldId id="684" r:id="rId165"/>
    <p:sldId id="560" r:id="rId166"/>
    <p:sldId id="561" r:id="rId167"/>
    <p:sldId id="562" r:id="rId168"/>
    <p:sldId id="563" r:id="rId169"/>
    <p:sldId id="571" r:id="rId170"/>
    <p:sldId id="564" r:id="rId171"/>
    <p:sldId id="565" r:id="rId172"/>
    <p:sldId id="566" r:id="rId173"/>
    <p:sldId id="568" r:id="rId174"/>
    <p:sldId id="569" r:id="rId175"/>
    <p:sldId id="572" r:id="rId176"/>
    <p:sldId id="573" r:id="rId177"/>
    <p:sldId id="574" r:id="rId178"/>
    <p:sldId id="575" r:id="rId179"/>
    <p:sldId id="576" r:id="rId180"/>
    <p:sldId id="577" r:id="rId181"/>
    <p:sldId id="578" r:id="rId182"/>
    <p:sldId id="579" r:id="rId183"/>
    <p:sldId id="596" r:id="rId184"/>
    <p:sldId id="597" r:id="rId185"/>
    <p:sldId id="598" r:id="rId186"/>
    <p:sldId id="599" r:id="rId187"/>
    <p:sldId id="600" r:id="rId188"/>
    <p:sldId id="601" r:id="rId189"/>
    <p:sldId id="602" r:id="rId190"/>
    <p:sldId id="603" r:id="rId191"/>
    <p:sldId id="604" r:id="rId192"/>
    <p:sldId id="605" r:id="rId193"/>
    <p:sldId id="606" r:id="rId194"/>
    <p:sldId id="607" r:id="rId195"/>
    <p:sldId id="608" r:id="rId196"/>
    <p:sldId id="609" r:id="rId197"/>
    <p:sldId id="610" r:id="rId198"/>
    <p:sldId id="611" r:id="rId199"/>
    <p:sldId id="612" r:id="rId200"/>
    <p:sldId id="613" r:id="rId201"/>
    <p:sldId id="614" r:id="rId202"/>
    <p:sldId id="615" r:id="rId203"/>
    <p:sldId id="616" r:id="rId204"/>
    <p:sldId id="690" r:id="rId205"/>
    <p:sldId id="949" r:id="rId206"/>
    <p:sldId id="617" r:id="rId207"/>
    <p:sldId id="618" r:id="rId208"/>
    <p:sldId id="619" r:id="rId209"/>
    <p:sldId id="620" r:id="rId210"/>
    <p:sldId id="680" r:id="rId211"/>
    <p:sldId id="765" r:id="rId212"/>
    <p:sldId id="672" r:id="rId213"/>
    <p:sldId id="795" r:id="rId214"/>
    <p:sldId id="281" r:id="rId215"/>
    <p:sldId id="282" r:id="rId216"/>
    <p:sldId id="266" r:id="rId217"/>
    <p:sldId id="267" r:id="rId218"/>
    <p:sldId id="270" r:id="rId219"/>
    <p:sldId id="273" r:id="rId220"/>
    <p:sldId id="283" r:id="rId221"/>
    <p:sldId id="271" r:id="rId222"/>
    <p:sldId id="272" r:id="rId223"/>
    <p:sldId id="284" r:id="rId224"/>
    <p:sldId id="767" r:id="rId225"/>
    <p:sldId id="769" r:id="rId226"/>
    <p:sldId id="796" r:id="rId227"/>
    <p:sldId id="770" r:id="rId228"/>
    <p:sldId id="771" r:id="rId229"/>
    <p:sldId id="772" r:id="rId230"/>
    <p:sldId id="773" r:id="rId231"/>
    <p:sldId id="774" r:id="rId232"/>
    <p:sldId id="775" r:id="rId233"/>
    <p:sldId id="766" r:id="rId234"/>
    <p:sldId id="776" r:id="rId235"/>
    <p:sldId id="777" r:id="rId236"/>
    <p:sldId id="782" r:id="rId237"/>
    <p:sldId id="783" r:id="rId238"/>
    <p:sldId id="787" r:id="rId239"/>
    <p:sldId id="294" r:id="rId240"/>
    <p:sldId id="788" r:id="rId241"/>
    <p:sldId id="789" r:id="rId242"/>
    <p:sldId id="790" r:id="rId243"/>
    <p:sldId id="791" r:id="rId244"/>
    <p:sldId id="792" r:id="rId245"/>
    <p:sldId id="363" r:id="rId246"/>
    <p:sldId id="799" r:id="rId247"/>
    <p:sldId id="800" r:id="rId248"/>
    <p:sldId id="784" r:id="rId249"/>
    <p:sldId id="794" r:id="rId250"/>
    <p:sldId id="691" r:id="rId251"/>
    <p:sldId id="692" r:id="rId252"/>
    <p:sldId id="693" r:id="rId253"/>
    <p:sldId id="694" r:id="rId254"/>
    <p:sldId id="695" r:id="rId255"/>
    <p:sldId id="696" r:id="rId256"/>
    <p:sldId id="697" r:id="rId257"/>
    <p:sldId id="699" r:id="rId258"/>
    <p:sldId id="700" r:id="rId259"/>
    <p:sldId id="701" r:id="rId260"/>
    <p:sldId id="703" r:id="rId261"/>
    <p:sldId id="704" r:id="rId262"/>
    <p:sldId id="705" r:id="rId263"/>
    <p:sldId id="706" r:id="rId264"/>
    <p:sldId id="707" r:id="rId265"/>
    <p:sldId id="708" r:id="rId266"/>
    <p:sldId id="709" r:id="rId267"/>
    <p:sldId id="710" r:id="rId268"/>
    <p:sldId id="711" r:id="rId269"/>
    <p:sldId id="712" r:id="rId270"/>
    <p:sldId id="713" r:id="rId271"/>
    <p:sldId id="715" r:id="rId272"/>
    <p:sldId id="716" r:id="rId273"/>
    <p:sldId id="717" r:id="rId274"/>
    <p:sldId id="718" r:id="rId275"/>
    <p:sldId id="719" r:id="rId276"/>
    <p:sldId id="720" r:id="rId277"/>
    <p:sldId id="721" r:id="rId278"/>
    <p:sldId id="722" r:id="rId279"/>
    <p:sldId id="723" r:id="rId280"/>
    <p:sldId id="724" r:id="rId281"/>
    <p:sldId id="725" r:id="rId282"/>
    <p:sldId id="726" r:id="rId283"/>
    <p:sldId id="727" r:id="rId284"/>
    <p:sldId id="728" r:id="rId285"/>
    <p:sldId id="729" r:id="rId286"/>
    <p:sldId id="730" r:id="rId287"/>
    <p:sldId id="731" r:id="rId288"/>
    <p:sldId id="732" r:id="rId289"/>
    <p:sldId id="733" r:id="rId290"/>
    <p:sldId id="734" r:id="rId291"/>
    <p:sldId id="801" r:id="rId292"/>
    <p:sldId id="948" r:id="rId293"/>
    <p:sldId id="947" r:id="rId294"/>
    <p:sldId id="945" r:id="rId295"/>
    <p:sldId id="682" r:id="rId296"/>
    <p:sldId id="416" r:id="rId297"/>
    <p:sldId id="417" r:id="rId298"/>
    <p:sldId id="418" r:id="rId299"/>
    <p:sldId id="419" r:id="rId300"/>
    <p:sldId id="420" r:id="rId301"/>
    <p:sldId id="421" r:id="rId302"/>
    <p:sldId id="422" r:id="rId303"/>
    <p:sldId id="423" r:id="rId304"/>
    <p:sldId id="424" r:id="rId305"/>
    <p:sldId id="425" r:id="rId306"/>
    <p:sldId id="426" r:id="rId307"/>
    <p:sldId id="427" r:id="rId308"/>
    <p:sldId id="428" r:id="rId309"/>
    <p:sldId id="429" r:id="rId310"/>
    <p:sldId id="430" r:id="rId311"/>
    <p:sldId id="431" r:id="rId312"/>
    <p:sldId id="432" r:id="rId313"/>
    <p:sldId id="433" r:id="rId314"/>
    <p:sldId id="434" r:id="rId315"/>
    <p:sldId id="435" r:id="rId316"/>
    <p:sldId id="438" r:id="rId317"/>
    <p:sldId id="389" r:id="rId318"/>
  </p:sldIdLst>
  <p:sldSz cx="12192000" cy="6858000"/>
  <p:notesSz cx="7315200" cy="9601200"/>
  <p:custDataLst>
    <p:tags r:id="rId3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4B9F51E4-EF31-46E8-85F5-297F0CCC6673}">
          <p14:sldIdLst>
            <p14:sldId id="671"/>
          </p14:sldIdLst>
        </p14:section>
        <p14:section name="Contents" id="{7B5007C2-1E6D-41FE-9036-B32D8147FDCC}">
          <p14:sldIdLst>
            <p14:sldId id="668"/>
          </p14:sldIdLst>
        </p14:section>
        <p14:section name="Tables and structured text" id="{CAA740A9-3465-4982-A60D-4E982C39494D}">
          <p14:sldIdLst>
            <p14:sldId id="669"/>
            <p14:sldId id="779"/>
            <p14:sldId id="780"/>
            <p14:sldId id="781"/>
            <p14:sldId id="475"/>
            <p14:sldId id="951"/>
            <p14:sldId id="698"/>
            <p14:sldId id="440"/>
            <p14:sldId id="441"/>
            <p14:sldId id="442"/>
            <p14:sldId id="443"/>
            <p14:sldId id="444"/>
            <p14:sldId id="445"/>
            <p14:sldId id="446"/>
            <p14:sldId id="581"/>
            <p14:sldId id="582"/>
            <p14:sldId id="583"/>
            <p14:sldId id="585"/>
            <p14:sldId id="447"/>
            <p14:sldId id="448"/>
            <p14:sldId id="449"/>
            <p14:sldId id="450"/>
            <p14:sldId id="451"/>
            <p14:sldId id="452"/>
            <p14:sldId id="453"/>
            <p14:sldId id="454"/>
            <p14:sldId id="455"/>
            <p14:sldId id="456"/>
            <p14:sldId id="457"/>
            <p14:sldId id="458"/>
            <p14:sldId id="459"/>
            <p14:sldId id="460"/>
            <p14:sldId id="461"/>
            <p14:sldId id="462"/>
            <p14:sldId id="463"/>
            <p14:sldId id="468"/>
            <p14:sldId id="472"/>
            <p14:sldId id="473"/>
            <p14:sldId id="474"/>
            <p14:sldId id="587"/>
            <p14:sldId id="588"/>
            <p14:sldId id="589"/>
            <p14:sldId id="590"/>
            <p14:sldId id="591"/>
            <p14:sldId id="592"/>
            <p14:sldId id="593"/>
            <p14:sldId id="594"/>
            <p14:sldId id="595"/>
          </p14:sldIdLst>
        </p14:section>
        <p14:section name="Charts and graphs" id="{0EE979DE-3CFE-42E0-9508-5A2A9D0980E0}">
          <p14:sldIdLst>
            <p14:sldId id="674"/>
            <p14:sldId id="535"/>
            <p14:sldId id="536"/>
            <p14:sldId id="537"/>
            <p14:sldId id="538"/>
            <p14:sldId id="539"/>
            <p14:sldId id="540"/>
            <p14:sldId id="541"/>
            <p14:sldId id="523"/>
            <p14:sldId id="524"/>
            <p14:sldId id="525"/>
            <p14:sldId id="526"/>
            <p14:sldId id="527"/>
            <p14:sldId id="528"/>
            <p14:sldId id="529"/>
            <p14:sldId id="530"/>
            <p14:sldId id="531"/>
            <p14:sldId id="532"/>
            <p14:sldId id="533"/>
            <p14:sldId id="534"/>
            <p14:sldId id="509"/>
            <p14:sldId id="510"/>
            <p14:sldId id="511"/>
            <p14:sldId id="675"/>
            <p14:sldId id="512"/>
            <p14:sldId id="513"/>
            <p14:sldId id="514"/>
            <p14:sldId id="515"/>
            <p14:sldId id="518"/>
            <p14:sldId id="519"/>
            <p14:sldId id="520"/>
            <p14:sldId id="522"/>
            <p14:sldId id="516"/>
            <p14:sldId id="517"/>
            <p14:sldId id="542"/>
            <p14:sldId id="544"/>
            <p14:sldId id="545"/>
            <p14:sldId id="546"/>
            <p14:sldId id="547"/>
            <p14:sldId id="548"/>
            <p14:sldId id="549"/>
            <p14:sldId id="550"/>
            <p14:sldId id="551"/>
            <p14:sldId id="552"/>
            <p14:sldId id="553"/>
            <p14:sldId id="554"/>
            <p14:sldId id="555"/>
            <p14:sldId id="556"/>
            <p14:sldId id="557"/>
            <p14:sldId id="621"/>
            <p14:sldId id="623"/>
            <p14:sldId id="624"/>
            <p14:sldId id="625"/>
            <p14:sldId id="626"/>
            <p14:sldId id="627"/>
            <p14:sldId id="628"/>
            <p14:sldId id="629"/>
            <p14:sldId id="630"/>
            <p14:sldId id="558"/>
          </p14:sldIdLst>
        </p14:section>
        <p14:section name="Diagrams" id="{E4F9745B-A581-4FD7-9258-7970F975AAD4}">
          <p14:sldIdLst>
            <p14:sldId id="1596"/>
            <p14:sldId id="797"/>
            <p14:sldId id="686"/>
            <p14:sldId id="687"/>
            <p14:sldId id="688"/>
            <p14:sldId id="689"/>
            <p14:sldId id="479"/>
            <p14:sldId id="480"/>
            <p14:sldId id="481"/>
            <p14:sldId id="482"/>
            <p14:sldId id="483"/>
            <p14:sldId id="950"/>
            <p14:sldId id="485"/>
            <p14:sldId id="486"/>
            <p14:sldId id="487"/>
            <p14:sldId id="488"/>
            <p14:sldId id="489"/>
            <p14:sldId id="667"/>
            <p14:sldId id="491"/>
            <p14:sldId id="492"/>
            <p14:sldId id="493"/>
            <p14:sldId id="494"/>
            <p14:sldId id="495"/>
            <p14:sldId id="499"/>
            <p14:sldId id="497"/>
            <p14:sldId id="498"/>
            <p14:sldId id="586"/>
            <p14:sldId id="584"/>
            <p14:sldId id="735"/>
            <p14:sldId id="736"/>
            <p14:sldId id="737"/>
            <p14:sldId id="738"/>
            <p14:sldId id="739"/>
            <p14:sldId id="741"/>
            <p14:sldId id="742"/>
            <p14:sldId id="743"/>
            <p14:sldId id="744"/>
            <p14:sldId id="745"/>
            <p14:sldId id="746"/>
            <p14:sldId id="747"/>
            <p14:sldId id="748"/>
            <p14:sldId id="749"/>
            <p14:sldId id="750"/>
            <p14:sldId id="751"/>
            <p14:sldId id="752"/>
            <p14:sldId id="754"/>
            <p14:sldId id="755"/>
            <p14:sldId id="756"/>
            <p14:sldId id="757"/>
            <p14:sldId id="758"/>
            <p14:sldId id="759"/>
            <p14:sldId id="760"/>
            <p14:sldId id="683"/>
            <p14:sldId id="685"/>
            <p14:sldId id="684"/>
            <p14:sldId id="560"/>
            <p14:sldId id="561"/>
            <p14:sldId id="562"/>
            <p14:sldId id="563"/>
            <p14:sldId id="571"/>
            <p14:sldId id="564"/>
            <p14:sldId id="565"/>
            <p14:sldId id="566"/>
            <p14:sldId id="568"/>
            <p14:sldId id="569"/>
            <p14:sldId id="572"/>
            <p14:sldId id="573"/>
            <p14:sldId id="574"/>
            <p14:sldId id="575"/>
            <p14:sldId id="576"/>
            <p14:sldId id="577"/>
            <p14:sldId id="578"/>
            <p14:sldId id="579"/>
            <p14:sldId id="596"/>
            <p14:sldId id="597"/>
            <p14:sldId id="598"/>
            <p14:sldId id="599"/>
            <p14:sldId id="600"/>
            <p14:sldId id="601"/>
            <p14:sldId id="602"/>
            <p14:sldId id="603"/>
            <p14:sldId id="604"/>
            <p14:sldId id="605"/>
            <p14:sldId id="606"/>
            <p14:sldId id="607"/>
            <p14:sldId id="608"/>
            <p14:sldId id="609"/>
            <p14:sldId id="610"/>
            <p14:sldId id="611"/>
            <p14:sldId id="612"/>
            <p14:sldId id="613"/>
            <p14:sldId id="614"/>
            <p14:sldId id="615"/>
            <p14:sldId id="616"/>
            <p14:sldId id="690"/>
            <p14:sldId id="949"/>
            <p14:sldId id="617"/>
            <p14:sldId id="618"/>
            <p14:sldId id="619"/>
            <p14:sldId id="620"/>
          </p14:sldIdLst>
        </p14:section>
        <p14:section name="Illustrative graphics, charts and diagrams" id="{35566FE1-DB83-4795-B6C4-D1BE8A784735}">
          <p14:sldIdLst>
            <p14:sldId id="680"/>
            <p14:sldId id="765"/>
            <p14:sldId id="672"/>
            <p14:sldId id="795"/>
            <p14:sldId id="281"/>
            <p14:sldId id="282"/>
            <p14:sldId id="266"/>
            <p14:sldId id="267"/>
            <p14:sldId id="270"/>
            <p14:sldId id="273"/>
            <p14:sldId id="283"/>
            <p14:sldId id="271"/>
            <p14:sldId id="272"/>
            <p14:sldId id="284"/>
            <p14:sldId id="767"/>
            <p14:sldId id="769"/>
            <p14:sldId id="796"/>
            <p14:sldId id="770"/>
            <p14:sldId id="771"/>
            <p14:sldId id="772"/>
            <p14:sldId id="773"/>
            <p14:sldId id="774"/>
            <p14:sldId id="775"/>
            <p14:sldId id="766"/>
            <p14:sldId id="776"/>
            <p14:sldId id="777"/>
            <p14:sldId id="782"/>
            <p14:sldId id="783"/>
            <p14:sldId id="787"/>
            <p14:sldId id="294"/>
            <p14:sldId id="788"/>
            <p14:sldId id="789"/>
            <p14:sldId id="790"/>
            <p14:sldId id="791"/>
            <p14:sldId id="792"/>
            <p14:sldId id="363"/>
            <p14:sldId id="799"/>
            <p14:sldId id="800"/>
            <p14:sldId id="784"/>
            <p14:sldId id="794"/>
            <p14:sldId id="691"/>
            <p14:sldId id="692"/>
            <p14:sldId id="693"/>
            <p14:sldId id="694"/>
            <p14:sldId id="695"/>
            <p14:sldId id="696"/>
            <p14:sldId id="697"/>
            <p14:sldId id="699"/>
            <p14:sldId id="700"/>
            <p14:sldId id="701"/>
            <p14:sldId id="703"/>
            <p14:sldId id="704"/>
            <p14:sldId id="705"/>
            <p14:sldId id="706"/>
            <p14:sldId id="707"/>
            <p14:sldId id="708"/>
            <p14:sldId id="709"/>
            <p14:sldId id="710"/>
            <p14:sldId id="711"/>
            <p14:sldId id="712"/>
            <p14:sldId id="713"/>
            <p14:sldId id="715"/>
            <p14:sldId id="716"/>
            <p14:sldId id="717"/>
            <p14:sldId id="718"/>
            <p14:sldId id="719"/>
            <p14:sldId id="720"/>
            <p14:sldId id="721"/>
            <p14:sldId id="722"/>
            <p14:sldId id="723"/>
            <p14:sldId id="724"/>
            <p14:sldId id="725"/>
            <p14:sldId id="726"/>
            <p14:sldId id="727"/>
            <p14:sldId id="728"/>
            <p14:sldId id="729"/>
            <p14:sldId id="730"/>
            <p14:sldId id="731"/>
            <p14:sldId id="732"/>
            <p14:sldId id="733"/>
            <p14:sldId id="734"/>
          </p14:sldIdLst>
        </p14:section>
        <p14:section name="Animations" id="{4B13097E-87CF-47F4-9285-A6BE27407FE4}">
          <p14:sldIdLst>
            <p14:sldId id="801"/>
            <p14:sldId id="948"/>
            <p14:sldId id="947"/>
            <p14:sldId id="945"/>
          </p14:sldIdLst>
        </p14:section>
        <p14:section name="Iconography" id="{3E112109-7997-4DAB-A398-4F934CF3F19E}">
          <p14:sldIdLst>
            <p14:sldId id="682"/>
            <p14:sldId id="416"/>
            <p14:sldId id="417"/>
            <p14:sldId id="418"/>
            <p14:sldId id="419"/>
            <p14:sldId id="420"/>
            <p14:sldId id="421"/>
            <p14:sldId id="422"/>
            <p14:sldId id="423"/>
            <p14:sldId id="424"/>
            <p14:sldId id="425"/>
            <p14:sldId id="426"/>
            <p14:sldId id="427"/>
            <p14:sldId id="428"/>
            <p14:sldId id="429"/>
            <p14:sldId id="430"/>
            <p14:sldId id="431"/>
            <p14:sldId id="432"/>
            <p14:sldId id="433"/>
            <p14:sldId id="434"/>
            <p14:sldId id="435"/>
          </p14:sldIdLst>
        </p14:section>
        <p14:section name="Appendix" id="{4356B50D-8119-409E-B2E4-D15B43EEED62}">
          <p14:sldIdLst>
            <p14:sldId id="438"/>
            <p14:sldId id="389"/>
          </p14:sldIdLst>
        </p14:section>
      </p14:sectionLst>
    </p:ex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37C4FF"/>
    <a:srgbClr val="194955"/>
    <a:srgbClr val="046A38"/>
    <a:srgbClr val="62B5E5"/>
    <a:srgbClr val="575757"/>
    <a:srgbClr val="DB291C"/>
    <a:srgbClr val="0076A8"/>
    <a:srgbClr val="3C8A2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6D8CF04-070E-4A57-BA59-D47BE42E0BC0}" v="5" dt="2020-03-23T22:43:30.9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984" autoAdjust="0"/>
  </p:normalViewPr>
  <p:slideViewPr>
    <p:cSldViewPr snapToGrid="0" showGuides="1">
      <p:cViewPr varScale="1">
        <p:scale>
          <a:sx n="115" d="100"/>
          <a:sy n="115" d="100"/>
        </p:scale>
        <p:origin x="372" y="108"/>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27" d="100"/>
          <a:sy n="27" d="100"/>
        </p:scale>
        <p:origin x="2148" y="6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324" Type="http://schemas.openxmlformats.org/officeDocument/2006/relationships/viewProps" Target="viewProps.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108" Type="http://schemas.openxmlformats.org/officeDocument/2006/relationships/slide" Target="slides/slide107.xml"/><Relationship Id="rId315" Type="http://schemas.openxmlformats.org/officeDocument/2006/relationships/slide" Target="slides/slide314.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326" Type="http://schemas.openxmlformats.org/officeDocument/2006/relationships/tableStyles" Target="tableStyles.xml"/><Relationship Id="rId65" Type="http://schemas.openxmlformats.org/officeDocument/2006/relationships/slide" Target="slides/slide64.xml"/><Relationship Id="rId130" Type="http://schemas.openxmlformats.org/officeDocument/2006/relationships/slide" Target="slides/slide129.xml"/><Relationship Id="rId172" Type="http://schemas.openxmlformats.org/officeDocument/2006/relationships/slide" Target="slides/slide171.xml"/><Relationship Id="rId228" Type="http://schemas.openxmlformats.org/officeDocument/2006/relationships/slide" Target="slides/slide227.xml"/><Relationship Id="rId281" Type="http://schemas.openxmlformats.org/officeDocument/2006/relationships/slide" Target="slides/slide280.xml"/><Relationship Id="rId34" Type="http://schemas.openxmlformats.org/officeDocument/2006/relationships/slide" Target="slides/slide33.xml"/><Relationship Id="rId76" Type="http://schemas.openxmlformats.org/officeDocument/2006/relationships/slide" Target="slides/slide75.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306" Type="http://schemas.openxmlformats.org/officeDocument/2006/relationships/slide" Target="slides/slide305.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327" Type="http://schemas.microsoft.com/office/2015/10/relationships/revisionInfo" Target="revisionInfo.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17" Type="http://schemas.openxmlformats.org/officeDocument/2006/relationships/slide" Target="slides/slide316.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slide" Target="slides/slide292.xml"/><Relationship Id="rId307" Type="http://schemas.openxmlformats.org/officeDocument/2006/relationships/slide" Target="slides/slide306.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318" Type="http://schemas.openxmlformats.org/officeDocument/2006/relationships/slide" Target="slides/slide317.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308" Type="http://schemas.openxmlformats.org/officeDocument/2006/relationships/slide" Target="slides/slide307.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19" Type="http://schemas.openxmlformats.org/officeDocument/2006/relationships/notesMaster" Target="notesMasters/notesMaster1.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309" Type="http://schemas.openxmlformats.org/officeDocument/2006/relationships/slide" Target="slides/slide308.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320" Type="http://schemas.openxmlformats.org/officeDocument/2006/relationships/handoutMaster" Target="handoutMasters/handoutMaster1.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openxmlformats.org/officeDocument/2006/relationships/slide" Target="slides/slide309.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321" Type="http://schemas.openxmlformats.org/officeDocument/2006/relationships/tags" Target="tags/tag1.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openxmlformats.org/officeDocument/2006/relationships/slide" Target="slides/slide310.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322" Type="http://schemas.openxmlformats.org/officeDocument/2006/relationships/commentAuthors" Target="commentAuthors.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312" Type="http://schemas.openxmlformats.org/officeDocument/2006/relationships/slide" Target="slides/slide311.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slide" Target="slides/slide301.xml"/><Relationship Id="rId323"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06" Type="http://schemas.openxmlformats.org/officeDocument/2006/relationships/slide" Target="slides/slide105.xml"/><Relationship Id="rId127" Type="http://schemas.openxmlformats.org/officeDocument/2006/relationships/slide" Target="slides/slide126.xml"/><Relationship Id="rId313" Type="http://schemas.openxmlformats.org/officeDocument/2006/relationships/slide" Target="slides/slide312.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303" Type="http://schemas.openxmlformats.org/officeDocument/2006/relationships/slide" Target="slides/slide302.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314" Type="http://schemas.openxmlformats.org/officeDocument/2006/relationships/slide" Target="slides/slide313.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325" Type="http://schemas.openxmlformats.org/officeDocument/2006/relationships/theme" Target="theme/theme1.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slide" Target="slides/slide279.xml"/><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 Id="rId6" Type="http://schemas.openxmlformats.org/officeDocument/2006/relationships/slide" Target="slides/slide5.xml"/><Relationship Id="rId238" Type="http://schemas.openxmlformats.org/officeDocument/2006/relationships/slide" Target="slides/slide237.xml"/><Relationship Id="rId291" Type="http://schemas.openxmlformats.org/officeDocument/2006/relationships/slide" Target="slides/slide290.xml"/><Relationship Id="rId305" Type="http://schemas.openxmlformats.org/officeDocument/2006/relationships/slide" Target="slides/slide304.xml"/><Relationship Id="rId44" Type="http://schemas.openxmlformats.org/officeDocument/2006/relationships/slide" Target="slides/slide43.xml"/><Relationship Id="rId86" Type="http://schemas.openxmlformats.org/officeDocument/2006/relationships/slide" Target="slides/slide85.xml"/><Relationship Id="rId151" Type="http://schemas.openxmlformats.org/officeDocument/2006/relationships/slide" Target="slides/slide150.xml"/><Relationship Id="rId193" Type="http://schemas.openxmlformats.org/officeDocument/2006/relationships/slide" Target="slides/slide192.xml"/><Relationship Id="rId207" Type="http://schemas.openxmlformats.org/officeDocument/2006/relationships/slide" Target="slides/slide206.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316" Type="http://schemas.openxmlformats.org/officeDocument/2006/relationships/slide" Target="slides/slide315.xml"/><Relationship Id="rId55" Type="http://schemas.openxmlformats.org/officeDocument/2006/relationships/slide" Target="slides/slide54.xml"/><Relationship Id="rId97" Type="http://schemas.openxmlformats.org/officeDocument/2006/relationships/slide" Target="slides/slide96.xml"/><Relationship Id="rId120" Type="http://schemas.openxmlformats.org/officeDocument/2006/relationships/slide" Target="slides/slide119.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xml"/><Relationship Id="rId1" Type="http://schemas.microsoft.com/office/2011/relationships/chartStyle" Target="style1.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2.xml"/><Relationship Id="rId1" Type="http://schemas.microsoft.com/office/2011/relationships/chartStyle" Target="style2.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1.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3.xml"/><Relationship Id="rId1" Type="http://schemas.microsoft.com/office/2011/relationships/chartStyle" Target="style3.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xml"/><Relationship Id="rId1" Type="http://schemas.microsoft.com/office/2011/relationships/chartStyle" Target="style4.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6.xml"/><Relationship Id="rId1" Type="http://schemas.microsoft.com/office/2011/relationships/chartStyle" Target="style6.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7.xml"/><Relationship Id="rId1" Type="http://schemas.microsoft.com/office/2011/relationships/chartStyle" Target="style7.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8.xml"/><Relationship Id="rId1" Type="http://schemas.microsoft.com/office/2011/relationships/chartStyle" Target="style8.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9.xml"/><Relationship Id="rId1" Type="http://schemas.microsoft.com/office/2011/relationships/chartStyle" Target="style9.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10.xml"/><Relationship Id="rId1" Type="http://schemas.microsoft.com/office/2011/relationships/chartStyle" Target="style10.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11.xml"/><Relationship Id="rId1" Type="http://schemas.microsoft.com/office/2011/relationships/chartStyle" Target="style11.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12.xml"/><Relationship Id="rId1" Type="http://schemas.microsoft.com/office/2011/relationships/chartStyle" Target="style12.xml"/></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13.xml"/><Relationship Id="rId1" Type="http://schemas.microsoft.com/office/2011/relationships/chartStyle" Target="style13.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14.xml"/><Relationship Id="rId1" Type="http://schemas.microsoft.com/office/2011/relationships/chartStyle" Target="style14.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15.xml"/><Relationship Id="rId1" Type="http://schemas.microsoft.com/office/2011/relationships/chartStyle" Target="style15.xml"/></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849405330609804E-2"/>
          <c:y val="9.7043253686685593E-2"/>
          <c:w val="0.91531871943165699"/>
          <c:h val="0.69162027869404097"/>
        </c:manualLayout>
      </c:layout>
      <c:barChart>
        <c:barDir val="bar"/>
        <c:grouping val="clustered"/>
        <c:varyColors val="0"/>
        <c:ser>
          <c:idx val="1"/>
          <c:order val="0"/>
          <c:tx>
            <c:strRef>
              <c:f>Sheet1!$B$1</c:f>
              <c:strCache>
                <c:ptCount val="1"/>
                <c:pt idx="0">
                  <c:v>Label 1</c:v>
                </c:pt>
              </c:strCache>
            </c:strRef>
          </c:tx>
          <c:spPr>
            <a:solidFill>
              <a:schemeClr val="accent3"/>
            </a:solidFill>
            <a:ln w="12700">
              <a:solidFill>
                <a:schemeClr val="bg1"/>
              </a:solidFill>
              <a:prstDash val="solid"/>
            </a:ln>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5.2</c:v>
                </c:pt>
                <c:pt idx="1">
                  <c:v>32.200000000000003</c:v>
                </c:pt>
                <c:pt idx="2">
                  <c:v>34.299999999999997</c:v>
                </c:pt>
                <c:pt idx="3">
                  <c:v>41.1</c:v>
                </c:pt>
              </c:numCache>
            </c:numRef>
          </c:val>
          <c:extLst>
            <c:ext xmlns:c16="http://schemas.microsoft.com/office/drawing/2014/chart" uri="{C3380CC4-5D6E-409C-BE32-E72D297353CC}">
              <c16:uniqueId val="{00000000-8006-47EA-89E9-3E7A2409D633}"/>
            </c:ext>
          </c:extLst>
        </c:ser>
        <c:ser>
          <c:idx val="0"/>
          <c:order val="1"/>
          <c:tx>
            <c:strRef>
              <c:f>Sheet1!$C$1</c:f>
              <c:strCache>
                <c:ptCount val="1"/>
                <c:pt idx="0">
                  <c:v>Label 2</c:v>
                </c:pt>
              </c:strCache>
            </c:strRef>
          </c:tx>
          <c:spPr>
            <a:solidFill>
              <a:schemeClr val="bg1">
                <a:lumMod val="85000"/>
              </a:schemeClr>
            </a:solidFill>
            <a:ln w="12700">
              <a:solidFill>
                <a:schemeClr val="bg1"/>
              </a:solidFill>
              <a:prstDash val="solid"/>
            </a:ln>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43.9</c:v>
                </c:pt>
                <c:pt idx="1">
                  <c:v>30.4</c:v>
                </c:pt>
                <c:pt idx="2">
                  <c:v>32.6</c:v>
                </c:pt>
                <c:pt idx="3">
                  <c:v>40.299999999999997</c:v>
                </c:pt>
              </c:numCache>
            </c:numRef>
          </c:val>
          <c:extLst>
            <c:ext xmlns:c16="http://schemas.microsoft.com/office/drawing/2014/chart" uri="{C3380CC4-5D6E-409C-BE32-E72D297353CC}">
              <c16:uniqueId val="{00000001-8006-47EA-89E9-3E7A2409D633}"/>
            </c:ext>
          </c:extLst>
        </c:ser>
        <c:dLbls>
          <c:dLblPos val="outEnd"/>
          <c:showLegendKey val="0"/>
          <c:showVal val="1"/>
          <c:showCatName val="0"/>
          <c:showSerName val="0"/>
          <c:showPercent val="0"/>
          <c:showBubbleSize val="0"/>
        </c:dLbls>
        <c:gapWidth val="75"/>
        <c:axId val="117521648"/>
        <c:axId val="-389860992"/>
      </c:barChart>
      <c:catAx>
        <c:axId val="117521648"/>
        <c:scaling>
          <c:orientation val="maxMin"/>
        </c:scaling>
        <c:delete val="0"/>
        <c:axPos val="l"/>
        <c:numFmt formatCode="General" sourceLinked="0"/>
        <c:majorTickMark val="none"/>
        <c:minorTickMark val="none"/>
        <c:tickLblPos val="low"/>
        <c:spPr>
          <a:ln w="6350">
            <a:solidFill>
              <a:srgbClr val="BBBCBC"/>
            </a:solidFill>
            <a:prstDash val="solid"/>
          </a:ln>
        </c:spPr>
        <c:txPr>
          <a:bodyPr/>
          <a:lstStyle/>
          <a:p>
            <a:pPr>
              <a:defRPr sz="1100"/>
            </a:pPr>
            <a:endParaRPr lang="en-US"/>
          </a:p>
        </c:txPr>
        <c:crossAx val="-389860992"/>
        <c:crosses val="autoZero"/>
        <c:auto val="1"/>
        <c:lblAlgn val="ctr"/>
        <c:lblOffset val="100"/>
        <c:noMultiLvlLbl val="0"/>
      </c:catAx>
      <c:valAx>
        <c:axId val="-389860992"/>
        <c:scaling>
          <c:orientation val="minMax"/>
        </c:scaling>
        <c:delete val="0"/>
        <c:axPos val="b"/>
        <c:majorGridlines>
          <c:spPr>
            <a:ln w="6350">
              <a:solidFill>
                <a:srgbClr val="BBBCBC"/>
              </a:solidFill>
            </a:ln>
          </c:spPr>
        </c:majorGridlines>
        <c:numFmt formatCode="General" sourceLinked="1"/>
        <c:majorTickMark val="out"/>
        <c:minorTickMark val="none"/>
        <c:tickLblPos val="high"/>
        <c:spPr>
          <a:ln w="6350">
            <a:solidFill>
              <a:srgbClr val="BBBCBC"/>
            </a:solidFill>
            <a:prstDash val="solid"/>
          </a:ln>
        </c:spPr>
        <c:crossAx val="117521648"/>
        <c:crosses val="max"/>
        <c:crossBetween val="between"/>
      </c:valAx>
      <c:spPr>
        <a:noFill/>
        <a:ln>
          <a:noFill/>
        </a:ln>
        <a:effectLst/>
        <a:extLst>
          <a:ext uri="{91240B29-F687-4F45-9708-019B960494DF}">
            <a14:hiddenLine xmlns:a14="http://schemas.microsoft.com/office/drawing/2010/main">
              <a:noFill/>
            </a14:hiddenLine>
          </a:ext>
        </a:extLst>
      </c:spPr>
    </c:plotArea>
    <c:legend>
      <c:legendPos val="r"/>
      <c:layout>
        <c:manualLayout>
          <c:xMode val="edge"/>
          <c:yMode val="edge"/>
          <c:x val="0.11837979172344799"/>
          <c:y val="0.90381204311973895"/>
          <c:w val="0.806196073839755"/>
          <c:h val="4.88576297754447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644573098959806E-2"/>
          <c:y val="4.0858987678623497E-2"/>
          <c:w val="0.902047244094488"/>
          <c:h val="0.74780434346748303"/>
        </c:manualLayout>
      </c:layout>
      <c:barChart>
        <c:barDir val="bar"/>
        <c:grouping val="clustered"/>
        <c:varyColors val="0"/>
        <c:ser>
          <c:idx val="1"/>
          <c:order val="0"/>
          <c:tx>
            <c:strRef>
              <c:f>Sheet1!$B$1</c:f>
              <c:strCache>
                <c:ptCount val="1"/>
                <c:pt idx="0">
                  <c:v>Label 1</c:v>
                </c:pt>
              </c:strCache>
            </c:strRef>
          </c:tx>
          <c:spPr>
            <a:solidFill>
              <a:schemeClr val="accent1"/>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0-2645-4772-8280-6061ACA39DD8}"/>
            </c:ext>
          </c:extLst>
        </c:ser>
        <c:ser>
          <c:idx val="0"/>
          <c:order val="1"/>
          <c:tx>
            <c:strRef>
              <c:f>Sheet1!$C$1</c:f>
              <c:strCache>
                <c:ptCount val="1"/>
                <c:pt idx="0">
                  <c:v>Label 2</c:v>
                </c:pt>
              </c:strCache>
            </c:strRef>
          </c:tx>
          <c:spPr>
            <a:solidFill>
              <a:schemeClr val="accent2"/>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C$2:$C$3</c:f>
              <c:numCache>
                <c:formatCode>General</c:formatCode>
                <c:ptCount val="2"/>
                <c:pt idx="0">
                  <c:v>11</c:v>
                </c:pt>
                <c:pt idx="1">
                  <c:v>11</c:v>
                </c:pt>
              </c:numCache>
            </c:numRef>
          </c:val>
          <c:extLst>
            <c:ext xmlns:c16="http://schemas.microsoft.com/office/drawing/2014/chart" uri="{C3380CC4-5D6E-409C-BE32-E72D297353CC}">
              <c16:uniqueId val="{00000001-2645-4772-8280-6061ACA39DD8}"/>
            </c:ext>
          </c:extLst>
        </c:ser>
        <c:ser>
          <c:idx val="2"/>
          <c:order val="2"/>
          <c:tx>
            <c:strRef>
              <c:f>Sheet1!$D$1</c:f>
              <c:strCache>
                <c:ptCount val="1"/>
                <c:pt idx="0">
                  <c:v>Label 3</c:v>
                </c:pt>
              </c:strCache>
            </c:strRef>
          </c:tx>
          <c:spPr>
            <a:solidFill>
              <a:schemeClr val="hlink"/>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D$2:$D$3</c:f>
              <c:numCache>
                <c:formatCode>General</c:formatCode>
                <c:ptCount val="2"/>
                <c:pt idx="0">
                  <c:v>12</c:v>
                </c:pt>
                <c:pt idx="1">
                  <c:v>12</c:v>
                </c:pt>
              </c:numCache>
            </c:numRef>
          </c:val>
          <c:extLst>
            <c:ext xmlns:c16="http://schemas.microsoft.com/office/drawing/2014/chart" uri="{C3380CC4-5D6E-409C-BE32-E72D297353CC}">
              <c16:uniqueId val="{00000002-2645-4772-8280-6061ACA39DD8}"/>
            </c:ext>
          </c:extLst>
        </c:ser>
        <c:ser>
          <c:idx val="3"/>
          <c:order val="3"/>
          <c:tx>
            <c:strRef>
              <c:f>Sheet1!$E$1</c:f>
              <c:strCache>
                <c:ptCount val="1"/>
                <c:pt idx="0">
                  <c:v>Label 4</c:v>
                </c:pt>
              </c:strCache>
            </c:strRef>
          </c:tx>
          <c:spPr>
            <a:solidFill>
              <a:schemeClr val="accent4"/>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E$2:$E$3</c:f>
              <c:numCache>
                <c:formatCode>General</c:formatCode>
                <c:ptCount val="2"/>
                <c:pt idx="0">
                  <c:v>13</c:v>
                </c:pt>
                <c:pt idx="1">
                  <c:v>13</c:v>
                </c:pt>
              </c:numCache>
            </c:numRef>
          </c:val>
          <c:extLst>
            <c:ext xmlns:c16="http://schemas.microsoft.com/office/drawing/2014/chart" uri="{C3380CC4-5D6E-409C-BE32-E72D297353CC}">
              <c16:uniqueId val="{00000003-2645-4772-8280-6061ACA39DD8}"/>
            </c:ext>
          </c:extLst>
        </c:ser>
        <c:ser>
          <c:idx val="4"/>
          <c:order val="4"/>
          <c:tx>
            <c:strRef>
              <c:f>Sheet1!$F$1</c:f>
              <c:strCache>
                <c:ptCount val="1"/>
                <c:pt idx="0">
                  <c:v>Label 5</c:v>
                </c:pt>
              </c:strCache>
            </c:strRef>
          </c:tx>
          <c:spPr>
            <a:solidFill>
              <a:schemeClr val="accent5"/>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F$2:$F$3</c:f>
              <c:numCache>
                <c:formatCode>General</c:formatCode>
                <c:ptCount val="2"/>
                <c:pt idx="0">
                  <c:v>14</c:v>
                </c:pt>
                <c:pt idx="1">
                  <c:v>14</c:v>
                </c:pt>
              </c:numCache>
            </c:numRef>
          </c:val>
          <c:extLst>
            <c:ext xmlns:c16="http://schemas.microsoft.com/office/drawing/2014/chart" uri="{C3380CC4-5D6E-409C-BE32-E72D297353CC}">
              <c16:uniqueId val="{00000004-2645-4772-8280-6061ACA39DD8}"/>
            </c:ext>
          </c:extLst>
        </c:ser>
        <c:ser>
          <c:idx val="5"/>
          <c:order val="5"/>
          <c:tx>
            <c:strRef>
              <c:f>Sheet1!$G$1</c:f>
              <c:strCache>
                <c:ptCount val="1"/>
                <c:pt idx="0">
                  <c:v>Label 6</c:v>
                </c:pt>
              </c:strCache>
            </c:strRef>
          </c:tx>
          <c:spPr>
            <a:solidFill>
              <a:schemeClr val="accent6"/>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G$2:$G$3</c:f>
              <c:numCache>
                <c:formatCode>General</c:formatCode>
                <c:ptCount val="2"/>
                <c:pt idx="0">
                  <c:v>15</c:v>
                </c:pt>
                <c:pt idx="1">
                  <c:v>15</c:v>
                </c:pt>
              </c:numCache>
            </c:numRef>
          </c:val>
          <c:extLst>
            <c:ext xmlns:c16="http://schemas.microsoft.com/office/drawing/2014/chart" uri="{C3380CC4-5D6E-409C-BE32-E72D297353CC}">
              <c16:uniqueId val="{00000005-2645-4772-8280-6061ACA39DD8}"/>
            </c:ext>
          </c:extLst>
        </c:ser>
        <c:ser>
          <c:idx val="6"/>
          <c:order val="6"/>
          <c:tx>
            <c:strRef>
              <c:f>Sheet1!$H$1</c:f>
              <c:strCache>
                <c:ptCount val="1"/>
                <c:pt idx="0">
                  <c:v>Label 7</c:v>
                </c:pt>
              </c:strCache>
            </c:strRef>
          </c:tx>
          <c:spPr>
            <a:solidFill>
              <a:schemeClr val="accent4">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H$2:$H$3</c:f>
              <c:numCache>
                <c:formatCode>General</c:formatCode>
                <c:ptCount val="2"/>
                <c:pt idx="0">
                  <c:v>16</c:v>
                </c:pt>
                <c:pt idx="1">
                  <c:v>16</c:v>
                </c:pt>
              </c:numCache>
            </c:numRef>
          </c:val>
          <c:extLst>
            <c:ext xmlns:c16="http://schemas.microsoft.com/office/drawing/2014/chart" uri="{C3380CC4-5D6E-409C-BE32-E72D297353CC}">
              <c16:uniqueId val="{00000006-2645-4772-8280-6061ACA39DD8}"/>
            </c:ext>
          </c:extLst>
        </c:ser>
        <c:ser>
          <c:idx val="7"/>
          <c:order val="7"/>
          <c:tx>
            <c:strRef>
              <c:f>Sheet1!$I$1</c:f>
              <c:strCache>
                <c:ptCount val="1"/>
                <c:pt idx="0">
                  <c:v>Label 8</c:v>
                </c:pt>
              </c:strCache>
            </c:strRef>
          </c:tx>
          <c:spPr>
            <a:solidFill>
              <a:schemeClr val="accent3">
                <a:lumMod val="75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I$2:$I$3</c:f>
              <c:numCache>
                <c:formatCode>General</c:formatCode>
                <c:ptCount val="2"/>
                <c:pt idx="0">
                  <c:v>17</c:v>
                </c:pt>
                <c:pt idx="1">
                  <c:v>17</c:v>
                </c:pt>
              </c:numCache>
            </c:numRef>
          </c:val>
          <c:extLst>
            <c:ext xmlns:c16="http://schemas.microsoft.com/office/drawing/2014/chart" uri="{C3380CC4-5D6E-409C-BE32-E72D297353CC}">
              <c16:uniqueId val="{00000007-2645-4772-8280-6061ACA39DD8}"/>
            </c:ext>
          </c:extLst>
        </c:ser>
        <c:ser>
          <c:idx val="8"/>
          <c:order val="8"/>
          <c:tx>
            <c:strRef>
              <c:f>Sheet1!$J$1</c:f>
              <c:strCache>
                <c:ptCount val="1"/>
                <c:pt idx="0">
                  <c:v>Label 9</c:v>
                </c:pt>
              </c:strCache>
            </c:strRef>
          </c:tx>
          <c:spPr>
            <a:solidFill>
              <a:schemeClr val="bg1">
                <a:lumMod val="65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J$2:$J$3</c:f>
              <c:numCache>
                <c:formatCode>General</c:formatCode>
                <c:ptCount val="2"/>
                <c:pt idx="0">
                  <c:v>18</c:v>
                </c:pt>
                <c:pt idx="1">
                  <c:v>18</c:v>
                </c:pt>
              </c:numCache>
            </c:numRef>
          </c:val>
          <c:extLst>
            <c:ext xmlns:c16="http://schemas.microsoft.com/office/drawing/2014/chart" uri="{C3380CC4-5D6E-409C-BE32-E72D297353CC}">
              <c16:uniqueId val="{00000008-2645-4772-8280-6061ACA39DD8}"/>
            </c:ext>
          </c:extLst>
        </c:ser>
        <c:ser>
          <c:idx val="9"/>
          <c:order val="9"/>
          <c:tx>
            <c:strRef>
              <c:f>Sheet1!$K$1</c:f>
              <c:strCache>
                <c:ptCount val="1"/>
                <c:pt idx="0">
                  <c:v>Label 10</c:v>
                </c:pt>
              </c:strCache>
            </c:strRef>
          </c:tx>
          <c:spPr>
            <a:solidFill>
              <a:schemeClr val="accent5">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K$2:$K$3</c:f>
              <c:numCache>
                <c:formatCode>General</c:formatCode>
                <c:ptCount val="2"/>
                <c:pt idx="0">
                  <c:v>20</c:v>
                </c:pt>
                <c:pt idx="1">
                  <c:v>20</c:v>
                </c:pt>
              </c:numCache>
            </c:numRef>
          </c:val>
          <c:extLst>
            <c:ext xmlns:c16="http://schemas.microsoft.com/office/drawing/2014/chart" uri="{C3380CC4-5D6E-409C-BE32-E72D297353CC}">
              <c16:uniqueId val="{00000009-2645-4772-8280-6061ACA39DD8}"/>
            </c:ext>
          </c:extLst>
        </c:ser>
        <c:ser>
          <c:idx val="10"/>
          <c:order val="10"/>
          <c:tx>
            <c:strRef>
              <c:f>Sheet1!$L$1</c:f>
              <c:strCache>
                <c:ptCount val="1"/>
                <c:pt idx="0">
                  <c:v>Label 11</c:v>
                </c:pt>
              </c:strCache>
            </c:strRef>
          </c:tx>
          <c:spPr>
            <a:solidFill>
              <a:schemeClr val="accent2">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L$2:$L$3</c:f>
              <c:numCache>
                <c:formatCode>General</c:formatCode>
                <c:ptCount val="2"/>
                <c:pt idx="0">
                  <c:v>22</c:v>
                </c:pt>
                <c:pt idx="1">
                  <c:v>22</c:v>
                </c:pt>
              </c:numCache>
            </c:numRef>
          </c:val>
          <c:extLst>
            <c:ext xmlns:c16="http://schemas.microsoft.com/office/drawing/2014/chart" uri="{C3380CC4-5D6E-409C-BE32-E72D297353CC}">
              <c16:uniqueId val="{0000000A-2645-4772-8280-6061ACA39DD8}"/>
            </c:ext>
          </c:extLst>
        </c:ser>
        <c:ser>
          <c:idx val="11"/>
          <c:order val="11"/>
          <c:tx>
            <c:strRef>
              <c:f>Sheet1!$M$1</c:f>
              <c:strCache>
                <c:ptCount val="1"/>
                <c:pt idx="0">
                  <c:v>Label 12</c:v>
                </c:pt>
              </c:strCache>
            </c:strRef>
          </c:tx>
          <c:spPr>
            <a:solidFill>
              <a:schemeClr val="accent3">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M$2:$M$3</c:f>
              <c:numCache>
                <c:formatCode>General</c:formatCode>
                <c:ptCount val="2"/>
                <c:pt idx="0">
                  <c:v>24</c:v>
                </c:pt>
                <c:pt idx="1">
                  <c:v>24</c:v>
                </c:pt>
              </c:numCache>
            </c:numRef>
          </c:val>
          <c:extLst>
            <c:ext xmlns:c16="http://schemas.microsoft.com/office/drawing/2014/chart" uri="{C3380CC4-5D6E-409C-BE32-E72D297353CC}">
              <c16:uniqueId val="{0000000B-2645-4772-8280-6061ACA39DD8}"/>
            </c:ext>
          </c:extLst>
        </c:ser>
        <c:ser>
          <c:idx val="12"/>
          <c:order val="12"/>
          <c:tx>
            <c:strRef>
              <c:f>Sheet1!$N$1</c:f>
              <c:strCache>
                <c:ptCount val="1"/>
                <c:pt idx="0">
                  <c:v>Label 13</c:v>
                </c:pt>
              </c:strCache>
            </c:strRef>
          </c:tx>
          <c:spPr>
            <a:solidFill>
              <a:schemeClr val="accent1">
                <a:lumMod val="40000"/>
                <a:lumOff val="6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N$2:$N$3</c:f>
              <c:numCache>
                <c:formatCode>General</c:formatCode>
                <c:ptCount val="2"/>
                <c:pt idx="0">
                  <c:v>26</c:v>
                </c:pt>
                <c:pt idx="1">
                  <c:v>26</c:v>
                </c:pt>
              </c:numCache>
            </c:numRef>
          </c:val>
          <c:extLst>
            <c:ext xmlns:c16="http://schemas.microsoft.com/office/drawing/2014/chart" uri="{C3380CC4-5D6E-409C-BE32-E72D297353CC}">
              <c16:uniqueId val="{0000000C-2645-4772-8280-6061ACA39DD8}"/>
            </c:ext>
          </c:extLst>
        </c:ser>
        <c:ser>
          <c:idx val="13"/>
          <c:order val="13"/>
          <c:tx>
            <c:strRef>
              <c:f>Sheet1!$O$1</c:f>
              <c:strCache>
                <c:ptCount val="1"/>
                <c:pt idx="0">
                  <c:v>Label 14</c:v>
                </c:pt>
              </c:strCache>
            </c:strRef>
          </c:tx>
          <c:spPr>
            <a:solidFill>
              <a:schemeClr val="bg2">
                <a:lumMod val="90000"/>
              </a:schemeClr>
            </a:solidFill>
            <a:ln w="12700">
              <a:solidFill>
                <a:schemeClr val="bg1"/>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O$2:$O$3</c:f>
              <c:numCache>
                <c:formatCode>General</c:formatCode>
                <c:ptCount val="2"/>
                <c:pt idx="0">
                  <c:v>28</c:v>
                </c:pt>
                <c:pt idx="1">
                  <c:v>28</c:v>
                </c:pt>
              </c:numCache>
            </c:numRef>
          </c:val>
          <c:extLst>
            <c:ext xmlns:c16="http://schemas.microsoft.com/office/drawing/2014/chart" uri="{C3380CC4-5D6E-409C-BE32-E72D297353CC}">
              <c16:uniqueId val="{0000000D-2645-4772-8280-6061ACA39DD8}"/>
            </c:ext>
          </c:extLst>
        </c:ser>
        <c:dLbls>
          <c:dLblPos val="outEnd"/>
          <c:showLegendKey val="0"/>
          <c:showVal val="1"/>
          <c:showCatName val="0"/>
          <c:showSerName val="0"/>
          <c:showPercent val="0"/>
          <c:showBubbleSize val="0"/>
        </c:dLbls>
        <c:gapWidth val="75"/>
        <c:axId val="122877216"/>
        <c:axId val="123161616"/>
      </c:barChart>
      <c:catAx>
        <c:axId val="122877216"/>
        <c:scaling>
          <c:orientation val="maxMin"/>
        </c:scaling>
        <c:delete val="0"/>
        <c:axPos val="l"/>
        <c:numFmt formatCode="General" sourceLinked="0"/>
        <c:majorTickMark val="none"/>
        <c:minorTickMark val="none"/>
        <c:tickLblPos val="low"/>
        <c:spPr>
          <a:ln w="6350">
            <a:solidFill>
              <a:srgbClr val="BBBCBC"/>
            </a:solidFill>
            <a:prstDash val="solid"/>
          </a:ln>
        </c:spPr>
        <c:txPr>
          <a:bodyPr/>
          <a:lstStyle/>
          <a:p>
            <a:pPr>
              <a:defRPr sz="1100"/>
            </a:pPr>
            <a:endParaRPr lang="en-US"/>
          </a:p>
        </c:txPr>
        <c:crossAx val="123161616"/>
        <c:crosses val="autoZero"/>
        <c:auto val="1"/>
        <c:lblAlgn val="ctr"/>
        <c:lblOffset val="100"/>
        <c:noMultiLvlLbl val="0"/>
      </c:catAx>
      <c:valAx>
        <c:axId val="123161616"/>
        <c:scaling>
          <c:orientation val="minMax"/>
        </c:scaling>
        <c:delete val="0"/>
        <c:axPos val="b"/>
        <c:majorGridlines>
          <c:spPr>
            <a:ln w="6350">
              <a:solidFill>
                <a:srgbClr val="BBBCBC"/>
              </a:solidFill>
            </a:ln>
          </c:spPr>
        </c:majorGridlines>
        <c:numFmt formatCode="General" sourceLinked="1"/>
        <c:majorTickMark val="none"/>
        <c:minorTickMark val="none"/>
        <c:tickLblPos val="high"/>
        <c:spPr>
          <a:ln w="9525">
            <a:noFill/>
            <a:prstDash val="solid"/>
          </a:ln>
        </c:spPr>
        <c:txPr>
          <a:bodyPr/>
          <a:lstStyle/>
          <a:p>
            <a:pPr>
              <a:defRPr sz="1100"/>
            </a:pPr>
            <a:endParaRPr lang="en-US"/>
          </a:p>
        </c:txPr>
        <c:crossAx val="122877216"/>
        <c:crosses val="max"/>
        <c:crossBetween val="between"/>
      </c:valAx>
      <c:spPr>
        <a:noFill/>
        <a:ln>
          <a:noFill/>
        </a:ln>
        <a:effectLst/>
        <a:extLst>
          <a:ext uri="{91240B29-F687-4F45-9708-019B960494DF}">
            <a14:hiddenLine xmlns:a14="http://schemas.microsoft.com/office/drawing/2010/main">
              <a:noFill/>
            </a14:hiddenLine>
          </a:ext>
        </a:extLst>
      </c:spPr>
    </c:plotArea>
    <c:legend>
      <c:legendPos val="r"/>
      <c:layout>
        <c:manualLayout>
          <c:xMode val="edge"/>
          <c:yMode val="edge"/>
          <c:x val="0.12757580198031601"/>
          <c:y val="0.90982687117113303"/>
          <c:w val="0.806196073839755"/>
          <c:h val="8.06863334791484E-2"/>
        </c:manualLayout>
      </c:layout>
      <c:overlay val="1"/>
      <c:spPr>
        <a:noFill/>
        <a:ln>
          <a:noFill/>
          <a:round/>
        </a:ln>
        <a:effectLst/>
        <a:extLst>
          <a:ext uri="{91240B29-F687-4F45-9708-019B960494DF}">
            <a14:hiddenLine xmlns:a14="http://schemas.microsoft.com/office/drawing/2010/main">
              <a:noFill/>
              <a:round/>
            </a14:hiddenLine>
          </a:ext>
        </a:extLst>
      </c:spPr>
      <c:txPr>
        <a:bodyPr/>
        <a:lstStyle/>
        <a:p>
          <a:pPr>
            <a:defRPr sz="11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4196123147092"/>
          <c:y val="3.41028062516808E-3"/>
          <c:w val="0.83580387685290802"/>
          <c:h val="0.80467712782923595"/>
        </c:manualLayout>
      </c:layout>
      <c:barChart>
        <c:barDir val="bar"/>
        <c:grouping val="stacked"/>
        <c:varyColors val="0"/>
        <c:ser>
          <c:idx val="0"/>
          <c:order val="0"/>
          <c:tx>
            <c:strRef>
              <c:f>Sheet1!$B$1</c:f>
              <c:strCache>
                <c:ptCount val="1"/>
                <c:pt idx="0">
                  <c:v>Lef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ries 1</c:v>
                </c:pt>
                <c:pt idx="1">
                  <c:v>Series 2</c:v>
                </c:pt>
                <c:pt idx="2">
                  <c:v>Series 3</c:v>
                </c:pt>
                <c:pt idx="3">
                  <c:v>Series 4</c:v>
                </c:pt>
                <c:pt idx="4">
                  <c:v>Series 5</c:v>
                </c:pt>
                <c:pt idx="5">
                  <c:v>Series 6</c:v>
                </c:pt>
                <c:pt idx="6">
                  <c:v>Series 7</c:v>
                </c:pt>
                <c:pt idx="7">
                  <c:v>Series 8</c:v>
                </c:pt>
              </c:strCache>
            </c:strRef>
          </c:cat>
          <c:val>
            <c:numRef>
              <c:f>Sheet1!$B$2:$B$9</c:f>
              <c:numCache>
                <c:formatCode>General</c:formatCode>
                <c:ptCount val="8"/>
                <c:pt idx="0">
                  <c:v>-5</c:v>
                </c:pt>
                <c:pt idx="1">
                  <c:v>-4.5</c:v>
                </c:pt>
                <c:pt idx="2">
                  <c:v>-4</c:v>
                </c:pt>
                <c:pt idx="3">
                  <c:v>-3.5</c:v>
                </c:pt>
                <c:pt idx="4">
                  <c:v>-3</c:v>
                </c:pt>
                <c:pt idx="5">
                  <c:v>-2.5</c:v>
                </c:pt>
                <c:pt idx="6">
                  <c:v>-2</c:v>
                </c:pt>
                <c:pt idx="7">
                  <c:v>-1.5</c:v>
                </c:pt>
              </c:numCache>
            </c:numRef>
          </c:val>
          <c:extLst>
            <c:ext xmlns:c16="http://schemas.microsoft.com/office/drawing/2014/chart" uri="{C3380CC4-5D6E-409C-BE32-E72D297353CC}">
              <c16:uniqueId val="{00000000-1272-4FA7-B762-5FE3450F1F7A}"/>
            </c:ext>
          </c:extLst>
        </c:ser>
        <c:ser>
          <c:idx val="1"/>
          <c:order val="1"/>
          <c:tx>
            <c:strRef>
              <c:f>Sheet1!$C$1</c:f>
              <c:strCache>
                <c:ptCount val="1"/>
                <c:pt idx="0">
                  <c:v>Right</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ries 1</c:v>
                </c:pt>
                <c:pt idx="1">
                  <c:v>Series 2</c:v>
                </c:pt>
                <c:pt idx="2">
                  <c:v>Series 3</c:v>
                </c:pt>
                <c:pt idx="3">
                  <c:v>Series 4</c:v>
                </c:pt>
                <c:pt idx="4">
                  <c:v>Series 5</c:v>
                </c:pt>
                <c:pt idx="5">
                  <c:v>Series 6</c:v>
                </c:pt>
                <c:pt idx="6">
                  <c:v>Series 7</c:v>
                </c:pt>
                <c:pt idx="7">
                  <c:v>Series 8</c:v>
                </c:pt>
              </c:strCache>
            </c:strRef>
          </c:cat>
          <c:val>
            <c:numRef>
              <c:f>Sheet1!$C$2:$C$9</c:f>
              <c:numCache>
                <c:formatCode>General</c:formatCode>
                <c:ptCount val="8"/>
                <c:pt idx="0">
                  <c:v>5</c:v>
                </c:pt>
                <c:pt idx="1">
                  <c:v>4.5</c:v>
                </c:pt>
                <c:pt idx="2">
                  <c:v>4</c:v>
                </c:pt>
                <c:pt idx="3">
                  <c:v>3.5</c:v>
                </c:pt>
                <c:pt idx="4">
                  <c:v>3</c:v>
                </c:pt>
                <c:pt idx="5">
                  <c:v>2.5</c:v>
                </c:pt>
                <c:pt idx="6">
                  <c:v>2</c:v>
                </c:pt>
                <c:pt idx="7">
                  <c:v>1.5</c:v>
                </c:pt>
              </c:numCache>
            </c:numRef>
          </c:val>
          <c:extLst>
            <c:ext xmlns:c16="http://schemas.microsoft.com/office/drawing/2014/chart" uri="{C3380CC4-5D6E-409C-BE32-E72D297353CC}">
              <c16:uniqueId val="{00000001-1272-4FA7-B762-5FE3450F1F7A}"/>
            </c:ext>
          </c:extLst>
        </c:ser>
        <c:dLbls>
          <c:dLblPos val="ctr"/>
          <c:showLegendKey val="0"/>
          <c:showVal val="1"/>
          <c:showCatName val="0"/>
          <c:showSerName val="0"/>
          <c:showPercent val="0"/>
          <c:showBubbleSize val="0"/>
        </c:dLbls>
        <c:gapWidth val="111"/>
        <c:overlap val="100"/>
        <c:axId val="316289064"/>
        <c:axId val="316291808"/>
      </c:barChart>
      <c:catAx>
        <c:axId val="316289064"/>
        <c:scaling>
          <c:orientation val="maxMin"/>
        </c:scaling>
        <c:delete val="0"/>
        <c:axPos val="l"/>
        <c:numFmt formatCode="General" sourceLinked="1"/>
        <c:majorTickMark val="none"/>
        <c:minorTickMark val="none"/>
        <c:tickLblPos val="none"/>
        <c:spPr>
          <a:solidFill>
            <a:schemeClr val="tx2"/>
          </a:solidFill>
          <a:ln w="9525" cap="flat" cmpd="sng" algn="ctr">
            <a:solidFill>
              <a:schemeClr val="tx2"/>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16291808"/>
        <c:crossesAt val="0"/>
        <c:auto val="0"/>
        <c:lblAlgn val="ctr"/>
        <c:lblOffset val="100"/>
        <c:noMultiLvlLbl val="0"/>
      </c:catAx>
      <c:valAx>
        <c:axId val="316291808"/>
        <c:scaling>
          <c:orientation val="minMax"/>
        </c:scaling>
        <c:delete val="0"/>
        <c:axPos val="b"/>
        <c:majorGridlines>
          <c:spPr>
            <a:ln w="3175" cap="flat" cmpd="sng" algn="ctr">
              <a:solidFill>
                <a:schemeClr val="tx2"/>
              </a:solidFill>
              <a:round/>
            </a:ln>
            <a:effectLst/>
          </c:spPr>
        </c:majorGridlines>
        <c:numFmt formatCode="General" sourceLinked="1"/>
        <c:majorTickMark val="none"/>
        <c:minorTickMark val="none"/>
        <c:tickLblPos val="none"/>
        <c:spPr>
          <a:noFill/>
          <a:ln w="3175">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9064"/>
        <c:crosses val="max"/>
        <c:crossBetween val="between"/>
      </c:valAx>
      <c:spPr>
        <a:noFill/>
        <a:ln>
          <a:noFill/>
        </a:ln>
        <a:effectLst/>
      </c:spPr>
    </c:plotArea>
    <c:legend>
      <c:legendPos val="b"/>
      <c:layout>
        <c:manualLayout>
          <c:xMode val="edge"/>
          <c:yMode val="edge"/>
          <c:x val="0.39959106002052702"/>
          <c:y val="0.93199527183804198"/>
          <c:w val="0.208266716238624"/>
          <c:h val="5.347275990818860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338046421836303E-2"/>
          <c:y val="3.4334768167811197E-2"/>
          <c:w val="0.95201420480782695"/>
          <c:h val="0.72384474687877998"/>
        </c:manualLayout>
      </c:layout>
      <c:barChart>
        <c:barDir val="col"/>
        <c:grouping val="clustered"/>
        <c:varyColors val="0"/>
        <c:ser>
          <c:idx val="0"/>
          <c:order val="0"/>
          <c:tx>
            <c:strRef>
              <c:f>Sheet1!$B$1</c:f>
              <c:strCache>
                <c:ptCount val="1"/>
                <c:pt idx="0">
                  <c:v>Series 1</c:v>
                </c:pt>
              </c:strCache>
            </c:strRef>
          </c:tx>
          <c:spPr>
            <a:solidFill>
              <a:schemeClr val="accent6"/>
            </a:solidFill>
            <a:ln>
              <a:noFill/>
            </a:ln>
            <a:effectLst/>
          </c:spPr>
          <c:invertIfNegative val="0"/>
          <c:dPt>
            <c:idx val="11"/>
            <c:invertIfNegative val="0"/>
            <c:bubble3D val="0"/>
            <c:spPr>
              <a:solidFill>
                <a:schemeClr val="accent1"/>
              </a:solidFill>
              <a:ln>
                <a:noFill/>
              </a:ln>
              <a:effectLst/>
            </c:spPr>
            <c:extLst>
              <c:ext xmlns:c16="http://schemas.microsoft.com/office/drawing/2014/chart" uri="{C3380CC4-5D6E-409C-BE32-E72D297353CC}">
                <c16:uniqueId val="{00000001-F24C-4FAA-9BBB-9B2C627281C3}"/>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9</c:f>
              <c:numCache>
                <c:formatCode>General</c:formatCode>
                <c:ptCount val="18"/>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c:v>
                </c:pt>
              </c:numCache>
            </c:numRef>
          </c:cat>
          <c:val>
            <c:numRef>
              <c:f>Sheet1!$B$2:$B$19</c:f>
              <c:numCache>
                <c:formatCode>General</c:formatCode>
                <c:ptCount val="18"/>
                <c:pt idx="0">
                  <c:v>2</c:v>
                </c:pt>
                <c:pt idx="1">
                  <c:v>2.4</c:v>
                </c:pt>
                <c:pt idx="2">
                  <c:v>3</c:v>
                </c:pt>
                <c:pt idx="3">
                  <c:v>5</c:v>
                </c:pt>
                <c:pt idx="4">
                  <c:v>1.8</c:v>
                </c:pt>
                <c:pt idx="5">
                  <c:v>2.8</c:v>
                </c:pt>
                <c:pt idx="6">
                  <c:v>4.4000000000000004</c:v>
                </c:pt>
                <c:pt idx="7">
                  <c:v>2.5</c:v>
                </c:pt>
                <c:pt idx="8">
                  <c:v>2</c:v>
                </c:pt>
                <c:pt idx="9">
                  <c:v>4.5</c:v>
                </c:pt>
                <c:pt idx="10">
                  <c:v>1.8</c:v>
                </c:pt>
                <c:pt idx="11">
                  <c:v>2.8</c:v>
                </c:pt>
                <c:pt idx="12">
                  <c:v>4.4000000000000004</c:v>
                </c:pt>
                <c:pt idx="13">
                  <c:v>2.5</c:v>
                </c:pt>
                <c:pt idx="14">
                  <c:v>2</c:v>
                </c:pt>
                <c:pt idx="15">
                  <c:v>2.4</c:v>
                </c:pt>
                <c:pt idx="16">
                  <c:v>3</c:v>
                </c:pt>
                <c:pt idx="17">
                  <c:v>5</c:v>
                </c:pt>
              </c:numCache>
            </c:numRef>
          </c:val>
          <c:extLst>
            <c:ext xmlns:c16="http://schemas.microsoft.com/office/drawing/2014/chart" uri="{C3380CC4-5D6E-409C-BE32-E72D297353CC}">
              <c16:uniqueId val="{00000002-F24C-4FAA-9BBB-9B2C627281C3}"/>
            </c:ext>
          </c:extLst>
        </c:ser>
        <c:dLbls>
          <c:showLegendKey val="0"/>
          <c:showVal val="0"/>
          <c:showCatName val="0"/>
          <c:showSerName val="0"/>
          <c:showPercent val="0"/>
          <c:showBubbleSize val="0"/>
        </c:dLbls>
        <c:gapWidth val="145"/>
        <c:overlap val="-27"/>
        <c:axId val="-74266800"/>
        <c:axId val="-74284224"/>
      </c:barChart>
      <c:catAx>
        <c:axId val="-74266800"/>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crossAx val="-74284224"/>
        <c:crosses val="autoZero"/>
        <c:auto val="1"/>
        <c:lblAlgn val="ctr"/>
        <c:lblOffset val="100"/>
        <c:noMultiLvlLbl val="0"/>
      </c:catAx>
      <c:valAx>
        <c:axId val="-7428422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crossAx val="-742668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6359862586595E-2"/>
          <c:y val="4.3014547664732498E-2"/>
          <c:w val="0.95436401374133994"/>
          <c:h val="0.75101842738407698"/>
        </c:manualLayout>
      </c:layout>
      <c:barChart>
        <c:barDir val="col"/>
        <c:grouping val="stack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5</c:v>
                </c:pt>
                <c:pt idx="1">
                  <c:v>13</c:v>
                </c:pt>
                <c:pt idx="2">
                  <c:v>12</c:v>
                </c:pt>
              </c:numCache>
            </c:numRef>
          </c:val>
          <c:extLst>
            <c:ext xmlns:c16="http://schemas.microsoft.com/office/drawing/2014/chart" uri="{C3380CC4-5D6E-409C-BE32-E72D297353CC}">
              <c16:uniqueId val="{00000000-8843-4C4A-A58D-9BDA53EF773F}"/>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5</c:v>
                </c:pt>
                <c:pt idx="1">
                  <c:v>13</c:v>
                </c:pt>
                <c:pt idx="2">
                  <c:v>12</c:v>
                </c:pt>
              </c:numCache>
            </c:numRef>
          </c:val>
          <c:extLst>
            <c:ext xmlns:c16="http://schemas.microsoft.com/office/drawing/2014/chart" uri="{C3380CC4-5D6E-409C-BE32-E72D297353CC}">
              <c16:uniqueId val="{00000001-8843-4C4A-A58D-9BDA53EF773F}"/>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D$2:$D$4</c:f>
              <c:numCache>
                <c:formatCode>General</c:formatCode>
                <c:ptCount val="3"/>
                <c:pt idx="0">
                  <c:v>15</c:v>
                </c:pt>
                <c:pt idx="1">
                  <c:v>13</c:v>
                </c:pt>
                <c:pt idx="2">
                  <c:v>12</c:v>
                </c:pt>
              </c:numCache>
            </c:numRef>
          </c:val>
          <c:extLst>
            <c:ext xmlns:c16="http://schemas.microsoft.com/office/drawing/2014/chart" uri="{C3380CC4-5D6E-409C-BE32-E72D297353CC}">
              <c16:uniqueId val="{00000002-8843-4C4A-A58D-9BDA53EF773F}"/>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E$2:$E$4</c:f>
              <c:numCache>
                <c:formatCode>General</c:formatCode>
                <c:ptCount val="3"/>
                <c:pt idx="0">
                  <c:v>15</c:v>
                </c:pt>
                <c:pt idx="1">
                  <c:v>13</c:v>
                </c:pt>
                <c:pt idx="2">
                  <c:v>12</c:v>
                </c:pt>
              </c:numCache>
            </c:numRef>
          </c:val>
          <c:extLst>
            <c:ext xmlns:c16="http://schemas.microsoft.com/office/drawing/2014/chart" uri="{C3380CC4-5D6E-409C-BE32-E72D297353CC}">
              <c16:uniqueId val="{00000003-8843-4C4A-A58D-9BDA53EF773F}"/>
            </c:ext>
          </c:extLst>
        </c:ser>
        <c:ser>
          <c:idx val="4"/>
          <c:order val="4"/>
          <c:tx>
            <c:strRef>
              <c:f>Sheet1!$F$1</c:f>
              <c:strCache>
                <c:ptCount val="1"/>
                <c:pt idx="0">
                  <c:v>Label 5</c:v>
                </c:pt>
              </c:strCache>
            </c:strRef>
          </c:tx>
          <c:spPr>
            <a:solidFill>
              <a:schemeClr val="accent5"/>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F$2:$F$4</c:f>
              <c:numCache>
                <c:formatCode>General</c:formatCode>
                <c:ptCount val="3"/>
                <c:pt idx="0">
                  <c:v>15</c:v>
                </c:pt>
                <c:pt idx="1">
                  <c:v>13</c:v>
                </c:pt>
                <c:pt idx="2">
                  <c:v>12</c:v>
                </c:pt>
              </c:numCache>
            </c:numRef>
          </c:val>
          <c:extLst>
            <c:ext xmlns:c16="http://schemas.microsoft.com/office/drawing/2014/chart" uri="{C3380CC4-5D6E-409C-BE32-E72D297353CC}">
              <c16:uniqueId val="{00000004-8843-4C4A-A58D-9BDA53EF773F}"/>
            </c:ext>
          </c:extLst>
        </c:ser>
        <c:ser>
          <c:idx val="5"/>
          <c:order val="5"/>
          <c:tx>
            <c:strRef>
              <c:f>Sheet1!$G$1</c:f>
              <c:strCache>
                <c:ptCount val="1"/>
                <c:pt idx="0">
                  <c:v>Label 6</c:v>
                </c:pt>
              </c:strCache>
            </c:strRef>
          </c:tx>
          <c:spPr>
            <a:solidFill>
              <a:schemeClr val="tx1">
                <a:lumMod val="65000"/>
                <a:lumOff val="3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G$2:$G$4</c:f>
              <c:numCache>
                <c:formatCode>General</c:formatCode>
                <c:ptCount val="3"/>
                <c:pt idx="0">
                  <c:v>15</c:v>
                </c:pt>
                <c:pt idx="1">
                  <c:v>13</c:v>
                </c:pt>
                <c:pt idx="2">
                  <c:v>12</c:v>
                </c:pt>
              </c:numCache>
            </c:numRef>
          </c:val>
          <c:extLst>
            <c:ext xmlns:c16="http://schemas.microsoft.com/office/drawing/2014/chart" uri="{C3380CC4-5D6E-409C-BE32-E72D297353CC}">
              <c16:uniqueId val="{00000005-8843-4C4A-A58D-9BDA53EF773F}"/>
            </c:ext>
          </c:extLst>
        </c:ser>
        <c:ser>
          <c:idx val="6"/>
          <c:order val="6"/>
          <c:tx>
            <c:strRef>
              <c:f>Sheet1!$H$1</c:f>
              <c:strCache>
                <c:ptCount val="1"/>
                <c:pt idx="0">
                  <c:v>Label 7</c:v>
                </c:pt>
              </c:strCache>
            </c:strRef>
          </c:tx>
          <c:spPr>
            <a:solidFill>
              <a:schemeClr val="accent4">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H$2:$H$4</c:f>
              <c:numCache>
                <c:formatCode>General</c:formatCode>
                <c:ptCount val="3"/>
                <c:pt idx="0">
                  <c:v>15</c:v>
                </c:pt>
                <c:pt idx="1">
                  <c:v>13</c:v>
                </c:pt>
                <c:pt idx="2">
                  <c:v>12</c:v>
                </c:pt>
              </c:numCache>
            </c:numRef>
          </c:val>
          <c:extLst>
            <c:ext xmlns:c16="http://schemas.microsoft.com/office/drawing/2014/chart" uri="{C3380CC4-5D6E-409C-BE32-E72D297353CC}">
              <c16:uniqueId val="{00000006-8843-4C4A-A58D-9BDA53EF773F}"/>
            </c:ext>
          </c:extLst>
        </c:ser>
        <c:ser>
          <c:idx val="7"/>
          <c:order val="7"/>
          <c:tx>
            <c:strRef>
              <c:f>Sheet1!$I$1</c:f>
              <c:strCache>
                <c:ptCount val="1"/>
                <c:pt idx="0">
                  <c:v>Label 8</c:v>
                </c:pt>
              </c:strCache>
            </c:strRef>
          </c:tx>
          <c:spPr>
            <a:solidFill>
              <a:schemeClr val="accent3">
                <a:lumMod val="7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I$2:$I$4</c:f>
              <c:numCache>
                <c:formatCode>General</c:formatCode>
                <c:ptCount val="3"/>
                <c:pt idx="0">
                  <c:v>15</c:v>
                </c:pt>
                <c:pt idx="1">
                  <c:v>13</c:v>
                </c:pt>
                <c:pt idx="2">
                  <c:v>12</c:v>
                </c:pt>
              </c:numCache>
            </c:numRef>
          </c:val>
          <c:extLst>
            <c:ext xmlns:c16="http://schemas.microsoft.com/office/drawing/2014/chart" uri="{C3380CC4-5D6E-409C-BE32-E72D297353CC}">
              <c16:uniqueId val="{00000007-8843-4C4A-A58D-9BDA53EF773F}"/>
            </c:ext>
          </c:extLst>
        </c:ser>
        <c:ser>
          <c:idx val="8"/>
          <c:order val="8"/>
          <c:tx>
            <c:strRef>
              <c:f>Sheet1!$J$1</c:f>
              <c:strCache>
                <c:ptCount val="1"/>
                <c:pt idx="0">
                  <c:v>Label 9</c:v>
                </c:pt>
              </c:strCache>
            </c:strRef>
          </c:tx>
          <c:spPr>
            <a:solidFill>
              <a:schemeClr val="bg1">
                <a:lumMod val="65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J$2:$J$4</c:f>
              <c:numCache>
                <c:formatCode>General</c:formatCode>
                <c:ptCount val="3"/>
                <c:pt idx="0">
                  <c:v>15</c:v>
                </c:pt>
                <c:pt idx="1">
                  <c:v>13</c:v>
                </c:pt>
                <c:pt idx="2">
                  <c:v>12</c:v>
                </c:pt>
              </c:numCache>
            </c:numRef>
          </c:val>
          <c:extLst>
            <c:ext xmlns:c16="http://schemas.microsoft.com/office/drawing/2014/chart" uri="{C3380CC4-5D6E-409C-BE32-E72D297353CC}">
              <c16:uniqueId val="{00000008-8843-4C4A-A58D-9BDA53EF773F}"/>
            </c:ext>
          </c:extLst>
        </c:ser>
        <c:ser>
          <c:idx val="9"/>
          <c:order val="9"/>
          <c:tx>
            <c:strRef>
              <c:f>Sheet1!$K$1</c:f>
              <c:strCache>
                <c:ptCount val="1"/>
                <c:pt idx="0">
                  <c:v>Label 10</c:v>
                </c:pt>
              </c:strCache>
            </c:strRef>
          </c:tx>
          <c:spPr>
            <a:solidFill>
              <a:schemeClr val="accent5">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K$2:$K$4</c:f>
              <c:numCache>
                <c:formatCode>General</c:formatCode>
                <c:ptCount val="3"/>
                <c:pt idx="0">
                  <c:v>15</c:v>
                </c:pt>
                <c:pt idx="1">
                  <c:v>13</c:v>
                </c:pt>
                <c:pt idx="2">
                  <c:v>12</c:v>
                </c:pt>
              </c:numCache>
            </c:numRef>
          </c:val>
          <c:extLst>
            <c:ext xmlns:c16="http://schemas.microsoft.com/office/drawing/2014/chart" uri="{C3380CC4-5D6E-409C-BE32-E72D297353CC}">
              <c16:uniqueId val="{00000009-8843-4C4A-A58D-9BDA53EF773F}"/>
            </c:ext>
          </c:extLst>
        </c:ser>
        <c:ser>
          <c:idx val="10"/>
          <c:order val="10"/>
          <c:tx>
            <c:strRef>
              <c:f>Sheet1!$L$1</c:f>
              <c:strCache>
                <c:ptCount val="1"/>
                <c:pt idx="0">
                  <c:v>Label 11</c:v>
                </c:pt>
              </c:strCache>
            </c:strRef>
          </c:tx>
          <c:spPr>
            <a:solidFill>
              <a:srgbClr val="7BCE6C"/>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L$2:$L$4</c:f>
              <c:numCache>
                <c:formatCode>General</c:formatCode>
                <c:ptCount val="3"/>
                <c:pt idx="0">
                  <c:v>15</c:v>
                </c:pt>
                <c:pt idx="1">
                  <c:v>13</c:v>
                </c:pt>
                <c:pt idx="2">
                  <c:v>12</c:v>
                </c:pt>
              </c:numCache>
            </c:numRef>
          </c:val>
          <c:extLst>
            <c:ext xmlns:c16="http://schemas.microsoft.com/office/drawing/2014/chart" uri="{C3380CC4-5D6E-409C-BE32-E72D297353CC}">
              <c16:uniqueId val="{0000000A-8843-4C4A-A58D-9BDA53EF773F}"/>
            </c:ext>
          </c:extLst>
        </c:ser>
        <c:ser>
          <c:idx val="11"/>
          <c:order val="11"/>
          <c:tx>
            <c:strRef>
              <c:f>Sheet1!$M$1</c:f>
              <c:strCache>
                <c:ptCount val="1"/>
                <c:pt idx="0">
                  <c:v>Label 12</c:v>
                </c:pt>
              </c:strCache>
            </c:strRef>
          </c:tx>
          <c:spPr>
            <a:solidFill>
              <a:schemeClr val="accent3">
                <a:lumMod val="40000"/>
                <a:lumOff val="60000"/>
              </a:schemeClr>
            </a:solidFill>
            <a:ln w="12700">
              <a:noFill/>
              <a:prstDash val="solid"/>
            </a:ln>
          </c:spPr>
          <c:invertIfNegative val="0"/>
          <c:dLbls>
            <c:numFmt formatCode="#,##0.0" sourceLinked="0"/>
            <c:spPr>
              <a:noFill/>
              <a:ln>
                <a:noFill/>
              </a:ln>
              <a:effectLst/>
            </c:spPr>
            <c:txPr>
              <a:bodyPr/>
              <a:lstStyle/>
              <a:p>
                <a:pPr>
                  <a:defRPr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M$2:$M$4</c:f>
              <c:numCache>
                <c:formatCode>General</c:formatCode>
                <c:ptCount val="3"/>
                <c:pt idx="0">
                  <c:v>15</c:v>
                </c:pt>
                <c:pt idx="1">
                  <c:v>13</c:v>
                </c:pt>
                <c:pt idx="2">
                  <c:v>12</c:v>
                </c:pt>
              </c:numCache>
            </c:numRef>
          </c:val>
          <c:extLst>
            <c:ext xmlns:c16="http://schemas.microsoft.com/office/drawing/2014/chart" uri="{C3380CC4-5D6E-409C-BE32-E72D297353CC}">
              <c16:uniqueId val="{0000000B-8843-4C4A-A58D-9BDA53EF773F}"/>
            </c:ext>
          </c:extLst>
        </c:ser>
        <c:ser>
          <c:idx val="12"/>
          <c:order val="12"/>
          <c:tx>
            <c:strRef>
              <c:f>Sheet1!$N$1</c:f>
              <c:strCache>
                <c:ptCount val="1"/>
                <c:pt idx="0">
                  <c:v>Label 13</c:v>
                </c:pt>
              </c:strCache>
            </c:strRef>
          </c:tx>
          <c:spPr>
            <a:solidFill>
              <a:schemeClr val="accent1">
                <a:lumMod val="40000"/>
                <a:lumOff val="60000"/>
              </a:schemeClr>
            </a:solidFill>
            <a:ln w="12700">
              <a:noFill/>
              <a:prstDash val="solid"/>
            </a:ln>
          </c:spPr>
          <c:invertIfNegative val="0"/>
          <c:dLbls>
            <c:dLbl>
              <c:idx val="0"/>
              <c:numFmt formatCode="#,##0.0" sourceLinked="0"/>
              <c:spPr>
                <a:noFill/>
                <a:ln>
                  <a:noFill/>
                </a:ln>
                <a:effectLst/>
              </c:spPr>
              <c:txPr>
                <a:bodyPr/>
                <a:lstStyle/>
                <a:p>
                  <a:pPr>
                    <a:defRPr lang="en-US" sz="800" b="0">
                      <a:solidFill>
                        <a:schemeClr val="tx1"/>
                      </a:solidFill>
                      <a:latin typeface="+mn-lt"/>
                      <a:ea typeface="+mn-lt"/>
                      <a:cs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C-8843-4C4A-A58D-9BDA53EF773F}"/>
                </c:ext>
              </c:extLst>
            </c:dLbl>
            <c:numFmt formatCode="#,##0.0" sourceLinked="0"/>
            <c:spPr>
              <a:noFill/>
              <a:ln>
                <a:noFill/>
              </a:ln>
              <a:effectLst/>
            </c:spPr>
            <c:txPr>
              <a:bodyPr/>
              <a:lstStyle/>
              <a:p>
                <a:pPr>
                  <a:defRPr lang="en-US" sz="9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N$2:$N$4</c:f>
              <c:numCache>
                <c:formatCode>General</c:formatCode>
                <c:ptCount val="3"/>
                <c:pt idx="0">
                  <c:v>15</c:v>
                </c:pt>
                <c:pt idx="1">
                  <c:v>13</c:v>
                </c:pt>
                <c:pt idx="2">
                  <c:v>12</c:v>
                </c:pt>
              </c:numCache>
            </c:numRef>
          </c:val>
          <c:extLst>
            <c:ext xmlns:c16="http://schemas.microsoft.com/office/drawing/2014/chart" uri="{C3380CC4-5D6E-409C-BE32-E72D297353CC}">
              <c16:uniqueId val="{0000000D-8843-4C4A-A58D-9BDA53EF773F}"/>
            </c:ext>
          </c:extLst>
        </c:ser>
        <c:ser>
          <c:idx val="13"/>
          <c:order val="13"/>
          <c:tx>
            <c:strRef>
              <c:f>Sheet1!$O$1</c:f>
              <c:strCache>
                <c:ptCount val="1"/>
                <c:pt idx="0">
                  <c:v>Label 14</c:v>
                </c:pt>
              </c:strCache>
            </c:strRef>
          </c:tx>
          <c:spPr>
            <a:solidFill>
              <a:schemeClr val="bg2">
                <a:lumMod val="90000"/>
              </a:schemeClr>
            </a:solidFill>
            <a:ln w="12700">
              <a:noFill/>
              <a:prstDash val="solid"/>
            </a:ln>
          </c:spPr>
          <c:invertIfNegative val="0"/>
          <c:dLbls>
            <c:numFmt formatCode="#,##0.0" sourceLinked="0"/>
            <c:spPr>
              <a:noFill/>
              <a:ln>
                <a:noFill/>
              </a:ln>
              <a:effectLst/>
            </c:spPr>
            <c:txPr>
              <a:bodyPr/>
              <a:lstStyle/>
              <a:p>
                <a:pPr>
                  <a:defRPr sz="9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O$2:$O$4</c:f>
              <c:numCache>
                <c:formatCode>General</c:formatCode>
                <c:ptCount val="3"/>
                <c:pt idx="0">
                  <c:v>15</c:v>
                </c:pt>
                <c:pt idx="1">
                  <c:v>13</c:v>
                </c:pt>
                <c:pt idx="2">
                  <c:v>12</c:v>
                </c:pt>
              </c:numCache>
            </c:numRef>
          </c:val>
          <c:extLst>
            <c:ext xmlns:c16="http://schemas.microsoft.com/office/drawing/2014/chart" uri="{C3380CC4-5D6E-409C-BE32-E72D297353CC}">
              <c16:uniqueId val="{0000000E-8843-4C4A-A58D-9BDA53EF773F}"/>
            </c:ext>
          </c:extLst>
        </c:ser>
        <c:dLbls>
          <c:dLblPos val="ctr"/>
          <c:showLegendKey val="0"/>
          <c:showVal val="1"/>
          <c:showCatName val="0"/>
          <c:showSerName val="0"/>
          <c:showPercent val="0"/>
          <c:showBubbleSize val="0"/>
        </c:dLbls>
        <c:gapWidth val="150"/>
        <c:overlap val="100"/>
        <c:axId val="19563008"/>
        <c:axId val="19636112"/>
      </c:barChart>
      <c:catAx>
        <c:axId val="19563008"/>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9636112"/>
        <c:crosses val="autoZero"/>
        <c:auto val="1"/>
        <c:lblAlgn val="ctr"/>
        <c:lblOffset val="100"/>
        <c:noMultiLvlLbl val="0"/>
      </c:catAx>
      <c:valAx>
        <c:axId val="1963611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100" b="0">
                <a:solidFill>
                  <a:srgbClr val="53565A"/>
                </a:solidFill>
                <a:latin typeface="+mn-lt"/>
                <a:ea typeface="+mn-lt"/>
                <a:cs typeface="+mn-lt"/>
              </a:defRPr>
            </a:pPr>
            <a:endParaRPr lang="en-US"/>
          </a:p>
        </c:txPr>
        <c:crossAx val="19563008"/>
        <c:crosses val="autoZero"/>
        <c:crossBetween val="between"/>
        <c:majorUnit val="50"/>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4.5795323511529498E-2"/>
          <c:y val="0.88878216794637599"/>
          <c:w val="0.90838868842968401"/>
          <c:h val="8.62471292650918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5789697342728803"/>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967E-4867-8E7A-7FA7934D8422}"/>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967E-4867-8E7A-7FA7934D8422}"/>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967E-4867-8E7A-7FA7934D8422}"/>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967E-4867-8E7A-7FA7934D8422}"/>
            </c:ext>
          </c:extLst>
        </c:ser>
        <c:dLbls>
          <c:dLblPos val="outEnd"/>
          <c:showLegendKey val="0"/>
          <c:showVal val="1"/>
          <c:showCatName val="0"/>
          <c:showSerName val="0"/>
          <c:showPercent val="0"/>
          <c:showBubbleSize val="0"/>
        </c:dLbls>
        <c:gapWidth val="75"/>
        <c:axId val="-72453712"/>
        <c:axId val="-72451664"/>
      </c:barChart>
      <c:catAx>
        <c:axId val="-72453712"/>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72451664"/>
        <c:crosses val="autoZero"/>
        <c:auto val="1"/>
        <c:lblAlgn val="ctr"/>
        <c:lblOffset val="100"/>
        <c:noMultiLvlLbl val="0"/>
      </c:catAx>
      <c:valAx>
        <c:axId val="-7245166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72453712"/>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4414696057048504"/>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CD07-4D8F-81E9-464AAC9892AB}"/>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CD07-4D8F-81E9-464AAC9892AB}"/>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CD07-4D8F-81E9-464AAC9892AB}"/>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CD07-4D8F-81E9-464AAC9892AB}"/>
            </c:ext>
          </c:extLst>
        </c:ser>
        <c:dLbls>
          <c:dLblPos val="outEnd"/>
          <c:showLegendKey val="0"/>
          <c:showVal val="1"/>
          <c:showCatName val="0"/>
          <c:showSerName val="0"/>
          <c:showPercent val="0"/>
          <c:showBubbleSize val="0"/>
        </c:dLbls>
        <c:gapWidth val="75"/>
        <c:axId val="117623408"/>
        <c:axId val="117625456"/>
      </c:barChart>
      <c:catAx>
        <c:axId val="117623408"/>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7625456"/>
        <c:crosses val="autoZero"/>
        <c:auto val="1"/>
        <c:lblAlgn val="ctr"/>
        <c:lblOffset val="100"/>
        <c:noMultiLvlLbl val="0"/>
      </c:catAx>
      <c:valAx>
        <c:axId val="11762545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17623408"/>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5789697342728803"/>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4A86-4AF9-B4E0-7BDFA55E3899}"/>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4A86-4AF9-B4E0-7BDFA55E3899}"/>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4A86-4AF9-B4E0-7BDFA55E3899}"/>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4A86-4AF9-B4E0-7BDFA55E3899}"/>
            </c:ext>
          </c:extLst>
        </c:ser>
        <c:dLbls>
          <c:dLblPos val="outEnd"/>
          <c:showLegendKey val="0"/>
          <c:showVal val="1"/>
          <c:showCatName val="0"/>
          <c:showSerName val="0"/>
          <c:showPercent val="0"/>
          <c:showBubbleSize val="0"/>
        </c:dLbls>
        <c:gapWidth val="75"/>
        <c:axId val="19355664"/>
        <c:axId val="19357712"/>
      </c:barChart>
      <c:catAx>
        <c:axId val="19355664"/>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9357712"/>
        <c:crosses val="autoZero"/>
        <c:auto val="1"/>
        <c:lblAlgn val="ctr"/>
        <c:lblOffset val="100"/>
        <c:noMultiLvlLbl val="0"/>
      </c:catAx>
      <c:valAx>
        <c:axId val="1935771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9355664"/>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4414696057048504"/>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0-1AB0-4699-86E4-6CC54ED40CB6}"/>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1-1AB0-4699-86E4-6CC54ED40CB6}"/>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4</c:v>
                </c:pt>
                <c:pt idx="2">
                  <c:v>6</c:v>
                </c:pt>
                <c:pt idx="3">
                  <c:v>8</c:v>
                </c:pt>
              </c:numCache>
            </c:numRef>
          </c:val>
          <c:extLst>
            <c:ext xmlns:c16="http://schemas.microsoft.com/office/drawing/2014/chart" uri="{C3380CC4-5D6E-409C-BE32-E72D297353CC}">
              <c16:uniqueId val="{00000002-1AB0-4699-86E4-6CC54ED40CB6}"/>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1</c:v>
                </c:pt>
                <c:pt idx="1">
                  <c:v>3</c:v>
                </c:pt>
                <c:pt idx="2">
                  <c:v>5</c:v>
                </c:pt>
                <c:pt idx="3">
                  <c:v>7</c:v>
                </c:pt>
              </c:numCache>
            </c:numRef>
          </c:val>
          <c:extLst>
            <c:ext xmlns:c16="http://schemas.microsoft.com/office/drawing/2014/chart" uri="{C3380CC4-5D6E-409C-BE32-E72D297353CC}">
              <c16:uniqueId val="{00000003-1AB0-4699-86E4-6CC54ED40CB6}"/>
            </c:ext>
          </c:extLst>
        </c:ser>
        <c:dLbls>
          <c:dLblPos val="outEnd"/>
          <c:showLegendKey val="0"/>
          <c:showVal val="1"/>
          <c:showCatName val="0"/>
          <c:showSerName val="0"/>
          <c:showPercent val="0"/>
          <c:showBubbleSize val="0"/>
        </c:dLbls>
        <c:gapWidth val="75"/>
        <c:axId val="-73586512"/>
        <c:axId val="-73584880"/>
      </c:barChart>
      <c:catAx>
        <c:axId val="-73586512"/>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73584880"/>
        <c:crosses val="autoZero"/>
        <c:auto val="1"/>
        <c:lblAlgn val="ctr"/>
        <c:lblOffset val="100"/>
        <c:noMultiLvlLbl val="0"/>
      </c:catAx>
      <c:valAx>
        <c:axId val="-73584880"/>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73586512"/>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3.5966850663256299E-2"/>
          <c:y val="4.6153842659460598E-2"/>
          <c:w val="0.95510331463416798"/>
          <c:h val="0.74912510936133003"/>
        </c:manualLayout>
      </c:layout>
      <c:barChart>
        <c:barDir val="col"/>
        <c:grouping val="clustered"/>
        <c:varyColors val="0"/>
        <c:ser>
          <c:idx val="0"/>
          <c:order val="0"/>
          <c:tx>
            <c:strRef>
              <c:f>Sheet1!$B$1</c:f>
              <c:strCache>
                <c:ptCount val="1"/>
                <c:pt idx="0">
                  <c:v>Label 1</c:v>
                </c:pt>
              </c:strCache>
            </c:strRef>
          </c:tx>
          <c:spPr>
            <a:solidFill>
              <a:schemeClr val="accent2">
                <a:tint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1515-4493-B149-2D6FF3D6AB6E}"/>
            </c:ext>
          </c:extLst>
        </c:ser>
        <c:ser>
          <c:idx val="1"/>
          <c:order val="1"/>
          <c:tx>
            <c:strRef>
              <c:f>Sheet1!$C$1</c:f>
              <c:strCache>
                <c:ptCount val="1"/>
                <c:pt idx="0">
                  <c:v>Label 2</c:v>
                </c:pt>
              </c:strCache>
            </c:strRef>
          </c:tx>
          <c:spPr>
            <a:solidFill>
              <a:schemeClr val="accent2">
                <a:tint val="49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1</c:v>
                </c:pt>
                <c:pt idx="1">
                  <c:v>11</c:v>
                </c:pt>
                <c:pt idx="2">
                  <c:v>11</c:v>
                </c:pt>
              </c:numCache>
            </c:numRef>
          </c:val>
          <c:extLst>
            <c:ext xmlns:c16="http://schemas.microsoft.com/office/drawing/2014/chart" uri="{C3380CC4-5D6E-409C-BE32-E72D297353CC}">
              <c16:uniqueId val="{00000001-1515-4493-B149-2D6FF3D6AB6E}"/>
            </c:ext>
          </c:extLst>
        </c:ser>
        <c:ser>
          <c:idx val="2"/>
          <c:order val="2"/>
          <c:tx>
            <c:strRef>
              <c:f>Sheet1!$D$1</c:f>
              <c:strCache>
                <c:ptCount val="1"/>
                <c:pt idx="0">
                  <c:v>Label 3</c:v>
                </c:pt>
              </c:strCache>
            </c:strRef>
          </c:tx>
          <c:spPr>
            <a:solidFill>
              <a:schemeClr val="accent2">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D$2:$D$4</c:f>
              <c:numCache>
                <c:formatCode>General</c:formatCode>
                <c:ptCount val="3"/>
                <c:pt idx="0">
                  <c:v>12</c:v>
                </c:pt>
                <c:pt idx="1">
                  <c:v>12</c:v>
                </c:pt>
                <c:pt idx="2">
                  <c:v>12</c:v>
                </c:pt>
              </c:numCache>
            </c:numRef>
          </c:val>
          <c:extLst>
            <c:ext xmlns:c16="http://schemas.microsoft.com/office/drawing/2014/chart" uri="{C3380CC4-5D6E-409C-BE32-E72D297353CC}">
              <c16:uniqueId val="{00000002-1515-4493-B149-2D6FF3D6AB6E}"/>
            </c:ext>
          </c:extLst>
        </c:ser>
        <c:ser>
          <c:idx val="3"/>
          <c:order val="3"/>
          <c:tx>
            <c:strRef>
              <c:f>Sheet1!$E$1</c:f>
              <c:strCache>
                <c:ptCount val="1"/>
                <c:pt idx="0">
                  <c:v>Label 4</c:v>
                </c:pt>
              </c:strCache>
            </c:strRef>
          </c:tx>
          <c:spPr>
            <a:solidFill>
              <a:schemeClr val="accent2">
                <a:tint val="6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E$2:$E$4</c:f>
              <c:numCache>
                <c:formatCode>General</c:formatCode>
                <c:ptCount val="3"/>
                <c:pt idx="0">
                  <c:v>13</c:v>
                </c:pt>
                <c:pt idx="1">
                  <c:v>13</c:v>
                </c:pt>
                <c:pt idx="2">
                  <c:v>13</c:v>
                </c:pt>
              </c:numCache>
            </c:numRef>
          </c:val>
          <c:extLst>
            <c:ext xmlns:c16="http://schemas.microsoft.com/office/drawing/2014/chart" uri="{C3380CC4-5D6E-409C-BE32-E72D297353CC}">
              <c16:uniqueId val="{00000003-1515-4493-B149-2D6FF3D6AB6E}"/>
            </c:ext>
          </c:extLst>
        </c:ser>
        <c:ser>
          <c:idx val="4"/>
          <c:order val="4"/>
          <c:tx>
            <c:strRef>
              <c:f>Sheet1!$F$1</c:f>
              <c:strCache>
                <c:ptCount val="1"/>
                <c:pt idx="0">
                  <c:v>Label 5</c:v>
                </c:pt>
              </c:strCache>
            </c:strRef>
          </c:tx>
          <c:spPr>
            <a:solidFill>
              <a:schemeClr val="accent2">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F$2:$F$4</c:f>
              <c:numCache>
                <c:formatCode>General</c:formatCode>
                <c:ptCount val="3"/>
                <c:pt idx="0">
                  <c:v>14</c:v>
                </c:pt>
                <c:pt idx="1">
                  <c:v>14</c:v>
                </c:pt>
                <c:pt idx="2">
                  <c:v>14</c:v>
                </c:pt>
              </c:numCache>
            </c:numRef>
          </c:val>
          <c:extLst>
            <c:ext xmlns:c16="http://schemas.microsoft.com/office/drawing/2014/chart" uri="{C3380CC4-5D6E-409C-BE32-E72D297353CC}">
              <c16:uniqueId val="{00000004-1515-4493-B149-2D6FF3D6AB6E}"/>
            </c:ext>
          </c:extLst>
        </c:ser>
        <c:ser>
          <c:idx val="5"/>
          <c:order val="5"/>
          <c:tx>
            <c:strRef>
              <c:f>Sheet1!$G$1</c:f>
              <c:strCache>
                <c:ptCount val="1"/>
                <c:pt idx="0">
                  <c:v>Label 6</c:v>
                </c:pt>
              </c:strCache>
            </c:strRef>
          </c:tx>
          <c:spPr>
            <a:solidFill>
              <a:schemeClr val="accent2">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G$2:$G$4</c:f>
              <c:numCache>
                <c:formatCode>General</c:formatCode>
                <c:ptCount val="3"/>
                <c:pt idx="0">
                  <c:v>15</c:v>
                </c:pt>
                <c:pt idx="1">
                  <c:v>15</c:v>
                </c:pt>
                <c:pt idx="2">
                  <c:v>15</c:v>
                </c:pt>
              </c:numCache>
            </c:numRef>
          </c:val>
          <c:extLst>
            <c:ext xmlns:c16="http://schemas.microsoft.com/office/drawing/2014/chart" uri="{C3380CC4-5D6E-409C-BE32-E72D297353CC}">
              <c16:uniqueId val="{00000005-1515-4493-B149-2D6FF3D6AB6E}"/>
            </c:ext>
          </c:extLst>
        </c:ser>
        <c:ser>
          <c:idx val="6"/>
          <c:order val="6"/>
          <c:tx>
            <c:strRef>
              <c:f>Sheet1!$H$1</c:f>
              <c:strCache>
                <c:ptCount val="1"/>
                <c:pt idx="0">
                  <c:v>Label 7</c:v>
                </c:pt>
              </c:strCache>
            </c:strRef>
          </c:tx>
          <c:spPr>
            <a:solidFill>
              <a:schemeClr val="accent2">
                <a:tint val="9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H$2:$H$4</c:f>
              <c:numCache>
                <c:formatCode>General</c:formatCode>
                <c:ptCount val="3"/>
                <c:pt idx="0">
                  <c:v>16</c:v>
                </c:pt>
                <c:pt idx="1">
                  <c:v>16</c:v>
                </c:pt>
                <c:pt idx="2">
                  <c:v>16</c:v>
                </c:pt>
              </c:numCache>
            </c:numRef>
          </c:val>
          <c:extLst>
            <c:ext xmlns:c16="http://schemas.microsoft.com/office/drawing/2014/chart" uri="{C3380CC4-5D6E-409C-BE32-E72D297353CC}">
              <c16:uniqueId val="{00000006-1515-4493-B149-2D6FF3D6AB6E}"/>
            </c:ext>
          </c:extLst>
        </c:ser>
        <c:ser>
          <c:idx val="7"/>
          <c:order val="7"/>
          <c:tx>
            <c:strRef>
              <c:f>Sheet1!$I$1</c:f>
              <c:strCache>
                <c:ptCount val="1"/>
                <c:pt idx="0">
                  <c:v>Label 8</c:v>
                </c:pt>
              </c:strCache>
            </c:strRef>
          </c:tx>
          <c:spPr>
            <a:solidFill>
              <a:schemeClr val="accent2">
                <a:shade val="9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I$2:$I$4</c:f>
              <c:numCache>
                <c:formatCode>General</c:formatCode>
                <c:ptCount val="3"/>
                <c:pt idx="0">
                  <c:v>17</c:v>
                </c:pt>
                <c:pt idx="1">
                  <c:v>17</c:v>
                </c:pt>
                <c:pt idx="2">
                  <c:v>17</c:v>
                </c:pt>
              </c:numCache>
            </c:numRef>
          </c:val>
          <c:extLst>
            <c:ext xmlns:c16="http://schemas.microsoft.com/office/drawing/2014/chart" uri="{C3380CC4-5D6E-409C-BE32-E72D297353CC}">
              <c16:uniqueId val="{00000007-1515-4493-B149-2D6FF3D6AB6E}"/>
            </c:ext>
          </c:extLst>
        </c:ser>
        <c:ser>
          <c:idx val="8"/>
          <c:order val="8"/>
          <c:tx>
            <c:strRef>
              <c:f>Sheet1!$J$1</c:f>
              <c:strCache>
                <c:ptCount val="1"/>
                <c:pt idx="0">
                  <c:v>Label 9</c:v>
                </c:pt>
              </c:strCache>
            </c:strRef>
          </c:tx>
          <c:spPr>
            <a:solidFill>
              <a:schemeClr val="accent2">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J$2:$J$4</c:f>
              <c:numCache>
                <c:formatCode>General</c:formatCode>
                <c:ptCount val="3"/>
                <c:pt idx="0">
                  <c:v>18</c:v>
                </c:pt>
                <c:pt idx="1">
                  <c:v>18</c:v>
                </c:pt>
                <c:pt idx="2">
                  <c:v>18</c:v>
                </c:pt>
              </c:numCache>
            </c:numRef>
          </c:val>
          <c:extLst>
            <c:ext xmlns:c16="http://schemas.microsoft.com/office/drawing/2014/chart" uri="{C3380CC4-5D6E-409C-BE32-E72D297353CC}">
              <c16:uniqueId val="{00000008-1515-4493-B149-2D6FF3D6AB6E}"/>
            </c:ext>
          </c:extLst>
        </c:ser>
        <c:ser>
          <c:idx val="9"/>
          <c:order val="9"/>
          <c:tx>
            <c:strRef>
              <c:f>Sheet1!$K$1</c:f>
              <c:strCache>
                <c:ptCount val="1"/>
                <c:pt idx="0">
                  <c:v>Label 10</c:v>
                </c:pt>
              </c:strCache>
            </c:strRef>
          </c:tx>
          <c:spPr>
            <a:solidFill>
              <a:schemeClr val="accent2">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K$2:$K$4</c:f>
              <c:numCache>
                <c:formatCode>General</c:formatCode>
                <c:ptCount val="3"/>
                <c:pt idx="0">
                  <c:v>20</c:v>
                </c:pt>
                <c:pt idx="1">
                  <c:v>20</c:v>
                </c:pt>
                <c:pt idx="2">
                  <c:v>20</c:v>
                </c:pt>
              </c:numCache>
            </c:numRef>
          </c:val>
          <c:extLst>
            <c:ext xmlns:c16="http://schemas.microsoft.com/office/drawing/2014/chart" uri="{C3380CC4-5D6E-409C-BE32-E72D297353CC}">
              <c16:uniqueId val="{00000009-1515-4493-B149-2D6FF3D6AB6E}"/>
            </c:ext>
          </c:extLst>
        </c:ser>
        <c:ser>
          <c:idx val="10"/>
          <c:order val="10"/>
          <c:tx>
            <c:strRef>
              <c:f>Sheet1!$L$1</c:f>
              <c:strCache>
                <c:ptCount val="1"/>
                <c:pt idx="0">
                  <c:v>Label 11</c:v>
                </c:pt>
              </c:strCache>
            </c:strRef>
          </c:tx>
          <c:spPr>
            <a:solidFill>
              <a:schemeClr val="accent2">
                <a:shade val="6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L$2:$L$4</c:f>
              <c:numCache>
                <c:formatCode>General</c:formatCode>
                <c:ptCount val="3"/>
                <c:pt idx="0">
                  <c:v>22</c:v>
                </c:pt>
                <c:pt idx="1">
                  <c:v>22</c:v>
                </c:pt>
                <c:pt idx="2">
                  <c:v>22</c:v>
                </c:pt>
              </c:numCache>
            </c:numRef>
          </c:val>
          <c:extLst>
            <c:ext xmlns:c16="http://schemas.microsoft.com/office/drawing/2014/chart" uri="{C3380CC4-5D6E-409C-BE32-E72D297353CC}">
              <c16:uniqueId val="{0000000A-1515-4493-B149-2D6FF3D6AB6E}"/>
            </c:ext>
          </c:extLst>
        </c:ser>
        <c:ser>
          <c:idx val="11"/>
          <c:order val="11"/>
          <c:tx>
            <c:strRef>
              <c:f>Sheet1!$M$1</c:f>
              <c:strCache>
                <c:ptCount val="1"/>
                <c:pt idx="0">
                  <c:v>Label 12</c:v>
                </c:pt>
              </c:strCache>
            </c:strRef>
          </c:tx>
          <c:spPr>
            <a:solidFill>
              <a:schemeClr val="accent2">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M$2:$M$4</c:f>
              <c:numCache>
                <c:formatCode>General</c:formatCode>
                <c:ptCount val="3"/>
                <c:pt idx="0">
                  <c:v>24</c:v>
                </c:pt>
                <c:pt idx="1">
                  <c:v>24</c:v>
                </c:pt>
                <c:pt idx="2">
                  <c:v>24</c:v>
                </c:pt>
              </c:numCache>
            </c:numRef>
          </c:val>
          <c:extLst>
            <c:ext xmlns:c16="http://schemas.microsoft.com/office/drawing/2014/chart" uri="{C3380CC4-5D6E-409C-BE32-E72D297353CC}">
              <c16:uniqueId val="{0000000B-1515-4493-B149-2D6FF3D6AB6E}"/>
            </c:ext>
          </c:extLst>
        </c:ser>
        <c:ser>
          <c:idx val="12"/>
          <c:order val="12"/>
          <c:tx>
            <c:strRef>
              <c:f>Sheet1!$N$1</c:f>
              <c:strCache>
                <c:ptCount val="1"/>
                <c:pt idx="0">
                  <c:v>Label 13</c:v>
                </c:pt>
              </c:strCache>
            </c:strRef>
          </c:tx>
          <c:spPr>
            <a:solidFill>
              <a:schemeClr val="accent2">
                <a:shade val="4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N$2:$N$4</c:f>
              <c:numCache>
                <c:formatCode>General</c:formatCode>
                <c:ptCount val="3"/>
                <c:pt idx="0">
                  <c:v>26</c:v>
                </c:pt>
                <c:pt idx="1">
                  <c:v>26</c:v>
                </c:pt>
                <c:pt idx="2">
                  <c:v>26</c:v>
                </c:pt>
              </c:numCache>
            </c:numRef>
          </c:val>
          <c:extLst>
            <c:ext xmlns:c16="http://schemas.microsoft.com/office/drawing/2014/chart" uri="{C3380CC4-5D6E-409C-BE32-E72D297353CC}">
              <c16:uniqueId val="{0000000C-1515-4493-B149-2D6FF3D6AB6E}"/>
            </c:ext>
          </c:extLst>
        </c:ser>
        <c:ser>
          <c:idx val="13"/>
          <c:order val="13"/>
          <c:tx>
            <c:strRef>
              <c:f>Sheet1!$O$1</c:f>
              <c:strCache>
                <c:ptCount val="1"/>
                <c:pt idx="0">
                  <c:v>Label 14</c:v>
                </c:pt>
              </c:strCache>
            </c:strRef>
          </c:tx>
          <c:spPr>
            <a:solidFill>
              <a:schemeClr val="accent2">
                <a:shade val="39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5356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O$2:$O$4</c:f>
              <c:numCache>
                <c:formatCode>General</c:formatCode>
                <c:ptCount val="3"/>
                <c:pt idx="0">
                  <c:v>28</c:v>
                </c:pt>
                <c:pt idx="1">
                  <c:v>28</c:v>
                </c:pt>
                <c:pt idx="2">
                  <c:v>28</c:v>
                </c:pt>
              </c:numCache>
            </c:numRef>
          </c:val>
          <c:extLst>
            <c:ext xmlns:c16="http://schemas.microsoft.com/office/drawing/2014/chart" uri="{C3380CC4-5D6E-409C-BE32-E72D297353CC}">
              <c16:uniqueId val="{0000000D-1515-4493-B149-2D6FF3D6AB6E}"/>
            </c:ext>
          </c:extLst>
        </c:ser>
        <c:dLbls>
          <c:dLblPos val="outEnd"/>
          <c:showLegendKey val="0"/>
          <c:showVal val="1"/>
          <c:showCatName val="0"/>
          <c:showSerName val="0"/>
          <c:showPercent val="0"/>
          <c:showBubbleSize val="0"/>
        </c:dLbls>
        <c:gapWidth val="150"/>
        <c:axId val="-73715056"/>
        <c:axId val="-73719952"/>
      </c:barChart>
      <c:catAx>
        <c:axId val="-73715056"/>
        <c:scaling>
          <c:orientation val="minMax"/>
        </c:scaling>
        <c:delete val="0"/>
        <c:axPos val="b"/>
        <c:numFmt formatCode="General" sourceLinked="1"/>
        <c:majorTickMark val="none"/>
        <c:minorTickMark val="none"/>
        <c:tickLblPos val="low"/>
        <c:spPr>
          <a:noFill/>
          <a:ln w="6350" cap="flat" cmpd="sng" algn="ctr">
            <a:solidFill>
              <a:srgbClr val="BBBCBC"/>
            </a:solidFill>
            <a:prstDash val="solid"/>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73719952"/>
        <c:crosses val="autoZero"/>
        <c:auto val="1"/>
        <c:lblAlgn val="ctr"/>
        <c:lblOffset val="100"/>
        <c:noMultiLvlLbl val="0"/>
      </c:catAx>
      <c:valAx>
        <c:axId val="-73719952"/>
        <c:scaling>
          <c:orientation val="minMax"/>
        </c:scaling>
        <c:delete val="0"/>
        <c:axPos val="l"/>
        <c:majorGridlines>
          <c:spPr>
            <a:ln w="6350" cap="flat" cmpd="sng" algn="ctr">
              <a:solidFill>
                <a:srgbClr val="BBBCBC"/>
              </a:solidFill>
              <a:prstDash val="solid"/>
              <a:round/>
            </a:ln>
            <a:effectLst/>
          </c:spPr>
        </c:majorGridlines>
        <c:numFmt formatCode="General" sourceLinked="1"/>
        <c:majorTickMark val="out"/>
        <c:minorTickMark val="none"/>
        <c:tickLblPos val="low"/>
        <c:spPr>
          <a:noFill/>
          <a:ln w="9525" cap="flat" cmpd="sng" algn="ctr">
            <a:noFill/>
            <a:prstDash val="solid"/>
            <a:round/>
          </a:ln>
          <a:effectLst/>
        </c:spPr>
        <c:txPr>
          <a:bodyPr rot="-6000000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crossAx val="-73715056"/>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4.7819146227870202E-2"/>
          <c:y val="0.88675034648122797"/>
          <c:w val="0.90763035252909996"/>
          <c:h val="6.7796505905511797E-2"/>
        </c:manualLayout>
      </c:layout>
      <c:overlay val="0"/>
      <c:spPr>
        <a:noFill/>
        <a:ln>
          <a:noFill/>
          <a:round/>
        </a:ln>
        <a:effectLst/>
        <a:extLst>
          <a:ext uri="{91240B29-F687-4F45-9708-019B960494DF}">
            <a14:hiddenLine xmlns:a14="http://schemas.microsoft.com/office/drawing/2010/main">
              <a:noFill/>
              <a:round/>
            </a14:hiddenLine>
          </a:ext>
        </a:extLst>
      </c:spPr>
      <c:txPr>
        <a:bodyPr rot="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900">
          <a:solidFill>
            <a:srgbClr val="53565A"/>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00401937205599E-2"/>
          <c:y val="4.6153842659460598E-2"/>
          <c:w val="0.96739959806279396"/>
          <c:h val="0.78345998525841898"/>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5</c:v>
                </c:pt>
                <c:pt idx="1">
                  <c:v>8</c:v>
                </c:pt>
                <c:pt idx="2">
                  <c:v>13</c:v>
                </c:pt>
              </c:numCache>
            </c:numRef>
          </c:val>
          <c:extLst>
            <c:ext xmlns:c16="http://schemas.microsoft.com/office/drawing/2014/chart" uri="{C3380CC4-5D6E-409C-BE32-E72D297353CC}">
              <c16:uniqueId val="{00000000-32BB-4C42-9FE2-5058F6ED6E88}"/>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6</c:v>
                </c:pt>
                <c:pt idx="2">
                  <c:v>11</c:v>
                </c:pt>
              </c:numCache>
            </c:numRef>
          </c:val>
          <c:extLst>
            <c:ext xmlns:c16="http://schemas.microsoft.com/office/drawing/2014/chart" uri="{C3380CC4-5D6E-409C-BE32-E72D297353CC}">
              <c16:uniqueId val="{00000001-32BB-4C42-9FE2-5058F6ED6E88}"/>
            </c:ext>
          </c:extLst>
        </c:ser>
        <c:dLbls>
          <c:dLblPos val="outEnd"/>
          <c:showLegendKey val="0"/>
          <c:showVal val="1"/>
          <c:showCatName val="0"/>
          <c:showSerName val="0"/>
          <c:showPercent val="0"/>
          <c:showBubbleSize val="0"/>
        </c:dLbls>
        <c:gapWidth val="150"/>
        <c:axId val="21872976"/>
        <c:axId val="21864256"/>
      </c:barChart>
      <c:catAx>
        <c:axId val="21872976"/>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1100"/>
            </a:pPr>
            <a:endParaRPr lang="en-US"/>
          </a:p>
        </c:txPr>
        <c:crossAx val="21864256"/>
        <c:crosses val="autoZero"/>
        <c:auto val="1"/>
        <c:lblAlgn val="ctr"/>
        <c:lblOffset val="100"/>
        <c:noMultiLvlLbl val="0"/>
      </c:catAx>
      <c:valAx>
        <c:axId val="2186425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100"/>
            </a:pPr>
            <a:endParaRPr lang="en-US"/>
          </a:p>
        </c:txPr>
        <c:crossAx val="21872976"/>
        <c:crosses val="autoZero"/>
        <c:crossBetween val="between"/>
      </c:valAx>
      <c:spPr>
        <a:noFill/>
        <a:ln>
          <a:noFill/>
        </a:ln>
        <a:effectLst/>
      </c:spPr>
    </c:plotArea>
    <c:legend>
      <c:legendPos val="b"/>
      <c:layout>
        <c:manualLayout>
          <c:xMode val="edge"/>
          <c:yMode val="edge"/>
          <c:x val="4.7819135948090903E-2"/>
          <c:y val="0.91484238298337694"/>
          <c:w val="0.90763035252909996"/>
          <c:h val="6.7796505905511797E-2"/>
        </c:manualLayout>
      </c:layout>
      <c:overlay val="0"/>
      <c:spPr>
        <a:noFill/>
        <a:ln>
          <a:noFill/>
          <a:round/>
        </a:ln>
        <a:effectLst/>
      </c:spPr>
      <c:txPr>
        <a:bodyPr/>
        <a:lstStyle/>
        <a:p>
          <a:pPr>
            <a:defRPr sz="11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540451970299602E-2"/>
          <c:y val="8.7783955520254198E-2"/>
          <c:w val="0.92442130024510905"/>
          <c:h val="0.73595592052184899"/>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1F8-44A2-9A50-E44EFCE34424}"/>
            </c:ext>
          </c:extLst>
        </c:ser>
        <c:ser>
          <c:idx val="1"/>
          <c:order val="1"/>
          <c:tx>
            <c:strRef>
              <c:f>Sheet1!$C$1</c:f>
              <c:strCache>
                <c:ptCount val="1"/>
                <c:pt idx="0">
                  <c:v>Series 2</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1F8-44A2-9A50-E44EFCE34424}"/>
            </c:ext>
          </c:extLst>
        </c:ser>
        <c:ser>
          <c:idx val="2"/>
          <c:order val="2"/>
          <c:tx>
            <c:strRef>
              <c:f>Sheet1!$D$1</c:f>
              <c:strCache>
                <c:ptCount val="1"/>
                <c:pt idx="0">
                  <c:v>Series 3</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D1F8-44A2-9A50-E44EFCE34424}"/>
            </c:ext>
          </c:extLst>
        </c:ser>
        <c:ser>
          <c:idx val="3"/>
          <c:order val="3"/>
          <c:tx>
            <c:strRef>
              <c:f>Sheet1!$E$1</c:f>
              <c:strCache>
                <c:ptCount val="1"/>
                <c:pt idx="0">
                  <c:v>Series 4</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D1F8-44A2-9A50-E44EFCE34424}"/>
            </c:ext>
          </c:extLst>
        </c:ser>
        <c:ser>
          <c:idx val="4"/>
          <c:order val="4"/>
          <c:tx>
            <c:strRef>
              <c:f>Sheet1!$F$1</c:f>
              <c:strCache>
                <c:ptCount val="1"/>
                <c:pt idx="0">
                  <c:v>Series 5</c:v>
                </c:pt>
              </c:strCache>
            </c:strRef>
          </c:tx>
          <c:spPr>
            <a:solidFill>
              <a:srgbClr val="00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F$2:$F$5</c:f>
              <c:numCache>
                <c:formatCode>General</c:formatCode>
                <c:ptCount val="4"/>
                <c:pt idx="0">
                  <c:v>1</c:v>
                </c:pt>
                <c:pt idx="1">
                  <c:v>2</c:v>
                </c:pt>
                <c:pt idx="2">
                  <c:v>3</c:v>
                </c:pt>
                <c:pt idx="3">
                  <c:v>4</c:v>
                </c:pt>
              </c:numCache>
            </c:numRef>
          </c:val>
          <c:extLst>
            <c:ext xmlns:c16="http://schemas.microsoft.com/office/drawing/2014/chart" uri="{C3380CC4-5D6E-409C-BE32-E72D297353CC}">
              <c16:uniqueId val="{00000004-D1F8-44A2-9A50-E44EFCE34424}"/>
            </c:ext>
          </c:extLst>
        </c:ser>
        <c:ser>
          <c:idx val="5"/>
          <c:order val="5"/>
          <c:tx>
            <c:strRef>
              <c:f>Sheet1!$G$1</c:f>
              <c:strCache>
                <c:ptCount val="1"/>
                <c:pt idx="0">
                  <c:v>Series 6</c:v>
                </c:pt>
              </c:strCache>
            </c:strRef>
          </c:tx>
          <c:spPr>
            <a:solidFill>
              <a:srgbClr val="00A3E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G$2:$G$5</c:f>
              <c:numCache>
                <c:formatCode>General</c:formatCode>
                <c:ptCount val="4"/>
                <c:pt idx="0">
                  <c:v>1.1000000000000001</c:v>
                </c:pt>
                <c:pt idx="1">
                  <c:v>1</c:v>
                </c:pt>
                <c:pt idx="2">
                  <c:v>1.5</c:v>
                </c:pt>
                <c:pt idx="3">
                  <c:v>2</c:v>
                </c:pt>
              </c:numCache>
            </c:numRef>
          </c:val>
          <c:extLst>
            <c:ext xmlns:c16="http://schemas.microsoft.com/office/drawing/2014/chart" uri="{C3380CC4-5D6E-409C-BE32-E72D297353CC}">
              <c16:uniqueId val="{00000005-D1F8-44A2-9A50-E44EFCE34424}"/>
            </c:ext>
          </c:extLst>
        </c:ser>
        <c:ser>
          <c:idx val="6"/>
          <c:order val="6"/>
          <c:tx>
            <c:strRef>
              <c:f>Sheet1!$H$1</c:f>
              <c:strCache>
                <c:ptCount val="1"/>
                <c:pt idx="0">
                  <c:v>Series 7</c:v>
                </c:pt>
              </c:strCache>
            </c:strRef>
          </c:tx>
          <c:spPr>
            <a:solidFill>
              <a:schemeClr val="accent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th</c:v>
                </c:pt>
                <c:pt idx="1">
                  <c:v>South</c:v>
                </c:pt>
                <c:pt idx="2">
                  <c:v>East</c:v>
                </c:pt>
                <c:pt idx="3">
                  <c:v>West</c:v>
                </c:pt>
              </c:strCache>
            </c:strRef>
          </c:cat>
          <c:val>
            <c:numRef>
              <c:f>Sheet1!$H$2:$H$5</c:f>
              <c:numCache>
                <c:formatCode>General</c:formatCode>
                <c:ptCount val="4"/>
                <c:pt idx="0">
                  <c:v>1.2</c:v>
                </c:pt>
                <c:pt idx="1">
                  <c:v>2.1</c:v>
                </c:pt>
                <c:pt idx="2">
                  <c:v>1.2</c:v>
                </c:pt>
                <c:pt idx="3">
                  <c:v>1.5</c:v>
                </c:pt>
              </c:numCache>
            </c:numRef>
          </c:val>
          <c:extLst>
            <c:ext xmlns:c16="http://schemas.microsoft.com/office/drawing/2014/chart" uri="{C3380CC4-5D6E-409C-BE32-E72D297353CC}">
              <c16:uniqueId val="{00000006-D1F8-44A2-9A50-E44EFCE34424}"/>
            </c:ext>
          </c:extLst>
        </c:ser>
        <c:dLbls>
          <c:dLblPos val="ctr"/>
          <c:showLegendKey val="0"/>
          <c:showVal val="1"/>
          <c:showCatName val="0"/>
          <c:showSerName val="0"/>
          <c:showPercent val="0"/>
          <c:showBubbleSize val="0"/>
        </c:dLbls>
        <c:gapWidth val="104"/>
        <c:overlap val="100"/>
        <c:axId val="316287104"/>
        <c:axId val="316287888"/>
      </c:barChart>
      <c:catAx>
        <c:axId val="3162871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7888"/>
        <c:crosses val="autoZero"/>
        <c:auto val="1"/>
        <c:lblAlgn val="ctr"/>
        <c:lblOffset val="100"/>
        <c:noMultiLvlLbl val="0"/>
      </c:catAx>
      <c:valAx>
        <c:axId val="316287888"/>
        <c:scaling>
          <c:orientation val="minMax"/>
        </c:scaling>
        <c:delete val="0"/>
        <c:axPos val="b"/>
        <c:majorGridlines>
          <c:spPr>
            <a:ln w="3175" cap="flat" cmpd="sng" algn="ctr">
              <a:solidFill>
                <a:schemeClr val="tx2"/>
              </a:solidFill>
              <a:round/>
            </a:ln>
            <a:effectLst/>
          </c:spPr>
        </c:majorGridlines>
        <c:numFmt formatCode="General" sourceLinked="1"/>
        <c:majorTickMark val="none"/>
        <c:minorTickMark val="none"/>
        <c:tickLblPos val="nextTo"/>
        <c:spPr>
          <a:noFill/>
          <a:ln w="3175">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7104"/>
        <c:crosses val="autoZero"/>
        <c:crossBetween val="between"/>
      </c:valAx>
      <c:spPr>
        <a:noFill/>
        <a:ln>
          <a:noFill/>
        </a:ln>
        <a:effectLst/>
      </c:spPr>
    </c:plotArea>
    <c:legend>
      <c:legendPos val="b"/>
      <c:layout>
        <c:manualLayout>
          <c:xMode val="edge"/>
          <c:yMode val="edge"/>
          <c:x val="0.17506759203560199"/>
          <c:y val="0.90522461896393203"/>
          <c:w val="0.80189826328721503"/>
          <c:h val="5.347275990818860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03BA-4404-85AF-46E0B47BE899}"/>
              </c:ext>
            </c:extLst>
          </c:dPt>
          <c:dPt>
            <c:idx val="1"/>
            <c:invertIfNegative val="0"/>
            <c:bubble3D val="0"/>
            <c:extLst>
              <c:ext xmlns:c16="http://schemas.microsoft.com/office/drawing/2014/chart" uri="{C3380CC4-5D6E-409C-BE32-E72D297353CC}">
                <c16:uniqueId val="{00000001-03BA-4404-85AF-46E0B47BE899}"/>
              </c:ext>
            </c:extLst>
          </c:dPt>
          <c:dPt>
            <c:idx val="2"/>
            <c:invertIfNegative val="0"/>
            <c:bubble3D val="0"/>
            <c:extLst>
              <c:ext xmlns:c16="http://schemas.microsoft.com/office/drawing/2014/chart" uri="{C3380CC4-5D6E-409C-BE32-E72D297353CC}">
                <c16:uniqueId val="{00000002-03BA-4404-85AF-46E0B47BE899}"/>
              </c:ext>
            </c:extLst>
          </c:dPt>
          <c:dPt>
            <c:idx val="3"/>
            <c:invertIfNegative val="0"/>
            <c:bubble3D val="0"/>
            <c:extLst>
              <c:ext xmlns:c16="http://schemas.microsoft.com/office/drawing/2014/chart" uri="{C3380CC4-5D6E-409C-BE32-E72D297353CC}">
                <c16:uniqueId val="{00000003-03BA-4404-85AF-46E0B47BE899}"/>
              </c:ext>
            </c:extLst>
          </c:dPt>
          <c:dPt>
            <c:idx val="4"/>
            <c:invertIfNegative val="0"/>
            <c:bubble3D val="0"/>
            <c:extLst>
              <c:ext xmlns:c16="http://schemas.microsoft.com/office/drawing/2014/chart" uri="{C3380CC4-5D6E-409C-BE32-E72D297353CC}">
                <c16:uniqueId val="{00000004-03BA-4404-85AF-46E0B47BE899}"/>
              </c:ext>
            </c:extLst>
          </c:dPt>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03BA-4404-85AF-46E0B47BE899}"/>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03BA-4404-85AF-46E0B47BE899}"/>
            </c:ext>
          </c:extLst>
        </c:ser>
        <c:dLbls>
          <c:dLblPos val="outEnd"/>
          <c:showLegendKey val="0"/>
          <c:showVal val="1"/>
          <c:showCatName val="0"/>
          <c:showSerName val="0"/>
          <c:showPercent val="0"/>
          <c:showBubbleSize val="0"/>
        </c:dLbls>
        <c:gapWidth val="150"/>
        <c:axId val="115020944"/>
        <c:axId val="115022992"/>
      </c:barChart>
      <c:catAx>
        <c:axId val="115020944"/>
        <c:scaling>
          <c:orientation val="minMax"/>
        </c:scaling>
        <c:delete val="0"/>
        <c:axPos val="b"/>
        <c:numFmt formatCode="General" sourceLinked="0"/>
        <c:majorTickMark val="none"/>
        <c:minorTickMark val="none"/>
        <c:tickLblPos val="low"/>
        <c:spPr>
          <a:ln w="6350">
            <a:solidFill>
              <a:srgbClr val="BBBCBC"/>
            </a:solidFill>
            <a:prstDash val="solid"/>
          </a:ln>
        </c:spPr>
        <c:crossAx val="115022992"/>
        <c:crosses val="autoZero"/>
        <c:auto val="1"/>
        <c:lblAlgn val="ctr"/>
        <c:lblOffset val="100"/>
        <c:noMultiLvlLbl val="0"/>
      </c:catAx>
      <c:valAx>
        <c:axId val="115022992"/>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502094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51FC-4495-89DA-9E7001E19CC5}"/>
              </c:ext>
            </c:extLst>
          </c:dPt>
          <c:dPt>
            <c:idx val="1"/>
            <c:invertIfNegative val="0"/>
            <c:bubble3D val="0"/>
            <c:extLst>
              <c:ext xmlns:c16="http://schemas.microsoft.com/office/drawing/2014/chart" uri="{C3380CC4-5D6E-409C-BE32-E72D297353CC}">
                <c16:uniqueId val="{00000001-51FC-4495-89DA-9E7001E19CC5}"/>
              </c:ext>
            </c:extLst>
          </c:dPt>
          <c:dPt>
            <c:idx val="2"/>
            <c:invertIfNegative val="0"/>
            <c:bubble3D val="0"/>
            <c:extLst>
              <c:ext xmlns:c16="http://schemas.microsoft.com/office/drawing/2014/chart" uri="{C3380CC4-5D6E-409C-BE32-E72D297353CC}">
                <c16:uniqueId val="{00000002-51FC-4495-89DA-9E7001E19CC5}"/>
              </c:ext>
            </c:extLst>
          </c:dPt>
          <c:dPt>
            <c:idx val="3"/>
            <c:invertIfNegative val="0"/>
            <c:bubble3D val="0"/>
            <c:extLst>
              <c:ext xmlns:c16="http://schemas.microsoft.com/office/drawing/2014/chart" uri="{C3380CC4-5D6E-409C-BE32-E72D297353CC}">
                <c16:uniqueId val="{00000003-51FC-4495-89DA-9E7001E19CC5}"/>
              </c:ext>
            </c:extLst>
          </c:dPt>
          <c:dPt>
            <c:idx val="4"/>
            <c:invertIfNegative val="0"/>
            <c:bubble3D val="0"/>
            <c:extLst>
              <c:ext xmlns:c16="http://schemas.microsoft.com/office/drawing/2014/chart" uri="{C3380CC4-5D6E-409C-BE32-E72D297353CC}">
                <c16:uniqueId val="{00000004-51FC-4495-89DA-9E7001E19CC5}"/>
              </c:ext>
            </c:extLst>
          </c:dPt>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51FC-4495-89DA-9E7001E19CC5}"/>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51FC-4495-89DA-9E7001E19CC5}"/>
            </c:ext>
          </c:extLst>
        </c:ser>
        <c:dLbls>
          <c:dLblPos val="outEnd"/>
          <c:showLegendKey val="0"/>
          <c:showVal val="1"/>
          <c:showCatName val="0"/>
          <c:showSerName val="0"/>
          <c:showPercent val="0"/>
          <c:showBubbleSize val="0"/>
        </c:dLbls>
        <c:gapWidth val="150"/>
        <c:axId val="110764944"/>
        <c:axId val="21741024"/>
      </c:barChart>
      <c:catAx>
        <c:axId val="110764944"/>
        <c:scaling>
          <c:orientation val="minMax"/>
        </c:scaling>
        <c:delete val="0"/>
        <c:axPos val="b"/>
        <c:numFmt formatCode="General" sourceLinked="0"/>
        <c:majorTickMark val="none"/>
        <c:minorTickMark val="none"/>
        <c:tickLblPos val="low"/>
        <c:spPr>
          <a:ln w="6350">
            <a:solidFill>
              <a:srgbClr val="BBBCBC"/>
            </a:solidFill>
            <a:prstDash val="solid"/>
          </a:ln>
        </c:spPr>
        <c:crossAx val="21741024"/>
        <c:crosses val="autoZero"/>
        <c:auto val="1"/>
        <c:lblAlgn val="ctr"/>
        <c:lblOffset val="100"/>
        <c:noMultiLvlLbl val="0"/>
      </c:catAx>
      <c:valAx>
        <c:axId val="2174102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076494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A6F4-4AC5-AF20-F58C2D1ED1F7}"/>
              </c:ext>
            </c:extLst>
          </c:dPt>
          <c:dPt>
            <c:idx val="1"/>
            <c:invertIfNegative val="0"/>
            <c:bubble3D val="0"/>
            <c:extLst>
              <c:ext xmlns:c16="http://schemas.microsoft.com/office/drawing/2014/chart" uri="{C3380CC4-5D6E-409C-BE32-E72D297353CC}">
                <c16:uniqueId val="{00000001-A6F4-4AC5-AF20-F58C2D1ED1F7}"/>
              </c:ext>
            </c:extLst>
          </c:dPt>
          <c:dPt>
            <c:idx val="2"/>
            <c:invertIfNegative val="0"/>
            <c:bubble3D val="0"/>
            <c:extLst>
              <c:ext xmlns:c16="http://schemas.microsoft.com/office/drawing/2014/chart" uri="{C3380CC4-5D6E-409C-BE32-E72D297353CC}">
                <c16:uniqueId val="{00000002-A6F4-4AC5-AF20-F58C2D1ED1F7}"/>
              </c:ext>
            </c:extLst>
          </c:dPt>
          <c:dPt>
            <c:idx val="3"/>
            <c:invertIfNegative val="0"/>
            <c:bubble3D val="0"/>
            <c:extLst>
              <c:ext xmlns:c16="http://schemas.microsoft.com/office/drawing/2014/chart" uri="{C3380CC4-5D6E-409C-BE32-E72D297353CC}">
                <c16:uniqueId val="{00000003-A6F4-4AC5-AF20-F58C2D1ED1F7}"/>
              </c:ext>
            </c:extLst>
          </c:dPt>
          <c:dPt>
            <c:idx val="4"/>
            <c:invertIfNegative val="0"/>
            <c:bubble3D val="0"/>
            <c:extLst>
              <c:ext xmlns:c16="http://schemas.microsoft.com/office/drawing/2014/chart" uri="{C3380CC4-5D6E-409C-BE32-E72D297353CC}">
                <c16:uniqueId val="{00000004-A6F4-4AC5-AF20-F58C2D1ED1F7}"/>
              </c:ext>
            </c:extLst>
          </c:dPt>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A6F4-4AC5-AF20-F58C2D1ED1F7}"/>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A6F4-4AC5-AF20-F58C2D1ED1F7}"/>
            </c:ext>
          </c:extLst>
        </c:ser>
        <c:dLbls>
          <c:dLblPos val="outEnd"/>
          <c:showLegendKey val="0"/>
          <c:showVal val="1"/>
          <c:showCatName val="0"/>
          <c:showSerName val="0"/>
          <c:showPercent val="0"/>
          <c:showBubbleSize val="0"/>
        </c:dLbls>
        <c:gapWidth val="150"/>
        <c:axId val="114912176"/>
        <c:axId val="114914224"/>
      </c:barChart>
      <c:catAx>
        <c:axId val="114912176"/>
        <c:scaling>
          <c:orientation val="minMax"/>
        </c:scaling>
        <c:delete val="0"/>
        <c:axPos val="b"/>
        <c:numFmt formatCode="General" sourceLinked="0"/>
        <c:majorTickMark val="none"/>
        <c:minorTickMark val="none"/>
        <c:tickLblPos val="low"/>
        <c:spPr>
          <a:ln w="6350">
            <a:solidFill>
              <a:srgbClr val="BBBCBC"/>
            </a:solidFill>
            <a:prstDash val="solid"/>
          </a:ln>
        </c:spPr>
        <c:crossAx val="114914224"/>
        <c:crosses val="autoZero"/>
        <c:auto val="1"/>
        <c:lblAlgn val="ctr"/>
        <c:lblOffset val="100"/>
        <c:noMultiLvlLbl val="0"/>
      </c:catAx>
      <c:valAx>
        <c:axId val="114914224"/>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4912176"/>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329898788551"/>
          <c:y val="4.0366861694371502E-2"/>
          <c:w val="0.85640186981484301"/>
          <c:h val="0.78683016185476795"/>
        </c:manualLayout>
      </c:layout>
      <c:barChart>
        <c:barDir val="col"/>
        <c:grouping val="clustered"/>
        <c:varyColors val="0"/>
        <c:ser>
          <c:idx val="0"/>
          <c:order val="0"/>
          <c:tx>
            <c:strRef>
              <c:f>Sheet1!$B$1</c:f>
              <c:strCache>
                <c:ptCount val="1"/>
                <c:pt idx="0">
                  <c:v>Label 1</c:v>
                </c:pt>
              </c:strCache>
            </c:strRef>
          </c:tx>
          <c:spPr>
            <a:solidFill>
              <a:schemeClr val="accent2"/>
            </a:solidFill>
            <a:ln w="12700">
              <a:noFill/>
              <a:prstDash val="solid"/>
            </a:ln>
          </c:spPr>
          <c:invertIfNegative val="0"/>
          <c:dPt>
            <c:idx val="0"/>
            <c:invertIfNegative val="0"/>
            <c:bubble3D val="0"/>
            <c:extLst>
              <c:ext xmlns:c16="http://schemas.microsoft.com/office/drawing/2014/chart" uri="{C3380CC4-5D6E-409C-BE32-E72D297353CC}">
                <c16:uniqueId val="{00000000-AD22-4562-917A-68FA379CCF25}"/>
              </c:ext>
            </c:extLst>
          </c:dPt>
          <c:dPt>
            <c:idx val="1"/>
            <c:invertIfNegative val="0"/>
            <c:bubble3D val="0"/>
            <c:extLst>
              <c:ext xmlns:c16="http://schemas.microsoft.com/office/drawing/2014/chart" uri="{C3380CC4-5D6E-409C-BE32-E72D297353CC}">
                <c16:uniqueId val="{00000001-AD22-4562-917A-68FA379CCF25}"/>
              </c:ext>
            </c:extLst>
          </c:dPt>
          <c:dPt>
            <c:idx val="2"/>
            <c:invertIfNegative val="0"/>
            <c:bubble3D val="0"/>
            <c:extLst>
              <c:ext xmlns:c16="http://schemas.microsoft.com/office/drawing/2014/chart" uri="{C3380CC4-5D6E-409C-BE32-E72D297353CC}">
                <c16:uniqueId val="{00000002-AD22-4562-917A-68FA379CCF25}"/>
              </c:ext>
            </c:extLst>
          </c:dPt>
          <c:dPt>
            <c:idx val="3"/>
            <c:invertIfNegative val="0"/>
            <c:bubble3D val="0"/>
            <c:extLst>
              <c:ext xmlns:c16="http://schemas.microsoft.com/office/drawing/2014/chart" uri="{C3380CC4-5D6E-409C-BE32-E72D297353CC}">
                <c16:uniqueId val="{00000003-AD22-4562-917A-68FA379CCF25}"/>
              </c:ext>
            </c:extLst>
          </c:dPt>
          <c:dPt>
            <c:idx val="4"/>
            <c:invertIfNegative val="0"/>
            <c:bubble3D val="0"/>
            <c:extLst>
              <c:ext xmlns:c16="http://schemas.microsoft.com/office/drawing/2014/chart" uri="{C3380CC4-5D6E-409C-BE32-E72D297353CC}">
                <c16:uniqueId val="{00000004-AD22-4562-917A-68FA379CCF25}"/>
              </c:ext>
            </c:extLst>
          </c:dPt>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B$2:$B$4</c:f>
              <c:numCache>
                <c:formatCode>General</c:formatCode>
                <c:ptCount val="3"/>
                <c:pt idx="0">
                  <c:v>12</c:v>
                </c:pt>
                <c:pt idx="1">
                  <c:v>20</c:v>
                </c:pt>
                <c:pt idx="2">
                  <c:v>22</c:v>
                </c:pt>
              </c:numCache>
            </c:numRef>
          </c:val>
          <c:extLst>
            <c:ext xmlns:c16="http://schemas.microsoft.com/office/drawing/2014/chart" uri="{C3380CC4-5D6E-409C-BE32-E72D297353CC}">
              <c16:uniqueId val="{00000005-AD22-4562-917A-68FA379CCF25}"/>
            </c:ext>
          </c:extLst>
        </c:ser>
        <c:ser>
          <c:idx val="1"/>
          <c:order val="1"/>
          <c:tx>
            <c:strRef>
              <c:f>Sheet1!$C$1</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abel A</c:v>
                </c:pt>
                <c:pt idx="1">
                  <c:v>Label B</c:v>
                </c:pt>
                <c:pt idx="2">
                  <c:v>Label C</c:v>
                </c:pt>
              </c:strCache>
            </c:strRef>
          </c:cat>
          <c:val>
            <c:numRef>
              <c:f>Sheet1!$C$2:$C$4</c:f>
              <c:numCache>
                <c:formatCode>General</c:formatCode>
                <c:ptCount val="3"/>
                <c:pt idx="0">
                  <c:v>10</c:v>
                </c:pt>
                <c:pt idx="1">
                  <c:v>18</c:v>
                </c:pt>
                <c:pt idx="2">
                  <c:v>20</c:v>
                </c:pt>
              </c:numCache>
            </c:numRef>
          </c:val>
          <c:extLst>
            <c:ext xmlns:c16="http://schemas.microsoft.com/office/drawing/2014/chart" uri="{C3380CC4-5D6E-409C-BE32-E72D297353CC}">
              <c16:uniqueId val="{00000006-AD22-4562-917A-68FA379CCF25}"/>
            </c:ext>
          </c:extLst>
        </c:ser>
        <c:dLbls>
          <c:dLblPos val="outEnd"/>
          <c:showLegendKey val="0"/>
          <c:showVal val="1"/>
          <c:showCatName val="0"/>
          <c:showSerName val="0"/>
          <c:showPercent val="0"/>
          <c:showBubbleSize val="0"/>
        </c:dLbls>
        <c:gapWidth val="150"/>
        <c:axId val="110844768"/>
        <c:axId val="110846816"/>
      </c:barChart>
      <c:catAx>
        <c:axId val="110844768"/>
        <c:scaling>
          <c:orientation val="minMax"/>
        </c:scaling>
        <c:delete val="0"/>
        <c:axPos val="b"/>
        <c:numFmt formatCode="General" sourceLinked="0"/>
        <c:majorTickMark val="none"/>
        <c:minorTickMark val="none"/>
        <c:tickLblPos val="low"/>
        <c:spPr>
          <a:ln w="6350">
            <a:solidFill>
              <a:srgbClr val="BBBCBC"/>
            </a:solidFill>
            <a:prstDash val="solid"/>
          </a:ln>
        </c:spPr>
        <c:crossAx val="110846816"/>
        <c:crosses val="autoZero"/>
        <c:auto val="1"/>
        <c:lblAlgn val="ctr"/>
        <c:lblOffset val="100"/>
        <c:noMultiLvlLbl val="0"/>
      </c:catAx>
      <c:valAx>
        <c:axId val="11084681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crossAx val="110844768"/>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2409094524848999"/>
          <c:y val="0.91011797353455803"/>
          <c:w val="0.70038322781700502"/>
          <c:h val="4.9372767206182597E-2"/>
        </c:manualLayout>
      </c:layout>
      <c:overlay val="0"/>
      <c:spPr>
        <a:noFill/>
        <a:ln>
          <a:noFill/>
          <a:round/>
        </a:ln>
        <a:effectLst/>
        <a:extLst>
          <a:ext uri="{91240B29-F687-4F45-9708-019B960494DF}">
            <a14:hiddenLine xmlns:a14="http://schemas.microsoft.com/office/drawing/2010/main">
              <a:noFill/>
              <a:round/>
            </a14:hiddenLine>
          </a:ext>
        </a:extLst>
      </c:sp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550876070229197E-2"/>
          <c:y val="4.7126758894721503E-2"/>
          <c:w val="0.967449123929771"/>
          <c:h val="0.72695011406417998"/>
        </c:manualLayout>
      </c:layout>
      <c:barChart>
        <c:barDir val="col"/>
        <c:grouping val="stacked"/>
        <c:varyColors val="0"/>
        <c:ser>
          <c:idx val="0"/>
          <c:order val="0"/>
          <c:tx>
            <c:strRef>
              <c:f>Sheet1!$A$2</c:f>
              <c:strCache>
                <c:ptCount val="1"/>
                <c:pt idx="0">
                  <c:v>Label 1</c:v>
                </c:pt>
              </c:strCache>
            </c:strRef>
          </c:tx>
          <c:spPr>
            <a:solidFill>
              <a:schemeClr val="tx2">
                <a:lumMod val="60000"/>
                <a:lumOff val="4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2:$Q$2</c:f>
              <c:numCache>
                <c:formatCode>0.0</c:formatCode>
                <c:ptCount val="16"/>
                <c:pt idx="1">
                  <c:v>4.3</c:v>
                </c:pt>
                <c:pt idx="2">
                  <c:v>2.4</c:v>
                </c:pt>
                <c:pt idx="4">
                  <c:v>4.3</c:v>
                </c:pt>
                <c:pt idx="5">
                  <c:v>2.4</c:v>
                </c:pt>
                <c:pt idx="7">
                  <c:v>4.3</c:v>
                </c:pt>
                <c:pt idx="8">
                  <c:v>2.4</c:v>
                </c:pt>
                <c:pt idx="10">
                  <c:v>4.3</c:v>
                </c:pt>
                <c:pt idx="11">
                  <c:v>2.4</c:v>
                </c:pt>
                <c:pt idx="13">
                  <c:v>4.3</c:v>
                </c:pt>
                <c:pt idx="14">
                  <c:v>2.4</c:v>
                </c:pt>
              </c:numCache>
            </c:numRef>
          </c:val>
          <c:extLst>
            <c:ext xmlns:c16="http://schemas.microsoft.com/office/drawing/2014/chart" uri="{C3380CC4-5D6E-409C-BE32-E72D297353CC}">
              <c16:uniqueId val="{00000000-C598-42BB-B885-001011CB1329}"/>
            </c:ext>
          </c:extLst>
        </c:ser>
        <c:ser>
          <c:idx val="1"/>
          <c:order val="1"/>
          <c:tx>
            <c:strRef>
              <c:f>Sheet1!$A$3</c:f>
              <c:strCache>
                <c:ptCount val="1"/>
                <c:pt idx="0">
                  <c:v>Label 2</c:v>
                </c:pt>
              </c:strCache>
            </c:strRef>
          </c:tx>
          <c:spPr>
            <a:solidFill>
              <a:schemeClr val="tx2">
                <a:lumMod val="40000"/>
                <a:lumOff val="6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3:$Q$3</c:f>
              <c:numCache>
                <c:formatCode>0.0</c:formatCode>
                <c:ptCount val="16"/>
                <c:pt idx="1">
                  <c:v>2.5</c:v>
                </c:pt>
                <c:pt idx="2">
                  <c:v>4.4000000000000004</c:v>
                </c:pt>
                <c:pt idx="4">
                  <c:v>2.5</c:v>
                </c:pt>
                <c:pt idx="5">
                  <c:v>4.4000000000000004</c:v>
                </c:pt>
                <c:pt idx="7">
                  <c:v>2.5</c:v>
                </c:pt>
                <c:pt idx="8">
                  <c:v>4.4000000000000004</c:v>
                </c:pt>
                <c:pt idx="10">
                  <c:v>2.5</c:v>
                </c:pt>
                <c:pt idx="11">
                  <c:v>4.4000000000000004</c:v>
                </c:pt>
                <c:pt idx="13">
                  <c:v>2.5</c:v>
                </c:pt>
                <c:pt idx="14">
                  <c:v>4.4000000000000004</c:v>
                </c:pt>
              </c:numCache>
            </c:numRef>
          </c:val>
          <c:extLst>
            <c:ext xmlns:c16="http://schemas.microsoft.com/office/drawing/2014/chart" uri="{C3380CC4-5D6E-409C-BE32-E72D297353CC}">
              <c16:uniqueId val="{00000001-C598-42BB-B885-001011CB1329}"/>
            </c:ext>
          </c:extLst>
        </c:ser>
        <c:ser>
          <c:idx val="2"/>
          <c:order val="2"/>
          <c:tx>
            <c:strRef>
              <c:f>Sheet1!$A$4</c:f>
              <c:strCache>
                <c:ptCount val="1"/>
                <c:pt idx="0">
                  <c:v>Label 3</c:v>
                </c:pt>
              </c:strCache>
            </c:strRef>
          </c:tx>
          <c:spPr>
            <a:solidFill>
              <a:schemeClr val="tx2">
                <a:lumMod val="20000"/>
                <a:lumOff val="80000"/>
              </a:schemeClr>
            </a:solidFill>
            <a:ln w="12700">
              <a:noFill/>
              <a:prstDash val="solid"/>
            </a:ln>
          </c:spPr>
          <c:invertIfNegative val="0"/>
          <c:dLbls>
            <c:spPr>
              <a:noFill/>
              <a:ln>
                <a:noFill/>
              </a:ln>
              <a:effectLst/>
            </c:spPr>
            <c:txPr>
              <a:bodyPr wrap="square" lIns="38100" tIns="19050" rIns="38100" bIns="19050" anchor="ctr">
                <a:spAutoFit/>
              </a:bodyPr>
              <a:lstStyle/>
              <a:p>
                <a:pPr>
                  <a:defRPr sz="11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4:$Q$4</c:f>
              <c:numCache>
                <c:formatCode>0.0</c:formatCode>
                <c:ptCount val="16"/>
                <c:pt idx="1">
                  <c:v>1.5</c:v>
                </c:pt>
                <c:pt idx="2">
                  <c:v>3.4</c:v>
                </c:pt>
                <c:pt idx="4">
                  <c:v>1.5</c:v>
                </c:pt>
                <c:pt idx="5">
                  <c:v>3.4</c:v>
                </c:pt>
                <c:pt idx="7">
                  <c:v>1.5</c:v>
                </c:pt>
                <c:pt idx="8">
                  <c:v>3.4</c:v>
                </c:pt>
                <c:pt idx="10">
                  <c:v>1.5</c:v>
                </c:pt>
                <c:pt idx="11">
                  <c:v>3.4</c:v>
                </c:pt>
                <c:pt idx="13">
                  <c:v>1.5</c:v>
                </c:pt>
                <c:pt idx="14">
                  <c:v>3.4</c:v>
                </c:pt>
              </c:numCache>
            </c:numRef>
          </c:val>
          <c:extLst>
            <c:ext xmlns:c16="http://schemas.microsoft.com/office/drawing/2014/chart" uri="{C3380CC4-5D6E-409C-BE32-E72D297353CC}">
              <c16:uniqueId val="{00000002-C598-42BB-B885-001011CB1329}"/>
            </c:ext>
          </c:extLst>
        </c:ser>
        <c:ser>
          <c:idx val="3"/>
          <c:order val="3"/>
          <c:tx>
            <c:strRef>
              <c:f>Sheet1!$A$5</c:f>
              <c:strCache>
                <c:ptCount val="1"/>
                <c:pt idx="0">
                  <c:v>Label 4</c:v>
                </c:pt>
              </c:strCache>
            </c:strRef>
          </c:tx>
          <c:spPr>
            <a:solidFill>
              <a:schemeClr val="accent2"/>
            </a:solidFill>
            <a:ln w="12700">
              <a:noFill/>
              <a:prstDash val="solid"/>
            </a:ln>
          </c:spPr>
          <c:invertIfNegative val="0"/>
          <c:dLbls>
            <c:spPr>
              <a:noFill/>
              <a:ln>
                <a:noFill/>
              </a:ln>
              <a:effectLst/>
            </c:spPr>
            <c:txPr>
              <a:bodyPr wrap="square" lIns="38100" tIns="19050" rIns="38100" bIns="19050" anchor="ctr">
                <a:spAutoFit/>
              </a:bodyPr>
              <a:lstStyle/>
              <a:p>
                <a:pPr>
                  <a:defRPr sz="11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  </c:v>
                </c:pt>
                <c:pt idx="1">
                  <c:v>Series 1</c:v>
                </c:pt>
                <c:pt idx="2">
                  <c:v>Series 1 </c:v>
                </c:pt>
                <c:pt idx="3">
                  <c:v>   </c:v>
                </c:pt>
                <c:pt idx="4">
                  <c:v>Series 2</c:v>
                </c:pt>
                <c:pt idx="5">
                  <c:v>Series 2 </c:v>
                </c:pt>
                <c:pt idx="6">
                  <c:v>    </c:v>
                </c:pt>
                <c:pt idx="7">
                  <c:v>Series 3</c:v>
                </c:pt>
                <c:pt idx="8">
                  <c:v>Series 3 </c:v>
                </c:pt>
                <c:pt idx="9">
                  <c:v>     </c:v>
                </c:pt>
                <c:pt idx="10">
                  <c:v>Series 4</c:v>
                </c:pt>
                <c:pt idx="11">
                  <c:v>Series 4 </c:v>
                </c:pt>
                <c:pt idx="12">
                  <c:v>      </c:v>
                </c:pt>
                <c:pt idx="13">
                  <c:v>Series 5</c:v>
                </c:pt>
                <c:pt idx="14">
                  <c:v>Series 5  </c:v>
                </c:pt>
                <c:pt idx="15">
                  <c:v>       </c:v>
                </c:pt>
              </c:strCache>
            </c:strRef>
          </c:cat>
          <c:val>
            <c:numRef>
              <c:f>Sheet1!$B$5:$Q$5</c:f>
              <c:numCache>
                <c:formatCode>0.0</c:formatCode>
                <c:ptCount val="16"/>
                <c:pt idx="1">
                  <c:v>2.5</c:v>
                </c:pt>
                <c:pt idx="2">
                  <c:v>2.4</c:v>
                </c:pt>
                <c:pt idx="4">
                  <c:v>2.5</c:v>
                </c:pt>
                <c:pt idx="5">
                  <c:v>2.4</c:v>
                </c:pt>
                <c:pt idx="7">
                  <c:v>2.5</c:v>
                </c:pt>
                <c:pt idx="8">
                  <c:v>2.4</c:v>
                </c:pt>
                <c:pt idx="10">
                  <c:v>2.5</c:v>
                </c:pt>
                <c:pt idx="11">
                  <c:v>2.4</c:v>
                </c:pt>
                <c:pt idx="13">
                  <c:v>2.5</c:v>
                </c:pt>
                <c:pt idx="14">
                  <c:v>2.4</c:v>
                </c:pt>
              </c:numCache>
            </c:numRef>
          </c:val>
          <c:extLst>
            <c:ext xmlns:c16="http://schemas.microsoft.com/office/drawing/2014/chart" uri="{C3380CC4-5D6E-409C-BE32-E72D297353CC}">
              <c16:uniqueId val="{00000003-C598-42BB-B885-001011CB1329}"/>
            </c:ext>
          </c:extLst>
        </c:ser>
        <c:dLbls>
          <c:dLblPos val="ctr"/>
          <c:showLegendKey val="0"/>
          <c:showVal val="1"/>
          <c:showCatName val="0"/>
          <c:showSerName val="0"/>
          <c:showPercent val="0"/>
          <c:showBubbleSize val="0"/>
        </c:dLbls>
        <c:gapWidth val="5"/>
        <c:overlap val="100"/>
        <c:axId val="110626256"/>
        <c:axId val="110628304"/>
      </c:barChart>
      <c:catAx>
        <c:axId val="110626256"/>
        <c:scaling>
          <c:orientation val="minMax"/>
        </c:scaling>
        <c:delete val="0"/>
        <c:axPos val="b"/>
        <c:numFmt formatCode="General" sourceLinked="0"/>
        <c:majorTickMark val="none"/>
        <c:minorTickMark val="none"/>
        <c:tickLblPos val="none"/>
        <c:spPr>
          <a:ln w="6350">
            <a:solidFill>
              <a:srgbClr val="BBBCBC"/>
            </a:solidFill>
            <a:prstDash val="solid"/>
          </a:ln>
        </c:spPr>
        <c:crossAx val="110628304"/>
        <c:crosses val="autoZero"/>
        <c:auto val="1"/>
        <c:lblAlgn val="ctr"/>
        <c:lblOffset val="100"/>
        <c:noMultiLvlLbl val="0"/>
      </c:catAx>
      <c:valAx>
        <c:axId val="110628304"/>
        <c:scaling>
          <c:orientation val="minMax"/>
        </c:scaling>
        <c:delete val="0"/>
        <c:axPos val="l"/>
        <c:majorGridlines>
          <c:spPr>
            <a:ln w="6350">
              <a:solidFill>
                <a:srgbClr val="BBBCBC"/>
              </a:solidFill>
            </a:ln>
          </c:spPr>
        </c:majorGridlines>
        <c:numFmt formatCode="0" sourceLinked="0"/>
        <c:majorTickMark val="out"/>
        <c:minorTickMark val="none"/>
        <c:tickLblPos val="low"/>
        <c:spPr>
          <a:ln w="9525">
            <a:noFill/>
            <a:prstDash val="solid"/>
          </a:ln>
        </c:spPr>
        <c:txPr>
          <a:bodyPr/>
          <a:lstStyle/>
          <a:p>
            <a:pPr>
              <a:defRPr sz="1100"/>
            </a:pPr>
            <a:endParaRPr lang="en-US"/>
          </a:p>
        </c:txPr>
        <c:crossAx val="110626256"/>
        <c:crosses val="autoZero"/>
        <c:crossBetween val="between"/>
      </c:valAx>
      <c:spPr>
        <a:noFill/>
        <a:ln w="25400">
          <a:noFill/>
        </a:ln>
      </c:spPr>
    </c:plotArea>
    <c:legend>
      <c:legendPos val="b"/>
      <c:layout>
        <c:manualLayout>
          <c:xMode val="edge"/>
          <c:yMode val="edge"/>
          <c:x val="4.67653835509639E-2"/>
          <c:y val="0.91590501057159601"/>
          <c:w val="0.90965128700990505"/>
          <c:h val="4.9372767206182597E-2"/>
        </c:manualLayout>
      </c:layout>
      <c:overlay val="0"/>
      <c:spPr>
        <a:noFill/>
        <a:ln>
          <a:noFill/>
          <a:round/>
        </a:ln>
        <a:effectLst/>
      </c:spPr>
      <c:txPr>
        <a:bodyPr/>
        <a:lstStyle/>
        <a:p>
          <a:pPr>
            <a:defRPr sz="1100"/>
          </a:pPr>
          <a:endParaRPr lang="en-US"/>
        </a:p>
      </c:txPr>
    </c:legend>
    <c:plotVisOnly val="1"/>
    <c:dispBlanksAs val="gap"/>
    <c:showDLblsOverMax val="0"/>
  </c:chart>
  <c:txPr>
    <a:bodyPr/>
    <a:lstStyle/>
    <a:p>
      <a:pPr>
        <a:defRPr sz="900">
          <a:solidFill>
            <a:srgbClr val="53565A"/>
          </a:solidFill>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61168512310401E-2"/>
          <c:y val="4.4835868694955899E-2"/>
          <c:w val="0.97613883148768998"/>
          <c:h val="0.78060033985767596"/>
        </c:manualLayout>
      </c:layout>
      <c:barChart>
        <c:barDir val="col"/>
        <c:grouping val="clustered"/>
        <c:varyColors val="0"/>
        <c:ser>
          <c:idx val="0"/>
          <c:order val="0"/>
          <c:tx>
            <c:strRef>
              <c:f>Sheet1!$B$1</c:f>
              <c:strCache>
                <c:ptCount val="1"/>
                <c:pt idx="0">
                  <c:v>Label 1</c:v>
                </c:pt>
              </c:strCache>
            </c:strRef>
          </c:tx>
          <c:spPr>
            <a:solidFill>
              <a:schemeClr val="accent1"/>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B$2:$B$3</c:f>
              <c:numCache>
                <c:formatCode>General</c:formatCode>
                <c:ptCount val="2"/>
                <c:pt idx="0">
                  <c:v>1</c:v>
                </c:pt>
                <c:pt idx="1">
                  <c:v>2</c:v>
                </c:pt>
              </c:numCache>
            </c:numRef>
          </c:val>
          <c:extLst>
            <c:ext xmlns:c16="http://schemas.microsoft.com/office/drawing/2014/chart" uri="{C3380CC4-5D6E-409C-BE32-E72D297353CC}">
              <c16:uniqueId val="{00000000-24EA-4AF0-93AF-C5819FC8B045}"/>
            </c:ext>
          </c:extLst>
        </c:ser>
        <c:ser>
          <c:idx val="1"/>
          <c:order val="1"/>
          <c:tx>
            <c:strRef>
              <c:f>Sheet1!$C$1</c:f>
              <c:strCache>
                <c:ptCount val="1"/>
                <c:pt idx="0">
                  <c:v>Label 2</c:v>
                </c:pt>
              </c:strCache>
            </c:strRef>
          </c:tx>
          <c:spPr>
            <a:solidFill>
              <a:schemeClr val="accent2"/>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C$2:$C$3</c:f>
              <c:numCache>
                <c:formatCode>General</c:formatCode>
                <c:ptCount val="2"/>
                <c:pt idx="0">
                  <c:v>2</c:v>
                </c:pt>
                <c:pt idx="1">
                  <c:v>3</c:v>
                </c:pt>
              </c:numCache>
            </c:numRef>
          </c:val>
          <c:extLst>
            <c:ext xmlns:c16="http://schemas.microsoft.com/office/drawing/2014/chart" uri="{C3380CC4-5D6E-409C-BE32-E72D297353CC}">
              <c16:uniqueId val="{00000001-24EA-4AF0-93AF-C5819FC8B045}"/>
            </c:ext>
          </c:extLst>
        </c:ser>
        <c:ser>
          <c:idx val="2"/>
          <c:order val="2"/>
          <c:tx>
            <c:strRef>
              <c:f>Sheet1!$D$1</c:f>
              <c:strCache>
                <c:ptCount val="1"/>
                <c:pt idx="0">
                  <c:v>Label 3</c:v>
                </c:pt>
              </c:strCache>
            </c:strRef>
          </c:tx>
          <c:spPr>
            <a:solidFill>
              <a:schemeClr val="accent3"/>
            </a:solidFill>
            <a:ln>
              <a:noFill/>
            </a:ln>
            <a:effectLst/>
          </c:spPr>
          <c:invertIfNegative val="0"/>
          <c:dLbls>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D$2:$D$3</c:f>
              <c:numCache>
                <c:formatCode>General</c:formatCode>
                <c:ptCount val="2"/>
                <c:pt idx="0">
                  <c:v>3</c:v>
                </c:pt>
                <c:pt idx="1">
                  <c:v>4</c:v>
                </c:pt>
              </c:numCache>
            </c:numRef>
          </c:val>
          <c:extLst>
            <c:ext xmlns:c16="http://schemas.microsoft.com/office/drawing/2014/chart" uri="{C3380CC4-5D6E-409C-BE32-E72D297353CC}">
              <c16:uniqueId val="{00000002-24EA-4AF0-93AF-C5819FC8B045}"/>
            </c:ext>
          </c:extLst>
        </c:ser>
        <c:ser>
          <c:idx val="3"/>
          <c:order val="3"/>
          <c:tx>
            <c:strRef>
              <c:f>Sheet1!$E$1</c:f>
              <c:strCache>
                <c:ptCount val="1"/>
                <c:pt idx="0">
                  <c:v>Label 4</c:v>
                </c:pt>
              </c:strCache>
            </c:strRef>
          </c:tx>
          <c:spPr>
            <a:solidFill>
              <a:schemeClr val="accent4"/>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E$2:$E$3</c:f>
              <c:numCache>
                <c:formatCode>General</c:formatCode>
                <c:ptCount val="2"/>
                <c:pt idx="0">
                  <c:v>4</c:v>
                </c:pt>
                <c:pt idx="1">
                  <c:v>5</c:v>
                </c:pt>
              </c:numCache>
            </c:numRef>
          </c:val>
          <c:extLst>
            <c:ext xmlns:c16="http://schemas.microsoft.com/office/drawing/2014/chart" uri="{C3380CC4-5D6E-409C-BE32-E72D297353CC}">
              <c16:uniqueId val="{00000003-24EA-4AF0-93AF-C5819FC8B045}"/>
            </c:ext>
          </c:extLst>
        </c:ser>
        <c:ser>
          <c:idx val="4"/>
          <c:order val="4"/>
          <c:tx>
            <c:strRef>
              <c:f>Sheet1!$F$1</c:f>
              <c:strCache>
                <c:ptCount val="1"/>
                <c:pt idx="0">
                  <c:v>Label 5</c:v>
                </c:pt>
              </c:strCache>
            </c:strRef>
          </c:tx>
          <c:spPr>
            <a:solidFill>
              <a:schemeClr val="accent5"/>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F$2:$F$3</c:f>
              <c:numCache>
                <c:formatCode>General</c:formatCode>
                <c:ptCount val="2"/>
                <c:pt idx="0">
                  <c:v>5</c:v>
                </c:pt>
                <c:pt idx="1">
                  <c:v>6</c:v>
                </c:pt>
              </c:numCache>
            </c:numRef>
          </c:val>
          <c:extLst>
            <c:ext xmlns:c16="http://schemas.microsoft.com/office/drawing/2014/chart" uri="{C3380CC4-5D6E-409C-BE32-E72D297353CC}">
              <c16:uniqueId val="{00000004-24EA-4AF0-93AF-C5819FC8B045}"/>
            </c:ext>
          </c:extLst>
        </c:ser>
        <c:ser>
          <c:idx val="5"/>
          <c:order val="5"/>
          <c:tx>
            <c:strRef>
              <c:f>Sheet1!$G$1</c:f>
              <c:strCache>
                <c:ptCount val="1"/>
                <c:pt idx="0">
                  <c:v>Label 6</c:v>
                </c:pt>
              </c:strCache>
            </c:strRef>
          </c:tx>
          <c:spPr>
            <a:solidFill>
              <a:schemeClr val="accent6"/>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G$2:$G$3</c:f>
              <c:numCache>
                <c:formatCode>General</c:formatCode>
                <c:ptCount val="2"/>
                <c:pt idx="0">
                  <c:v>6</c:v>
                </c:pt>
                <c:pt idx="1">
                  <c:v>7</c:v>
                </c:pt>
              </c:numCache>
            </c:numRef>
          </c:val>
          <c:extLst>
            <c:ext xmlns:c16="http://schemas.microsoft.com/office/drawing/2014/chart" uri="{C3380CC4-5D6E-409C-BE32-E72D297353CC}">
              <c16:uniqueId val="{00000005-24EA-4AF0-93AF-C5819FC8B045}"/>
            </c:ext>
          </c:extLst>
        </c:ser>
        <c:ser>
          <c:idx val="6"/>
          <c:order val="6"/>
          <c:tx>
            <c:strRef>
              <c:f>Sheet1!$H$1</c:f>
              <c:strCache>
                <c:ptCount val="1"/>
                <c:pt idx="0">
                  <c:v>Label 7</c:v>
                </c:pt>
              </c:strCache>
            </c:strRef>
          </c:tx>
          <c:spPr>
            <a:solidFill>
              <a:schemeClr val="bg2"/>
            </a:solidFill>
            <a:ln>
              <a:noFill/>
            </a:ln>
            <a:effectLst/>
          </c:spPr>
          <c:invertIfNegative val="0"/>
          <c:dLbls>
            <c:numFmt formatCode="#,##0.0" sourceLinked="0"/>
            <c:spPr>
              <a:noFill/>
              <a:ln>
                <a:noFill/>
              </a:ln>
              <a:effectLst/>
            </c:spPr>
            <c:txPr>
              <a:bodyPr rot="0" vert="horz"/>
              <a:lstStyle/>
              <a:p>
                <a:pP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08</c:v>
                </c:pt>
                <c:pt idx="1">
                  <c:v>2009</c:v>
                </c:pt>
              </c:numCache>
            </c:numRef>
          </c:cat>
          <c:val>
            <c:numRef>
              <c:f>Sheet1!$H$2:$H$3</c:f>
              <c:numCache>
                <c:formatCode>General</c:formatCode>
                <c:ptCount val="2"/>
                <c:pt idx="0">
                  <c:v>7</c:v>
                </c:pt>
                <c:pt idx="1">
                  <c:v>8</c:v>
                </c:pt>
              </c:numCache>
            </c:numRef>
          </c:val>
          <c:extLst>
            <c:ext xmlns:c16="http://schemas.microsoft.com/office/drawing/2014/chart" uri="{C3380CC4-5D6E-409C-BE32-E72D297353CC}">
              <c16:uniqueId val="{00000006-24EA-4AF0-93AF-C5819FC8B045}"/>
            </c:ext>
          </c:extLst>
        </c:ser>
        <c:dLbls>
          <c:dLblPos val="outEnd"/>
          <c:showLegendKey val="0"/>
          <c:showVal val="1"/>
          <c:showCatName val="0"/>
          <c:showSerName val="0"/>
          <c:showPercent val="0"/>
          <c:showBubbleSize val="0"/>
        </c:dLbls>
        <c:gapWidth val="100"/>
        <c:overlap val="-97"/>
        <c:axId val="111908896"/>
        <c:axId val="111911216"/>
      </c:barChart>
      <c:catAx>
        <c:axId val="111908896"/>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a:pPr>
            <a:endParaRPr lang="en-US"/>
          </a:p>
        </c:txPr>
        <c:crossAx val="111911216"/>
        <c:crosses val="autoZero"/>
        <c:auto val="1"/>
        <c:lblAlgn val="ctr"/>
        <c:lblOffset val="100"/>
        <c:noMultiLvlLbl val="0"/>
      </c:catAx>
      <c:valAx>
        <c:axId val="111911216"/>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sz="1100"/>
            </a:pPr>
            <a:endParaRPr lang="en-US"/>
          </a:p>
        </c:txPr>
        <c:crossAx val="111908896"/>
        <c:crosses val="autoZero"/>
        <c:crossBetween val="between"/>
      </c:valAx>
      <c:spPr>
        <a:noFill/>
        <a:ln>
          <a:noFill/>
        </a:ln>
        <a:effectLst/>
      </c:spPr>
    </c:plotArea>
    <c:legend>
      <c:legendPos val="b"/>
      <c:layout>
        <c:manualLayout>
          <c:xMode val="edge"/>
          <c:yMode val="edge"/>
          <c:x val="8.5852576226143507E-2"/>
          <c:y val="0.89379951205058605"/>
          <c:w val="0.82188177023252595"/>
          <c:h val="0.10299792589977499"/>
        </c:manualLayout>
      </c:layout>
      <c:overlay val="0"/>
      <c:spPr>
        <a:noFill/>
        <a:ln>
          <a:noFill/>
        </a:ln>
        <a:effectLst/>
      </c:spPr>
      <c:txPr>
        <a:bodyPr rot="0" vert="horz"/>
        <a:lstStyle/>
        <a:p>
          <a:pPr>
            <a:defRPr sz="1100"/>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bg1">
                <a:lumMod val="50000"/>
              </a:schemeClr>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bg1">
                <a:lumMod val="65000"/>
              </a:schemeClr>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bg1">
                <a:lumMod val="7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bg1">
                <a:lumMod val="8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chemeClr val="bg1">
                <a:lumMod val="95000"/>
              </a:schemeClr>
            </a:solidFill>
            <a:ln>
              <a:noFill/>
            </a:ln>
            <a:effectLst/>
          </c:spPr>
          <c:invertIfNegative val="0"/>
          <c:dLbls>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22213360"/>
        <c:axId val="22208096"/>
      </c:barChart>
      <c:catAx>
        <c:axId val="22213360"/>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a:pPr>
            <a:endParaRPr lang="en-US"/>
          </a:p>
        </c:txPr>
        <c:crossAx val="22208096"/>
        <c:crosses val="autoZero"/>
        <c:auto val="1"/>
        <c:lblAlgn val="ctr"/>
        <c:lblOffset val="100"/>
        <c:noMultiLvlLbl val="0"/>
      </c:catAx>
      <c:valAx>
        <c:axId val="22208096"/>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en-US"/>
          </a:p>
        </c:txPr>
        <c:crossAx val="22213360"/>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vert="horz"/>
        <a:lstStyle/>
        <a:p>
          <a:pPr>
            <a:defRPr sz="1100"/>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chemeClr val="bg1">
                <a:lumMod val="9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115588384"/>
        <c:axId val="115558144"/>
      </c:barChart>
      <c:catAx>
        <c:axId val="115588384"/>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5558144"/>
        <c:crosses val="autoZero"/>
        <c:auto val="1"/>
        <c:lblAlgn val="ctr"/>
        <c:lblOffset val="100"/>
        <c:noMultiLvlLbl val="0"/>
      </c:catAx>
      <c:valAx>
        <c:axId val="11555814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5588384"/>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30117636658705E-2"/>
          <c:y val="2.54169976171565E-2"/>
          <c:w val="0.87994670674185005"/>
          <c:h val="0.73660385382724702"/>
        </c:manualLayout>
      </c:layout>
      <c:barChart>
        <c:barDir val="col"/>
        <c:grouping val="stacked"/>
        <c:varyColors val="0"/>
        <c:ser>
          <c:idx val="0"/>
          <c:order val="0"/>
          <c:tx>
            <c:strRef>
              <c:f>Sheet1!$B$1</c:f>
              <c:strCache>
                <c:ptCount val="1"/>
                <c:pt idx="0">
                  <c:v>Label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E187-46E1-9369-C92BF07A20DA}"/>
            </c:ext>
          </c:extLst>
        </c:ser>
        <c:ser>
          <c:idx val="1"/>
          <c:order val="1"/>
          <c:tx>
            <c:strRef>
              <c:f>Sheet1!$C$1</c:f>
              <c:strCache>
                <c:ptCount val="1"/>
                <c:pt idx="0">
                  <c:v>Label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E187-46E1-9369-C92BF07A20DA}"/>
            </c:ext>
          </c:extLst>
        </c:ser>
        <c:ser>
          <c:idx val="2"/>
          <c:order val="2"/>
          <c:tx>
            <c:strRef>
              <c:f>Sheet1!$D$1</c:f>
              <c:strCache>
                <c:ptCount val="1"/>
                <c:pt idx="0">
                  <c:v>Label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E187-46E1-9369-C92BF07A20DA}"/>
            </c:ext>
          </c:extLst>
        </c:ser>
        <c:ser>
          <c:idx val="3"/>
          <c:order val="3"/>
          <c:tx>
            <c:strRef>
              <c:f>Sheet1!$E$1</c:f>
              <c:strCache>
                <c:ptCount val="1"/>
                <c:pt idx="0">
                  <c:v>Label 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E187-46E1-9369-C92BF07A20DA}"/>
            </c:ext>
          </c:extLst>
        </c:ser>
        <c:ser>
          <c:idx val="4"/>
          <c:order val="4"/>
          <c:tx>
            <c:strRef>
              <c:f>Sheet1!$F$1</c:f>
              <c:strCache>
                <c:ptCount val="1"/>
                <c:pt idx="0">
                  <c:v>Label 5</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E187-46E1-9369-C92BF07A20DA}"/>
            </c:ext>
          </c:extLst>
        </c:ser>
        <c:ser>
          <c:idx val="5"/>
          <c:order val="5"/>
          <c:tx>
            <c:strRef>
              <c:f>Sheet1!$G$1</c:f>
              <c:strCache>
                <c:ptCount val="1"/>
                <c:pt idx="0">
                  <c:v>Label 6</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E187-46E1-9369-C92BF07A20DA}"/>
            </c:ext>
          </c:extLst>
        </c:ser>
        <c:dLbls>
          <c:dLblPos val="ctr"/>
          <c:showLegendKey val="0"/>
          <c:showVal val="1"/>
          <c:showCatName val="0"/>
          <c:showSerName val="0"/>
          <c:showPercent val="0"/>
          <c:showBubbleSize val="0"/>
        </c:dLbls>
        <c:gapWidth val="85"/>
        <c:overlap val="100"/>
        <c:axId val="111827184"/>
        <c:axId val="111829744"/>
      </c:barChart>
      <c:catAx>
        <c:axId val="111827184"/>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1829744"/>
        <c:crosses val="autoZero"/>
        <c:auto val="1"/>
        <c:lblAlgn val="ctr"/>
        <c:lblOffset val="100"/>
        <c:noMultiLvlLbl val="0"/>
      </c:catAx>
      <c:valAx>
        <c:axId val="111829744"/>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1827184"/>
        <c:crosses val="autoZero"/>
        <c:crossBetween val="between"/>
      </c:valAx>
      <c:spPr>
        <a:noFill/>
        <a:ln>
          <a:noFill/>
        </a:ln>
        <a:effectLst/>
      </c:spPr>
    </c:plotArea>
    <c:legend>
      <c:legendPos val="b"/>
      <c:layout>
        <c:manualLayout>
          <c:xMode val="edge"/>
          <c:yMode val="edge"/>
          <c:x val="0.165661016099102"/>
          <c:y val="0.85756774843176398"/>
          <c:w val="0.63678469331460996"/>
          <c:h val="0.11385208786264001"/>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08974243419202E-2"/>
          <c:y val="2.5057145678002601E-2"/>
          <c:w val="0.85889639324047895"/>
          <c:h val="0.74014616062734195"/>
        </c:manualLayout>
      </c:layout>
      <c:barChart>
        <c:barDir val="col"/>
        <c:grouping val="stacked"/>
        <c:varyColors val="0"/>
        <c:ser>
          <c:idx val="0"/>
          <c:order val="0"/>
          <c:tx>
            <c:strRef>
              <c:f>Sheet1!$B$1</c:f>
              <c:strCache>
                <c:ptCount val="1"/>
                <c:pt idx="0">
                  <c:v>Label 1</c:v>
                </c:pt>
              </c:strCache>
            </c:strRef>
          </c:tx>
          <c:spPr>
            <a:solidFill>
              <a:schemeClr val="tx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0-3B00-44D2-A51B-86C3B429C84C}"/>
            </c:ext>
          </c:extLst>
        </c:ser>
        <c:ser>
          <c:idx val="1"/>
          <c:order val="1"/>
          <c:tx>
            <c:strRef>
              <c:f>Sheet1!$C$1</c:f>
              <c:strCache>
                <c:ptCount val="1"/>
                <c:pt idx="0">
                  <c:v>Label 2</c:v>
                </c:pt>
              </c:strCache>
            </c:strRef>
          </c:tx>
          <c:spPr>
            <a:solidFill>
              <a:schemeClr val="tx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1-3B00-44D2-A51B-86C3B429C84C}"/>
            </c:ext>
          </c:extLst>
        </c:ser>
        <c:ser>
          <c:idx val="2"/>
          <c:order val="2"/>
          <c:tx>
            <c:strRef>
              <c:f>Sheet1!$D$1</c:f>
              <c:strCache>
                <c:ptCount val="1"/>
                <c:pt idx="0">
                  <c:v>Label 3</c:v>
                </c:pt>
              </c:strCache>
            </c:strRef>
          </c:tx>
          <c:spPr>
            <a:solidFill>
              <a:schemeClr val="tx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2-3B00-44D2-A51B-86C3B429C84C}"/>
            </c:ext>
          </c:extLst>
        </c:ser>
        <c:ser>
          <c:idx val="3"/>
          <c:order val="3"/>
          <c:tx>
            <c:strRef>
              <c:f>Sheet1!$E$1</c:f>
              <c:strCache>
                <c:ptCount val="1"/>
                <c:pt idx="0">
                  <c:v>Label 4</c:v>
                </c:pt>
              </c:strCache>
            </c:strRef>
          </c:tx>
          <c:spPr>
            <a:solidFill>
              <a:schemeClr val="tx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E$2:$E$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3-3B00-44D2-A51B-86C3B429C84C}"/>
            </c:ext>
          </c:extLst>
        </c:ser>
        <c:ser>
          <c:idx val="4"/>
          <c:order val="4"/>
          <c:tx>
            <c:strRef>
              <c:f>Sheet1!$F$1</c:f>
              <c:strCache>
                <c:ptCount val="1"/>
                <c:pt idx="0">
                  <c:v>Label 5</c:v>
                </c:pt>
              </c:strCache>
            </c:strRef>
          </c:tx>
          <c:spPr>
            <a:solidFill>
              <a:srgbClr val="EBEEF2"/>
            </a:solidFill>
            <a:ln>
              <a:noFill/>
            </a:ln>
            <a:effectLst/>
          </c:spPr>
          <c:invertIfNegative val="0"/>
          <c:dPt>
            <c:idx val="4"/>
            <c:invertIfNegative val="0"/>
            <c:bubble3D val="0"/>
            <c:spPr>
              <a:solidFill>
                <a:schemeClr val="tx1">
                  <a:lumMod val="95000"/>
                </a:schemeClr>
              </a:solidFill>
              <a:ln>
                <a:noFill/>
              </a:ln>
              <a:effectLst/>
            </c:spPr>
            <c:extLst>
              <c:ext xmlns:c16="http://schemas.microsoft.com/office/drawing/2014/chart" uri="{C3380CC4-5D6E-409C-BE32-E72D297353CC}">
                <c16:uniqueId val="{00000001-8B2F-45F2-94A0-D32DD46233C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F$2:$F$6</c:f>
              <c:numCache>
                <c:formatCode>General</c:formatCode>
                <c:ptCount val="5"/>
                <c:pt idx="0">
                  <c:v>1</c:v>
                </c:pt>
                <c:pt idx="1">
                  <c:v>1.5</c:v>
                </c:pt>
                <c:pt idx="2">
                  <c:v>2</c:v>
                </c:pt>
                <c:pt idx="3">
                  <c:v>2.5</c:v>
                </c:pt>
                <c:pt idx="4">
                  <c:v>3</c:v>
                </c:pt>
              </c:numCache>
            </c:numRef>
          </c:val>
          <c:extLst>
            <c:ext xmlns:c16="http://schemas.microsoft.com/office/drawing/2014/chart" uri="{C3380CC4-5D6E-409C-BE32-E72D297353CC}">
              <c16:uniqueId val="{00000004-3B00-44D2-A51B-86C3B429C84C}"/>
            </c:ext>
          </c:extLst>
        </c:ser>
        <c:ser>
          <c:idx val="5"/>
          <c:order val="5"/>
          <c:tx>
            <c:strRef>
              <c:f>Sheet1!$G$1</c:f>
              <c:strCache>
                <c:ptCount val="1"/>
                <c:pt idx="0">
                  <c:v>Label 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8</c:v>
                </c:pt>
                <c:pt idx="1">
                  <c:v>2009</c:v>
                </c:pt>
                <c:pt idx="2">
                  <c:v>2010</c:v>
                </c:pt>
                <c:pt idx="3">
                  <c:v>2011</c:v>
                </c:pt>
                <c:pt idx="4">
                  <c:v>2012</c:v>
                </c:pt>
              </c:numCache>
            </c:numRef>
          </c:cat>
          <c:val>
            <c:numRef>
              <c:f>Sheet1!$G$2:$G$6</c:f>
              <c:numCache>
                <c:formatCode>General</c:formatCode>
                <c:ptCount val="5"/>
                <c:pt idx="0">
                  <c:v>1.1000000000000001</c:v>
                </c:pt>
                <c:pt idx="1">
                  <c:v>1.6</c:v>
                </c:pt>
                <c:pt idx="2">
                  <c:v>2.1</c:v>
                </c:pt>
                <c:pt idx="3">
                  <c:v>2.6</c:v>
                </c:pt>
                <c:pt idx="4">
                  <c:v>3.1</c:v>
                </c:pt>
              </c:numCache>
            </c:numRef>
          </c:val>
          <c:extLst>
            <c:ext xmlns:c16="http://schemas.microsoft.com/office/drawing/2014/chart" uri="{C3380CC4-5D6E-409C-BE32-E72D297353CC}">
              <c16:uniqueId val="{00000005-3B00-44D2-A51B-86C3B429C84C}"/>
            </c:ext>
          </c:extLst>
        </c:ser>
        <c:dLbls>
          <c:dLblPos val="ctr"/>
          <c:showLegendKey val="0"/>
          <c:showVal val="1"/>
          <c:showCatName val="0"/>
          <c:showSerName val="0"/>
          <c:showPercent val="0"/>
          <c:showBubbleSize val="0"/>
        </c:dLbls>
        <c:gapWidth val="85"/>
        <c:overlap val="100"/>
        <c:axId val="22263824"/>
        <c:axId val="22293856"/>
      </c:barChart>
      <c:catAx>
        <c:axId val="22263824"/>
        <c:scaling>
          <c:orientation val="minMax"/>
        </c:scaling>
        <c:delete val="0"/>
        <c:axPos val="b"/>
        <c:numFmt formatCode="General" sourceLinked="1"/>
        <c:majorTickMark val="none"/>
        <c:minorTickMark val="none"/>
        <c:tickLblPos val="nextTo"/>
        <c:spPr>
          <a:noFill/>
          <a:ln w="6350" cap="flat" cmpd="sng" algn="ctr">
            <a:solidFill>
              <a:srgbClr val="53565A"/>
            </a:solidFill>
            <a:round/>
          </a:ln>
          <a:effectLst/>
        </c:spPr>
        <c:txPr>
          <a:bodyPr rot="-60000000" spcFirstLastPara="1" vertOverflow="ellipsis" vert="horz" wrap="square" anchor="ctr" anchorCtr="1"/>
          <a:lstStyle/>
          <a:p>
            <a:pPr>
              <a:defRPr sz="900" b="0" i="0" u="none" strike="noStrike" kern="1200" baseline="0">
                <a:solidFill>
                  <a:srgbClr val="BBBCBC"/>
                </a:solidFill>
                <a:latin typeface="+mn-lt"/>
                <a:ea typeface="+mn-ea"/>
                <a:cs typeface="+mn-cs"/>
              </a:defRPr>
            </a:pPr>
            <a:endParaRPr lang="en-US"/>
          </a:p>
        </c:txPr>
        <c:crossAx val="22293856"/>
        <c:crosses val="autoZero"/>
        <c:auto val="1"/>
        <c:lblAlgn val="ctr"/>
        <c:lblOffset val="100"/>
        <c:noMultiLvlLbl val="0"/>
      </c:catAx>
      <c:valAx>
        <c:axId val="22293856"/>
        <c:scaling>
          <c:orientation val="minMax"/>
        </c:scaling>
        <c:delete val="0"/>
        <c:axPos val="l"/>
        <c:majorGridlines>
          <c:spPr>
            <a:ln w="6350" cap="flat" cmpd="sng" algn="ctr">
              <a:solidFill>
                <a:srgbClr val="53565A"/>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BBBCBC"/>
                </a:solidFill>
                <a:latin typeface="+mn-lt"/>
                <a:ea typeface="+mn-ea"/>
                <a:cs typeface="+mn-cs"/>
              </a:defRPr>
            </a:pPr>
            <a:endParaRPr lang="en-US"/>
          </a:p>
        </c:txPr>
        <c:crossAx val="22263824"/>
        <c:crosses val="autoZero"/>
        <c:crossBetween val="between"/>
      </c:valAx>
      <c:spPr>
        <a:noFill/>
        <a:ln>
          <a:noFill/>
        </a:ln>
        <a:effectLst/>
      </c:spPr>
    </c:plotArea>
    <c:legend>
      <c:legendPos val="b"/>
      <c:layout>
        <c:manualLayout>
          <c:xMode val="edge"/>
          <c:yMode val="edge"/>
          <c:x val="0.1429861171964"/>
          <c:y val="0.85439181808011899"/>
          <c:w val="0.71402790285731699"/>
          <c:h val="0.120203857260876"/>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BBBCB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703566465956"/>
          <c:y val="3.9118872071340099E-2"/>
          <c:w val="0.82303093273913097"/>
          <c:h val="0.749285961650627"/>
        </c:manualLayout>
      </c:layout>
      <c:barChart>
        <c:barDir val="bar"/>
        <c:grouping val="stacked"/>
        <c:varyColors val="0"/>
        <c:ser>
          <c:idx val="0"/>
          <c:order val="0"/>
          <c:tx>
            <c:strRef>
              <c:f>Sheet1!$B$1</c:f>
              <c:strCache>
                <c:ptCount val="1"/>
                <c:pt idx="0">
                  <c:v>Series 1</c:v>
                </c:pt>
              </c:strCache>
            </c:strRef>
          </c:tx>
          <c:spPr>
            <a:solidFill>
              <a:schemeClr val="bg1">
                <a:lumMod val="75000"/>
              </a:schemeClr>
            </a:solidFill>
            <a:ln w="12700">
              <a:noFill/>
            </a:ln>
          </c:spPr>
          <c:invertIfNegative val="0"/>
          <c:dLbls>
            <c:numFmt formatCode="#,##0.0" sourceLinked="0"/>
            <c:spPr>
              <a:noFill/>
              <a:ln>
                <a:noFill/>
              </a:ln>
              <a:effectLst/>
            </c:spPr>
            <c:txPr>
              <a:bodyPr/>
              <a:lstStyle/>
              <a:p>
                <a:pPr>
                  <a:defRPr sz="11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FFA-4FAF-BBB5-D3983343901C}"/>
            </c:ext>
          </c:extLst>
        </c:ser>
        <c:ser>
          <c:idx val="1"/>
          <c:order val="1"/>
          <c:tx>
            <c:strRef>
              <c:f>Sheet1!$C$1</c:f>
              <c:strCache>
                <c:ptCount val="1"/>
                <c:pt idx="0">
                  <c:v>Series 2</c:v>
                </c:pt>
              </c:strCache>
            </c:strRef>
          </c:tx>
          <c:spPr>
            <a:solidFill>
              <a:schemeClr val="bg1">
                <a:lumMod val="85000"/>
              </a:schemeClr>
            </a:solidFill>
            <a:ln w="12700">
              <a:noFill/>
            </a:ln>
          </c:spPr>
          <c:invertIfNegative val="0"/>
          <c:dLbls>
            <c:numFmt formatCode="#,##0.0" sourceLinked="0"/>
            <c:spPr>
              <a:noFill/>
              <a:ln>
                <a:noFill/>
              </a:ln>
              <a:effectLst/>
            </c:spPr>
            <c:txPr>
              <a:bodyPr/>
              <a:lstStyle/>
              <a:p>
                <a:pPr>
                  <a:defRPr sz="11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FFA-4FAF-BBB5-D3983343901C}"/>
            </c:ext>
          </c:extLst>
        </c:ser>
        <c:ser>
          <c:idx val="2"/>
          <c:order val="2"/>
          <c:tx>
            <c:strRef>
              <c:f>Sheet1!$D$1</c:f>
              <c:strCache>
                <c:ptCount val="1"/>
                <c:pt idx="0">
                  <c:v>Series 3</c:v>
                </c:pt>
              </c:strCache>
            </c:strRef>
          </c:tx>
          <c:spPr>
            <a:solidFill>
              <a:schemeClr val="bg1">
                <a:lumMod val="95000"/>
              </a:schemeClr>
            </a:solidFill>
            <a:ln w="12700">
              <a:noFill/>
            </a:ln>
          </c:spPr>
          <c:invertIfNegative val="0"/>
          <c:dLbls>
            <c:numFmt formatCode="#,##0.0" sourceLinked="0"/>
            <c:spPr>
              <a:noFill/>
              <a:ln>
                <a:noFill/>
              </a:ln>
              <a:effectLst/>
            </c:spPr>
            <c:txPr>
              <a:bodyPr/>
              <a:lstStyle/>
              <a:p>
                <a:pPr>
                  <a:defRPr sz="11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FFA-4FAF-BBB5-D3983343901C}"/>
            </c:ext>
          </c:extLst>
        </c:ser>
        <c:ser>
          <c:idx val="3"/>
          <c:order val="3"/>
          <c:tx>
            <c:strRef>
              <c:f>Sheet1!$E$1</c:f>
              <c:strCache>
                <c:ptCount val="1"/>
                <c:pt idx="0">
                  <c:v>Series 4</c:v>
                </c:pt>
              </c:strCache>
            </c:strRef>
          </c:tx>
          <c:spPr>
            <a:solidFill>
              <a:schemeClr val="accent1"/>
            </a:solidFill>
            <a:ln w="12700">
              <a:noFill/>
            </a:ln>
          </c:spPr>
          <c:invertIfNegative val="0"/>
          <c:dLbls>
            <c:numFmt formatCode="#,##0.0" sourceLinked="0"/>
            <c:spPr>
              <a:noFill/>
              <a:ln>
                <a:noFill/>
              </a:ln>
              <a:effectLst/>
            </c:spPr>
            <c:txPr>
              <a:bodyPr/>
              <a:lstStyle/>
              <a:p>
                <a:pPr>
                  <a:defRPr sz="11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5FFA-4FAF-BBB5-D3983343901C}"/>
            </c:ext>
          </c:extLst>
        </c:ser>
        <c:dLbls>
          <c:showLegendKey val="0"/>
          <c:showVal val="0"/>
          <c:showCatName val="0"/>
          <c:showSerName val="0"/>
          <c:showPercent val="0"/>
          <c:showBubbleSize val="0"/>
        </c:dLbls>
        <c:gapWidth val="100"/>
        <c:overlap val="100"/>
        <c:axId val="121123984"/>
        <c:axId val="121125616"/>
      </c:barChart>
      <c:catAx>
        <c:axId val="121123984"/>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1100" b="0">
                <a:solidFill>
                  <a:srgbClr val="53565A"/>
                </a:solidFill>
              </a:defRPr>
            </a:pPr>
            <a:endParaRPr lang="en-US"/>
          </a:p>
        </c:txPr>
        <c:crossAx val="121125616"/>
        <c:crosses val="autoZero"/>
        <c:auto val="1"/>
        <c:lblAlgn val="ctr"/>
        <c:lblOffset val="100"/>
        <c:noMultiLvlLbl val="0"/>
      </c:catAx>
      <c:valAx>
        <c:axId val="121125616"/>
        <c:scaling>
          <c:orientation val="minMax"/>
        </c:scaling>
        <c:delete val="0"/>
        <c:axPos val="b"/>
        <c:majorGridlines>
          <c:spPr>
            <a:ln w="6350">
              <a:solidFill>
                <a:srgbClr val="BBBCBC"/>
              </a:solidFill>
            </a:ln>
          </c:spPr>
        </c:majorGridlines>
        <c:numFmt formatCode="General" sourceLinked="1"/>
        <c:majorTickMark val="none"/>
        <c:minorTickMark val="none"/>
        <c:tickLblPos val="nextTo"/>
        <c:spPr>
          <a:ln w="6350">
            <a:solidFill>
              <a:srgbClr val="BBBCBC"/>
            </a:solidFill>
          </a:ln>
        </c:spPr>
        <c:txPr>
          <a:bodyPr/>
          <a:lstStyle/>
          <a:p>
            <a:pPr>
              <a:defRPr sz="900" b="0">
                <a:solidFill>
                  <a:srgbClr val="53565A"/>
                </a:solidFill>
              </a:defRPr>
            </a:pPr>
            <a:endParaRPr lang="en-US"/>
          </a:p>
        </c:txPr>
        <c:crossAx val="121123984"/>
        <c:crosses val="autoZero"/>
        <c:crossBetween val="between"/>
      </c:valAx>
      <c:spPr>
        <a:ln>
          <a:noFill/>
        </a:ln>
      </c:spPr>
    </c:plotArea>
    <c:legend>
      <c:legendPos val="r"/>
      <c:legendEntry>
        <c:idx val="0"/>
        <c:txPr>
          <a:bodyPr/>
          <a:lstStyle/>
          <a:p>
            <a:pPr>
              <a:defRPr sz="1100" b="0">
                <a:solidFill>
                  <a:srgbClr val="53565A"/>
                </a:solidFill>
              </a:defRPr>
            </a:pPr>
            <a:endParaRPr lang="en-US"/>
          </a:p>
        </c:txPr>
      </c:legendEntry>
      <c:layout>
        <c:manualLayout>
          <c:xMode val="edge"/>
          <c:yMode val="edge"/>
          <c:x val="0.19434497953256599"/>
          <c:y val="0.89079811809435905"/>
          <c:w val="0.72666916924331804"/>
          <c:h val="4.7013752187226601E-2"/>
        </c:manualLayout>
      </c:layout>
      <c:overlay val="0"/>
      <c:txPr>
        <a:bodyPr/>
        <a:lstStyle/>
        <a:p>
          <a:pPr>
            <a:defRPr sz="1100" b="0">
              <a:solidFill>
                <a:srgbClr val="53565A"/>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4.8873605736569098E-2"/>
          <c:y val="2.2694186329080199E-2"/>
          <c:w val="0.93440271505400496"/>
          <c:h val="0.74202881721194403"/>
        </c:manualLayout>
      </c:layout>
      <c:areaChart>
        <c:grouping val="stacked"/>
        <c:varyColors val="0"/>
        <c:ser>
          <c:idx val="0"/>
          <c:order val="0"/>
          <c:tx>
            <c:strRef>
              <c:f>Sheet1!$B$1</c:f>
              <c:strCache>
                <c:ptCount val="1"/>
                <c:pt idx="0">
                  <c:v>Construction</c:v>
                </c:pt>
              </c:strCache>
            </c:strRef>
          </c:tx>
          <c:spPr>
            <a:ln w="28575" cap="rnd">
              <a:solidFill>
                <a:schemeClr val="accent1"/>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Financial Services</c:v>
                </c:pt>
              </c:strCache>
            </c:strRef>
          </c:tx>
          <c:spPr>
            <a:ln w="28575" cap="rnd">
              <a:solidFill>
                <a:schemeClr val="accent2"/>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extLst>
            <c:ext xmlns:c16="http://schemas.microsoft.com/office/drawing/2014/chart" uri="{C3380CC4-5D6E-409C-BE32-E72D297353CC}">
              <c16:uniqueId val="{00000001-E557-437B-99ED-7A30380B469F}"/>
            </c:ext>
          </c:extLst>
        </c:ser>
        <c:ser>
          <c:idx val="2"/>
          <c:order val="2"/>
          <c:tx>
            <c:strRef>
              <c:f>Sheet1!$D$1</c:f>
              <c:strCache>
                <c:ptCount val="1"/>
                <c:pt idx="0">
                  <c:v>Healthcare</c:v>
                </c:pt>
              </c:strCache>
            </c:strRef>
          </c:tx>
          <c:spPr>
            <a:solidFill>
              <a:srgbClr val="00A3E0"/>
            </a:solidFill>
            <a:ln w="28575" cap="rnd">
              <a:solidFill>
                <a:srgbClr val="00A3E0"/>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extLst>
            <c:ext xmlns:c16="http://schemas.microsoft.com/office/drawing/2014/chart" uri="{C3380CC4-5D6E-409C-BE32-E72D297353CC}">
              <c16:uniqueId val="{00000002-E557-437B-99ED-7A30380B469F}"/>
            </c:ext>
          </c:extLst>
        </c:ser>
        <c:ser>
          <c:idx val="3"/>
          <c:order val="3"/>
          <c:tx>
            <c:strRef>
              <c:f>Sheet1!$E$1</c:f>
              <c:strCache>
                <c:ptCount val="1"/>
                <c:pt idx="0">
                  <c:v>Transportation</c:v>
                </c:pt>
              </c:strCache>
            </c:strRef>
          </c:tx>
          <c:spPr>
            <a:solidFill>
              <a:srgbClr val="007CB0">
                <a:lumMod val="75000"/>
              </a:srgbClr>
            </a:solidFill>
            <a:ln w="28575">
              <a:solidFill>
                <a:srgbClr val="007CB0">
                  <a:lumMod val="75000"/>
                </a:srgbClr>
              </a:solidFill>
            </a:ln>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extLst>
            <c:ext xmlns:c16="http://schemas.microsoft.com/office/drawing/2014/chart" uri="{C3380CC4-5D6E-409C-BE32-E72D297353CC}">
              <c16:uniqueId val="{00000003-E557-437B-99ED-7A30380B469F}"/>
            </c:ext>
          </c:extLst>
        </c:ser>
        <c:dLbls>
          <c:showLegendKey val="0"/>
          <c:showVal val="0"/>
          <c:showCatName val="0"/>
          <c:showSerName val="0"/>
          <c:showPercent val="0"/>
          <c:showBubbleSize val="0"/>
        </c:dLbls>
        <c:axId val="111293184"/>
        <c:axId val="111296016"/>
      </c:areaChart>
      <c:catAx>
        <c:axId val="111293184"/>
        <c:scaling>
          <c:orientation val="minMax"/>
        </c:scaling>
        <c:delete val="0"/>
        <c:axPos val="b"/>
        <c:numFmt formatCode="General" sourceLinked="1"/>
        <c:majorTickMark val="none"/>
        <c:minorTickMark val="none"/>
        <c:tickLblPos val="nextTo"/>
        <c:spPr>
          <a:noFill/>
          <a:ln w="6350" cap="flat" cmpd="sng" algn="ctr">
            <a:solidFill>
              <a:srgbClr val="53565A"/>
            </a:solidFill>
            <a:round/>
          </a:ln>
          <a:effectLst/>
        </c:spPr>
        <c:txPr>
          <a:bodyPr rot="-60000000" vert="horz"/>
          <a:lstStyle/>
          <a:p>
            <a:pPr>
              <a:defRPr>
                <a:solidFill>
                  <a:srgbClr val="BBBCBC"/>
                </a:solidFill>
                <a:latin typeface="Calibri Light" panose="020F0302020204030204" pitchFamily="34" charset="0"/>
                <a:cs typeface="Calibri Light" panose="020F0302020204030204" pitchFamily="34" charset="0"/>
              </a:defRPr>
            </a:pPr>
            <a:endParaRPr lang="en-US"/>
          </a:p>
        </c:txPr>
        <c:crossAx val="111296016"/>
        <c:crosses val="autoZero"/>
        <c:auto val="1"/>
        <c:lblAlgn val="ctr"/>
        <c:lblOffset val="100"/>
        <c:noMultiLvlLbl val="0"/>
      </c:catAx>
      <c:valAx>
        <c:axId val="111296016"/>
        <c:scaling>
          <c:orientation val="minMax"/>
        </c:scaling>
        <c:delete val="0"/>
        <c:axPos val="l"/>
        <c:majorGridlines>
          <c:spPr>
            <a:ln w="6350" cap="flat" cmpd="sng" algn="ctr">
              <a:solidFill>
                <a:srgbClr val="53565A"/>
              </a:solidFill>
              <a:round/>
            </a:ln>
            <a:effectLst/>
          </c:spPr>
        </c:majorGridlines>
        <c:numFmt formatCode="General" sourceLinked="1"/>
        <c:majorTickMark val="none"/>
        <c:minorTickMark val="none"/>
        <c:tickLblPos val="nextTo"/>
        <c:spPr>
          <a:noFill/>
          <a:ln>
            <a:noFill/>
          </a:ln>
          <a:effectLst/>
        </c:spPr>
        <c:txPr>
          <a:bodyPr rot="-60000000" vert="horz"/>
          <a:lstStyle/>
          <a:p>
            <a:pPr>
              <a:defRPr>
                <a:solidFill>
                  <a:srgbClr val="BBBCBC"/>
                </a:solidFill>
                <a:latin typeface="Calibri Light" panose="020F0302020204030204" pitchFamily="34" charset="0"/>
                <a:cs typeface="Calibri Light" panose="020F0302020204030204" pitchFamily="34" charset="0"/>
              </a:defRPr>
            </a:pPr>
            <a:endParaRPr lang="en-US"/>
          </a:p>
        </c:txPr>
        <c:crossAx val="111293184"/>
        <c:crosses val="autoZero"/>
        <c:crossBetween val="midCat"/>
      </c:valAx>
      <c:spPr>
        <a:noFill/>
        <a:ln>
          <a:noFill/>
        </a:ln>
        <a:effectLst/>
      </c:spPr>
    </c:plotArea>
    <c:legend>
      <c:legendPos val="b"/>
      <c:legendEntry>
        <c:idx val="2"/>
        <c:txPr>
          <a:bodyPr rot="0" vert="horz"/>
          <a:lstStyle/>
          <a:p>
            <a:pPr>
              <a:defRPr sz="1100">
                <a:solidFill>
                  <a:srgbClr val="BBBCBC"/>
                </a:solidFill>
                <a:latin typeface="Calibri" panose="020F0502020204030204" pitchFamily="34" charset="0"/>
                <a:cs typeface="Calibri" panose="020F0502020204030204" pitchFamily="34" charset="0"/>
              </a:defRPr>
            </a:pPr>
            <a:endParaRPr lang="en-US"/>
          </a:p>
        </c:txPr>
      </c:legendEntry>
      <c:layout>
        <c:manualLayout>
          <c:xMode val="edge"/>
          <c:yMode val="edge"/>
          <c:x val="8.7209536307961522E-2"/>
          <c:y val="0.87553084700019046"/>
          <c:w val="0.78324212598425202"/>
          <c:h val="0.11175560353446699"/>
        </c:manualLayout>
      </c:layout>
      <c:overlay val="0"/>
      <c:spPr>
        <a:noFill/>
        <a:ln>
          <a:noFill/>
        </a:ln>
        <a:effectLst/>
      </c:spPr>
      <c:txPr>
        <a:bodyPr rot="0" vert="horz"/>
        <a:lstStyle/>
        <a:p>
          <a:pPr>
            <a:defRPr sz="1100">
              <a:solidFill>
                <a:srgbClr val="BBBCBC"/>
              </a:solidFill>
              <a:latin typeface="Calibri" panose="020F0502020204030204" pitchFamily="34" charset="0"/>
              <a:cs typeface="Calibri" panose="020F0502020204030204" pitchFamily="34" charset="0"/>
            </a:defRPr>
          </a:pPr>
          <a:endParaRPr lang="en-US"/>
        </a:p>
      </c:txPr>
    </c:legend>
    <c:plotVisOnly val="1"/>
    <c:dispBlanksAs val="gap"/>
    <c:showDLblsOverMax val="0"/>
  </c:chart>
  <c:spPr>
    <a:noFill/>
    <a:ln>
      <a:noFill/>
    </a:ln>
    <a:effectLst/>
  </c:spPr>
  <c:txPr>
    <a:bodyPr/>
    <a:lstStyle/>
    <a:p>
      <a:pPr>
        <a:defRPr sz="900">
          <a:solidFill>
            <a:schemeClr val="accent6"/>
          </a:solidFill>
        </a:defRPr>
      </a:pPr>
      <a:endParaRPr lang="en-US"/>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73605736569098E-2"/>
          <c:y val="9.5796999827576307E-2"/>
          <c:w val="0.93440271505400496"/>
          <c:h val="0.72931524800275904"/>
        </c:manualLayout>
      </c:layout>
      <c:areaChart>
        <c:grouping val="stacked"/>
        <c:varyColors val="0"/>
        <c:ser>
          <c:idx val="0"/>
          <c:order val="0"/>
          <c:tx>
            <c:strRef>
              <c:f>Sheet1!$B$1</c:f>
              <c:strCache>
                <c:ptCount val="1"/>
                <c:pt idx="0">
                  <c:v>Construction</c:v>
                </c:pt>
              </c:strCache>
            </c:strRef>
          </c:tx>
          <c:spPr>
            <a:ln w="28575" cap="rnd">
              <a:solidFill>
                <a:schemeClr val="accent1"/>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Financial Services</c:v>
                </c:pt>
              </c:strCache>
            </c:strRef>
          </c:tx>
          <c:spPr>
            <a:ln w="28575" cap="rnd">
              <a:solidFill>
                <a:schemeClr val="accent2"/>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extLst>
            <c:ext xmlns:c16="http://schemas.microsoft.com/office/drawing/2014/chart" uri="{C3380CC4-5D6E-409C-BE32-E72D297353CC}">
              <c16:uniqueId val="{00000001-E557-437B-99ED-7A30380B469F}"/>
            </c:ext>
          </c:extLst>
        </c:ser>
        <c:ser>
          <c:idx val="2"/>
          <c:order val="2"/>
          <c:tx>
            <c:strRef>
              <c:f>Sheet1!$D$1</c:f>
              <c:strCache>
                <c:ptCount val="1"/>
                <c:pt idx="0">
                  <c:v>Healthcare</c:v>
                </c:pt>
              </c:strCache>
            </c:strRef>
          </c:tx>
          <c:spPr>
            <a:ln w="28575" cap="rnd">
              <a:solidFill>
                <a:schemeClr val="accent3"/>
              </a:solidFill>
              <a:round/>
            </a:ln>
            <a:effectLst/>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extLst>
            <c:ext xmlns:c16="http://schemas.microsoft.com/office/drawing/2014/chart" uri="{C3380CC4-5D6E-409C-BE32-E72D297353CC}">
              <c16:uniqueId val="{00000002-E557-437B-99ED-7A30380B469F}"/>
            </c:ext>
          </c:extLst>
        </c:ser>
        <c:ser>
          <c:idx val="3"/>
          <c:order val="3"/>
          <c:tx>
            <c:strRef>
              <c:f>Sheet1!$E$1</c:f>
              <c:strCache>
                <c:ptCount val="1"/>
                <c:pt idx="0">
                  <c:v>Transportation</c:v>
                </c:pt>
              </c:strCache>
            </c:strRef>
          </c:tx>
          <c:spPr>
            <a:ln w="28575"/>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extLst>
            <c:ext xmlns:c16="http://schemas.microsoft.com/office/drawing/2014/chart" uri="{C3380CC4-5D6E-409C-BE32-E72D297353CC}">
              <c16:uniqueId val="{00000003-E557-437B-99ED-7A30380B469F}"/>
            </c:ext>
          </c:extLst>
        </c:ser>
        <c:dLbls>
          <c:showLegendKey val="0"/>
          <c:showVal val="0"/>
          <c:showCatName val="0"/>
          <c:showSerName val="0"/>
          <c:showPercent val="0"/>
          <c:showBubbleSize val="0"/>
        </c:dLbls>
        <c:axId val="22172496"/>
        <c:axId val="22175328"/>
      </c:areaChart>
      <c:catAx>
        <c:axId val="22172496"/>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vert="horz"/>
          <a:lstStyle/>
          <a:p>
            <a:pPr>
              <a:defRPr/>
            </a:pPr>
            <a:endParaRPr lang="en-US"/>
          </a:p>
        </c:txPr>
        <c:crossAx val="22175328"/>
        <c:crosses val="autoZero"/>
        <c:auto val="1"/>
        <c:lblAlgn val="ctr"/>
        <c:lblOffset val="100"/>
        <c:noMultiLvlLbl val="0"/>
      </c:catAx>
      <c:valAx>
        <c:axId val="22175328"/>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vert="horz"/>
          <a:lstStyle/>
          <a:p>
            <a:pPr>
              <a:defRPr>
                <a:latin typeface="Calibri Light" panose="020F0302020204030204" pitchFamily="34" charset="0"/>
                <a:cs typeface="Calibri Light" panose="020F0302020204030204" pitchFamily="34" charset="0"/>
              </a:defRPr>
            </a:pPr>
            <a:endParaRPr lang="en-US"/>
          </a:p>
        </c:txPr>
        <c:crossAx val="22172496"/>
        <c:crosses val="autoZero"/>
        <c:crossBetween val="midCat"/>
      </c:valAx>
      <c:spPr>
        <a:noFill/>
        <a:ln>
          <a:noFill/>
        </a:ln>
        <a:effectLst/>
      </c:spPr>
    </c:plotArea>
    <c:legend>
      <c:legendPos val="b"/>
      <c:layout>
        <c:manualLayout>
          <c:xMode val="edge"/>
          <c:yMode val="edge"/>
          <c:x val="0.18549039896408701"/>
          <c:y val="0.92873802891395396"/>
          <c:w val="0.61382740564189797"/>
          <c:h val="5.2533915721784702E-2"/>
        </c:manualLayout>
      </c:layout>
      <c:overlay val="0"/>
      <c:spPr>
        <a:noFill/>
        <a:ln>
          <a:noFill/>
        </a:ln>
        <a:effectLst/>
      </c:spPr>
      <c:txPr>
        <a:bodyPr rot="0" vert="horz"/>
        <a:lstStyle/>
        <a:p>
          <a:pPr>
            <a:defRPr sz="1100"/>
          </a:pPr>
          <a:endParaRPr lang="en-US"/>
        </a:p>
      </c:txPr>
    </c:legend>
    <c:plotVisOnly val="1"/>
    <c:dispBlanksAs val="gap"/>
    <c:showDLblsOverMax val="0"/>
  </c:chart>
  <c:spPr>
    <a:noFill/>
    <a:ln>
      <a:noFill/>
    </a:ln>
    <a:effectLst/>
  </c:spPr>
  <c:txPr>
    <a:bodyPr/>
    <a:lstStyle/>
    <a:p>
      <a:pPr>
        <a:defRPr sz="900">
          <a:solidFill>
            <a:srgbClr val="53565A"/>
          </a:solidFill>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1"/>
              </a:solidFill>
              <a:ln w="12700">
                <a:noFill/>
              </a:ln>
            </c:spPr>
            <c:extLst>
              <c:ext xmlns:c16="http://schemas.microsoft.com/office/drawing/2014/chart" uri="{C3380CC4-5D6E-409C-BE32-E72D297353CC}">
                <c16:uniqueId val="{00000001-F73F-4B86-86DE-AE81C59B1B75}"/>
              </c:ext>
            </c:extLst>
          </c:dPt>
          <c:dPt>
            <c:idx val="1"/>
            <c:bubble3D val="0"/>
            <c:spPr>
              <a:solidFill>
                <a:schemeClr val="accent2"/>
              </a:solidFill>
              <a:ln w="12700">
                <a:noFill/>
              </a:ln>
            </c:spPr>
            <c:extLst>
              <c:ext xmlns:c16="http://schemas.microsoft.com/office/drawing/2014/chart" uri="{C3380CC4-5D6E-409C-BE32-E72D297353CC}">
                <c16:uniqueId val="{00000003-F73F-4B86-86DE-AE81C59B1B75}"/>
              </c:ext>
            </c:extLst>
          </c:dPt>
          <c:dPt>
            <c:idx val="2"/>
            <c:bubble3D val="0"/>
            <c:spPr>
              <a:solidFill>
                <a:schemeClr val="accent3"/>
              </a:solidFill>
              <a:ln w="12700">
                <a:noFill/>
              </a:ln>
            </c:spPr>
            <c:extLst>
              <c:ext xmlns:c16="http://schemas.microsoft.com/office/drawing/2014/chart" uri="{C3380CC4-5D6E-409C-BE32-E72D297353CC}">
                <c16:uniqueId val="{00000005-F73F-4B86-86DE-AE81C59B1B75}"/>
              </c:ext>
            </c:extLst>
          </c:dPt>
          <c:dPt>
            <c:idx val="3"/>
            <c:bubble3D val="0"/>
            <c:spPr>
              <a:solidFill>
                <a:schemeClr val="accent4"/>
              </a:solidFill>
              <a:ln w="12700">
                <a:noFill/>
              </a:ln>
            </c:spPr>
            <c:extLst>
              <c:ext xmlns:c16="http://schemas.microsoft.com/office/drawing/2014/chart" uri="{C3380CC4-5D6E-409C-BE32-E72D297353CC}">
                <c16:uniqueId val="{00000007-F73F-4B86-86DE-AE81C59B1B75}"/>
              </c:ext>
            </c:extLst>
          </c:dPt>
          <c:dPt>
            <c:idx val="4"/>
            <c:bubble3D val="0"/>
            <c:spPr>
              <a:solidFill>
                <a:schemeClr val="accent5"/>
              </a:solidFill>
              <a:ln w="12700">
                <a:noFill/>
              </a:ln>
            </c:spPr>
            <c:extLst>
              <c:ext xmlns:c16="http://schemas.microsoft.com/office/drawing/2014/chart" uri="{C3380CC4-5D6E-409C-BE32-E72D297353CC}">
                <c16:uniqueId val="{00000009-F73F-4B86-86DE-AE81C59B1B75}"/>
              </c:ext>
            </c:extLst>
          </c:dPt>
          <c:dPt>
            <c:idx val="5"/>
            <c:bubble3D val="0"/>
            <c:spPr>
              <a:solidFill>
                <a:schemeClr val="tx2"/>
              </a:solidFill>
              <a:ln w="12700">
                <a:noFill/>
              </a:ln>
            </c:spPr>
            <c:extLst>
              <c:ext xmlns:c16="http://schemas.microsoft.com/office/drawing/2014/chart" uri="{C3380CC4-5D6E-409C-BE32-E72D297353CC}">
                <c16:uniqueId val="{0000000B-F73F-4B86-86DE-AE81C59B1B75}"/>
              </c:ext>
            </c:extLst>
          </c:dPt>
          <c:dPt>
            <c:idx val="6"/>
            <c:bubble3D val="0"/>
            <c:spPr>
              <a:solidFill>
                <a:schemeClr val="tx2">
                  <a:lumMod val="60000"/>
                  <a:lumOff val="40000"/>
                </a:schemeClr>
              </a:solidFill>
              <a:ln w="12700">
                <a:noFill/>
              </a:ln>
            </c:spPr>
            <c:extLst>
              <c:ext xmlns:c16="http://schemas.microsoft.com/office/drawing/2014/chart" uri="{C3380CC4-5D6E-409C-BE32-E72D297353CC}">
                <c16:uniqueId val="{0000000D-F73F-4B86-86DE-AE81C59B1B75}"/>
              </c:ext>
            </c:extLst>
          </c:dPt>
          <c:dPt>
            <c:idx val="7"/>
            <c:bubble3D val="0"/>
            <c:spPr>
              <a:solidFill>
                <a:schemeClr val="accent6"/>
              </a:solidFill>
              <a:ln w="12700">
                <a:noFill/>
              </a:ln>
            </c:spPr>
            <c:extLst>
              <c:ext xmlns:c16="http://schemas.microsoft.com/office/drawing/2014/chart" uri="{C3380CC4-5D6E-409C-BE32-E72D297353CC}">
                <c16:uniqueId val="{0000000F-F73F-4B86-86DE-AE81C59B1B75}"/>
              </c:ext>
            </c:extLst>
          </c:dPt>
          <c:dPt>
            <c:idx val="8"/>
            <c:bubble3D val="0"/>
            <c:spPr>
              <a:solidFill>
                <a:schemeClr val="accent6">
                  <a:lumMod val="60000"/>
                  <a:lumOff val="40000"/>
                </a:schemeClr>
              </a:solidFill>
              <a:ln w="12700">
                <a:noFill/>
              </a:ln>
            </c:spPr>
            <c:extLst>
              <c:ext xmlns:c16="http://schemas.microsoft.com/office/drawing/2014/chart" uri="{C3380CC4-5D6E-409C-BE32-E72D297353CC}">
                <c16:uniqueId val="{00000011-F73F-4B86-86DE-AE81C59B1B75}"/>
              </c:ext>
            </c:extLst>
          </c:dPt>
          <c:dLbls>
            <c:numFmt formatCode="#,##0.0" sourceLinked="0"/>
            <c:spPr>
              <a:noFill/>
              <a:ln>
                <a:noFill/>
              </a:ln>
              <a:effectLst/>
            </c:spPr>
            <c:txPr>
              <a:bodyPr/>
              <a:lstStyle/>
              <a:p>
                <a:pPr>
                  <a:defRPr sz="11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10</c:f>
              <c:strCache>
                <c:ptCount val="9"/>
                <c:pt idx="0">
                  <c:v>Label A</c:v>
                </c:pt>
                <c:pt idx="1">
                  <c:v>Label B</c:v>
                </c:pt>
                <c:pt idx="2">
                  <c:v>Label C</c:v>
                </c:pt>
                <c:pt idx="3">
                  <c:v>Label D</c:v>
                </c:pt>
                <c:pt idx="4">
                  <c:v>Label E</c:v>
                </c:pt>
                <c:pt idx="5">
                  <c:v>Label F</c:v>
                </c:pt>
                <c:pt idx="6">
                  <c:v>Label G</c:v>
                </c:pt>
                <c:pt idx="7">
                  <c:v>Label H</c:v>
                </c:pt>
                <c:pt idx="8">
                  <c:v>Label I</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12-F73F-4B86-86DE-AE81C59B1B75}"/>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3"/>
              </a:solidFill>
              <a:ln w="12700">
                <a:noFill/>
              </a:ln>
            </c:spPr>
            <c:extLst>
              <c:ext xmlns:c16="http://schemas.microsoft.com/office/drawing/2014/chart" uri="{C3380CC4-5D6E-409C-BE32-E72D297353CC}">
                <c16:uniqueId val="{00000001-7759-4074-B793-964AC8BD614F}"/>
              </c:ext>
            </c:extLst>
          </c:dPt>
          <c:dPt>
            <c:idx val="1"/>
            <c:bubble3D val="0"/>
            <c:spPr>
              <a:solidFill>
                <a:schemeClr val="tx2">
                  <a:lumMod val="20000"/>
                  <a:lumOff val="80000"/>
                </a:schemeClr>
              </a:solidFill>
              <a:ln w="12700">
                <a:noFill/>
              </a:ln>
            </c:spPr>
            <c:extLst>
              <c:ext xmlns:c16="http://schemas.microsoft.com/office/drawing/2014/chart" uri="{C3380CC4-5D6E-409C-BE32-E72D297353CC}">
                <c16:uniqueId val="{00000003-7759-4074-B793-964AC8BD614F}"/>
              </c:ext>
            </c:extLst>
          </c:dPt>
          <c:dPt>
            <c:idx val="2"/>
            <c:bubble3D val="0"/>
            <c:spPr>
              <a:solidFill>
                <a:schemeClr val="tx2">
                  <a:lumMod val="40000"/>
                  <a:lumOff val="60000"/>
                </a:schemeClr>
              </a:solidFill>
              <a:ln w="12700">
                <a:noFill/>
              </a:ln>
            </c:spPr>
            <c:extLst>
              <c:ext xmlns:c16="http://schemas.microsoft.com/office/drawing/2014/chart" uri="{C3380CC4-5D6E-409C-BE32-E72D297353CC}">
                <c16:uniqueId val="{00000005-7759-4074-B793-964AC8BD614F}"/>
              </c:ext>
            </c:extLst>
          </c:dPt>
          <c:dPt>
            <c:idx val="3"/>
            <c:bubble3D val="0"/>
            <c:spPr>
              <a:solidFill>
                <a:schemeClr val="tx2">
                  <a:lumMod val="60000"/>
                  <a:lumOff val="40000"/>
                </a:schemeClr>
              </a:solidFill>
              <a:ln w="12700">
                <a:noFill/>
              </a:ln>
            </c:spPr>
            <c:extLst>
              <c:ext xmlns:c16="http://schemas.microsoft.com/office/drawing/2014/chart" uri="{C3380CC4-5D6E-409C-BE32-E72D297353CC}">
                <c16:uniqueId val="{00000007-7759-4074-B793-964AC8BD614F}"/>
              </c:ext>
            </c:extLst>
          </c:dPt>
          <c:dPt>
            <c:idx val="4"/>
            <c:bubble3D val="0"/>
            <c:spPr>
              <a:solidFill>
                <a:schemeClr val="tx2">
                  <a:lumMod val="75000"/>
                </a:schemeClr>
              </a:solidFill>
              <a:ln w="12700">
                <a:noFill/>
              </a:ln>
            </c:spPr>
            <c:extLst>
              <c:ext xmlns:c16="http://schemas.microsoft.com/office/drawing/2014/chart" uri="{C3380CC4-5D6E-409C-BE32-E72D297353CC}">
                <c16:uniqueId val="{00000009-7759-4074-B793-964AC8BD614F}"/>
              </c:ext>
            </c:extLst>
          </c:dPt>
          <c:dPt>
            <c:idx val="5"/>
            <c:bubble3D val="0"/>
            <c:spPr>
              <a:solidFill>
                <a:schemeClr val="tx2">
                  <a:lumMod val="50000"/>
                </a:schemeClr>
              </a:solidFill>
              <a:ln w="12700">
                <a:noFill/>
              </a:ln>
            </c:spPr>
            <c:extLst>
              <c:ext xmlns:c16="http://schemas.microsoft.com/office/drawing/2014/chart" uri="{C3380CC4-5D6E-409C-BE32-E72D297353CC}">
                <c16:uniqueId val="{0000000B-7759-4074-B793-964AC8BD614F}"/>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7759-4074-B793-964AC8BD614F}"/>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7759-4074-B793-964AC8BD614F}"/>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7759-4074-B793-964AC8BD614F}"/>
              </c:ext>
            </c:extLst>
          </c:dPt>
          <c:dLbls>
            <c:numFmt formatCode="#,##0.0" sourceLinked="0"/>
            <c:spPr>
              <a:noFill/>
              <a:ln>
                <a:noFill/>
              </a:ln>
              <a:effectLst/>
            </c:spPr>
            <c:txPr>
              <a:bodyPr/>
              <a:lstStyle/>
              <a:p>
                <a:pPr>
                  <a:defRPr sz="11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7</c:f>
              <c:strCache>
                <c:ptCount val="6"/>
                <c:pt idx="0">
                  <c:v>Label A</c:v>
                </c:pt>
                <c:pt idx="1">
                  <c:v>Label B</c:v>
                </c:pt>
                <c:pt idx="2">
                  <c:v>Label C</c:v>
                </c:pt>
                <c:pt idx="3">
                  <c:v>Label D</c:v>
                </c:pt>
                <c:pt idx="4">
                  <c:v>Label E</c:v>
                </c:pt>
                <c:pt idx="5">
                  <c:v>Label F</c:v>
                </c:pt>
              </c:strCache>
            </c:strRef>
          </c:cat>
          <c:val>
            <c:numRef>
              <c:f>Sheet1!$B$2:$B$7</c:f>
              <c:numCache>
                <c:formatCode>General</c:formatCode>
                <c:ptCount val="6"/>
                <c:pt idx="0">
                  <c:v>10</c:v>
                </c:pt>
                <c:pt idx="1">
                  <c:v>10</c:v>
                </c:pt>
                <c:pt idx="2">
                  <c:v>10</c:v>
                </c:pt>
                <c:pt idx="3">
                  <c:v>10</c:v>
                </c:pt>
                <c:pt idx="4">
                  <c:v>10</c:v>
                </c:pt>
                <c:pt idx="5">
                  <c:v>10</c:v>
                </c:pt>
              </c:numCache>
            </c:numRef>
          </c:val>
          <c:extLst>
            <c:ext xmlns:c16="http://schemas.microsoft.com/office/drawing/2014/chart" uri="{C3380CC4-5D6E-409C-BE32-E72D297353CC}">
              <c16:uniqueId val="{00000012-7759-4074-B793-964AC8BD614F}"/>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1"/>
              </a:solidFill>
              <a:ln w="12700">
                <a:noFill/>
              </a:ln>
            </c:spPr>
            <c:extLst>
              <c:ext xmlns:c16="http://schemas.microsoft.com/office/drawing/2014/chart" uri="{C3380CC4-5D6E-409C-BE32-E72D297353CC}">
                <c16:uniqueId val="{00000001-E9CF-4C5D-B38F-038E7E59A9E7}"/>
              </c:ext>
            </c:extLst>
          </c:dPt>
          <c:dPt>
            <c:idx val="1"/>
            <c:bubble3D val="0"/>
            <c:spPr>
              <a:solidFill>
                <a:schemeClr val="accent2"/>
              </a:solidFill>
              <a:ln w="12700">
                <a:noFill/>
              </a:ln>
            </c:spPr>
            <c:extLst>
              <c:ext xmlns:c16="http://schemas.microsoft.com/office/drawing/2014/chart" uri="{C3380CC4-5D6E-409C-BE32-E72D297353CC}">
                <c16:uniqueId val="{00000003-E9CF-4C5D-B38F-038E7E59A9E7}"/>
              </c:ext>
            </c:extLst>
          </c:dPt>
          <c:dPt>
            <c:idx val="2"/>
            <c:bubble3D val="0"/>
            <c:spPr>
              <a:solidFill>
                <a:schemeClr val="accent3"/>
              </a:solidFill>
              <a:ln w="12700">
                <a:noFill/>
              </a:ln>
            </c:spPr>
            <c:extLst>
              <c:ext xmlns:c16="http://schemas.microsoft.com/office/drawing/2014/chart" uri="{C3380CC4-5D6E-409C-BE32-E72D297353CC}">
                <c16:uniqueId val="{00000005-E9CF-4C5D-B38F-038E7E59A9E7}"/>
              </c:ext>
            </c:extLst>
          </c:dPt>
          <c:dPt>
            <c:idx val="3"/>
            <c:bubble3D val="0"/>
            <c:spPr>
              <a:solidFill>
                <a:schemeClr val="accent4"/>
              </a:solidFill>
              <a:ln w="12700">
                <a:noFill/>
              </a:ln>
            </c:spPr>
            <c:extLst>
              <c:ext xmlns:c16="http://schemas.microsoft.com/office/drawing/2014/chart" uri="{C3380CC4-5D6E-409C-BE32-E72D297353CC}">
                <c16:uniqueId val="{00000007-E9CF-4C5D-B38F-038E7E59A9E7}"/>
              </c:ext>
            </c:extLst>
          </c:dPt>
          <c:dPt>
            <c:idx val="4"/>
            <c:bubble3D val="0"/>
            <c:spPr>
              <a:solidFill>
                <a:schemeClr val="accent5"/>
              </a:solidFill>
              <a:ln w="12700">
                <a:noFill/>
              </a:ln>
            </c:spPr>
            <c:extLst>
              <c:ext xmlns:c16="http://schemas.microsoft.com/office/drawing/2014/chart" uri="{C3380CC4-5D6E-409C-BE32-E72D297353CC}">
                <c16:uniqueId val="{00000009-E9CF-4C5D-B38F-038E7E59A9E7}"/>
              </c:ext>
            </c:extLst>
          </c:dPt>
          <c:dPt>
            <c:idx val="5"/>
            <c:bubble3D val="0"/>
            <c:spPr>
              <a:solidFill>
                <a:schemeClr val="accent6"/>
              </a:solidFill>
              <a:ln w="12700">
                <a:noFill/>
              </a:ln>
            </c:spPr>
            <c:extLst>
              <c:ext xmlns:c16="http://schemas.microsoft.com/office/drawing/2014/chart" uri="{C3380CC4-5D6E-409C-BE32-E72D297353CC}">
                <c16:uniqueId val="{0000000B-E9CF-4C5D-B38F-038E7E59A9E7}"/>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E9CF-4C5D-B38F-038E7E59A9E7}"/>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E9CF-4C5D-B38F-038E7E59A9E7}"/>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E9CF-4C5D-B38F-038E7E59A9E7}"/>
              </c:ext>
            </c:extLst>
          </c:dPt>
          <c:dLbls>
            <c:numFmt formatCode="#,##0.0" sourceLinked="0"/>
            <c:spPr>
              <a:noFill/>
              <a:ln>
                <a:noFill/>
              </a:ln>
              <a:effectLst/>
            </c:spPr>
            <c:txPr>
              <a:bodyPr/>
              <a:lstStyle/>
              <a:p>
                <a:pPr>
                  <a:defRPr sz="1100" b="0">
                    <a:solidFill>
                      <a:srgbClr val="53565A"/>
                    </a:solidFill>
                  </a:defRPr>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7</c:f>
              <c:strCache>
                <c:ptCount val="6"/>
                <c:pt idx="0">
                  <c:v>Label A</c:v>
                </c:pt>
                <c:pt idx="1">
                  <c:v>Label B</c:v>
                </c:pt>
                <c:pt idx="2">
                  <c:v>Label C</c:v>
                </c:pt>
                <c:pt idx="3">
                  <c:v>Label D</c:v>
                </c:pt>
                <c:pt idx="4">
                  <c:v>Label E</c:v>
                </c:pt>
                <c:pt idx="5">
                  <c:v>Label F</c:v>
                </c:pt>
              </c:strCache>
            </c:strRef>
          </c:cat>
          <c:val>
            <c:numRef>
              <c:f>Sheet1!$B$2:$B$7</c:f>
              <c:numCache>
                <c:formatCode>General</c:formatCode>
                <c:ptCount val="6"/>
                <c:pt idx="0">
                  <c:v>10</c:v>
                </c:pt>
                <c:pt idx="1">
                  <c:v>10</c:v>
                </c:pt>
                <c:pt idx="2">
                  <c:v>10</c:v>
                </c:pt>
                <c:pt idx="3">
                  <c:v>10</c:v>
                </c:pt>
                <c:pt idx="4">
                  <c:v>10</c:v>
                </c:pt>
                <c:pt idx="5">
                  <c:v>10</c:v>
                </c:pt>
              </c:numCache>
            </c:numRef>
          </c:val>
          <c:extLst>
            <c:ext xmlns:c16="http://schemas.microsoft.com/office/drawing/2014/chart" uri="{C3380CC4-5D6E-409C-BE32-E72D297353CC}">
              <c16:uniqueId val="{00000012-E9CF-4C5D-B38F-038E7E59A9E7}"/>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bg2">
                  <a:lumMod val="60000"/>
                  <a:lumOff val="40000"/>
                </a:schemeClr>
              </a:solidFill>
              <a:ln w="9525">
                <a:noFill/>
                <a:prstDash val="solid"/>
              </a:ln>
            </c:spPr>
            <c:extLst>
              <c:ext xmlns:c16="http://schemas.microsoft.com/office/drawing/2014/chart" uri="{C3380CC4-5D6E-409C-BE32-E72D297353CC}">
                <c16:uniqueId val="{00000001-CBF1-4850-B8B6-083D53293C4A}"/>
              </c:ext>
            </c:extLst>
          </c:dPt>
          <c:dPt>
            <c:idx val="1"/>
            <c:bubble3D val="0"/>
            <c:spPr>
              <a:solidFill>
                <a:schemeClr val="bg2">
                  <a:lumMod val="75000"/>
                </a:schemeClr>
              </a:solidFill>
              <a:ln w="9525">
                <a:noFill/>
                <a:prstDash val="solid"/>
              </a:ln>
            </c:spPr>
            <c:extLst>
              <c:ext xmlns:c16="http://schemas.microsoft.com/office/drawing/2014/chart" uri="{C3380CC4-5D6E-409C-BE32-E72D297353CC}">
                <c16:uniqueId val="{00000003-CBF1-4850-B8B6-083D53293C4A}"/>
              </c:ext>
            </c:extLst>
          </c:dPt>
          <c:dPt>
            <c:idx val="2"/>
            <c:bubble3D val="0"/>
            <c:spPr>
              <a:solidFill>
                <a:schemeClr val="accent4"/>
              </a:solidFill>
              <a:ln w="9525">
                <a:noFill/>
                <a:prstDash val="solid"/>
              </a:ln>
            </c:spPr>
            <c:extLst>
              <c:ext xmlns:c16="http://schemas.microsoft.com/office/drawing/2014/chart" uri="{C3380CC4-5D6E-409C-BE32-E72D297353CC}">
                <c16:uniqueId val="{00000005-CBF1-4850-B8B6-083D53293C4A}"/>
              </c:ext>
            </c:extLst>
          </c:dPt>
          <c:dPt>
            <c:idx val="3"/>
            <c:bubble3D val="0"/>
            <c:spPr>
              <a:solidFill>
                <a:schemeClr val="bg2">
                  <a:lumMod val="40000"/>
                  <a:lumOff val="60000"/>
                </a:schemeClr>
              </a:solidFill>
              <a:ln w="12700">
                <a:noFill/>
              </a:ln>
            </c:spPr>
            <c:extLst>
              <c:ext xmlns:c16="http://schemas.microsoft.com/office/drawing/2014/chart" uri="{C3380CC4-5D6E-409C-BE32-E72D297353CC}">
                <c16:uniqueId val="{00000007-CBF1-4850-B8B6-083D53293C4A}"/>
              </c:ext>
            </c:extLst>
          </c:dPt>
          <c:dPt>
            <c:idx val="4"/>
            <c:bubble3D val="0"/>
            <c:spPr>
              <a:solidFill>
                <a:schemeClr val="accent5"/>
              </a:solidFill>
              <a:ln w="12700">
                <a:noFill/>
              </a:ln>
            </c:spPr>
            <c:extLst>
              <c:ext xmlns:c16="http://schemas.microsoft.com/office/drawing/2014/chart" uri="{C3380CC4-5D6E-409C-BE32-E72D297353CC}">
                <c16:uniqueId val="{00000009-CBF1-4850-B8B6-083D53293C4A}"/>
              </c:ext>
            </c:extLst>
          </c:dPt>
          <c:dPt>
            <c:idx val="5"/>
            <c:bubble3D val="0"/>
            <c:spPr>
              <a:solidFill>
                <a:schemeClr val="accent6"/>
              </a:solidFill>
              <a:ln w="12700">
                <a:noFill/>
              </a:ln>
            </c:spPr>
            <c:extLst>
              <c:ext xmlns:c16="http://schemas.microsoft.com/office/drawing/2014/chart" uri="{C3380CC4-5D6E-409C-BE32-E72D297353CC}">
                <c16:uniqueId val="{0000000B-CBF1-4850-B8B6-083D53293C4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CBF1-4850-B8B6-083D53293C4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CBF1-4850-B8B6-083D53293C4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CBF1-4850-B8B6-083D53293C4A}"/>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BF1-4850-B8B6-083D53293C4A}"/>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F1-4850-B8B6-083D53293C4A}"/>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BF1-4850-B8B6-083D53293C4A}"/>
                </c:ext>
              </c:extLst>
            </c:dLbl>
            <c:dLbl>
              <c:idx val="3"/>
              <c:numFmt formatCode="#,##0.0" sourceLinked="0"/>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BF1-4850-B8B6-083D53293C4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CBF1-4850-B8B6-083D53293C4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DBA7-44FB-9DE2-1B9155BCD27A}"/>
              </c:ext>
            </c:extLst>
          </c:dPt>
          <c:dPt>
            <c:idx val="1"/>
            <c:bubble3D val="0"/>
            <c:spPr>
              <a:solidFill>
                <a:schemeClr val="accent1"/>
              </a:solidFill>
              <a:ln w="9525">
                <a:noFill/>
                <a:prstDash val="solid"/>
              </a:ln>
            </c:spPr>
            <c:extLst>
              <c:ext xmlns:c16="http://schemas.microsoft.com/office/drawing/2014/chart" uri="{C3380CC4-5D6E-409C-BE32-E72D297353CC}">
                <c16:uniqueId val="{00000003-DBA7-44FB-9DE2-1B9155BCD27A}"/>
              </c:ext>
            </c:extLst>
          </c:dPt>
          <c:dPt>
            <c:idx val="2"/>
            <c:bubble3D val="0"/>
            <c:spPr>
              <a:solidFill>
                <a:schemeClr val="accent3"/>
              </a:solidFill>
              <a:ln w="9525">
                <a:noFill/>
                <a:prstDash val="solid"/>
              </a:ln>
            </c:spPr>
            <c:extLst>
              <c:ext xmlns:c16="http://schemas.microsoft.com/office/drawing/2014/chart" uri="{C3380CC4-5D6E-409C-BE32-E72D297353CC}">
                <c16:uniqueId val="{00000005-DBA7-44FB-9DE2-1B9155BCD27A}"/>
              </c:ext>
            </c:extLst>
          </c:dPt>
          <c:dPt>
            <c:idx val="3"/>
            <c:bubble3D val="0"/>
            <c:spPr>
              <a:solidFill>
                <a:schemeClr val="accent2"/>
              </a:solidFill>
              <a:ln w="12700">
                <a:noFill/>
              </a:ln>
            </c:spPr>
            <c:extLst>
              <c:ext xmlns:c16="http://schemas.microsoft.com/office/drawing/2014/chart" uri="{C3380CC4-5D6E-409C-BE32-E72D297353CC}">
                <c16:uniqueId val="{00000007-DBA7-44FB-9DE2-1B9155BCD27A}"/>
              </c:ext>
            </c:extLst>
          </c:dPt>
          <c:dPt>
            <c:idx val="4"/>
            <c:bubble3D val="0"/>
            <c:spPr>
              <a:solidFill>
                <a:schemeClr val="accent5"/>
              </a:solidFill>
              <a:ln w="12700">
                <a:noFill/>
              </a:ln>
            </c:spPr>
            <c:extLst>
              <c:ext xmlns:c16="http://schemas.microsoft.com/office/drawing/2014/chart" uri="{C3380CC4-5D6E-409C-BE32-E72D297353CC}">
                <c16:uniqueId val="{00000009-DBA7-44FB-9DE2-1B9155BCD27A}"/>
              </c:ext>
            </c:extLst>
          </c:dPt>
          <c:dPt>
            <c:idx val="5"/>
            <c:bubble3D val="0"/>
            <c:spPr>
              <a:solidFill>
                <a:schemeClr val="accent6"/>
              </a:solidFill>
              <a:ln w="12700">
                <a:noFill/>
              </a:ln>
            </c:spPr>
            <c:extLst>
              <c:ext xmlns:c16="http://schemas.microsoft.com/office/drawing/2014/chart" uri="{C3380CC4-5D6E-409C-BE32-E72D297353CC}">
                <c16:uniqueId val="{0000000B-DBA7-44FB-9DE2-1B9155BCD27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DBA7-44FB-9DE2-1B9155BCD27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DBA7-44FB-9DE2-1B9155BCD27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DBA7-44FB-9DE2-1B9155BCD27A}"/>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A7-44FB-9DE2-1B9155BCD27A}"/>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A7-44FB-9DE2-1B9155BCD27A}"/>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A7-44FB-9DE2-1B9155BCD27A}"/>
                </c:ext>
              </c:extLst>
            </c:dLbl>
            <c:dLbl>
              <c:idx val="3"/>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BA7-44FB-9DE2-1B9155BCD27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DBA7-44FB-9DE2-1B9155BCD27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bg2">
                  <a:lumMod val="60000"/>
                  <a:lumOff val="40000"/>
                </a:schemeClr>
              </a:solidFill>
              <a:ln w="9525">
                <a:noFill/>
                <a:prstDash val="solid"/>
              </a:ln>
            </c:spPr>
            <c:extLst>
              <c:ext xmlns:c16="http://schemas.microsoft.com/office/drawing/2014/chart" uri="{C3380CC4-5D6E-409C-BE32-E72D297353CC}">
                <c16:uniqueId val="{00000001-5358-4ADB-98E4-DA2BAEBA1FAA}"/>
              </c:ext>
            </c:extLst>
          </c:dPt>
          <c:dPt>
            <c:idx val="1"/>
            <c:bubble3D val="0"/>
            <c:spPr>
              <a:solidFill>
                <a:schemeClr val="bg2">
                  <a:lumMod val="75000"/>
                </a:schemeClr>
              </a:solidFill>
              <a:ln w="9525">
                <a:noFill/>
                <a:prstDash val="solid"/>
              </a:ln>
            </c:spPr>
            <c:extLst>
              <c:ext xmlns:c16="http://schemas.microsoft.com/office/drawing/2014/chart" uri="{C3380CC4-5D6E-409C-BE32-E72D297353CC}">
                <c16:uniqueId val="{00000003-5358-4ADB-98E4-DA2BAEBA1FAA}"/>
              </c:ext>
            </c:extLst>
          </c:dPt>
          <c:dPt>
            <c:idx val="2"/>
            <c:bubble3D val="0"/>
            <c:spPr>
              <a:solidFill>
                <a:schemeClr val="accent4"/>
              </a:solidFill>
              <a:ln w="9525">
                <a:noFill/>
                <a:prstDash val="solid"/>
              </a:ln>
            </c:spPr>
            <c:extLst>
              <c:ext xmlns:c16="http://schemas.microsoft.com/office/drawing/2014/chart" uri="{C3380CC4-5D6E-409C-BE32-E72D297353CC}">
                <c16:uniqueId val="{00000005-5358-4ADB-98E4-DA2BAEBA1FAA}"/>
              </c:ext>
            </c:extLst>
          </c:dPt>
          <c:dPt>
            <c:idx val="3"/>
            <c:bubble3D val="0"/>
            <c:spPr>
              <a:solidFill>
                <a:schemeClr val="bg2">
                  <a:lumMod val="40000"/>
                  <a:lumOff val="60000"/>
                </a:schemeClr>
              </a:solidFill>
              <a:ln w="12700">
                <a:noFill/>
              </a:ln>
            </c:spPr>
            <c:extLst>
              <c:ext xmlns:c16="http://schemas.microsoft.com/office/drawing/2014/chart" uri="{C3380CC4-5D6E-409C-BE32-E72D297353CC}">
                <c16:uniqueId val="{00000007-5358-4ADB-98E4-DA2BAEBA1FAA}"/>
              </c:ext>
            </c:extLst>
          </c:dPt>
          <c:dPt>
            <c:idx val="4"/>
            <c:bubble3D val="0"/>
            <c:spPr>
              <a:solidFill>
                <a:schemeClr val="accent5"/>
              </a:solidFill>
              <a:ln w="12700">
                <a:noFill/>
              </a:ln>
            </c:spPr>
            <c:extLst>
              <c:ext xmlns:c16="http://schemas.microsoft.com/office/drawing/2014/chart" uri="{C3380CC4-5D6E-409C-BE32-E72D297353CC}">
                <c16:uniqueId val="{00000009-5358-4ADB-98E4-DA2BAEBA1FAA}"/>
              </c:ext>
            </c:extLst>
          </c:dPt>
          <c:dPt>
            <c:idx val="5"/>
            <c:bubble3D val="0"/>
            <c:spPr>
              <a:solidFill>
                <a:schemeClr val="accent6"/>
              </a:solidFill>
              <a:ln w="12700">
                <a:noFill/>
              </a:ln>
            </c:spPr>
            <c:extLst>
              <c:ext xmlns:c16="http://schemas.microsoft.com/office/drawing/2014/chart" uri="{C3380CC4-5D6E-409C-BE32-E72D297353CC}">
                <c16:uniqueId val="{0000000B-5358-4ADB-98E4-DA2BAEBA1FA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5358-4ADB-98E4-DA2BAEBA1FA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5358-4ADB-98E4-DA2BAEBA1FA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5358-4ADB-98E4-DA2BAEBA1FAA}"/>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358-4ADB-98E4-DA2BAEBA1FAA}"/>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358-4ADB-98E4-DA2BAEBA1FAA}"/>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358-4ADB-98E4-DA2BAEBA1FAA}"/>
                </c:ext>
              </c:extLst>
            </c:dLbl>
            <c:dLbl>
              <c:idx val="3"/>
              <c:numFmt formatCode="#,##0.0" sourceLinked="0"/>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358-4ADB-98E4-DA2BAEBA1FA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5358-4ADB-98E4-DA2BAEBA1FA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2F59-40C5-8C71-112C1896584D}"/>
              </c:ext>
            </c:extLst>
          </c:dPt>
          <c:dPt>
            <c:idx val="1"/>
            <c:bubble3D val="0"/>
            <c:spPr>
              <a:solidFill>
                <a:schemeClr val="accent1"/>
              </a:solidFill>
              <a:ln w="9525">
                <a:noFill/>
                <a:prstDash val="solid"/>
              </a:ln>
            </c:spPr>
            <c:extLst>
              <c:ext xmlns:c16="http://schemas.microsoft.com/office/drawing/2014/chart" uri="{C3380CC4-5D6E-409C-BE32-E72D297353CC}">
                <c16:uniqueId val="{00000003-2F59-40C5-8C71-112C1896584D}"/>
              </c:ext>
            </c:extLst>
          </c:dPt>
          <c:dPt>
            <c:idx val="2"/>
            <c:bubble3D val="0"/>
            <c:spPr>
              <a:solidFill>
                <a:schemeClr val="accent3"/>
              </a:solidFill>
              <a:ln w="9525">
                <a:noFill/>
                <a:prstDash val="solid"/>
              </a:ln>
            </c:spPr>
            <c:extLst>
              <c:ext xmlns:c16="http://schemas.microsoft.com/office/drawing/2014/chart" uri="{C3380CC4-5D6E-409C-BE32-E72D297353CC}">
                <c16:uniqueId val="{00000005-2F59-40C5-8C71-112C1896584D}"/>
              </c:ext>
            </c:extLst>
          </c:dPt>
          <c:dPt>
            <c:idx val="3"/>
            <c:bubble3D val="0"/>
            <c:spPr>
              <a:solidFill>
                <a:schemeClr val="accent2"/>
              </a:solidFill>
              <a:ln w="12700">
                <a:noFill/>
              </a:ln>
            </c:spPr>
            <c:extLst>
              <c:ext xmlns:c16="http://schemas.microsoft.com/office/drawing/2014/chart" uri="{C3380CC4-5D6E-409C-BE32-E72D297353CC}">
                <c16:uniqueId val="{00000007-2F59-40C5-8C71-112C1896584D}"/>
              </c:ext>
            </c:extLst>
          </c:dPt>
          <c:dPt>
            <c:idx val="4"/>
            <c:bubble3D val="0"/>
            <c:spPr>
              <a:solidFill>
                <a:schemeClr val="accent5"/>
              </a:solidFill>
              <a:ln w="12700">
                <a:noFill/>
              </a:ln>
            </c:spPr>
            <c:extLst>
              <c:ext xmlns:c16="http://schemas.microsoft.com/office/drawing/2014/chart" uri="{C3380CC4-5D6E-409C-BE32-E72D297353CC}">
                <c16:uniqueId val="{00000009-2F59-40C5-8C71-112C1896584D}"/>
              </c:ext>
            </c:extLst>
          </c:dPt>
          <c:dPt>
            <c:idx val="5"/>
            <c:bubble3D val="0"/>
            <c:spPr>
              <a:solidFill>
                <a:schemeClr val="accent6"/>
              </a:solidFill>
              <a:ln w="12700">
                <a:noFill/>
              </a:ln>
            </c:spPr>
            <c:extLst>
              <c:ext xmlns:c16="http://schemas.microsoft.com/office/drawing/2014/chart" uri="{C3380CC4-5D6E-409C-BE32-E72D297353CC}">
                <c16:uniqueId val="{0000000B-2F59-40C5-8C71-112C1896584D}"/>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2F59-40C5-8C71-112C1896584D}"/>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2F59-40C5-8C71-112C1896584D}"/>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2F59-40C5-8C71-112C1896584D}"/>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F59-40C5-8C71-112C1896584D}"/>
                </c:ext>
              </c:extLst>
            </c:dLbl>
            <c:dLbl>
              <c:idx val="1"/>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F59-40C5-8C71-112C1896584D}"/>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F59-40C5-8C71-112C1896584D}"/>
                </c:ext>
              </c:extLst>
            </c:dLbl>
            <c:dLbl>
              <c:idx val="3"/>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F59-40C5-8C71-112C1896584D}"/>
                </c:ext>
              </c:extLst>
            </c:dLbl>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2F59-40C5-8C71-112C1896584D}"/>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12675070028001"/>
          <c:y val="4.6153842659460598E-2"/>
          <c:w val="0.51126215501855199"/>
          <c:h val="0.74067278991117402"/>
        </c:manualLayout>
      </c:layout>
      <c:barChart>
        <c:barDir val="col"/>
        <c:grouping val="stacked"/>
        <c:varyColors val="0"/>
        <c:ser>
          <c:idx val="0"/>
          <c:order val="0"/>
          <c:tx>
            <c:strRef>
              <c:f>Sheet1!$B$1</c:f>
              <c:strCache>
                <c:ptCount val="1"/>
                <c:pt idx="0">
                  <c:v>Label 1</c:v>
                </c:pt>
              </c:strCache>
            </c:strRef>
          </c:tx>
          <c:spPr>
            <a:solidFill>
              <a:schemeClr val="accent6"/>
            </a:solidFill>
            <a:ln w="12700">
              <a:noFill/>
              <a:prstDash val="solid"/>
            </a:ln>
          </c:spPr>
          <c:invertIfNegative val="0"/>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B$2</c:f>
              <c:numCache>
                <c:formatCode>General</c:formatCode>
                <c:ptCount val="1"/>
                <c:pt idx="0">
                  <c:v>45.9</c:v>
                </c:pt>
              </c:numCache>
            </c:numRef>
          </c:val>
          <c:extLst>
            <c:ext xmlns:c16="http://schemas.microsoft.com/office/drawing/2014/chart" uri="{C3380CC4-5D6E-409C-BE32-E72D297353CC}">
              <c16:uniqueId val="{00000000-F267-49DC-8680-F8A1AB0C6F78}"/>
            </c:ext>
          </c:extLst>
        </c:ser>
        <c:ser>
          <c:idx val="1"/>
          <c:order val="1"/>
          <c:tx>
            <c:strRef>
              <c:f>Sheet1!$C$1</c:f>
              <c:strCache>
                <c:ptCount val="1"/>
                <c:pt idx="0">
                  <c:v>Label 2</c:v>
                </c:pt>
              </c:strCache>
            </c:strRef>
          </c:tx>
          <c:spPr>
            <a:solidFill>
              <a:schemeClr val="accent5"/>
            </a:solidFill>
            <a:ln w="12700">
              <a:noFill/>
              <a:prstDash val="solid"/>
            </a:ln>
          </c:spPr>
          <c:invertIfNegative val="0"/>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C$2</c:f>
              <c:numCache>
                <c:formatCode>General</c:formatCode>
                <c:ptCount val="1"/>
                <c:pt idx="0">
                  <c:v>46.9</c:v>
                </c:pt>
              </c:numCache>
            </c:numRef>
          </c:val>
          <c:extLst>
            <c:ext xmlns:c16="http://schemas.microsoft.com/office/drawing/2014/chart" uri="{C3380CC4-5D6E-409C-BE32-E72D297353CC}">
              <c16:uniqueId val="{00000001-F267-49DC-8680-F8A1AB0C6F78}"/>
            </c:ext>
          </c:extLst>
        </c:ser>
        <c:ser>
          <c:idx val="2"/>
          <c:order val="2"/>
          <c:tx>
            <c:strRef>
              <c:f>Sheet1!$D$1</c:f>
              <c:strCache>
                <c:ptCount val="1"/>
                <c:pt idx="0">
                  <c:v>Label 3</c:v>
                </c:pt>
              </c:strCache>
            </c:strRef>
          </c:tx>
          <c:spPr>
            <a:solidFill>
              <a:schemeClr val="accent3"/>
            </a:solidFill>
            <a:ln w="12700">
              <a:noFill/>
              <a:prstDash val="solid"/>
            </a:ln>
          </c:spPr>
          <c:invertIfNegative val="0"/>
          <c:dPt>
            <c:idx val="0"/>
            <c:invertIfNegative val="0"/>
            <c:bubble3D val="0"/>
            <c:spPr>
              <a:solidFill>
                <a:schemeClr val="accent1"/>
              </a:solidFill>
              <a:ln w="12700">
                <a:noFill/>
                <a:prstDash val="solid"/>
              </a:ln>
            </c:spPr>
            <c:extLst>
              <c:ext xmlns:c16="http://schemas.microsoft.com/office/drawing/2014/chart" uri="{C3380CC4-5D6E-409C-BE32-E72D297353CC}">
                <c16:uniqueId val="{00000003-F267-49DC-8680-F8A1AB0C6F78}"/>
              </c:ext>
            </c:extLst>
          </c:dPt>
          <c:dLbls>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D$2</c:f>
              <c:numCache>
                <c:formatCode>General</c:formatCode>
                <c:ptCount val="1"/>
                <c:pt idx="0">
                  <c:v>45</c:v>
                </c:pt>
              </c:numCache>
            </c:numRef>
          </c:val>
          <c:extLst>
            <c:ext xmlns:c16="http://schemas.microsoft.com/office/drawing/2014/chart" uri="{C3380CC4-5D6E-409C-BE32-E72D297353CC}">
              <c16:uniqueId val="{00000004-F267-49DC-8680-F8A1AB0C6F78}"/>
            </c:ext>
          </c:extLst>
        </c:ser>
        <c:ser>
          <c:idx val="3"/>
          <c:order val="3"/>
          <c:tx>
            <c:strRef>
              <c:f>Sheet1!$E$1</c:f>
              <c:strCache>
                <c:ptCount val="1"/>
                <c:pt idx="0">
                  <c:v>Label 4</c:v>
                </c:pt>
              </c:strCache>
            </c:strRef>
          </c:tx>
          <c:spPr>
            <a:solidFill>
              <a:schemeClr val="accent1"/>
            </a:solidFill>
            <a:ln w="12700">
              <a:noFill/>
              <a:prstDash val="solid"/>
            </a:ln>
          </c:spPr>
          <c:invertIfNegative val="0"/>
          <c:dPt>
            <c:idx val="0"/>
            <c:invertIfNegative val="0"/>
            <c:bubble3D val="0"/>
            <c:spPr>
              <a:solidFill>
                <a:schemeClr val="accent4"/>
              </a:solidFill>
              <a:ln w="12700">
                <a:noFill/>
                <a:prstDash val="solid"/>
              </a:ln>
            </c:spPr>
            <c:extLst>
              <c:ext xmlns:c16="http://schemas.microsoft.com/office/drawing/2014/chart" uri="{C3380CC4-5D6E-409C-BE32-E72D297353CC}">
                <c16:uniqueId val="{00000006-F267-49DC-8680-F8A1AB0C6F78}"/>
              </c:ext>
            </c:extLst>
          </c:dPt>
          <c:dLbls>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Label A</c:v>
                </c:pt>
              </c:strCache>
            </c:strRef>
          </c:cat>
          <c:val>
            <c:numRef>
              <c:f>Sheet1!$E$2</c:f>
              <c:numCache>
                <c:formatCode>General</c:formatCode>
                <c:ptCount val="1"/>
                <c:pt idx="0">
                  <c:v>43.9</c:v>
                </c:pt>
              </c:numCache>
            </c:numRef>
          </c:val>
          <c:extLst>
            <c:ext xmlns:c16="http://schemas.microsoft.com/office/drawing/2014/chart" uri="{C3380CC4-5D6E-409C-BE32-E72D297353CC}">
              <c16:uniqueId val="{00000007-F267-49DC-8680-F8A1AB0C6F78}"/>
            </c:ext>
          </c:extLst>
        </c:ser>
        <c:dLbls>
          <c:dLblPos val="ctr"/>
          <c:showLegendKey val="0"/>
          <c:showVal val="1"/>
          <c:showCatName val="0"/>
          <c:showSerName val="0"/>
          <c:showPercent val="0"/>
          <c:showBubbleSize val="0"/>
        </c:dLbls>
        <c:gapWidth val="150"/>
        <c:overlap val="100"/>
        <c:axId val="-73871408"/>
        <c:axId val="-74368816"/>
      </c:barChart>
      <c:catAx>
        <c:axId val="-73871408"/>
        <c:scaling>
          <c:orientation val="minMax"/>
        </c:scaling>
        <c:delete val="0"/>
        <c:axPos val="b"/>
        <c:numFmt formatCode="General" sourceLinked="0"/>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74368816"/>
        <c:crosses val="autoZero"/>
        <c:auto val="1"/>
        <c:lblAlgn val="ctr"/>
        <c:lblOffset val="100"/>
        <c:noMultiLvlLbl val="0"/>
      </c:catAx>
      <c:valAx>
        <c:axId val="-7436881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73871408"/>
        <c:crosses val="autoZero"/>
        <c:crossBetween val="between"/>
        <c:majorUnit val="50"/>
      </c:valAx>
      <c:spPr>
        <a:noFill/>
        <a:ln>
          <a:solidFill>
            <a:prstClr val="white"/>
          </a:solidFill>
        </a:ln>
        <a:effectLst/>
      </c:spPr>
    </c:plotArea>
    <c:legend>
      <c:legendPos val="b"/>
      <c:layout>
        <c:manualLayout>
          <c:xMode val="edge"/>
          <c:yMode val="edge"/>
          <c:x val="0.16344710931703399"/>
          <c:y val="0.88325884558884604"/>
          <c:w val="0.50030868836471498"/>
          <c:h val="8.2900438173818605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92602437434201"/>
          <c:y val="3.9118872071340099E-2"/>
          <c:w val="0.82274913486132695"/>
          <c:h val="0.749285961650627"/>
        </c:manualLayout>
      </c:layout>
      <c:barChart>
        <c:barDir val="bar"/>
        <c:grouping val="stacked"/>
        <c:varyColors val="0"/>
        <c:ser>
          <c:idx val="0"/>
          <c:order val="0"/>
          <c:tx>
            <c:strRef>
              <c:f>Sheet1!$B$1</c:f>
              <c:strCache>
                <c:ptCount val="1"/>
                <c:pt idx="0">
                  <c:v>Series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11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CDA5-46B8-A334-EF2E35F2056B}"/>
            </c:ext>
          </c:extLst>
        </c:ser>
        <c:ser>
          <c:idx val="1"/>
          <c:order val="1"/>
          <c:tx>
            <c:strRef>
              <c:f>Sheet1!$C$1</c:f>
              <c:strCache>
                <c:ptCount val="1"/>
                <c:pt idx="0">
                  <c:v>Series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11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CDA5-46B8-A334-EF2E35F2056B}"/>
            </c:ext>
          </c:extLst>
        </c:ser>
        <c:ser>
          <c:idx val="2"/>
          <c:order val="2"/>
          <c:tx>
            <c:strRef>
              <c:f>Sheet1!$D$1</c:f>
              <c:strCache>
                <c:ptCount val="1"/>
                <c:pt idx="0">
                  <c:v>Series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11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CDA5-46B8-A334-EF2E35F2056B}"/>
            </c:ext>
          </c:extLst>
        </c:ser>
        <c:ser>
          <c:idx val="3"/>
          <c:order val="3"/>
          <c:tx>
            <c:strRef>
              <c:f>Sheet1!$E$1</c:f>
              <c:strCache>
                <c:ptCount val="1"/>
                <c:pt idx="0">
                  <c:v>Series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11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CDA5-46B8-A334-EF2E35F2056B}"/>
            </c:ext>
          </c:extLst>
        </c:ser>
        <c:dLbls>
          <c:dLblPos val="ctr"/>
          <c:showLegendKey val="0"/>
          <c:showVal val="1"/>
          <c:showCatName val="0"/>
          <c:showSerName val="0"/>
          <c:showPercent val="0"/>
          <c:showBubbleSize val="0"/>
        </c:dLbls>
        <c:gapWidth val="100"/>
        <c:overlap val="100"/>
        <c:axId val="121583728"/>
        <c:axId val="121586400"/>
      </c:barChart>
      <c:catAx>
        <c:axId val="121583728"/>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21586400"/>
        <c:crosses val="autoZero"/>
        <c:auto val="1"/>
        <c:lblAlgn val="ctr"/>
        <c:lblOffset val="100"/>
        <c:noMultiLvlLbl val="0"/>
      </c:catAx>
      <c:valAx>
        <c:axId val="121586400"/>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21583728"/>
        <c:crosses val="autoZero"/>
        <c:crossBetween val="between"/>
      </c:valAx>
      <c:spPr>
        <a:ln>
          <a:noFill/>
        </a:ln>
      </c:spPr>
    </c:plotArea>
    <c:legend>
      <c:legendPos val="r"/>
      <c:legendEntry>
        <c:idx val="0"/>
        <c:txPr>
          <a:bodyPr/>
          <a:lstStyle/>
          <a:p>
            <a:pPr>
              <a:defRPr sz="1100" b="0">
                <a:solidFill>
                  <a:srgbClr val="53565A"/>
                </a:solidFill>
                <a:latin typeface="+mn-lt"/>
                <a:ea typeface="+mn-lt"/>
                <a:cs typeface="+mn-lt"/>
              </a:defRPr>
            </a:pPr>
            <a:endParaRPr lang="en-US"/>
          </a:p>
        </c:txPr>
      </c:legendEntry>
      <c:layout>
        <c:manualLayout>
          <c:xMode val="edge"/>
          <c:yMode val="edge"/>
          <c:x val="0.184957119213601"/>
          <c:y val="0.89079811809435905"/>
          <c:w val="0.73403714996492198"/>
          <c:h val="4.4120233668708098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518631827"/>
          <c:y val="8.6380810348629003E-2"/>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F5DC-464C-AA26-07FB74EFE16A}"/>
              </c:ext>
            </c:extLst>
          </c:dPt>
          <c:dPt>
            <c:idx val="1"/>
            <c:bubble3D val="0"/>
            <c:spPr>
              <a:solidFill>
                <a:schemeClr val="tx2">
                  <a:lumMod val="40000"/>
                  <a:lumOff val="60000"/>
                </a:schemeClr>
              </a:solidFill>
              <a:ln w="9525">
                <a:noFill/>
                <a:prstDash val="solid"/>
              </a:ln>
            </c:spPr>
            <c:extLst>
              <c:ext xmlns:c16="http://schemas.microsoft.com/office/drawing/2014/chart" uri="{C3380CC4-5D6E-409C-BE32-E72D297353CC}">
                <c16:uniqueId val="{00000003-F5DC-464C-AA26-07FB74EFE16A}"/>
              </c:ext>
            </c:extLst>
          </c:dPt>
          <c:dPt>
            <c:idx val="2"/>
            <c:bubble3D val="0"/>
            <c:spPr>
              <a:solidFill>
                <a:schemeClr val="tx2">
                  <a:lumMod val="60000"/>
                  <a:lumOff val="40000"/>
                </a:schemeClr>
              </a:solidFill>
              <a:ln w="9525">
                <a:noFill/>
                <a:prstDash val="solid"/>
              </a:ln>
            </c:spPr>
            <c:extLst>
              <c:ext xmlns:c16="http://schemas.microsoft.com/office/drawing/2014/chart" uri="{C3380CC4-5D6E-409C-BE32-E72D297353CC}">
                <c16:uniqueId val="{00000005-F5DC-464C-AA26-07FB74EFE16A}"/>
              </c:ext>
            </c:extLst>
          </c:dPt>
          <c:dPt>
            <c:idx val="3"/>
            <c:bubble3D val="0"/>
            <c:spPr>
              <a:solidFill>
                <a:schemeClr val="tx2">
                  <a:lumMod val="20000"/>
                  <a:lumOff val="80000"/>
                </a:schemeClr>
              </a:solidFill>
              <a:ln w="12700">
                <a:noFill/>
              </a:ln>
            </c:spPr>
            <c:extLst>
              <c:ext xmlns:c16="http://schemas.microsoft.com/office/drawing/2014/chart" uri="{C3380CC4-5D6E-409C-BE32-E72D297353CC}">
                <c16:uniqueId val="{00000007-F5DC-464C-AA26-07FB74EFE16A}"/>
              </c:ext>
            </c:extLst>
          </c:dPt>
          <c:dPt>
            <c:idx val="4"/>
            <c:bubble3D val="0"/>
            <c:spPr>
              <a:solidFill>
                <a:schemeClr val="accent5"/>
              </a:solidFill>
              <a:ln w="12700">
                <a:noFill/>
              </a:ln>
            </c:spPr>
            <c:extLst>
              <c:ext xmlns:c16="http://schemas.microsoft.com/office/drawing/2014/chart" uri="{C3380CC4-5D6E-409C-BE32-E72D297353CC}">
                <c16:uniqueId val="{00000009-F5DC-464C-AA26-07FB74EFE16A}"/>
              </c:ext>
            </c:extLst>
          </c:dPt>
          <c:dPt>
            <c:idx val="5"/>
            <c:bubble3D val="0"/>
            <c:spPr>
              <a:solidFill>
                <a:schemeClr val="accent6"/>
              </a:solidFill>
              <a:ln w="12700">
                <a:noFill/>
              </a:ln>
            </c:spPr>
            <c:extLst>
              <c:ext xmlns:c16="http://schemas.microsoft.com/office/drawing/2014/chart" uri="{C3380CC4-5D6E-409C-BE32-E72D297353CC}">
                <c16:uniqueId val="{0000000B-F5DC-464C-AA26-07FB74EFE16A}"/>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F5DC-464C-AA26-07FB74EFE16A}"/>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F5DC-464C-AA26-07FB74EFE16A}"/>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F5DC-464C-AA26-07FB74EFE16A}"/>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5DC-464C-AA26-07FB74EFE16A}"/>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5DC-464C-AA26-07FB74EFE16A}"/>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5DC-464C-AA26-07FB74EFE16A}"/>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F5DC-464C-AA26-07FB74EFE16A}"/>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450076454568"/>
          <c:y val="3.3601683788311999E-2"/>
          <c:w val="0.80953532774569303"/>
          <c:h val="0.75102754082822998"/>
        </c:manualLayout>
      </c:layout>
      <c:barChart>
        <c:barDir val="col"/>
        <c:grouping val="percentStacked"/>
        <c:varyColors val="0"/>
        <c:ser>
          <c:idx val="0"/>
          <c:order val="0"/>
          <c:tx>
            <c:strRef>
              <c:f>Sheet1!$B$1</c:f>
              <c:strCache>
                <c:ptCount val="1"/>
                <c:pt idx="0">
                  <c:v>Label 1</c:v>
                </c:pt>
              </c:strCache>
            </c:strRef>
          </c:tx>
          <c:spPr>
            <a:solidFill>
              <a:schemeClr val="accent6"/>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B$2:$B$3</c:f>
              <c:numCache>
                <c:formatCode>General</c:formatCode>
                <c:ptCount val="2"/>
                <c:pt idx="0">
                  <c:v>1</c:v>
                </c:pt>
                <c:pt idx="1">
                  <c:v>1.5</c:v>
                </c:pt>
              </c:numCache>
            </c:numRef>
          </c:val>
          <c:extLst>
            <c:ext xmlns:c16="http://schemas.microsoft.com/office/drawing/2014/chart" uri="{C3380CC4-5D6E-409C-BE32-E72D297353CC}">
              <c16:uniqueId val="{00000000-1A7E-4E4A-BA0C-D724FCF5C051}"/>
            </c:ext>
          </c:extLst>
        </c:ser>
        <c:ser>
          <c:idx val="1"/>
          <c:order val="1"/>
          <c:tx>
            <c:strRef>
              <c:f>Sheet1!$C$1</c:f>
              <c:strCache>
                <c:ptCount val="1"/>
                <c:pt idx="0">
                  <c:v>Label 2</c:v>
                </c:pt>
              </c:strCache>
            </c:strRef>
          </c:tx>
          <c:spPr>
            <a:solidFill>
              <a:schemeClr val="accent5"/>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C$2:$C$3</c:f>
              <c:numCache>
                <c:formatCode>General</c:formatCode>
                <c:ptCount val="2"/>
                <c:pt idx="0">
                  <c:v>1.1000000000000001</c:v>
                </c:pt>
                <c:pt idx="1">
                  <c:v>1.6</c:v>
                </c:pt>
              </c:numCache>
            </c:numRef>
          </c:val>
          <c:extLst>
            <c:ext xmlns:c16="http://schemas.microsoft.com/office/drawing/2014/chart" uri="{C3380CC4-5D6E-409C-BE32-E72D297353CC}">
              <c16:uniqueId val="{00000001-1A7E-4E4A-BA0C-D724FCF5C051}"/>
            </c:ext>
          </c:extLst>
        </c:ser>
        <c:ser>
          <c:idx val="2"/>
          <c:order val="2"/>
          <c:tx>
            <c:strRef>
              <c:f>Sheet1!$D$1</c:f>
              <c:strCache>
                <c:ptCount val="1"/>
                <c:pt idx="0">
                  <c:v>Label 3</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D$2:$D$3</c:f>
              <c:numCache>
                <c:formatCode>General</c:formatCode>
                <c:ptCount val="2"/>
                <c:pt idx="0">
                  <c:v>1</c:v>
                </c:pt>
                <c:pt idx="1">
                  <c:v>1.5</c:v>
                </c:pt>
              </c:numCache>
            </c:numRef>
          </c:val>
          <c:extLst>
            <c:ext xmlns:c16="http://schemas.microsoft.com/office/drawing/2014/chart" uri="{C3380CC4-5D6E-409C-BE32-E72D297353CC}">
              <c16:uniqueId val="{00000002-1A7E-4E4A-BA0C-D724FCF5C051}"/>
            </c:ext>
          </c:extLst>
        </c:ser>
        <c:ser>
          <c:idx val="3"/>
          <c:order val="3"/>
          <c:tx>
            <c:strRef>
              <c:f>Sheet1!$E$1</c:f>
              <c:strCache>
                <c:ptCount val="1"/>
                <c:pt idx="0">
                  <c:v>Label 4</c:v>
                </c:pt>
              </c:strCache>
            </c:strRef>
          </c:tx>
          <c:spPr>
            <a:solidFill>
              <a:schemeClr val="accent4"/>
            </a:solidFill>
            <a:ln w="12700">
              <a:noFill/>
              <a:prstDash val="solid"/>
            </a:ln>
          </c:spPr>
          <c:invertIfNegative val="0"/>
          <c:dLbls>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Label A</c:v>
                </c:pt>
                <c:pt idx="1">
                  <c:v>Label B</c:v>
                </c:pt>
              </c:strCache>
            </c:strRef>
          </c:cat>
          <c:val>
            <c:numRef>
              <c:f>Sheet1!$E$2:$E$3</c:f>
              <c:numCache>
                <c:formatCode>General</c:formatCode>
                <c:ptCount val="2"/>
                <c:pt idx="0">
                  <c:v>1.1000000000000001</c:v>
                </c:pt>
                <c:pt idx="1">
                  <c:v>1.6</c:v>
                </c:pt>
              </c:numCache>
            </c:numRef>
          </c:val>
          <c:extLst>
            <c:ext xmlns:c16="http://schemas.microsoft.com/office/drawing/2014/chart" uri="{C3380CC4-5D6E-409C-BE32-E72D297353CC}">
              <c16:uniqueId val="{00000003-1A7E-4E4A-BA0C-D724FCF5C051}"/>
            </c:ext>
          </c:extLst>
        </c:ser>
        <c:dLbls>
          <c:dLblPos val="ctr"/>
          <c:showLegendKey val="0"/>
          <c:showVal val="1"/>
          <c:showCatName val="0"/>
          <c:showSerName val="0"/>
          <c:showPercent val="0"/>
          <c:showBubbleSize val="0"/>
        </c:dLbls>
        <c:gapWidth val="75"/>
        <c:overlap val="100"/>
        <c:axId val="20234480"/>
        <c:axId val="20233024"/>
      </c:barChart>
      <c:catAx>
        <c:axId val="20234480"/>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20233024"/>
        <c:crosses val="autoZero"/>
        <c:auto val="1"/>
        <c:lblAlgn val="ctr"/>
        <c:lblOffset val="100"/>
        <c:noMultiLvlLbl val="0"/>
      </c:catAx>
      <c:valAx>
        <c:axId val="20233024"/>
        <c:scaling>
          <c:orientation val="minMax"/>
        </c:scaling>
        <c:delete val="0"/>
        <c:axPos val="l"/>
        <c:majorGridlines>
          <c:spPr>
            <a:ln w="6350">
              <a:solidFill>
                <a:srgbClr val="BBBCBC"/>
              </a:solidFill>
            </a:ln>
          </c:spPr>
        </c:majorGridlines>
        <c:numFmt formatCode="0%" sourceLinked="1"/>
        <c:majorTickMark val="none"/>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20234480"/>
        <c:crosses val="autoZero"/>
        <c:crossBetween val="between"/>
      </c:valAx>
      <c:spPr>
        <a:ln>
          <a:noFill/>
        </a:ln>
      </c:spPr>
    </c:plotArea>
    <c:legend>
      <c:legendPos val="b"/>
      <c:layout>
        <c:manualLayout>
          <c:xMode val="edge"/>
          <c:yMode val="edge"/>
          <c:x val="0.214012530351089"/>
          <c:y val="0.89759511199060404"/>
          <c:w val="0.64935576234788805"/>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000" b="0">
              <a:solidFill>
                <a:srgbClr val="53565A"/>
              </a:solidFill>
              <a:latin typeface="+mn-lt"/>
              <a:ea typeface="+mn-lt"/>
              <a:cs typeface="+mn-lt"/>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518631827"/>
          <c:y val="8.6380810348629003E-2"/>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spPr>
              <a:solidFill>
                <a:schemeClr val="accent4"/>
              </a:solidFill>
              <a:ln w="9525">
                <a:noFill/>
                <a:prstDash val="solid"/>
              </a:ln>
            </c:spPr>
            <c:extLst>
              <c:ext xmlns:c16="http://schemas.microsoft.com/office/drawing/2014/chart" uri="{C3380CC4-5D6E-409C-BE32-E72D297353CC}">
                <c16:uniqueId val="{00000001-123A-4DBE-861A-7DD127B55683}"/>
              </c:ext>
            </c:extLst>
          </c:dPt>
          <c:dPt>
            <c:idx val="1"/>
            <c:bubble3D val="0"/>
            <c:spPr>
              <a:solidFill>
                <a:schemeClr val="tx2">
                  <a:lumMod val="40000"/>
                  <a:lumOff val="60000"/>
                </a:schemeClr>
              </a:solidFill>
              <a:ln w="9525">
                <a:noFill/>
                <a:prstDash val="solid"/>
              </a:ln>
            </c:spPr>
            <c:extLst>
              <c:ext xmlns:c16="http://schemas.microsoft.com/office/drawing/2014/chart" uri="{C3380CC4-5D6E-409C-BE32-E72D297353CC}">
                <c16:uniqueId val="{00000003-123A-4DBE-861A-7DD127B55683}"/>
              </c:ext>
            </c:extLst>
          </c:dPt>
          <c:dPt>
            <c:idx val="2"/>
            <c:bubble3D val="0"/>
            <c:spPr>
              <a:solidFill>
                <a:schemeClr val="tx2">
                  <a:lumMod val="60000"/>
                  <a:lumOff val="40000"/>
                </a:schemeClr>
              </a:solidFill>
              <a:ln w="9525">
                <a:noFill/>
                <a:prstDash val="solid"/>
              </a:ln>
            </c:spPr>
            <c:extLst>
              <c:ext xmlns:c16="http://schemas.microsoft.com/office/drawing/2014/chart" uri="{C3380CC4-5D6E-409C-BE32-E72D297353CC}">
                <c16:uniqueId val="{00000005-123A-4DBE-861A-7DD127B55683}"/>
              </c:ext>
            </c:extLst>
          </c:dPt>
          <c:dPt>
            <c:idx val="3"/>
            <c:bubble3D val="0"/>
            <c:spPr>
              <a:solidFill>
                <a:schemeClr val="tx2">
                  <a:lumMod val="20000"/>
                  <a:lumOff val="80000"/>
                </a:schemeClr>
              </a:solidFill>
              <a:ln w="12700">
                <a:noFill/>
              </a:ln>
            </c:spPr>
            <c:extLst>
              <c:ext xmlns:c16="http://schemas.microsoft.com/office/drawing/2014/chart" uri="{C3380CC4-5D6E-409C-BE32-E72D297353CC}">
                <c16:uniqueId val="{00000007-123A-4DBE-861A-7DD127B55683}"/>
              </c:ext>
            </c:extLst>
          </c:dPt>
          <c:dPt>
            <c:idx val="4"/>
            <c:bubble3D val="0"/>
            <c:spPr>
              <a:solidFill>
                <a:schemeClr val="accent5"/>
              </a:solidFill>
              <a:ln w="12700">
                <a:noFill/>
              </a:ln>
            </c:spPr>
            <c:extLst>
              <c:ext xmlns:c16="http://schemas.microsoft.com/office/drawing/2014/chart" uri="{C3380CC4-5D6E-409C-BE32-E72D297353CC}">
                <c16:uniqueId val="{00000009-123A-4DBE-861A-7DD127B55683}"/>
              </c:ext>
            </c:extLst>
          </c:dPt>
          <c:dPt>
            <c:idx val="5"/>
            <c:bubble3D val="0"/>
            <c:spPr>
              <a:solidFill>
                <a:schemeClr val="accent6"/>
              </a:solidFill>
              <a:ln w="12700">
                <a:noFill/>
              </a:ln>
            </c:spPr>
            <c:extLst>
              <c:ext xmlns:c16="http://schemas.microsoft.com/office/drawing/2014/chart" uri="{C3380CC4-5D6E-409C-BE32-E72D297353CC}">
                <c16:uniqueId val="{0000000B-123A-4DBE-861A-7DD127B55683}"/>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123A-4DBE-861A-7DD127B55683}"/>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123A-4DBE-861A-7DD127B55683}"/>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123A-4DBE-861A-7DD127B55683}"/>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23A-4DBE-861A-7DD127B55683}"/>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23A-4DBE-861A-7DD127B55683}"/>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23A-4DBE-861A-7DD127B55683}"/>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13</c:v>
                </c:pt>
                <c:pt idx="1">
                  <c:v>13</c:v>
                </c:pt>
                <c:pt idx="2">
                  <c:v>57</c:v>
                </c:pt>
                <c:pt idx="3">
                  <c:v>13</c:v>
                </c:pt>
              </c:numCache>
            </c:numRef>
          </c:val>
          <c:extLst>
            <c:ext xmlns:c16="http://schemas.microsoft.com/office/drawing/2014/chart" uri="{C3380CC4-5D6E-409C-BE32-E72D297353CC}">
              <c16:uniqueId val="{00000012-123A-4DBE-861A-7DD127B55683}"/>
            </c:ext>
          </c:extLst>
        </c:ser>
        <c:dLbls>
          <c:showLegendKey val="0"/>
          <c:showVal val="1"/>
          <c:showCatName val="0"/>
          <c:showSerName val="0"/>
          <c:showPercent val="0"/>
          <c:showBubbleSize val="0"/>
          <c:showLeaderLines val="1"/>
        </c:dLbls>
        <c:firstSliceAng val="65"/>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440578741059101"/>
          <c:y val="4.6153842659460598E-2"/>
          <c:w val="0.74666673509772996"/>
          <c:h val="0.74067278991117402"/>
        </c:manualLayout>
      </c:layout>
      <c:barChart>
        <c:barDir val="bar"/>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txPr>
              <a:bodyPr/>
              <a:lstStyle/>
              <a:p>
                <a:pPr>
                  <a:defRPr sz="10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45.9</c:v>
                </c:pt>
                <c:pt idx="1">
                  <c:v>46.9</c:v>
                </c:pt>
                <c:pt idx="2">
                  <c:v>45</c:v>
                </c:pt>
                <c:pt idx="3">
                  <c:v>43.9</c:v>
                </c:pt>
              </c:numCache>
            </c:numRef>
          </c:val>
          <c:extLst>
            <c:ext xmlns:c16="http://schemas.microsoft.com/office/drawing/2014/chart" uri="{C3380CC4-5D6E-409C-BE32-E72D297353CC}">
              <c16:uniqueId val="{00000000-8B2C-4F13-9CDC-C8CF55FA5FF2}"/>
            </c:ext>
          </c:extLst>
        </c:ser>
        <c:dLbls>
          <c:dLblPos val="outEnd"/>
          <c:showLegendKey val="0"/>
          <c:showVal val="1"/>
          <c:showCatName val="0"/>
          <c:showSerName val="0"/>
          <c:showPercent val="0"/>
          <c:showBubbleSize val="0"/>
        </c:dLbls>
        <c:gapWidth val="150"/>
        <c:axId val="17576624"/>
        <c:axId val="18137472"/>
      </c:barChart>
      <c:catAx>
        <c:axId val="17576624"/>
        <c:scaling>
          <c:orientation val="minMax"/>
        </c:scaling>
        <c:delete val="0"/>
        <c:axPos val="l"/>
        <c:numFmt formatCode="General" sourceLinked="0"/>
        <c:majorTickMark val="none"/>
        <c:minorTickMark val="none"/>
        <c:tickLblPos val="low"/>
        <c:spPr>
          <a:ln w="6350">
            <a:solidFill>
              <a:srgbClr val="BBBCBC"/>
            </a:solidFill>
            <a:prstDash val="solid"/>
          </a:ln>
        </c:spPr>
        <c:txPr>
          <a:bodyPr/>
          <a:lstStyle/>
          <a:p>
            <a:pPr>
              <a:defRPr sz="1000" b="0">
                <a:solidFill>
                  <a:srgbClr val="53565A"/>
                </a:solidFill>
                <a:latin typeface="+mn-lt"/>
                <a:ea typeface="+mn-lt"/>
                <a:cs typeface="+mn-lt"/>
              </a:defRPr>
            </a:pPr>
            <a:endParaRPr lang="en-US"/>
          </a:p>
        </c:txPr>
        <c:crossAx val="18137472"/>
        <c:crosses val="autoZero"/>
        <c:auto val="1"/>
        <c:lblAlgn val="ctr"/>
        <c:lblOffset val="100"/>
        <c:noMultiLvlLbl val="0"/>
      </c:catAx>
      <c:valAx>
        <c:axId val="18137472"/>
        <c:scaling>
          <c:orientation val="minMax"/>
          <c:min val="0"/>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1000" b="0">
                <a:solidFill>
                  <a:srgbClr val="53565A"/>
                </a:solidFill>
                <a:latin typeface="+mn-lt"/>
                <a:ea typeface="+mn-lt"/>
                <a:cs typeface="+mn-lt"/>
              </a:defRPr>
            </a:pPr>
            <a:endParaRPr lang="en-US"/>
          </a:p>
        </c:txPr>
        <c:crossAx val="17576624"/>
        <c:crosses val="autoZero"/>
        <c:crossBetween val="between"/>
      </c:valAx>
      <c:spPr>
        <a:noFill/>
        <a:ln>
          <a:noFill/>
        </a:ln>
        <a:effectLst/>
        <a:extLst>
          <a:ext uri="{91240B29-F687-4F45-9708-019B960494DF}">
            <a14:hiddenLine xmlns:a14="http://schemas.microsoft.com/office/drawing/2010/main">
              <a:solidFill>
                <a:prstClr val="white"/>
              </a:solidFill>
            </a14:hiddenLine>
          </a:ext>
        </a:extLst>
      </c:spPr>
    </c:plotArea>
    <c:plotVisOnly val="1"/>
    <c:dispBlanksAs val="gap"/>
    <c:showDLblsOverMax val="0"/>
  </c:chart>
  <c:txPr>
    <a:bodyPr/>
    <a:lstStyle/>
    <a:p>
      <a:pPr>
        <a:defRPr sz="1200"/>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481518631827"/>
          <c:y val="8.9348473135243897E-2"/>
          <c:w val="0.67871270080601598"/>
          <c:h val="0.69346732473658201"/>
        </c:manualLayout>
      </c:layout>
      <c:pieChart>
        <c:varyColors val="1"/>
        <c:ser>
          <c:idx val="0"/>
          <c:order val="0"/>
          <c:tx>
            <c:strRef>
              <c:f>Sheet1!$B$1</c:f>
              <c:strCache>
                <c:ptCount val="1"/>
                <c:pt idx="0">
                  <c:v>Q1</c:v>
                </c:pt>
              </c:strCache>
            </c:strRef>
          </c:tx>
          <c:spPr>
            <a:ln w="12700">
              <a:noFill/>
            </a:ln>
          </c:spPr>
          <c:dPt>
            <c:idx val="0"/>
            <c:bubble3D val="0"/>
            <c:explosion val="6"/>
            <c:spPr>
              <a:solidFill>
                <a:schemeClr val="accent3"/>
              </a:solidFill>
              <a:ln w="9525">
                <a:noFill/>
                <a:prstDash val="solid"/>
              </a:ln>
            </c:spPr>
            <c:extLst>
              <c:ext xmlns:c16="http://schemas.microsoft.com/office/drawing/2014/chart" uri="{C3380CC4-5D6E-409C-BE32-E72D297353CC}">
                <c16:uniqueId val="{00000001-827A-407C-8107-C397F54B8E77}"/>
              </c:ext>
            </c:extLst>
          </c:dPt>
          <c:dPt>
            <c:idx val="1"/>
            <c:bubble3D val="0"/>
            <c:spPr>
              <a:solidFill>
                <a:schemeClr val="tx2">
                  <a:lumMod val="40000"/>
                  <a:lumOff val="60000"/>
                </a:schemeClr>
              </a:solidFill>
              <a:ln w="9525">
                <a:noFill/>
                <a:prstDash val="solid"/>
              </a:ln>
            </c:spPr>
            <c:extLst>
              <c:ext xmlns:c16="http://schemas.microsoft.com/office/drawing/2014/chart" uri="{C3380CC4-5D6E-409C-BE32-E72D297353CC}">
                <c16:uniqueId val="{00000003-827A-407C-8107-C397F54B8E77}"/>
              </c:ext>
            </c:extLst>
          </c:dPt>
          <c:dPt>
            <c:idx val="2"/>
            <c:bubble3D val="0"/>
            <c:spPr>
              <a:solidFill>
                <a:schemeClr val="tx2">
                  <a:lumMod val="60000"/>
                  <a:lumOff val="40000"/>
                </a:schemeClr>
              </a:solidFill>
              <a:ln w="9525">
                <a:noFill/>
                <a:prstDash val="solid"/>
              </a:ln>
            </c:spPr>
            <c:extLst>
              <c:ext xmlns:c16="http://schemas.microsoft.com/office/drawing/2014/chart" uri="{C3380CC4-5D6E-409C-BE32-E72D297353CC}">
                <c16:uniqueId val="{00000005-827A-407C-8107-C397F54B8E77}"/>
              </c:ext>
            </c:extLst>
          </c:dPt>
          <c:dPt>
            <c:idx val="3"/>
            <c:bubble3D val="0"/>
            <c:spPr>
              <a:solidFill>
                <a:schemeClr val="tx2">
                  <a:lumMod val="20000"/>
                  <a:lumOff val="80000"/>
                </a:schemeClr>
              </a:solidFill>
              <a:ln w="12700">
                <a:noFill/>
              </a:ln>
            </c:spPr>
            <c:extLst>
              <c:ext xmlns:c16="http://schemas.microsoft.com/office/drawing/2014/chart" uri="{C3380CC4-5D6E-409C-BE32-E72D297353CC}">
                <c16:uniqueId val="{00000007-827A-407C-8107-C397F54B8E77}"/>
              </c:ext>
            </c:extLst>
          </c:dPt>
          <c:dPt>
            <c:idx val="4"/>
            <c:bubble3D val="0"/>
            <c:spPr>
              <a:solidFill>
                <a:schemeClr val="accent5"/>
              </a:solidFill>
              <a:ln w="12700">
                <a:noFill/>
              </a:ln>
            </c:spPr>
            <c:extLst>
              <c:ext xmlns:c16="http://schemas.microsoft.com/office/drawing/2014/chart" uri="{C3380CC4-5D6E-409C-BE32-E72D297353CC}">
                <c16:uniqueId val="{00000009-827A-407C-8107-C397F54B8E77}"/>
              </c:ext>
            </c:extLst>
          </c:dPt>
          <c:dPt>
            <c:idx val="5"/>
            <c:bubble3D val="0"/>
            <c:spPr>
              <a:solidFill>
                <a:schemeClr val="accent6"/>
              </a:solidFill>
              <a:ln w="12700">
                <a:noFill/>
              </a:ln>
            </c:spPr>
            <c:extLst>
              <c:ext xmlns:c16="http://schemas.microsoft.com/office/drawing/2014/chart" uri="{C3380CC4-5D6E-409C-BE32-E72D297353CC}">
                <c16:uniqueId val="{0000000B-827A-407C-8107-C397F54B8E77}"/>
              </c:ext>
            </c:extLst>
          </c:dPt>
          <c:dPt>
            <c:idx val="6"/>
            <c:bubble3D val="0"/>
            <c:spPr>
              <a:solidFill>
                <a:schemeClr val="tx2">
                  <a:lumMod val="75000"/>
                  <a:lumOff val="25000"/>
                </a:schemeClr>
              </a:solidFill>
              <a:ln w="12700">
                <a:noFill/>
              </a:ln>
            </c:spPr>
            <c:extLst>
              <c:ext xmlns:c16="http://schemas.microsoft.com/office/drawing/2014/chart" uri="{C3380CC4-5D6E-409C-BE32-E72D297353CC}">
                <c16:uniqueId val="{0000000D-827A-407C-8107-C397F54B8E77}"/>
              </c:ext>
            </c:extLst>
          </c:dPt>
          <c:dPt>
            <c:idx val="7"/>
            <c:bubble3D val="0"/>
            <c:spPr>
              <a:solidFill>
                <a:schemeClr val="tx2">
                  <a:lumMod val="50000"/>
                  <a:lumOff val="50000"/>
                </a:schemeClr>
              </a:solidFill>
              <a:ln w="12700">
                <a:noFill/>
              </a:ln>
            </c:spPr>
            <c:extLst>
              <c:ext xmlns:c16="http://schemas.microsoft.com/office/drawing/2014/chart" uri="{C3380CC4-5D6E-409C-BE32-E72D297353CC}">
                <c16:uniqueId val="{0000000F-827A-407C-8107-C397F54B8E77}"/>
              </c:ext>
            </c:extLst>
          </c:dPt>
          <c:dPt>
            <c:idx val="8"/>
            <c:bubble3D val="0"/>
            <c:spPr>
              <a:solidFill>
                <a:schemeClr val="tx2">
                  <a:lumMod val="25000"/>
                  <a:lumOff val="75000"/>
                </a:schemeClr>
              </a:solidFill>
              <a:ln w="12700">
                <a:noFill/>
              </a:ln>
            </c:spPr>
            <c:extLst>
              <c:ext xmlns:c16="http://schemas.microsoft.com/office/drawing/2014/chart" uri="{C3380CC4-5D6E-409C-BE32-E72D297353CC}">
                <c16:uniqueId val="{00000011-827A-407C-8107-C397F54B8E77}"/>
              </c:ext>
            </c:extLst>
          </c:dPt>
          <c:dLbls>
            <c:dLbl>
              <c:idx val="1"/>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27A-407C-8107-C397F54B8E77}"/>
                </c:ext>
              </c:extLst>
            </c:dLbl>
            <c:dLbl>
              <c:idx val="2"/>
              <c:numFmt formatCode="#,##0.0" sourceLinked="0"/>
              <c:spPr>
                <a:noFill/>
                <a:ln>
                  <a:noFill/>
                </a:ln>
                <a:effectLst/>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27A-407C-8107-C397F54B8E77}"/>
                </c:ext>
              </c:extLst>
            </c:dLbl>
            <c:dLbl>
              <c:idx val="3"/>
              <c:numFmt formatCode="#,##0.0" sourceLinked="0"/>
              <c:spPr/>
              <c:txPr>
                <a:bodyPr/>
                <a:lstStyle/>
                <a:p>
                  <a:pPr>
                    <a:defRPr sz="1000" b="0">
                      <a:solidFill>
                        <a:schemeClr val="tx1"/>
                      </a:solidFill>
                      <a:latin typeface="+mn-lt"/>
                      <a:ea typeface="+mn-lt"/>
                      <a:cs typeface="+mn-lt"/>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27A-407C-8107-C397F54B8E77}"/>
                </c:ext>
              </c:extLst>
            </c:dLbl>
            <c:numFmt formatCode="#,##0.0" sourceLinked="0"/>
            <c:spPr>
              <a:noFill/>
              <a:ln>
                <a:noFill/>
              </a:ln>
              <a:effectLst/>
            </c:spPr>
            <c:txPr>
              <a:bodyPr/>
              <a:lstStyle/>
              <a:p>
                <a:pPr>
                  <a:defRPr sz="1000" b="0">
                    <a:solidFill>
                      <a:schemeClr val="bg1"/>
                    </a:solidFill>
                    <a:latin typeface="+mn-lt"/>
                    <a:ea typeface="+mn-lt"/>
                    <a:cs typeface="+mn-lt"/>
                  </a:defRPr>
                </a:pPr>
                <a:endParaRPr lang="en-US"/>
              </a:p>
            </c:txPr>
            <c:dLblPos val="in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45</c:v>
                </c:pt>
                <c:pt idx="1">
                  <c:v>20</c:v>
                </c:pt>
                <c:pt idx="2">
                  <c:v>20</c:v>
                </c:pt>
                <c:pt idx="3">
                  <c:v>15</c:v>
                </c:pt>
              </c:numCache>
            </c:numRef>
          </c:val>
          <c:extLst>
            <c:ext xmlns:c16="http://schemas.microsoft.com/office/drawing/2014/chart" uri="{C3380CC4-5D6E-409C-BE32-E72D297353CC}">
              <c16:uniqueId val="{00000012-827A-407C-8107-C397F54B8E77}"/>
            </c:ext>
          </c:extLst>
        </c:ser>
        <c:dLbls>
          <c:showLegendKey val="0"/>
          <c:showVal val="1"/>
          <c:showCatName val="0"/>
          <c:showSerName val="0"/>
          <c:showPercent val="0"/>
          <c:showBubbleSize val="0"/>
          <c:showLeaderLines val="1"/>
        </c:dLbls>
        <c:firstSliceAng val="0"/>
      </c:pieChart>
      <c:spPr>
        <a:noFill/>
        <a:ln>
          <a:noFill/>
          <a:round/>
        </a:ln>
        <a:effectLst/>
        <a:extLst>
          <a:ext uri="{91240B29-F687-4F45-9708-019B960494DF}">
            <a14:hiddenLine xmlns:a14="http://schemas.microsoft.com/office/drawing/2010/main">
              <a:noFill/>
              <a:round/>
            </a14:hiddenLine>
          </a:ext>
        </a:extLst>
      </c:spPr>
    </c:plotArea>
    <c:plotVisOnly val="1"/>
    <c:dispBlanksAs val="zero"/>
    <c:showDLblsOverMax val="0"/>
  </c:chart>
  <c:txPr>
    <a:bodyPr/>
    <a:lstStyle/>
    <a:p>
      <a:pPr>
        <a:defRPr sz="1000" b="1">
          <a:solidFill>
            <a:schemeClr val="bg1"/>
          </a:solidFill>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25409530821099"/>
          <c:y val="8.8486789431545199E-2"/>
          <c:w val="0.69228539696269398"/>
          <c:h val="0.69145407664714498"/>
        </c:manualLayout>
      </c:layout>
      <c:doughnutChart>
        <c:varyColors val="1"/>
        <c:ser>
          <c:idx val="0"/>
          <c:order val="0"/>
          <c:tx>
            <c:strRef>
              <c:f>Sheet1!$B$1</c:f>
              <c:strCache>
                <c:ptCount val="1"/>
                <c:pt idx="0">
                  <c:v>Q1</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1FE2-4744-9B96-2BCF90A7FD04}"/>
              </c:ext>
            </c:extLst>
          </c:dPt>
          <c:dPt>
            <c:idx val="1"/>
            <c:bubble3D val="0"/>
            <c:spPr>
              <a:solidFill>
                <a:schemeClr val="accent2"/>
              </a:solidFill>
              <a:ln w="19050">
                <a:noFill/>
              </a:ln>
              <a:effectLst/>
            </c:spPr>
            <c:extLst>
              <c:ext xmlns:c16="http://schemas.microsoft.com/office/drawing/2014/chart" uri="{C3380CC4-5D6E-409C-BE32-E72D297353CC}">
                <c16:uniqueId val="{00000003-1FE2-4744-9B96-2BCF90A7FD04}"/>
              </c:ext>
            </c:extLst>
          </c:dPt>
          <c:dPt>
            <c:idx val="2"/>
            <c:bubble3D val="0"/>
            <c:spPr>
              <a:solidFill>
                <a:schemeClr val="accent3"/>
              </a:solidFill>
              <a:ln w="19050">
                <a:noFill/>
              </a:ln>
              <a:effectLst/>
            </c:spPr>
            <c:extLst>
              <c:ext xmlns:c16="http://schemas.microsoft.com/office/drawing/2014/chart" uri="{C3380CC4-5D6E-409C-BE32-E72D297353CC}">
                <c16:uniqueId val="{00000005-1FE2-4744-9B96-2BCF90A7FD04}"/>
              </c:ext>
            </c:extLst>
          </c:dPt>
          <c:dPt>
            <c:idx val="3"/>
            <c:bubble3D val="0"/>
            <c:spPr>
              <a:solidFill>
                <a:schemeClr val="accent4"/>
              </a:solidFill>
              <a:ln w="19050">
                <a:noFill/>
              </a:ln>
              <a:effectLst/>
            </c:spPr>
            <c:extLst>
              <c:ext xmlns:c16="http://schemas.microsoft.com/office/drawing/2014/chart" uri="{C3380CC4-5D6E-409C-BE32-E72D297353CC}">
                <c16:uniqueId val="{00000007-1FE2-4744-9B96-2BCF90A7FD04}"/>
              </c:ext>
            </c:extLst>
          </c:dPt>
          <c:dPt>
            <c:idx val="4"/>
            <c:bubble3D val="0"/>
            <c:spPr>
              <a:solidFill>
                <a:schemeClr val="accent5"/>
              </a:solidFill>
              <a:ln w="19050">
                <a:noFill/>
              </a:ln>
              <a:effectLst/>
            </c:spPr>
            <c:extLst>
              <c:ext xmlns:c16="http://schemas.microsoft.com/office/drawing/2014/chart" uri="{C3380CC4-5D6E-409C-BE32-E72D297353CC}">
                <c16:uniqueId val="{00000009-1FE2-4744-9B96-2BCF90A7FD04}"/>
              </c:ext>
            </c:extLst>
          </c:dPt>
          <c:dPt>
            <c:idx val="5"/>
            <c:bubble3D val="0"/>
            <c:spPr>
              <a:solidFill>
                <a:schemeClr val="tx2">
                  <a:lumMod val="75000"/>
                </a:schemeClr>
              </a:solidFill>
              <a:ln w="19050">
                <a:noFill/>
              </a:ln>
              <a:effectLst/>
            </c:spPr>
            <c:extLst>
              <c:ext xmlns:c16="http://schemas.microsoft.com/office/drawing/2014/chart" uri="{C3380CC4-5D6E-409C-BE32-E72D297353CC}">
                <c16:uniqueId val="{0000000B-1FE2-4744-9B96-2BCF90A7FD04}"/>
              </c:ext>
            </c:extLst>
          </c:dPt>
          <c:dPt>
            <c:idx val="6"/>
            <c:bubble3D val="0"/>
            <c:spPr>
              <a:solidFill>
                <a:schemeClr val="tx2">
                  <a:lumMod val="60000"/>
                  <a:lumOff val="40000"/>
                </a:schemeClr>
              </a:solidFill>
              <a:ln w="19050">
                <a:noFill/>
              </a:ln>
              <a:effectLst/>
            </c:spPr>
            <c:extLst>
              <c:ext xmlns:c16="http://schemas.microsoft.com/office/drawing/2014/chart" uri="{C3380CC4-5D6E-409C-BE32-E72D297353CC}">
                <c16:uniqueId val="{0000000D-1FE2-4744-9B96-2BCF90A7FD04}"/>
              </c:ext>
            </c:extLst>
          </c:dPt>
          <c:dPt>
            <c:idx val="7"/>
            <c:bubble3D val="0"/>
            <c:spPr>
              <a:solidFill>
                <a:schemeClr val="bg1">
                  <a:lumMod val="50000"/>
                </a:schemeClr>
              </a:solidFill>
              <a:ln w="19050">
                <a:noFill/>
              </a:ln>
              <a:effectLst/>
            </c:spPr>
            <c:extLst>
              <c:ext xmlns:c16="http://schemas.microsoft.com/office/drawing/2014/chart" uri="{C3380CC4-5D6E-409C-BE32-E72D297353CC}">
                <c16:uniqueId val="{0000000F-1FE2-4744-9B96-2BCF90A7FD04}"/>
              </c:ext>
            </c:extLst>
          </c:dPt>
          <c:dPt>
            <c:idx val="8"/>
            <c:bubble3D val="0"/>
            <c:spPr>
              <a:solidFill>
                <a:schemeClr val="bg1">
                  <a:lumMod val="75000"/>
                </a:schemeClr>
              </a:solidFill>
              <a:ln w="19050">
                <a:noFill/>
              </a:ln>
              <a:effectLst/>
            </c:spPr>
            <c:extLst>
              <c:ext xmlns:c16="http://schemas.microsoft.com/office/drawing/2014/chart" uri="{C3380CC4-5D6E-409C-BE32-E72D297353CC}">
                <c16:uniqueId val="{00000011-1FE2-4744-9B96-2BCF90A7FD04}"/>
              </c:ext>
            </c:extLst>
          </c:dPt>
          <c:dLbls>
            <c:dLbl>
              <c:idx val="0"/>
              <c:layout>
                <c:manualLayout>
                  <c:x val="4.7417304891578999E-2"/>
                  <c:y val="-0.11529231741743599"/>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1FE2-4744-9B96-2BCF90A7FD04}"/>
                </c:ext>
              </c:extLst>
            </c:dLbl>
            <c:dLbl>
              <c:idx val="1"/>
              <c:layout>
                <c:manualLayout>
                  <c:x val="7.79555669859536E-2"/>
                  <c:y val="-7.718637757627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1FE2-4744-9B96-2BCF90A7FD04}"/>
                </c:ext>
              </c:extLst>
            </c:dLbl>
            <c:dLbl>
              <c:idx val="2"/>
              <c:layout>
                <c:manualLayout>
                  <c:x val="7.0863749323396896E-2"/>
                  <c:y val="1.6743667975664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FE2-4744-9B96-2BCF90A7FD04}"/>
                </c:ext>
              </c:extLst>
            </c:dLbl>
            <c:dLbl>
              <c:idx val="3"/>
              <c:layout>
                <c:manualLayout>
                  <c:x val="5.7702031454195897E-2"/>
                  <c:y val="9.319911068772260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1FE2-4744-9B96-2BCF90A7FD04}"/>
                </c:ext>
              </c:extLst>
            </c:dLbl>
            <c:dLbl>
              <c:idx val="4"/>
              <c:layout>
                <c:manualLayout>
                  <c:x val="-5.8783548643642105E-17"/>
                  <c:y val="0.131305044035228"/>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1FE2-4744-9B96-2BCF90A7FD04}"/>
                </c:ext>
              </c:extLst>
            </c:dLbl>
            <c:dLbl>
              <c:idx val="5"/>
              <c:layout>
                <c:manualLayout>
                  <c:x val="-5.5167872341061797E-2"/>
                  <c:y val="0.10544091790082601"/>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1FE2-4744-9B96-2BCF90A7FD04}"/>
                </c:ext>
              </c:extLst>
            </c:dLbl>
            <c:dLbl>
              <c:idx val="6"/>
              <c:layout>
                <c:manualLayout>
                  <c:x val="-7.96359949879034E-2"/>
                  <c:y val="2.602658990621720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1FE2-4744-9B96-2BCF90A7FD04}"/>
                </c:ext>
              </c:extLst>
            </c:dLbl>
            <c:dLbl>
              <c:idx val="7"/>
              <c:layout>
                <c:manualLayout>
                  <c:x val="-7.5078456058925006E-2"/>
                  <c:y val="-8.877835567673900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1FE2-4744-9B96-2BCF90A7FD04}"/>
                </c:ext>
              </c:extLst>
            </c:dLbl>
            <c:dLbl>
              <c:idx val="8"/>
              <c:layout>
                <c:manualLayout>
                  <c:x val="-3.5767948300043997E-2"/>
                  <c:y val="-0.124574993572984"/>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1FE2-4744-9B96-2BCF90A7FD04}"/>
                </c:ext>
              </c:extLst>
            </c:dLbl>
            <c:spPr>
              <a:noFill/>
              <a:ln>
                <a:noFill/>
              </a:ln>
              <a:effectLst/>
            </c:spPr>
            <c:txPr>
              <a:bodyPr rot="0" spcFirstLastPara="1" vertOverflow="clip" horzOverflow="clip" vert="horz" wrap="square" lIns="38100" tIns="19050" rIns="38100" bIns="19050" anchor="ctr" anchorCtr="1">
                <a:spAutoFit/>
              </a:bodyPr>
              <a:lstStyle/>
              <a:p>
                <a:pPr>
                  <a:defRPr sz="1100" b="0" i="0" u="none" strike="noStrike" kern="1200" baseline="0">
                    <a:solidFill>
                      <a:srgbClr val="53565A"/>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10</c:f>
              <c:strCache>
                <c:ptCount val="9"/>
                <c:pt idx="0">
                  <c:v>Label A</c:v>
                </c:pt>
                <c:pt idx="1">
                  <c:v>Label B</c:v>
                </c:pt>
                <c:pt idx="2">
                  <c:v>Label C</c:v>
                </c:pt>
                <c:pt idx="3">
                  <c:v>Label D</c:v>
                </c:pt>
                <c:pt idx="4">
                  <c:v>Label E</c:v>
                </c:pt>
                <c:pt idx="5">
                  <c:v>Label F</c:v>
                </c:pt>
                <c:pt idx="6">
                  <c:v>Label G</c:v>
                </c:pt>
                <c:pt idx="7">
                  <c:v>Label H</c:v>
                </c:pt>
                <c:pt idx="8">
                  <c:v>Label I</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12-1FE2-4744-9B96-2BCF90A7FD04}"/>
            </c:ext>
          </c:extLst>
        </c:ser>
        <c:dLbls>
          <c:showLegendKey val="0"/>
          <c:showVal val="0"/>
          <c:showCatName val="0"/>
          <c:showSerName val="0"/>
          <c:showPercent val="0"/>
          <c:showBubbleSize val="0"/>
          <c:showLeaderLines val="0"/>
        </c:dLbls>
        <c:firstSliceAng val="0"/>
        <c:holeSize val="61"/>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0.12838504590499999"/>
          <c:y val="9.9166636193433202E-2"/>
          <c:w val="0.78756398194330601"/>
          <c:h val="0.81717898401498801"/>
        </c:manualLayout>
      </c:layout>
      <c:doughnutChart>
        <c:varyColors val="1"/>
        <c:ser>
          <c:idx val="0"/>
          <c:order val="0"/>
          <c:tx>
            <c:strRef>
              <c:f>Sheet1!$B$1</c:f>
              <c:strCache>
                <c:ptCount val="1"/>
                <c:pt idx="0">
                  <c:v>Q1</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01-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03-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05-9BE8-409E-A793-4ABF9313B5AD}"/>
              </c:ext>
            </c:extLst>
          </c:dPt>
          <c:dPt>
            <c:idx val="3"/>
            <c:bubble3D val="0"/>
            <c:spPr>
              <a:solidFill>
                <a:schemeClr val="accent2">
                  <a:lumMod val="60000"/>
                </a:schemeClr>
              </a:solidFill>
              <a:ln w="63500">
                <a:solidFill>
                  <a:schemeClr val="bg1"/>
                </a:solidFill>
              </a:ln>
              <a:effectLst/>
            </c:spPr>
            <c:extLst>
              <c:ext xmlns:c16="http://schemas.microsoft.com/office/drawing/2014/chart" uri="{C3380CC4-5D6E-409C-BE32-E72D297353CC}">
                <c16:uniqueId val="{00000007-9BE8-409E-A793-4ABF9313B5AD}"/>
              </c:ext>
            </c:extLst>
          </c:dPt>
          <c:dPt>
            <c:idx val="4"/>
            <c:bubble3D val="0"/>
            <c:spPr>
              <a:solidFill>
                <a:schemeClr val="accent4">
                  <a:lumMod val="60000"/>
                </a:schemeClr>
              </a:solidFill>
              <a:ln w="63500">
                <a:solidFill>
                  <a:schemeClr val="bg1"/>
                </a:solidFill>
              </a:ln>
              <a:effectLst/>
            </c:spPr>
            <c:extLst>
              <c:ext xmlns:c16="http://schemas.microsoft.com/office/drawing/2014/chart" uri="{C3380CC4-5D6E-409C-BE32-E72D297353CC}">
                <c16:uniqueId val="{00000009-9BE8-409E-A793-4ABF9313B5AD}"/>
              </c:ext>
            </c:extLst>
          </c:dPt>
          <c:dPt>
            <c:idx val="5"/>
            <c:bubble3D val="0"/>
            <c:spPr>
              <a:solidFill>
                <a:schemeClr val="accent6">
                  <a:lumMod val="60000"/>
                </a:schemeClr>
              </a:solidFill>
              <a:ln w="63500">
                <a:solidFill>
                  <a:schemeClr val="bg1"/>
                </a:solidFill>
              </a:ln>
              <a:effectLst/>
            </c:spPr>
            <c:extLst>
              <c:ext xmlns:c16="http://schemas.microsoft.com/office/drawing/2014/chart" uri="{C3380CC4-5D6E-409C-BE32-E72D297353CC}">
                <c16:uniqueId val="{0000000B-9BE8-409E-A793-4ABF9313B5AD}"/>
              </c:ext>
            </c:extLst>
          </c:dPt>
          <c:dPt>
            <c:idx val="6"/>
            <c:bubble3D val="0"/>
            <c:spPr>
              <a:solidFill>
                <a:schemeClr val="accent2">
                  <a:lumMod val="80000"/>
                  <a:lumOff val="20000"/>
                </a:schemeClr>
              </a:solidFill>
              <a:ln w="63500">
                <a:solidFill>
                  <a:schemeClr val="bg1"/>
                </a:solidFill>
              </a:ln>
              <a:effectLst/>
            </c:spPr>
            <c:extLst>
              <c:ext xmlns:c16="http://schemas.microsoft.com/office/drawing/2014/chart" uri="{C3380CC4-5D6E-409C-BE32-E72D297353CC}">
                <c16:uniqueId val="{0000000D-9BE8-409E-A793-4ABF9313B5AD}"/>
              </c:ext>
            </c:extLst>
          </c:dPt>
          <c:dPt>
            <c:idx val="7"/>
            <c:bubble3D val="0"/>
            <c:spPr>
              <a:solidFill>
                <a:schemeClr val="accent4">
                  <a:lumMod val="80000"/>
                  <a:lumOff val="20000"/>
                </a:schemeClr>
              </a:solidFill>
              <a:ln w="63500">
                <a:solidFill>
                  <a:schemeClr val="bg1"/>
                </a:solidFill>
              </a:ln>
              <a:effectLst/>
            </c:spPr>
            <c:extLst>
              <c:ext xmlns:c16="http://schemas.microsoft.com/office/drawing/2014/chart" uri="{C3380CC4-5D6E-409C-BE32-E72D297353CC}">
                <c16:uniqueId val="{0000000F-9BE8-409E-A793-4ABF9313B5AD}"/>
              </c:ext>
            </c:extLst>
          </c:dPt>
          <c:dPt>
            <c:idx val="8"/>
            <c:bubble3D val="0"/>
            <c:spPr>
              <a:solidFill>
                <a:schemeClr val="accent6">
                  <a:lumMod val="80000"/>
                  <a:lumOff val="20000"/>
                </a:schemeClr>
              </a:solidFill>
              <a:ln w="63500">
                <a:solidFill>
                  <a:schemeClr val="bg1"/>
                </a:solidFill>
              </a:ln>
              <a:effectLst/>
            </c:spPr>
            <c:extLst>
              <c:ext xmlns:c16="http://schemas.microsoft.com/office/drawing/2014/chart" uri="{C3380CC4-5D6E-409C-BE32-E72D297353CC}">
                <c16:uniqueId val="{00000011-9BE8-409E-A793-4ABF9313B5AD}"/>
              </c:ext>
            </c:extLst>
          </c:dPt>
          <c:cat>
            <c:strRef>
              <c:f>Sheet1!$A$2:$A$4</c:f>
              <c:strCache>
                <c:ptCount val="3"/>
                <c:pt idx="0">
                  <c:v> </c:v>
                </c:pt>
                <c:pt idx="1">
                  <c:v>Label A</c:v>
                </c:pt>
                <c:pt idx="2">
                  <c:v>Label A</c:v>
                </c:pt>
              </c:strCache>
            </c:strRef>
          </c:cat>
          <c:val>
            <c:numRef>
              <c:f>Sheet1!$B$2:$B$4</c:f>
              <c:numCache>
                <c:formatCode>General</c:formatCode>
                <c:ptCount val="3"/>
                <c:pt idx="0">
                  <c:v>0</c:v>
                </c:pt>
                <c:pt idx="1">
                  <c:v>90</c:v>
                </c:pt>
                <c:pt idx="2">
                  <c:v>100</c:v>
                </c:pt>
              </c:numCache>
            </c:numRef>
          </c:val>
          <c:extLst>
            <c:ext xmlns:c16="http://schemas.microsoft.com/office/drawing/2014/chart" uri="{C3380CC4-5D6E-409C-BE32-E72D297353CC}">
              <c16:uniqueId val="{00000012-9BE8-409E-A793-4ABF9313B5AD}"/>
            </c:ext>
          </c:extLst>
        </c:ser>
        <c:ser>
          <c:idx val="1"/>
          <c:order val="1"/>
          <c:tx>
            <c:strRef>
              <c:f>Sheet1!$C$1</c:f>
              <c:strCache>
                <c:ptCount val="1"/>
                <c:pt idx="0">
                  <c:v>Q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4-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16-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18-9BE8-409E-A793-4ABF9313B5AD}"/>
              </c:ext>
            </c:extLst>
          </c:dPt>
          <c:cat>
            <c:strRef>
              <c:f>Sheet1!$A$2:$A$4</c:f>
              <c:strCache>
                <c:ptCount val="3"/>
                <c:pt idx="0">
                  <c:v> </c:v>
                </c:pt>
                <c:pt idx="1">
                  <c:v>Label A</c:v>
                </c:pt>
                <c:pt idx="2">
                  <c:v>Label A</c:v>
                </c:pt>
              </c:strCache>
            </c:strRef>
          </c:cat>
          <c:val>
            <c:numRef>
              <c:f>Sheet1!$C$2:$C$4</c:f>
              <c:numCache>
                <c:formatCode>General</c:formatCode>
                <c:ptCount val="3"/>
                <c:pt idx="0">
                  <c:v>0</c:v>
                </c:pt>
                <c:pt idx="1">
                  <c:v>80</c:v>
                </c:pt>
                <c:pt idx="2">
                  <c:v>100</c:v>
                </c:pt>
              </c:numCache>
            </c:numRef>
          </c:val>
          <c:extLst>
            <c:ext xmlns:c16="http://schemas.microsoft.com/office/drawing/2014/chart" uri="{C3380CC4-5D6E-409C-BE32-E72D297353CC}">
              <c16:uniqueId val="{00000019-9BE8-409E-A793-4ABF9313B5AD}"/>
            </c:ext>
          </c:extLst>
        </c:ser>
        <c:ser>
          <c:idx val="2"/>
          <c:order val="2"/>
          <c:tx>
            <c:strRef>
              <c:f>Sheet1!$D$1</c:f>
              <c:strCache>
                <c:ptCount val="1"/>
                <c:pt idx="0">
                  <c:v>Q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B-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1D-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1F-9BE8-409E-A793-4ABF9313B5AD}"/>
              </c:ext>
            </c:extLst>
          </c:dPt>
          <c:cat>
            <c:strRef>
              <c:f>Sheet1!$A$2:$A$4</c:f>
              <c:strCache>
                <c:ptCount val="3"/>
                <c:pt idx="0">
                  <c:v> </c:v>
                </c:pt>
                <c:pt idx="1">
                  <c:v>Label A</c:v>
                </c:pt>
                <c:pt idx="2">
                  <c:v>Label A</c:v>
                </c:pt>
              </c:strCache>
            </c:strRef>
          </c:cat>
          <c:val>
            <c:numRef>
              <c:f>Sheet1!$D$2:$D$4</c:f>
              <c:numCache>
                <c:formatCode>General</c:formatCode>
                <c:ptCount val="3"/>
                <c:pt idx="0">
                  <c:v>0</c:v>
                </c:pt>
                <c:pt idx="1">
                  <c:v>70</c:v>
                </c:pt>
                <c:pt idx="2">
                  <c:v>100</c:v>
                </c:pt>
              </c:numCache>
            </c:numRef>
          </c:val>
          <c:extLst>
            <c:ext xmlns:c16="http://schemas.microsoft.com/office/drawing/2014/chart" uri="{C3380CC4-5D6E-409C-BE32-E72D297353CC}">
              <c16:uniqueId val="{00000020-9BE8-409E-A793-4ABF9313B5AD}"/>
            </c:ext>
          </c:extLst>
        </c:ser>
        <c:ser>
          <c:idx val="3"/>
          <c:order val="3"/>
          <c:tx>
            <c:strRef>
              <c:f>Sheet1!$E$1</c:f>
              <c:strCache>
                <c:ptCount val="1"/>
                <c:pt idx="0">
                  <c:v>Q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2-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24-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26-9BE8-409E-A793-4ABF9313B5AD}"/>
              </c:ext>
            </c:extLst>
          </c:dPt>
          <c:cat>
            <c:strRef>
              <c:f>Sheet1!$A$2:$A$4</c:f>
              <c:strCache>
                <c:ptCount val="3"/>
                <c:pt idx="0">
                  <c:v> </c:v>
                </c:pt>
                <c:pt idx="1">
                  <c:v>Label A</c:v>
                </c:pt>
                <c:pt idx="2">
                  <c:v>Label A</c:v>
                </c:pt>
              </c:strCache>
            </c:strRef>
          </c:cat>
          <c:val>
            <c:numRef>
              <c:f>Sheet1!$E$2:$E$4</c:f>
              <c:numCache>
                <c:formatCode>General</c:formatCode>
                <c:ptCount val="3"/>
                <c:pt idx="0">
                  <c:v>0</c:v>
                </c:pt>
                <c:pt idx="1">
                  <c:v>60</c:v>
                </c:pt>
                <c:pt idx="2">
                  <c:v>100</c:v>
                </c:pt>
              </c:numCache>
            </c:numRef>
          </c:val>
          <c:extLst>
            <c:ext xmlns:c16="http://schemas.microsoft.com/office/drawing/2014/chart" uri="{C3380CC4-5D6E-409C-BE32-E72D297353CC}">
              <c16:uniqueId val="{00000027-9BE8-409E-A793-4ABF9313B5AD}"/>
            </c:ext>
          </c:extLst>
        </c:ser>
        <c:ser>
          <c:idx val="4"/>
          <c:order val="4"/>
          <c:tx>
            <c:strRef>
              <c:f>Sheet1!$F$1</c:f>
              <c:strCache>
                <c:ptCount val="1"/>
                <c:pt idx="0">
                  <c:v>Q4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9-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2B-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2D-9BE8-409E-A793-4ABF9313B5AD}"/>
              </c:ext>
            </c:extLst>
          </c:dPt>
          <c:cat>
            <c:strRef>
              <c:f>Sheet1!$A$2:$A$4</c:f>
              <c:strCache>
                <c:ptCount val="3"/>
                <c:pt idx="0">
                  <c:v> </c:v>
                </c:pt>
                <c:pt idx="1">
                  <c:v>Label A</c:v>
                </c:pt>
                <c:pt idx="2">
                  <c:v>Label A</c:v>
                </c:pt>
              </c:strCache>
            </c:strRef>
          </c:cat>
          <c:val>
            <c:numRef>
              <c:f>Sheet1!$F$2:$F$4</c:f>
              <c:numCache>
                <c:formatCode>General</c:formatCode>
                <c:ptCount val="3"/>
                <c:pt idx="0">
                  <c:v>0</c:v>
                </c:pt>
                <c:pt idx="1">
                  <c:v>50</c:v>
                </c:pt>
                <c:pt idx="2">
                  <c:v>100</c:v>
                </c:pt>
              </c:numCache>
            </c:numRef>
          </c:val>
          <c:extLst>
            <c:ext xmlns:c16="http://schemas.microsoft.com/office/drawing/2014/chart" uri="{C3380CC4-5D6E-409C-BE32-E72D297353CC}">
              <c16:uniqueId val="{0000002E-9BE8-409E-A793-4ABF9313B5AD}"/>
            </c:ext>
          </c:extLst>
        </c:ser>
        <c:ser>
          <c:idx val="5"/>
          <c:order val="5"/>
          <c:tx>
            <c:strRef>
              <c:f>Sheet1!$G$1</c:f>
              <c:strCache>
                <c:ptCount val="1"/>
                <c:pt idx="0">
                  <c:v>Q4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0-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32-9BE8-409E-A793-4ABF9313B5AD}"/>
              </c:ext>
            </c:extLst>
          </c:dPt>
          <c:dPt>
            <c:idx val="2"/>
            <c:bubble3D val="0"/>
            <c:spPr>
              <a:solidFill>
                <a:schemeClr val="accent1"/>
              </a:solidFill>
              <a:ln w="63500">
                <a:solidFill>
                  <a:schemeClr val="bg1"/>
                </a:solidFill>
              </a:ln>
              <a:effectLst/>
            </c:spPr>
            <c:extLst>
              <c:ext xmlns:c16="http://schemas.microsoft.com/office/drawing/2014/chart" uri="{C3380CC4-5D6E-409C-BE32-E72D297353CC}">
                <c16:uniqueId val="{00000034-9BE8-409E-A793-4ABF9313B5AD}"/>
              </c:ext>
            </c:extLst>
          </c:dPt>
          <c:cat>
            <c:strRef>
              <c:f>Sheet1!$A$2:$A$4</c:f>
              <c:strCache>
                <c:ptCount val="3"/>
                <c:pt idx="0">
                  <c:v> </c:v>
                </c:pt>
                <c:pt idx="1">
                  <c:v>Label A</c:v>
                </c:pt>
                <c:pt idx="2">
                  <c:v>Label A</c:v>
                </c:pt>
              </c:strCache>
            </c:strRef>
          </c:cat>
          <c:val>
            <c:numRef>
              <c:f>Sheet1!$G$2:$G$4</c:f>
              <c:numCache>
                <c:formatCode>General</c:formatCode>
                <c:ptCount val="3"/>
                <c:pt idx="0">
                  <c:v>0</c:v>
                </c:pt>
                <c:pt idx="1">
                  <c:v>40</c:v>
                </c:pt>
                <c:pt idx="2">
                  <c:v>100</c:v>
                </c:pt>
              </c:numCache>
            </c:numRef>
          </c:val>
          <c:extLst>
            <c:ext xmlns:c16="http://schemas.microsoft.com/office/drawing/2014/chart" uri="{C3380CC4-5D6E-409C-BE32-E72D297353CC}">
              <c16:uniqueId val="{00000035-9BE8-409E-A793-4ABF9313B5AD}"/>
            </c:ext>
          </c:extLst>
        </c:ser>
        <c:ser>
          <c:idx val="6"/>
          <c:order val="6"/>
          <c:tx>
            <c:strRef>
              <c:f>Sheet1!$H$1</c:f>
              <c:strCache>
                <c:ptCount val="1"/>
                <c:pt idx="0">
                  <c:v>Q4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7-9BE8-409E-A793-4ABF9313B5AD}"/>
              </c:ext>
            </c:extLst>
          </c:dPt>
          <c:dPt>
            <c:idx val="1"/>
            <c:bubble3D val="0"/>
            <c:spPr>
              <a:noFill/>
              <a:ln w="63500">
                <a:solidFill>
                  <a:schemeClr val="bg1"/>
                </a:solidFill>
              </a:ln>
              <a:effectLst/>
            </c:spPr>
            <c:extLst>
              <c:ext xmlns:c16="http://schemas.microsoft.com/office/drawing/2014/chart" uri="{C3380CC4-5D6E-409C-BE32-E72D297353CC}">
                <c16:uniqueId val="{00000039-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3B-9BE8-409E-A793-4ABF9313B5AD}"/>
              </c:ext>
            </c:extLst>
          </c:dPt>
          <c:cat>
            <c:strRef>
              <c:f>Sheet1!$A$2:$A$4</c:f>
              <c:strCache>
                <c:ptCount val="3"/>
                <c:pt idx="0">
                  <c:v> </c:v>
                </c:pt>
                <c:pt idx="1">
                  <c:v>Label A</c:v>
                </c:pt>
                <c:pt idx="2">
                  <c:v>Label A</c:v>
                </c:pt>
              </c:strCache>
            </c:strRef>
          </c:cat>
          <c:val>
            <c:numRef>
              <c:f>Sheet1!$H$2:$H$4</c:f>
              <c:numCache>
                <c:formatCode>General</c:formatCode>
                <c:ptCount val="3"/>
                <c:pt idx="0">
                  <c:v>0</c:v>
                </c:pt>
                <c:pt idx="1">
                  <c:v>30</c:v>
                </c:pt>
                <c:pt idx="2">
                  <c:v>100</c:v>
                </c:pt>
              </c:numCache>
            </c:numRef>
          </c:val>
          <c:extLst>
            <c:ext xmlns:c16="http://schemas.microsoft.com/office/drawing/2014/chart" uri="{C3380CC4-5D6E-409C-BE32-E72D297353CC}">
              <c16:uniqueId val="{0000003C-9BE8-409E-A793-4ABF9313B5AD}"/>
            </c:ext>
          </c:extLst>
        </c:ser>
        <c:ser>
          <c:idx val="7"/>
          <c:order val="7"/>
          <c:tx>
            <c:strRef>
              <c:f>Sheet1!$I$1</c:f>
              <c:strCache>
                <c:ptCount val="1"/>
                <c:pt idx="0">
                  <c:v>Q45</c:v>
                </c:pt>
              </c:strCache>
            </c:strRef>
          </c:tx>
          <c:spPr>
            <a:ln>
              <a:solidFill>
                <a:schemeClr val="bg1"/>
              </a:solidFill>
            </a:ln>
          </c:spPr>
          <c:dPt>
            <c:idx val="0"/>
            <c:bubble3D val="0"/>
            <c:spPr>
              <a:solidFill>
                <a:schemeClr val="accent2"/>
              </a:solidFill>
              <a:ln>
                <a:solidFill>
                  <a:schemeClr val="bg1"/>
                </a:solidFill>
              </a:ln>
              <a:effectLst/>
            </c:spPr>
            <c:extLst>
              <c:ext xmlns:c16="http://schemas.microsoft.com/office/drawing/2014/chart" uri="{C3380CC4-5D6E-409C-BE32-E72D297353CC}">
                <c16:uniqueId val="{0000003E-9BE8-409E-A793-4ABF9313B5AD}"/>
              </c:ext>
            </c:extLst>
          </c:dPt>
          <c:dPt>
            <c:idx val="1"/>
            <c:bubble3D val="0"/>
            <c:spPr>
              <a:noFill/>
              <a:ln>
                <a:solidFill>
                  <a:schemeClr val="bg1"/>
                </a:solidFill>
              </a:ln>
              <a:effectLst/>
            </c:spPr>
            <c:extLst>
              <c:ext xmlns:c16="http://schemas.microsoft.com/office/drawing/2014/chart" uri="{C3380CC4-5D6E-409C-BE32-E72D297353CC}">
                <c16:uniqueId val="{00000040-9BE8-409E-A793-4ABF9313B5AD}"/>
              </c:ext>
            </c:extLst>
          </c:dPt>
          <c:dPt>
            <c:idx val="2"/>
            <c:bubble3D val="0"/>
            <c:spPr>
              <a:solidFill>
                <a:schemeClr val="accent6"/>
              </a:solidFill>
              <a:ln w="63500">
                <a:solidFill>
                  <a:schemeClr val="bg1"/>
                </a:solidFill>
              </a:ln>
              <a:effectLst/>
            </c:spPr>
            <c:extLst>
              <c:ext xmlns:c16="http://schemas.microsoft.com/office/drawing/2014/chart" uri="{C3380CC4-5D6E-409C-BE32-E72D297353CC}">
                <c16:uniqueId val="{00000042-9BE8-409E-A793-4ABF9313B5AD}"/>
              </c:ext>
            </c:extLst>
          </c:dPt>
          <c:cat>
            <c:strRef>
              <c:f>Sheet1!$A$2:$A$4</c:f>
              <c:strCache>
                <c:ptCount val="3"/>
                <c:pt idx="0">
                  <c:v> </c:v>
                </c:pt>
                <c:pt idx="1">
                  <c:v>Label A</c:v>
                </c:pt>
                <c:pt idx="2">
                  <c:v>Label A</c:v>
                </c:pt>
              </c:strCache>
            </c:strRef>
          </c:cat>
          <c:val>
            <c:numRef>
              <c:f>Sheet1!$I$2:$I$4</c:f>
              <c:numCache>
                <c:formatCode>General</c:formatCode>
                <c:ptCount val="3"/>
                <c:pt idx="0">
                  <c:v>0</c:v>
                </c:pt>
                <c:pt idx="1">
                  <c:v>20</c:v>
                </c:pt>
                <c:pt idx="2">
                  <c:v>100</c:v>
                </c:pt>
              </c:numCache>
            </c:numRef>
          </c:val>
          <c:extLst>
            <c:ext xmlns:c16="http://schemas.microsoft.com/office/drawing/2014/chart" uri="{C3380CC4-5D6E-409C-BE32-E72D297353CC}">
              <c16:uniqueId val="{00000043-9BE8-409E-A793-4ABF9313B5AD}"/>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showDLblsOverMax val="0"/>
  </c:chart>
  <c:spPr>
    <a:noFill/>
    <a:ln w="9525" cap="flat" cmpd="sng" algn="ctr">
      <a:noFill/>
      <a:prstDash val="solid"/>
    </a:ln>
    <a:effectLst/>
  </c:spPr>
  <c:txPr>
    <a:bodyPr/>
    <a:lstStyle/>
    <a:p>
      <a:pPr>
        <a:defRPr/>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1-95F1-4260-B279-E552471124F2}"/>
              </c:ext>
            </c:extLst>
          </c:dPt>
          <c:dPt>
            <c:idx val="1"/>
            <c:bubble3D val="0"/>
            <c:spPr>
              <a:solidFill>
                <a:schemeClr val="accent6">
                  <a:lumMod val="60000"/>
                  <a:lumOff val="40000"/>
                </a:schemeClr>
              </a:solidFill>
              <a:ln w="19050">
                <a:noFill/>
              </a:ln>
              <a:effectLst/>
            </c:spPr>
            <c:extLst>
              <c:ext xmlns:c16="http://schemas.microsoft.com/office/drawing/2014/chart" uri="{C3380CC4-5D6E-409C-BE32-E72D297353CC}">
                <c16:uniqueId val="{00000003-95F1-4260-B279-E552471124F2}"/>
              </c:ext>
            </c:extLst>
          </c:dPt>
          <c:dPt>
            <c:idx val="2"/>
            <c:bubble3D val="0"/>
            <c:spPr>
              <a:solidFill>
                <a:schemeClr val="accent6">
                  <a:lumMod val="75000"/>
                </a:schemeClr>
              </a:solidFill>
              <a:ln w="19050">
                <a:noFill/>
              </a:ln>
              <a:effectLst/>
            </c:spPr>
            <c:extLst>
              <c:ext xmlns:c16="http://schemas.microsoft.com/office/drawing/2014/chart" uri="{C3380CC4-5D6E-409C-BE32-E72D297353CC}">
                <c16:uniqueId val="{00000001-7B32-4F8F-9855-F7C3EE92CA7C}"/>
              </c:ext>
            </c:extLst>
          </c:dPt>
          <c:dPt>
            <c:idx val="3"/>
            <c:bubble3D val="0"/>
            <c:spPr>
              <a:solidFill>
                <a:schemeClr val="accent6">
                  <a:lumMod val="50000"/>
                </a:schemeClr>
              </a:solidFill>
              <a:ln w="19050">
                <a:noFill/>
              </a:ln>
              <a:effectLst/>
            </c:spPr>
            <c:extLst>
              <c:ext xmlns:c16="http://schemas.microsoft.com/office/drawing/2014/chart" uri="{C3380CC4-5D6E-409C-BE32-E72D297353CC}">
                <c16:uniqueId val="{00000002-7B32-4F8F-9855-F7C3EE92CA7C}"/>
              </c:ext>
            </c:extLst>
          </c:dPt>
          <c:dPt>
            <c:idx val="4"/>
            <c:bubble3D val="0"/>
            <c:spPr>
              <a:solidFill>
                <a:schemeClr val="accent1"/>
              </a:solidFill>
              <a:ln w="19050">
                <a:noFill/>
              </a:ln>
              <a:effectLst/>
            </c:spPr>
            <c:extLst>
              <c:ext xmlns:c16="http://schemas.microsoft.com/office/drawing/2014/chart" uri="{C3380CC4-5D6E-409C-BE32-E72D297353CC}">
                <c16:uniqueId val="{00000003-7B32-4F8F-9855-F7C3EE92CA7C}"/>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0-7B32-4F8F-9855-F7C3EE92CA7C}"/>
              </c:ext>
            </c:extLst>
          </c:dPt>
          <c:dLbls>
            <c:dLbl>
              <c:idx val="2"/>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B32-4F8F-9855-F7C3EE92CA7C}"/>
                </c:ext>
              </c:extLst>
            </c:dLbl>
            <c:dLbl>
              <c:idx val="3"/>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7B32-4F8F-9855-F7C3EE92CA7C}"/>
                </c:ext>
              </c:extLst>
            </c:dLbl>
            <c:dLbl>
              <c:idx val="4"/>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B32-4F8F-9855-F7C3EE92CA7C}"/>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4-95F1-4260-B279-E552471124F2}"/>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8.2347819503331296E-2"/>
          <c:y val="0.86215807166897496"/>
          <c:w val="0.82568897637795302"/>
          <c:h val="0.11911387296676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1-BA8A-476E-93F0-BAC6FC5A37DF}"/>
              </c:ext>
            </c:extLst>
          </c:dPt>
          <c:dPt>
            <c:idx val="1"/>
            <c:bubble3D val="0"/>
            <c:spPr>
              <a:solidFill>
                <a:schemeClr val="accent2"/>
              </a:solidFill>
              <a:ln w="19050">
                <a:noFill/>
              </a:ln>
              <a:effectLst/>
            </c:spPr>
            <c:extLst>
              <c:ext xmlns:c16="http://schemas.microsoft.com/office/drawing/2014/chart" uri="{C3380CC4-5D6E-409C-BE32-E72D297353CC}">
                <c16:uniqueId val="{00000003-BA8A-476E-93F0-BAC6FC5A37DF}"/>
              </c:ext>
            </c:extLst>
          </c:dPt>
          <c:dPt>
            <c:idx val="2"/>
            <c:bubble3D val="0"/>
            <c:spPr>
              <a:solidFill>
                <a:schemeClr val="accent6">
                  <a:lumMod val="60000"/>
                  <a:lumOff val="40000"/>
                </a:schemeClr>
              </a:solidFill>
              <a:ln w="19050">
                <a:noFill/>
              </a:ln>
              <a:effectLst/>
            </c:spPr>
            <c:extLst>
              <c:ext xmlns:c16="http://schemas.microsoft.com/office/drawing/2014/chart" uri="{C3380CC4-5D6E-409C-BE32-E72D297353CC}">
                <c16:uniqueId val="{00000000-6907-46A8-9D59-6E5C79BCEFB9}"/>
              </c:ext>
            </c:extLst>
          </c:dPt>
          <c:dPt>
            <c:idx val="3"/>
            <c:bubble3D val="0"/>
            <c:spPr>
              <a:solidFill>
                <a:schemeClr val="accent6"/>
              </a:solidFill>
              <a:ln w="19050">
                <a:noFill/>
              </a:ln>
              <a:effectLst/>
            </c:spPr>
            <c:extLst>
              <c:ext xmlns:c16="http://schemas.microsoft.com/office/drawing/2014/chart" uri="{C3380CC4-5D6E-409C-BE32-E72D297353CC}">
                <c16:uniqueId val="{00000001-6907-46A8-9D59-6E5C79BCEFB9}"/>
              </c:ext>
            </c:extLst>
          </c:dPt>
          <c:dPt>
            <c:idx val="4"/>
            <c:bubble3D val="0"/>
            <c:spPr>
              <a:solidFill>
                <a:schemeClr val="accent6">
                  <a:lumMod val="75000"/>
                </a:schemeClr>
              </a:solidFill>
              <a:ln w="19050">
                <a:noFill/>
              </a:ln>
              <a:effectLst/>
            </c:spPr>
            <c:extLst>
              <c:ext xmlns:c16="http://schemas.microsoft.com/office/drawing/2014/chart" uri="{C3380CC4-5D6E-409C-BE32-E72D297353CC}">
                <c16:uniqueId val="{00000002-6907-46A8-9D59-6E5C79BCEFB9}"/>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3-6907-46A8-9D59-6E5C79BCEFB9}"/>
              </c:ext>
            </c:extLst>
          </c:dPt>
          <c:dLbls>
            <c:dLbl>
              <c:idx val="1"/>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BA8A-476E-93F0-BAC6FC5A37DF}"/>
                </c:ext>
              </c:extLst>
            </c:dLbl>
            <c:dLbl>
              <c:idx val="2"/>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6907-46A8-9D59-6E5C79BCEFB9}"/>
                </c:ext>
              </c:extLst>
            </c:dLbl>
            <c:dLbl>
              <c:idx val="3"/>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6907-46A8-9D59-6E5C79BCEFB9}"/>
                </c:ext>
              </c:extLst>
            </c:dLbl>
            <c:dLbl>
              <c:idx val="4"/>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6907-46A8-9D59-6E5C79BCEFB9}"/>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4-BA8A-476E-93F0-BAC6FC5A37DF}"/>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4.3269230769230803E-2"/>
          <c:y val="0.87152209935110503"/>
          <c:w val="0.88461538461538503"/>
          <c:h val="0.109749845284634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083A-45E8-8D86-E86E15E2B93D}"/>
              </c:ext>
            </c:extLst>
          </c:dPt>
          <c:dPt>
            <c:idx val="1"/>
            <c:bubble3D val="0"/>
            <c:spPr>
              <a:solidFill>
                <a:schemeClr val="accent6">
                  <a:lumMod val="40000"/>
                  <a:lumOff val="60000"/>
                </a:schemeClr>
              </a:solidFill>
              <a:ln w="19050">
                <a:noFill/>
              </a:ln>
              <a:effectLst/>
            </c:spPr>
            <c:extLst>
              <c:ext xmlns:c16="http://schemas.microsoft.com/office/drawing/2014/chart" uri="{C3380CC4-5D6E-409C-BE32-E72D297353CC}">
                <c16:uniqueId val="{00000003-083A-45E8-8D86-E86E15E2B93D}"/>
              </c:ext>
            </c:extLst>
          </c:dPt>
          <c:dPt>
            <c:idx val="2"/>
            <c:bubble3D val="0"/>
            <c:spPr>
              <a:solidFill>
                <a:schemeClr val="accent6">
                  <a:lumMod val="60000"/>
                  <a:lumOff val="40000"/>
                </a:schemeClr>
              </a:solidFill>
              <a:ln w="19050">
                <a:noFill/>
              </a:ln>
              <a:effectLst/>
            </c:spPr>
            <c:extLst>
              <c:ext xmlns:c16="http://schemas.microsoft.com/office/drawing/2014/chart" uri="{C3380CC4-5D6E-409C-BE32-E72D297353CC}">
                <c16:uniqueId val="{00000003-704A-4B78-ACD9-0B01B3413704}"/>
              </c:ext>
            </c:extLst>
          </c:dPt>
          <c:dPt>
            <c:idx val="3"/>
            <c:bubble3D val="0"/>
            <c:spPr>
              <a:solidFill>
                <a:schemeClr val="accent6"/>
              </a:solidFill>
              <a:ln w="19050">
                <a:noFill/>
              </a:ln>
              <a:effectLst/>
            </c:spPr>
            <c:extLst>
              <c:ext xmlns:c16="http://schemas.microsoft.com/office/drawing/2014/chart" uri="{C3380CC4-5D6E-409C-BE32-E72D297353CC}">
                <c16:uniqueId val="{00000002-704A-4B78-ACD9-0B01B3413704}"/>
              </c:ext>
            </c:extLst>
          </c:dPt>
          <c:dPt>
            <c:idx val="4"/>
            <c:bubble3D val="0"/>
            <c:spPr>
              <a:solidFill>
                <a:schemeClr val="accent6">
                  <a:lumMod val="75000"/>
                </a:schemeClr>
              </a:solidFill>
              <a:ln w="19050">
                <a:noFill/>
              </a:ln>
              <a:effectLst/>
            </c:spPr>
            <c:extLst>
              <c:ext xmlns:c16="http://schemas.microsoft.com/office/drawing/2014/chart" uri="{C3380CC4-5D6E-409C-BE32-E72D297353CC}">
                <c16:uniqueId val="{00000001-704A-4B78-ACD9-0B01B3413704}"/>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0-704A-4B78-ACD9-0B01B3413704}"/>
              </c:ext>
            </c:extLst>
          </c:dPt>
          <c:dLbls>
            <c:dLbl>
              <c:idx val="0"/>
              <c:tx>
                <c:rich>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fld id="{44704766-4624-4A53-AB50-2535F62A33E7}" type="VALUE">
                      <a:rPr lang="en-US" sz="1100">
                        <a:solidFill>
                          <a:schemeClr val="bg1"/>
                        </a:solidFill>
                      </a:rPr>
                      <a:pPr>
                        <a:defRPr sz="1100">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83A-45E8-8D86-E86E15E2B93D}"/>
                </c:ext>
              </c:extLst>
            </c:dLbl>
            <c:dLbl>
              <c:idx val="2"/>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04A-4B78-ACD9-0B01B3413704}"/>
                </c:ext>
              </c:extLst>
            </c:dLbl>
            <c:dLbl>
              <c:idx val="3"/>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704A-4B78-ACD9-0B01B3413704}"/>
                </c:ext>
              </c:extLst>
            </c:dLbl>
            <c:dLbl>
              <c:idx val="4"/>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04A-4B78-ACD9-0B01B3413704}"/>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Label 1</c:v>
                </c:pt>
                <c:pt idx="1">
                  <c:v>Label 2</c:v>
                </c:pt>
                <c:pt idx="2">
                  <c:v>Label 3</c:v>
                </c:pt>
                <c:pt idx="3">
                  <c:v>Label 4</c:v>
                </c:pt>
                <c:pt idx="4">
                  <c:v>Label 5</c:v>
                </c:pt>
                <c:pt idx="5">
                  <c:v>Label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4-083A-45E8-8D86-E86E15E2B93D}"/>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8.2347819503331296E-2"/>
          <c:y val="0.86840075679039497"/>
          <c:w val="0.83049666868564498"/>
          <c:h val="0.11287118784534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448953470637698E-2"/>
          <c:y val="5.2098143833887597E-2"/>
          <c:w val="0.88882727106889903"/>
          <c:h val="0.77301405857259298"/>
        </c:manualLayout>
      </c:layout>
      <c:barChart>
        <c:barDir val="bar"/>
        <c:grouping val="percentStacked"/>
        <c:varyColors val="0"/>
        <c:ser>
          <c:idx val="0"/>
          <c:order val="0"/>
          <c:tx>
            <c:strRef>
              <c:f>Sheet1!$B$1</c:f>
              <c:strCache>
                <c:ptCount val="1"/>
                <c:pt idx="0">
                  <c:v>Column 1</c:v>
                </c:pt>
              </c:strCache>
            </c:strRef>
          </c:tx>
          <c:spPr>
            <a:solidFill>
              <a:schemeClr val="accent1"/>
            </a:solidFill>
            <a:ln w="28575" cap="rnd">
              <a:noFill/>
              <a:round/>
            </a:ln>
            <a:effectLst/>
          </c:spPr>
          <c:invertIfNegative val="0"/>
          <c:dPt>
            <c:idx val="1"/>
            <c:invertIfNegative val="0"/>
            <c:bubble3D val="0"/>
            <c:spPr>
              <a:solidFill>
                <a:schemeClr val="accent2"/>
              </a:solidFill>
              <a:ln w="28575" cap="rnd">
                <a:noFill/>
                <a:round/>
              </a:ln>
              <a:effectLst/>
            </c:spPr>
            <c:extLst>
              <c:ext xmlns:c16="http://schemas.microsoft.com/office/drawing/2014/chart" uri="{C3380CC4-5D6E-409C-BE32-E72D297353CC}">
                <c16:uniqueId val="{00000001-6F2B-47FC-B7DE-DE38531C07A4}"/>
              </c:ext>
            </c:extLst>
          </c:dPt>
          <c:dPt>
            <c:idx val="2"/>
            <c:invertIfNegative val="0"/>
            <c:bubble3D val="0"/>
            <c:spPr>
              <a:solidFill>
                <a:schemeClr val="accent3"/>
              </a:solidFill>
              <a:ln w="28575" cap="rnd">
                <a:noFill/>
                <a:round/>
              </a:ln>
              <a:effectLst/>
            </c:spPr>
            <c:extLst>
              <c:ext xmlns:c16="http://schemas.microsoft.com/office/drawing/2014/chart" uri="{C3380CC4-5D6E-409C-BE32-E72D297353CC}">
                <c16:uniqueId val="{00000003-6F2B-47FC-B7DE-DE38531C07A4}"/>
              </c:ext>
            </c:extLst>
          </c:dPt>
          <c:dPt>
            <c:idx val="3"/>
            <c:invertIfNegative val="0"/>
            <c:bubble3D val="0"/>
            <c:spPr>
              <a:solidFill>
                <a:schemeClr val="accent4"/>
              </a:solidFill>
              <a:ln w="28575" cap="rnd">
                <a:noFill/>
                <a:round/>
              </a:ln>
              <a:effectLst/>
            </c:spPr>
            <c:extLst>
              <c:ext xmlns:c16="http://schemas.microsoft.com/office/drawing/2014/chart" uri="{C3380CC4-5D6E-409C-BE32-E72D297353CC}">
                <c16:uniqueId val="{00000005-6F2B-47FC-B7DE-DE38531C07A4}"/>
              </c:ext>
            </c:extLst>
          </c:dPt>
          <c:dPt>
            <c:idx val="4"/>
            <c:invertIfNegative val="0"/>
            <c:bubble3D val="0"/>
            <c:spPr>
              <a:solidFill>
                <a:schemeClr val="accent5"/>
              </a:solidFill>
              <a:ln w="28575" cap="rnd">
                <a:noFill/>
                <a:round/>
              </a:ln>
              <a:effectLst/>
            </c:spPr>
            <c:extLst>
              <c:ext xmlns:c16="http://schemas.microsoft.com/office/drawing/2014/chart" uri="{C3380CC4-5D6E-409C-BE32-E72D297353CC}">
                <c16:uniqueId val="{00000007-6F2B-47FC-B7DE-DE38531C07A4}"/>
              </c:ext>
            </c:extLst>
          </c:dPt>
          <c:dPt>
            <c:idx val="5"/>
            <c:invertIfNegative val="0"/>
            <c:bubble3D val="0"/>
            <c:spPr>
              <a:solidFill>
                <a:schemeClr val="accent6"/>
              </a:solidFill>
              <a:ln w="28575" cap="rnd">
                <a:noFill/>
                <a:round/>
              </a:ln>
              <a:effectLst/>
            </c:spPr>
            <c:extLst>
              <c:ext xmlns:c16="http://schemas.microsoft.com/office/drawing/2014/chart" uri="{C3380CC4-5D6E-409C-BE32-E72D297353CC}">
                <c16:uniqueId val="{00000009-3A92-4DA9-873B-66387F6B75C2}"/>
              </c:ext>
            </c:extLst>
          </c:dPt>
          <c:dPt>
            <c:idx val="6"/>
            <c:invertIfNegative val="0"/>
            <c:bubble3D val="0"/>
            <c:spPr>
              <a:solidFill>
                <a:srgbClr val="009A44"/>
              </a:solidFill>
              <a:ln w="28575" cap="rnd">
                <a:noFill/>
                <a:round/>
              </a:ln>
              <a:effectLst/>
            </c:spPr>
            <c:extLst>
              <c:ext xmlns:c16="http://schemas.microsoft.com/office/drawing/2014/chart" uri="{C3380CC4-5D6E-409C-BE32-E72D297353CC}">
                <c16:uniqueId val="{00000009-6F2B-47FC-B7DE-DE38531C07A4}"/>
              </c:ext>
            </c:extLst>
          </c:dPt>
          <c:dLbls>
            <c:spPr>
              <a:noFill/>
              <a:ln>
                <a:noFill/>
              </a:ln>
              <a:effectLst/>
            </c:spPr>
            <c:txPr>
              <a:bodyPr wrap="square" lIns="38100" tIns="19050" rIns="38100" bIns="19050" anchor="ctr">
                <a:spAutoFit/>
              </a:bodyPr>
              <a:lstStyle/>
              <a:p>
                <a:pPr>
                  <a:defRPr sz="1100">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Title one</c:v>
                </c:pt>
                <c:pt idx="1">
                  <c:v>Title two</c:v>
                </c:pt>
                <c:pt idx="2">
                  <c:v>Title three</c:v>
                </c:pt>
                <c:pt idx="3">
                  <c:v>Title four</c:v>
                </c:pt>
                <c:pt idx="4">
                  <c:v>Title five</c:v>
                </c:pt>
                <c:pt idx="5">
                  <c:v>Title six</c:v>
                </c:pt>
                <c:pt idx="6">
                  <c:v>Title seven</c:v>
                </c:pt>
              </c:strCache>
            </c:strRef>
          </c:cat>
          <c:val>
            <c:numRef>
              <c:f>Sheet1!$B$2:$B$8</c:f>
              <c:numCache>
                <c:formatCode>General</c:formatCode>
                <c:ptCount val="7"/>
                <c:pt idx="0">
                  <c:v>43</c:v>
                </c:pt>
                <c:pt idx="1">
                  <c:v>12</c:v>
                </c:pt>
                <c:pt idx="2">
                  <c:v>35</c:v>
                </c:pt>
                <c:pt idx="3">
                  <c:v>68</c:v>
                </c:pt>
                <c:pt idx="4">
                  <c:v>7</c:v>
                </c:pt>
                <c:pt idx="5">
                  <c:v>23</c:v>
                </c:pt>
                <c:pt idx="6">
                  <c:v>88</c:v>
                </c:pt>
              </c:numCache>
            </c:numRef>
          </c:val>
          <c:extLst>
            <c:ext xmlns:c16="http://schemas.microsoft.com/office/drawing/2014/chart" uri="{C3380CC4-5D6E-409C-BE32-E72D297353CC}">
              <c16:uniqueId val="{00000000-E557-437B-99ED-7A30380B469F}"/>
            </c:ext>
          </c:extLst>
        </c:ser>
        <c:ser>
          <c:idx val="1"/>
          <c:order val="1"/>
          <c:tx>
            <c:strRef>
              <c:f>Sheet1!$C$1</c:f>
              <c:strCache>
                <c:ptCount val="1"/>
                <c:pt idx="0">
                  <c:v>Column 2</c:v>
                </c:pt>
              </c:strCache>
            </c:strRef>
          </c:tx>
          <c:spPr>
            <a:solidFill>
              <a:schemeClr val="bg2"/>
            </a:solidFill>
          </c:spPr>
          <c:invertIfNegative val="0"/>
          <c:cat>
            <c:strRef>
              <c:f>Sheet1!$A$2:$A$8</c:f>
              <c:strCache>
                <c:ptCount val="7"/>
                <c:pt idx="0">
                  <c:v>Title one</c:v>
                </c:pt>
                <c:pt idx="1">
                  <c:v>Title two</c:v>
                </c:pt>
                <c:pt idx="2">
                  <c:v>Title three</c:v>
                </c:pt>
                <c:pt idx="3">
                  <c:v>Title four</c:v>
                </c:pt>
                <c:pt idx="4">
                  <c:v>Title five</c:v>
                </c:pt>
                <c:pt idx="5">
                  <c:v>Title six</c:v>
                </c:pt>
                <c:pt idx="6">
                  <c:v>Title seven</c:v>
                </c:pt>
              </c:strCache>
            </c:strRef>
          </c:cat>
          <c:val>
            <c:numRef>
              <c:f>Sheet1!$C$2:$C$8</c:f>
              <c:numCache>
                <c:formatCode>General</c:formatCode>
                <c:ptCount val="7"/>
                <c:pt idx="0">
                  <c:v>57</c:v>
                </c:pt>
                <c:pt idx="1">
                  <c:v>88</c:v>
                </c:pt>
                <c:pt idx="2">
                  <c:v>65</c:v>
                </c:pt>
                <c:pt idx="3">
                  <c:v>32</c:v>
                </c:pt>
                <c:pt idx="4">
                  <c:v>93</c:v>
                </c:pt>
                <c:pt idx="5">
                  <c:v>77</c:v>
                </c:pt>
                <c:pt idx="6">
                  <c:v>12</c:v>
                </c:pt>
              </c:numCache>
            </c:numRef>
          </c:val>
          <c:extLst>
            <c:ext xmlns:c16="http://schemas.microsoft.com/office/drawing/2014/chart" uri="{C3380CC4-5D6E-409C-BE32-E72D297353CC}">
              <c16:uniqueId val="{0000000A-6F2B-47FC-B7DE-DE38531C07A4}"/>
            </c:ext>
          </c:extLst>
        </c:ser>
        <c:dLbls>
          <c:showLegendKey val="0"/>
          <c:showVal val="0"/>
          <c:showCatName val="0"/>
          <c:showSerName val="0"/>
          <c:showPercent val="0"/>
          <c:showBubbleSize val="0"/>
        </c:dLbls>
        <c:gapWidth val="150"/>
        <c:overlap val="100"/>
        <c:axId val="117970768"/>
        <c:axId val="117973088"/>
      </c:barChart>
      <c:catAx>
        <c:axId val="117970768"/>
        <c:scaling>
          <c:orientation val="maxMin"/>
        </c:scaling>
        <c:delete val="0"/>
        <c:axPos val="l"/>
        <c:numFmt formatCode="General" sourceLinked="1"/>
        <c:majorTickMark val="out"/>
        <c:minorTickMark val="out"/>
        <c:tickLblPos val="nextTo"/>
        <c:spPr>
          <a:noFill/>
          <a:ln w="9525" cap="flat" cmpd="sng" algn="ctr">
            <a:noFill/>
            <a:round/>
          </a:ln>
          <a:effectLst/>
        </c:spPr>
        <c:txPr>
          <a:bodyPr rot="-60000000" vert="horz"/>
          <a:lstStyle/>
          <a:p>
            <a:pPr>
              <a:defRPr sz="1100">
                <a:solidFill>
                  <a:srgbClr val="53565A"/>
                </a:solidFill>
              </a:defRPr>
            </a:pPr>
            <a:endParaRPr lang="en-US"/>
          </a:p>
        </c:txPr>
        <c:crossAx val="117973088"/>
        <c:crosses val="autoZero"/>
        <c:auto val="1"/>
        <c:lblAlgn val="ctr"/>
        <c:lblOffset val="100"/>
        <c:noMultiLvlLbl val="0"/>
      </c:catAx>
      <c:valAx>
        <c:axId val="117973088"/>
        <c:scaling>
          <c:orientation val="minMax"/>
        </c:scaling>
        <c:delete val="1"/>
        <c:axPos val="t"/>
        <c:numFmt formatCode="0%" sourceLinked="1"/>
        <c:majorTickMark val="none"/>
        <c:minorTickMark val="none"/>
        <c:tickLblPos val="nextTo"/>
        <c:crossAx val="117970768"/>
        <c:crosses val="autoZero"/>
        <c:crossBetween val="between"/>
      </c:valAx>
      <c:spPr>
        <a:noFill/>
        <a:ln>
          <a:noFill/>
        </a:ln>
        <a:effectLst/>
      </c:spPr>
    </c:plotArea>
    <c:plotVisOnly val="1"/>
    <c:dispBlanksAs val="gap"/>
    <c:showDLblsOverMax val="0"/>
  </c:chart>
  <c:spPr>
    <a:noFill/>
    <a:ln>
      <a:noFill/>
    </a:ln>
    <a:effectLst/>
  </c:spPr>
  <c:txPr>
    <a:bodyPr/>
    <a:lstStyle/>
    <a:p>
      <a:pPr>
        <a:defRPr sz="900">
          <a:solidFill>
            <a:schemeClr val="accent6"/>
          </a:solidFill>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a:t>
            </a:r>
            <a:r>
              <a:rPr lang="en-US" sz="1800" baseline="0" dirty="0">
                <a:solidFill>
                  <a:srgbClr val="BBBCBC"/>
                </a:solidFill>
              </a:rPr>
              <a:t> 01</a:t>
            </a:r>
            <a:endParaRPr lang="en-US" sz="1800" dirty="0">
              <a:solidFill>
                <a:srgbClr val="BBBCBC"/>
              </a:solidFill>
            </a:endParaRPr>
          </a:p>
        </c:rich>
      </c:tx>
      <c:layout>
        <c:manualLayout>
          <c:xMode val="edge"/>
          <c:yMode val="edge"/>
          <c:x val="0.30358986977589297"/>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95F1-4260-B279-E552471124F2}"/>
              </c:ext>
            </c:extLst>
          </c:dPt>
          <c:dPt>
            <c:idx val="1"/>
            <c:bubble3D val="0"/>
            <c:spPr>
              <a:solidFill>
                <a:schemeClr val="tx2"/>
              </a:solidFill>
              <a:ln w="19050">
                <a:noFill/>
              </a:ln>
              <a:effectLst/>
            </c:spPr>
            <c:extLst>
              <c:ext xmlns:c16="http://schemas.microsoft.com/office/drawing/2014/chart" uri="{C3380CC4-5D6E-409C-BE32-E72D297353CC}">
                <c16:uniqueId val="{00000003-95F1-4260-B279-E552471124F2}"/>
              </c:ext>
            </c:extLst>
          </c:dPt>
          <c:cat>
            <c:strRef>
              <c:f>Sheet1!$A$2:$A$3</c:f>
              <c:strCache>
                <c:ptCount val="2"/>
                <c:pt idx="0">
                  <c:v>1st Qtr</c:v>
                </c:pt>
                <c:pt idx="1">
                  <c:v>2nd Qtr</c:v>
                </c:pt>
              </c:strCache>
            </c:strRef>
          </c:cat>
          <c:val>
            <c:numRef>
              <c:f>Sheet1!$B$2:$B$3</c:f>
              <c:numCache>
                <c:formatCode>General</c:formatCode>
                <c:ptCount val="2"/>
                <c:pt idx="0">
                  <c:v>68</c:v>
                </c:pt>
                <c:pt idx="1">
                  <c:v>32</c:v>
                </c:pt>
              </c:numCache>
            </c:numRef>
          </c:val>
          <c:extLst>
            <c:ext xmlns:c16="http://schemas.microsoft.com/office/drawing/2014/chart" uri="{C3380CC4-5D6E-409C-BE32-E72D297353CC}">
              <c16:uniqueId val="{00000004-95F1-4260-B279-E552471124F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 02</a:t>
            </a:r>
          </a:p>
        </c:rich>
      </c:tx>
      <c:layout>
        <c:manualLayout>
          <c:xMode val="edge"/>
          <c:yMode val="edge"/>
          <c:x val="0.31344761330671"/>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BA8A-476E-93F0-BAC6FC5A37DF}"/>
              </c:ext>
            </c:extLst>
          </c:dPt>
          <c:dPt>
            <c:idx val="1"/>
            <c:bubble3D val="0"/>
            <c:spPr>
              <a:solidFill>
                <a:schemeClr val="tx2"/>
              </a:solidFill>
              <a:ln w="19050">
                <a:noFill/>
              </a:ln>
              <a:effectLst/>
            </c:spPr>
            <c:extLst>
              <c:ext xmlns:c16="http://schemas.microsoft.com/office/drawing/2014/chart" uri="{C3380CC4-5D6E-409C-BE32-E72D297353CC}">
                <c16:uniqueId val="{00000003-BA8A-476E-93F0-BAC6FC5A37DF}"/>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BA8A-476E-93F0-BAC6FC5A37D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r>
              <a:rPr lang="en-US" sz="1800" dirty="0">
                <a:solidFill>
                  <a:srgbClr val="BBBCBC"/>
                </a:solidFill>
              </a:rPr>
              <a:t>Title 03</a:t>
            </a:r>
          </a:p>
        </c:rich>
      </c:tx>
      <c:layout>
        <c:manualLayout>
          <c:xMode val="edge"/>
          <c:yMode val="edge"/>
          <c:x val="0.322902407631738"/>
          <c:y val="0.71790878896332599"/>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rgbClr val="BBBCBC"/>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083A-45E8-8D86-E86E15E2B93D}"/>
              </c:ext>
            </c:extLst>
          </c:dPt>
          <c:dPt>
            <c:idx val="1"/>
            <c:bubble3D val="0"/>
            <c:spPr>
              <a:solidFill>
                <a:schemeClr val="tx2"/>
              </a:solidFill>
              <a:ln w="19050">
                <a:noFill/>
              </a:ln>
              <a:effectLst/>
            </c:spPr>
            <c:extLst>
              <c:ext xmlns:c16="http://schemas.microsoft.com/office/drawing/2014/chart" uri="{C3380CC4-5D6E-409C-BE32-E72D297353CC}">
                <c16:uniqueId val="{00000003-083A-45E8-8D86-E86E15E2B93D}"/>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083A-45E8-8D86-E86E15E2B93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r>
              <a:rPr lang="en-US" dirty="0">
                <a:solidFill>
                  <a:srgbClr val="53565A"/>
                </a:solidFill>
              </a:rPr>
              <a:t>Title</a:t>
            </a:r>
            <a:r>
              <a:rPr lang="en-US" baseline="0" dirty="0">
                <a:solidFill>
                  <a:srgbClr val="53565A"/>
                </a:solidFill>
              </a:rPr>
              <a:t> 01</a:t>
            </a:r>
            <a:endParaRPr lang="en-US" dirty="0">
              <a:solidFill>
                <a:srgbClr val="53565A"/>
              </a:solidFill>
            </a:endParaRPr>
          </a:p>
        </c:rich>
      </c:tx>
      <c:layout>
        <c:manualLayout>
          <c:xMode val="edge"/>
          <c:yMode val="edge"/>
          <c:x val="0.30813673531193198"/>
          <c:y val="0.71790878896332599"/>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E1F6-4805-94EC-311C6944E4CC}"/>
              </c:ext>
            </c:extLst>
          </c:dPt>
          <c:dPt>
            <c:idx val="1"/>
            <c:bubble3D val="0"/>
            <c:spPr>
              <a:solidFill>
                <a:schemeClr val="bg2"/>
              </a:solidFill>
              <a:ln w="19050">
                <a:noFill/>
              </a:ln>
              <a:effectLst/>
            </c:spPr>
            <c:extLst>
              <c:ext xmlns:c16="http://schemas.microsoft.com/office/drawing/2014/chart" uri="{C3380CC4-5D6E-409C-BE32-E72D297353CC}">
                <c16:uniqueId val="{00000003-E1F6-4805-94EC-311C6944E4CC}"/>
              </c:ext>
            </c:extLst>
          </c:dPt>
          <c:cat>
            <c:strRef>
              <c:f>Sheet1!$A$2:$A$3</c:f>
              <c:strCache>
                <c:ptCount val="2"/>
                <c:pt idx="0">
                  <c:v>1st Qtr</c:v>
                </c:pt>
                <c:pt idx="1">
                  <c:v>2nd Qtr</c:v>
                </c:pt>
              </c:strCache>
            </c:strRef>
          </c:cat>
          <c:val>
            <c:numRef>
              <c:f>Sheet1!$B$2:$B$3</c:f>
              <c:numCache>
                <c:formatCode>General</c:formatCode>
                <c:ptCount val="2"/>
                <c:pt idx="0">
                  <c:v>68</c:v>
                </c:pt>
                <c:pt idx="1">
                  <c:v>32</c:v>
                </c:pt>
              </c:numCache>
            </c:numRef>
          </c:val>
          <c:extLst>
            <c:ext xmlns:c16="http://schemas.microsoft.com/office/drawing/2014/chart" uri="{C3380CC4-5D6E-409C-BE32-E72D297353CC}">
              <c16:uniqueId val="{00000004-E1F6-4805-94EC-311C6944E4C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t" anchorCtr="0"/>
          <a:lstStyle/>
          <a:p>
            <a:pPr>
              <a:defRPr sz="1862" b="0" i="0" u="none" strike="noStrike" kern="1200" spc="0" baseline="0">
                <a:solidFill>
                  <a:srgbClr val="53565A"/>
                </a:solidFill>
                <a:latin typeface="+mn-lt"/>
                <a:ea typeface="+mn-ea"/>
                <a:cs typeface="+mn-cs"/>
              </a:defRPr>
            </a:pPr>
            <a:r>
              <a:rPr lang="en-US" dirty="0">
                <a:solidFill>
                  <a:srgbClr val="53565A"/>
                </a:solidFill>
              </a:rPr>
              <a:t>Title 02</a:t>
            </a:r>
          </a:p>
        </c:rich>
      </c:tx>
      <c:layout>
        <c:manualLayout>
          <c:xMode val="edge"/>
          <c:yMode val="edge"/>
          <c:x val="0.32276683117959498"/>
          <c:y val="0.71790878896332599"/>
        </c:manualLayout>
      </c:layout>
      <c:overlay val="0"/>
      <c:spPr>
        <a:noFill/>
        <a:ln>
          <a:noFill/>
        </a:ln>
        <a:effectLst/>
      </c:spPr>
      <c:txPr>
        <a:bodyPr rot="0" spcFirstLastPara="1" vertOverflow="ellipsis" vert="horz" wrap="square" anchor="t" anchorCtr="0"/>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555-480E-987A-AA3D45A4E5E8}"/>
              </c:ext>
            </c:extLst>
          </c:dPt>
          <c:dPt>
            <c:idx val="1"/>
            <c:bubble3D val="0"/>
            <c:spPr>
              <a:solidFill>
                <a:schemeClr val="bg2"/>
              </a:solidFill>
              <a:ln w="19050">
                <a:noFill/>
              </a:ln>
              <a:effectLst/>
            </c:spPr>
            <c:extLst>
              <c:ext xmlns:c16="http://schemas.microsoft.com/office/drawing/2014/chart" uri="{C3380CC4-5D6E-409C-BE32-E72D297353CC}">
                <c16:uniqueId val="{00000003-C555-480E-987A-AA3D45A4E5E8}"/>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C555-480E-987A-AA3D45A4E5E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r>
              <a:rPr lang="en-US" dirty="0">
                <a:solidFill>
                  <a:srgbClr val="53565A"/>
                </a:solidFill>
              </a:rPr>
              <a:t>Title 03</a:t>
            </a:r>
          </a:p>
        </c:rich>
      </c:tx>
      <c:layout>
        <c:manualLayout>
          <c:xMode val="edge"/>
          <c:yMode val="edge"/>
          <c:x val="0.336982889158086"/>
          <c:y val="0.71790878896332599"/>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rgbClr val="53565A"/>
              </a:solidFill>
              <a:latin typeface="+mn-lt"/>
              <a:ea typeface="+mn-ea"/>
              <a:cs typeface="+mn-cs"/>
            </a:defRPr>
          </a:pPr>
          <a:endParaRPr lang="en-US"/>
        </a:p>
      </c:txPr>
    </c:title>
    <c:autoTitleDeleted val="0"/>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085-4FBD-B2D9-4026AA363DDE}"/>
              </c:ext>
            </c:extLst>
          </c:dPt>
          <c:dPt>
            <c:idx val="1"/>
            <c:bubble3D val="0"/>
            <c:spPr>
              <a:solidFill>
                <a:schemeClr val="bg2"/>
              </a:solidFill>
              <a:ln w="19050">
                <a:noFill/>
              </a:ln>
              <a:effectLst/>
            </c:spPr>
            <c:extLst>
              <c:ext xmlns:c16="http://schemas.microsoft.com/office/drawing/2014/chart" uri="{C3380CC4-5D6E-409C-BE32-E72D297353CC}">
                <c16:uniqueId val="{00000003-C085-4FBD-B2D9-4026AA363DDE}"/>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C085-4FBD-B2D9-4026AA363DD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67624505793397"/>
          <c:y val="0.16052580488424301"/>
          <c:w val="0.45976502544412901"/>
          <c:h val="0.66728757761824198"/>
        </c:manualLayout>
      </c:layout>
      <c:radarChart>
        <c:radarStyle val="marker"/>
        <c:varyColors val="0"/>
        <c:ser>
          <c:idx val="0"/>
          <c:order val="0"/>
          <c:tx>
            <c:strRef>
              <c:f>Sheet1!$B$1</c:f>
              <c:strCache>
                <c:ptCount val="1"/>
                <c:pt idx="0">
                  <c:v>Average score 2014</c:v>
                </c:pt>
              </c:strCache>
            </c:strRef>
          </c:tx>
          <c:spPr>
            <a:ln w="28575" cap="rnd">
              <a:solidFill>
                <a:schemeClr val="accent1"/>
              </a:solidFill>
              <a:round/>
            </a:ln>
            <a:effectLst/>
          </c:spPr>
          <c:marker>
            <c:symbol val="circle"/>
            <c:size val="5"/>
            <c:spPr>
              <a:noFill/>
              <a:ln w="9525">
                <a:noFill/>
              </a:ln>
              <a:effectLst/>
            </c:spPr>
          </c:marker>
          <c:cat>
            <c:strRef>
              <c:f>Sheet1!$A$2:$A$10</c:f>
              <c:strCache>
                <c:ptCount val="9"/>
                <c:pt idx="0">
                  <c:v>Corporate Strategy</c:v>
                </c:pt>
                <c:pt idx="1">
                  <c:v>Integration</c:v>
                </c:pt>
                <c:pt idx="2">
                  <c:v>Community Management </c:v>
                </c:pt>
                <c:pt idx="3">
                  <c:v>Environment Management</c:v>
                </c:pt>
                <c:pt idx="4">
                  <c:v>Marketplace Management</c:v>
                </c:pt>
                <c:pt idx="5">
                  <c:v>Workplace Management</c:v>
                </c:pt>
                <c:pt idx="6">
                  <c:v>Environmental Impact</c:v>
                </c:pt>
                <c:pt idx="7">
                  <c:v>Social Impact</c:v>
                </c:pt>
                <c:pt idx="8">
                  <c:v>Disclosure</c:v>
                </c:pt>
              </c:strCache>
            </c:strRef>
          </c:cat>
          <c:val>
            <c:numRef>
              <c:f>Sheet1!$B$2:$B$10</c:f>
              <c:numCache>
                <c:formatCode>0.00%</c:formatCode>
                <c:ptCount val="9"/>
                <c:pt idx="0">
                  <c:v>0.9</c:v>
                </c:pt>
                <c:pt idx="1">
                  <c:v>0.95</c:v>
                </c:pt>
                <c:pt idx="2">
                  <c:v>0.98</c:v>
                </c:pt>
                <c:pt idx="3">
                  <c:v>1</c:v>
                </c:pt>
                <c:pt idx="4">
                  <c:v>0.8</c:v>
                </c:pt>
                <c:pt idx="5">
                  <c:v>0.8</c:v>
                </c:pt>
                <c:pt idx="6">
                  <c:v>0.95</c:v>
                </c:pt>
                <c:pt idx="7">
                  <c:v>0.97</c:v>
                </c:pt>
                <c:pt idx="8">
                  <c:v>1</c:v>
                </c:pt>
              </c:numCache>
            </c:numRef>
          </c:val>
          <c:extLst>
            <c:ext xmlns:c16="http://schemas.microsoft.com/office/drawing/2014/chart" uri="{C3380CC4-5D6E-409C-BE32-E72D297353CC}">
              <c16:uniqueId val="{00000000-EE2C-455A-9954-7EB7248DE2C2}"/>
            </c:ext>
          </c:extLst>
        </c:ser>
        <c:ser>
          <c:idx val="1"/>
          <c:order val="1"/>
          <c:tx>
            <c:strRef>
              <c:f>Sheet1!$C$1</c:f>
              <c:strCache>
                <c:ptCount val="1"/>
                <c:pt idx="0">
                  <c:v>Average score 2015</c:v>
                </c:pt>
              </c:strCache>
            </c:strRef>
          </c:tx>
          <c:spPr>
            <a:ln w="28575" cap="flat">
              <a:solidFill>
                <a:schemeClr val="accent2"/>
              </a:solidFill>
              <a:round/>
            </a:ln>
            <a:effectLst/>
          </c:spPr>
          <c:marker>
            <c:symbol val="none"/>
          </c:marker>
          <c:cat>
            <c:strRef>
              <c:f>Sheet1!$A$2:$A$10</c:f>
              <c:strCache>
                <c:ptCount val="9"/>
                <c:pt idx="0">
                  <c:v>Corporate Strategy</c:v>
                </c:pt>
                <c:pt idx="1">
                  <c:v>Integration</c:v>
                </c:pt>
                <c:pt idx="2">
                  <c:v>Community Management </c:v>
                </c:pt>
                <c:pt idx="3">
                  <c:v>Environment Management</c:v>
                </c:pt>
                <c:pt idx="4">
                  <c:v>Marketplace Management</c:v>
                </c:pt>
                <c:pt idx="5">
                  <c:v>Workplace Management</c:v>
                </c:pt>
                <c:pt idx="6">
                  <c:v>Environmental Impact</c:v>
                </c:pt>
                <c:pt idx="7">
                  <c:v>Social Impact</c:v>
                </c:pt>
                <c:pt idx="8">
                  <c:v>Disclosure</c:v>
                </c:pt>
              </c:strCache>
            </c:strRef>
          </c:cat>
          <c:val>
            <c:numRef>
              <c:f>Sheet1!$C$2:$C$10</c:f>
              <c:numCache>
                <c:formatCode>0.00%</c:formatCode>
                <c:ptCount val="9"/>
                <c:pt idx="0">
                  <c:v>0.9</c:v>
                </c:pt>
                <c:pt idx="1">
                  <c:v>0.9</c:v>
                </c:pt>
                <c:pt idx="2">
                  <c:v>0.95</c:v>
                </c:pt>
                <c:pt idx="3">
                  <c:v>1</c:v>
                </c:pt>
                <c:pt idx="4">
                  <c:v>0.75</c:v>
                </c:pt>
                <c:pt idx="5">
                  <c:v>0.75</c:v>
                </c:pt>
                <c:pt idx="6">
                  <c:v>0.62</c:v>
                </c:pt>
                <c:pt idx="7">
                  <c:v>0.8</c:v>
                </c:pt>
                <c:pt idx="8">
                  <c:v>0.9</c:v>
                </c:pt>
              </c:numCache>
            </c:numRef>
          </c:val>
          <c:extLst>
            <c:ext xmlns:c16="http://schemas.microsoft.com/office/drawing/2014/chart" uri="{C3380CC4-5D6E-409C-BE32-E72D297353CC}">
              <c16:uniqueId val="{00000001-EE2C-455A-9954-7EB7248DE2C2}"/>
            </c:ext>
          </c:extLst>
        </c:ser>
        <c:dLbls>
          <c:showLegendKey val="0"/>
          <c:showVal val="0"/>
          <c:showCatName val="0"/>
          <c:showSerName val="0"/>
          <c:showPercent val="0"/>
          <c:showBubbleSize val="0"/>
        </c:dLbls>
        <c:axId val="21732416"/>
        <c:axId val="21734464"/>
      </c:radarChart>
      <c:catAx>
        <c:axId val="21732416"/>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0"/>
          <a:lstStyle/>
          <a:p>
            <a:pPr marL="0" defTabSz="0">
              <a:lnSpc>
                <a:spcPct val="100000"/>
              </a:lnSpc>
              <a:spcBef>
                <a:spcPts val="500"/>
              </a:spcBef>
              <a:spcAft>
                <a:spcPts val="500"/>
              </a:spcAft>
              <a:tabLst/>
              <a:defRPr sz="900" b="0" i="0" u="none" strike="noStrike" kern="1200" baseline="0">
                <a:solidFill>
                  <a:srgbClr val="53565A"/>
                </a:solidFill>
                <a:effectLst/>
                <a:latin typeface="+mn-lt"/>
                <a:ea typeface="+mn-ea"/>
                <a:cs typeface="+mn-cs"/>
              </a:defRPr>
            </a:pPr>
            <a:endParaRPr lang="en-US"/>
          </a:p>
        </c:txPr>
        <c:crossAx val="21734464"/>
        <c:crosses val="autoZero"/>
        <c:auto val="1"/>
        <c:lblAlgn val="ctr"/>
        <c:lblOffset val="100"/>
        <c:noMultiLvlLbl val="0"/>
      </c:catAx>
      <c:valAx>
        <c:axId val="217344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crossAx val="2173241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38504590499999"/>
          <c:y val="9.9166636193433202E-2"/>
          <c:w val="0.78756398194330601"/>
          <c:h val="0.81717898401498801"/>
        </c:manualLayout>
      </c:layout>
      <c:doughnutChart>
        <c:varyColors val="1"/>
        <c:ser>
          <c:idx val="0"/>
          <c:order val="0"/>
          <c:tx>
            <c:strRef>
              <c:f>Sheet1!$B$1</c:f>
              <c:strCache>
                <c:ptCount val="1"/>
                <c:pt idx="0">
                  <c:v>Q1</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01-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03-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05-33D8-4856-9C31-9FA277874691}"/>
              </c:ext>
            </c:extLst>
          </c:dPt>
          <c:dPt>
            <c:idx val="3"/>
            <c:bubble3D val="0"/>
            <c:spPr>
              <a:solidFill>
                <a:schemeClr val="accent2">
                  <a:lumMod val="60000"/>
                </a:schemeClr>
              </a:solidFill>
              <a:ln w="63500">
                <a:solidFill>
                  <a:schemeClr val="bg1"/>
                </a:solidFill>
              </a:ln>
              <a:effectLst/>
            </c:spPr>
            <c:extLst>
              <c:ext xmlns:c16="http://schemas.microsoft.com/office/drawing/2014/chart" uri="{C3380CC4-5D6E-409C-BE32-E72D297353CC}">
                <c16:uniqueId val="{00000007-33D8-4856-9C31-9FA277874691}"/>
              </c:ext>
            </c:extLst>
          </c:dPt>
          <c:dPt>
            <c:idx val="4"/>
            <c:bubble3D val="0"/>
            <c:spPr>
              <a:solidFill>
                <a:schemeClr val="accent4">
                  <a:lumMod val="60000"/>
                </a:schemeClr>
              </a:solidFill>
              <a:ln w="63500">
                <a:solidFill>
                  <a:schemeClr val="bg1"/>
                </a:solidFill>
              </a:ln>
              <a:effectLst/>
            </c:spPr>
            <c:extLst>
              <c:ext xmlns:c16="http://schemas.microsoft.com/office/drawing/2014/chart" uri="{C3380CC4-5D6E-409C-BE32-E72D297353CC}">
                <c16:uniqueId val="{00000009-33D8-4856-9C31-9FA277874691}"/>
              </c:ext>
            </c:extLst>
          </c:dPt>
          <c:dPt>
            <c:idx val="5"/>
            <c:bubble3D val="0"/>
            <c:spPr>
              <a:solidFill>
                <a:schemeClr val="accent6">
                  <a:lumMod val="60000"/>
                </a:schemeClr>
              </a:solidFill>
              <a:ln w="63500">
                <a:solidFill>
                  <a:schemeClr val="bg1"/>
                </a:solidFill>
              </a:ln>
              <a:effectLst/>
            </c:spPr>
            <c:extLst>
              <c:ext xmlns:c16="http://schemas.microsoft.com/office/drawing/2014/chart" uri="{C3380CC4-5D6E-409C-BE32-E72D297353CC}">
                <c16:uniqueId val="{0000000B-33D8-4856-9C31-9FA277874691}"/>
              </c:ext>
            </c:extLst>
          </c:dPt>
          <c:dPt>
            <c:idx val="6"/>
            <c:bubble3D val="0"/>
            <c:spPr>
              <a:solidFill>
                <a:schemeClr val="accent2">
                  <a:lumMod val="80000"/>
                  <a:lumOff val="20000"/>
                </a:schemeClr>
              </a:solidFill>
              <a:ln w="63500">
                <a:solidFill>
                  <a:schemeClr val="bg1"/>
                </a:solidFill>
              </a:ln>
              <a:effectLst/>
            </c:spPr>
            <c:extLst>
              <c:ext xmlns:c16="http://schemas.microsoft.com/office/drawing/2014/chart" uri="{C3380CC4-5D6E-409C-BE32-E72D297353CC}">
                <c16:uniqueId val="{0000000D-33D8-4856-9C31-9FA277874691}"/>
              </c:ext>
            </c:extLst>
          </c:dPt>
          <c:dPt>
            <c:idx val="7"/>
            <c:bubble3D val="0"/>
            <c:spPr>
              <a:solidFill>
                <a:schemeClr val="accent4">
                  <a:lumMod val="80000"/>
                  <a:lumOff val="20000"/>
                </a:schemeClr>
              </a:solidFill>
              <a:ln w="63500">
                <a:solidFill>
                  <a:schemeClr val="bg1"/>
                </a:solidFill>
              </a:ln>
              <a:effectLst/>
            </c:spPr>
            <c:extLst>
              <c:ext xmlns:c16="http://schemas.microsoft.com/office/drawing/2014/chart" uri="{C3380CC4-5D6E-409C-BE32-E72D297353CC}">
                <c16:uniqueId val="{0000000F-33D8-4856-9C31-9FA277874691}"/>
              </c:ext>
            </c:extLst>
          </c:dPt>
          <c:dPt>
            <c:idx val="8"/>
            <c:bubble3D val="0"/>
            <c:spPr>
              <a:solidFill>
                <a:schemeClr val="accent6">
                  <a:lumMod val="80000"/>
                  <a:lumOff val="20000"/>
                </a:schemeClr>
              </a:solidFill>
              <a:ln w="63500">
                <a:solidFill>
                  <a:schemeClr val="bg1"/>
                </a:solidFill>
              </a:ln>
              <a:effectLst/>
            </c:spPr>
            <c:extLst>
              <c:ext xmlns:c16="http://schemas.microsoft.com/office/drawing/2014/chart" uri="{C3380CC4-5D6E-409C-BE32-E72D297353CC}">
                <c16:uniqueId val="{00000011-33D8-4856-9C31-9FA277874691}"/>
              </c:ext>
            </c:extLst>
          </c:dPt>
          <c:cat>
            <c:strRef>
              <c:f>Sheet1!$A$2:$A$4</c:f>
              <c:strCache>
                <c:ptCount val="3"/>
                <c:pt idx="0">
                  <c:v> </c:v>
                </c:pt>
                <c:pt idx="1">
                  <c:v>Label A</c:v>
                </c:pt>
                <c:pt idx="2">
                  <c:v>Label A</c:v>
                </c:pt>
              </c:strCache>
            </c:strRef>
          </c:cat>
          <c:val>
            <c:numRef>
              <c:f>Sheet1!$B$2:$B$4</c:f>
              <c:numCache>
                <c:formatCode>General</c:formatCode>
                <c:ptCount val="3"/>
                <c:pt idx="0">
                  <c:v>0</c:v>
                </c:pt>
                <c:pt idx="1">
                  <c:v>90</c:v>
                </c:pt>
                <c:pt idx="2">
                  <c:v>100</c:v>
                </c:pt>
              </c:numCache>
            </c:numRef>
          </c:val>
          <c:extLst>
            <c:ext xmlns:c16="http://schemas.microsoft.com/office/drawing/2014/chart" uri="{C3380CC4-5D6E-409C-BE32-E72D297353CC}">
              <c16:uniqueId val="{00000012-33D8-4856-9C31-9FA277874691}"/>
            </c:ext>
          </c:extLst>
        </c:ser>
        <c:ser>
          <c:idx val="1"/>
          <c:order val="1"/>
          <c:tx>
            <c:strRef>
              <c:f>Sheet1!$C$1</c:f>
              <c:strCache>
                <c:ptCount val="1"/>
                <c:pt idx="0">
                  <c:v>Q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4-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16-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18-33D8-4856-9C31-9FA277874691}"/>
              </c:ext>
            </c:extLst>
          </c:dPt>
          <c:cat>
            <c:strRef>
              <c:f>Sheet1!$A$2:$A$4</c:f>
              <c:strCache>
                <c:ptCount val="3"/>
                <c:pt idx="0">
                  <c:v> </c:v>
                </c:pt>
                <c:pt idx="1">
                  <c:v>Label A</c:v>
                </c:pt>
                <c:pt idx="2">
                  <c:v>Label A</c:v>
                </c:pt>
              </c:strCache>
            </c:strRef>
          </c:cat>
          <c:val>
            <c:numRef>
              <c:f>Sheet1!$C$2:$C$4</c:f>
              <c:numCache>
                <c:formatCode>General</c:formatCode>
                <c:ptCount val="3"/>
                <c:pt idx="0">
                  <c:v>0</c:v>
                </c:pt>
                <c:pt idx="1">
                  <c:v>80</c:v>
                </c:pt>
                <c:pt idx="2">
                  <c:v>100</c:v>
                </c:pt>
              </c:numCache>
            </c:numRef>
          </c:val>
          <c:extLst>
            <c:ext xmlns:c16="http://schemas.microsoft.com/office/drawing/2014/chart" uri="{C3380CC4-5D6E-409C-BE32-E72D297353CC}">
              <c16:uniqueId val="{00000019-33D8-4856-9C31-9FA277874691}"/>
            </c:ext>
          </c:extLst>
        </c:ser>
        <c:ser>
          <c:idx val="2"/>
          <c:order val="2"/>
          <c:tx>
            <c:strRef>
              <c:f>Sheet1!$D$1</c:f>
              <c:strCache>
                <c:ptCount val="1"/>
                <c:pt idx="0">
                  <c:v>Q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1B-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1D-33D8-4856-9C31-9FA277874691}"/>
              </c:ext>
            </c:extLst>
          </c:dPt>
          <c:dPt>
            <c:idx val="2"/>
            <c:bubble3D val="0"/>
            <c:spPr>
              <a:solidFill>
                <a:schemeClr val="accent3"/>
              </a:solidFill>
              <a:ln w="63500">
                <a:solidFill>
                  <a:schemeClr val="bg1"/>
                </a:solidFill>
              </a:ln>
              <a:effectLst/>
            </c:spPr>
            <c:extLst>
              <c:ext xmlns:c16="http://schemas.microsoft.com/office/drawing/2014/chart" uri="{C3380CC4-5D6E-409C-BE32-E72D297353CC}">
                <c16:uniqueId val="{0000001F-33D8-4856-9C31-9FA277874691}"/>
              </c:ext>
            </c:extLst>
          </c:dPt>
          <c:cat>
            <c:strRef>
              <c:f>Sheet1!$A$2:$A$4</c:f>
              <c:strCache>
                <c:ptCount val="3"/>
                <c:pt idx="0">
                  <c:v> </c:v>
                </c:pt>
                <c:pt idx="1">
                  <c:v>Label A</c:v>
                </c:pt>
                <c:pt idx="2">
                  <c:v>Label A</c:v>
                </c:pt>
              </c:strCache>
            </c:strRef>
          </c:cat>
          <c:val>
            <c:numRef>
              <c:f>Sheet1!$D$2:$D$4</c:f>
              <c:numCache>
                <c:formatCode>General</c:formatCode>
                <c:ptCount val="3"/>
                <c:pt idx="0">
                  <c:v>0</c:v>
                </c:pt>
                <c:pt idx="1">
                  <c:v>70</c:v>
                </c:pt>
                <c:pt idx="2">
                  <c:v>100</c:v>
                </c:pt>
              </c:numCache>
            </c:numRef>
          </c:val>
          <c:extLst>
            <c:ext xmlns:c16="http://schemas.microsoft.com/office/drawing/2014/chart" uri="{C3380CC4-5D6E-409C-BE32-E72D297353CC}">
              <c16:uniqueId val="{00000020-33D8-4856-9C31-9FA277874691}"/>
            </c:ext>
          </c:extLst>
        </c:ser>
        <c:ser>
          <c:idx val="3"/>
          <c:order val="3"/>
          <c:tx>
            <c:strRef>
              <c:f>Sheet1!$E$1</c:f>
              <c:strCache>
                <c:ptCount val="1"/>
                <c:pt idx="0">
                  <c:v>Q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2-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24-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26-33D8-4856-9C31-9FA277874691}"/>
              </c:ext>
            </c:extLst>
          </c:dPt>
          <c:cat>
            <c:strRef>
              <c:f>Sheet1!$A$2:$A$4</c:f>
              <c:strCache>
                <c:ptCount val="3"/>
                <c:pt idx="0">
                  <c:v> </c:v>
                </c:pt>
                <c:pt idx="1">
                  <c:v>Label A</c:v>
                </c:pt>
                <c:pt idx="2">
                  <c:v>Label A</c:v>
                </c:pt>
              </c:strCache>
            </c:strRef>
          </c:cat>
          <c:val>
            <c:numRef>
              <c:f>Sheet1!$E$2:$E$4</c:f>
              <c:numCache>
                <c:formatCode>General</c:formatCode>
                <c:ptCount val="3"/>
                <c:pt idx="0">
                  <c:v>0</c:v>
                </c:pt>
                <c:pt idx="1">
                  <c:v>60</c:v>
                </c:pt>
                <c:pt idx="2">
                  <c:v>100</c:v>
                </c:pt>
              </c:numCache>
            </c:numRef>
          </c:val>
          <c:extLst>
            <c:ext xmlns:c16="http://schemas.microsoft.com/office/drawing/2014/chart" uri="{C3380CC4-5D6E-409C-BE32-E72D297353CC}">
              <c16:uniqueId val="{00000027-33D8-4856-9C31-9FA277874691}"/>
            </c:ext>
          </c:extLst>
        </c:ser>
        <c:ser>
          <c:idx val="4"/>
          <c:order val="4"/>
          <c:tx>
            <c:strRef>
              <c:f>Sheet1!$F$1</c:f>
              <c:strCache>
                <c:ptCount val="1"/>
                <c:pt idx="0">
                  <c:v>Q42</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29-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2B-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2D-33D8-4856-9C31-9FA277874691}"/>
              </c:ext>
            </c:extLst>
          </c:dPt>
          <c:cat>
            <c:strRef>
              <c:f>Sheet1!$A$2:$A$4</c:f>
              <c:strCache>
                <c:ptCount val="3"/>
                <c:pt idx="0">
                  <c:v> </c:v>
                </c:pt>
                <c:pt idx="1">
                  <c:v>Label A</c:v>
                </c:pt>
                <c:pt idx="2">
                  <c:v>Label A</c:v>
                </c:pt>
              </c:strCache>
            </c:strRef>
          </c:cat>
          <c:val>
            <c:numRef>
              <c:f>Sheet1!$F$2:$F$4</c:f>
              <c:numCache>
                <c:formatCode>General</c:formatCode>
                <c:ptCount val="3"/>
                <c:pt idx="0">
                  <c:v>0</c:v>
                </c:pt>
                <c:pt idx="1">
                  <c:v>50</c:v>
                </c:pt>
                <c:pt idx="2">
                  <c:v>100</c:v>
                </c:pt>
              </c:numCache>
            </c:numRef>
          </c:val>
          <c:extLst>
            <c:ext xmlns:c16="http://schemas.microsoft.com/office/drawing/2014/chart" uri="{C3380CC4-5D6E-409C-BE32-E72D297353CC}">
              <c16:uniqueId val="{0000002E-33D8-4856-9C31-9FA277874691}"/>
            </c:ext>
          </c:extLst>
        </c:ser>
        <c:ser>
          <c:idx val="5"/>
          <c:order val="5"/>
          <c:tx>
            <c:strRef>
              <c:f>Sheet1!$G$1</c:f>
              <c:strCache>
                <c:ptCount val="1"/>
                <c:pt idx="0">
                  <c:v>Q43</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0-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32-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34-33D8-4856-9C31-9FA277874691}"/>
              </c:ext>
            </c:extLst>
          </c:dPt>
          <c:cat>
            <c:strRef>
              <c:f>Sheet1!$A$2:$A$4</c:f>
              <c:strCache>
                <c:ptCount val="3"/>
                <c:pt idx="0">
                  <c:v> </c:v>
                </c:pt>
                <c:pt idx="1">
                  <c:v>Label A</c:v>
                </c:pt>
                <c:pt idx="2">
                  <c:v>Label A</c:v>
                </c:pt>
              </c:strCache>
            </c:strRef>
          </c:cat>
          <c:val>
            <c:numRef>
              <c:f>Sheet1!$G$2:$G$4</c:f>
              <c:numCache>
                <c:formatCode>General</c:formatCode>
                <c:ptCount val="3"/>
                <c:pt idx="0">
                  <c:v>0</c:v>
                </c:pt>
                <c:pt idx="1">
                  <c:v>40</c:v>
                </c:pt>
                <c:pt idx="2">
                  <c:v>100</c:v>
                </c:pt>
              </c:numCache>
            </c:numRef>
          </c:val>
          <c:extLst>
            <c:ext xmlns:c16="http://schemas.microsoft.com/office/drawing/2014/chart" uri="{C3380CC4-5D6E-409C-BE32-E72D297353CC}">
              <c16:uniqueId val="{00000035-33D8-4856-9C31-9FA277874691}"/>
            </c:ext>
          </c:extLst>
        </c:ser>
        <c:ser>
          <c:idx val="6"/>
          <c:order val="6"/>
          <c:tx>
            <c:strRef>
              <c:f>Sheet1!$H$1</c:f>
              <c:strCache>
                <c:ptCount val="1"/>
                <c:pt idx="0">
                  <c:v>Q44</c:v>
                </c:pt>
              </c:strCache>
            </c:strRef>
          </c:tx>
          <c:spPr>
            <a:ln w="63500">
              <a:solidFill>
                <a:schemeClr val="bg1"/>
              </a:solidFill>
            </a:ln>
          </c:spPr>
          <c:dPt>
            <c:idx val="0"/>
            <c:bubble3D val="0"/>
            <c:spPr>
              <a:solidFill>
                <a:schemeClr val="accent2"/>
              </a:solidFill>
              <a:ln w="63500">
                <a:solidFill>
                  <a:schemeClr val="bg1"/>
                </a:solidFill>
              </a:ln>
              <a:effectLst/>
            </c:spPr>
            <c:extLst>
              <c:ext xmlns:c16="http://schemas.microsoft.com/office/drawing/2014/chart" uri="{C3380CC4-5D6E-409C-BE32-E72D297353CC}">
                <c16:uniqueId val="{00000037-33D8-4856-9C31-9FA277874691}"/>
              </c:ext>
            </c:extLst>
          </c:dPt>
          <c:dPt>
            <c:idx val="1"/>
            <c:bubble3D val="0"/>
            <c:spPr>
              <a:noFill/>
              <a:ln w="63500">
                <a:solidFill>
                  <a:schemeClr val="bg1"/>
                </a:solidFill>
              </a:ln>
              <a:effectLst/>
            </c:spPr>
            <c:extLst>
              <c:ext xmlns:c16="http://schemas.microsoft.com/office/drawing/2014/chart" uri="{C3380CC4-5D6E-409C-BE32-E72D297353CC}">
                <c16:uniqueId val="{00000039-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3B-33D8-4856-9C31-9FA277874691}"/>
              </c:ext>
            </c:extLst>
          </c:dPt>
          <c:cat>
            <c:strRef>
              <c:f>Sheet1!$A$2:$A$4</c:f>
              <c:strCache>
                <c:ptCount val="3"/>
                <c:pt idx="0">
                  <c:v> </c:v>
                </c:pt>
                <c:pt idx="1">
                  <c:v>Label A</c:v>
                </c:pt>
                <c:pt idx="2">
                  <c:v>Label A</c:v>
                </c:pt>
              </c:strCache>
            </c:strRef>
          </c:cat>
          <c:val>
            <c:numRef>
              <c:f>Sheet1!$H$2:$H$4</c:f>
              <c:numCache>
                <c:formatCode>General</c:formatCode>
                <c:ptCount val="3"/>
                <c:pt idx="0">
                  <c:v>0</c:v>
                </c:pt>
                <c:pt idx="1">
                  <c:v>30</c:v>
                </c:pt>
                <c:pt idx="2">
                  <c:v>100</c:v>
                </c:pt>
              </c:numCache>
            </c:numRef>
          </c:val>
          <c:extLst>
            <c:ext xmlns:c16="http://schemas.microsoft.com/office/drawing/2014/chart" uri="{C3380CC4-5D6E-409C-BE32-E72D297353CC}">
              <c16:uniqueId val="{0000003C-33D8-4856-9C31-9FA277874691}"/>
            </c:ext>
          </c:extLst>
        </c:ser>
        <c:ser>
          <c:idx val="7"/>
          <c:order val="7"/>
          <c:tx>
            <c:strRef>
              <c:f>Sheet1!$I$1</c:f>
              <c:strCache>
                <c:ptCount val="1"/>
                <c:pt idx="0">
                  <c:v>Q45</c:v>
                </c:pt>
              </c:strCache>
            </c:strRef>
          </c:tx>
          <c:spPr>
            <a:ln>
              <a:solidFill>
                <a:schemeClr val="bg1"/>
              </a:solidFill>
            </a:ln>
          </c:spPr>
          <c:dPt>
            <c:idx val="0"/>
            <c:bubble3D val="0"/>
            <c:spPr>
              <a:solidFill>
                <a:schemeClr val="accent2"/>
              </a:solidFill>
              <a:ln>
                <a:solidFill>
                  <a:schemeClr val="bg1"/>
                </a:solidFill>
              </a:ln>
              <a:effectLst/>
            </c:spPr>
            <c:extLst>
              <c:ext xmlns:c16="http://schemas.microsoft.com/office/drawing/2014/chart" uri="{C3380CC4-5D6E-409C-BE32-E72D297353CC}">
                <c16:uniqueId val="{0000003E-33D8-4856-9C31-9FA277874691}"/>
              </c:ext>
            </c:extLst>
          </c:dPt>
          <c:dPt>
            <c:idx val="1"/>
            <c:bubble3D val="0"/>
            <c:spPr>
              <a:noFill/>
              <a:ln>
                <a:solidFill>
                  <a:schemeClr val="bg1"/>
                </a:solidFill>
              </a:ln>
              <a:effectLst/>
            </c:spPr>
            <c:extLst>
              <c:ext xmlns:c16="http://schemas.microsoft.com/office/drawing/2014/chart" uri="{C3380CC4-5D6E-409C-BE32-E72D297353CC}">
                <c16:uniqueId val="{00000040-33D8-4856-9C31-9FA277874691}"/>
              </c:ext>
            </c:extLst>
          </c:dPt>
          <c:dPt>
            <c:idx val="2"/>
            <c:bubble3D val="0"/>
            <c:spPr>
              <a:solidFill>
                <a:srgbClr val="DDEFE8"/>
              </a:solidFill>
              <a:ln w="63500">
                <a:solidFill>
                  <a:schemeClr val="bg1"/>
                </a:solidFill>
              </a:ln>
              <a:effectLst/>
            </c:spPr>
            <c:extLst>
              <c:ext xmlns:c16="http://schemas.microsoft.com/office/drawing/2014/chart" uri="{C3380CC4-5D6E-409C-BE32-E72D297353CC}">
                <c16:uniqueId val="{00000042-33D8-4856-9C31-9FA277874691}"/>
              </c:ext>
            </c:extLst>
          </c:dPt>
          <c:cat>
            <c:strRef>
              <c:f>Sheet1!$A$2:$A$4</c:f>
              <c:strCache>
                <c:ptCount val="3"/>
                <c:pt idx="0">
                  <c:v> </c:v>
                </c:pt>
                <c:pt idx="1">
                  <c:v>Label A</c:v>
                </c:pt>
                <c:pt idx="2">
                  <c:v>Label A</c:v>
                </c:pt>
              </c:strCache>
            </c:strRef>
          </c:cat>
          <c:val>
            <c:numRef>
              <c:f>Sheet1!$I$2:$I$4</c:f>
              <c:numCache>
                <c:formatCode>General</c:formatCode>
                <c:ptCount val="3"/>
                <c:pt idx="0">
                  <c:v>0</c:v>
                </c:pt>
                <c:pt idx="1">
                  <c:v>20</c:v>
                </c:pt>
                <c:pt idx="2">
                  <c:v>100</c:v>
                </c:pt>
              </c:numCache>
            </c:numRef>
          </c:val>
          <c:extLst>
            <c:ext xmlns:c16="http://schemas.microsoft.com/office/drawing/2014/chart" uri="{C3380CC4-5D6E-409C-BE32-E72D297353CC}">
              <c16:uniqueId val="{00000043-33D8-4856-9C31-9FA277874691}"/>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showDLblsOverMax val="0"/>
  </c:chart>
  <c:spPr>
    <a:noFill/>
    <a:ln w="9525" cap="flat" cmpd="sng" algn="ctr">
      <a:noFill/>
      <a:prstDash val="solid"/>
    </a:ln>
    <a:effectLst/>
  </c:spPr>
  <c:txPr>
    <a:bodyPr/>
    <a:lstStyle/>
    <a:p>
      <a:pPr>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73605736569098E-2"/>
          <c:y val="9.5796999827576307E-2"/>
          <c:w val="0.93440271505400496"/>
          <c:h val="0.72931524800275904"/>
        </c:manualLayout>
      </c:layout>
      <c:lineChart>
        <c:grouping val="standard"/>
        <c:varyColors val="0"/>
        <c:ser>
          <c:idx val="0"/>
          <c:order val="0"/>
          <c:tx>
            <c:strRef>
              <c:f>Sheet1!$B$1</c:f>
              <c:strCache>
                <c:ptCount val="1"/>
                <c:pt idx="0">
                  <c:v>Construction</c:v>
                </c:pt>
              </c:strCache>
            </c:strRef>
          </c:tx>
          <c:spPr>
            <a:ln w="28575" cap="rnd">
              <a:solidFill>
                <a:schemeClr val="accent1"/>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38</c:v>
                </c:pt>
                <c:pt idx="1">
                  <c:v>46</c:v>
                </c:pt>
                <c:pt idx="2">
                  <c:v>48</c:v>
                </c:pt>
                <c:pt idx="3">
                  <c:v>68</c:v>
                </c:pt>
                <c:pt idx="4">
                  <c:v>50</c:v>
                </c:pt>
                <c:pt idx="5">
                  <c:v>49</c:v>
                </c:pt>
                <c:pt idx="6">
                  <c:v>48</c:v>
                </c:pt>
                <c:pt idx="7">
                  <c:v>57</c:v>
                </c:pt>
                <c:pt idx="8">
                  <c:v>52</c:v>
                </c:pt>
                <c:pt idx="9">
                  <c:v>87</c:v>
                </c:pt>
                <c:pt idx="10">
                  <c:v>85</c:v>
                </c:pt>
                <c:pt idx="11">
                  <c:v>82</c:v>
                </c:pt>
              </c:numCache>
            </c:numRef>
          </c:val>
          <c:smooth val="0"/>
          <c:extLst>
            <c:ext xmlns:c16="http://schemas.microsoft.com/office/drawing/2014/chart" uri="{C3380CC4-5D6E-409C-BE32-E72D297353CC}">
              <c16:uniqueId val="{00000000-24BB-4E2E-A74B-C14A9A4645C3}"/>
            </c:ext>
          </c:extLst>
        </c:ser>
        <c:ser>
          <c:idx val="1"/>
          <c:order val="1"/>
          <c:tx>
            <c:strRef>
              <c:f>Sheet1!$C$1</c:f>
              <c:strCache>
                <c:ptCount val="1"/>
                <c:pt idx="0">
                  <c:v>Financial Services</c:v>
                </c:pt>
              </c:strCache>
            </c:strRef>
          </c:tx>
          <c:spPr>
            <a:ln w="28575" cap="rnd">
              <a:solidFill>
                <a:schemeClr val="accent2"/>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20</c:v>
                </c:pt>
                <c:pt idx="1">
                  <c:v>23</c:v>
                </c:pt>
                <c:pt idx="2">
                  <c:v>28</c:v>
                </c:pt>
                <c:pt idx="3">
                  <c:v>21</c:v>
                </c:pt>
                <c:pt idx="4">
                  <c:v>30</c:v>
                </c:pt>
                <c:pt idx="5">
                  <c:v>28</c:v>
                </c:pt>
                <c:pt idx="6">
                  <c:v>26</c:v>
                </c:pt>
                <c:pt idx="7">
                  <c:v>40</c:v>
                </c:pt>
                <c:pt idx="8">
                  <c:v>32</c:v>
                </c:pt>
                <c:pt idx="9">
                  <c:v>38</c:v>
                </c:pt>
                <c:pt idx="10">
                  <c:v>37</c:v>
                </c:pt>
                <c:pt idx="11">
                  <c:v>36</c:v>
                </c:pt>
              </c:numCache>
            </c:numRef>
          </c:val>
          <c:smooth val="0"/>
          <c:extLst>
            <c:ext xmlns:c16="http://schemas.microsoft.com/office/drawing/2014/chart" uri="{C3380CC4-5D6E-409C-BE32-E72D297353CC}">
              <c16:uniqueId val="{00000001-24BB-4E2E-A74B-C14A9A4645C3}"/>
            </c:ext>
          </c:extLst>
        </c:ser>
        <c:ser>
          <c:idx val="2"/>
          <c:order val="2"/>
          <c:tx>
            <c:strRef>
              <c:f>Sheet1!$D$1</c:f>
              <c:strCache>
                <c:ptCount val="1"/>
                <c:pt idx="0">
                  <c:v>Healthcare</c:v>
                </c:pt>
              </c:strCache>
            </c:strRef>
          </c:tx>
          <c:spPr>
            <a:ln w="28575" cap="rnd">
              <a:solidFill>
                <a:schemeClr val="accent3"/>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General</c:formatCode>
                <c:ptCount val="12"/>
                <c:pt idx="0">
                  <c:v>18</c:v>
                </c:pt>
                <c:pt idx="1">
                  <c:v>25</c:v>
                </c:pt>
                <c:pt idx="2">
                  <c:v>34</c:v>
                </c:pt>
                <c:pt idx="3">
                  <c:v>97</c:v>
                </c:pt>
                <c:pt idx="4">
                  <c:v>40</c:v>
                </c:pt>
                <c:pt idx="5">
                  <c:v>37</c:v>
                </c:pt>
                <c:pt idx="6">
                  <c:v>36</c:v>
                </c:pt>
                <c:pt idx="7">
                  <c:v>60</c:v>
                </c:pt>
                <c:pt idx="8">
                  <c:v>39</c:v>
                </c:pt>
                <c:pt idx="9">
                  <c:v>44</c:v>
                </c:pt>
                <c:pt idx="10">
                  <c:v>61</c:v>
                </c:pt>
                <c:pt idx="11">
                  <c:v>62</c:v>
                </c:pt>
              </c:numCache>
            </c:numRef>
          </c:val>
          <c:smooth val="0"/>
          <c:extLst>
            <c:ext xmlns:c16="http://schemas.microsoft.com/office/drawing/2014/chart" uri="{C3380CC4-5D6E-409C-BE32-E72D297353CC}">
              <c16:uniqueId val="{00000002-24BB-4E2E-A74B-C14A9A4645C3}"/>
            </c:ext>
          </c:extLst>
        </c:ser>
        <c:ser>
          <c:idx val="3"/>
          <c:order val="3"/>
          <c:tx>
            <c:strRef>
              <c:f>Sheet1!$E$1</c:f>
              <c:strCache>
                <c:ptCount val="1"/>
                <c:pt idx="0">
                  <c:v>Transportation</c:v>
                </c:pt>
              </c:strCache>
            </c:strRef>
          </c:tx>
          <c:spPr>
            <a:ln w="28575"/>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General</c:formatCode>
                <c:ptCount val="12"/>
                <c:pt idx="0">
                  <c:v>14</c:v>
                </c:pt>
                <c:pt idx="1">
                  <c:v>16</c:v>
                </c:pt>
                <c:pt idx="2">
                  <c:v>18</c:v>
                </c:pt>
                <c:pt idx="3">
                  <c:v>10</c:v>
                </c:pt>
                <c:pt idx="4">
                  <c:v>18</c:v>
                </c:pt>
                <c:pt idx="5">
                  <c:v>20</c:v>
                </c:pt>
                <c:pt idx="6">
                  <c:v>24</c:v>
                </c:pt>
                <c:pt idx="7">
                  <c:v>26</c:v>
                </c:pt>
                <c:pt idx="8">
                  <c:v>24</c:v>
                </c:pt>
                <c:pt idx="9">
                  <c:v>30</c:v>
                </c:pt>
                <c:pt idx="10">
                  <c:v>17</c:v>
                </c:pt>
                <c:pt idx="11">
                  <c:v>19</c:v>
                </c:pt>
              </c:numCache>
            </c:numRef>
          </c:val>
          <c:smooth val="0"/>
          <c:extLst>
            <c:ext xmlns:c16="http://schemas.microsoft.com/office/drawing/2014/chart" uri="{C3380CC4-5D6E-409C-BE32-E72D297353CC}">
              <c16:uniqueId val="{00000003-24BB-4E2E-A74B-C14A9A4645C3}"/>
            </c:ext>
          </c:extLst>
        </c:ser>
        <c:dLbls>
          <c:showLegendKey val="0"/>
          <c:showVal val="0"/>
          <c:showCatName val="0"/>
          <c:showSerName val="0"/>
          <c:showPercent val="0"/>
          <c:showBubbleSize val="0"/>
        </c:dLbls>
        <c:smooth val="0"/>
        <c:axId val="316290632"/>
        <c:axId val="316289456"/>
      </c:lineChart>
      <c:catAx>
        <c:axId val="316290632"/>
        <c:scaling>
          <c:orientation val="minMax"/>
        </c:scaling>
        <c:delete val="0"/>
        <c:axPos val="b"/>
        <c:numFmt formatCode="General" sourceLinked="1"/>
        <c:majorTickMark val="none"/>
        <c:minorTickMark val="out"/>
        <c:tickLblPos val="nextTo"/>
        <c:spPr>
          <a:noFill/>
          <a:ln w="3175" cap="flat" cmpd="sng" algn="ctr">
            <a:solidFill>
              <a:schemeClr val="tx2"/>
            </a:solidFill>
            <a:round/>
          </a:ln>
          <a:effectLst/>
        </c:spPr>
        <c:txPr>
          <a:bodyPr rot="-60000000" vert="horz"/>
          <a:lstStyle/>
          <a:p>
            <a:pPr>
              <a:defRPr>
                <a:solidFill>
                  <a:schemeClr val="tx1"/>
                </a:solidFill>
              </a:defRPr>
            </a:pPr>
            <a:endParaRPr lang="en-US"/>
          </a:p>
        </c:txPr>
        <c:crossAx val="316289456"/>
        <c:crosses val="autoZero"/>
        <c:auto val="1"/>
        <c:lblAlgn val="ctr"/>
        <c:lblOffset val="100"/>
        <c:noMultiLvlLbl val="0"/>
      </c:catAx>
      <c:valAx>
        <c:axId val="316289456"/>
        <c:scaling>
          <c:orientation val="minMax"/>
        </c:scaling>
        <c:delete val="0"/>
        <c:axPos val="l"/>
        <c:majorGridlines>
          <c:spPr>
            <a:ln w="317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vert="horz"/>
          <a:lstStyle/>
          <a:p>
            <a:pPr>
              <a:defRPr>
                <a:solidFill>
                  <a:schemeClr val="tx1"/>
                </a:solidFill>
              </a:defRPr>
            </a:pPr>
            <a:endParaRPr lang="en-US"/>
          </a:p>
        </c:txPr>
        <c:crossAx val="316290632"/>
        <c:crosses val="autoZero"/>
        <c:crossBetween val="between"/>
      </c:valAx>
      <c:spPr>
        <a:noFill/>
        <a:ln>
          <a:noFill/>
        </a:ln>
        <a:effectLst/>
      </c:spPr>
    </c:plotArea>
    <c:legend>
      <c:legendPos val="b"/>
      <c:overlay val="0"/>
      <c:spPr>
        <a:noFill/>
        <a:ln>
          <a:noFill/>
        </a:ln>
        <a:effectLst/>
      </c:spPr>
      <c:txPr>
        <a:bodyPr rot="0" vert="horz"/>
        <a:lstStyle/>
        <a:p>
          <a:pPr>
            <a:defRPr sz="1100">
              <a:solidFill>
                <a:schemeClr val="tx1"/>
              </a:solidFill>
            </a:defRPr>
          </a:pPr>
          <a:endParaRPr lang="en-US"/>
        </a:p>
      </c:txPr>
    </c:legend>
    <c:plotVisOnly val="1"/>
    <c:dispBlanksAs val="gap"/>
    <c:showDLblsOverMax val="0"/>
  </c:chart>
  <c:spPr>
    <a:noFill/>
    <a:ln>
      <a:noFill/>
    </a:ln>
    <a:effectLst/>
  </c:spPr>
  <c:txPr>
    <a:bodyPr/>
    <a:lstStyle/>
    <a:p>
      <a:pPr>
        <a:defRPr sz="900">
          <a:solidFill>
            <a:schemeClr val="accent6"/>
          </a:solidFill>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6604909680401E-2"/>
          <c:y val="3.97666312872944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Line 2</c:v>
                </c:pt>
              </c:strCache>
            </c:strRef>
          </c:tx>
          <c:spPr>
            <a:ln w="28575" cap="rnd">
              <a:solidFill>
                <a:schemeClr val="bg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Line 3</c:v>
                </c:pt>
              </c:strCache>
            </c:strRef>
          </c:tx>
          <c:spPr>
            <a:ln w="28575" cap="rnd">
              <a:solidFill>
                <a:schemeClr val="tx2">
                  <a:lumMod val="40000"/>
                  <a:lumOff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Line 4</c:v>
                </c:pt>
              </c:strCache>
            </c:strRef>
          </c:tx>
          <c:spPr>
            <a:ln w="28575" cap="rnd">
              <a:solidFill>
                <a:schemeClr val="bg1">
                  <a:lumMod val="75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Line 5</c:v>
                </c:pt>
              </c:strCache>
            </c:strRef>
          </c:tx>
          <c:spPr>
            <a:ln w="28575" cap="rnd">
              <a:solidFill>
                <a:schemeClr val="bg1">
                  <a:lumMod val="65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Line 6</c:v>
                </c:pt>
              </c:strCache>
            </c:strRef>
          </c:tx>
          <c:spPr>
            <a:ln w="28575" cap="rnd">
              <a:solidFill>
                <a:schemeClr val="bg1">
                  <a:lumMod val="5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Line 7</c:v>
                </c:pt>
              </c:strCache>
            </c:strRef>
          </c:tx>
          <c:spPr>
            <a:ln w="28575" cap="rnd">
              <a:solidFill>
                <a:schemeClr val="tx2">
                  <a:lumMod val="60000"/>
                  <a:lumOff val="4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120861312"/>
        <c:axId val="21656192"/>
      </c:lineChart>
      <c:catAx>
        <c:axId val="-120861312"/>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21656192"/>
        <c:crosses val="autoZero"/>
        <c:auto val="1"/>
        <c:lblAlgn val="ctr"/>
        <c:lblOffset val="100"/>
        <c:noMultiLvlLbl val="0"/>
      </c:catAx>
      <c:valAx>
        <c:axId val="21656192"/>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20861312"/>
        <c:crosses val="autoZero"/>
        <c:crossBetween val="between"/>
      </c:valAx>
      <c:spPr>
        <a:noFill/>
        <a:ln>
          <a:noFill/>
        </a:ln>
        <a:effectLst/>
      </c:spPr>
    </c:plotArea>
    <c:legend>
      <c:legendPos val="b"/>
      <c:layout>
        <c:manualLayout>
          <c:xMode val="edge"/>
          <c:yMode val="edge"/>
          <c:x val="7.7266001527233605E-2"/>
          <c:y val="0.89050030069546604"/>
          <c:w val="0.85188066187421596"/>
          <c:h val="7.7377429502657302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6389-4923-986E-D0388C2DEFEE}"/>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6389-4923-986E-D0388C2DEFEE}"/>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6389-4923-986E-D0388C2DEFEE}"/>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6389-4923-986E-D0388C2DEFEE}"/>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6389-4923-986E-D0388C2DEFEE}"/>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6389-4923-986E-D0388C2DEFEE}"/>
            </c:ext>
          </c:extLst>
        </c:ser>
        <c:dLbls>
          <c:dLblPos val="outEnd"/>
          <c:showLegendKey val="0"/>
          <c:showVal val="1"/>
          <c:showCatName val="0"/>
          <c:showSerName val="0"/>
          <c:showPercent val="0"/>
          <c:showBubbleSize val="0"/>
        </c:dLbls>
        <c:gapWidth val="150"/>
        <c:axId val="19871104"/>
        <c:axId val="123425568"/>
      </c:barChart>
      <c:catAx>
        <c:axId val="19871104"/>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23425568"/>
        <c:crosses val="autoZero"/>
        <c:auto val="1"/>
        <c:lblAlgn val="ctr"/>
        <c:lblOffset val="100"/>
        <c:noMultiLvlLbl val="0"/>
      </c:catAx>
      <c:valAx>
        <c:axId val="12342556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987110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0827077783790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6604909680401E-2"/>
          <c:y val="3.97666312872944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1"/>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Line 2</c:v>
                </c:pt>
              </c:strCache>
            </c:strRef>
          </c:tx>
          <c:spPr>
            <a:ln w="28575" cap="rnd">
              <a:solidFill>
                <a:schemeClr val="accent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Line 3</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Line 4</c:v>
                </c:pt>
              </c:strCache>
            </c:strRef>
          </c:tx>
          <c:spPr>
            <a:ln w="28575" cap="rnd">
              <a:solidFill>
                <a:schemeClr val="accent4"/>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Line 5</c:v>
                </c:pt>
              </c:strCache>
            </c:strRef>
          </c:tx>
          <c:spPr>
            <a:ln w="28575" cap="rnd">
              <a:solidFill>
                <a:schemeClr val="accent5"/>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Line 6</c:v>
                </c:pt>
              </c:strCache>
            </c:strRef>
          </c:tx>
          <c:spPr>
            <a:ln w="28575" cap="rnd">
              <a:solidFill>
                <a:schemeClr val="accent6"/>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Line 7</c:v>
                </c:pt>
              </c:strCache>
            </c:strRef>
          </c:tx>
          <c:spPr>
            <a:ln w="28575" cap="rnd">
              <a:solidFill>
                <a:schemeClr val="accent1">
                  <a:lumMod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110462928"/>
        <c:axId val="110219568"/>
      </c:lineChart>
      <c:catAx>
        <c:axId val="110462928"/>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0219568"/>
        <c:crosses val="autoZero"/>
        <c:auto val="1"/>
        <c:lblAlgn val="ctr"/>
        <c:lblOffset val="100"/>
        <c:noMultiLvlLbl val="0"/>
      </c:catAx>
      <c:valAx>
        <c:axId val="110219568"/>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n-US"/>
          </a:p>
        </c:txPr>
        <c:crossAx val="110462928"/>
        <c:crosses val="autoZero"/>
        <c:crossBetween val="between"/>
      </c:valAx>
      <c:spPr>
        <a:noFill/>
        <a:ln>
          <a:noFill/>
        </a:ln>
        <a:effectLst/>
      </c:spPr>
    </c:plotArea>
    <c:legend>
      <c:legendPos val="b"/>
      <c:layout>
        <c:manualLayout>
          <c:xMode val="edge"/>
          <c:yMode val="edge"/>
          <c:x val="7.7265911028637405E-2"/>
          <c:y val="0.89050030069546604"/>
          <c:w val="0.85188066187421596"/>
          <c:h val="7.7377429502657302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3565A"/>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225859185980198E-2"/>
          <c:y val="1.7518014411529201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1"/>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E98E-4839-AA67-7CA25B0AF6CA}"/>
            </c:ext>
          </c:extLst>
        </c:ser>
        <c:ser>
          <c:idx val="1"/>
          <c:order val="1"/>
          <c:tx>
            <c:strRef>
              <c:f>Sheet1!$A$3</c:f>
              <c:strCache>
                <c:ptCount val="1"/>
                <c:pt idx="0">
                  <c:v>Line 2</c:v>
                </c:pt>
              </c:strCache>
            </c:strRef>
          </c:tx>
          <c:spPr>
            <a:ln w="28575" cap="rnd">
              <a:solidFill>
                <a:schemeClr val="accent2"/>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E98E-4839-AA67-7CA25B0AF6CA}"/>
            </c:ext>
          </c:extLst>
        </c:ser>
        <c:ser>
          <c:idx val="2"/>
          <c:order val="2"/>
          <c:tx>
            <c:strRef>
              <c:f>Sheet1!$A$4</c:f>
              <c:strCache>
                <c:ptCount val="1"/>
                <c:pt idx="0">
                  <c:v>Line 3</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E98E-4839-AA67-7CA25B0AF6CA}"/>
            </c:ext>
          </c:extLst>
        </c:ser>
        <c:ser>
          <c:idx val="3"/>
          <c:order val="3"/>
          <c:tx>
            <c:strRef>
              <c:f>Sheet1!$A$5</c:f>
              <c:strCache>
                <c:ptCount val="1"/>
                <c:pt idx="0">
                  <c:v>Line 4</c:v>
                </c:pt>
              </c:strCache>
            </c:strRef>
          </c:tx>
          <c:spPr>
            <a:ln w="28575" cap="rnd">
              <a:solidFill>
                <a:schemeClr val="accent4"/>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E98E-4839-AA67-7CA25B0AF6CA}"/>
            </c:ext>
          </c:extLst>
        </c:ser>
        <c:ser>
          <c:idx val="4"/>
          <c:order val="4"/>
          <c:tx>
            <c:strRef>
              <c:f>Sheet1!$A$6</c:f>
              <c:strCache>
                <c:ptCount val="1"/>
                <c:pt idx="0">
                  <c:v>Line 5</c:v>
                </c:pt>
              </c:strCache>
            </c:strRef>
          </c:tx>
          <c:spPr>
            <a:ln w="28575" cap="rnd">
              <a:solidFill>
                <a:schemeClr val="accent5"/>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E98E-4839-AA67-7CA25B0AF6CA}"/>
            </c:ext>
          </c:extLst>
        </c:ser>
        <c:ser>
          <c:idx val="5"/>
          <c:order val="5"/>
          <c:tx>
            <c:strRef>
              <c:f>Sheet1!$A$7</c:f>
              <c:strCache>
                <c:ptCount val="1"/>
                <c:pt idx="0">
                  <c:v>Line 6</c:v>
                </c:pt>
              </c:strCache>
            </c:strRef>
          </c:tx>
          <c:spPr>
            <a:ln w="28575" cap="rnd">
              <a:solidFill>
                <a:schemeClr val="accent6"/>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E98E-4839-AA67-7CA25B0AF6CA}"/>
            </c:ext>
          </c:extLst>
        </c:ser>
        <c:ser>
          <c:idx val="6"/>
          <c:order val="6"/>
          <c:tx>
            <c:strRef>
              <c:f>Sheet1!$A$8</c:f>
              <c:strCache>
                <c:ptCount val="1"/>
                <c:pt idx="0">
                  <c:v>Line 7</c:v>
                </c:pt>
              </c:strCache>
            </c:strRef>
          </c:tx>
          <c:spPr>
            <a:ln w="28575" cap="rnd">
              <a:solidFill>
                <a:schemeClr val="accent1">
                  <a:lumMod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E98E-4839-AA67-7CA25B0AF6CA}"/>
            </c:ext>
          </c:extLst>
        </c:ser>
        <c:dLbls>
          <c:showLegendKey val="0"/>
          <c:showVal val="0"/>
          <c:showCatName val="0"/>
          <c:showSerName val="0"/>
          <c:showPercent val="0"/>
          <c:showBubbleSize val="0"/>
        </c:dLbls>
        <c:smooth val="0"/>
        <c:axId val="316291024"/>
        <c:axId val="317436952"/>
      </c:lineChart>
      <c:catAx>
        <c:axId val="316291024"/>
        <c:scaling>
          <c:orientation val="minMax"/>
        </c:scaling>
        <c:delete val="0"/>
        <c:axPos val="b"/>
        <c:numFmt formatCode="General" sourceLinked="1"/>
        <c:majorTickMark val="none"/>
        <c:minorTickMark val="none"/>
        <c:tickLblPos val="nextTo"/>
        <c:spPr>
          <a:noFill/>
          <a:ln w="3175" cap="flat" cmpd="sng" algn="ctr">
            <a:solidFill>
              <a:schemeClr val="tx2"/>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j-lt"/>
                <a:ea typeface="+mn-ea"/>
                <a:cs typeface="+mn-cs"/>
              </a:defRPr>
            </a:pPr>
            <a:endParaRPr lang="en-US"/>
          </a:p>
        </c:txPr>
        <c:crossAx val="317436952"/>
        <c:crosses val="autoZero"/>
        <c:auto val="1"/>
        <c:lblAlgn val="ctr"/>
        <c:lblOffset val="100"/>
        <c:noMultiLvlLbl val="0"/>
      </c:catAx>
      <c:valAx>
        <c:axId val="317436952"/>
        <c:scaling>
          <c:orientation val="minMax"/>
        </c:scaling>
        <c:delete val="0"/>
        <c:axPos val="l"/>
        <c:majorGridlines>
          <c:spPr>
            <a:ln w="317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91024"/>
        <c:crosses val="autoZero"/>
        <c:crossBetween val="between"/>
      </c:valAx>
      <c:spPr>
        <a:noFill/>
        <a:ln>
          <a:noFill/>
        </a:ln>
        <a:effectLst/>
      </c:spPr>
    </c:plotArea>
    <c:legend>
      <c:legendPos val="b"/>
      <c:layout>
        <c:manualLayout>
          <c:xMode val="edge"/>
          <c:yMode val="edge"/>
          <c:x val="7.7265955247066698E-2"/>
          <c:y val="0.87778670180238705"/>
          <c:w val="0.85188066187421596"/>
          <c:h val="7.737742950265730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394248959515702E-2"/>
          <c:y val="5.8252102666092799E-2"/>
          <c:w val="0.94721150208096805"/>
          <c:h val="0.73712944204417896"/>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48EE-4119-8012-483F137AD0AE}"/>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48EE-4119-8012-483F137AD0AE}"/>
            </c:ext>
          </c:extLst>
        </c:ser>
        <c:ser>
          <c:idx val="2"/>
          <c:order val="2"/>
          <c:tx>
            <c:strRef>
              <c:f>Sheet1!$A$4</c:f>
              <c:strCache>
                <c:ptCount val="1"/>
                <c:pt idx="0">
                  <c:v>Line 3</c:v>
                </c:pt>
              </c:strCache>
            </c:strRef>
          </c:tx>
          <c:spPr>
            <a:ln w="28575">
              <a:solidFill>
                <a:schemeClr val="hlink"/>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48EE-4119-8012-483F137AD0AE}"/>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48EE-4119-8012-483F137AD0AE}"/>
            </c:ext>
          </c:extLst>
        </c:ser>
        <c:ser>
          <c:idx val="4"/>
          <c:order val="4"/>
          <c:tx>
            <c:strRef>
              <c:f>Sheet1!$A$6</c:f>
              <c:strCache>
                <c:ptCount val="1"/>
                <c:pt idx="0">
                  <c:v>Line 5</c:v>
                </c:pt>
              </c:strCache>
            </c:strRef>
          </c:tx>
          <c:spPr>
            <a:ln w="28575">
              <a:solidFill>
                <a:schemeClr val="folHlink"/>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48EE-4119-8012-483F137AD0AE}"/>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48EE-4119-8012-483F137AD0AE}"/>
            </c:ext>
          </c:extLst>
        </c:ser>
        <c:ser>
          <c:idx val="6"/>
          <c:order val="6"/>
          <c:tx>
            <c:strRef>
              <c:f>Sheet1!$A$8</c:f>
              <c:strCache>
                <c:ptCount val="1"/>
                <c:pt idx="0">
                  <c:v>Line 7</c:v>
                </c:pt>
              </c:strCache>
            </c:strRef>
          </c:tx>
          <c:spPr>
            <a:ln w="28575">
              <a:solidFill>
                <a:schemeClr val="bg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48EE-4119-8012-483F137AD0AE}"/>
            </c:ext>
          </c:extLst>
        </c:ser>
        <c:ser>
          <c:idx val="7"/>
          <c:order val="7"/>
          <c:tx>
            <c:strRef>
              <c:f>Sheet1!$A$9</c:f>
              <c:strCache>
                <c:ptCount val="1"/>
                <c:pt idx="0">
                  <c:v>Line 8</c:v>
                </c:pt>
              </c:strCache>
            </c:strRef>
          </c:tx>
          <c:spPr>
            <a:ln w="28575">
              <a:solidFill>
                <a:srgbClr val="005587"/>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9:$H$9</c:f>
              <c:numCache>
                <c:formatCode>General</c:formatCode>
                <c:ptCount val="7"/>
                <c:pt idx="0">
                  <c:v>3.7</c:v>
                </c:pt>
                <c:pt idx="1">
                  <c:v>3.9</c:v>
                </c:pt>
                <c:pt idx="2">
                  <c:v>1.5</c:v>
                </c:pt>
                <c:pt idx="3">
                  <c:v>2</c:v>
                </c:pt>
                <c:pt idx="4">
                  <c:v>5</c:v>
                </c:pt>
                <c:pt idx="5">
                  <c:v>4.0999999999999996</c:v>
                </c:pt>
                <c:pt idx="6">
                  <c:v>3.6</c:v>
                </c:pt>
              </c:numCache>
            </c:numRef>
          </c:val>
          <c:smooth val="1"/>
          <c:extLst>
            <c:ext xmlns:c16="http://schemas.microsoft.com/office/drawing/2014/chart" uri="{C3380CC4-5D6E-409C-BE32-E72D297353CC}">
              <c16:uniqueId val="{00000007-48EE-4119-8012-483F137AD0AE}"/>
            </c:ext>
          </c:extLst>
        </c:ser>
        <c:ser>
          <c:idx val="8"/>
          <c:order val="8"/>
          <c:tx>
            <c:strRef>
              <c:f>Sheet1!$A$10</c:f>
              <c:strCache>
                <c:ptCount val="1"/>
                <c:pt idx="0">
                  <c:v>Line 9</c:v>
                </c:pt>
              </c:strCache>
            </c:strRef>
          </c:tx>
          <c:spPr>
            <a:ln w="28575">
              <a:solidFill>
                <a:srgbClr val="C2FF3E"/>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0:$H$10</c:f>
              <c:numCache>
                <c:formatCode>General</c:formatCode>
                <c:ptCount val="7"/>
                <c:pt idx="0">
                  <c:v>3.9</c:v>
                </c:pt>
                <c:pt idx="1">
                  <c:v>1.8</c:v>
                </c:pt>
                <c:pt idx="2">
                  <c:v>2</c:v>
                </c:pt>
                <c:pt idx="3">
                  <c:v>2.2000000000000002</c:v>
                </c:pt>
                <c:pt idx="4">
                  <c:v>4.7</c:v>
                </c:pt>
                <c:pt idx="5">
                  <c:v>4.5</c:v>
                </c:pt>
                <c:pt idx="6">
                  <c:v>2.5</c:v>
                </c:pt>
              </c:numCache>
            </c:numRef>
          </c:val>
          <c:smooth val="1"/>
          <c:extLst>
            <c:ext xmlns:c16="http://schemas.microsoft.com/office/drawing/2014/chart" uri="{C3380CC4-5D6E-409C-BE32-E72D297353CC}">
              <c16:uniqueId val="{00000008-48EE-4119-8012-483F137AD0AE}"/>
            </c:ext>
          </c:extLst>
        </c:ser>
        <c:ser>
          <c:idx val="9"/>
          <c:order val="9"/>
          <c:tx>
            <c:strRef>
              <c:f>Sheet1!$A$11</c:f>
              <c:strCache>
                <c:ptCount val="1"/>
                <c:pt idx="0">
                  <c:v>Line 10</c:v>
                </c:pt>
              </c:strCache>
            </c:strRef>
          </c:tx>
          <c:spPr>
            <a:ln w="28575">
              <a:solidFill>
                <a:srgbClr val="52D0FF"/>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1:$H$11</c:f>
              <c:numCache>
                <c:formatCode>General</c:formatCode>
                <c:ptCount val="7"/>
                <c:pt idx="0">
                  <c:v>1.8</c:v>
                </c:pt>
                <c:pt idx="1">
                  <c:v>2.2000000000000002</c:v>
                </c:pt>
                <c:pt idx="2">
                  <c:v>2.5</c:v>
                </c:pt>
                <c:pt idx="3">
                  <c:v>2.4</c:v>
                </c:pt>
                <c:pt idx="4">
                  <c:v>4.2</c:v>
                </c:pt>
                <c:pt idx="5">
                  <c:v>3.2</c:v>
                </c:pt>
                <c:pt idx="6">
                  <c:v>2.6</c:v>
                </c:pt>
              </c:numCache>
            </c:numRef>
          </c:val>
          <c:smooth val="1"/>
          <c:extLst>
            <c:ext xmlns:c16="http://schemas.microsoft.com/office/drawing/2014/chart" uri="{C3380CC4-5D6E-409C-BE32-E72D297353CC}">
              <c16:uniqueId val="{00000009-48EE-4119-8012-483F137AD0AE}"/>
            </c:ext>
          </c:extLst>
        </c:ser>
        <c:ser>
          <c:idx val="10"/>
          <c:order val="10"/>
          <c:tx>
            <c:strRef>
              <c:f>Sheet1!$A$12</c:f>
              <c:strCache>
                <c:ptCount val="1"/>
                <c:pt idx="0">
                  <c:v>Line 11</c:v>
                </c:pt>
              </c:strCache>
            </c:strRef>
          </c:tx>
          <c:spPr>
            <a:ln w="28575">
              <a:solidFill>
                <a:srgbClr val="7BCE6C"/>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2:$H$12</c:f>
              <c:numCache>
                <c:formatCode>General</c:formatCode>
                <c:ptCount val="7"/>
                <c:pt idx="0">
                  <c:v>2.2000000000000002</c:v>
                </c:pt>
                <c:pt idx="1">
                  <c:v>4.0999999999999996</c:v>
                </c:pt>
                <c:pt idx="2">
                  <c:v>2.2000000000000002</c:v>
                </c:pt>
                <c:pt idx="3">
                  <c:v>3.2</c:v>
                </c:pt>
                <c:pt idx="4">
                  <c:v>3.1</c:v>
                </c:pt>
                <c:pt idx="5">
                  <c:v>3.8</c:v>
                </c:pt>
                <c:pt idx="6">
                  <c:v>2.8</c:v>
                </c:pt>
              </c:numCache>
            </c:numRef>
          </c:val>
          <c:smooth val="1"/>
          <c:extLst>
            <c:ext xmlns:c16="http://schemas.microsoft.com/office/drawing/2014/chart" uri="{C3380CC4-5D6E-409C-BE32-E72D297353CC}">
              <c16:uniqueId val="{0000000A-48EE-4119-8012-483F137AD0AE}"/>
            </c:ext>
          </c:extLst>
        </c:ser>
        <c:ser>
          <c:idx val="11"/>
          <c:order val="11"/>
          <c:tx>
            <c:strRef>
              <c:f>Sheet1!$A$13</c:f>
              <c:strCache>
                <c:ptCount val="1"/>
                <c:pt idx="0">
                  <c:v>Line 12</c:v>
                </c:pt>
              </c:strCache>
            </c:strRef>
          </c:tx>
          <c:spPr>
            <a:ln w="28575">
              <a:solidFill>
                <a:srgbClr val="AADDF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3:$H$13</c:f>
              <c:numCache>
                <c:formatCode>General</c:formatCode>
                <c:ptCount val="7"/>
                <c:pt idx="0">
                  <c:v>4.0999999999999996</c:v>
                </c:pt>
                <c:pt idx="1">
                  <c:v>2.8</c:v>
                </c:pt>
                <c:pt idx="2">
                  <c:v>3.3</c:v>
                </c:pt>
                <c:pt idx="3">
                  <c:v>3.1</c:v>
                </c:pt>
                <c:pt idx="4">
                  <c:v>4.4000000000000004</c:v>
                </c:pt>
                <c:pt idx="5">
                  <c:v>3.7</c:v>
                </c:pt>
                <c:pt idx="6">
                  <c:v>3.4</c:v>
                </c:pt>
              </c:numCache>
            </c:numRef>
          </c:val>
          <c:smooth val="1"/>
          <c:extLst>
            <c:ext xmlns:c16="http://schemas.microsoft.com/office/drawing/2014/chart" uri="{C3380CC4-5D6E-409C-BE32-E72D297353CC}">
              <c16:uniqueId val="{0000000B-48EE-4119-8012-483F137AD0AE}"/>
            </c:ext>
          </c:extLst>
        </c:ser>
        <c:ser>
          <c:idx val="12"/>
          <c:order val="12"/>
          <c:tx>
            <c:strRef>
              <c:f>Sheet1!$A$14</c:f>
              <c:strCache>
                <c:ptCount val="1"/>
                <c:pt idx="0">
                  <c:v>Line 13</c:v>
                </c:pt>
              </c:strCache>
            </c:strRef>
          </c:tx>
          <c:spPr>
            <a:ln w="28575">
              <a:solidFill>
                <a:schemeClr val="accent1">
                  <a:lumMod val="60000"/>
                  <a:lumOff val="40000"/>
                </a:schemeClr>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4:$H$14</c:f>
              <c:numCache>
                <c:formatCode>General</c:formatCode>
                <c:ptCount val="7"/>
                <c:pt idx="0">
                  <c:v>2.8</c:v>
                </c:pt>
                <c:pt idx="1">
                  <c:v>1.6</c:v>
                </c:pt>
                <c:pt idx="2">
                  <c:v>1.7</c:v>
                </c:pt>
                <c:pt idx="3">
                  <c:v>2.9</c:v>
                </c:pt>
                <c:pt idx="4">
                  <c:v>2.1</c:v>
                </c:pt>
                <c:pt idx="5">
                  <c:v>2.5</c:v>
                </c:pt>
                <c:pt idx="6">
                  <c:v>2</c:v>
                </c:pt>
              </c:numCache>
            </c:numRef>
          </c:val>
          <c:smooth val="1"/>
          <c:extLst>
            <c:ext xmlns:c16="http://schemas.microsoft.com/office/drawing/2014/chart" uri="{C3380CC4-5D6E-409C-BE32-E72D297353CC}">
              <c16:uniqueId val="{0000000C-48EE-4119-8012-483F137AD0AE}"/>
            </c:ext>
          </c:extLst>
        </c:ser>
        <c:ser>
          <c:idx val="13"/>
          <c:order val="13"/>
          <c:tx>
            <c:strRef>
              <c:f>Sheet1!$A$15</c:f>
              <c:strCache>
                <c:ptCount val="1"/>
                <c:pt idx="0">
                  <c:v>Line 14</c:v>
                </c:pt>
              </c:strCache>
            </c:strRef>
          </c:tx>
          <c:spPr>
            <a:ln w="28575">
              <a:solidFill>
                <a:srgbClr val="BABABA"/>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15:$H$15</c:f>
              <c:numCache>
                <c:formatCode>General</c:formatCode>
                <c:ptCount val="7"/>
                <c:pt idx="0">
                  <c:v>1.6</c:v>
                </c:pt>
                <c:pt idx="1">
                  <c:v>3.5</c:v>
                </c:pt>
                <c:pt idx="2">
                  <c:v>2</c:v>
                </c:pt>
                <c:pt idx="3">
                  <c:v>3.3</c:v>
                </c:pt>
                <c:pt idx="4">
                  <c:v>2.6</c:v>
                </c:pt>
                <c:pt idx="5">
                  <c:v>2.7</c:v>
                </c:pt>
                <c:pt idx="6">
                  <c:v>3.1</c:v>
                </c:pt>
              </c:numCache>
            </c:numRef>
          </c:val>
          <c:smooth val="1"/>
          <c:extLst>
            <c:ext xmlns:c16="http://schemas.microsoft.com/office/drawing/2014/chart" uri="{C3380CC4-5D6E-409C-BE32-E72D297353CC}">
              <c16:uniqueId val="{0000000D-48EE-4119-8012-483F137AD0AE}"/>
            </c:ext>
          </c:extLst>
        </c:ser>
        <c:dLbls>
          <c:showLegendKey val="0"/>
          <c:showVal val="0"/>
          <c:showCatName val="0"/>
          <c:showSerName val="0"/>
          <c:showPercent val="0"/>
          <c:showBubbleSize val="0"/>
        </c:dLbls>
        <c:smooth val="0"/>
        <c:axId val="21771872"/>
        <c:axId val="21774816"/>
      </c:lineChart>
      <c:catAx>
        <c:axId val="21771872"/>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21774816"/>
        <c:crosses val="autoZero"/>
        <c:auto val="1"/>
        <c:lblAlgn val="ctr"/>
        <c:lblOffset val="100"/>
        <c:noMultiLvlLbl val="0"/>
      </c:catAx>
      <c:valAx>
        <c:axId val="21774816"/>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21771872"/>
        <c:crosses val="autoZero"/>
        <c:crossBetween val="midCat"/>
      </c:valAx>
      <c:spPr>
        <a:noFill/>
        <a:ln w="25400">
          <a:noFill/>
        </a:ln>
      </c:spPr>
    </c:plotArea>
    <c:legend>
      <c:legendPos val="r"/>
      <c:layout>
        <c:manualLayout>
          <c:xMode val="edge"/>
          <c:yMode val="edge"/>
          <c:x val="4.6704144865117397E-2"/>
          <c:y val="0.89474982937074499"/>
          <c:w val="0.90819399918641397"/>
          <c:h val="8.6522127442402993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53100158982499E-2"/>
          <c:y val="4.2645222732575101E-2"/>
          <c:w val="0.88909379968203495"/>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82C2-4865-A6C4-581CFC313D1E}"/>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82C2-4865-A6C4-581CFC313D1E}"/>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82C2-4865-A6C4-581CFC313D1E}"/>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82C2-4865-A6C4-581CFC313D1E}"/>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82C2-4865-A6C4-581CFC313D1E}"/>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82C2-4865-A6C4-581CFC313D1E}"/>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82C2-4865-A6C4-581CFC313D1E}"/>
            </c:ext>
          </c:extLst>
        </c:ser>
        <c:dLbls>
          <c:showLegendKey val="0"/>
          <c:showVal val="0"/>
          <c:showCatName val="0"/>
          <c:showSerName val="0"/>
          <c:showPercent val="0"/>
          <c:showBubbleSize val="0"/>
        </c:dLbls>
        <c:smooth val="0"/>
        <c:axId val="114729968"/>
        <c:axId val="114681632"/>
      </c:lineChart>
      <c:catAx>
        <c:axId val="114729968"/>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4681632"/>
        <c:crosses val="autoZero"/>
        <c:auto val="1"/>
        <c:lblAlgn val="ctr"/>
        <c:lblOffset val="100"/>
        <c:noMultiLvlLbl val="0"/>
      </c:catAx>
      <c:valAx>
        <c:axId val="11468163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114729968"/>
        <c:crosses val="autoZero"/>
        <c:crossBetween val="midCat"/>
      </c:valAx>
      <c:spPr>
        <a:noFill/>
        <a:ln w="25400">
          <a:noFill/>
        </a:ln>
      </c:spPr>
    </c:plotArea>
    <c:legend>
      <c:legendPos val="r"/>
      <c:layout>
        <c:manualLayout>
          <c:xMode val="edge"/>
          <c:yMode val="edge"/>
          <c:x val="7.5996645093449194E-2"/>
          <c:y val="0.88805069002289205"/>
          <c:w val="0.85239992168207201"/>
          <c:h val="0.11054431260115469"/>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321173671689101E-2"/>
          <c:y val="4.2645334226838701E-2"/>
          <c:w val="0.88935765265662203"/>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C285-471D-B4A7-3705FEB23857}"/>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C285-471D-B4A7-3705FEB23857}"/>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C285-471D-B4A7-3705FEB23857}"/>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C285-471D-B4A7-3705FEB23857}"/>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C285-471D-B4A7-3705FEB23857}"/>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C285-471D-B4A7-3705FEB23857}"/>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C285-471D-B4A7-3705FEB23857}"/>
            </c:ext>
          </c:extLst>
        </c:ser>
        <c:dLbls>
          <c:showLegendKey val="0"/>
          <c:showVal val="0"/>
          <c:showCatName val="0"/>
          <c:showSerName val="0"/>
          <c:showPercent val="0"/>
          <c:showBubbleSize val="0"/>
        </c:dLbls>
        <c:smooth val="0"/>
        <c:axId val="110554688"/>
        <c:axId val="110556464"/>
      </c:lineChart>
      <c:catAx>
        <c:axId val="110554688"/>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110556464"/>
        <c:crosses val="autoZero"/>
        <c:auto val="1"/>
        <c:lblAlgn val="ctr"/>
        <c:lblOffset val="100"/>
        <c:noMultiLvlLbl val="0"/>
      </c:catAx>
      <c:valAx>
        <c:axId val="11055646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110554688"/>
        <c:crosses val="autoZero"/>
        <c:crossBetween val="midCat"/>
      </c:valAx>
      <c:spPr>
        <a:noFill/>
        <a:ln w="25400">
          <a:noFill/>
        </a:ln>
      </c:spPr>
    </c:plotArea>
    <c:legend>
      <c:legendPos val="r"/>
      <c:layout>
        <c:manualLayout>
          <c:xMode val="edge"/>
          <c:yMode val="edge"/>
          <c:x val="7.5996539445308195E-2"/>
          <c:y val="0.89122907738922796"/>
          <c:w val="0.85239992168207201"/>
          <c:h val="0.10736592523481901"/>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53100158982499E-2"/>
          <c:y val="4.2645222732575101E-2"/>
          <c:w val="0.88909379968203495"/>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C670-4898-BCE4-4E4EEF051896}"/>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C670-4898-BCE4-4E4EEF051896}"/>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C670-4898-BCE4-4E4EEF051896}"/>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C670-4898-BCE4-4E4EEF051896}"/>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C670-4898-BCE4-4E4EEF051896}"/>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C670-4898-BCE4-4E4EEF051896}"/>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C670-4898-BCE4-4E4EEF051896}"/>
            </c:ext>
          </c:extLst>
        </c:ser>
        <c:dLbls>
          <c:showLegendKey val="0"/>
          <c:showVal val="0"/>
          <c:showCatName val="0"/>
          <c:showSerName val="0"/>
          <c:showPercent val="0"/>
          <c:showBubbleSize val="0"/>
        </c:dLbls>
        <c:smooth val="0"/>
        <c:axId val="21911360"/>
        <c:axId val="21885072"/>
      </c:lineChart>
      <c:catAx>
        <c:axId val="21911360"/>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n-US"/>
          </a:p>
        </c:txPr>
        <c:crossAx val="21885072"/>
        <c:crosses val="autoZero"/>
        <c:auto val="1"/>
        <c:lblAlgn val="ctr"/>
        <c:lblOffset val="100"/>
        <c:noMultiLvlLbl val="0"/>
      </c:catAx>
      <c:valAx>
        <c:axId val="2188507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n-US"/>
          </a:p>
        </c:txPr>
        <c:crossAx val="21911360"/>
        <c:crosses val="autoZero"/>
        <c:crossBetween val="midCat"/>
      </c:valAx>
      <c:spPr>
        <a:noFill/>
        <a:ln w="25400">
          <a:noFill/>
        </a:ln>
      </c:spPr>
    </c:plotArea>
    <c:legend>
      <c:legendPos val="r"/>
      <c:layout>
        <c:manualLayout>
          <c:xMode val="edge"/>
          <c:yMode val="edge"/>
          <c:x val="7.5996645093449194E-2"/>
          <c:y val="0.88805069002289205"/>
          <c:w val="0.85239992168207201"/>
          <c:h val="7.24035797608632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00401937205599E-2"/>
          <c:y val="5.8867031576919103E-2"/>
          <c:w val="0.96739959806279396"/>
          <c:h val="0.74005170613279803"/>
        </c:manualLayout>
      </c:layout>
      <c:barChart>
        <c:barDir val="col"/>
        <c:grouping val="stacked"/>
        <c:varyColors val="0"/>
        <c:ser>
          <c:idx val="0"/>
          <c:order val="0"/>
          <c:tx>
            <c:strRef>
              <c:f>Sheet1!$B$1</c:f>
              <c:strCache>
                <c:ptCount val="1"/>
                <c:pt idx="0">
                  <c:v>Invisible</c:v>
                </c:pt>
              </c:strCache>
            </c:strRef>
          </c:tx>
          <c:spPr>
            <a:noFill/>
            <a:ln>
              <a:noFill/>
            </a:ln>
          </c:spPr>
          <c:invertIfNegative val="0"/>
          <c:dLbls>
            <c:delete val="1"/>
          </c:dLbls>
          <c:cat>
            <c:strRef>
              <c:f>Sheet1!$A$2:$A$9</c:f>
              <c:strCache>
                <c:ptCount val="8"/>
                <c:pt idx="0">
                  <c:v>A</c:v>
                </c:pt>
                <c:pt idx="1">
                  <c:v>+ B</c:v>
                </c:pt>
                <c:pt idx="2">
                  <c:v>+ C</c:v>
                </c:pt>
                <c:pt idx="3">
                  <c:v>= Subtotal</c:v>
                </c:pt>
                <c:pt idx="4">
                  <c:v>- E</c:v>
                </c:pt>
                <c:pt idx="5">
                  <c:v>- F</c:v>
                </c:pt>
                <c:pt idx="6">
                  <c:v>- G</c:v>
                </c:pt>
                <c:pt idx="7">
                  <c:v>= Total</c:v>
                </c:pt>
              </c:strCache>
            </c:strRef>
          </c:cat>
          <c:val>
            <c:numRef>
              <c:f>Sheet1!$B$2:$B$9</c:f>
              <c:numCache>
                <c:formatCode>General</c:formatCode>
                <c:ptCount val="8"/>
                <c:pt idx="0">
                  <c:v>0</c:v>
                </c:pt>
                <c:pt idx="1">
                  <c:v>10</c:v>
                </c:pt>
                <c:pt idx="2">
                  <c:v>25</c:v>
                </c:pt>
                <c:pt idx="3">
                  <c:v>0</c:v>
                </c:pt>
                <c:pt idx="4">
                  <c:v>30</c:v>
                </c:pt>
                <c:pt idx="5">
                  <c:v>20</c:v>
                </c:pt>
                <c:pt idx="6">
                  <c:v>15</c:v>
                </c:pt>
                <c:pt idx="7">
                  <c:v>0</c:v>
                </c:pt>
              </c:numCache>
            </c:numRef>
          </c:val>
          <c:extLst>
            <c:ext xmlns:c16="http://schemas.microsoft.com/office/drawing/2014/chart" uri="{C3380CC4-5D6E-409C-BE32-E72D297353CC}">
              <c16:uniqueId val="{00000000-2E54-4CD3-A68E-81591172A83A}"/>
            </c:ext>
          </c:extLst>
        </c:ser>
        <c:ser>
          <c:idx val="1"/>
          <c:order val="1"/>
          <c:tx>
            <c:strRef>
              <c:f>Sheet1!$C$1</c:f>
              <c:strCache>
                <c:ptCount val="1"/>
                <c:pt idx="0">
                  <c:v>Visible</c:v>
                </c:pt>
              </c:strCache>
            </c:strRef>
          </c:tx>
          <c:spPr>
            <a:solidFill>
              <a:schemeClr val="bg1">
                <a:lumMod val="75000"/>
              </a:schemeClr>
            </a:solidFill>
            <a:ln w="12700">
              <a:noFill/>
            </a:ln>
          </c:spPr>
          <c:invertIfNegative val="0"/>
          <c:dPt>
            <c:idx val="0"/>
            <c:invertIfNegative val="0"/>
            <c:bubble3D val="0"/>
            <c:extLst>
              <c:ext xmlns:c16="http://schemas.microsoft.com/office/drawing/2014/chart" uri="{C3380CC4-5D6E-409C-BE32-E72D297353CC}">
                <c16:uniqueId val="{00000001-2E54-4CD3-A68E-81591172A83A}"/>
              </c:ext>
            </c:extLst>
          </c:dPt>
          <c:dPt>
            <c:idx val="1"/>
            <c:invertIfNegative val="0"/>
            <c:bubble3D val="0"/>
            <c:extLst>
              <c:ext xmlns:c16="http://schemas.microsoft.com/office/drawing/2014/chart" uri="{C3380CC4-5D6E-409C-BE32-E72D297353CC}">
                <c16:uniqueId val="{00000002-2E54-4CD3-A68E-81591172A83A}"/>
              </c:ext>
            </c:extLst>
          </c:dPt>
          <c:dPt>
            <c:idx val="2"/>
            <c:invertIfNegative val="0"/>
            <c:bubble3D val="0"/>
            <c:extLst>
              <c:ext xmlns:c16="http://schemas.microsoft.com/office/drawing/2014/chart" uri="{C3380CC4-5D6E-409C-BE32-E72D297353CC}">
                <c16:uniqueId val="{00000003-2E54-4CD3-A68E-81591172A83A}"/>
              </c:ext>
            </c:extLst>
          </c:dPt>
          <c:dPt>
            <c:idx val="3"/>
            <c:invertIfNegative val="0"/>
            <c:bubble3D val="0"/>
            <c:spPr>
              <a:solidFill>
                <a:schemeClr val="accent1"/>
              </a:solidFill>
              <a:ln w="12700">
                <a:noFill/>
              </a:ln>
            </c:spPr>
            <c:extLst>
              <c:ext xmlns:c16="http://schemas.microsoft.com/office/drawing/2014/chart" uri="{C3380CC4-5D6E-409C-BE32-E72D297353CC}">
                <c16:uniqueId val="{00000005-2E54-4CD3-A68E-81591172A83A}"/>
              </c:ext>
            </c:extLst>
          </c:dPt>
          <c:dPt>
            <c:idx val="4"/>
            <c:invertIfNegative val="0"/>
            <c:bubble3D val="0"/>
            <c:extLst>
              <c:ext xmlns:c16="http://schemas.microsoft.com/office/drawing/2014/chart" uri="{C3380CC4-5D6E-409C-BE32-E72D297353CC}">
                <c16:uniqueId val="{00000006-2E54-4CD3-A68E-81591172A83A}"/>
              </c:ext>
            </c:extLst>
          </c:dPt>
          <c:dPt>
            <c:idx val="5"/>
            <c:invertIfNegative val="0"/>
            <c:bubble3D val="0"/>
            <c:extLst>
              <c:ext xmlns:c16="http://schemas.microsoft.com/office/drawing/2014/chart" uri="{C3380CC4-5D6E-409C-BE32-E72D297353CC}">
                <c16:uniqueId val="{00000007-2E54-4CD3-A68E-81591172A83A}"/>
              </c:ext>
            </c:extLst>
          </c:dPt>
          <c:dPt>
            <c:idx val="6"/>
            <c:invertIfNegative val="0"/>
            <c:bubble3D val="0"/>
            <c:extLst>
              <c:ext xmlns:c16="http://schemas.microsoft.com/office/drawing/2014/chart" uri="{C3380CC4-5D6E-409C-BE32-E72D297353CC}">
                <c16:uniqueId val="{00000008-2E54-4CD3-A68E-81591172A83A}"/>
              </c:ext>
            </c:extLst>
          </c:dPt>
          <c:dPt>
            <c:idx val="7"/>
            <c:invertIfNegative val="0"/>
            <c:bubble3D val="0"/>
            <c:spPr>
              <a:solidFill>
                <a:schemeClr val="accent1"/>
              </a:solidFill>
              <a:ln w="12700">
                <a:noFill/>
              </a:ln>
            </c:spPr>
            <c:extLst>
              <c:ext xmlns:c16="http://schemas.microsoft.com/office/drawing/2014/chart" uri="{C3380CC4-5D6E-409C-BE32-E72D297353CC}">
                <c16:uniqueId val="{0000000A-2E54-4CD3-A68E-81591172A83A}"/>
              </c:ext>
            </c:extLst>
          </c:dPt>
          <c:dLbls>
            <c:dLbl>
              <c:idx val="0"/>
              <c:layout>
                <c:manualLayout>
                  <c:x val="-3.8349020183160699E-4"/>
                  <c:y val="-0.12561948636628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E54-4CD3-A68E-81591172A83A}"/>
                </c:ext>
              </c:extLst>
            </c:dLbl>
            <c:dLbl>
              <c:idx val="1"/>
              <c:layout>
                <c:manualLayout>
                  <c:x val="-1.39928195500073E-3"/>
                  <c:y val="-0.176870762248469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E54-4CD3-A68E-81591172A83A}"/>
                </c:ext>
              </c:extLst>
            </c:dLbl>
            <c:dLbl>
              <c:idx val="2"/>
              <c:layout>
                <c:manualLayout>
                  <c:x val="0"/>
                  <c:y val="-0.12457303514144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E54-4CD3-A68E-81591172A83A}"/>
                </c:ext>
              </c:extLst>
            </c:dLbl>
            <c:dLbl>
              <c:idx val="3"/>
              <c:layout>
                <c:manualLayout>
                  <c:x val="-3.18217939448639E-3"/>
                  <c:y val="-0.360297736220472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E54-4CD3-A68E-81591172A83A}"/>
                </c:ext>
              </c:extLst>
            </c:dLbl>
            <c:dLbl>
              <c:idx val="4"/>
              <c:layout>
                <c:manualLayout>
                  <c:x val="-1.39928195500073E-3"/>
                  <c:y val="-7.9631907990667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E54-4CD3-A68E-81591172A83A}"/>
                </c:ext>
              </c:extLst>
            </c:dLbl>
            <c:dLbl>
              <c:idx val="5"/>
              <c:layout>
                <c:manualLayout>
                  <c:x val="-3.18217939448639E-3"/>
                  <c:y val="-0.1250961468358119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E54-4CD3-A68E-81591172A83A}"/>
                </c:ext>
              </c:extLst>
            </c:dLbl>
            <c:dLbl>
              <c:idx val="6"/>
              <c:layout>
                <c:manualLayout>
                  <c:x val="0"/>
                  <c:y val="-7.673838947214929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E54-4CD3-A68E-81591172A83A}"/>
                </c:ext>
              </c:extLst>
            </c:dLbl>
            <c:dLbl>
              <c:idx val="7"/>
              <c:layout>
                <c:manualLayout>
                  <c:x val="-1.2528265332623599E-7"/>
                  <c:y val="-0.17450058326042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E54-4CD3-A68E-81591172A83A}"/>
                </c:ext>
              </c:extLst>
            </c:dLbl>
            <c:spPr>
              <a:noFill/>
              <a:ln>
                <a:noFill/>
              </a:ln>
              <a:effectLst/>
            </c:spPr>
            <c:txPr>
              <a:bodyPr/>
              <a:lstStyle/>
              <a:p>
                <a:pPr>
                  <a:defRPr sz="11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C$2:$C$9</c:f>
              <c:numCache>
                <c:formatCode>General</c:formatCode>
                <c:ptCount val="8"/>
                <c:pt idx="0">
                  <c:v>10</c:v>
                </c:pt>
                <c:pt idx="1">
                  <c:v>15</c:v>
                </c:pt>
                <c:pt idx="2">
                  <c:v>10</c:v>
                </c:pt>
                <c:pt idx="3">
                  <c:v>35</c:v>
                </c:pt>
                <c:pt idx="4">
                  <c:v>5</c:v>
                </c:pt>
                <c:pt idx="5">
                  <c:v>10</c:v>
                </c:pt>
                <c:pt idx="6">
                  <c:v>5</c:v>
                </c:pt>
                <c:pt idx="7">
                  <c:v>15</c:v>
                </c:pt>
              </c:numCache>
            </c:numRef>
          </c:val>
          <c:extLst>
            <c:ext xmlns:c16="http://schemas.microsoft.com/office/drawing/2014/chart" uri="{C3380CC4-5D6E-409C-BE32-E72D297353CC}">
              <c16:uniqueId val="{0000000B-2E54-4CD3-A68E-81591172A83A}"/>
            </c:ext>
          </c:extLst>
        </c:ser>
        <c:ser>
          <c:idx val="2"/>
          <c:order val="2"/>
          <c:tx>
            <c:strRef>
              <c:f>Sheet1!$D$1</c:f>
              <c:strCache>
                <c:ptCount val="1"/>
                <c:pt idx="0">
                  <c:v>Column2</c:v>
                </c:pt>
              </c:strCache>
            </c:strRef>
          </c:tx>
          <c:spPr>
            <a:ln>
              <a:solidFill>
                <a:schemeClr val="bg1"/>
              </a:solid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D$2:$D$9</c:f>
              <c:numCache>
                <c:formatCode>General</c:formatCode>
                <c:ptCount val="8"/>
              </c:numCache>
            </c:numRef>
          </c:val>
          <c:extLst>
            <c:ext xmlns:c16="http://schemas.microsoft.com/office/drawing/2014/chart" uri="{C3380CC4-5D6E-409C-BE32-E72D297353CC}">
              <c16:uniqueId val="{0000000C-2E54-4CD3-A68E-81591172A83A}"/>
            </c:ext>
          </c:extLst>
        </c:ser>
        <c:dLbls>
          <c:showLegendKey val="0"/>
          <c:showVal val="1"/>
          <c:showCatName val="0"/>
          <c:showSerName val="0"/>
          <c:showPercent val="0"/>
          <c:showBubbleSize val="0"/>
        </c:dLbls>
        <c:gapWidth val="100"/>
        <c:overlap val="100"/>
        <c:axId val="110542752"/>
        <c:axId val="110544384"/>
      </c:barChart>
      <c:catAx>
        <c:axId val="110542752"/>
        <c:scaling>
          <c:orientation val="minMax"/>
        </c:scaling>
        <c:delete val="0"/>
        <c:axPos val="b"/>
        <c:numFmt formatCode="General" sourceLinked="0"/>
        <c:majorTickMark val="none"/>
        <c:minorTickMark val="none"/>
        <c:tickLblPos val="nextTo"/>
        <c:spPr>
          <a:noFill/>
          <a:ln w="6350">
            <a:solidFill>
              <a:srgbClr val="BBBCBC"/>
            </a:solidFill>
          </a:ln>
        </c:spPr>
        <c:txPr>
          <a:bodyPr/>
          <a:lstStyle/>
          <a:p>
            <a:pPr>
              <a:defRPr sz="900">
                <a:solidFill>
                  <a:srgbClr val="53565A"/>
                </a:solidFill>
              </a:defRPr>
            </a:pPr>
            <a:endParaRPr lang="en-US"/>
          </a:p>
        </c:txPr>
        <c:crossAx val="110544384"/>
        <c:crosses val="autoZero"/>
        <c:auto val="1"/>
        <c:lblAlgn val="ctr"/>
        <c:lblOffset val="100"/>
        <c:noMultiLvlLbl val="0"/>
      </c:catAx>
      <c:valAx>
        <c:axId val="11054438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542752"/>
        <c:crosses val="autoZero"/>
        <c:crossBetween val="between"/>
        <c:majorUnit val="10"/>
      </c:valAx>
    </c:plotArea>
    <c:plotVisOnly val="1"/>
    <c:dispBlanksAs val="gap"/>
    <c:showDLblsOverMax val="0"/>
  </c:chart>
  <c:txPr>
    <a:bodyPr/>
    <a:lstStyle/>
    <a:p>
      <a:pPr>
        <a:defRPr sz="1200"/>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44461347858403E-2"/>
          <c:y val="5.8639198203483497E-2"/>
          <c:w val="0.95325548171065899"/>
          <c:h val="0.74050737287966895"/>
        </c:manualLayout>
      </c:layout>
      <c:barChart>
        <c:barDir val="col"/>
        <c:grouping val="stacked"/>
        <c:varyColors val="0"/>
        <c:ser>
          <c:idx val="0"/>
          <c:order val="0"/>
          <c:tx>
            <c:strRef>
              <c:f>Sheet1!$A$2</c:f>
              <c:strCache>
                <c:ptCount val="1"/>
                <c:pt idx="0">
                  <c:v>Invisible dataset</c:v>
                </c:pt>
              </c:strCache>
            </c:strRef>
          </c:tx>
          <c:spPr>
            <a:noFill/>
            <a:ln>
              <a:noFill/>
            </a:ln>
          </c:spPr>
          <c:invertIfNegative val="0"/>
          <c:dLbls>
            <c:delete val="1"/>
          </c:dLbls>
          <c:cat>
            <c:strRef>
              <c:f>Sheet1!$B$1:$I$1</c:f>
              <c:strCache>
                <c:ptCount val="8"/>
                <c:pt idx="0">
                  <c:v>A</c:v>
                </c:pt>
                <c:pt idx="1">
                  <c:v>B</c:v>
                </c:pt>
                <c:pt idx="2">
                  <c:v>C</c:v>
                </c:pt>
                <c:pt idx="3">
                  <c:v>D</c:v>
                </c:pt>
                <c:pt idx="4">
                  <c:v>E</c:v>
                </c:pt>
                <c:pt idx="5">
                  <c:v>F</c:v>
                </c:pt>
                <c:pt idx="6">
                  <c:v>G</c:v>
                </c:pt>
                <c:pt idx="7">
                  <c:v>H</c:v>
                </c:pt>
              </c:strCache>
            </c:strRef>
          </c:cat>
          <c:val>
            <c:numRef>
              <c:f>Sheet1!$B$2:$I$2</c:f>
              <c:numCache>
                <c:formatCode>General</c:formatCode>
                <c:ptCount val="8"/>
                <c:pt idx="0">
                  <c:v>0</c:v>
                </c:pt>
                <c:pt idx="1">
                  <c:v>120</c:v>
                </c:pt>
                <c:pt idx="2">
                  <c:v>100</c:v>
                </c:pt>
                <c:pt idx="3">
                  <c:v>80</c:v>
                </c:pt>
                <c:pt idx="4">
                  <c:v>60</c:v>
                </c:pt>
                <c:pt idx="5">
                  <c:v>40</c:v>
                </c:pt>
                <c:pt idx="6">
                  <c:v>20</c:v>
                </c:pt>
                <c:pt idx="7">
                  <c:v>0</c:v>
                </c:pt>
              </c:numCache>
            </c:numRef>
          </c:val>
          <c:extLst>
            <c:ext xmlns:c16="http://schemas.microsoft.com/office/drawing/2014/chart" uri="{C3380CC4-5D6E-409C-BE32-E72D297353CC}">
              <c16:uniqueId val="{00000000-810A-493A-AEF8-CAE0B96CA1ED}"/>
            </c:ext>
          </c:extLst>
        </c:ser>
        <c:ser>
          <c:idx val="1"/>
          <c:order val="1"/>
          <c:tx>
            <c:strRef>
              <c:f>Sheet1!$A$3</c:f>
              <c:strCache>
                <c:ptCount val="1"/>
                <c:pt idx="0">
                  <c:v>Gray</c:v>
                </c:pt>
              </c:strCache>
            </c:strRef>
          </c:tx>
          <c:spPr>
            <a:solidFill>
              <a:schemeClr val="bg2"/>
            </a:solidFill>
            <a:ln w="12700">
              <a:noFill/>
            </a:ln>
          </c:spPr>
          <c:invertIfNegative val="0"/>
          <c:dLbls>
            <c:numFmt formatCode="#,##0.0" sourceLinked="0"/>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3:$I$3</c:f>
              <c:numCache>
                <c:formatCode>General</c:formatCode>
                <c:ptCount val="8"/>
                <c:pt idx="1">
                  <c:v>20</c:v>
                </c:pt>
                <c:pt idx="2">
                  <c:v>20</c:v>
                </c:pt>
                <c:pt idx="3">
                  <c:v>20</c:v>
                </c:pt>
                <c:pt idx="4">
                  <c:v>20</c:v>
                </c:pt>
                <c:pt idx="5">
                  <c:v>20</c:v>
                </c:pt>
                <c:pt idx="6">
                  <c:v>20</c:v>
                </c:pt>
              </c:numCache>
            </c:numRef>
          </c:val>
          <c:extLst>
            <c:ext xmlns:c16="http://schemas.microsoft.com/office/drawing/2014/chart" uri="{C3380CC4-5D6E-409C-BE32-E72D297353CC}">
              <c16:uniqueId val="{00000001-810A-493A-AEF8-CAE0B96CA1ED}"/>
            </c:ext>
          </c:extLst>
        </c:ser>
        <c:ser>
          <c:idx val="2"/>
          <c:order val="2"/>
          <c:tx>
            <c:strRef>
              <c:f>Sheet1!$A$4</c:f>
              <c:strCache>
                <c:ptCount val="1"/>
                <c:pt idx="0">
                  <c:v>Blue</c:v>
                </c:pt>
              </c:strCache>
            </c:strRef>
          </c:tx>
          <c:spPr>
            <a:solidFill>
              <a:schemeClr val="accent1"/>
            </a:solidFill>
            <a:ln w="12700">
              <a:noFill/>
            </a:ln>
          </c:spPr>
          <c:invertIfNegative val="0"/>
          <c:dPt>
            <c:idx val="0"/>
            <c:invertIfNegative val="0"/>
            <c:bubble3D val="0"/>
            <c:extLst>
              <c:ext xmlns:c16="http://schemas.microsoft.com/office/drawing/2014/chart" uri="{C3380CC4-5D6E-409C-BE32-E72D297353CC}">
                <c16:uniqueId val="{00000002-810A-493A-AEF8-CAE0B96CA1ED}"/>
              </c:ext>
            </c:extLst>
          </c:dPt>
          <c:dPt>
            <c:idx val="7"/>
            <c:invertIfNegative val="0"/>
            <c:bubble3D val="0"/>
            <c:extLst>
              <c:ext xmlns:c16="http://schemas.microsoft.com/office/drawing/2014/chart" uri="{C3380CC4-5D6E-409C-BE32-E72D297353CC}">
                <c16:uniqueId val="{00000003-810A-493A-AEF8-CAE0B96CA1ED}"/>
              </c:ext>
            </c:extLst>
          </c:dPt>
          <c:dLbls>
            <c:numFmt formatCode="#,##0.0" sourceLinked="0"/>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4:$I$4</c:f>
              <c:numCache>
                <c:formatCode>General</c:formatCode>
                <c:ptCount val="8"/>
                <c:pt idx="0">
                  <c:v>140</c:v>
                </c:pt>
                <c:pt idx="7">
                  <c:v>20</c:v>
                </c:pt>
              </c:numCache>
            </c:numRef>
          </c:val>
          <c:extLst>
            <c:ext xmlns:c16="http://schemas.microsoft.com/office/drawing/2014/chart" uri="{C3380CC4-5D6E-409C-BE32-E72D297353CC}">
              <c16:uniqueId val="{00000004-810A-493A-AEF8-CAE0B96CA1ED}"/>
            </c:ext>
          </c:extLst>
        </c:ser>
        <c:dLbls>
          <c:showLegendKey val="0"/>
          <c:showVal val="1"/>
          <c:showCatName val="0"/>
          <c:showSerName val="0"/>
          <c:showPercent val="0"/>
          <c:showBubbleSize val="0"/>
        </c:dLbls>
        <c:gapWidth val="0"/>
        <c:overlap val="100"/>
        <c:axId val="18644656"/>
        <c:axId val="18637936"/>
      </c:barChart>
      <c:catAx>
        <c:axId val="18644656"/>
        <c:scaling>
          <c:orientation val="minMax"/>
        </c:scaling>
        <c:delete val="0"/>
        <c:axPos val="b"/>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8637936"/>
        <c:crosses val="autoZero"/>
        <c:auto val="1"/>
        <c:lblAlgn val="ctr"/>
        <c:lblOffset val="100"/>
        <c:noMultiLvlLbl val="0"/>
      </c:catAx>
      <c:valAx>
        <c:axId val="18637936"/>
        <c:scaling>
          <c:orientation val="minMax"/>
          <c:max val="140"/>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8644656"/>
        <c:crosses val="autoZero"/>
        <c:crossBetween val="between"/>
        <c:majorUnit val="20"/>
      </c:valAx>
    </c:plotArea>
    <c:plotVisOnly val="1"/>
    <c:dispBlanksAs val="gap"/>
    <c:showDLblsOverMax val="0"/>
  </c:chart>
  <c:txPr>
    <a:bodyPr/>
    <a:lstStyle/>
    <a:p>
      <a:pPr>
        <a:defRPr sz="1200"/>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93778958497495E-2"/>
          <c:y val="5.9094864950354702E-2"/>
          <c:w val="0.88750825888110496"/>
          <c:h val="0.73806658190708097"/>
        </c:manualLayout>
      </c:layout>
      <c:barChart>
        <c:barDir val="bar"/>
        <c:grouping val="stacked"/>
        <c:varyColors val="0"/>
        <c:ser>
          <c:idx val="0"/>
          <c:order val="0"/>
          <c:tx>
            <c:strRef>
              <c:f>Sheet1!$B$1</c:f>
              <c:strCache>
                <c:ptCount val="1"/>
                <c:pt idx="0">
                  <c:v>Invisible</c:v>
                </c:pt>
              </c:strCache>
            </c:strRef>
          </c:tx>
          <c:spPr>
            <a:noFill/>
            <a:ln>
              <a:noFill/>
            </a:ln>
          </c:spPr>
          <c:invertIfNegative val="0"/>
          <c:dLbls>
            <c:delete val="1"/>
          </c:dLbls>
          <c:cat>
            <c:strRef>
              <c:f>Sheet1!$A$2:$A$6</c:f>
              <c:strCache>
                <c:ptCount val="5"/>
                <c:pt idx="0">
                  <c:v>Total</c:v>
                </c:pt>
                <c:pt idx="1">
                  <c:v>Label D</c:v>
                </c:pt>
                <c:pt idx="2">
                  <c:v>Label C</c:v>
                </c:pt>
                <c:pt idx="3">
                  <c:v>Label B</c:v>
                </c:pt>
                <c:pt idx="4">
                  <c:v>Label A</c:v>
                </c:pt>
              </c:strCache>
            </c:strRef>
          </c:cat>
          <c:val>
            <c:numRef>
              <c:f>Sheet1!$B$2:$B$6</c:f>
              <c:numCache>
                <c:formatCode>General</c:formatCode>
                <c:ptCount val="5"/>
                <c:pt idx="0">
                  <c:v>0</c:v>
                </c:pt>
                <c:pt idx="1">
                  <c:v>30</c:v>
                </c:pt>
                <c:pt idx="2">
                  <c:v>20</c:v>
                </c:pt>
                <c:pt idx="3">
                  <c:v>15</c:v>
                </c:pt>
                <c:pt idx="4">
                  <c:v>0</c:v>
                </c:pt>
              </c:numCache>
            </c:numRef>
          </c:val>
          <c:extLst>
            <c:ext xmlns:c16="http://schemas.microsoft.com/office/drawing/2014/chart" uri="{C3380CC4-5D6E-409C-BE32-E72D297353CC}">
              <c16:uniqueId val="{00000000-8C3D-4B64-A18F-84BF995E3A52}"/>
            </c:ext>
          </c:extLst>
        </c:ser>
        <c:ser>
          <c:idx val="1"/>
          <c:order val="1"/>
          <c:tx>
            <c:strRef>
              <c:f>Sheet1!$C$1</c:f>
              <c:strCache>
                <c:ptCount val="1"/>
                <c:pt idx="0">
                  <c:v>Visible</c:v>
                </c:pt>
              </c:strCache>
            </c:strRef>
          </c:tx>
          <c:spPr>
            <a:solidFill>
              <a:schemeClr val="accent2"/>
            </a:solidFill>
            <a:ln w="12700">
              <a:noFill/>
            </a:ln>
          </c:spPr>
          <c:invertIfNegative val="0"/>
          <c:dLbls>
            <c:dLbl>
              <c:idx val="0"/>
              <c:layout>
                <c:manualLayout>
                  <c:x val="0.41019255248095898"/>
                  <c:y val="-2.893508420126709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3D-4B64-A18F-84BF995E3A52}"/>
                </c:ext>
              </c:extLst>
            </c:dLbl>
            <c:dLbl>
              <c:idx val="1"/>
              <c:layout>
                <c:manualLayout>
                  <c:x val="7.6481761575162399E-2"/>
                  <c:y val="-1.1444787698564401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C3D-4B64-A18F-84BF995E3A52}"/>
                </c:ext>
              </c:extLst>
            </c:dLbl>
            <c:dLbl>
              <c:idx val="2"/>
              <c:layout>
                <c:manualLayout>
                  <c:x val="0.136539805860137"/>
                  <c:y val="-5.722393849282200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3D-4B64-A18F-84BF995E3A52}"/>
                </c:ext>
              </c:extLst>
            </c:dLbl>
            <c:dLbl>
              <c:idx val="3"/>
              <c:layout>
                <c:manualLayout>
                  <c:x val="7.5074681849629996E-2"/>
                  <c:y val="2.370007788607930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C3D-4B64-A18F-84BF995E3A52}"/>
                </c:ext>
              </c:extLst>
            </c:dLbl>
            <c:dLbl>
              <c:idx val="4"/>
              <c:layout>
                <c:manualLayout>
                  <c:x val="0.194494957814564"/>
                  <c:y val="-1.430598462320550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C3D-4B64-A18F-84BF995E3A52}"/>
                </c:ext>
              </c:extLst>
            </c:dLbl>
            <c:numFmt formatCode="#,##0.0" sourceLinked="0"/>
            <c:spPr>
              <a:noFill/>
              <a:ln>
                <a:noFill/>
              </a:ln>
              <a:effectLst/>
            </c:spPr>
            <c:txPr>
              <a:bodyPr/>
              <a:lstStyle/>
              <a:p>
                <a:pPr>
                  <a:defRPr sz="1100" b="0">
                    <a:solidFill>
                      <a:srgbClr val="53565A"/>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otal</c:v>
                </c:pt>
                <c:pt idx="1">
                  <c:v>Label D</c:v>
                </c:pt>
                <c:pt idx="2">
                  <c:v>Label C</c:v>
                </c:pt>
                <c:pt idx="3">
                  <c:v>Label B</c:v>
                </c:pt>
                <c:pt idx="4">
                  <c:v>Label A</c:v>
                </c:pt>
              </c:strCache>
            </c:strRef>
          </c:cat>
          <c:val>
            <c:numRef>
              <c:f>Sheet1!$C$2:$C$6</c:f>
              <c:numCache>
                <c:formatCode>General</c:formatCode>
                <c:ptCount val="5"/>
                <c:pt idx="0">
                  <c:v>35</c:v>
                </c:pt>
                <c:pt idx="1">
                  <c:v>5</c:v>
                </c:pt>
                <c:pt idx="2">
                  <c:v>10</c:v>
                </c:pt>
                <c:pt idx="3">
                  <c:v>5</c:v>
                </c:pt>
                <c:pt idx="4">
                  <c:v>15</c:v>
                </c:pt>
              </c:numCache>
            </c:numRef>
          </c:val>
          <c:extLst>
            <c:ext xmlns:c16="http://schemas.microsoft.com/office/drawing/2014/chart" uri="{C3380CC4-5D6E-409C-BE32-E72D297353CC}">
              <c16:uniqueId val="{00000006-8C3D-4B64-A18F-84BF995E3A52}"/>
            </c:ext>
          </c:extLst>
        </c:ser>
        <c:dLbls>
          <c:showLegendKey val="0"/>
          <c:showVal val="1"/>
          <c:showCatName val="0"/>
          <c:showSerName val="0"/>
          <c:showPercent val="0"/>
          <c:showBubbleSize val="0"/>
        </c:dLbls>
        <c:gapWidth val="100"/>
        <c:overlap val="100"/>
        <c:axId val="114880176"/>
        <c:axId val="114875920"/>
      </c:barChart>
      <c:catAx>
        <c:axId val="114880176"/>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4875920"/>
        <c:crosses val="autoZero"/>
        <c:auto val="1"/>
        <c:lblAlgn val="ctr"/>
        <c:lblOffset val="100"/>
        <c:noMultiLvlLbl val="0"/>
      </c:catAx>
      <c:valAx>
        <c:axId val="114875920"/>
        <c:scaling>
          <c:orientation val="minMax"/>
        </c:scaling>
        <c:delete val="0"/>
        <c:axPos val="b"/>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4880176"/>
        <c:crosses val="autoZero"/>
        <c:crossBetween val="between"/>
        <c:majorUnit val="10"/>
      </c:valAx>
    </c:plotArea>
    <c:plotVisOnly val="1"/>
    <c:dispBlanksAs val="gap"/>
    <c:showDLblsOverMax val="0"/>
  </c:chart>
  <c:txPr>
    <a:bodyPr/>
    <a:lstStyle/>
    <a:p>
      <a:pPr>
        <a:defRPr sz="12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798965505880794E-2"/>
          <c:y val="5.9094864950354702E-2"/>
          <c:w val="0.88401769482124004"/>
          <c:h val="0.73854363107411303"/>
        </c:manualLayout>
      </c:layout>
      <c:barChart>
        <c:barDir val="bar"/>
        <c:grouping val="stacked"/>
        <c:varyColors val="0"/>
        <c:ser>
          <c:idx val="0"/>
          <c:order val="0"/>
          <c:tx>
            <c:strRef>
              <c:f>Sheet1!$A$2</c:f>
              <c:strCache>
                <c:ptCount val="1"/>
                <c:pt idx="0">
                  <c:v>Invisible</c:v>
                </c:pt>
              </c:strCache>
            </c:strRef>
          </c:tx>
          <c:spPr>
            <a:noFill/>
            <a:ln>
              <a:noFill/>
            </a:ln>
          </c:spPr>
          <c:invertIfNegative val="0"/>
          <c:dLbls>
            <c:delete val="1"/>
          </c:dLbls>
          <c:cat>
            <c:strRef>
              <c:f>Sheet1!$B$1:$G$1</c:f>
              <c:strCache>
                <c:ptCount val="6"/>
                <c:pt idx="0">
                  <c:v>Total</c:v>
                </c:pt>
                <c:pt idx="1">
                  <c:v>Label E</c:v>
                </c:pt>
                <c:pt idx="2">
                  <c:v>Label D</c:v>
                </c:pt>
                <c:pt idx="3">
                  <c:v>Label C</c:v>
                </c:pt>
                <c:pt idx="4">
                  <c:v>Label B</c:v>
                </c:pt>
                <c:pt idx="5">
                  <c:v>Label A</c:v>
                </c:pt>
              </c:strCache>
            </c:strRef>
          </c:cat>
          <c:val>
            <c:numRef>
              <c:f>Sheet1!$B$2:$G$2</c:f>
              <c:numCache>
                <c:formatCode>General</c:formatCode>
                <c:ptCount val="6"/>
                <c:pt idx="1">
                  <c:v>140</c:v>
                </c:pt>
                <c:pt idx="2">
                  <c:v>107</c:v>
                </c:pt>
                <c:pt idx="3">
                  <c:v>95</c:v>
                </c:pt>
                <c:pt idx="4">
                  <c:v>73</c:v>
                </c:pt>
              </c:numCache>
            </c:numRef>
          </c:val>
          <c:extLst>
            <c:ext xmlns:c16="http://schemas.microsoft.com/office/drawing/2014/chart" uri="{C3380CC4-5D6E-409C-BE32-E72D297353CC}">
              <c16:uniqueId val="{00000000-58C9-4A92-A23E-5AECFD775AB7}"/>
            </c:ext>
          </c:extLst>
        </c:ser>
        <c:ser>
          <c:idx val="1"/>
          <c:order val="1"/>
          <c:tx>
            <c:strRef>
              <c:f>Sheet1!$A$3</c:f>
              <c:strCache>
                <c:ptCount val="1"/>
                <c:pt idx="0">
                  <c:v>Gray</c:v>
                </c:pt>
              </c:strCache>
            </c:strRef>
          </c:tx>
          <c:spPr>
            <a:solidFill>
              <a:schemeClr val="tx1"/>
            </a:solidFill>
            <a:ln w="12700">
              <a:noFill/>
            </a:ln>
          </c:spPr>
          <c:invertIfNegative val="0"/>
          <c:dLbls>
            <c:numFmt formatCode="#,##0.0" sourceLinked="0"/>
            <c:spPr>
              <a:noFill/>
              <a:ln>
                <a:noFill/>
              </a:ln>
              <a:effectLst/>
            </c:spPr>
            <c:txPr>
              <a:bodyPr/>
              <a:lstStyle/>
              <a:p>
                <a:pPr>
                  <a:defRPr sz="9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1">
                  <c:v>Label E</c:v>
                </c:pt>
                <c:pt idx="2">
                  <c:v>Label D</c:v>
                </c:pt>
                <c:pt idx="3">
                  <c:v>Label C</c:v>
                </c:pt>
                <c:pt idx="4">
                  <c:v>Label B</c:v>
                </c:pt>
                <c:pt idx="5">
                  <c:v>Label A</c:v>
                </c:pt>
              </c:strCache>
            </c:strRef>
          </c:cat>
          <c:val>
            <c:numRef>
              <c:f>Sheet1!$B$3:$G$3</c:f>
              <c:numCache>
                <c:formatCode>General</c:formatCode>
                <c:ptCount val="6"/>
                <c:pt idx="1">
                  <c:v>14</c:v>
                </c:pt>
                <c:pt idx="2">
                  <c:v>33</c:v>
                </c:pt>
                <c:pt idx="3">
                  <c:v>12</c:v>
                </c:pt>
                <c:pt idx="4">
                  <c:v>22</c:v>
                </c:pt>
              </c:numCache>
            </c:numRef>
          </c:val>
          <c:extLst>
            <c:ext xmlns:c16="http://schemas.microsoft.com/office/drawing/2014/chart" uri="{C3380CC4-5D6E-409C-BE32-E72D297353CC}">
              <c16:uniqueId val="{00000001-58C9-4A92-A23E-5AECFD775AB7}"/>
            </c:ext>
          </c:extLst>
        </c:ser>
        <c:ser>
          <c:idx val="2"/>
          <c:order val="2"/>
          <c:tx>
            <c:strRef>
              <c:f>Sheet1!$A$4</c:f>
              <c:strCache>
                <c:ptCount val="1"/>
                <c:pt idx="0">
                  <c:v>BLue</c:v>
                </c:pt>
              </c:strCache>
            </c:strRef>
          </c:tx>
          <c:spPr>
            <a:solidFill>
              <a:schemeClr val="accent1"/>
            </a:solidFill>
            <a:ln w="12700">
              <a:noFill/>
            </a:ln>
          </c:spPr>
          <c:invertIfNegative val="0"/>
          <c:dPt>
            <c:idx val="0"/>
            <c:invertIfNegative val="0"/>
            <c:bubble3D val="0"/>
            <c:extLst>
              <c:ext xmlns:c16="http://schemas.microsoft.com/office/drawing/2014/chart" uri="{C3380CC4-5D6E-409C-BE32-E72D297353CC}">
                <c16:uniqueId val="{00000002-58C9-4A92-A23E-5AECFD775AB7}"/>
              </c:ext>
            </c:extLst>
          </c:dPt>
          <c:dPt>
            <c:idx val="5"/>
            <c:invertIfNegative val="0"/>
            <c:bubble3D val="0"/>
            <c:extLst>
              <c:ext xmlns:c16="http://schemas.microsoft.com/office/drawing/2014/chart" uri="{C3380CC4-5D6E-409C-BE32-E72D297353CC}">
                <c16:uniqueId val="{00000003-58C9-4A92-A23E-5AECFD775AB7}"/>
              </c:ext>
            </c:extLst>
          </c:dPt>
          <c:dLbls>
            <c:numFmt formatCode="#,##0.0" sourceLinked="0"/>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1">
                  <c:v>Label E</c:v>
                </c:pt>
                <c:pt idx="2">
                  <c:v>Label D</c:v>
                </c:pt>
                <c:pt idx="3">
                  <c:v>Label C</c:v>
                </c:pt>
                <c:pt idx="4">
                  <c:v>Label B</c:v>
                </c:pt>
                <c:pt idx="5">
                  <c:v>Label A</c:v>
                </c:pt>
              </c:strCache>
            </c:strRef>
          </c:cat>
          <c:val>
            <c:numRef>
              <c:f>Sheet1!$B$4:$G$4</c:f>
              <c:numCache>
                <c:formatCode>General</c:formatCode>
                <c:ptCount val="6"/>
                <c:pt idx="0">
                  <c:v>154</c:v>
                </c:pt>
                <c:pt idx="5">
                  <c:v>73</c:v>
                </c:pt>
              </c:numCache>
            </c:numRef>
          </c:val>
          <c:extLst>
            <c:ext xmlns:c16="http://schemas.microsoft.com/office/drawing/2014/chart" uri="{C3380CC4-5D6E-409C-BE32-E72D297353CC}">
              <c16:uniqueId val="{00000004-58C9-4A92-A23E-5AECFD775AB7}"/>
            </c:ext>
          </c:extLst>
        </c:ser>
        <c:dLbls>
          <c:showLegendKey val="0"/>
          <c:showVal val="1"/>
          <c:showCatName val="0"/>
          <c:showSerName val="0"/>
          <c:showPercent val="0"/>
          <c:showBubbleSize val="0"/>
        </c:dLbls>
        <c:gapWidth val="0"/>
        <c:overlap val="100"/>
        <c:axId val="16913568"/>
        <c:axId val="17536800"/>
      </c:barChart>
      <c:catAx>
        <c:axId val="16913568"/>
        <c:scaling>
          <c:orientation val="minMax"/>
        </c:scaling>
        <c:delete val="0"/>
        <c:axPos val="l"/>
        <c:numFmt formatCode="General" sourceLinked="0"/>
        <c:majorTickMark val="none"/>
        <c:minorTickMark val="none"/>
        <c:tickLblPos val="nextTo"/>
        <c:spPr>
          <a:ln w="6350">
            <a:solidFill>
              <a:srgbClr val="BBBCBC"/>
            </a:solidFill>
          </a:ln>
        </c:spPr>
        <c:txPr>
          <a:bodyPr/>
          <a:lstStyle/>
          <a:p>
            <a:pPr>
              <a:defRPr sz="900">
                <a:solidFill>
                  <a:srgbClr val="53565A"/>
                </a:solidFill>
              </a:defRPr>
            </a:pPr>
            <a:endParaRPr lang="en-US"/>
          </a:p>
        </c:txPr>
        <c:crossAx val="17536800"/>
        <c:crosses val="autoZero"/>
        <c:auto val="1"/>
        <c:lblAlgn val="ctr"/>
        <c:lblOffset val="100"/>
        <c:noMultiLvlLbl val="0"/>
      </c:catAx>
      <c:valAx>
        <c:axId val="17536800"/>
        <c:scaling>
          <c:orientation val="minMax"/>
          <c:max val="160"/>
        </c:scaling>
        <c:delete val="0"/>
        <c:axPos val="b"/>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691356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3C55-43CD-9F9B-E92CCEA873E4}"/>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3C55-43CD-9F9B-E92CCEA873E4}"/>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3C55-43CD-9F9B-E92CCEA873E4}"/>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3C55-43CD-9F9B-E92CCEA873E4}"/>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3C55-43CD-9F9B-E92CCEA873E4}"/>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3C55-43CD-9F9B-E92CCEA873E4}"/>
            </c:ext>
          </c:extLst>
        </c:ser>
        <c:dLbls>
          <c:dLblPos val="outEnd"/>
          <c:showLegendKey val="0"/>
          <c:showVal val="1"/>
          <c:showCatName val="0"/>
          <c:showSerName val="0"/>
          <c:showPercent val="0"/>
          <c:showBubbleSize val="0"/>
        </c:dLbls>
        <c:gapWidth val="150"/>
        <c:axId val="118019424"/>
        <c:axId val="118021472"/>
      </c:barChart>
      <c:catAx>
        <c:axId val="118019424"/>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18021472"/>
        <c:crosses val="autoZero"/>
        <c:auto val="1"/>
        <c:lblAlgn val="ctr"/>
        <c:lblOffset val="100"/>
        <c:noMultiLvlLbl val="0"/>
      </c:catAx>
      <c:valAx>
        <c:axId val="118021472"/>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1100" b="0">
                <a:solidFill>
                  <a:srgbClr val="53565A"/>
                </a:solidFill>
                <a:latin typeface="+mn-lt"/>
                <a:ea typeface="+mn-lt"/>
                <a:cs typeface="+mn-lt"/>
              </a:defRPr>
            </a:pPr>
            <a:endParaRPr lang="en-US"/>
          </a:p>
        </c:txPr>
        <c:crossAx val="11801942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7108180369527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966850663256299E-2"/>
          <c:y val="5.7818555664215399E-2"/>
          <c:w val="0.964033149336744"/>
          <c:h val="0.74179302161369498"/>
        </c:manualLayout>
      </c:layout>
      <c:lineChart>
        <c:grouping val="standard"/>
        <c:varyColors val="0"/>
        <c:ser>
          <c:idx val="0"/>
          <c:order val="0"/>
          <c:tx>
            <c:strRef>
              <c:f>Sheet1!$A$2</c:f>
              <c:strCache>
                <c:ptCount val="1"/>
                <c:pt idx="0">
                  <c:v>High</c:v>
                </c:pt>
              </c:strCache>
            </c:strRef>
          </c:tx>
          <c:spPr>
            <a:ln>
              <a:noFill/>
            </a:ln>
          </c:spPr>
          <c:marker>
            <c:symbol val="none"/>
          </c:marker>
          <c:dLbls>
            <c:dLbl>
              <c:idx val="0"/>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D34-4DAE-845F-97B19D2D90B9}"/>
                </c:ext>
              </c:extLst>
            </c:dLbl>
            <c:dLbl>
              <c:idx val="1"/>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D34-4DAE-845F-97B19D2D90B9}"/>
                </c:ext>
              </c:extLst>
            </c:dLbl>
            <c:dLbl>
              <c:idx val="2"/>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D34-4DAE-845F-97B19D2D90B9}"/>
                </c:ext>
              </c:extLst>
            </c:dLbl>
            <c:dLbl>
              <c:idx val="3"/>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D34-4DAE-845F-97B19D2D90B9}"/>
                </c:ext>
              </c:extLst>
            </c:dLbl>
            <c:dLbl>
              <c:idx val="4"/>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D34-4DAE-845F-97B19D2D90B9}"/>
                </c:ext>
              </c:extLst>
            </c:dLbl>
            <c:dLbl>
              <c:idx val="5"/>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D34-4DAE-845F-97B19D2D90B9}"/>
                </c:ext>
              </c:extLst>
            </c:dLbl>
            <c:dLbl>
              <c:idx val="6"/>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D34-4DAE-845F-97B19D2D90B9}"/>
                </c:ext>
              </c:extLst>
            </c:dLbl>
            <c:dLbl>
              <c:idx val="7"/>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D34-4DAE-845F-97B19D2D90B9}"/>
                </c:ext>
              </c:extLst>
            </c:dLbl>
            <c:dLbl>
              <c:idx val="8"/>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D34-4DAE-845F-97B19D2D90B9}"/>
                </c:ext>
              </c:extLst>
            </c:dLbl>
            <c:dLbl>
              <c:idx val="9"/>
              <c:layout>
                <c:manualLayout>
                  <c:x val="-2.13185346918971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D34-4DAE-845F-97B19D2D90B9}"/>
                </c:ext>
              </c:extLst>
            </c:dLbl>
            <c:dLbl>
              <c:idx val="10"/>
              <c:layout>
                <c:manualLayout>
                  <c:x val="-2.1318534691897099E-2"/>
                  <c:y val="-1.85185185185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D34-4DAE-845F-97B19D2D90B9}"/>
                </c:ext>
              </c:extLst>
            </c:dLbl>
            <c:dLbl>
              <c:idx val="11"/>
              <c:layout>
                <c:manualLayout>
                  <c:x val="-2.1318534691897002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D34-4DAE-845F-97B19D2D90B9}"/>
                </c:ext>
              </c:extLst>
            </c:dLbl>
            <c:spPr>
              <a:noFill/>
              <a:ln>
                <a:noFill/>
              </a:ln>
              <a:effectLst/>
            </c:spPr>
            <c:txPr>
              <a:bodyPr/>
              <a:lstStyle/>
              <a:p>
                <a:pPr>
                  <a:defRPr sz="11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2:$M$2</c:f>
              <c:numCache>
                <c:formatCode>General</c:formatCode>
                <c:ptCount val="12"/>
                <c:pt idx="0">
                  <c:v>44</c:v>
                </c:pt>
                <c:pt idx="1">
                  <c:v>40</c:v>
                </c:pt>
                <c:pt idx="2">
                  <c:v>38</c:v>
                </c:pt>
                <c:pt idx="3">
                  <c:v>37</c:v>
                </c:pt>
                <c:pt idx="4">
                  <c:v>39</c:v>
                </c:pt>
                <c:pt idx="5">
                  <c:v>43</c:v>
                </c:pt>
                <c:pt idx="6">
                  <c:v>45</c:v>
                </c:pt>
                <c:pt idx="7">
                  <c:v>41</c:v>
                </c:pt>
                <c:pt idx="8">
                  <c:v>45</c:v>
                </c:pt>
                <c:pt idx="9">
                  <c:v>42</c:v>
                </c:pt>
                <c:pt idx="10">
                  <c:v>37</c:v>
                </c:pt>
                <c:pt idx="11">
                  <c:v>41</c:v>
                </c:pt>
              </c:numCache>
            </c:numRef>
          </c:val>
          <c:smooth val="0"/>
          <c:extLst>
            <c:ext xmlns:c16="http://schemas.microsoft.com/office/drawing/2014/chart" uri="{C3380CC4-5D6E-409C-BE32-E72D297353CC}">
              <c16:uniqueId val="{0000000C-BD34-4DAE-845F-97B19D2D90B9}"/>
            </c:ext>
          </c:extLst>
        </c:ser>
        <c:ser>
          <c:idx val="1"/>
          <c:order val="1"/>
          <c:tx>
            <c:strRef>
              <c:f>Sheet1!$A$3</c:f>
              <c:strCache>
                <c:ptCount val="1"/>
                <c:pt idx="0">
                  <c:v>Medium</c:v>
                </c:pt>
              </c:strCache>
            </c:strRef>
          </c:tx>
          <c:spPr>
            <a:ln w="28575">
              <a:solidFill>
                <a:schemeClr val="tx1"/>
              </a:solidFill>
            </a:ln>
          </c:spPr>
          <c:marker>
            <c:symbol val="none"/>
          </c:marker>
          <c:dLbls>
            <c:spPr>
              <a:noFill/>
              <a:ln>
                <a:noFill/>
              </a:ln>
              <a:effectLst/>
            </c:spPr>
            <c:txPr>
              <a:bodyPr/>
              <a:lstStyle/>
              <a:p>
                <a:pPr>
                  <a:defRPr sz="1100"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3:$M$3</c:f>
              <c:numCache>
                <c:formatCode>General</c:formatCode>
                <c:ptCount val="12"/>
                <c:pt idx="0">
                  <c:v>40</c:v>
                </c:pt>
                <c:pt idx="1">
                  <c:v>37</c:v>
                </c:pt>
                <c:pt idx="2">
                  <c:v>36</c:v>
                </c:pt>
                <c:pt idx="3">
                  <c:v>34</c:v>
                </c:pt>
                <c:pt idx="4">
                  <c:v>36</c:v>
                </c:pt>
                <c:pt idx="5">
                  <c:v>38</c:v>
                </c:pt>
                <c:pt idx="6">
                  <c:v>42</c:v>
                </c:pt>
                <c:pt idx="7">
                  <c:v>38</c:v>
                </c:pt>
                <c:pt idx="8">
                  <c:v>41</c:v>
                </c:pt>
                <c:pt idx="9">
                  <c:v>40</c:v>
                </c:pt>
                <c:pt idx="10">
                  <c:v>35</c:v>
                </c:pt>
                <c:pt idx="11">
                  <c:v>39</c:v>
                </c:pt>
              </c:numCache>
            </c:numRef>
          </c:val>
          <c:smooth val="0"/>
          <c:extLst>
            <c:ext xmlns:c16="http://schemas.microsoft.com/office/drawing/2014/chart" uri="{C3380CC4-5D6E-409C-BE32-E72D297353CC}">
              <c16:uniqueId val="{0000000D-BD34-4DAE-845F-97B19D2D90B9}"/>
            </c:ext>
          </c:extLst>
        </c:ser>
        <c:ser>
          <c:idx val="2"/>
          <c:order val="2"/>
          <c:tx>
            <c:strRef>
              <c:f>Sheet1!$A$4</c:f>
              <c:strCache>
                <c:ptCount val="1"/>
                <c:pt idx="0">
                  <c:v>Low</c:v>
                </c:pt>
              </c:strCache>
            </c:strRef>
          </c:tx>
          <c:spPr>
            <a:ln>
              <a:noFill/>
            </a:ln>
          </c:spPr>
          <c:marker>
            <c:symbol val="none"/>
          </c:marker>
          <c:dLbls>
            <c:dLbl>
              <c:idx val="0"/>
              <c:layout>
                <c:manualLayout>
                  <c:x val="-2.1318654081995202E-2"/>
                  <c:y val="3.70370370370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BD34-4DAE-845F-97B19D2D90B9}"/>
                </c:ext>
              </c:extLst>
            </c:dLbl>
            <c:dLbl>
              <c:idx val="1"/>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D34-4DAE-845F-97B19D2D90B9}"/>
                </c:ext>
              </c:extLst>
            </c:dLbl>
            <c:dLbl>
              <c:idx val="2"/>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BD34-4DAE-845F-97B19D2D90B9}"/>
                </c:ext>
              </c:extLst>
            </c:dLbl>
            <c:dLbl>
              <c:idx val="3"/>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D34-4DAE-845F-97B19D2D90B9}"/>
                </c:ext>
              </c:extLst>
            </c:dLbl>
            <c:dLbl>
              <c:idx val="4"/>
              <c:layout>
                <c:manualLayout>
                  <c:x val="-2.1318534691897099E-2"/>
                  <c:y val="2.4691358024691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BD34-4DAE-845F-97B19D2D90B9}"/>
                </c:ext>
              </c:extLst>
            </c:dLbl>
            <c:dLbl>
              <c:idx val="5"/>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BD34-4DAE-845F-97B19D2D90B9}"/>
                </c:ext>
              </c:extLst>
            </c:dLbl>
            <c:dLbl>
              <c:idx val="6"/>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BD34-4DAE-845F-97B19D2D90B9}"/>
                </c:ext>
              </c:extLst>
            </c:dLbl>
            <c:dLbl>
              <c:idx val="7"/>
              <c:layout>
                <c:manualLayout>
                  <c:x val="-2.1318534691897099E-2"/>
                  <c:y val="2.16049382716048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BD34-4DAE-845F-97B19D2D90B9}"/>
                </c:ext>
              </c:extLst>
            </c:dLbl>
            <c:dLbl>
              <c:idx val="8"/>
              <c:layout>
                <c:manualLayout>
                  <c:x val="-2.1318534691897099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BD34-4DAE-845F-97B19D2D90B9}"/>
                </c:ext>
              </c:extLst>
            </c:dLbl>
            <c:dLbl>
              <c:idx val="9"/>
              <c:layout>
                <c:manualLayout>
                  <c:x val="-2.1318534691897199E-2"/>
                  <c:y val="3.08641975308641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BD34-4DAE-845F-97B19D2D90B9}"/>
                </c:ext>
              </c:extLst>
            </c:dLbl>
            <c:dLbl>
              <c:idx val="10"/>
              <c:layout>
                <c:manualLayout>
                  <c:x val="-2.1318534691897099E-2"/>
                  <c:y val="3.39506172839506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BD34-4DAE-845F-97B19D2D90B9}"/>
                </c:ext>
              </c:extLst>
            </c:dLbl>
            <c:dLbl>
              <c:idx val="11"/>
              <c:layout>
                <c:manualLayout>
                  <c:x val="-2.1318534691897002E-2"/>
                  <c:y val="2.7777777777777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BD34-4DAE-845F-97B19D2D90B9}"/>
                </c:ext>
              </c:extLst>
            </c:dLbl>
            <c:spPr>
              <a:noFill/>
              <a:ln>
                <a:noFill/>
              </a:ln>
              <a:effectLst/>
            </c:spPr>
            <c:txPr>
              <a:bodyPr/>
              <a:lstStyle/>
              <a:p>
                <a:pPr>
                  <a:defRPr sz="1100" b="0">
                    <a:solidFill>
                      <a:srgbClr val="53565A"/>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4:$M$4</c:f>
              <c:numCache>
                <c:formatCode>General</c:formatCode>
                <c:ptCount val="12"/>
                <c:pt idx="0">
                  <c:v>36</c:v>
                </c:pt>
                <c:pt idx="1">
                  <c:v>34</c:v>
                </c:pt>
                <c:pt idx="2">
                  <c:v>34</c:v>
                </c:pt>
                <c:pt idx="3">
                  <c:v>31</c:v>
                </c:pt>
                <c:pt idx="4">
                  <c:v>33</c:v>
                </c:pt>
                <c:pt idx="5">
                  <c:v>34</c:v>
                </c:pt>
                <c:pt idx="6">
                  <c:v>38</c:v>
                </c:pt>
                <c:pt idx="7">
                  <c:v>35</c:v>
                </c:pt>
                <c:pt idx="8">
                  <c:v>37</c:v>
                </c:pt>
                <c:pt idx="9">
                  <c:v>38</c:v>
                </c:pt>
                <c:pt idx="10">
                  <c:v>33</c:v>
                </c:pt>
                <c:pt idx="11">
                  <c:v>37</c:v>
                </c:pt>
              </c:numCache>
            </c:numRef>
          </c:val>
          <c:smooth val="0"/>
          <c:extLst>
            <c:ext xmlns:c16="http://schemas.microsoft.com/office/drawing/2014/chart" uri="{C3380CC4-5D6E-409C-BE32-E72D297353CC}">
              <c16:uniqueId val="{0000001A-BD34-4DAE-845F-97B19D2D90B9}"/>
            </c:ext>
          </c:extLst>
        </c:ser>
        <c:dLbls>
          <c:dLblPos val="ctr"/>
          <c:showLegendKey val="0"/>
          <c:showVal val="1"/>
          <c:showCatName val="0"/>
          <c:showSerName val="0"/>
          <c:showPercent val="0"/>
          <c:showBubbleSize val="0"/>
        </c:dLbls>
        <c:upDownBars>
          <c:gapWidth val="150"/>
          <c:upBars/>
          <c:downBars>
            <c:spPr>
              <a:solidFill>
                <a:schemeClr val="accent1"/>
              </a:solidFill>
              <a:ln w="12700">
                <a:noFill/>
              </a:ln>
            </c:spPr>
          </c:downBars>
        </c:upDownBars>
        <c:smooth val="0"/>
        <c:axId val="110532240"/>
        <c:axId val="110522720"/>
      </c:lineChart>
      <c:catAx>
        <c:axId val="110532240"/>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0522720"/>
        <c:crosses val="autoZero"/>
        <c:auto val="1"/>
        <c:lblAlgn val="ctr"/>
        <c:lblOffset val="100"/>
        <c:noMultiLvlLbl val="0"/>
      </c:catAx>
      <c:valAx>
        <c:axId val="110522720"/>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532240"/>
        <c:crosses val="autoZero"/>
        <c:crossBetween val="between"/>
        <c:majorUnit val="10"/>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303330807498401E-2"/>
          <c:y val="5.7818555664215399E-2"/>
          <c:w val="0.92609626725529604"/>
          <c:h val="0.74181489558374403"/>
        </c:manualLayout>
      </c:layout>
      <c:barChart>
        <c:barDir val="col"/>
        <c:grouping val="clustered"/>
        <c:varyColors val="0"/>
        <c:ser>
          <c:idx val="0"/>
          <c:order val="0"/>
          <c:tx>
            <c:strRef>
              <c:f>Sheet1!$A$2</c:f>
              <c:strCache>
                <c:ptCount val="1"/>
              </c:strCache>
            </c:strRef>
          </c:tx>
          <c:spPr>
            <a:solidFill>
              <a:schemeClr val="accent3"/>
            </a:solidFill>
            <a:ln w="12700">
              <a:noFill/>
            </a:ln>
          </c:spPr>
          <c:invertIfNegative val="0"/>
          <c:cat>
            <c:strRef>
              <c:f>Sheet1!$B$1:$E$1</c:f>
              <c:strCache>
                <c:ptCount val="4"/>
                <c:pt idx="0">
                  <c:v>A</c:v>
                </c:pt>
                <c:pt idx="1">
                  <c:v>B</c:v>
                </c:pt>
                <c:pt idx="2">
                  <c:v>C</c:v>
                </c:pt>
                <c:pt idx="3">
                  <c:v>D</c:v>
                </c:pt>
              </c:strCache>
            </c:strRef>
          </c:cat>
          <c:val>
            <c:numRef>
              <c:f>Sheet1!$B$2:$E$2</c:f>
              <c:numCache>
                <c:formatCode>General</c:formatCode>
                <c:ptCount val="4"/>
                <c:pt idx="0">
                  <c:v>200</c:v>
                </c:pt>
                <c:pt idx="1">
                  <c:v>300</c:v>
                </c:pt>
                <c:pt idx="2">
                  <c:v>400</c:v>
                </c:pt>
                <c:pt idx="3">
                  <c:v>500</c:v>
                </c:pt>
              </c:numCache>
            </c:numRef>
          </c:val>
          <c:extLst>
            <c:ext xmlns:c16="http://schemas.microsoft.com/office/drawing/2014/chart" uri="{C3380CC4-5D6E-409C-BE32-E72D297353CC}">
              <c16:uniqueId val="{00000000-E04F-4FFE-B2F2-2AE5E185EBDD}"/>
            </c:ext>
          </c:extLst>
        </c:ser>
        <c:dLbls>
          <c:showLegendKey val="0"/>
          <c:showVal val="0"/>
          <c:showCatName val="0"/>
          <c:showSerName val="0"/>
          <c:showPercent val="0"/>
          <c:showBubbleSize val="0"/>
        </c:dLbls>
        <c:gapWidth val="150"/>
        <c:axId val="114470736"/>
        <c:axId val="123438592"/>
      </c:barChart>
      <c:stockChart>
        <c:ser>
          <c:idx val="1"/>
          <c:order val="1"/>
          <c:tx>
            <c:strRef>
              <c:f>Sheet1!$A$3</c:f>
              <c:strCache>
                <c:ptCount val="1"/>
                <c:pt idx="0">
                  <c:v>Bottom</c:v>
                </c:pt>
              </c:strCache>
            </c:strRef>
          </c:tx>
          <c:spPr>
            <a:ln w="28575">
              <a:noFill/>
            </a:ln>
          </c:spPr>
          <c:marker>
            <c:symbol val="none"/>
          </c:marker>
          <c:cat>
            <c:strRef>
              <c:f>Sheet1!$B$1:$E$1</c:f>
              <c:strCache>
                <c:ptCount val="4"/>
                <c:pt idx="0">
                  <c:v>A</c:v>
                </c:pt>
                <c:pt idx="1">
                  <c:v>B</c:v>
                </c:pt>
                <c:pt idx="2">
                  <c:v>C</c:v>
                </c:pt>
                <c:pt idx="3">
                  <c:v>D</c:v>
                </c:pt>
              </c:strCache>
            </c:strRef>
          </c:cat>
          <c:val>
            <c:numRef>
              <c:f>Sheet1!$B$3:$E$3</c:f>
              <c:numCache>
                <c:formatCode>General</c:formatCode>
                <c:ptCount val="4"/>
                <c:pt idx="0">
                  <c:v>10</c:v>
                </c:pt>
                <c:pt idx="1">
                  <c:v>20</c:v>
                </c:pt>
                <c:pt idx="2">
                  <c:v>30</c:v>
                </c:pt>
                <c:pt idx="3">
                  <c:v>40</c:v>
                </c:pt>
              </c:numCache>
            </c:numRef>
          </c:val>
          <c:smooth val="0"/>
          <c:extLst>
            <c:ext xmlns:c16="http://schemas.microsoft.com/office/drawing/2014/chart" uri="{C3380CC4-5D6E-409C-BE32-E72D297353CC}">
              <c16:uniqueId val="{00000001-E04F-4FFE-B2F2-2AE5E185EBDD}"/>
            </c:ext>
          </c:extLst>
        </c:ser>
        <c:ser>
          <c:idx val="2"/>
          <c:order val="2"/>
          <c:tx>
            <c:strRef>
              <c:f>Sheet1!$A$4</c:f>
              <c:strCache>
                <c:ptCount val="1"/>
                <c:pt idx="0">
                  <c:v>Mid</c:v>
                </c:pt>
              </c:strCache>
            </c:strRef>
          </c:tx>
          <c:spPr>
            <a:ln w="28575">
              <a:noFill/>
            </a:ln>
          </c:spPr>
          <c:marker>
            <c:symbol val="none"/>
          </c:marker>
          <c:cat>
            <c:strRef>
              <c:f>Sheet1!$B$1:$E$1</c:f>
              <c:strCache>
                <c:ptCount val="4"/>
                <c:pt idx="0">
                  <c:v>A</c:v>
                </c:pt>
                <c:pt idx="1">
                  <c:v>B</c:v>
                </c:pt>
                <c:pt idx="2">
                  <c:v>C</c:v>
                </c:pt>
                <c:pt idx="3">
                  <c:v>D</c:v>
                </c:pt>
              </c:strCache>
            </c:strRef>
          </c:cat>
          <c:val>
            <c:numRef>
              <c:f>Sheet1!$B$4:$E$4</c:f>
              <c:numCache>
                <c:formatCode>General</c:formatCode>
                <c:ptCount val="4"/>
                <c:pt idx="0">
                  <c:v>25</c:v>
                </c:pt>
                <c:pt idx="1">
                  <c:v>35</c:v>
                </c:pt>
                <c:pt idx="2">
                  <c:v>45</c:v>
                </c:pt>
                <c:pt idx="3">
                  <c:v>55</c:v>
                </c:pt>
              </c:numCache>
            </c:numRef>
          </c:val>
          <c:smooth val="0"/>
          <c:extLst>
            <c:ext xmlns:c16="http://schemas.microsoft.com/office/drawing/2014/chart" uri="{C3380CC4-5D6E-409C-BE32-E72D297353CC}">
              <c16:uniqueId val="{00000002-E04F-4FFE-B2F2-2AE5E185EBDD}"/>
            </c:ext>
          </c:extLst>
        </c:ser>
        <c:ser>
          <c:idx val="3"/>
          <c:order val="3"/>
          <c:tx>
            <c:strRef>
              <c:f>Sheet1!$A$5</c:f>
              <c:strCache>
                <c:ptCount val="1"/>
                <c:pt idx="0">
                  <c:v>Top</c:v>
                </c:pt>
              </c:strCache>
            </c:strRef>
          </c:tx>
          <c:spPr>
            <a:ln w="28575">
              <a:noFill/>
            </a:ln>
          </c:spPr>
          <c:marker>
            <c:symbol val="dash"/>
            <c:size val="5"/>
            <c:spPr>
              <a:solidFill>
                <a:schemeClr val="tx2"/>
              </a:solidFill>
              <a:ln>
                <a:solidFill>
                  <a:schemeClr val="tx2"/>
                </a:solidFill>
              </a:ln>
            </c:spPr>
          </c:marker>
          <c:cat>
            <c:strRef>
              <c:f>Sheet1!$B$1:$E$1</c:f>
              <c:strCache>
                <c:ptCount val="4"/>
                <c:pt idx="0">
                  <c:v>A</c:v>
                </c:pt>
                <c:pt idx="1">
                  <c:v>B</c:v>
                </c:pt>
                <c:pt idx="2">
                  <c:v>C</c:v>
                </c:pt>
                <c:pt idx="3">
                  <c:v>D</c:v>
                </c:pt>
              </c:strCache>
            </c:strRef>
          </c:cat>
          <c:val>
            <c:numRef>
              <c:f>Sheet1!$B$5:$E$5</c:f>
              <c:numCache>
                <c:formatCode>General</c:formatCode>
                <c:ptCount val="4"/>
                <c:pt idx="0">
                  <c:v>40</c:v>
                </c:pt>
                <c:pt idx="1">
                  <c:v>50</c:v>
                </c:pt>
                <c:pt idx="2">
                  <c:v>60</c:v>
                </c:pt>
                <c:pt idx="3">
                  <c:v>70</c:v>
                </c:pt>
              </c:numCache>
            </c:numRef>
          </c:val>
          <c:smooth val="0"/>
          <c:extLst>
            <c:ext xmlns:c16="http://schemas.microsoft.com/office/drawing/2014/chart" uri="{C3380CC4-5D6E-409C-BE32-E72D297353CC}">
              <c16:uniqueId val="{00000003-E04F-4FFE-B2F2-2AE5E185EBDD}"/>
            </c:ext>
          </c:extLst>
        </c:ser>
        <c:dLbls>
          <c:showLegendKey val="0"/>
          <c:showVal val="0"/>
          <c:showCatName val="0"/>
          <c:showSerName val="0"/>
          <c:showPercent val="0"/>
          <c:showBubbleSize val="0"/>
        </c:dLbls>
        <c:hiLowLines>
          <c:spPr>
            <a:ln w="12700">
              <a:solidFill>
                <a:schemeClr val="tx1"/>
              </a:solidFill>
            </a:ln>
          </c:spPr>
        </c:hiLowLines>
        <c:axId val="123537504"/>
        <c:axId val="19860960"/>
      </c:stockChart>
      <c:catAx>
        <c:axId val="114470736"/>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23438592"/>
        <c:crosses val="autoZero"/>
        <c:auto val="1"/>
        <c:lblAlgn val="ctr"/>
        <c:lblOffset val="100"/>
        <c:noMultiLvlLbl val="0"/>
      </c:catAx>
      <c:valAx>
        <c:axId val="12343859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4470736"/>
        <c:crosses val="autoZero"/>
        <c:crossBetween val="between"/>
      </c:valAx>
      <c:valAx>
        <c:axId val="19860960"/>
        <c:scaling>
          <c:orientation val="minMax"/>
        </c:scaling>
        <c:delete val="0"/>
        <c:axPos val="r"/>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23537504"/>
        <c:crosses val="max"/>
        <c:crossBetween val="between"/>
        <c:majorUnit val="20"/>
      </c:valAx>
      <c:catAx>
        <c:axId val="123537504"/>
        <c:scaling>
          <c:orientation val="minMax"/>
        </c:scaling>
        <c:delete val="1"/>
        <c:axPos val="b"/>
        <c:numFmt formatCode="General" sourceLinked="1"/>
        <c:majorTickMark val="out"/>
        <c:minorTickMark val="none"/>
        <c:tickLblPos val="none"/>
        <c:crossAx val="19860960"/>
        <c:crosses val="autoZero"/>
        <c:auto val="1"/>
        <c:lblAlgn val="ctr"/>
        <c:lblOffset val="100"/>
        <c:noMultiLvlLbl val="0"/>
      </c:cat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303330807498401E-2"/>
          <c:y val="5.75907222907798E-2"/>
          <c:w val="0.93651332951962196"/>
          <c:h val="0.74361003577745899"/>
        </c:manualLayout>
      </c:layout>
      <c:scatterChart>
        <c:scatterStyle val="lineMarker"/>
        <c:varyColors val="0"/>
        <c:ser>
          <c:idx val="0"/>
          <c:order val="0"/>
          <c:tx>
            <c:strRef>
              <c:f>Sheet1!$B$1</c:f>
              <c:strCache>
                <c:ptCount val="1"/>
                <c:pt idx="0">
                  <c:v>Y values</c:v>
                </c:pt>
              </c:strCache>
            </c:strRef>
          </c:tx>
          <c:spPr>
            <a:ln w="28575">
              <a:noFill/>
            </a:ln>
          </c:spPr>
          <c:marker>
            <c:symbol val="square"/>
            <c:size val="7"/>
          </c:marker>
          <c:dLbls>
            <c:dLbl>
              <c:idx val="0"/>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225-40DB-AE22-7886877A7F28}"/>
                </c:ext>
              </c:extLst>
            </c:dLbl>
            <c:dLbl>
              <c:idx val="1"/>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225-40DB-AE22-7886877A7F28}"/>
                </c:ext>
              </c:extLst>
            </c:dLbl>
            <c:dLbl>
              <c:idx val="2"/>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225-40DB-AE22-7886877A7F28}"/>
                </c:ext>
              </c:extLst>
            </c:dLbl>
            <c:dLbl>
              <c:idx val="3"/>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225-40DB-AE22-7886877A7F28}"/>
                </c:ext>
              </c:extLst>
            </c:dLbl>
            <c:dLbl>
              <c:idx val="4"/>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225-40DB-AE22-7886877A7F28}"/>
                </c:ext>
              </c:extLst>
            </c:dLbl>
            <c:dLbl>
              <c:idx val="5"/>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225-40DB-AE22-7886877A7F28}"/>
                </c:ext>
              </c:extLst>
            </c:dLbl>
            <c:dLbl>
              <c:idx val="6"/>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225-40DB-AE22-7886877A7F28}"/>
                </c:ext>
              </c:extLst>
            </c:dLbl>
            <c:dLbl>
              <c:idx val="7"/>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225-40DB-AE22-7886877A7F28}"/>
                </c:ext>
              </c:extLst>
            </c:dLbl>
            <c:dLbl>
              <c:idx val="8"/>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225-40DB-AE22-7886877A7F28}"/>
                </c:ext>
              </c:extLst>
            </c:dLbl>
            <c:dLbl>
              <c:idx val="9"/>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225-40DB-AE22-7886877A7F28}"/>
                </c:ext>
              </c:extLst>
            </c:dLbl>
            <c:dLbl>
              <c:idx val="10"/>
              <c:tx>
                <c:rich>
                  <a:bodyPr/>
                  <a:lstStyle/>
                  <a:p>
                    <a:r>
                      <a:rPr lang="en-US" sz="900" b="0" dirty="0">
                        <a:solidFill>
                          <a:srgbClr val="53565A"/>
                        </a:solidFill>
                      </a:rPr>
                      <a:t>xxx</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225-40DB-AE22-7886877A7F28}"/>
                </c:ext>
              </c:extLst>
            </c:dLbl>
            <c:spPr>
              <a:noFill/>
              <a:ln>
                <a:noFill/>
              </a:ln>
              <a:effectLst/>
            </c:spPr>
            <c:txPr>
              <a:bodyPr/>
              <a:lstStyle/>
              <a:p>
                <a:pPr>
                  <a:defRPr sz="11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A$2:$A$12</c:f>
              <c:numCache>
                <c:formatCode>General</c:formatCode>
                <c:ptCount val="11"/>
                <c:pt idx="0">
                  <c:v>20</c:v>
                </c:pt>
                <c:pt idx="1">
                  <c:v>11</c:v>
                </c:pt>
                <c:pt idx="2">
                  <c:v>36</c:v>
                </c:pt>
                <c:pt idx="3">
                  <c:v>48</c:v>
                </c:pt>
                <c:pt idx="4">
                  <c:v>56</c:v>
                </c:pt>
                <c:pt idx="5">
                  <c:v>70</c:v>
                </c:pt>
                <c:pt idx="6">
                  <c:v>10</c:v>
                </c:pt>
                <c:pt idx="7">
                  <c:v>30</c:v>
                </c:pt>
                <c:pt idx="8">
                  <c:v>88</c:v>
                </c:pt>
                <c:pt idx="9">
                  <c:v>22</c:v>
                </c:pt>
                <c:pt idx="10">
                  <c:v>60</c:v>
                </c:pt>
              </c:numCache>
            </c:numRef>
          </c:xVal>
          <c:yVal>
            <c:numRef>
              <c:f>Sheet1!$B$2:$B$1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smooth val="0"/>
          <c:extLst>
            <c:ext xmlns:c16="http://schemas.microsoft.com/office/drawing/2014/chart" uri="{C3380CC4-5D6E-409C-BE32-E72D297353CC}">
              <c16:uniqueId val="{0000000B-2225-40DB-AE22-7886877A7F28}"/>
            </c:ext>
          </c:extLst>
        </c:ser>
        <c:dLbls>
          <c:showLegendKey val="0"/>
          <c:showVal val="0"/>
          <c:showCatName val="0"/>
          <c:showSerName val="0"/>
          <c:showPercent val="0"/>
          <c:showBubbleSize val="0"/>
        </c:dLbls>
        <c:axId val="118291792"/>
        <c:axId val="117890624"/>
      </c:scatterChart>
      <c:valAx>
        <c:axId val="118291792"/>
        <c:scaling>
          <c:orientation val="minMax"/>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7890624"/>
        <c:crosses val="autoZero"/>
        <c:crossBetween val="midCat"/>
      </c:valAx>
      <c:valAx>
        <c:axId val="11789062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8291792"/>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303330807498401E-2"/>
          <c:y val="5.7818555664215399E-2"/>
          <c:w val="0.94086479395476796"/>
          <c:h val="0.74077477601914898"/>
        </c:manualLayout>
      </c:layout>
      <c:bubbleChart>
        <c:varyColors val="0"/>
        <c:ser>
          <c:idx val="0"/>
          <c:order val="0"/>
          <c:tx>
            <c:strRef>
              <c:f>Sheet1!$B$1</c:f>
              <c:strCache>
                <c:ptCount val="1"/>
                <c:pt idx="0">
                  <c:v>20</c:v>
                </c:pt>
              </c:strCache>
            </c:strRef>
          </c:tx>
          <c:spPr>
            <a:solidFill>
              <a:schemeClr val="accent3"/>
            </a:solidFill>
            <a:ln w="12700">
              <a:noFill/>
            </a:ln>
          </c:spPr>
          <c:invertIfNegative val="0"/>
          <c:dLbls>
            <c:dLbl>
              <c:idx val="0"/>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880-453F-AE51-8DF3A158D51A}"/>
                </c:ext>
              </c:extLst>
            </c:dLbl>
            <c:dLbl>
              <c:idx val="1"/>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880-453F-AE51-8DF3A158D51A}"/>
                </c:ext>
              </c:extLst>
            </c:dLbl>
            <c:dLbl>
              <c:idx val="2"/>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880-453F-AE51-8DF3A158D51A}"/>
                </c:ext>
              </c:extLst>
            </c:dLbl>
            <c:dLbl>
              <c:idx val="3"/>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880-453F-AE51-8DF3A158D51A}"/>
                </c:ext>
              </c:extLst>
            </c:dLbl>
            <c:dLbl>
              <c:idx val="4"/>
              <c:layout>
                <c:manualLayout>
                  <c:x val="-7.5813906176575097E-3"/>
                  <c:y val="3.3950617283950602E-2"/>
                </c:manualLayout>
              </c:layout>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880-453F-AE51-8DF3A158D51A}"/>
                </c:ext>
              </c:extLst>
            </c:dLbl>
            <c:dLbl>
              <c:idx val="5"/>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880-453F-AE51-8DF3A158D51A}"/>
                </c:ext>
              </c:extLst>
            </c:dLbl>
            <c:dLbl>
              <c:idx val="6"/>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880-453F-AE51-8DF3A158D51A}"/>
                </c:ext>
              </c:extLst>
            </c:dLbl>
            <c:dLbl>
              <c:idx val="7"/>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880-453F-AE51-8DF3A158D51A}"/>
                </c:ext>
              </c:extLst>
            </c:dLbl>
            <c:dLbl>
              <c:idx val="8"/>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880-453F-AE51-8DF3A158D51A}"/>
                </c:ext>
              </c:extLst>
            </c:dLbl>
            <c:dLbl>
              <c:idx val="9"/>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880-453F-AE51-8DF3A158D51A}"/>
                </c:ext>
              </c:extLst>
            </c:dLbl>
            <c:dLbl>
              <c:idx val="10"/>
              <c:tx>
                <c:rich>
                  <a:bodyPr/>
                  <a:lstStyle/>
                  <a:p>
                    <a:r>
                      <a:rPr lang="en-US" sz="1000" b="0" dirty="0">
                        <a:solidFill>
                          <a:srgbClr val="53565A"/>
                        </a:solidFill>
                      </a:rPr>
                      <a:t>xxx</a:t>
                    </a:r>
                    <a:endParaRPr lang="en-US" b="0" dirty="0">
                      <a:solidFill>
                        <a:srgbClr val="53565A"/>
                      </a:solidFill>
                    </a:endParaRP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880-453F-AE51-8DF3A158D51A}"/>
                </c:ext>
              </c:extLst>
            </c:dLbl>
            <c:spPr>
              <a:noFill/>
              <a:ln>
                <a:noFill/>
              </a:ln>
              <a:effectLst/>
            </c:spPr>
            <c:txPr>
              <a:bodyPr/>
              <a:lstStyle/>
              <a:p>
                <a:pPr>
                  <a:defRPr sz="11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B$1:$L$1</c:f>
              <c:strCache>
                <c:ptCount val="11"/>
                <c:pt idx="0">
                  <c:v>20</c:v>
                </c:pt>
                <c:pt idx="1">
                  <c:v>11</c:v>
                </c:pt>
                <c:pt idx="2">
                  <c:v>36</c:v>
                </c:pt>
                <c:pt idx="3">
                  <c:v>48</c:v>
                </c:pt>
                <c:pt idx="4">
                  <c:v>56</c:v>
                </c:pt>
                <c:pt idx="5">
                  <c:v>70</c:v>
                </c:pt>
                <c:pt idx="6">
                  <c:v>10</c:v>
                </c:pt>
                <c:pt idx="7">
                  <c:v>30</c:v>
                </c:pt>
                <c:pt idx="8">
                  <c:v>88</c:v>
                </c:pt>
                <c:pt idx="9">
                  <c:v>22</c:v>
                </c:pt>
                <c:pt idx="10">
                  <c:v>60</c:v>
                </c:pt>
              </c:strCache>
            </c:strRef>
          </c:xVal>
          <c:yVal>
            <c:numRef>
              <c:f>Sheet1!$B$2:$L$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bubbleSize>
            <c:numRef>
              <c:f>Sheet1!$B$3:$L$3</c:f>
              <c:numCache>
                <c:formatCode>General</c:formatCode>
                <c:ptCount val="11"/>
                <c:pt idx="0">
                  <c:v>33</c:v>
                </c:pt>
                <c:pt idx="1">
                  <c:v>5</c:v>
                </c:pt>
                <c:pt idx="2">
                  <c:v>11</c:v>
                </c:pt>
                <c:pt idx="3">
                  <c:v>80</c:v>
                </c:pt>
                <c:pt idx="4">
                  <c:v>100</c:v>
                </c:pt>
                <c:pt idx="5">
                  <c:v>5</c:v>
                </c:pt>
                <c:pt idx="6">
                  <c:v>150</c:v>
                </c:pt>
                <c:pt idx="7">
                  <c:v>40</c:v>
                </c:pt>
                <c:pt idx="8">
                  <c:v>2</c:v>
                </c:pt>
                <c:pt idx="9">
                  <c:v>20</c:v>
                </c:pt>
                <c:pt idx="10">
                  <c:v>100</c:v>
                </c:pt>
              </c:numCache>
            </c:numRef>
          </c:bubbleSize>
          <c:bubble3D val="0"/>
          <c:extLst>
            <c:ext xmlns:c16="http://schemas.microsoft.com/office/drawing/2014/chart" uri="{C3380CC4-5D6E-409C-BE32-E72D297353CC}">
              <c16:uniqueId val="{0000000B-D880-453F-AE51-8DF3A158D51A}"/>
            </c:ext>
          </c:extLst>
        </c:ser>
        <c:ser>
          <c:idx val="1"/>
          <c:order val="1"/>
          <c:tx>
            <c:strRef>
              <c:f>Sheet1!$A$3:$K$3</c:f>
              <c:strCache>
                <c:ptCount val="1"/>
                <c:pt idx="0">
                  <c:v>Size of Bubble 33 5 11 80 100 5 150 40 2 20</c:v>
                </c:pt>
              </c:strCache>
            </c:strRef>
          </c:tx>
          <c:spPr>
            <a:solidFill>
              <a:schemeClr val="accent3"/>
            </a:solidFill>
            <a:ln w="28575">
              <a:noFill/>
            </a:ln>
          </c:spPr>
          <c:invertIfNegative val="0"/>
          <c:dLbls>
            <c:dLbl>
              <c:idx val="0"/>
              <c:tx>
                <c:rich>
                  <a:bodyPr/>
                  <a:lstStyle/>
                  <a:p>
                    <a:pPr>
                      <a:defRPr sz="1100" b="0">
                        <a:solidFill>
                          <a:srgbClr val="53565A"/>
                        </a:solidFill>
                      </a:defRPr>
                    </a:pPr>
                    <a:r>
                      <a:rPr lang="en-US" sz="1100" b="0" dirty="0">
                        <a:solidFill>
                          <a:srgbClr val="53565A"/>
                        </a:solidFill>
                      </a:rPr>
                      <a:t>xxx</a:t>
                    </a:r>
                  </a:p>
                </c:rich>
              </c:tx>
              <c:sp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880-453F-AE51-8DF3A158D51A}"/>
                </c:ext>
              </c:extLst>
            </c:dLbl>
            <c:spPr>
              <a:noFill/>
              <a:ln>
                <a:noFill/>
              </a:ln>
              <a:effectLst/>
            </c:spPr>
            <c:txPr>
              <a:bodyPr/>
              <a:lstStyle/>
              <a:p>
                <a:pPr>
                  <a:defRPr sz="1100" b="0">
                    <a:solidFill>
                      <a:srgbClr val="53565A"/>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L$1</c:f>
              <c:strCache>
                <c:ptCount val="1"/>
                <c:pt idx="0">
                  <c:v>60</c:v>
                </c:pt>
              </c:strCache>
            </c:strRef>
          </c:xVal>
          <c:yVal>
            <c:numRef>
              <c:f>Sheet1!$L$3</c:f>
              <c:numCache>
                <c:formatCode>General</c:formatCode>
                <c:ptCount val="1"/>
                <c:pt idx="0">
                  <c:v>100</c:v>
                </c:pt>
              </c:numCache>
            </c:numRef>
          </c:yVal>
          <c:bubbleSize>
            <c:numLit>
              <c:formatCode>General</c:formatCode>
              <c:ptCount val="1"/>
              <c:pt idx="0">
                <c:v>1</c:v>
              </c:pt>
            </c:numLit>
          </c:bubbleSize>
          <c:bubble3D val="0"/>
          <c:extLst>
            <c:ext xmlns:c16="http://schemas.microsoft.com/office/drawing/2014/chart" uri="{C3380CC4-5D6E-409C-BE32-E72D297353CC}">
              <c16:uniqueId val="{0000000D-D880-453F-AE51-8DF3A158D51A}"/>
            </c:ext>
          </c:extLst>
        </c:ser>
        <c:dLbls>
          <c:showLegendKey val="0"/>
          <c:showVal val="0"/>
          <c:showCatName val="0"/>
          <c:showSerName val="0"/>
          <c:showPercent val="0"/>
          <c:showBubbleSize val="0"/>
        </c:dLbls>
        <c:bubbleScale val="100"/>
        <c:showNegBubbles val="0"/>
        <c:axId val="110693168"/>
        <c:axId val="110695792"/>
      </c:bubbleChart>
      <c:valAx>
        <c:axId val="110693168"/>
        <c:scaling>
          <c:orientation val="minMax"/>
          <c:min val="0"/>
        </c:scaling>
        <c:delete val="0"/>
        <c:axPos val="b"/>
        <c:numFmt formatCode="General" sourceLinked="1"/>
        <c:majorTickMark val="none"/>
        <c:minorTickMark val="none"/>
        <c:tickLblPos val="nextTo"/>
        <c:spPr>
          <a:ln w="6350">
            <a:solidFill>
              <a:srgbClr val="BBBCBC"/>
            </a:solidFill>
          </a:ln>
        </c:spPr>
        <c:txPr>
          <a:bodyPr/>
          <a:lstStyle/>
          <a:p>
            <a:pPr>
              <a:defRPr sz="900">
                <a:solidFill>
                  <a:srgbClr val="53565A"/>
                </a:solidFill>
              </a:defRPr>
            </a:pPr>
            <a:endParaRPr lang="en-US"/>
          </a:p>
        </c:txPr>
        <c:crossAx val="110695792"/>
        <c:crosses val="autoZero"/>
        <c:crossBetween val="midCat"/>
      </c:valAx>
      <c:valAx>
        <c:axId val="11069579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a:noFill/>
          </a:ln>
        </c:spPr>
        <c:txPr>
          <a:bodyPr/>
          <a:lstStyle/>
          <a:p>
            <a:pPr>
              <a:defRPr sz="900">
                <a:solidFill>
                  <a:srgbClr val="53565A"/>
                </a:solidFill>
              </a:defRPr>
            </a:pPr>
            <a:endParaRPr lang="en-US"/>
          </a:p>
        </c:txPr>
        <c:crossAx val="110693168"/>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0D26-4446-B425-E736065311E8}"/>
            </c:ext>
          </c:extLst>
        </c:ser>
        <c:dLbls>
          <c:dLblPos val="outEnd"/>
          <c:showLegendKey val="0"/>
          <c:showVal val="1"/>
          <c:showCatName val="0"/>
          <c:showSerName val="0"/>
          <c:showPercent val="0"/>
          <c:showBubbleSize val="0"/>
        </c:dLbls>
        <c:gapWidth val="150"/>
        <c:axId val="110656544"/>
        <c:axId val="110658176"/>
      </c:barChart>
      <c:catAx>
        <c:axId val="110656544"/>
        <c:scaling>
          <c:orientation val="minMax"/>
        </c:scaling>
        <c:delete val="0"/>
        <c:axPos val="b"/>
        <c:numFmt formatCode="General" sourceLinked="1"/>
        <c:majorTickMark val="none"/>
        <c:minorTickMark val="none"/>
        <c:tickLblPos val="low"/>
        <c:spPr>
          <a:ln w="6350">
            <a:solidFill>
              <a:srgbClr val="BBBCBC"/>
            </a:solidFill>
            <a:prstDash val="solid"/>
          </a:ln>
        </c:spPr>
        <c:crossAx val="110658176"/>
        <c:crosses val="autoZero"/>
        <c:auto val="1"/>
        <c:lblAlgn val="ctr"/>
        <c:lblOffset val="100"/>
        <c:noMultiLvlLbl val="0"/>
      </c:catAx>
      <c:valAx>
        <c:axId val="110658176"/>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656544"/>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435A-43DA-A3EA-A0A5A989C77C}"/>
            </c:ext>
          </c:extLst>
        </c:ser>
        <c:dLbls>
          <c:dLblPos val="outEnd"/>
          <c:showLegendKey val="0"/>
          <c:showVal val="1"/>
          <c:showCatName val="0"/>
          <c:showSerName val="0"/>
          <c:showPercent val="0"/>
          <c:showBubbleSize val="0"/>
        </c:dLbls>
        <c:gapWidth val="150"/>
        <c:axId val="110635344"/>
        <c:axId val="110637392"/>
      </c:barChart>
      <c:catAx>
        <c:axId val="110635344"/>
        <c:scaling>
          <c:orientation val="minMax"/>
        </c:scaling>
        <c:delete val="0"/>
        <c:axPos val="b"/>
        <c:numFmt formatCode="General" sourceLinked="1"/>
        <c:majorTickMark val="none"/>
        <c:minorTickMark val="none"/>
        <c:tickLblPos val="low"/>
        <c:spPr>
          <a:ln w="6350">
            <a:solidFill>
              <a:srgbClr val="BBBCBC"/>
            </a:solidFill>
            <a:prstDash val="solid"/>
          </a:ln>
        </c:spPr>
        <c:crossAx val="110637392"/>
        <c:crosses val="autoZero"/>
        <c:auto val="1"/>
        <c:lblAlgn val="ctr"/>
        <c:lblOffset val="100"/>
        <c:noMultiLvlLbl val="0"/>
      </c:catAx>
      <c:valAx>
        <c:axId val="110637392"/>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635344"/>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77068444140205405"/>
          <c:h val="0.74912510936133003"/>
        </c:manualLayout>
      </c:layout>
      <c:lineChart>
        <c:grouping val="standard"/>
        <c:varyColors val="0"/>
        <c:ser>
          <c:idx val="0"/>
          <c:order val="0"/>
          <c:tx>
            <c:strRef>
              <c:f>Sheet1!$B$1</c:f>
              <c:strCache>
                <c:ptCount val="1"/>
                <c:pt idx="0">
                  <c:v>Label 1</c:v>
                </c:pt>
              </c:strCache>
            </c:strRef>
          </c:tx>
          <c:spPr>
            <a:ln w="28575">
              <a:solidFill>
                <a:schemeClr val="accent6"/>
              </a:solidFill>
              <a:prstDash val="solid"/>
            </a:ln>
          </c:spPr>
          <c:marker>
            <c:symbol val="none"/>
          </c:marker>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smooth val="0"/>
          <c:extLst>
            <c:ext xmlns:c16="http://schemas.microsoft.com/office/drawing/2014/chart" uri="{C3380CC4-5D6E-409C-BE32-E72D297353CC}">
              <c16:uniqueId val="{00000000-5C58-49A6-B5CF-B373A31FD46E}"/>
            </c:ext>
          </c:extLst>
        </c:ser>
        <c:dLbls>
          <c:showLegendKey val="0"/>
          <c:showVal val="0"/>
          <c:showCatName val="0"/>
          <c:showSerName val="0"/>
          <c:showPercent val="0"/>
          <c:showBubbleSize val="0"/>
        </c:dLbls>
        <c:smooth val="0"/>
        <c:axId val="110925600"/>
        <c:axId val="110927920"/>
      </c:lineChart>
      <c:catAx>
        <c:axId val="110925600"/>
        <c:scaling>
          <c:orientation val="minMax"/>
        </c:scaling>
        <c:delete val="0"/>
        <c:axPos val="b"/>
        <c:numFmt formatCode="General" sourceLinked="1"/>
        <c:majorTickMark val="none"/>
        <c:minorTickMark val="none"/>
        <c:tickLblPos val="low"/>
        <c:spPr>
          <a:ln w="6350">
            <a:solidFill>
              <a:srgbClr val="BBBCBC"/>
            </a:solidFill>
            <a:prstDash val="solid"/>
          </a:ln>
        </c:spPr>
        <c:crossAx val="110927920"/>
        <c:crosses val="autoZero"/>
        <c:auto val="1"/>
        <c:lblAlgn val="ctr"/>
        <c:lblOffset val="100"/>
        <c:noMultiLvlLbl val="0"/>
      </c:catAx>
      <c:valAx>
        <c:axId val="110927920"/>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925600"/>
        <c:crosses val="autoZero"/>
        <c:crossBetween val="midCat"/>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844B-47F4-83C2-99D6A3A4F1F8}"/>
            </c:ext>
          </c:extLst>
        </c:ser>
        <c:dLbls>
          <c:dLblPos val="outEnd"/>
          <c:showLegendKey val="0"/>
          <c:showVal val="1"/>
          <c:showCatName val="0"/>
          <c:showSerName val="0"/>
          <c:showPercent val="0"/>
          <c:showBubbleSize val="0"/>
        </c:dLbls>
        <c:gapWidth val="150"/>
        <c:axId val="110901216"/>
        <c:axId val="110903264"/>
      </c:barChart>
      <c:catAx>
        <c:axId val="110901216"/>
        <c:scaling>
          <c:orientation val="minMax"/>
        </c:scaling>
        <c:delete val="0"/>
        <c:axPos val="b"/>
        <c:numFmt formatCode="General" sourceLinked="1"/>
        <c:majorTickMark val="none"/>
        <c:minorTickMark val="none"/>
        <c:tickLblPos val="low"/>
        <c:spPr>
          <a:ln w="6350">
            <a:solidFill>
              <a:srgbClr val="BBBCBC"/>
            </a:solidFill>
            <a:prstDash val="solid"/>
          </a:ln>
        </c:spPr>
        <c:crossAx val="110903264"/>
        <c:crosses val="autoZero"/>
        <c:auto val="1"/>
        <c:lblAlgn val="ctr"/>
        <c:lblOffset val="100"/>
        <c:noMultiLvlLbl val="0"/>
      </c:catAx>
      <c:valAx>
        <c:axId val="110903264"/>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901216"/>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84505981056503E-2"/>
          <c:y val="4.6153842659460598E-2"/>
          <c:w val="0.90793704446444301"/>
          <c:h val="0.74912510936133003"/>
        </c:manualLayout>
      </c:layout>
      <c:barChart>
        <c:barDir val="col"/>
        <c:grouping val="clustered"/>
        <c:varyColors val="0"/>
        <c:ser>
          <c:idx val="0"/>
          <c:order val="0"/>
          <c:tx>
            <c:strRef>
              <c:f>Sheet1!$B$1</c:f>
              <c:strCache>
                <c:ptCount val="1"/>
                <c:pt idx="0">
                  <c:v>Label 1</c:v>
                </c:pt>
              </c:strCache>
            </c:strRef>
          </c:tx>
          <c:spPr>
            <a:solidFill>
              <a:schemeClr val="accent3"/>
            </a:solidFill>
            <a:ln w="12700">
              <a:no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Label A</c:v>
                </c:pt>
                <c:pt idx="1">
                  <c:v>Label B</c:v>
                </c:pt>
                <c:pt idx="2">
                  <c:v>Label C</c:v>
                </c:pt>
                <c:pt idx="3">
                  <c:v>Label D</c:v>
                </c:pt>
              </c:strCache>
            </c:strRef>
          </c:cat>
          <c:val>
            <c:numRef>
              <c:f>Sheet1!$B$2:$B$5</c:f>
              <c:numCache>
                <c:formatCode>General</c:formatCode>
                <c:ptCount val="4"/>
                <c:pt idx="0">
                  <c:v>15</c:v>
                </c:pt>
                <c:pt idx="1">
                  <c:v>8</c:v>
                </c:pt>
                <c:pt idx="2">
                  <c:v>13</c:v>
                </c:pt>
                <c:pt idx="3">
                  <c:v>15</c:v>
                </c:pt>
              </c:numCache>
            </c:numRef>
          </c:val>
          <c:extLst>
            <c:ext xmlns:c16="http://schemas.microsoft.com/office/drawing/2014/chart" uri="{C3380CC4-5D6E-409C-BE32-E72D297353CC}">
              <c16:uniqueId val="{00000000-FEE3-4293-9510-19380391A2A6}"/>
            </c:ext>
          </c:extLst>
        </c:ser>
        <c:dLbls>
          <c:dLblPos val="outEnd"/>
          <c:showLegendKey val="0"/>
          <c:showVal val="1"/>
          <c:showCatName val="0"/>
          <c:showSerName val="0"/>
          <c:showPercent val="0"/>
          <c:showBubbleSize val="0"/>
        </c:dLbls>
        <c:gapWidth val="150"/>
        <c:axId val="110871248"/>
        <c:axId val="110855248"/>
      </c:barChart>
      <c:catAx>
        <c:axId val="110871248"/>
        <c:scaling>
          <c:orientation val="minMax"/>
        </c:scaling>
        <c:delete val="0"/>
        <c:axPos val="b"/>
        <c:numFmt formatCode="General" sourceLinked="1"/>
        <c:majorTickMark val="none"/>
        <c:minorTickMark val="none"/>
        <c:tickLblPos val="low"/>
        <c:spPr>
          <a:ln w="6350">
            <a:solidFill>
              <a:srgbClr val="BBBCBC"/>
            </a:solidFill>
            <a:prstDash val="solid"/>
          </a:ln>
        </c:spPr>
        <c:crossAx val="110855248"/>
        <c:crosses val="autoZero"/>
        <c:auto val="1"/>
        <c:lblAlgn val="ctr"/>
        <c:lblOffset val="100"/>
        <c:noMultiLvlLbl val="0"/>
      </c:catAx>
      <c:valAx>
        <c:axId val="110855248"/>
        <c:scaling>
          <c:orientation val="minMax"/>
        </c:scaling>
        <c:delete val="0"/>
        <c:axPos val="l"/>
        <c:majorGridlines>
          <c:spPr>
            <a:ln w="6350">
              <a:solidFill>
                <a:srgbClr val="BBBCBC"/>
              </a:solidFill>
            </a:ln>
          </c:spPr>
        </c:majorGridlines>
        <c:numFmt formatCode="General" sourceLinked="1"/>
        <c:majorTickMark val="none"/>
        <c:minorTickMark val="none"/>
        <c:tickLblPos val="low"/>
        <c:spPr>
          <a:ln w="9525">
            <a:noFill/>
            <a:prstDash val="solid"/>
          </a:ln>
        </c:spPr>
        <c:crossAx val="110871248"/>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txPr>
    <a:bodyPr/>
    <a:lstStyle/>
    <a:p>
      <a:pPr>
        <a:defRPr sz="800">
          <a:solidFill>
            <a:srgbClr val="53565A"/>
          </a:solidFill>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586387192150034"/>
          <c:w val="1"/>
          <c:h val="0.51321056845476398"/>
        </c:manualLayout>
      </c:layout>
      <c:barChart>
        <c:barDir val="col"/>
        <c:grouping val="clustered"/>
        <c:varyColors val="0"/>
        <c:ser>
          <c:idx val="0"/>
          <c:order val="0"/>
          <c:tx>
            <c:strRef>
              <c:f>Sheet1!$B$1</c:f>
              <c:strCache>
                <c:ptCount val="1"/>
                <c:pt idx="0">
                  <c:v>Series 1</c:v>
                </c:pt>
              </c:strCache>
            </c:strRef>
          </c:tx>
          <c:spPr>
            <a:solidFill>
              <a:schemeClr val="bg1">
                <a:lumMod val="75000"/>
              </a:schemeClr>
            </a:solidFill>
            <a:ln>
              <a:noFill/>
            </a:ln>
            <a:effectLst/>
          </c:spPr>
          <c:invertIfNegative val="0"/>
          <c:dPt>
            <c:idx val="2"/>
            <c:invertIfNegative val="0"/>
            <c:bubble3D val="0"/>
            <c:spPr>
              <a:solidFill>
                <a:schemeClr val="accent1"/>
              </a:solidFill>
              <a:ln>
                <a:noFill/>
              </a:ln>
              <a:effectLst/>
            </c:spPr>
            <c:extLst>
              <c:ext xmlns:c16="http://schemas.microsoft.com/office/drawing/2014/chart" uri="{C3380CC4-5D6E-409C-BE32-E72D297353CC}">
                <c16:uniqueId val="{00000001-144F-41CE-91A2-C810E1BE48D4}"/>
              </c:ext>
            </c:extLst>
          </c:dPt>
          <c:dLbls>
            <c:dLbl>
              <c:idx val="2"/>
              <c:tx>
                <c:rich>
                  <a:bodyPr/>
                  <a:lstStyle/>
                  <a:p>
                    <a:fld id="{53737151-C98B-4A9D-8BC9-6AC0BAF39648}" type="VALUE">
                      <a:rPr lang="en-US">
                        <a:solidFill>
                          <a:schemeClr val="accent1"/>
                        </a:solidFill>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44F-41CE-91A2-C810E1BE48D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abel</c:v>
                </c:pt>
                <c:pt idx="1">
                  <c:v>Label</c:v>
                </c:pt>
                <c:pt idx="2">
                  <c:v>Label</c:v>
                </c:pt>
                <c:pt idx="3">
                  <c:v>Label</c:v>
                </c:pt>
                <c:pt idx="4">
                  <c:v>Label</c:v>
                </c:pt>
              </c:strCache>
            </c:strRef>
          </c:cat>
          <c:val>
            <c:numRef>
              <c:f>Sheet1!$B$2:$B$6</c:f>
              <c:numCache>
                <c:formatCode>0.00%</c:formatCode>
                <c:ptCount val="5"/>
                <c:pt idx="0">
                  <c:v>6.2E-2</c:v>
                </c:pt>
                <c:pt idx="1">
                  <c:v>7.1999999999999995E-2</c:v>
                </c:pt>
                <c:pt idx="2">
                  <c:v>9.5000000000000001E-2</c:v>
                </c:pt>
                <c:pt idx="3">
                  <c:v>0.08</c:v>
                </c:pt>
                <c:pt idx="4">
                  <c:v>4.8000000000000001E-2</c:v>
                </c:pt>
              </c:numCache>
            </c:numRef>
          </c:val>
          <c:extLst>
            <c:ext xmlns:c16="http://schemas.microsoft.com/office/drawing/2014/chart" uri="{C3380CC4-5D6E-409C-BE32-E72D297353CC}">
              <c16:uniqueId val="{00000006-144F-41CE-91A2-C810E1BE48D4}"/>
            </c:ext>
          </c:extLst>
        </c:ser>
        <c:dLbls>
          <c:showLegendKey val="0"/>
          <c:showVal val="0"/>
          <c:showCatName val="0"/>
          <c:showSerName val="0"/>
          <c:showPercent val="0"/>
          <c:showBubbleSize val="0"/>
        </c:dLbls>
        <c:gapWidth val="52"/>
        <c:axId val="316293376"/>
        <c:axId val="316290240"/>
      </c:barChart>
      <c:catAx>
        <c:axId val="316293376"/>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16290240"/>
        <c:crosses val="autoZero"/>
        <c:auto val="0"/>
        <c:lblAlgn val="ctr"/>
        <c:lblOffset val="100"/>
        <c:noMultiLvlLbl val="0"/>
      </c:catAx>
      <c:valAx>
        <c:axId val="316290240"/>
        <c:scaling>
          <c:orientation val="minMax"/>
        </c:scaling>
        <c:delete val="1"/>
        <c:axPos val="l"/>
        <c:numFmt formatCode="0.00%" sourceLinked="1"/>
        <c:majorTickMark val="none"/>
        <c:minorTickMark val="none"/>
        <c:tickLblPos val="nextTo"/>
        <c:crossAx val="316293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1664-491D-BFEB-EAD1143C8186}"/>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1664-491D-BFEB-EAD1143C8186}"/>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1664-491D-BFEB-EAD1143C8186}"/>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1664-491D-BFEB-EAD1143C8186}"/>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1664-491D-BFEB-EAD1143C8186}"/>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1664-491D-BFEB-EAD1143C8186}"/>
            </c:ext>
          </c:extLst>
        </c:ser>
        <c:dLbls>
          <c:dLblPos val="outEnd"/>
          <c:showLegendKey val="0"/>
          <c:showVal val="1"/>
          <c:showCatName val="0"/>
          <c:showSerName val="0"/>
          <c:showPercent val="0"/>
          <c:showBubbleSize val="0"/>
        </c:dLbls>
        <c:gapWidth val="150"/>
        <c:axId val="17345120"/>
        <c:axId val="17538768"/>
      </c:barChart>
      <c:catAx>
        <c:axId val="17345120"/>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7538768"/>
        <c:crosses val="autoZero"/>
        <c:auto val="1"/>
        <c:lblAlgn val="ctr"/>
        <c:lblOffset val="100"/>
        <c:noMultiLvlLbl val="0"/>
      </c:catAx>
      <c:valAx>
        <c:axId val="1753876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1100" b="0">
                <a:solidFill>
                  <a:srgbClr val="53565A"/>
                </a:solidFill>
                <a:latin typeface="+mn-lt"/>
                <a:ea typeface="+mn-lt"/>
                <a:cs typeface="+mn-lt"/>
              </a:defRPr>
            </a:pPr>
            <a:endParaRPr lang="en-US"/>
          </a:p>
        </c:txPr>
        <c:crossAx val="17345120"/>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5710818036952701"/>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46A38"/>
              </a:solidFill>
              <a:ln w="19050">
                <a:noFill/>
              </a:ln>
              <a:effectLst/>
            </c:spPr>
            <c:extLst>
              <c:ext xmlns:c16="http://schemas.microsoft.com/office/drawing/2014/chart" uri="{C3380CC4-5D6E-409C-BE32-E72D297353CC}">
                <c16:uniqueId val="{00000001-EC92-4098-99DB-0996D338FA3C}"/>
              </c:ext>
            </c:extLst>
          </c:dPt>
          <c:dPt>
            <c:idx val="1"/>
            <c:bubble3D val="0"/>
            <c:spPr>
              <a:solidFill>
                <a:srgbClr val="43B02A"/>
              </a:solidFill>
              <a:ln w="19050">
                <a:noFill/>
              </a:ln>
              <a:effectLst/>
            </c:spPr>
            <c:extLst>
              <c:ext xmlns:c16="http://schemas.microsoft.com/office/drawing/2014/chart" uri="{C3380CC4-5D6E-409C-BE32-E72D297353CC}">
                <c16:uniqueId val="{00000002-EC92-4098-99DB-0996D338FA3C}"/>
              </c:ext>
            </c:extLst>
          </c:dPt>
          <c:dPt>
            <c:idx val="2"/>
            <c:bubble3D val="0"/>
            <c:spPr>
              <a:solidFill>
                <a:srgbClr val="86BC25"/>
              </a:solidFill>
              <a:ln w="19050">
                <a:noFill/>
              </a:ln>
              <a:effectLst/>
            </c:spPr>
            <c:extLst>
              <c:ext xmlns:c16="http://schemas.microsoft.com/office/drawing/2014/chart" uri="{C3380CC4-5D6E-409C-BE32-E72D297353CC}">
                <c16:uniqueId val="{00000003-EC92-4098-99DB-0996D338FA3C}"/>
              </c:ext>
            </c:extLst>
          </c:dPt>
          <c:dPt>
            <c:idx val="3"/>
            <c:bubble3D val="0"/>
            <c:spPr>
              <a:solidFill>
                <a:srgbClr val="E3E48D"/>
              </a:solidFill>
              <a:ln w="19050">
                <a:noFill/>
              </a:ln>
              <a:effectLst/>
            </c:spPr>
            <c:extLst>
              <c:ext xmlns:c16="http://schemas.microsoft.com/office/drawing/2014/chart" uri="{C3380CC4-5D6E-409C-BE32-E72D297353CC}">
                <c16:uniqueId val="{00000004-EC92-4098-99DB-0996D338FA3C}"/>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EC92-4098-99DB-0996D338FA3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9586757935800667E-3"/>
          <c:y val="0.8370424595300775"/>
          <c:w val="0.99608233517506706"/>
          <c:h val="0.1629575404699223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7680"/>
              </a:solidFill>
              <a:ln w="19050">
                <a:noFill/>
              </a:ln>
              <a:effectLst/>
            </c:spPr>
            <c:extLst>
              <c:ext xmlns:c16="http://schemas.microsoft.com/office/drawing/2014/chart" uri="{C3380CC4-5D6E-409C-BE32-E72D297353CC}">
                <c16:uniqueId val="{00000001-1AB1-48CD-B64D-F26BFB5757CF}"/>
              </c:ext>
            </c:extLst>
          </c:dPt>
          <c:dPt>
            <c:idx val="1"/>
            <c:bubble3D val="0"/>
            <c:spPr>
              <a:solidFill>
                <a:srgbClr val="0097A9"/>
              </a:solidFill>
              <a:ln w="19050">
                <a:noFill/>
              </a:ln>
              <a:effectLst/>
            </c:spPr>
            <c:extLst>
              <c:ext xmlns:c16="http://schemas.microsoft.com/office/drawing/2014/chart" uri="{C3380CC4-5D6E-409C-BE32-E72D297353CC}">
                <c16:uniqueId val="{00000003-1AB1-48CD-B64D-F26BFB5757CF}"/>
              </c:ext>
            </c:extLst>
          </c:dPt>
          <c:dPt>
            <c:idx val="2"/>
            <c:bubble3D val="0"/>
            <c:spPr>
              <a:solidFill>
                <a:srgbClr val="6FC2B4"/>
              </a:solidFill>
              <a:ln w="19050">
                <a:noFill/>
              </a:ln>
              <a:effectLst/>
            </c:spPr>
            <c:extLst>
              <c:ext xmlns:c16="http://schemas.microsoft.com/office/drawing/2014/chart" uri="{C3380CC4-5D6E-409C-BE32-E72D297353CC}">
                <c16:uniqueId val="{00000005-1AB1-48CD-B64D-F26BFB5757CF}"/>
              </c:ext>
            </c:extLst>
          </c:dPt>
          <c:dPt>
            <c:idx val="3"/>
            <c:bubble3D val="0"/>
            <c:spPr>
              <a:solidFill>
                <a:srgbClr val="DDEFE8"/>
              </a:solidFill>
              <a:ln w="19050">
                <a:noFill/>
              </a:ln>
              <a:effectLst/>
            </c:spPr>
            <c:extLst>
              <c:ext xmlns:c16="http://schemas.microsoft.com/office/drawing/2014/chart" uri="{C3380CC4-5D6E-409C-BE32-E72D297353CC}">
                <c16:uniqueId val="{00000007-1AB1-48CD-B64D-F26BFB5757C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5</c:v>
                </c:pt>
                <c:pt idx="1">
                  <c:v>5</c:v>
                </c:pt>
                <c:pt idx="2">
                  <c:v>2</c:v>
                </c:pt>
                <c:pt idx="3">
                  <c:v>1</c:v>
                </c:pt>
              </c:numCache>
            </c:numRef>
          </c:val>
          <c:extLst>
            <c:ext xmlns:c16="http://schemas.microsoft.com/office/drawing/2014/chart" uri="{C3380CC4-5D6E-409C-BE32-E72D297353CC}">
              <c16:uniqueId val="{00000000-EC92-4098-99DB-0996D338FA3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9586757935800667E-3"/>
          <c:y val="0.83107528089201321"/>
          <c:w val="0.99608233517506706"/>
          <c:h val="0.1689247191079866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1AB1-48CD-B64D-F26BFB5757CF}"/>
              </c:ext>
            </c:extLst>
          </c:dPt>
          <c:dPt>
            <c:idx val="1"/>
            <c:bubble3D val="0"/>
            <c:spPr>
              <a:solidFill>
                <a:srgbClr val="0076A8"/>
              </a:solidFill>
              <a:ln w="19050">
                <a:noFill/>
              </a:ln>
              <a:effectLst/>
            </c:spPr>
            <c:extLst>
              <c:ext xmlns:c16="http://schemas.microsoft.com/office/drawing/2014/chart" uri="{C3380CC4-5D6E-409C-BE32-E72D297353CC}">
                <c16:uniqueId val="{00000003-1AB1-48CD-B64D-F26BFB5757CF}"/>
              </c:ext>
            </c:extLst>
          </c:dPt>
          <c:dPt>
            <c:idx val="2"/>
            <c:bubble3D val="0"/>
            <c:spPr>
              <a:solidFill>
                <a:schemeClr val="accent3"/>
              </a:solidFill>
              <a:ln w="19050">
                <a:noFill/>
              </a:ln>
              <a:effectLst/>
            </c:spPr>
            <c:extLst>
              <c:ext xmlns:c16="http://schemas.microsoft.com/office/drawing/2014/chart" uri="{C3380CC4-5D6E-409C-BE32-E72D297353CC}">
                <c16:uniqueId val="{00000005-1AB1-48CD-B64D-F26BFB5757CF}"/>
              </c:ext>
            </c:extLst>
          </c:dPt>
          <c:dPt>
            <c:idx val="3"/>
            <c:bubble3D val="0"/>
            <c:spPr>
              <a:solidFill>
                <a:srgbClr val="A0DCFF"/>
              </a:solidFill>
              <a:ln w="19050">
                <a:noFill/>
              </a:ln>
              <a:effectLst/>
            </c:spPr>
            <c:extLst>
              <c:ext xmlns:c16="http://schemas.microsoft.com/office/drawing/2014/chart" uri="{C3380CC4-5D6E-409C-BE32-E72D297353CC}">
                <c16:uniqueId val="{00000007-1AB1-48CD-B64D-F26BFB5757C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5</c:v>
                </c:pt>
                <c:pt idx="1">
                  <c:v>8</c:v>
                </c:pt>
                <c:pt idx="2">
                  <c:v>3</c:v>
                </c:pt>
                <c:pt idx="3">
                  <c:v>9</c:v>
                </c:pt>
              </c:numCache>
            </c:numRef>
          </c:val>
          <c:extLst>
            <c:ext xmlns:c16="http://schemas.microsoft.com/office/drawing/2014/chart" uri="{C3380CC4-5D6E-409C-BE32-E72D297353CC}">
              <c16:uniqueId val="{00000000-EC92-4098-99DB-0996D338FA3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9586757935800667E-3"/>
          <c:y val="0.8370424595300775"/>
          <c:w val="0.99608233517506706"/>
          <c:h val="0.1629575404699223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1258509295334623"/>
          <c:y val="0.12707967754030747"/>
          <c:w val="0.74209592313071604"/>
          <c:h val="0.76594900637420327"/>
        </c:manualLayout>
      </c:layout>
      <c:doughnutChart>
        <c:varyColors val="1"/>
        <c:ser>
          <c:idx val="0"/>
          <c:order val="0"/>
          <c:tx>
            <c:strRef>
              <c:f>Sheet1!$B$1</c:f>
              <c:strCache>
                <c:ptCount val="1"/>
                <c:pt idx="0">
                  <c:v>a</c:v>
                </c:pt>
              </c:strCache>
            </c:strRef>
          </c:tx>
          <c:dPt>
            <c:idx val="0"/>
            <c:bubble3D val="0"/>
            <c:spPr>
              <a:solidFill>
                <a:schemeClr val="accent5">
                  <a:lumMod val="60000"/>
                  <a:lumOff val="40000"/>
                </a:schemeClr>
              </a:solidFill>
              <a:ln>
                <a:noFill/>
              </a:ln>
              <a:effectLst/>
            </c:spPr>
            <c:extLst>
              <c:ext xmlns:c16="http://schemas.microsoft.com/office/drawing/2014/chart" uri="{C3380CC4-5D6E-409C-BE32-E72D297353CC}">
                <c16:uniqueId val="{00000001-962C-40DC-8923-595670E50CFD}"/>
              </c:ext>
            </c:extLst>
          </c:dPt>
          <c:dPt>
            <c:idx val="1"/>
            <c:bubble3D val="0"/>
            <c:spPr>
              <a:noFill/>
              <a:ln>
                <a:noFill/>
              </a:ln>
              <a:effectLst/>
            </c:spPr>
            <c:extLst>
              <c:ext xmlns:c16="http://schemas.microsoft.com/office/drawing/2014/chart" uri="{C3380CC4-5D6E-409C-BE32-E72D297353CC}">
                <c16:uniqueId val="{00000003-962C-40DC-8923-595670E50CFD}"/>
              </c:ext>
            </c:extLst>
          </c:dPt>
          <c:cat>
            <c:strRef>
              <c:f>Sheet1!$A$2:$A$3</c:f>
              <c:strCache>
                <c:ptCount val="2"/>
                <c:pt idx="0">
                  <c:v>Part1</c:v>
                </c:pt>
                <c:pt idx="1">
                  <c:v>Part2</c:v>
                </c:pt>
              </c:strCache>
            </c:strRef>
          </c:cat>
          <c:val>
            <c:numRef>
              <c:f>Sheet1!$B$2:$B$3</c:f>
              <c:numCache>
                <c:formatCode>General</c:formatCode>
                <c:ptCount val="2"/>
                <c:pt idx="0">
                  <c:v>94</c:v>
                </c:pt>
                <c:pt idx="1">
                  <c:v>69</c:v>
                </c:pt>
              </c:numCache>
            </c:numRef>
          </c:val>
          <c:extLst>
            <c:ext xmlns:c16="http://schemas.microsoft.com/office/drawing/2014/chart" uri="{C3380CC4-5D6E-409C-BE32-E72D297353CC}">
              <c16:uniqueId val="{00000004-962C-40DC-8923-595670E50CFD}"/>
            </c:ext>
          </c:extLst>
        </c:ser>
        <c:ser>
          <c:idx val="1"/>
          <c:order val="1"/>
          <c:tx>
            <c:strRef>
              <c:f>Sheet1!$C$1</c:f>
              <c:strCache>
                <c:ptCount val="1"/>
                <c:pt idx="0">
                  <c:v>辅助</c:v>
                </c:pt>
              </c:strCache>
            </c:strRef>
          </c:tx>
          <c:dPt>
            <c:idx val="0"/>
            <c:bubble3D val="0"/>
            <c:spPr>
              <a:gradFill rotWithShape="1">
                <a:gsLst>
                  <a:gs pos="0">
                    <a:schemeClr val="accent6">
                      <a:shade val="76000"/>
                      <a:satMod val="103000"/>
                      <a:lumMod val="102000"/>
                      <a:tint val="94000"/>
                    </a:schemeClr>
                  </a:gs>
                  <a:gs pos="50000">
                    <a:schemeClr val="accent6">
                      <a:shade val="76000"/>
                      <a:satMod val="110000"/>
                      <a:lumMod val="100000"/>
                      <a:shade val="100000"/>
                    </a:schemeClr>
                  </a:gs>
                  <a:gs pos="100000">
                    <a:schemeClr val="accent6">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6-962C-40DC-8923-595670E50CFD}"/>
              </c:ext>
            </c:extLst>
          </c:dPt>
          <c:dPt>
            <c:idx val="1"/>
            <c:bubble3D val="0"/>
            <c:spPr>
              <a:gradFill rotWithShape="1">
                <a:gsLst>
                  <a:gs pos="0">
                    <a:schemeClr val="accent6">
                      <a:tint val="77000"/>
                      <a:satMod val="103000"/>
                      <a:lumMod val="102000"/>
                      <a:tint val="94000"/>
                    </a:schemeClr>
                  </a:gs>
                  <a:gs pos="50000">
                    <a:schemeClr val="accent6">
                      <a:tint val="77000"/>
                      <a:satMod val="110000"/>
                      <a:lumMod val="100000"/>
                      <a:shade val="100000"/>
                    </a:schemeClr>
                  </a:gs>
                  <a:gs pos="100000">
                    <a:schemeClr val="accent6">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8-962C-40DC-8923-595670E50CFD}"/>
              </c:ext>
            </c:extLst>
          </c:dPt>
          <c:cat>
            <c:strRef>
              <c:f>Sheet1!$A$2:$A$3</c:f>
              <c:strCache>
                <c:ptCount val="2"/>
                <c:pt idx="0">
                  <c:v>Part1</c:v>
                </c:pt>
                <c:pt idx="1">
                  <c:v>Part2</c:v>
                </c:pt>
              </c:strCache>
            </c:strRef>
          </c:cat>
          <c:val>
            <c:numRef>
              <c:f>Sheet1!$C$2:$C$3</c:f>
              <c:numCache>
                <c:formatCode>General</c:formatCode>
                <c:ptCount val="2"/>
              </c:numCache>
            </c:numRef>
          </c:val>
          <c:extLst>
            <c:ext xmlns:c16="http://schemas.microsoft.com/office/drawing/2014/chart" uri="{C3380CC4-5D6E-409C-BE32-E72D297353CC}">
              <c16:uniqueId val="{00000009-962C-40DC-8923-595670E50CFD}"/>
            </c:ext>
          </c:extLst>
        </c:ser>
        <c:ser>
          <c:idx val="2"/>
          <c:order val="2"/>
          <c:tx>
            <c:strRef>
              <c:f>Sheet1!$D$1</c:f>
              <c:strCache>
                <c:ptCount val="1"/>
                <c:pt idx="0">
                  <c:v>b</c:v>
                </c:pt>
              </c:strCache>
            </c:strRef>
          </c:tx>
          <c:dPt>
            <c:idx val="0"/>
            <c:bubble3D val="0"/>
            <c:spPr>
              <a:solidFill>
                <a:schemeClr val="accent1"/>
              </a:solidFill>
              <a:ln>
                <a:noFill/>
              </a:ln>
              <a:effectLst/>
            </c:spPr>
            <c:extLst>
              <c:ext xmlns:c16="http://schemas.microsoft.com/office/drawing/2014/chart" uri="{C3380CC4-5D6E-409C-BE32-E72D297353CC}">
                <c16:uniqueId val="{0000000B-962C-40DC-8923-595670E50CFD}"/>
              </c:ext>
            </c:extLst>
          </c:dPt>
          <c:dPt>
            <c:idx val="1"/>
            <c:bubble3D val="0"/>
            <c:spPr>
              <a:noFill/>
              <a:ln>
                <a:noFill/>
              </a:ln>
              <a:effectLst/>
            </c:spPr>
            <c:extLst>
              <c:ext xmlns:c16="http://schemas.microsoft.com/office/drawing/2014/chart" uri="{C3380CC4-5D6E-409C-BE32-E72D297353CC}">
                <c16:uniqueId val="{0000000D-962C-40DC-8923-595670E50CFD}"/>
              </c:ext>
            </c:extLst>
          </c:dPt>
          <c:cat>
            <c:strRef>
              <c:f>Sheet1!$A$2:$A$3</c:f>
              <c:strCache>
                <c:ptCount val="2"/>
                <c:pt idx="0">
                  <c:v>Part1</c:v>
                </c:pt>
                <c:pt idx="1">
                  <c:v>Part2</c:v>
                </c:pt>
              </c:strCache>
            </c:strRef>
          </c:cat>
          <c:val>
            <c:numRef>
              <c:f>Sheet1!$D$2:$D$3</c:f>
              <c:numCache>
                <c:formatCode>General</c:formatCode>
                <c:ptCount val="2"/>
                <c:pt idx="0">
                  <c:v>102</c:v>
                </c:pt>
                <c:pt idx="1">
                  <c:v>57</c:v>
                </c:pt>
              </c:numCache>
            </c:numRef>
          </c:val>
          <c:extLst>
            <c:ext xmlns:c16="http://schemas.microsoft.com/office/drawing/2014/chart" uri="{C3380CC4-5D6E-409C-BE32-E72D297353CC}">
              <c16:uniqueId val="{0000000E-962C-40DC-8923-595670E50CFD}"/>
            </c:ext>
          </c:extLst>
        </c:ser>
        <c:ser>
          <c:idx val="3"/>
          <c:order val="3"/>
          <c:tx>
            <c:strRef>
              <c:f>Sheet1!$E$1</c:f>
              <c:strCache>
                <c:ptCount val="1"/>
                <c:pt idx="0">
                  <c:v>辅助2</c:v>
                </c:pt>
              </c:strCache>
            </c:strRef>
          </c:tx>
          <c:dPt>
            <c:idx val="0"/>
            <c:bubble3D val="0"/>
            <c:spPr>
              <a:gradFill rotWithShape="1">
                <a:gsLst>
                  <a:gs pos="0">
                    <a:schemeClr val="accent6">
                      <a:shade val="76000"/>
                      <a:satMod val="103000"/>
                      <a:lumMod val="102000"/>
                      <a:tint val="94000"/>
                    </a:schemeClr>
                  </a:gs>
                  <a:gs pos="50000">
                    <a:schemeClr val="accent6">
                      <a:shade val="76000"/>
                      <a:satMod val="110000"/>
                      <a:lumMod val="100000"/>
                      <a:shade val="100000"/>
                    </a:schemeClr>
                  </a:gs>
                  <a:gs pos="100000">
                    <a:schemeClr val="accent6">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10-962C-40DC-8923-595670E50CFD}"/>
              </c:ext>
            </c:extLst>
          </c:dPt>
          <c:dPt>
            <c:idx val="1"/>
            <c:bubble3D val="0"/>
            <c:spPr>
              <a:gradFill rotWithShape="1">
                <a:gsLst>
                  <a:gs pos="0">
                    <a:schemeClr val="accent6">
                      <a:tint val="77000"/>
                      <a:satMod val="103000"/>
                      <a:lumMod val="102000"/>
                      <a:tint val="94000"/>
                    </a:schemeClr>
                  </a:gs>
                  <a:gs pos="50000">
                    <a:schemeClr val="accent6">
                      <a:tint val="77000"/>
                      <a:satMod val="110000"/>
                      <a:lumMod val="100000"/>
                      <a:shade val="100000"/>
                    </a:schemeClr>
                  </a:gs>
                  <a:gs pos="100000">
                    <a:schemeClr val="accent6">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12-962C-40DC-8923-595670E50CFD}"/>
              </c:ext>
            </c:extLst>
          </c:dPt>
          <c:cat>
            <c:strRef>
              <c:f>Sheet1!$A$2:$A$3</c:f>
              <c:strCache>
                <c:ptCount val="2"/>
                <c:pt idx="0">
                  <c:v>Part1</c:v>
                </c:pt>
                <c:pt idx="1">
                  <c:v>Part2</c:v>
                </c:pt>
              </c:strCache>
            </c:strRef>
          </c:cat>
          <c:val>
            <c:numRef>
              <c:f>Sheet1!$E$2:$E$3</c:f>
              <c:numCache>
                <c:formatCode>General</c:formatCode>
                <c:ptCount val="2"/>
              </c:numCache>
            </c:numRef>
          </c:val>
          <c:extLst>
            <c:ext xmlns:c16="http://schemas.microsoft.com/office/drawing/2014/chart" uri="{C3380CC4-5D6E-409C-BE32-E72D297353CC}">
              <c16:uniqueId val="{00000013-962C-40DC-8923-595670E50CFD}"/>
            </c:ext>
          </c:extLst>
        </c:ser>
        <c:ser>
          <c:idx val="4"/>
          <c:order val="4"/>
          <c:tx>
            <c:strRef>
              <c:f>Sheet1!$F$1</c:f>
              <c:strCache>
                <c:ptCount val="1"/>
                <c:pt idx="0">
                  <c:v>c</c:v>
                </c:pt>
              </c:strCache>
            </c:strRef>
          </c:tx>
          <c:dPt>
            <c:idx val="0"/>
            <c:bubble3D val="0"/>
            <c:spPr>
              <a:solidFill>
                <a:schemeClr val="accent6"/>
              </a:solidFill>
              <a:ln>
                <a:noFill/>
              </a:ln>
              <a:effectLst/>
            </c:spPr>
            <c:extLst>
              <c:ext xmlns:c16="http://schemas.microsoft.com/office/drawing/2014/chart" uri="{C3380CC4-5D6E-409C-BE32-E72D297353CC}">
                <c16:uniqueId val="{00000015-962C-40DC-8923-595670E50CFD}"/>
              </c:ext>
            </c:extLst>
          </c:dPt>
          <c:dPt>
            <c:idx val="1"/>
            <c:bubble3D val="0"/>
            <c:spPr>
              <a:noFill/>
              <a:ln>
                <a:noFill/>
              </a:ln>
              <a:effectLst/>
            </c:spPr>
            <c:extLst>
              <c:ext xmlns:c16="http://schemas.microsoft.com/office/drawing/2014/chart" uri="{C3380CC4-5D6E-409C-BE32-E72D297353CC}">
                <c16:uniqueId val="{00000017-962C-40DC-8923-595670E50CFD}"/>
              </c:ext>
            </c:extLst>
          </c:dPt>
          <c:cat>
            <c:strRef>
              <c:f>Sheet1!$A$2:$A$3</c:f>
              <c:strCache>
                <c:ptCount val="2"/>
                <c:pt idx="0">
                  <c:v>Part1</c:v>
                </c:pt>
                <c:pt idx="1">
                  <c:v>Part2</c:v>
                </c:pt>
              </c:strCache>
            </c:strRef>
          </c:cat>
          <c:val>
            <c:numRef>
              <c:f>Sheet1!$F$2:$F$3</c:f>
              <c:numCache>
                <c:formatCode>General</c:formatCode>
                <c:ptCount val="2"/>
                <c:pt idx="0">
                  <c:v>96</c:v>
                </c:pt>
                <c:pt idx="1">
                  <c:v>36</c:v>
                </c:pt>
              </c:numCache>
            </c:numRef>
          </c:val>
          <c:extLst>
            <c:ext xmlns:c16="http://schemas.microsoft.com/office/drawing/2014/chart" uri="{C3380CC4-5D6E-409C-BE32-E72D297353CC}">
              <c16:uniqueId val="{00000018-962C-40DC-8923-595670E50CFD}"/>
            </c:ext>
          </c:extLst>
        </c:ser>
        <c:dLbls>
          <c:showLegendKey val="0"/>
          <c:showVal val="0"/>
          <c:showCatName val="0"/>
          <c:showSerName val="0"/>
          <c:showPercent val="0"/>
          <c:showBubbleSize val="0"/>
          <c:showLeaderLines val="0"/>
        </c:dLbls>
        <c:firstSliceAng val="0"/>
        <c:holeSize val="36"/>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393199960691542E-2"/>
          <c:y val="3.9385607083883452E-2"/>
          <c:w val="0.8653756191692108"/>
          <c:h val="0.65819974789828306"/>
        </c:manualLayout>
      </c:layout>
      <c:areaChart>
        <c:grouping val="stacked"/>
        <c:varyColors val="0"/>
        <c:ser>
          <c:idx val="0"/>
          <c:order val="0"/>
          <c:tx>
            <c:strRef>
              <c:f>Sheet1!$B$1</c:f>
              <c:strCache>
                <c:ptCount val="1"/>
                <c:pt idx="0">
                  <c:v>Parking</c:v>
                </c:pt>
              </c:strCache>
            </c:strRef>
          </c:tx>
          <c:spPr>
            <a:solidFill>
              <a:srgbClr val="63666A"/>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B$2:$B$11</c:f>
              <c:numCache>
                <c:formatCode>"$"#,##0_);[Red]\("$"#,##0\)</c:formatCode>
                <c:ptCount val="10"/>
                <c:pt idx="0">
                  <c:v>0</c:v>
                </c:pt>
                <c:pt idx="1">
                  <c:v>38071.012199999997</c:v>
                </c:pt>
                <c:pt idx="2">
                  <c:v>101276.69685873706</c:v>
                </c:pt>
                <c:pt idx="3">
                  <c:v>171325.36374066921</c:v>
                </c:pt>
                <c:pt idx="4">
                  <c:v>236449.50445510348</c:v>
                </c:pt>
                <c:pt idx="5">
                  <c:v>252243.92456594782</c:v>
                </c:pt>
                <c:pt idx="6">
                  <c:v>253868.03918804281</c:v>
                </c:pt>
                <c:pt idx="7">
                  <c:v>253868.03918804281</c:v>
                </c:pt>
                <c:pt idx="8">
                  <c:v>253868.03918804281</c:v>
                </c:pt>
                <c:pt idx="9">
                  <c:v>255495.36297483576</c:v>
                </c:pt>
              </c:numCache>
            </c:numRef>
          </c:val>
          <c:extLst>
            <c:ext xmlns:c16="http://schemas.microsoft.com/office/drawing/2014/chart" uri="{C3380CC4-5D6E-409C-BE32-E72D297353CC}">
              <c16:uniqueId val="{00000000-A2B4-4444-9BBF-B07174ADA4C6}"/>
            </c:ext>
          </c:extLst>
        </c:ser>
        <c:ser>
          <c:idx val="1"/>
          <c:order val="1"/>
          <c:tx>
            <c:strRef>
              <c:f>Sheet1!$C$1</c:f>
              <c:strCache>
                <c:ptCount val="1"/>
                <c:pt idx="0">
                  <c:v>Concessions</c:v>
                </c:pt>
              </c:strCache>
            </c:strRef>
          </c:tx>
          <c:spPr>
            <a:solidFill>
              <a:schemeClr val="accent6">
                <a:lumMod val="60000"/>
                <a:lumOff val="4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C$2:$C$11</c:f>
              <c:numCache>
                <c:formatCode>"$"#,##0_);[Red]\("$"#,##0\)</c:formatCode>
                <c:ptCount val="10"/>
                <c:pt idx="0">
                  <c:v>0</c:v>
                </c:pt>
                <c:pt idx="1">
                  <c:v>2421930.4742281744</c:v>
                </c:pt>
                <c:pt idx="2">
                  <c:v>4673412.4347801078</c:v>
                </c:pt>
                <c:pt idx="3">
                  <c:v>6586009.0225448953</c:v>
                </c:pt>
                <c:pt idx="4">
                  <c:v>7895232.0043110363</c:v>
                </c:pt>
                <c:pt idx="5">
                  <c:v>8154244.3227917003</c:v>
                </c:pt>
                <c:pt idx="6">
                  <c:v>8179722.810978936</c:v>
                </c:pt>
                <c:pt idx="7">
                  <c:v>8179722.810978936</c:v>
                </c:pt>
                <c:pt idx="8">
                  <c:v>8179722.810978936</c:v>
                </c:pt>
                <c:pt idx="9">
                  <c:v>8205254.8059139065</c:v>
                </c:pt>
              </c:numCache>
            </c:numRef>
          </c:val>
          <c:extLst>
            <c:ext xmlns:c16="http://schemas.microsoft.com/office/drawing/2014/chart" uri="{C3380CC4-5D6E-409C-BE32-E72D297353CC}">
              <c16:uniqueId val="{00000001-A2B4-4444-9BBF-B07174ADA4C6}"/>
            </c:ext>
          </c:extLst>
        </c:ser>
        <c:ser>
          <c:idx val="2"/>
          <c:order val="2"/>
          <c:tx>
            <c:strRef>
              <c:f>Sheet1!$D$1</c:f>
              <c:strCache>
                <c:ptCount val="1"/>
                <c:pt idx="0">
                  <c:v>Merchandise</c:v>
                </c:pt>
              </c:strCache>
            </c:strRef>
          </c:tx>
          <c:spPr>
            <a:solidFill>
              <a:srgbClr val="C4D600"/>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D$2:$D$11</c:f>
              <c:numCache>
                <c:formatCode>"$"#,##0_);[Red]\("$"#,##0\)</c:formatCode>
                <c:ptCount val="10"/>
                <c:pt idx="0">
                  <c:v>0</c:v>
                </c:pt>
                <c:pt idx="1">
                  <c:v>100367.3034964586</c:v>
                </c:pt>
                <c:pt idx="2">
                  <c:v>386709.02707573475</c:v>
                </c:pt>
                <c:pt idx="3">
                  <c:v>719097.17302332446</c:v>
                </c:pt>
                <c:pt idx="4">
                  <c:v>968646.97025228175</c:v>
                </c:pt>
                <c:pt idx="5">
                  <c:v>1073234.1423252155</c:v>
                </c:pt>
                <c:pt idx="6">
                  <c:v>1082178.6649648643</c:v>
                </c:pt>
                <c:pt idx="7">
                  <c:v>1082178.6649648643</c:v>
                </c:pt>
                <c:pt idx="8">
                  <c:v>1082178.6649648643</c:v>
                </c:pt>
                <c:pt idx="9">
                  <c:v>1091138.2718790076</c:v>
                </c:pt>
              </c:numCache>
            </c:numRef>
          </c:val>
          <c:extLst>
            <c:ext xmlns:c16="http://schemas.microsoft.com/office/drawing/2014/chart" uri="{C3380CC4-5D6E-409C-BE32-E72D297353CC}">
              <c16:uniqueId val="{00000002-A2B4-4444-9BBF-B07174ADA4C6}"/>
            </c:ext>
          </c:extLst>
        </c:ser>
        <c:ser>
          <c:idx val="3"/>
          <c:order val="3"/>
          <c:tx>
            <c:strRef>
              <c:f>Sheet1!$E$1</c:f>
              <c:strCache>
                <c:ptCount val="1"/>
                <c:pt idx="0">
                  <c:v>Ticket Sales</c:v>
                </c:pt>
              </c:strCache>
            </c:strRef>
          </c:tx>
          <c:spPr>
            <a:solidFill>
              <a:schemeClr val="accent3">
                <a:lumMod val="60000"/>
                <a:lumOff val="4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E$2:$E$11</c:f>
              <c:numCache>
                <c:formatCode>"$"#,##0_);[Red]\("$"#,##0\)</c:formatCode>
                <c:ptCount val="10"/>
                <c:pt idx="0">
                  <c:v>0</c:v>
                </c:pt>
                <c:pt idx="1">
                  <c:v>855715.48316941457</c:v>
                </c:pt>
                <c:pt idx="2">
                  <c:v>3329217.7263368675</c:v>
                </c:pt>
                <c:pt idx="3">
                  <c:v>5226009.3924585935</c:v>
                </c:pt>
                <c:pt idx="4">
                  <c:v>6661983.9621056737</c:v>
                </c:pt>
                <c:pt idx="5">
                  <c:v>7335665.6793269329</c:v>
                </c:pt>
                <c:pt idx="6">
                  <c:v>7495959.2108019348</c:v>
                </c:pt>
                <c:pt idx="7">
                  <c:v>7495959.2108019348</c:v>
                </c:pt>
                <c:pt idx="8">
                  <c:v>7495959.2108019348</c:v>
                </c:pt>
                <c:pt idx="9">
                  <c:v>7656767.8110727333</c:v>
                </c:pt>
              </c:numCache>
            </c:numRef>
          </c:val>
          <c:extLst>
            <c:ext xmlns:c16="http://schemas.microsoft.com/office/drawing/2014/chart" uri="{C3380CC4-5D6E-409C-BE32-E72D297353CC}">
              <c16:uniqueId val="{00000003-A2B4-4444-9BBF-B07174ADA4C6}"/>
            </c:ext>
          </c:extLst>
        </c:ser>
        <c:ser>
          <c:idx val="4"/>
          <c:order val="4"/>
          <c:tx>
            <c:strRef>
              <c:f>Sheet1!$F$1</c:f>
              <c:strCache>
                <c:ptCount val="1"/>
                <c:pt idx="0">
                  <c:v>Corporate Partnerships</c:v>
                </c:pt>
              </c:strCache>
            </c:strRef>
          </c:tx>
          <c:spPr>
            <a:solidFill>
              <a:schemeClr val="accent5">
                <a:lumMod val="60000"/>
                <a:lumOff val="40000"/>
              </a:schemeClr>
            </a:solidFill>
            <a:ln w="25400">
              <a:noFill/>
            </a:ln>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F$2:$F$11</c:f>
              <c:numCache>
                <c:formatCode>"$"#,##0_);[Red]\("$"#,##0\)</c:formatCode>
                <c:ptCount val="10"/>
                <c:pt idx="0">
                  <c:v>0</c:v>
                </c:pt>
                <c:pt idx="1">
                  <c:v>1830710.8500000015</c:v>
                </c:pt>
                <c:pt idx="2">
                  <c:v>3452983.487924993</c:v>
                </c:pt>
                <c:pt idx="3">
                  <c:v>3726910.3960499987</c:v>
                </c:pt>
                <c:pt idx="4">
                  <c:v>4002891.755985938</c:v>
                </c:pt>
                <c:pt idx="5">
                  <c:v>4021035.736367397</c:v>
                </c:pt>
                <c:pt idx="6">
                  <c:v>4039188.7887390479</c:v>
                </c:pt>
                <c:pt idx="7">
                  <c:v>4039188.7887390479</c:v>
                </c:pt>
                <c:pt idx="8">
                  <c:v>4039188.7887390479</c:v>
                </c:pt>
                <c:pt idx="9">
                  <c:v>4057350.9176368862</c:v>
                </c:pt>
              </c:numCache>
            </c:numRef>
          </c:val>
          <c:extLst>
            <c:ext xmlns:c16="http://schemas.microsoft.com/office/drawing/2014/chart" uri="{C3380CC4-5D6E-409C-BE32-E72D297353CC}">
              <c16:uniqueId val="{00000004-A2B4-4444-9BBF-B07174ADA4C6}"/>
            </c:ext>
          </c:extLst>
        </c:ser>
        <c:ser>
          <c:idx val="5"/>
          <c:order val="5"/>
          <c:tx>
            <c:strRef>
              <c:f>Sheet1!$G$1</c:f>
              <c:strCache>
                <c:ptCount val="1"/>
                <c:pt idx="0">
                  <c:v>Other</c:v>
                </c:pt>
              </c:strCache>
            </c:strRef>
          </c:tx>
          <c:spPr>
            <a:solidFill>
              <a:schemeClr val="tx2">
                <a:lumMod val="9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G$2:$G$11</c:f>
              <c:numCache>
                <c:formatCode>"$"#,##0_);[Red]\("$"#,##0\)</c:formatCode>
                <c:ptCount val="10"/>
                <c:pt idx="0">
                  <c:v>0</c:v>
                </c:pt>
                <c:pt idx="1">
                  <c:v>43030.3125</c:v>
                </c:pt>
                <c:pt idx="2">
                  <c:v>106962.08703124894</c:v>
                </c:pt>
                <c:pt idx="3">
                  <c:v>169360.13828124816</c:v>
                </c:pt>
                <c:pt idx="4">
                  <c:v>232279.20465312252</c:v>
                </c:pt>
                <c:pt idx="5">
                  <c:v>276975.56981270027</c:v>
                </c:pt>
                <c:pt idx="6">
                  <c:v>279027.7074435032</c:v>
                </c:pt>
                <c:pt idx="7">
                  <c:v>279027.7074435032</c:v>
                </c:pt>
                <c:pt idx="8">
                  <c:v>279027.7074435032</c:v>
                </c:pt>
                <c:pt idx="9">
                  <c:v>281080.87114312139</c:v>
                </c:pt>
              </c:numCache>
            </c:numRef>
          </c:val>
          <c:extLst>
            <c:ext xmlns:c16="http://schemas.microsoft.com/office/drawing/2014/chart" uri="{C3380CC4-5D6E-409C-BE32-E72D297353CC}">
              <c16:uniqueId val="{00000005-A2B4-4444-9BBF-B07174ADA4C6}"/>
            </c:ext>
          </c:extLst>
        </c:ser>
        <c:dLbls>
          <c:showLegendKey val="0"/>
          <c:showVal val="0"/>
          <c:showCatName val="0"/>
          <c:showSerName val="0"/>
          <c:showPercent val="0"/>
          <c:showBubbleSize val="0"/>
        </c:dLbls>
        <c:axId val="245701392"/>
        <c:axId val="245697864"/>
      </c:areaChart>
      <c:lineChart>
        <c:grouping val="standard"/>
        <c:varyColors val="0"/>
        <c:ser>
          <c:idx val="6"/>
          <c:order val="6"/>
          <c:tx>
            <c:strRef>
              <c:f>Sheet1!$H$1</c:f>
              <c:strCache>
                <c:ptCount val="1"/>
                <c:pt idx="0">
                  <c:v>Program Costs</c:v>
                </c:pt>
              </c:strCache>
            </c:strRef>
          </c:tx>
          <c:spPr>
            <a:ln>
              <a:solidFill>
                <a:srgbClr val="75787B"/>
              </a:solidFill>
            </a:ln>
          </c:spPr>
          <c:marker>
            <c:symbol val="none"/>
          </c:marke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H$2:$H$11</c:f>
              <c:numCache>
                <c:formatCode>General</c:formatCode>
                <c:ptCount val="10"/>
                <c:pt idx="0">
                  <c:v>0</c:v>
                </c:pt>
                <c:pt idx="1">
                  <c:v>12402500</c:v>
                </c:pt>
                <c:pt idx="2">
                  <c:v>1710000</c:v>
                </c:pt>
                <c:pt idx="3">
                  <c:v>1710000</c:v>
                </c:pt>
                <c:pt idx="4">
                  <c:v>1710000</c:v>
                </c:pt>
                <c:pt idx="5">
                  <c:v>3260000</c:v>
                </c:pt>
                <c:pt idx="6">
                  <c:v>1710000</c:v>
                </c:pt>
                <c:pt idx="7">
                  <c:v>1710000</c:v>
                </c:pt>
                <c:pt idx="8">
                  <c:v>1710000</c:v>
                </c:pt>
                <c:pt idx="9">
                  <c:v>3260000</c:v>
                </c:pt>
              </c:numCache>
            </c:numRef>
          </c:val>
          <c:smooth val="0"/>
          <c:extLst>
            <c:ext xmlns:c16="http://schemas.microsoft.com/office/drawing/2014/chart" uri="{C3380CC4-5D6E-409C-BE32-E72D297353CC}">
              <c16:uniqueId val="{00000006-A2B4-4444-9BBF-B07174ADA4C6}"/>
            </c:ext>
          </c:extLst>
        </c:ser>
        <c:dLbls>
          <c:showLegendKey val="0"/>
          <c:showVal val="0"/>
          <c:showCatName val="0"/>
          <c:showSerName val="0"/>
          <c:showPercent val="0"/>
          <c:showBubbleSize val="0"/>
        </c:dLbls>
        <c:marker val="1"/>
        <c:smooth val="0"/>
        <c:axId val="245701392"/>
        <c:axId val="245697864"/>
      </c:lineChart>
      <c:catAx>
        <c:axId val="245701392"/>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Frutiger Next Pro Light"/>
              </a:defRPr>
            </a:pPr>
            <a:endParaRPr lang="en-US"/>
          </a:p>
        </c:txPr>
        <c:crossAx val="245697864"/>
        <c:crosses val="autoZero"/>
        <c:auto val="1"/>
        <c:lblAlgn val="ctr"/>
        <c:lblOffset val="100"/>
        <c:noMultiLvlLbl val="0"/>
      </c:catAx>
      <c:valAx>
        <c:axId val="245697864"/>
        <c:scaling>
          <c:orientation val="minMax"/>
        </c:scaling>
        <c:delete val="0"/>
        <c:axPos val="l"/>
        <c:majorGridlines>
          <c:spPr>
            <a:ln w="9525" cap="flat" cmpd="sng" algn="ctr">
              <a:solidFill>
                <a:schemeClr val="bg1">
                  <a:lumMod val="95000"/>
                </a:schemeClr>
              </a:solidFill>
              <a:prstDash val="solid"/>
              <a:round/>
            </a:ln>
            <a:effectLst/>
          </c:spPr>
        </c:majorGridlines>
        <c:numFmt formatCode="&quot;$&quot;#,##0_);[Red]\(&quot;$&quot;#,##0\)"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Frutiger Next Pro Light"/>
              </a:defRPr>
            </a:pPr>
            <a:endParaRPr lang="en-US"/>
          </a:p>
        </c:txPr>
        <c:crossAx val="245701392"/>
        <c:crosses val="autoZero"/>
        <c:crossBetween val="between"/>
      </c:valAx>
      <c:spPr>
        <a:noFill/>
        <a:ln>
          <a:noFill/>
        </a:ln>
        <a:effectLst/>
      </c:spPr>
    </c:plotArea>
    <c:legend>
      <c:legendPos val="b"/>
      <c:layout>
        <c:manualLayout>
          <c:xMode val="edge"/>
          <c:yMode val="edge"/>
          <c:x val="0"/>
          <c:y val="0.78400222611849346"/>
          <c:w val="0.99709409747686772"/>
          <c:h val="0.2159977738815065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Frutiger Next Pro Light"/>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a:noFill/>
              </a:ln>
            </c:spPr>
            <c:extLst>
              <c:ext xmlns:c16="http://schemas.microsoft.com/office/drawing/2014/chart" uri="{C3380CC4-5D6E-409C-BE32-E72D297353CC}">
                <c16:uniqueId val="{00000001-F3C2-46BC-9B7A-A2BA8FCD1CDB}"/>
              </c:ext>
            </c:extLst>
          </c:dPt>
          <c:dPt>
            <c:idx val="1"/>
            <c:bubble3D val="0"/>
            <c:spPr>
              <a:solidFill>
                <a:schemeClr val="accent5"/>
              </a:solidFill>
              <a:ln>
                <a:noFill/>
              </a:ln>
            </c:spPr>
            <c:extLst>
              <c:ext xmlns:c16="http://schemas.microsoft.com/office/drawing/2014/chart" uri="{C3380CC4-5D6E-409C-BE32-E72D297353CC}">
                <c16:uniqueId val="{00000003-F3C2-46BC-9B7A-A2BA8FCD1CDB}"/>
              </c:ext>
            </c:extLst>
          </c:dPt>
          <c:dPt>
            <c:idx val="2"/>
            <c:bubble3D val="0"/>
            <c:spPr>
              <a:solidFill>
                <a:schemeClr val="accent6"/>
              </a:solidFill>
              <a:ln>
                <a:noFill/>
              </a:ln>
            </c:spPr>
            <c:extLst>
              <c:ext xmlns:c16="http://schemas.microsoft.com/office/drawing/2014/chart" uri="{C3380CC4-5D6E-409C-BE32-E72D297353CC}">
                <c16:uniqueId val="{00000005-F3C2-46BC-9B7A-A2BA8FCD1CDB}"/>
              </c:ext>
            </c:extLst>
          </c:dPt>
          <c:dPt>
            <c:idx val="3"/>
            <c:bubble3D val="0"/>
            <c:spPr>
              <a:solidFill>
                <a:schemeClr val="bg1">
                  <a:lumMod val="75000"/>
                </a:schemeClr>
              </a:solidFill>
              <a:ln>
                <a:noFill/>
              </a:ln>
            </c:spPr>
            <c:extLst>
              <c:ext xmlns:c16="http://schemas.microsoft.com/office/drawing/2014/chart" uri="{C3380CC4-5D6E-409C-BE32-E72D297353CC}">
                <c16:uniqueId val="{00000007-F3C2-46BC-9B7A-A2BA8FCD1CDB}"/>
              </c:ext>
            </c:extLst>
          </c:dPt>
          <c:cat>
            <c:strRef>
              <c:f>Sheet1!$A$2:$A$4</c:f>
              <c:strCache>
                <c:ptCount val="3"/>
                <c:pt idx="0">
                  <c:v>1st Qtr</c:v>
                </c:pt>
                <c:pt idx="1">
                  <c:v>2nd Qtr</c:v>
                </c:pt>
                <c:pt idx="2">
                  <c:v>3rd Qtr</c:v>
                </c:pt>
              </c:strCache>
            </c:strRef>
          </c:cat>
          <c:val>
            <c:numRef>
              <c:f>Sheet1!$B$2:$B$4</c:f>
              <c:numCache>
                <c:formatCode>0%</c:formatCode>
                <c:ptCount val="3"/>
                <c:pt idx="0">
                  <c:v>0.3</c:v>
                </c:pt>
                <c:pt idx="1">
                  <c:v>0.3</c:v>
                </c:pt>
                <c:pt idx="2">
                  <c:v>0.3</c:v>
                </c:pt>
              </c:numCache>
            </c:numRef>
          </c:val>
          <c:extLst>
            <c:ext xmlns:c16="http://schemas.microsoft.com/office/drawing/2014/chart" uri="{C3380CC4-5D6E-409C-BE32-E72D297353CC}">
              <c16:uniqueId val="{00000008-F3C2-46BC-9B7A-A2BA8FCD1CDB}"/>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35526014103"/>
          <c:y val="4.0366861694371502E-2"/>
          <c:w val="0.815843826475942"/>
          <c:h val="0.78393664333624902"/>
        </c:manualLayout>
      </c:layout>
      <c:barChart>
        <c:barDir val="bar"/>
        <c:grouping val="clustered"/>
        <c:varyColors val="0"/>
        <c:ser>
          <c:idx val="0"/>
          <c:order val="0"/>
          <c:tx>
            <c:strRef>
              <c:f>Sheet1!$B$1</c:f>
              <c:strCache>
                <c:ptCount val="1"/>
                <c:pt idx="0">
                  <c:v>A</c:v>
                </c:pt>
              </c:strCache>
            </c:strRef>
          </c:tx>
          <c:spPr>
            <a:solidFill>
              <a:schemeClr val="accent1"/>
            </a:solidFill>
            <a:ln w="12700">
              <a:solidFill>
                <a:schemeClr val="bg1"/>
              </a:solidFill>
              <a:prstDash val="solid"/>
            </a:ln>
          </c:spPr>
          <c:invertIfNegative val="0"/>
          <c:dPt>
            <c:idx val="0"/>
            <c:invertIfNegative val="0"/>
            <c:bubble3D val="0"/>
            <c:spPr>
              <a:solidFill>
                <a:schemeClr val="bg1">
                  <a:lumMod val="85000"/>
                </a:schemeClr>
              </a:solidFill>
              <a:ln w="12700">
                <a:solidFill>
                  <a:schemeClr val="bg1"/>
                </a:solidFill>
                <a:prstDash val="solid"/>
              </a:ln>
            </c:spPr>
            <c:extLst>
              <c:ext xmlns:c16="http://schemas.microsoft.com/office/drawing/2014/chart" uri="{C3380CC4-5D6E-409C-BE32-E72D297353CC}">
                <c16:uniqueId val="{00000001-FF43-40D5-BD64-3638F5D1A17E}"/>
              </c:ext>
            </c:extLst>
          </c:dPt>
          <c:dPt>
            <c:idx val="1"/>
            <c:invertIfNegative val="0"/>
            <c:bubble3D val="0"/>
            <c:spPr>
              <a:solidFill>
                <a:schemeClr val="bg1">
                  <a:lumMod val="75000"/>
                </a:schemeClr>
              </a:solidFill>
              <a:ln w="12700">
                <a:solidFill>
                  <a:schemeClr val="bg1"/>
                </a:solidFill>
                <a:prstDash val="solid"/>
              </a:ln>
            </c:spPr>
            <c:extLst>
              <c:ext xmlns:c16="http://schemas.microsoft.com/office/drawing/2014/chart" uri="{C3380CC4-5D6E-409C-BE32-E72D297353CC}">
                <c16:uniqueId val="{00000003-FF43-40D5-BD64-3638F5D1A17E}"/>
              </c:ext>
            </c:extLst>
          </c:dPt>
          <c:dPt>
            <c:idx val="2"/>
            <c:invertIfNegative val="0"/>
            <c:bubble3D val="0"/>
            <c:spPr>
              <a:solidFill>
                <a:schemeClr val="bg1">
                  <a:lumMod val="65000"/>
                </a:schemeClr>
              </a:solidFill>
              <a:ln w="12700">
                <a:solidFill>
                  <a:schemeClr val="bg1"/>
                </a:solidFill>
                <a:prstDash val="solid"/>
              </a:ln>
            </c:spPr>
            <c:extLst>
              <c:ext xmlns:c16="http://schemas.microsoft.com/office/drawing/2014/chart" uri="{C3380CC4-5D6E-409C-BE32-E72D297353CC}">
                <c16:uniqueId val="{00000005-FF43-40D5-BD64-3638F5D1A17E}"/>
              </c:ext>
            </c:extLst>
          </c:dPt>
          <c:dPt>
            <c:idx val="3"/>
            <c:invertIfNegative val="0"/>
            <c:bubble3D val="0"/>
            <c:spPr>
              <a:solidFill>
                <a:schemeClr val="bg1">
                  <a:lumMod val="50000"/>
                </a:schemeClr>
              </a:solidFill>
              <a:ln w="12700">
                <a:solidFill>
                  <a:schemeClr val="bg1"/>
                </a:solidFill>
                <a:prstDash val="solid"/>
              </a:ln>
            </c:spPr>
            <c:extLst>
              <c:ext xmlns:c16="http://schemas.microsoft.com/office/drawing/2014/chart" uri="{C3380CC4-5D6E-409C-BE32-E72D297353CC}">
                <c16:uniqueId val="{00000007-FF43-40D5-BD64-3638F5D1A17E}"/>
              </c:ext>
            </c:extLst>
          </c:dPt>
          <c:dPt>
            <c:idx val="4"/>
            <c:invertIfNegative val="0"/>
            <c:bubble3D val="0"/>
            <c:spPr>
              <a:solidFill>
                <a:schemeClr val="accent3"/>
              </a:solidFill>
              <a:ln w="12700">
                <a:solidFill>
                  <a:schemeClr val="bg1"/>
                </a:solidFill>
                <a:prstDash val="solid"/>
              </a:ln>
            </c:spPr>
            <c:extLst>
              <c:ext xmlns:c16="http://schemas.microsoft.com/office/drawing/2014/chart" uri="{C3380CC4-5D6E-409C-BE32-E72D297353CC}">
                <c16:uniqueId val="{00000009-FF43-40D5-BD64-3638F5D1A17E}"/>
              </c:ext>
            </c:extLst>
          </c:dPt>
          <c:dLbls>
            <c:spPr>
              <a:noFill/>
              <a:ln>
                <a:noFill/>
              </a:ln>
              <a:effectLst/>
            </c:spPr>
            <c:txPr>
              <a:bodyPr/>
              <a:lstStyle/>
              <a:p>
                <a:pPr>
                  <a:defRPr sz="1100" b="0">
                    <a:solidFill>
                      <a:srgbClr val="53565A"/>
                    </a:solidFill>
                    <a:latin typeface="+mn-lt"/>
                    <a:ea typeface="+mn-lt"/>
                    <a:cs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A-FF43-40D5-BD64-3638F5D1A17E}"/>
            </c:ext>
          </c:extLst>
        </c:ser>
        <c:dLbls>
          <c:dLblPos val="outEnd"/>
          <c:showLegendKey val="0"/>
          <c:showVal val="1"/>
          <c:showCatName val="0"/>
          <c:showSerName val="0"/>
          <c:showPercent val="0"/>
          <c:showBubbleSize val="0"/>
        </c:dLbls>
        <c:gapWidth val="150"/>
        <c:axId val="123322672"/>
        <c:axId val="123445328"/>
      </c:barChart>
      <c:catAx>
        <c:axId val="123322672"/>
        <c:scaling>
          <c:orientation val="minMax"/>
        </c:scaling>
        <c:delete val="0"/>
        <c:axPos val="l"/>
        <c:numFmt formatCode="General" sourceLinked="0"/>
        <c:majorTickMark val="none"/>
        <c:minorTickMark val="none"/>
        <c:tickLblPos val="nextTo"/>
        <c:spPr>
          <a:ln w="6350">
            <a:solidFill>
              <a:srgbClr val="BBBCBC"/>
            </a:solidFill>
            <a:prstDash val="solid"/>
          </a:ln>
        </c:spPr>
        <c:txPr>
          <a:bodyPr/>
          <a:lstStyle/>
          <a:p>
            <a:pPr>
              <a:defRPr sz="1100" b="0">
                <a:solidFill>
                  <a:srgbClr val="53565A"/>
                </a:solidFill>
                <a:latin typeface="+mn-lt"/>
                <a:ea typeface="+mn-lt"/>
                <a:cs typeface="+mn-lt"/>
              </a:defRPr>
            </a:pPr>
            <a:endParaRPr lang="en-US"/>
          </a:p>
        </c:txPr>
        <c:crossAx val="123445328"/>
        <c:crosses val="autoZero"/>
        <c:auto val="1"/>
        <c:lblAlgn val="ctr"/>
        <c:lblOffset val="100"/>
        <c:noMultiLvlLbl val="0"/>
      </c:catAx>
      <c:valAx>
        <c:axId val="123445328"/>
        <c:scaling>
          <c:orientation val="minMax"/>
        </c:scaling>
        <c:delete val="0"/>
        <c:axPos val="b"/>
        <c:majorGridlines>
          <c:spPr>
            <a:ln w="6350">
              <a:solidFill>
                <a:srgbClr val="BBBCBC"/>
              </a:solidFill>
            </a:ln>
          </c:spPr>
        </c:majorGridlines>
        <c:numFmt formatCode="General" sourceLinked="1"/>
        <c:majorTickMark val="none"/>
        <c:minorTickMark val="none"/>
        <c:tickLblPos val="low"/>
        <c:spPr>
          <a:ln w="9525">
            <a:noFill/>
            <a:prstDash val="solid"/>
          </a:ln>
        </c:spPr>
        <c:txPr>
          <a:bodyPr/>
          <a:lstStyle/>
          <a:p>
            <a:pPr>
              <a:defRPr sz="900" b="0">
                <a:solidFill>
                  <a:srgbClr val="53565A"/>
                </a:solidFill>
                <a:latin typeface="+mn-lt"/>
                <a:ea typeface="+mn-lt"/>
                <a:cs typeface="+mn-lt"/>
              </a:defRPr>
            </a:pPr>
            <a:endParaRPr lang="en-US"/>
          </a:p>
        </c:txPr>
        <c:crossAx val="123322672"/>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63389282955264"/>
          <c:y val="0.908292322834646"/>
          <c:w val="0.71326136698625697"/>
          <c:h val="4.9372767206182597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1100" b="0">
              <a:solidFill>
                <a:srgbClr val="53565A"/>
              </a:solidFill>
              <a:latin typeface="+mn-lt"/>
              <a:ea typeface="+mn-lt"/>
              <a:cs typeface="+mn-lt"/>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2">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10/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10/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7259237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2409996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4</a:t>
            </a:fld>
            <a:endParaRPr lang="en-US" dirty="0"/>
          </a:p>
        </p:txBody>
      </p:sp>
    </p:spTree>
    <p:extLst>
      <p:ext uri="{BB962C8B-B14F-4D97-AF65-F5344CB8AC3E}">
        <p14:creationId xmlns:p14="http://schemas.microsoft.com/office/powerpoint/2010/main" val="82106184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5</a:t>
            </a:fld>
            <a:endParaRPr lang="en-US" dirty="0"/>
          </a:p>
        </p:txBody>
      </p:sp>
    </p:spTree>
    <p:extLst>
      <p:ext uri="{BB962C8B-B14F-4D97-AF65-F5344CB8AC3E}">
        <p14:creationId xmlns:p14="http://schemas.microsoft.com/office/powerpoint/2010/main" val="375713923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6</a:t>
            </a:fld>
            <a:endParaRPr lang="en-US" dirty="0"/>
          </a:p>
        </p:txBody>
      </p:sp>
    </p:spTree>
    <p:extLst>
      <p:ext uri="{BB962C8B-B14F-4D97-AF65-F5344CB8AC3E}">
        <p14:creationId xmlns:p14="http://schemas.microsoft.com/office/powerpoint/2010/main" val="426737220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7</a:t>
            </a:fld>
            <a:endParaRPr lang="en-US" dirty="0"/>
          </a:p>
        </p:txBody>
      </p:sp>
    </p:spTree>
    <p:extLst>
      <p:ext uri="{BB962C8B-B14F-4D97-AF65-F5344CB8AC3E}">
        <p14:creationId xmlns:p14="http://schemas.microsoft.com/office/powerpoint/2010/main" val="36941551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8</a:t>
            </a:fld>
            <a:endParaRPr lang="en-US" dirty="0"/>
          </a:p>
        </p:txBody>
      </p:sp>
    </p:spTree>
    <p:extLst>
      <p:ext uri="{BB962C8B-B14F-4D97-AF65-F5344CB8AC3E}">
        <p14:creationId xmlns:p14="http://schemas.microsoft.com/office/powerpoint/2010/main" val="58793375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9</a:t>
            </a:fld>
            <a:endParaRPr lang="en-US" dirty="0"/>
          </a:p>
        </p:txBody>
      </p:sp>
    </p:spTree>
    <p:extLst>
      <p:ext uri="{BB962C8B-B14F-4D97-AF65-F5344CB8AC3E}">
        <p14:creationId xmlns:p14="http://schemas.microsoft.com/office/powerpoint/2010/main" val="295332138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0</a:t>
            </a:fld>
            <a:endParaRPr lang="en-US" dirty="0"/>
          </a:p>
        </p:txBody>
      </p:sp>
    </p:spTree>
    <p:extLst>
      <p:ext uri="{BB962C8B-B14F-4D97-AF65-F5344CB8AC3E}">
        <p14:creationId xmlns:p14="http://schemas.microsoft.com/office/powerpoint/2010/main" val="74415544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1</a:t>
            </a:fld>
            <a:endParaRPr lang="en-US" dirty="0"/>
          </a:p>
        </p:txBody>
      </p:sp>
    </p:spTree>
    <p:extLst>
      <p:ext uri="{BB962C8B-B14F-4D97-AF65-F5344CB8AC3E}">
        <p14:creationId xmlns:p14="http://schemas.microsoft.com/office/powerpoint/2010/main" val="197935283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2</a:t>
            </a:fld>
            <a:endParaRPr lang="en-US" dirty="0"/>
          </a:p>
        </p:txBody>
      </p:sp>
    </p:spTree>
    <p:extLst>
      <p:ext uri="{BB962C8B-B14F-4D97-AF65-F5344CB8AC3E}">
        <p14:creationId xmlns:p14="http://schemas.microsoft.com/office/powerpoint/2010/main" val="81020790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3</a:t>
            </a:fld>
            <a:endParaRPr lang="en-US" dirty="0"/>
          </a:p>
        </p:txBody>
      </p:sp>
    </p:spTree>
    <p:extLst>
      <p:ext uri="{BB962C8B-B14F-4D97-AF65-F5344CB8AC3E}">
        <p14:creationId xmlns:p14="http://schemas.microsoft.com/office/powerpoint/2010/main" val="176742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9344789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4</a:t>
            </a:fld>
            <a:endParaRPr lang="en-US" dirty="0"/>
          </a:p>
        </p:txBody>
      </p:sp>
    </p:spTree>
    <p:extLst>
      <p:ext uri="{BB962C8B-B14F-4D97-AF65-F5344CB8AC3E}">
        <p14:creationId xmlns:p14="http://schemas.microsoft.com/office/powerpoint/2010/main" val="394600002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5</a:t>
            </a:fld>
            <a:endParaRPr lang="en-US" dirty="0"/>
          </a:p>
        </p:txBody>
      </p:sp>
    </p:spTree>
    <p:extLst>
      <p:ext uri="{BB962C8B-B14F-4D97-AF65-F5344CB8AC3E}">
        <p14:creationId xmlns:p14="http://schemas.microsoft.com/office/powerpoint/2010/main" val="112988085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6</a:t>
            </a:fld>
            <a:endParaRPr lang="en-US" dirty="0"/>
          </a:p>
        </p:txBody>
      </p:sp>
    </p:spTree>
    <p:extLst>
      <p:ext uri="{BB962C8B-B14F-4D97-AF65-F5344CB8AC3E}">
        <p14:creationId xmlns:p14="http://schemas.microsoft.com/office/powerpoint/2010/main" val="134901640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7</a:t>
            </a:fld>
            <a:endParaRPr lang="en-US" dirty="0"/>
          </a:p>
        </p:txBody>
      </p:sp>
    </p:spTree>
    <p:extLst>
      <p:ext uri="{BB962C8B-B14F-4D97-AF65-F5344CB8AC3E}">
        <p14:creationId xmlns:p14="http://schemas.microsoft.com/office/powerpoint/2010/main" val="370476753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8</a:t>
            </a:fld>
            <a:endParaRPr lang="en-US" dirty="0"/>
          </a:p>
        </p:txBody>
      </p:sp>
    </p:spTree>
    <p:extLst>
      <p:ext uri="{BB962C8B-B14F-4D97-AF65-F5344CB8AC3E}">
        <p14:creationId xmlns:p14="http://schemas.microsoft.com/office/powerpoint/2010/main" val="97615252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9</a:t>
            </a:fld>
            <a:endParaRPr lang="en-US" dirty="0"/>
          </a:p>
        </p:txBody>
      </p:sp>
    </p:spTree>
    <p:extLst>
      <p:ext uri="{BB962C8B-B14F-4D97-AF65-F5344CB8AC3E}">
        <p14:creationId xmlns:p14="http://schemas.microsoft.com/office/powerpoint/2010/main" val="345777322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0</a:t>
            </a:fld>
            <a:endParaRPr lang="en-US" dirty="0"/>
          </a:p>
        </p:txBody>
      </p:sp>
    </p:spTree>
    <p:extLst>
      <p:ext uri="{BB962C8B-B14F-4D97-AF65-F5344CB8AC3E}">
        <p14:creationId xmlns:p14="http://schemas.microsoft.com/office/powerpoint/2010/main" val="320630698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1</a:t>
            </a:fld>
            <a:endParaRPr lang="en-US" dirty="0"/>
          </a:p>
        </p:txBody>
      </p:sp>
    </p:spTree>
    <p:extLst>
      <p:ext uri="{BB962C8B-B14F-4D97-AF65-F5344CB8AC3E}">
        <p14:creationId xmlns:p14="http://schemas.microsoft.com/office/powerpoint/2010/main" val="365927990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5</a:t>
            </a:fld>
            <a:endParaRPr lang="en-US" dirty="0"/>
          </a:p>
        </p:txBody>
      </p:sp>
    </p:spTree>
    <p:extLst>
      <p:ext uri="{BB962C8B-B14F-4D97-AF65-F5344CB8AC3E}">
        <p14:creationId xmlns:p14="http://schemas.microsoft.com/office/powerpoint/2010/main" val="271857507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6</a:t>
            </a:fld>
            <a:endParaRPr lang="en-US" dirty="0"/>
          </a:p>
        </p:txBody>
      </p:sp>
    </p:spTree>
    <p:extLst>
      <p:ext uri="{BB962C8B-B14F-4D97-AF65-F5344CB8AC3E}">
        <p14:creationId xmlns:p14="http://schemas.microsoft.com/office/powerpoint/2010/main" val="33327260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6306000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7</a:t>
            </a:fld>
            <a:endParaRPr lang="en-US" dirty="0"/>
          </a:p>
        </p:txBody>
      </p:sp>
    </p:spTree>
    <p:extLst>
      <p:ext uri="{BB962C8B-B14F-4D97-AF65-F5344CB8AC3E}">
        <p14:creationId xmlns:p14="http://schemas.microsoft.com/office/powerpoint/2010/main" val="348584308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8</a:t>
            </a:fld>
            <a:endParaRPr lang="en-US" dirty="0"/>
          </a:p>
        </p:txBody>
      </p:sp>
    </p:spTree>
    <p:extLst>
      <p:ext uri="{BB962C8B-B14F-4D97-AF65-F5344CB8AC3E}">
        <p14:creationId xmlns:p14="http://schemas.microsoft.com/office/powerpoint/2010/main" val="70137984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9</a:t>
            </a:fld>
            <a:endParaRPr lang="en-US" dirty="0"/>
          </a:p>
        </p:txBody>
      </p:sp>
    </p:spTree>
    <p:extLst>
      <p:ext uri="{BB962C8B-B14F-4D97-AF65-F5344CB8AC3E}">
        <p14:creationId xmlns:p14="http://schemas.microsoft.com/office/powerpoint/2010/main" val="86194586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0</a:t>
            </a:fld>
            <a:endParaRPr lang="en-US" dirty="0"/>
          </a:p>
        </p:txBody>
      </p:sp>
    </p:spTree>
    <p:extLst>
      <p:ext uri="{BB962C8B-B14F-4D97-AF65-F5344CB8AC3E}">
        <p14:creationId xmlns:p14="http://schemas.microsoft.com/office/powerpoint/2010/main" val="241222841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1</a:t>
            </a:fld>
            <a:endParaRPr lang="en-US" dirty="0"/>
          </a:p>
        </p:txBody>
      </p:sp>
    </p:spTree>
    <p:extLst>
      <p:ext uri="{BB962C8B-B14F-4D97-AF65-F5344CB8AC3E}">
        <p14:creationId xmlns:p14="http://schemas.microsoft.com/office/powerpoint/2010/main" val="307834833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2</a:t>
            </a:fld>
            <a:endParaRPr lang="en-US" dirty="0"/>
          </a:p>
        </p:txBody>
      </p:sp>
    </p:spTree>
    <p:extLst>
      <p:ext uri="{BB962C8B-B14F-4D97-AF65-F5344CB8AC3E}">
        <p14:creationId xmlns:p14="http://schemas.microsoft.com/office/powerpoint/2010/main" val="304690332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3</a:t>
            </a:fld>
            <a:endParaRPr lang="en-US" dirty="0"/>
          </a:p>
        </p:txBody>
      </p:sp>
    </p:spTree>
    <p:extLst>
      <p:ext uri="{BB962C8B-B14F-4D97-AF65-F5344CB8AC3E}">
        <p14:creationId xmlns:p14="http://schemas.microsoft.com/office/powerpoint/2010/main" val="289861455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4</a:t>
            </a:fld>
            <a:endParaRPr lang="en-US" dirty="0"/>
          </a:p>
        </p:txBody>
      </p:sp>
    </p:spTree>
    <p:extLst>
      <p:ext uri="{BB962C8B-B14F-4D97-AF65-F5344CB8AC3E}">
        <p14:creationId xmlns:p14="http://schemas.microsoft.com/office/powerpoint/2010/main" val="324350115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5</a:t>
            </a:fld>
            <a:endParaRPr lang="en-US" dirty="0"/>
          </a:p>
        </p:txBody>
      </p:sp>
    </p:spTree>
    <p:extLst>
      <p:ext uri="{BB962C8B-B14F-4D97-AF65-F5344CB8AC3E}">
        <p14:creationId xmlns:p14="http://schemas.microsoft.com/office/powerpoint/2010/main" val="402285750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6</a:t>
            </a:fld>
            <a:endParaRPr lang="en-US" dirty="0"/>
          </a:p>
        </p:txBody>
      </p:sp>
    </p:spTree>
    <p:extLst>
      <p:ext uri="{BB962C8B-B14F-4D97-AF65-F5344CB8AC3E}">
        <p14:creationId xmlns:p14="http://schemas.microsoft.com/office/powerpoint/2010/main" val="33449074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042281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7</a:t>
            </a:fld>
            <a:endParaRPr lang="en-US" dirty="0"/>
          </a:p>
        </p:txBody>
      </p:sp>
    </p:spTree>
    <p:extLst>
      <p:ext uri="{BB962C8B-B14F-4D97-AF65-F5344CB8AC3E}">
        <p14:creationId xmlns:p14="http://schemas.microsoft.com/office/powerpoint/2010/main" val="303490551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8</a:t>
            </a:fld>
            <a:endParaRPr lang="en-US" dirty="0"/>
          </a:p>
        </p:txBody>
      </p:sp>
    </p:spTree>
    <p:extLst>
      <p:ext uri="{BB962C8B-B14F-4D97-AF65-F5344CB8AC3E}">
        <p14:creationId xmlns:p14="http://schemas.microsoft.com/office/powerpoint/2010/main" val="63308360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9</a:t>
            </a:fld>
            <a:endParaRPr lang="en-US" dirty="0"/>
          </a:p>
        </p:txBody>
      </p:sp>
    </p:spTree>
    <p:extLst>
      <p:ext uri="{BB962C8B-B14F-4D97-AF65-F5344CB8AC3E}">
        <p14:creationId xmlns:p14="http://schemas.microsoft.com/office/powerpoint/2010/main" val="363027142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0</a:t>
            </a:fld>
            <a:endParaRPr lang="en-US" dirty="0"/>
          </a:p>
        </p:txBody>
      </p:sp>
    </p:spTree>
    <p:extLst>
      <p:ext uri="{BB962C8B-B14F-4D97-AF65-F5344CB8AC3E}">
        <p14:creationId xmlns:p14="http://schemas.microsoft.com/office/powerpoint/2010/main" val="261399176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1</a:t>
            </a:fld>
            <a:endParaRPr lang="en-US" dirty="0"/>
          </a:p>
        </p:txBody>
      </p:sp>
    </p:spTree>
    <p:extLst>
      <p:ext uri="{BB962C8B-B14F-4D97-AF65-F5344CB8AC3E}">
        <p14:creationId xmlns:p14="http://schemas.microsoft.com/office/powerpoint/2010/main" val="17093959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2</a:t>
            </a:fld>
            <a:endParaRPr lang="en-US" dirty="0"/>
          </a:p>
        </p:txBody>
      </p:sp>
    </p:spTree>
    <p:extLst>
      <p:ext uri="{BB962C8B-B14F-4D97-AF65-F5344CB8AC3E}">
        <p14:creationId xmlns:p14="http://schemas.microsoft.com/office/powerpoint/2010/main" val="219564644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3</a:t>
            </a:fld>
            <a:endParaRPr lang="en-US" dirty="0"/>
          </a:p>
        </p:txBody>
      </p:sp>
    </p:spTree>
    <p:extLst>
      <p:ext uri="{BB962C8B-B14F-4D97-AF65-F5344CB8AC3E}">
        <p14:creationId xmlns:p14="http://schemas.microsoft.com/office/powerpoint/2010/main" val="3608628833"/>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4</a:t>
            </a:fld>
            <a:endParaRPr lang="en-US" dirty="0"/>
          </a:p>
        </p:txBody>
      </p:sp>
    </p:spTree>
    <p:extLst>
      <p:ext uri="{BB962C8B-B14F-4D97-AF65-F5344CB8AC3E}">
        <p14:creationId xmlns:p14="http://schemas.microsoft.com/office/powerpoint/2010/main" val="1976570428"/>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5</a:t>
            </a:fld>
            <a:endParaRPr lang="en-US" dirty="0"/>
          </a:p>
        </p:txBody>
      </p:sp>
    </p:spTree>
    <p:extLst>
      <p:ext uri="{BB962C8B-B14F-4D97-AF65-F5344CB8AC3E}">
        <p14:creationId xmlns:p14="http://schemas.microsoft.com/office/powerpoint/2010/main" val="428405493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6</a:t>
            </a:fld>
            <a:endParaRPr lang="en-US" dirty="0"/>
          </a:p>
        </p:txBody>
      </p:sp>
    </p:spTree>
    <p:extLst>
      <p:ext uri="{BB962C8B-B14F-4D97-AF65-F5344CB8AC3E}">
        <p14:creationId xmlns:p14="http://schemas.microsoft.com/office/powerpoint/2010/main" val="35191949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44561127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7</a:t>
            </a:fld>
            <a:endParaRPr lang="en-US" dirty="0"/>
          </a:p>
        </p:txBody>
      </p:sp>
    </p:spTree>
    <p:extLst>
      <p:ext uri="{BB962C8B-B14F-4D97-AF65-F5344CB8AC3E}">
        <p14:creationId xmlns:p14="http://schemas.microsoft.com/office/powerpoint/2010/main" val="415088619"/>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8</a:t>
            </a:fld>
            <a:endParaRPr lang="en-US" dirty="0"/>
          </a:p>
        </p:txBody>
      </p:sp>
    </p:spTree>
    <p:extLst>
      <p:ext uri="{BB962C8B-B14F-4D97-AF65-F5344CB8AC3E}">
        <p14:creationId xmlns:p14="http://schemas.microsoft.com/office/powerpoint/2010/main" val="413993207"/>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9</a:t>
            </a:fld>
            <a:endParaRPr lang="en-US" dirty="0"/>
          </a:p>
        </p:txBody>
      </p:sp>
    </p:spTree>
    <p:extLst>
      <p:ext uri="{BB962C8B-B14F-4D97-AF65-F5344CB8AC3E}">
        <p14:creationId xmlns:p14="http://schemas.microsoft.com/office/powerpoint/2010/main" val="3798548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0</a:t>
            </a:fld>
            <a:endParaRPr lang="en-US" dirty="0"/>
          </a:p>
        </p:txBody>
      </p:sp>
    </p:spTree>
    <p:extLst>
      <p:ext uri="{BB962C8B-B14F-4D97-AF65-F5344CB8AC3E}">
        <p14:creationId xmlns:p14="http://schemas.microsoft.com/office/powerpoint/2010/main" val="224208245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1</a:t>
            </a:fld>
            <a:endParaRPr lang="en-US" dirty="0"/>
          </a:p>
        </p:txBody>
      </p:sp>
    </p:spTree>
    <p:extLst>
      <p:ext uri="{BB962C8B-B14F-4D97-AF65-F5344CB8AC3E}">
        <p14:creationId xmlns:p14="http://schemas.microsoft.com/office/powerpoint/2010/main" val="273739198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2</a:t>
            </a:fld>
            <a:endParaRPr lang="en-US" dirty="0"/>
          </a:p>
        </p:txBody>
      </p:sp>
    </p:spTree>
    <p:extLst>
      <p:ext uri="{BB962C8B-B14F-4D97-AF65-F5344CB8AC3E}">
        <p14:creationId xmlns:p14="http://schemas.microsoft.com/office/powerpoint/2010/main" val="338049748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3</a:t>
            </a:fld>
            <a:endParaRPr lang="en-US" dirty="0"/>
          </a:p>
        </p:txBody>
      </p:sp>
    </p:spTree>
    <p:extLst>
      <p:ext uri="{BB962C8B-B14F-4D97-AF65-F5344CB8AC3E}">
        <p14:creationId xmlns:p14="http://schemas.microsoft.com/office/powerpoint/2010/main" val="3696060193"/>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4</a:t>
            </a:fld>
            <a:endParaRPr lang="en-US" dirty="0"/>
          </a:p>
        </p:txBody>
      </p:sp>
    </p:spTree>
    <p:extLst>
      <p:ext uri="{BB962C8B-B14F-4D97-AF65-F5344CB8AC3E}">
        <p14:creationId xmlns:p14="http://schemas.microsoft.com/office/powerpoint/2010/main" val="222184004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5</a:t>
            </a:fld>
            <a:endParaRPr lang="en-US" dirty="0"/>
          </a:p>
        </p:txBody>
      </p:sp>
    </p:spTree>
    <p:extLst>
      <p:ext uri="{BB962C8B-B14F-4D97-AF65-F5344CB8AC3E}">
        <p14:creationId xmlns:p14="http://schemas.microsoft.com/office/powerpoint/2010/main" val="98316337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6</a:t>
            </a:fld>
            <a:endParaRPr lang="en-US" dirty="0"/>
          </a:p>
        </p:txBody>
      </p:sp>
    </p:spTree>
    <p:extLst>
      <p:ext uri="{BB962C8B-B14F-4D97-AF65-F5344CB8AC3E}">
        <p14:creationId xmlns:p14="http://schemas.microsoft.com/office/powerpoint/2010/main" val="28453222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2</a:t>
            </a:fld>
            <a:endParaRPr lang="en-US" dirty="0"/>
          </a:p>
        </p:txBody>
      </p:sp>
    </p:spTree>
    <p:extLst>
      <p:ext uri="{BB962C8B-B14F-4D97-AF65-F5344CB8AC3E}">
        <p14:creationId xmlns:p14="http://schemas.microsoft.com/office/powerpoint/2010/main" val="412729553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7</a:t>
            </a:fld>
            <a:endParaRPr lang="en-US" dirty="0"/>
          </a:p>
        </p:txBody>
      </p:sp>
    </p:spTree>
    <p:extLst>
      <p:ext uri="{BB962C8B-B14F-4D97-AF65-F5344CB8AC3E}">
        <p14:creationId xmlns:p14="http://schemas.microsoft.com/office/powerpoint/2010/main" val="388926786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8</a:t>
            </a:fld>
            <a:endParaRPr lang="en-US" dirty="0"/>
          </a:p>
        </p:txBody>
      </p:sp>
    </p:spTree>
    <p:extLst>
      <p:ext uri="{BB962C8B-B14F-4D97-AF65-F5344CB8AC3E}">
        <p14:creationId xmlns:p14="http://schemas.microsoft.com/office/powerpoint/2010/main" val="189415996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9</a:t>
            </a:fld>
            <a:endParaRPr lang="en-US" dirty="0"/>
          </a:p>
        </p:txBody>
      </p:sp>
    </p:spTree>
    <p:extLst>
      <p:ext uri="{BB962C8B-B14F-4D97-AF65-F5344CB8AC3E}">
        <p14:creationId xmlns:p14="http://schemas.microsoft.com/office/powerpoint/2010/main" val="2735189411"/>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0</a:t>
            </a:fld>
            <a:endParaRPr lang="en-US" dirty="0"/>
          </a:p>
        </p:txBody>
      </p:sp>
    </p:spTree>
    <p:extLst>
      <p:ext uri="{BB962C8B-B14F-4D97-AF65-F5344CB8AC3E}">
        <p14:creationId xmlns:p14="http://schemas.microsoft.com/office/powerpoint/2010/main" val="172921186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1</a:t>
            </a:fld>
            <a:endParaRPr lang="en-US" dirty="0"/>
          </a:p>
        </p:txBody>
      </p:sp>
    </p:spTree>
    <p:extLst>
      <p:ext uri="{BB962C8B-B14F-4D97-AF65-F5344CB8AC3E}">
        <p14:creationId xmlns:p14="http://schemas.microsoft.com/office/powerpoint/2010/main" val="174669442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2</a:t>
            </a:fld>
            <a:endParaRPr lang="en-US" dirty="0"/>
          </a:p>
        </p:txBody>
      </p:sp>
    </p:spTree>
    <p:extLst>
      <p:ext uri="{BB962C8B-B14F-4D97-AF65-F5344CB8AC3E}">
        <p14:creationId xmlns:p14="http://schemas.microsoft.com/office/powerpoint/2010/main" val="402010281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3</a:t>
            </a:fld>
            <a:endParaRPr lang="en-US" dirty="0"/>
          </a:p>
        </p:txBody>
      </p:sp>
    </p:spTree>
    <p:extLst>
      <p:ext uri="{BB962C8B-B14F-4D97-AF65-F5344CB8AC3E}">
        <p14:creationId xmlns:p14="http://schemas.microsoft.com/office/powerpoint/2010/main" val="289576152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6</a:t>
            </a:fld>
            <a:endParaRPr lang="en-US" dirty="0"/>
          </a:p>
        </p:txBody>
      </p:sp>
    </p:spTree>
    <p:extLst>
      <p:ext uri="{BB962C8B-B14F-4D97-AF65-F5344CB8AC3E}">
        <p14:creationId xmlns:p14="http://schemas.microsoft.com/office/powerpoint/2010/main" val="188496951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7</a:t>
            </a:fld>
            <a:endParaRPr lang="en-US" dirty="0"/>
          </a:p>
        </p:txBody>
      </p:sp>
    </p:spTree>
    <p:extLst>
      <p:ext uri="{BB962C8B-B14F-4D97-AF65-F5344CB8AC3E}">
        <p14:creationId xmlns:p14="http://schemas.microsoft.com/office/powerpoint/2010/main" val="318665163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8</a:t>
            </a:fld>
            <a:endParaRPr lang="en-US" dirty="0"/>
          </a:p>
        </p:txBody>
      </p:sp>
    </p:spTree>
    <p:extLst>
      <p:ext uri="{BB962C8B-B14F-4D97-AF65-F5344CB8AC3E}">
        <p14:creationId xmlns:p14="http://schemas.microsoft.com/office/powerpoint/2010/main" val="3686753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3</a:t>
            </a:fld>
            <a:endParaRPr lang="en-US" dirty="0"/>
          </a:p>
        </p:txBody>
      </p:sp>
    </p:spTree>
    <p:extLst>
      <p:ext uri="{BB962C8B-B14F-4D97-AF65-F5344CB8AC3E}">
        <p14:creationId xmlns:p14="http://schemas.microsoft.com/office/powerpoint/2010/main" val="78677622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9</a:t>
            </a:fld>
            <a:endParaRPr lang="en-US" dirty="0"/>
          </a:p>
        </p:txBody>
      </p:sp>
    </p:spTree>
    <p:extLst>
      <p:ext uri="{BB962C8B-B14F-4D97-AF65-F5344CB8AC3E}">
        <p14:creationId xmlns:p14="http://schemas.microsoft.com/office/powerpoint/2010/main" val="3771939095"/>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66548452"/>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256624"/>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8158455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9620684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12191802"/>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912437"/>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ath, journey, roadmap, sig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E93B-B4D6-4E29-B321-64772F55183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2646344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23815851"/>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Aug </a:t>
            </a:r>
            <a:r>
              <a:rPr lang="en-US" altLang="zh-CN" dirty="0"/>
              <a:t>2</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24ECD-28D2-4F35-A46E-7EC2E480A9F3}"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40955165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4</a:t>
            </a:fld>
            <a:endParaRPr lang="en-US" dirty="0"/>
          </a:p>
        </p:txBody>
      </p:sp>
    </p:spTree>
    <p:extLst>
      <p:ext uri="{BB962C8B-B14F-4D97-AF65-F5344CB8AC3E}">
        <p14:creationId xmlns:p14="http://schemas.microsoft.com/office/powerpoint/2010/main" val="43593635"/>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Sophia 10</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24ECD-28D2-4F35-A46E-7EC2E480A9F3}"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695473057"/>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business case, growth, chart, infographic</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31127830"/>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rowdsourcing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9197133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8</a:t>
            </a:fld>
            <a:endParaRPr lang="en-US"/>
          </a:p>
        </p:txBody>
      </p:sp>
    </p:spTree>
    <p:extLst>
      <p:ext uri="{BB962C8B-B14F-4D97-AF65-F5344CB8AC3E}">
        <p14:creationId xmlns:p14="http://schemas.microsoft.com/office/powerpoint/2010/main" val="3882588859"/>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59</a:t>
            </a:fld>
            <a:endParaRPr lang="en-US"/>
          </a:p>
        </p:txBody>
      </p:sp>
    </p:spTree>
    <p:extLst>
      <p:ext uri="{BB962C8B-B14F-4D97-AF65-F5344CB8AC3E}">
        <p14:creationId xmlns:p14="http://schemas.microsoft.com/office/powerpoint/2010/main" val="85520893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0</a:t>
            </a:fld>
            <a:endParaRPr lang="en-US"/>
          </a:p>
        </p:txBody>
      </p:sp>
    </p:spTree>
    <p:extLst>
      <p:ext uri="{BB962C8B-B14F-4D97-AF65-F5344CB8AC3E}">
        <p14:creationId xmlns:p14="http://schemas.microsoft.com/office/powerpoint/2010/main" val="1033316556"/>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2</a:t>
            </a:fld>
            <a:endParaRPr lang="en-US"/>
          </a:p>
        </p:txBody>
      </p:sp>
    </p:spTree>
    <p:extLst>
      <p:ext uri="{BB962C8B-B14F-4D97-AF65-F5344CB8AC3E}">
        <p14:creationId xmlns:p14="http://schemas.microsoft.com/office/powerpoint/2010/main" val="320646623"/>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3</a:t>
            </a:fld>
            <a:endParaRPr lang="en-US"/>
          </a:p>
        </p:txBody>
      </p:sp>
    </p:spTree>
    <p:extLst>
      <p:ext uri="{BB962C8B-B14F-4D97-AF65-F5344CB8AC3E}">
        <p14:creationId xmlns:p14="http://schemas.microsoft.com/office/powerpoint/2010/main" val="2786338103"/>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4</a:t>
            </a:fld>
            <a:endParaRPr lang="en-US"/>
          </a:p>
        </p:txBody>
      </p:sp>
    </p:spTree>
    <p:extLst>
      <p:ext uri="{BB962C8B-B14F-4D97-AF65-F5344CB8AC3E}">
        <p14:creationId xmlns:p14="http://schemas.microsoft.com/office/powerpoint/2010/main" val="354721638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5</a:t>
            </a:fld>
            <a:endParaRPr lang="en-US"/>
          </a:p>
        </p:txBody>
      </p:sp>
    </p:spTree>
    <p:extLst>
      <p:ext uri="{BB962C8B-B14F-4D97-AF65-F5344CB8AC3E}">
        <p14:creationId xmlns:p14="http://schemas.microsoft.com/office/powerpoint/2010/main" val="11151762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5</a:t>
            </a:fld>
            <a:endParaRPr lang="en-US" dirty="0"/>
          </a:p>
        </p:txBody>
      </p:sp>
    </p:spTree>
    <p:extLst>
      <p:ext uri="{BB962C8B-B14F-4D97-AF65-F5344CB8AC3E}">
        <p14:creationId xmlns:p14="http://schemas.microsoft.com/office/powerpoint/2010/main" val="231693035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6</a:t>
            </a:fld>
            <a:endParaRPr lang="en-US"/>
          </a:p>
        </p:txBody>
      </p:sp>
    </p:spTree>
    <p:extLst>
      <p:ext uri="{BB962C8B-B14F-4D97-AF65-F5344CB8AC3E}">
        <p14:creationId xmlns:p14="http://schemas.microsoft.com/office/powerpoint/2010/main" val="1687479377"/>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7</a:t>
            </a:fld>
            <a:endParaRPr lang="en-US"/>
          </a:p>
        </p:txBody>
      </p:sp>
    </p:spTree>
    <p:extLst>
      <p:ext uri="{BB962C8B-B14F-4D97-AF65-F5344CB8AC3E}">
        <p14:creationId xmlns:p14="http://schemas.microsoft.com/office/powerpoint/2010/main" val="4163320232"/>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69</a:t>
            </a:fld>
            <a:endParaRPr lang="en-US"/>
          </a:p>
        </p:txBody>
      </p:sp>
    </p:spTree>
    <p:extLst>
      <p:ext uri="{BB962C8B-B14F-4D97-AF65-F5344CB8AC3E}">
        <p14:creationId xmlns:p14="http://schemas.microsoft.com/office/powerpoint/2010/main" val="331095449"/>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0</a:t>
            </a:fld>
            <a:endParaRPr lang="en-US"/>
          </a:p>
        </p:txBody>
      </p:sp>
    </p:spTree>
    <p:extLst>
      <p:ext uri="{BB962C8B-B14F-4D97-AF65-F5344CB8AC3E}">
        <p14:creationId xmlns:p14="http://schemas.microsoft.com/office/powerpoint/2010/main" val="127463498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1</a:t>
            </a:fld>
            <a:endParaRPr lang="en-US"/>
          </a:p>
        </p:txBody>
      </p:sp>
    </p:spTree>
    <p:extLst>
      <p:ext uri="{BB962C8B-B14F-4D97-AF65-F5344CB8AC3E}">
        <p14:creationId xmlns:p14="http://schemas.microsoft.com/office/powerpoint/2010/main" val="924650860"/>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3</a:t>
            </a:fld>
            <a:endParaRPr lang="en-US"/>
          </a:p>
        </p:txBody>
      </p:sp>
    </p:spTree>
    <p:extLst>
      <p:ext uri="{BB962C8B-B14F-4D97-AF65-F5344CB8AC3E}">
        <p14:creationId xmlns:p14="http://schemas.microsoft.com/office/powerpoint/2010/main" val="224837902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4</a:t>
            </a:fld>
            <a:endParaRPr lang="en-US"/>
          </a:p>
        </p:txBody>
      </p:sp>
    </p:spTree>
    <p:extLst>
      <p:ext uri="{BB962C8B-B14F-4D97-AF65-F5344CB8AC3E}">
        <p14:creationId xmlns:p14="http://schemas.microsoft.com/office/powerpoint/2010/main" val="3837015954"/>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5</a:t>
            </a:fld>
            <a:endParaRPr lang="en-US"/>
          </a:p>
        </p:txBody>
      </p:sp>
    </p:spTree>
    <p:extLst>
      <p:ext uri="{BB962C8B-B14F-4D97-AF65-F5344CB8AC3E}">
        <p14:creationId xmlns:p14="http://schemas.microsoft.com/office/powerpoint/2010/main" val="2894597540"/>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6</a:t>
            </a:fld>
            <a:endParaRPr lang="en-US"/>
          </a:p>
        </p:txBody>
      </p:sp>
    </p:spTree>
    <p:extLst>
      <p:ext uri="{BB962C8B-B14F-4D97-AF65-F5344CB8AC3E}">
        <p14:creationId xmlns:p14="http://schemas.microsoft.com/office/powerpoint/2010/main" val="56958907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7</a:t>
            </a:fld>
            <a:endParaRPr lang="en-US"/>
          </a:p>
        </p:txBody>
      </p:sp>
    </p:spTree>
    <p:extLst>
      <p:ext uri="{BB962C8B-B14F-4D97-AF65-F5344CB8AC3E}">
        <p14:creationId xmlns:p14="http://schemas.microsoft.com/office/powerpoint/2010/main" val="39087425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6</a:t>
            </a:fld>
            <a:endParaRPr lang="en-US" dirty="0"/>
          </a:p>
        </p:txBody>
      </p:sp>
    </p:spTree>
    <p:extLst>
      <p:ext uri="{BB962C8B-B14F-4D97-AF65-F5344CB8AC3E}">
        <p14:creationId xmlns:p14="http://schemas.microsoft.com/office/powerpoint/2010/main" val="238855215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8</a:t>
            </a:fld>
            <a:endParaRPr lang="en-US"/>
          </a:p>
        </p:txBody>
      </p:sp>
    </p:spTree>
    <p:extLst>
      <p:ext uri="{BB962C8B-B14F-4D97-AF65-F5344CB8AC3E}">
        <p14:creationId xmlns:p14="http://schemas.microsoft.com/office/powerpoint/2010/main" val="2723908791"/>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79</a:t>
            </a:fld>
            <a:endParaRPr lang="en-US"/>
          </a:p>
        </p:txBody>
      </p:sp>
    </p:spTree>
    <p:extLst>
      <p:ext uri="{BB962C8B-B14F-4D97-AF65-F5344CB8AC3E}">
        <p14:creationId xmlns:p14="http://schemas.microsoft.com/office/powerpoint/2010/main" val="957174384"/>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0</a:t>
            </a:fld>
            <a:endParaRPr lang="en-US"/>
          </a:p>
        </p:txBody>
      </p:sp>
    </p:spTree>
    <p:extLst>
      <p:ext uri="{BB962C8B-B14F-4D97-AF65-F5344CB8AC3E}">
        <p14:creationId xmlns:p14="http://schemas.microsoft.com/office/powerpoint/2010/main" val="191172541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2</a:t>
            </a:fld>
            <a:endParaRPr lang="en-US"/>
          </a:p>
        </p:txBody>
      </p:sp>
    </p:spTree>
    <p:extLst>
      <p:ext uri="{BB962C8B-B14F-4D97-AF65-F5344CB8AC3E}">
        <p14:creationId xmlns:p14="http://schemas.microsoft.com/office/powerpoint/2010/main" val="3237358921"/>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3</a:t>
            </a:fld>
            <a:endParaRPr lang="en-US"/>
          </a:p>
        </p:txBody>
      </p:sp>
    </p:spTree>
    <p:extLst>
      <p:ext uri="{BB962C8B-B14F-4D97-AF65-F5344CB8AC3E}">
        <p14:creationId xmlns:p14="http://schemas.microsoft.com/office/powerpoint/2010/main" val="3764296207"/>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4</a:t>
            </a:fld>
            <a:endParaRPr lang="en-US"/>
          </a:p>
        </p:txBody>
      </p:sp>
    </p:spTree>
    <p:extLst>
      <p:ext uri="{BB962C8B-B14F-4D97-AF65-F5344CB8AC3E}">
        <p14:creationId xmlns:p14="http://schemas.microsoft.com/office/powerpoint/2010/main" val="1468354748"/>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5</a:t>
            </a:fld>
            <a:endParaRPr lang="en-US"/>
          </a:p>
        </p:txBody>
      </p:sp>
    </p:spTree>
    <p:extLst>
      <p:ext uri="{BB962C8B-B14F-4D97-AF65-F5344CB8AC3E}">
        <p14:creationId xmlns:p14="http://schemas.microsoft.com/office/powerpoint/2010/main" val="516847741"/>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6</a:t>
            </a:fld>
            <a:endParaRPr lang="en-US"/>
          </a:p>
        </p:txBody>
      </p:sp>
    </p:spTree>
    <p:extLst>
      <p:ext uri="{BB962C8B-B14F-4D97-AF65-F5344CB8AC3E}">
        <p14:creationId xmlns:p14="http://schemas.microsoft.com/office/powerpoint/2010/main" val="1156505905"/>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7</a:t>
            </a:fld>
            <a:endParaRPr lang="en-US"/>
          </a:p>
        </p:txBody>
      </p:sp>
    </p:spTree>
    <p:extLst>
      <p:ext uri="{BB962C8B-B14F-4D97-AF65-F5344CB8AC3E}">
        <p14:creationId xmlns:p14="http://schemas.microsoft.com/office/powerpoint/2010/main" val="80400801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8</a:t>
            </a:fld>
            <a:endParaRPr lang="en-US"/>
          </a:p>
        </p:txBody>
      </p:sp>
    </p:spTree>
    <p:extLst>
      <p:ext uri="{BB962C8B-B14F-4D97-AF65-F5344CB8AC3E}">
        <p14:creationId xmlns:p14="http://schemas.microsoft.com/office/powerpoint/2010/main" val="929439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27282434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7</a:t>
            </a:fld>
            <a:endParaRPr lang="en-US" dirty="0"/>
          </a:p>
        </p:txBody>
      </p:sp>
    </p:spTree>
    <p:extLst>
      <p:ext uri="{BB962C8B-B14F-4D97-AF65-F5344CB8AC3E}">
        <p14:creationId xmlns:p14="http://schemas.microsoft.com/office/powerpoint/2010/main" val="513202007"/>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90</a:t>
            </a:fld>
            <a:endParaRPr lang="en-US"/>
          </a:p>
        </p:txBody>
      </p:sp>
    </p:spTree>
    <p:extLst>
      <p:ext uri="{BB962C8B-B14F-4D97-AF65-F5344CB8AC3E}">
        <p14:creationId xmlns:p14="http://schemas.microsoft.com/office/powerpoint/2010/main" val="122760632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17</a:t>
            </a:fld>
            <a:endParaRPr lang="en-GB"/>
          </a:p>
        </p:txBody>
      </p:sp>
    </p:spTree>
    <p:extLst>
      <p:ext uri="{BB962C8B-B14F-4D97-AF65-F5344CB8AC3E}">
        <p14:creationId xmlns:p14="http://schemas.microsoft.com/office/powerpoint/2010/main" val="1861524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8</a:t>
            </a:fld>
            <a:endParaRPr lang="en-US" dirty="0"/>
          </a:p>
        </p:txBody>
      </p:sp>
    </p:spTree>
    <p:extLst>
      <p:ext uri="{BB962C8B-B14F-4D97-AF65-F5344CB8AC3E}">
        <p14:creationId xmlns:p14="http://schemas.microsoft.com/office/powerpoint/2010/main" val="1864958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9</a:t>
            </a:fld>
            <a:endParaRPr lang="en-US" dirty="0"/>
          </a:p>
        </p:txBody>
      </p:sp>
    </p:spTree>
    <p:extLst>
      <p:ext uri="{BB962C8B-B14F-4D97-AF65-F5344CB8AC3E}">
        <p14:creationId xmlns:p14="http://schemas.microsoft.com/office/powerpoint/2010/main" val="1253449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0</a:t>
            </a:fld>
            <a:endParaRPr lang="en-US" dirty="0"/>
          </a:p>
        </p:txBody>
      </p:sp>
    </p:spTree>
    <p:extLst>
      <p:ext uri="{BB962C8B-B14F-4D97-AF65-F5344CB8AC3E}">
        <p14:creationId xmlns:p14="http://schemas.microsoft.com/office/powerpoint/2010/main" val="32022940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2</a:t>
            </a:fld>
            <a:endParaRPr lang="en-US" dirty="0"/>
          </a:p>
        </p:txBody>
      </p:sp>
    </p:spTree>
    <p:extLst>
      <p:ext uri="{BB962C8B-B14F-4D97-AF65-F5344CB8AC3E}">
        <p14:creationId xmlns:p14="http://schemas.microsoft.com/office/powerpoint/2010/main" val="27289325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55217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4</a:t>
            </a:fld>
            <a:endParaRPr lang="en-US" dirty="0"/>
          </a:p>
        </p:txBody>
      </p:sp>
    </p:spTree>
    <p:extLst>
      <p:ext uri="{BB962C8B-B14F-4D97-AF65-F5344CB8AC3E}">
        <p14:creationId xmlns:p14="http://schemas.microsoft.com/office/powerpoint/2010/main" val="30720137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7542262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6</a:t>
            </a:fld>
            <a:endParaRPr lang="en-US" dirty="0"/>
          </a:p>
        </p:txBody>
      </p:sp>
    </p:spTree>
    <p:extLst>
      <p:ext uri="{BB962C8B-B14F-4D97-AF65-F5344CB8AC3E}">
        <p14:creationId xmlns:p14="http://schemas.microsoft.com/office/powerpoint/2010/main" val="36810334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7</a:t>
            </a:fld>
            <a:endParaRPr lang="en-US" dirty="0"/>
          </a:p>
        </p:txBody>
      </p:sp>
    </p:spTree>
    <p:extLst>
      <p:ext uri="{BB962C8B-B14F-4D97-AF65-F5344CB8AC3E}">
        <p14:creationId xmlns:p14="http://schemas.microsoft.com/office/powerpoint/2010/main" val="832668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141073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184232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0</a:t>
            </a:fld>
            <a:endParaRPr lang="en-US" dirty="0"/>
          </a:p>
        </p:txBody>
      </p:sp>
    </p:spTree>
    <p:extLst>
      <p:ext uri="{BB962C8B-B14F-4D97-AF65-F5344CB8AC3E}">
        <p14:creationId xmlns:p14="http://schemas.microsoft.com/office/powerpoint/2010/main" val="5167593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1</a:t>
            </a:fld>
            <a:endParaRPr lang="en-US" dirty="0"/>
          </a:p>
        </p:txBody>
      </p:sp>
    </p:spTree>
    <p:extLst>
      <p:ext uri="{BB962C8B-B14F-4D97-AF65-F5344CB8AC3E}">
        <p14:creationId xmlns:p14="http://schemas.microsoft.com/office/powerpoint/2010/main" val="26771728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2</a:t>
            </a:fld>
            <a:endParaRPr lang="en-US" dirty="0"/>
          </a:p>
        </p:txBody>
      </p:sp>
    </p:spTree>
    <p:extLst>
      <p:ext uri="{BB962C8B-B14F-4D97-AF65-F5344CB8AC3E}">
        <p14:creationId xmlns:p14="http://schemas.microsoft.com/office/powerpoint/2010/main" val="15806573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3</a:t>
            </a:fld>
            <a:endParaRPr lang="en-US" dirty="0"/>
          </a:p>
        </p:txBody>
      </p:sp>
    </p:spTree>
    <p:extLst>
      <p:ext uri="{BB962C8B-B14F-4D97-AF65-F5344CB8AC3E}">
        <p14:creationId xmlns:p14="http://schemas.microsoft.com/office/powerpoint/2010/main" val="41693759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4</a:t>
            </a:fld>
            <a:endParaRPr lang="en-US" dirty="0"/>
          </a:p>
        </p:txBody>
      </p:sp>
    </p:spTree>
    <p:extLst>
      <p:ext uri="{BB962C8B-B14F-4D97-AF65-F5344CB8AC3E}">
        <p14:creationId xmlns:p14="http://schemas.microsoft.com/office/powerpoint/2010/main" val="19401543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5</a:t>
            </a:fld>
            <a:endParaRPr lang="en-US" dirty="0"/>
          </a:p>
        </p:txBody>
      </p:sp>
    </p:spTree>
    <p:extLst>
      <p:ext uri="{BB962C8B-B14F-4D97-AF65-F5344CB8AC3E}">
        <p14:creationId xmlns:p14="http://schemas.microsoft.com/office/powerpoint/2010/main" val="36970911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653316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7</a:t>
            </a:fld>
            <a:endParaRPr lang="en-US" dirty="0"/>
          </a:p>
        </p:txBody>
      </p:sp>
    </p:spTree>
    <p:extLst>
      <p:ext uri="{BB962C8B-B14F-4D97-AF65-F5344CB8AC3E}">
        <p14:creationId xmlns:p14="http://schemas.microsoft.com/office/powerpoint/2010/main" val="28171801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399308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a:t>
            </a:fld>
            <a:endParaRPr lang="en-US" dirty="0"/>
          </a:p>
        </p:txBody>
      </p:sp>
    </p:spTree>
    <p:extLst>
      <p:ext uri="{BB962C8B-B14F-4D97-AF65-F5344CB8AC3E}">
        <p14:creationId xmlns:p14="http://schemas.microsoft.com/office/powerpoint/2010/main" val="28715190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56157925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1</a:t>
            </a:fld>
            <a:endParaRPr lang="en-US" dirty="0"/>
          </a:p>
        </p:txBody>
      </p:sp>
    </p:spTree>
    <p:extLst>
      <p:ext uri="{BB962C8B-B14F-4D97-AF65-F5344CB8AC3E}">
        <p14:creationId xmlns:p14="http://schemas.microsoft.com/office/powerpoint/2010/main" val="30340002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2</a:t>
            </a:fld>
            <a:endParaRPr lang="en-US" dirty="0"/>
          </a:p>
        </p:txBody>
      </p:sp>
    </p:spTree>
    <p:extLst>
      <p:ext uri="{BB962C8B-B14F-4D97-AF65-F5344CB8AC3E}">
        <p14:creationId xmlns:p14="http://schemas.microsoft.com/office/powerpoint/2010/main" val="8019562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3</a:t>
            </a:fld>
            <a:endParaRPr lang="en-US" dirty="0"/>
          </a:p>
        </p:txBody>
      </p:sp>
    </p:spTree>
    <p:extLst>
      <p:ext uri="{BB962C8B-B14F-4D97-AF65-F5344CB8AC3E}">
        <p14:creationId xmlns:p14="http://schemas.microsoft.com/office/powerpoint/2010/main" val="32022653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4</a:t>
            </a:fld>
            <a:endParaRPr lang="en-US" dirty="0"/>
          </a:p>
        </p:txBody>
      </p:sp>
    </p:spTree>
    <p:extLst>
      <p:ext uri="{BB962C8B-B14F-4D97-AF65-F5344CB8AC3E}">
        <p14:creationId xmlns:p14="http://schemas.microsoft.com/office/powerpoint/2010/main" val="40598688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5</a:t>
            </a:fld>
            <a:endParaRPr lang="en-US" dirty="0"/>
          </a:p>
        </p:txBody>
      </p:sp>
    </p:spTree>
    <p:extLst>
      <p:ext uri="{BB962C8B-B14F-4D97-AF65-F5344CB8AC3E}">
        <p14:creationId xmlns:p14="http://schemas.microsoft.com/office/powerpoint/2010/main" val="35270785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6</a:t>
            </a:fld>
            <a:endParaRPr lang="en-US" dirty="0"/>
          </a:p>
        </p:txBody>
      </p:sp>
    </p:spTree>
    <p:extLst>
      <p:ext uri="{BB962C8B-B14F-4D97-AF65-F5344CB8AC3E}">
        <p14:creationId xmlns:p14="http://schemas.microsoft.com/office/powerpoint/2010/main" val="5770549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7</a:t>
            </a:fld>
            <a:endParaRPr lang="en-US" dirty="0"/>
          </a:p>
        </p:txBody>
      </p:sp>
    </p:spTree>
    <p:extLst>
      <p:ext uri="{BB962C8B-B14F-4D97-AF65-F5344CB8AC3E}">
        <p14:creationId xmlns:p14="http://schemas.microsoft.com/office/powerpoint/2010/main" val="107213451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6607225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372807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a:t>
            </a:fld>
            <a:endParaRPr lang="en-US" dirty="0"/>
          </a:p>
        </p:txBody>
      </p:sp>
    </p:spTree>
    <p:extLst>
      <p:ext uri="{BB962C8B-B14F-4D97-AF65-F5344CB8AC3E}">
        <p14:creationId xmlns:p14="http://schemas.microsoft.com/office/powerpoint/2010/main" val="14619991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8401706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40654147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6</a:t>
            </a:fld>
            <a:endParaRPr lang="en-US" dirty="0"/>
          </a:p>
        </p:txBody>
      </p:sp>
    </p:spTree>
    <p:extLst>
      <p:ext uri="{BB962C8B-B14F-4D97-AF65-F5344CB8AC3E}">
        <p14:creationId xmlns:p14="http://schemas.microsoft.com/office/powerpoint/2010/main" val="125337377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7</a:t>
            </a:fld>
            <a:endParaRPr lang="en-US" dirty="0"/>
          </a:p>
        </p:txBody>
      </p:sp>
    </p:spTree>
    <p:extLst>
      <p:ext uri="{BB962C8B-B14F-4D97-AF65-F5344CB8AC3E}">
        <p14:creationId xmlns:p14="http://schemas.microsoft.com/office/powerpoint/2010/main" val="31760926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8</a:t>
            </a:fld>
            <a:endParaRPr lang="en-US" dirty="0"/>
          </a:p>
        </p:txBody>
      </p:sp>
    </p:spTree>
    <p:extLst>
      <p:ext uri="{BB962C8B-B14F-4D97-AF65-F5344CB8AC3E}">
        <p14:creationId xmlns:p14="http://schemas.microsoft.com/office/powerpoint/2010/main" val="25669748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9</a:t>
            </a:fld>
            <a:endParaRPr lang="en-US" dirty="0"/>
          </a:p>
        </p:txBody>
      </p:sp>
    </p:spTree>
    <p:extLst>
      <p:ext uri="{BB962C8B-B14F-4D97-AF65-F5344CB8AC3E}">
        <p14:creationId xmlns:p14="http://schemas.microsoft.com/office/powerpoint/2010/main" val="101122819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0</a:t>
            </a:fld>
            <a:endParaRPr lang="en-US" dirty="0"/>
          </a:p>
        </p:txBody>
      </p:sp>
    </p:spTree>
    <p:extLst>
      <p:ext uri="{BB962C8B-B14F-4D97-AF65-F5344CB8AC3E}">
        <p14:creationId xmlns:p14="http://schemas.microsoft.com/office/powerpoint/2010/main" val="22909932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1</a:t>
            </a:fld>
            <a:endParaRPr lang="en-US" dirty="0"/>
          </a:p>
        </p:txBody>
      </p:sp>
    </p:spTree>
    <p:extLst>
      <p:ext uri="{BB962C8B-B14F-4D97-AF65-F5344CB8AC3E}">
        <p14:creationId xmlns:p14="http://schemas.microsoft.com/office/powerpoint/2010/main" val="389473946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2</a:t>
            </a:fld>
            <a:endParaRPr lang="en-US" dirty="0"/>
          </a:p>
        </p:txBody>
      </p:sp>
    </p:spTree>
    <p:extLst>
      <p:ext uri="{BB962C8B-B14F-4D97-AF65-F5344CB8AC3E}">
        <p14:creationId xmlns:p14="http://schemas.microsoft.com/office/powerpoint/2010/main" val="18765643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3</a:t>
            </a:fld>
            <a:endParaRPr lang="en-US" dirty="0"/>
          </a:p>
        </p:txBody>
      </p:sp>
    </p:spTree>
    <p:extLst>
      <p:ext uri="{BB962C8B-B14F-4D97-AF65-F5344CB8AC3E}">
        <p14:creationId xmlns:p14="http://schemas.microsoft.com/office/powerpoint/2010/main" val="19451623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a:t>
            </a:fld>
            <a:endParaRPr lang="en-US" dirty="0"/>
          </a:p>
        </p:txBody>
      </p:sp>
    </p:spTree>
    <p:extLst>
      <p:ext uri="{BB962C8B-B14F-4D97-AF65-F5344CB8AC3E}">
        <p14:creationId xmlns:p14="http://schemas.microsoft.com/office/powerpoint/2010/main" val="120424173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4</a:t>
            </a:fld>
            <a:endParaRPr lang="en-US" dirty="0"/>
          </a:p>
        </p:txBody>
      </p:sp>
    </p:spTree>
    <p:extLst>
      <p:ext uri="{BB962C8B-B14F-4D97-AF65-F5344CB8AC3E}">
        <p14:creationId xmlns:p14="http://schemas.microsoft.com/office/powerpoint/2010/main" val="19818837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5</a:t>
            </a:fld>
            <a:endParaRPr lang="en-US" dirty="0"/>
          </a:p>
        </p:txBody>
      </p:sp>
    </p:spTree>
    <p:extLst>
      <p:ext uri="{BB962C8B-B14F-4D97-AF65-F5344CB8AC3E}">
        <p14:creationId xmlns:p14="http://schemas.microsoft.com/office/powerpoint/2010/main" val="158423161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6</a:t>
            </a:fld>
            <a:endParaRPr lang="en-US" dirty="0"/>
          </a:p>
        </p:txBody>
      </p:sp>
    </p:spTree>
    <p:extLst>
      <p:ext uri="{BB962C8B-B14F-4D97-AF65-F5344CB8AC3E}">
        <p14:creationId xmlns:p14="http://schemas.microsoft.com/office/powerpoint/2010/main" val="30548052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7</a:t>
            </a:fld>
            <a:endParaRPr lang="en-US" dirty="0"/>
          </a:p>
        </p:txBody>
      </p:sp>
    </p:spTree>
    <p:extLst>
      <p:ext uri="{BB962C8B-B14F-4D97-AF65-F5344CB8AC3E}">
        <p14:creationId xmlns:p14="http://schemas.microsoft.com/office/powerpoint/2010/main" val="117020637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8</a:t>
            </a:fld>
            <a:endParaRPr lang="en-US" dirty="0"/>
          </a:p>
        </p:txBody>
      </p:sp>
    </p:spTree>
    <p:extLst>
      <p:ext uri="{BB962C8B-B14F-4D97-AF65-F5344CB8AC3E}">
        <p14:creationId xmlns:p14="http://schemas.microsoft.com/office/powerpoint/2010/main" val="125039497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9</a:t>
            </a:fld>
            <a:endParaRPr lang="en-US" dirty="0"/>
          </a:p>
        </p:txBody>
      </p:sp>
    </p:spTree>
    <p:extLst>
      <p:ext uri="{BB962C8B-B14F-4D97-AF65-F5344CB8AC3E}">
        <p14:creationId xmlns:p14="http://schemas.microsoft.com/office/powerpoint/2010/main" val="36029226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0</a:t>
            </a:fld>
            <a:endParaRPr lang="en-US" dirty="0"/>
          </a:p>
        </p:txBody>
      </p:sp>
    </p:spTree>
    <p:extLst>
      <p:ext uri="{BB962C8B-B14F-4D97-AF65-F5344CB8AC3E}">
        <p14:creationId xmlns:p14="http://schemas.microsoft.com/office/powerpoint/2010/main" val="30009411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1</a:t>
            </a:fld>
            <a:endParaRPr lang="en-US" dirty="0"/>
          </a:p>
        </p:txBody>
      </p:sp>
    </p:spTree>
    <p:extLst>
      <p:ext uri="{BB962C8B-B14F-4D97-AF65-F5344CB8AC3E}">
        <p14:creationId xmlns:p14="http://schemas.microsoft.com/office/powerpoint/2010/main" val="280212273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2</a:t>
            </a:fld>
            <a:endParaRPr lang="en-US" dirty="0"/>
          </a:p>
        </p:txBody>
      </p:sp>
    </p:spTree>
    <p:extLst>
      <p:ext uri="{BB962C8B-B14F-4D97-AF65-F5344CB8AC3E}">
        <p14:creationId xmlns:p14="http://schemas.microsoft.com/office/powerpoint/2010/main" val="145413173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3</a:t>
            </a:fld>
            <a:endParaRPr lang="en-US" dirty="0"/>
          </a:p>
        </p:txBody>
      </p:sp>
    </p:spTree>
    <p:extLst>
      <p:ext uri="{BB962C8B-B14F-4D97-AF65-F5344CB8AC3E}">
        <p14:creationId xmlns:p14="http://schemas.microsoft.com/office/powerpoint/2010/main" val="2548090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a:t>
            </a:fld>
            <a:endParaRPr lang="en-US" dirty="0"/>
          </a:p>
        </p:txBody>
      </p:sp>
    </p:spTree>
    <p:extLst>
      <p:ext uri="{BB962C8B-B14F-4D97-AF65-F5344CB8AC3E}">
        <p14:creationId xmlns:p14="http://schemas.microsoft.com/office/powerpoint/2010/main" val="148225339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4</a:t>
            </a:fld>
            <a:endParaRPr lang="en-US" dirty="0"/>
          </a:p>
        </p:txBody>
      </p:sp>
    </p:spTree>
    <p:extLst>
      <p:ext uri="{BB962C8B-B14F-4D97-AF65-F5344CB8AC3E}">
        <p14:creationId xmlns:p14="http://schemas.microsoft.com/office/powerpoint/2010/main" val="313552435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5</a:t>
            </a:fld>
            <a:endParaRPr lang="en-US" dirty="0"/>
          </a:p>
        </p:txBody>
      </p:sp>
    </p:spTree>
    <p:extLst>
      <p:ext uri="{BB962C8B-B14F-4D97-AF65-F5344CB8AC3E}">
        <p14:creationId xmlns:p14="http://schemas.microsoft.com/office/powerpoint/2010/main" val="323444426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6</a:t>
            </a:fld>
            <a:endParaRPr lang="en-US" dirty="0"/>
          </a:p>
        </p:txBody>
      </p:sp>
    </p:spTree>
    <p:extLst>
      <p:ext uri="{BB962C8B-B14F-4D97-AF65-F5344CB8AC3E}">
        <p14:creationId xmlns:p14="http://schemas.microsoft.com/office/powerpoint/2010/main" val="65745797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7</a:t>
            </a:fld>
            <a:endParaRPr lang="en-US" dirty="0"/>
          </a:p>
        </p:txBody>
      </p:sp>
    </p:spTree>
    <p:extLst>
      <p:ext uri="{BB962C8B-B14F-4D97-AF65-F5344CB8AC3E}">
        <p14:creationId xmlns:p14="http://schemas.microsoft.com/office/powerpoint/2010/main" val="380954986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458788" y="720725"/>
            <a:ext cx="6397625" cy="3598863"/>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08</a:t>
            </a:fld>
            <a:endParaRPr lang="en-US" dirty="0"/>
          </a:p>
        </p:txBody>
      </p:sp>
    </p:spTree>
    <p:extLst>
      <p:ext uri="{BB962C8B-B14F-4D97-AF65-F5344CB8AC3E}">
        <p14:creationId xmlns:p14="http://schemas.microsoft.com/office/powerpoint/2010/main" val="4366985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460767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6</a:t>
            </a:fld>
            <a:endParaRPr lang="en-US" dirty="0"/>
          </a:p>
        </p:txBody>
      </p:sp>
    </p:spTree>
    <p:extLst>
      <p:ext uri="{BB962C8B-B14F-4D97-AF65-F5344CB8AC3E}">
        <p14:creationId xmlns:p14="http://schemas.microsoft.com/office/powerpoint/2010/main" val="232873898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7</a:t>
            </a:fld>
            <a:endParaRPr lang="en-US" dirty="0"/>
          </a:p>
        </p:txBody>
      </p:sp>
    </p:spTree>
    <p:extLst>
      <p:ext uri="{BB962C8B-B14F-4D97-AF65-F5344CB8AC3E}">
        <p14:creationId xmlns:p14="http://schemas.microsoft.com/office/powerpoint/2010/main" val="111120868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8</a:t>
            </a:fld>
            <a:endParaRPr lang="en-US" dirty="0"/>
          </a:p>
        </p:txBody>
      </p:sp>
    </p:spTree>
    <p:extLst>
      <p:ext uri="{BB962C8B-B14F-4D97-AF65-F5344CB8AC3E}">
        <p14:creationId xmlns:p14="http://schemas.microsoft.com/office/powerpoint/2010/main" val="26360686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9</a:t>
            </a:fld>
            <a:endParaRPr lang="en-US" dirty="0"/>
          </a:p>
        </p:txBody>
      </p:sp>
    </p:spTree>
    <p:extLst>
      <p:ext uri="{BB962C8B-B14F-4D97-AF65-F5344CB8AC3E}">
        <p14:creationId xmlns:p14="http://schemas.microsoft.com/office/powerpoint/2010/main" val="1873780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13191827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0</a:t>
            </a:fld>
            <a:endParaRPr lang="en-US" dirty="0"/>
          </a:p>
        </p:txBody>
      </p:sp>
    </p:spTree>
    <p:extLst>
      <p:ext uri="{BB962C8B-B14F-4D97-AF65-F5344CB8AC3E}">
        <p14:creationId xmlns:p14="http://schemas.microsoft.com/office/powerpoint/2010/main" val="105065504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1</a:t>
            </a:fld>
            <a:endParaRPr lang="en-US" dirty="0"/>
          </a:p>
        </p:txBody>
      </p:sp>
    </p:spTree>
    <p:extLst>
      <p:ext uri="{BB962C8B-B14F-4D97-AF65-F5344CB8AC3E}">
        <p14:creationId xmlns:p14="http://schemas.microsoft.com/office/powerpoint/2010/main" val="410535311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2</a:t>
            </a:fld>
            <a:endParaRPr lang="en-US" dirty="0"/>
          </a:p>
        </p:txBody>
      </p:sp>
    </p:spTree>
    <p:extLst>
      <p:ext uri="{BB962C8B-B14F-4D97-AF65-F5344CB8AC3E}">
        <p14:creationId xmlns:p14="http://schemas.microsoft.com/office/powerpoint/2010/main" val="55223969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3</a:t>
            </a:fld>
            <a:endParaRPr lang="en-US" dirty="0"/>
          </a:p>
        </p:txBody>
      </p:sp>
    </p:spTree>
    <p:extLst>
      <p:ext uri="{BB962C8B-B14F-4D97-AF65-F5344CB8AC3E}">
        <p14:creationId xmlns:p14="http://schemas.microsoft.com/office/powerpoint/2010/main" val="220922170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4</a:t>
            </a:fld>
            <a:endParaRPr lang="en-US" dirty="0"/>
          </a:p>
        </p:txBody>
      </p:sp>
    </p:spTree>
    <p:extLst>
      <p:ext uri="{BB962C8B-B14F-4D97-AF65-F5344CB8AC3E}">
        <p14:creationId xmlns:p14="http://schemas.microsoft.com/office/powerpoint/2010/main" val="224249500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5</a:t>
            </a:fld>
            <a:endParaRPr lang="en-US" dirty="0"/>
          </a:p>
        </p:txBody>
      </p:sp>
    </p:spTree>
    <p:extLst>
      <p:ext uri="{BB962C8B-B14F-4D97-AF65-F5344CB8AC3E}">
        <p14:creationId xmlns:p14="http://schemas.microsoft.com/office/powerpoint/2010/main" val="180743321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6</a:t>
            </a:fld>
            <a:endParaRPr lang="en-US" dirty="0"/>
          </a:p>
        </p:txBody>
      </p:sp>
    </p:spTree>
    <p:extLst>
      <p:ext uri="{BB962C8B-B14F-4D97-AF65-F5344CB8AC3E}">
        <p14:creationId xmlns:p14="http://schemas.microsoft.com/office/powerpoint/2010/main" val="125402523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7</a:t>
            </a:fld>
            <a:endParaRPr lang="en-US" dirty="0"/>
          </a:p>
        </p:txBody>
      </p:sp>
    </p:spTree>
    <p:extLst>
      <p:ext uri="{BB962C8B-B14F-4D97-AF65-F5344CB8AC3E}">
        <p14:creationId xmlns:p14="http://schemas.microsoft.com/office/powerpoint/2010/main" val="413733776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8</a:t>
            </a:fld>
            <a:endParaRPr lang="en-US" dirty="0"/>
          </a:p>
        </p:txBody>
      </p:sp>
    </p:spTree>
    <p:extLst>
      <p:ext uri="{BB962C8B-B14F-4D97-AF65-F5344CB8AC3E}">
        <p14:creationId xmlns:p14="http://schemas.microsoft.com/office/powerpoint/2010/main" val="381839460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9</a:t>
            </a:fld>
            <a:endParaRPr lang="en-US" dirty="0"/>
          </a:p>
        </p:txBody>
      </p:sp>
    </p:spTree>
    <p:extLst>
      <p:ext uri="{BB962C8B-B14F-4D97-AF65-F5344CB8AC3E}">
        <p14:creationId xmlns:p14="http://schemas.microsoft.com/office/powerpoint/2010/main" val="5219445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4848419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1947047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0362651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3319965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6</a:t>
            </a:fld>
            <a:endParaRPr lang="en-US" dirty="0"/>
          </a:p>
        </p:txBody>
      </p:sp>
    </p:spTree>
    <p:extLst>
      <p:ext uri="{BB962C8B-B14F-4D97-AF65-F5344CB8AC3E}">
        <p14:creationId xmlns:p14="http://schemas.microsoft.com/office/powerpoint/2010/main" val="97227203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7</a:t>
            </a:fld>
            <a:endParaRPr lang="en-US" dirty="0"/>
          </a:p>
        </p:txBody>
      </p:sp>
    </p:spTree>
    <p:extLst>
      <p:ext uri="{BB962C8B-B14F-4D97-AF65-F5344CB8AC3E}">
        <p14:creationId xmlns:p14="http://schemas.microsoft.com/office/powerpoint/2010/main" val="268198295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9</a:t>
            </a:fld>
            <a:endParaRPr lang="en-US" dirty="0"/>
          </a:p>
        </p:txBody>
      </p:sp>
    </p:spTree>
    <p:extLst>
      <p:ext uri="{BB962C8B-B14F-4D97-AF65-F5344CB8AC3E}">
        <p14:creationId xmlns:p14="http://schemas.microsoft.com/office/powerpoint/2010/main" val="277456525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0</a:t>
            </a:fld>
            <a:endParaRPr lang="en-US" dirty="0"/>
          </a:p>
        </p:txBody>
      </p:sp>
    </p:spTree>
    <p:extLst>
      <p:ext uri="{BB962C8B-B14F-4D97-AF65-F5344CB8AC3E}">
        <p14:creationId xmlns:p14="http://schemas.microsoft.com/office/powerpoint/2010/main" val="286569043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1</a:t>
            </a:fld>
            <a:endParaRPr lang="en-US" dirty="0"/>
          </a:p>
        </p:txBody>
      </p:sp>
    </p:spTree>
    <p:extLst>
      <p:ext uri="{BB962C8B-B14F-4D97-AF65-F5344CB8AC3E}">
        <p14:creationId xmlns:p14="http://schemas.microsoft.com/office/powerpoint/2010/main" val="381926276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2</a:t>
            </a:fld>
            <a:endParaRPr lang="en-US" dirty="0"/>
          </a:p>
        </p:txBody>
      </p:sp>
    </p:spTree>
    <p:extLst>
      <p:ext uri="{BB962C8B-B14F-4D97-AF65-F5344CB8AC3E}">
        <p14:creationId xmlns:p14="http://schemas.microsoft.com/office/powerpoint/2010/main" val="226443133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3</a:t>
            </a:fld>
            <a:endParaRPr lang="en-US" dirty="0"/>
          </a:p>
        </p:txBody>
      </p:sp>
    </p:spTree>
    <p:extLst>
      <p:ext uri="{BB962C8B-B14F-4D97-AF65-F5344CB8AC3E}">
        <p14:creationId xmlns:p14="http://schemas.microsoft.com/office/powerpoint/2010/main" val="15647332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6634000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93301616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49045509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25659852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5114869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341438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dirty="0"/>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511884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805748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367694551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Chart Placeholder 2"/>
          <p:cNvSpPr>
            <a:spLocks noGrp="1"/>
          </p:cNvSpPr>
          <p:nvPr>
            <p:ph type="chart" sz="quarter" idx="21"/>
          </p:nvPr>
        </p:nvSpPr>
        <p:spPr>
          <a:xfrm>
            <a:off x="6338155" y="2125013"/>
            <a:ext cx="5325845"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38157" y="1700213"/>
            <a:ext cx="5325844" cy="385762"/>
          </a:xfrm>
        </p:spPr>
        <p:txBody>
          <a:bodyPr/>
          <a:lstStyle/>
          <a:p>
            <a:pPr lvl="0"/>
            <a:r>
              <a:rPr lang="en-US"/>
              <a:t>Click to edit Master text styles</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2920" y="2125013"/>
            <a:ext cx="5316825"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2920" y="1700213"/>
            <a:ext cx="5319272" cy="385762"/>
          </a:xfrm>
        </p:spPr>
        <p:txBody>
          <a:bodyPr/>
          <a:lstStyle/>
          <a:p>
            <a:pPr lvl="0"/>
            <a:r>
              <a:rPr lang="en-US"/>
              <a:t>Click to edit Master text styles</a:t>
            </a:r>
          </a:p>
        </p:txBody>
      </p:sp>
      <p:sp>
        <p:nvSpPr>
          <p:cNvPr id="10" name="TextBox 9"/>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4050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8703559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2920" y="2052000"/>
            <a:ext cx="11145628"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2920" y="1700214"/>
            <a:ext cx="11136001" cy="357187"/>
          </a:xfrm>
        </p:spPr>
        <p:txBody>
          <a:bodyPr/>
          <a:lstStyle/>
          <a:p>
            <a:pPr lvl="0"/>
            <a:r>
              <a:rPr lang="en-US"/>
              <a:t>Click to edit Master text styles</a:t>
            </a:r>
          </a:p>
        </p:txBody>
      </p:sp>
      <p:sp>
        <p:nvSpPr>
          <p:cNvPr id="19"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7" name="TextBox 6"/>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752855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2920" y="1700214"/>
            <a:ext cx="3537600" cy="357187"/>
          </a:xfrm>
        </p:spPr>
        <p:txBody>
          <a:bodyPr/>
          <a:lstStyle/>
          <a:p>
            <a:pPr lvl="0"/>
            <a:r>
              <a:rPr lang="en-US"/>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r>
              <a:rPr lang="en-US"/>
              <a:t>Click icon to add chart</a:t>
            </a:r>
            <a:endParaRPr lang="en-GB" dirty="0"/>
          </a:p>
        </p:txBody>
      </p:sp>
      <p:sp>
        <p:nvSpPr>
          <p:cNvPr id="8" name="Text Placeholder 8"/>
          <p:cNvSpPr>
            <a:spLocks noGrp="1"/>
          </p:cNvSpPr>
          <p:nvPr>
            <p:ph type="body" sz="quarter" idx="20"/>
          </p:nvPr>
        </p:nvSpPr>
        <p:spPr>
          <a:xfrm>
            <a:off x="4327199" y="1700214"/>
            <a:ext cx="3537600" cy="357187"/>
          </a:xfrm>
        </p:spPr>
        <p:txBody>
          <a:bodyPr/>
          <a:lstStyle/>
          <a:p>
            <a:pPr lvl="0"/>
            <a:r>
              <a:rPr lang="en-US"/>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r>
              <a:rPr lang="en-US"/>
              <a:t>Click icon to add chart</a:t>
            </a:r>
            <a:endParaRPr lang="en-GB" dirty="0"/>
          </a:p>
        </p:txBody>
      </p:sp>
      <p:sp>
        <p:nvSpPr>
          <p:cNvPr id="10" name="Text Placeholder 8"/>
          <p:cNvSpPr>
            <a:spLocks noGrp="1"/>
          </p:cNvSpPr>
          <p:nvPr>
            <p:ph type="body" sz="quarter" idx="22"/>
          </p:nvPr>
        </p:nvSpPr>
        <p:spPr>
          <a:xfrm>
            <a:off x="8144286" y="1700214"/>
            <a:ext cx="3540671" cy="357187"/>
          </a:xfrm>
        </p:spPr>
        <p:txBody>
          <a:bodyPr/>
          <a:lstStyle/>
          <a:p>
            <a:pPr lvl="0"/>
            <a:r>
              <a:rPr lang="en-US"/>
              <a:t>Click to 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11" name="TextBox 10"/>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136692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727931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9"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2919" y="1700213"/>
            <a:ext cx="11164147" cy="4681538"/>
          </a:xfrm>
          <a:prstGeom prst="rect">
            <a:avLst/>
          </a:prstGeom>
        </p:spPr>
        <p:txBody>
          <a:bodyPr vert="horz" lIns="0" tIns="0" rIns="0" bIns="0" rtlCol="0">
            <a:normAutofit/>
          </a:bodyPr>
          <a:lstStyle>
            <a:lvl1pPr>
              <a:defRPr sz="1300"/>
            </a:lvl1pPr>
            <a:lvl2pPr>
              <a:defRPr sz="1300"/>
            </a:lvl2pPr>
            <a:lvl3pPr>
              <a:defRPr sz="1300"/>
            </a:lvl3pPr>
            <a:lvl4pPr>
              <a:defRPr sz="1300"/>
            </a:lvl4pPr>
            <a:lvl5pPr>
              <a:defRPr sz="1300"/>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492542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1595036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022595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Tree>
    <p:extLst>
      <p:ext uri="{BB962C8B-B14F-4D97-AF65-F5344CB8AC3E}">
        <p14:creationId xmlns:p14="http://schemas.microsoft.com/office/powerpoint/2010/main" val="210394834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445013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0617949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65530079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26008983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8"/>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3" name="think-cell Slide" r:id="rId29" imgW="270" imgH="270" progId="TCLayout.ActiveDocument.1">
                  <p:embed/>
                </p:oleObj>
              </mc:Choice>
              <mc:Fallback>
                <p:oleObj name="think-cell Slide" r:id="rId29" imgW="270" imgH="270" progId="TCLayout.ActiveDocument.1">
                  <p:embed/>
                  <p:pic>
                    <p:nvPicPr>
                      <p:cNvPr id="4" name="Object 3" hidden="1"/>
                      <p:cNvPicPr/>
                      <p:nvPr/>
                    </p:nvPicPr>
                    <p:blipFill>
                      <a:blip r:embed="rId3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94" r:id="rId4"/>
    <p:sldLayoutId id="2147484103" r:id="rId5"/>
    <p:sldLayoutId id="2147483816" r:id="rId6"/>
    <p:sldLayoutId id="2147483817" r:id="rId7"/>
    <p:sldLayoutId id="2147484067" r:id="rId8"/>
    <p:sldLayoutId id="2147484072" r:id="rId9"/>
    <p:sldLayoutId id="2147484074" r:id="rId10"/>
    <p:sldLayoutId id="2147484075" r:id="rId11"/>
    <p:sldLayoutId id="2147484078" r:id="rId12"/>
    <p:sldLayoutId id="2147484086" r:id="rId13"/>
    <p:sldLayoutId id="2147484087" r:id="rId14"/>
    <p:sldLayoutId id="2147484088" r:id="rId15"/>
    <p:sldLayoutId id="2147484105" r:id="rId16"/>
    <p:sldLayoutId id="2147484093" r:id="rId17"/>
    <p:sldLayoutId id="2147484095" r:id="rId18"/>
    <p:sldLayoutId id="2147484096" r:id="rId19"/>
    <p:sldLayoutId id="2147484097" r:id="rId20"/>
    <p:sldLayoutId id="2147484098" r:id="rId21"/>
    <p:sldLayoutId id="2147484099" r:id="rId22"/>
    <p:sldLayoutId id="2147484100" r:id="rId23"/>
    <p:sldLayoutId id="2147484101" r:id="rId24"/>
    <p:sldLayoutId id="2147484091" r:id="rId25"/>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userDrawn="1">
          <p15:clr>
            <a:srgbClr val="F26B43"/>
          </p15:clr>
        </p15:guide>
        <p15:guide id="51" orient="horz" pos="4080" userDrawn="1">
          <p15:clr>
            <a:srgbClr val="F26B43"/>
          </p15:clr>
        </p15:guide>
        <p15:guide id="52" pos="3840" userDrawn="1">
          <p15:clr>
            <a:srgbClr val="F26B43"/>
          </p15:clr>
        </p15:guide>
        <p15:guide id="53" pos="3912" userDrawn="1">
          <p15:clr>
            <a:srgbClr val="F26B43"/>
          </p15:clr>
        </p15:guide>
        <p15:guide id="54" pos="3768" userDrawn="1">
          <p15:clr>
            <a:srgbClr val="F26B43"/>
          </p15:clr>
        </p15:guide>
        <p15:guide id="55" pos="4968" userDrawn="1">
          <p15:clr>
            <a:srgbClr val="F26B43"/>
          </p15:clr>
        </p15:guide>
        <p15:guide id="56" pos="5088" userDrawn="1">
          <p15:clr>
            <a:srgbClr val="F26B43"/>
          </p15:clr>
        </p15:guide>
        <p15:guide id="57" pos="6168" userDrawn="1">
          <p15:clr>
            <a:srgbClr val="F26B43"/>
          </p15:clr>
        </p15:guide>
        <p15:guide id="58" pos="6288" userDrawn="1">
          <p15:clr>
            <a:srgbClr val="F26B43"/>
          </p15:clr>
        </p15:guide>
        <p15:guide id="59" pos="2712" userDrawn="1">
          <p15:clr>
            <a:srgbClr val="F26B43"/>
          </p15:clr>
        </p15:guide>
        <p15:guide id="60" pos="2592" userDrawn="1">
          <p15:clr>
            <a:srgbClr val="F26B43"/>
          </p15:clr>
        </p15:guide>
        <p15:guide id="61" pos="1512" userDrawn="1">
          <p15:clr>
            <a:srgbClr val="F26B43"/>
          </p15:clr>
        </p15:guide>
        <p15:guide id="62" pos="1392" userDrawn="1">
          <p15:clr>
            <a:srgbClr val="F26B43"/>
          </p15:clr>
        </p15:guide>
        <p15:guide id="63" pos="312" userDrawn="1">
          <p15:clr>
            <a:srgbClr val="F26B43"/>
          </p15:clr>
        </p15:guide>
        <p15:guide id="64" orient="horz" pos="1056" userDrawn="1">
          <p15:clr>
            <a:srgbClr val="F26B43"/>
          </p15:clr>
        </p15:guide>
        <p15:guide id="65" orient="horz" pos="2232" userDrawn="1">
          <p15:clr>
            <a:srgbClr val="F26B43"/>
          </p15:clr>
        </p15:guide>
        <p15:guide id="66" orient="horz" pos="19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7.xml"/></Relationships>
</file>

<file path=ppt/slides/_rels/slide104.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notesSlide" Target="../notesSlides/notesSlide70.xml"/><Relationship Id="rId5" Type="http://schemas.openxmlformats.org/officeDocument/2006/relationships/slideLayout" Target="../slideLayouts/slideLayout17.xml"/><Relationship Id="rId4" Type="http://schemas.openxmlformats.org/officeDocument/2006/relationships/tags" Target="../tags/tag35.xml"/></Relationships>
</file>

<file path=ppt/slides/_rels/slide105.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notesSlide" Target="../notesSlides/notesSlide7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Layout" Target="../slideLayouts/slideLayout14.xml"/><Relationship Id="rId5" Type="http://schemas.openxmlformats.org/officeDocument/2006/relationships/tags" Target="../tags/tag40.xml"/><Relationship Id="rId4" Type="http://schemas.openxmlformats.org/officeDocument/2006/relationships/tags" Target="../tags/tag39.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4.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4.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4.xml"/></Relationships>
</file>

<file path=ppt/slides/_rels/slide109.xml.rels><?xml version="1.0" encoding="UTF-8" standalone="yes"?>
<Relationships xmlns="http://schemas.openxmlformats.org/package/2006/relationships"><Relationship Id="rId3" Type="http://schemas.openxmlformats.org/officeDocument/2006/relationships/chart" Target="../charts/chart79.xml"/><Relationship Id="rId2" Type="http://schemas.openxmlformats.org/officeDocument/2006/relationships/notesSlide" Target="../notesSlides/notesSlide75.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4.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7.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4.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7.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4.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4.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4.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4.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4.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4.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4.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4.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7.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4.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4.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4.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7.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7.xml"/></Relationships>
</file>

<file path=ppt/slides/_rels/slide14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2.xml"/><Relationship Id="rId1" Type="http://schemas.openxmlformats.org/officeDocument/2006/relationships/tags" Target="../tags/tag41.xml"/><Relationship Id="rId4" Type="http://schemas.openxmlformats.org/officeDocument/2006/relationships/notesSlide" Target="../notesSlides/notesSlide99.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4.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4.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4.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4.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4.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3.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13.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3.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4.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4.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4.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4.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4.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4.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4.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14.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14.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14.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14.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14.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3.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14.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14.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14.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4.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14.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17.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14.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14.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14.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13.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14.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17.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14.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14.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17.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14.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14.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14.xml"/></Relationships>
</file>

<file path=ppt/slides/_rels/slide19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notesSlide" Target="../notesSlides/notesSlide144.xml"/><Relationship Id="rId5" Type="http://schemas.openxmlformats.org/officeDocument/2006/relationships/slideLayout" Target="../slideLayouts/slideLayout17.xml"/><Relationship Id="rId4" Type="http://schemas.openxmlformats.org/officeDocument/2006/relationships/tags" Target="../tags/tag46.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14.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14.xm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14.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14.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14.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14.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14.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slide" Target="slide295.xml"/><Relationship Id="rId3" Type="http://schemas.openxmlformats.org/officeDocument/2006/relationships/slide" Target="slide3.xml"/><Relationship Id="rId7" Type="http://schemas.openxmlformats.org/officeDocument/2006/relationships/slide" Target="slide291.xml"/><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slide" Target="slide210.xml"/><Relationship Id="rId5" Type="http://schemas.openxmlformats.org/officeDocument/2006/relationships/slide" Target="slide110.xml"/><Relationship Id="rId4" Type="http://schemas.openxmlformats.org/officeDocument/2006/relationships/slide" Target="slide51.xml"/><Relationship Id="rId9" Type="http://schemas.openxmlformats.org/officeDocument/2006/relationships/slide" Target="slide31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17.xml"/></Relationships>
</file>

<file path=ppt/slides/_rels/slide201.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notesSlide" Target="../notesSlides/notesSlide154.xml"/><Relationship Id="rId4" Type="http://schemas.openxmlformats.org/officeDocument/2006/relationships/slideLayout" Target="../slideLayouts/slideLayout14.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14.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14.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14.xml"/></Relationships>
</file>

<file path=ppt/slides/_rels/slide207.xml.rels><?xml version="1.0" encoding="UTF-8" standalone="yes"?>
<Relationships xmlns="http://schemas.openxmlformats.org/package/2006/relationships"><Relationship Id="rId8" Type="http://schemas.openxmlformats.org/officeDocument/2006/relationships/notesSlide" Target="../notesSlides/notesSlide158.xml"/><Relationship Id="rId3" Type="http://schemas.openxmlformats.org/officeDocument/2006/relationships/tags" Target="../tags/tag52.xml"/><Relationship Id="rId7" Type="http://schemas.openxmlformats.org/officeDocument/2006/relationships/slideLayout" Target="../slideLayouts/slideLayout14.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14.xml"/></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10.xml.rels><?xml version="1.0" encoding="UTF-8" standalone="yes"?>
<Relationships xmlns="http://schemas.openxmlformats.org/package/2006/relationships"><Relationship Id="rId2" Type="http://schemas.openxmlformats.org/officeDocument/2006/relationships/hyperlink" Target="https://global.deloitteresources.com/core/Pages/creative-services.aspx" TargetMode="External"/><Relationship Id="rId1" Type="http://schemas.openxmlformats.org/officeDocument/2006/relationships/slideLayout" Target="../slideLayouts/slideLayout4.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14.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15.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4.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15.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22.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9.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22.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8.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18" Type="http://schemas.openxmlformats.org/officeDocument/2006/relationships/tags" Target="../tags/tag73.xml"/><Relationship Id="rId3" Type="http://schemas.openxmlformats.org/officeDocument/2006/relationships/tags" Target="../tags/tag58.xml"/><Relationship Id="rId21" Type="http://schemas.openxmlformats.org/officeDocument/2006/relationships/tags" Target="../tags/tag76.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tags" Target="../tags/tag72.xml"/><Relationship Id="rId25" Type="http://schemas.openxmlformats.org/officeDocument/2006/relationships/slideLayout" Target="../slideLayouts/slideLayout15.xml"/><Relationship Id="rId2" Type="http://schemas.openxmlformats.org/officeDocument/2006/relationships/tags" Target="../tags/tag57.xml"/><Relationship Id="rId16" Type="http://schemas.openxmlformats.org/officeDocument/2006/relationships/tags" Target="../tags/tag71.xml"/><Relationship Id="rId20" Type="http://schemas.openxmlformats.org/officeDocument/2006/relationships/tags" Target="../tags/tag75.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24" Type="http://schemas.openxmlformats.org/officeDocument/2006/relationships/tags" Target="../tags/tag79.xml"/><Relationship Id="rId5" Type="http://schemas.openxmlformats.org/officeDocument/2006/relationships/tags" Target="../tags/tag60.xml"/><Relationship Id="rId15" Type="http://schemas.openxmlformats.org/officeDocument/2006/relationships/tags" Target="../tags/tag70.xml"/><Relationship Id="rId23" Type="http://schemas.openxmlformats.org/officeDocument/2006/relationships/tags" Target="../tags/tag78.xml"/><Relationship Id="rId10" Type="http://schemas.openxmlformats.org/officeDocument/2006/relationships/tags" Target="../tags/tag65.xml"/><Relationship Id="rId19" Type="http://schemas.openxmlformats.org/officeDocument/2006/relationships/tags" Target="../tags/tag74.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 Id="rId22" Type="http://schemas.openxmlformats.org/officeDocument/2006/relationships/tags" Target="../tags/tag77.xml"/></Relationships>
</file>

<file path=ppt/slides/_rels/slide229.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3" Type="http://schemas.openxmlformats.org/officeDocument/2006/relationships/tags" Target="../tags/tag82.xml"/><Relationship Id="rId21" Type="http://schemas.openxmlformats.org/officeDocument/2006/relationships/tags" Target="../tags/tag100.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slideLayout" Target="../slideLayouts/slideLayout15.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tags" Target="../tags/tag99.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tags" Target="../tags/tag103.xml"/><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tags" Target="../tags/tag102.xml"/><Relationship Id="rId10" Type="http://schemas.openxmlformats.org/officeDocument/2006/relationships/tags" Target="../tags/tag89.xml"/><Relationship Id="rId19" Type="http://schemas.openxmlformats.org/officeDocument/2006/relationships/tags" Target="../tags/tag98.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30.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slideLayout" Target="../slideLayouts/slideLayout15.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s>
</file>

<file path=ppt/slides/_rels/slide2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5.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11.xml"/><Relationship Id="rId7" Type="http://schemas.openxmlformats.org/officeDocument/2006/relationships/oleObject" Target="../embeddings/oleObject3.bin"/><Relationship Id="rId2" Type="http://schemas.openxmlformats.org/officeDocument/2006/relationships/tags" Target="../tags/tag110.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notesSlide" Target="../notesSlides/notesSlide167.xml"/><Relationship Id="rId4" Type="http://schemas.openxmlformats.org/officeDocument/2006/relationships/slideLayout" Target="../slideLayouts/slideLayout15.xml"/></Relationships>
</file>

<file path=ppt/slides/_rels/slide2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5.xml"/></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15.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8.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notesSlide" Target="../notesSlides/notesSlide169.xml"/><Relationship Id="rId1" Type="http://schemas.openxmlformats.org/officeDocument/2006/relationships/slideLayout" Target="../slideLayouts/slideLayout15.xml"/><Relationship Id="rId5" Type="http://schemas.openxmlformats.org/officeDocument/2006/relationships/chart" Target="../charts/chart82.xml"/><Relationship Id="rId4" Type="http://schemas.openxmlformats.org/officeDocument/2006/relationships/chart" Target="../charts/chart81.xml"/></Relationships>
</file>

<file path=ppt/slides/_rels/slide239.xml.rels><?xml version="1.0" encoding="UTF-8" standalone="yes"?>
<Relationships xmlns="http://schemas.openxmlformats.org/package/2006/relationships"><Relationship Id="rId3" Type="http://schemas.openxmlformats.org/officeDocument/2006/relationships/chart" Target="../charts/chart83.xml"/><Relationship Id="rId2" Type="http://schemas.openxmlformats.org/officeDocument/2006/relationships/notesSlide" Target="../notesSlides/notesSlide170.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15.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4.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chart" Target="../charts/chart84.xml"/><Relationship Id="rId2" Type="http://schemas.openxmlformats.org/officeDocument/2006/relationships/tags" Target="../tags/tag112.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171.xml"/></Relationships>
</file>

<file path=ppt/slides/_rels/slide245.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4.emf"/><Relationship Id="rId2" Type="http://schemas.openxmlformats.org/officeDocument/2006/relationships/tags" Target="../tags/tag11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72.xml"/><Relationship Id="rId4" Type="http://schemas.openxmlformats.org/officeDocument/2006/relationships/slideLayout" Target="../slideLayouts/slideLayout15.xml"/></Relationships>
</file>

<file path=ppt/slides/_rels/slide2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2.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14.xml"/></Relationships>
</file>

<file path=ppt/slides/_rels/slide259.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14.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14.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14.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14.xml"/></Relationships>
</file>

<file path=ppt/slides/_rels/slide265.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14.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14.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14.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70.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14.xml"/></Relationships>
</file>

<file path=ppt/slides/_rels/slide271.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14.xml"/></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3.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14.xml"/></Relationships>
</file>

<file path=ppt/slides/_rels/slide274.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14.xml"/></Relationships>
</file>

<file path=ppt/slides/_rels/slide275.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14.xml"/></Relationships>
</file>

<file path=ppt/slides/_rels/slide276.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14.xml"/></Relationships>
</file>

<file path=ppt/slides/_rels/slide277.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14.xml"/></Relationships>
</file>

<file path=ppt/slides/_rels/slide278.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14.xml"/></Relationships>
</file>

<file path=ppt/slides/_rels/slide279.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80.xml.rels><?xml version="1.0" encoding="UTF-8" standalone="yes"?>
<Relationships xmlns="http://schemas.openxmlformats.org/package/2006/relationships"><Relationship Id="rId2" Type="http://schemas.openxmlformats.org/officeDocument/2006/relationships/notesSlide" Target="../notesSlides/notesSlide192.xml"/><Relationship Id="rId1" Type="http://schemas.openxmlformats.org/officeDocument/2006/relationships/slideLayout" Target="../slideLayouts/slideLayout14.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82.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14.xml"/></Relationships>
</file>

<file path=ppt/slides/_rels/slide283.xml.rels><?xml version="1.0" encoding="UTF-8" standalone="yes"?>
<Relationships xmlns="http://schemas.openxmlformats.org/package/2006/relationships"><Relationship Id="rId2" Type="http://schemas.openxmlformats.org/officeDocument/2006/relationships/notesSlide" Target="../notesSlides/notesSlide194.xml"/><Relationship Id="rId1" Type="http://schemas.openxmlformats.org/officeDocument/2006/relationships/slideLayout" Target="../slideLayouts/slideLayout14.xml"/></Relationships>
</file>

<file path=ppt/slides/_rels/slide284.xml.rels><?xml version="1.0" encoding="UTF-8" standalone="yes"?>
<Relationships xmlns="http://schemas.openxmlformats.org/package/2006/relationships"><Relationship Id="rId3" Type="http://schemas.openxmlformats.org/officeDocument/2006/relationships/chart" Target="../charts/chart85.xml"/><Relationship Id="rId2" Type="http://schemas.openxmlformats.org/officeDocument/2006/relationships/notesSlide" Target="../notesSlides/notesSlide195.xml"/><Relationship Id="rId1" Type="http://schemas.openxmlformats.org/officeDocument/2006/relationships/slideLayout" Target="../slideLayouts/slideLayout14.xml"/></Relationships>
</file>

<file path=ppt/slides/_rels/slide285.xml.rels><?xml version="1.0" encoding="UTF-8" standalone="yes"?>
<Relationships xmlns="http://schemas.openxmlformats.org/package/2006/relationships"><Relationship Id="rId2" Type="http://schemas.openxmlformats.org/officeDocument/2006/relationships/notesSlide" Target="../notesSlides/notesSlide196.xml"/><Relationship Id="rId1" Type="http://schemas.openxmlformats.org/officeDocument/2006/relationships/slideLayout" Target="../slideLayouts/slideLayout14.xml"/></Relationships>
</file>

<file path=ppt/slides/_rels/slide286.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14.xml"/></Relationships>
</file>

<file path=ppt/slides/_rels/slide287.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14.xml"/></Relationships>
</file>

<file path=ppt/slides/_rels/slide288.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14.xml"/></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0.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14.xml"/></Relationships>
</file>

<file path=ppt/slides/_rels/slide291.xml.rels><?xml version="1.0" encoding="UTF-8" standalone="yes"?>
<Relationships xmlns="http://schemas.openxmlformats.org/package/2006/relationships"><Relationship Id="rId2" Type="http://schemas.openxmlformats.org/officeDocument/2006/relationships/hyperlink" Target="https://global.deloitteresources.com/core/Pages/creative-services.aspx" TargetMode="External"/><Relationship Id="rId1" Type="http://schemas.openxmlformats.org/officeDocument/2006/relationships/slideLayout" Target="../slideLayouts/slideLayout4.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tags" Target="../tags/tag4.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7.xml.rels><?xml version="1.0" encoding="UTF-8" standalone="yes"?>
<Relationships xmlns="http://schemas.openxmlformats.org/package/2006/relationships"><Relationship Id="rId2" Type="http://schemas.openxmlformats.org/officeDocument/2006/relationships/notesSlide" Target="../notesSlides/notesSlide20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slideLayout" Target="../slideLayouts/slideLayout14.xml"/><Relationship Id="rId4" Type="http://schemas.openxmlformats.org/officeDocument/2006/relationships/tags" Target="../tags/tag9.xml"/><Relationship Id="rId9" Type="http://schemas.openxmlformats.org/officeDocument/2006/relationships/tags" Target="../tags/tag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slideLayout" Target="../slideLayouts/slideLayout14.xml"/><Relationship Id="rId5" Type="http://schemas.openxmlformats.org/officeDocument/2006/relationships/tags" Target="../tags/tag19.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6.xml"/><Relationship Id="rId1" Type="http://schemas.openxmlformats.org/officeDocument/2006/relationships/tags" Target="../tags/tag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chart" Target="../charts/chart1.xml"/><Relationship Id="rId2" Type="http://schemas.openxmlformats.org/officeDocument/2006/relationships/tags" Target="../tags/tag27.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4.xml"/></Relationships>
</file>

<file path=ppt/slides/_rels/slide5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6.xml"/><Relationship Id="rId1" Type="http://schemas.openxmlformats.org/officeDocument/2006/relationships/slideLayout" Target="../slideLayouts/slideLayout11.xml"/><Relationship Id="rId4" Type="http://schemas.openxmlformats.org/officeDocument/2006/relationships/chart" Target="../charts/chart4.xml"/></Relationships>
</file>

<file path=ppt/slides/_rels/slide5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8.xml"/><Relationship Id="rId1" Type="http://schemas.openxmlformats.org/officeDocument/2006/relationships/slideLayout" Target="../slideLayouts/slideLayout14.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5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2.xml"/><Relationship Id="rId1" Type="http://schemas.openxmlformats.org/officeDocument/2006/relationships/slideLayout" Target="../slideLayouts/slideLayout14.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chart" Target="../charts/chart15.xml"/></Relationships>
</file>

<file path=ppt/slides/_rels/slide62.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35.xml"/><Relationship Id="rId1" Type="http://schemas.openxmlformats.org/officeDocument/2006/relationships/slideLayout" Target="../slideLayouts/slideLayout14.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chart" Target="../charts/chart21.xml"/></Relationships>
</file>

<file path=ppt/slides/_rels/slide65.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39.xml"/><Relationship Id="rId1" Type="http://schemas.openxmlformats.org/officeDocument/2006/relationships/slideLayout" Target="../slideLayouts/slideLayout11.xml"/><Relationship Id="rId4" Type="http://schemas.openxmlformats.org/officeDocument/2006/relationships/chart" Target="../charts/chart28.xml"/></Relationships>
</file>

<file path=ppt/slides/_rels/slide69.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42.xml"/><Relationship Id="rId1" Type="http://schemas.openxmlformats.org/officeDocument/2006/relationships/slideLayout" Target="../slideLayouts/slideLayout11.xml"/><Relationship Id="rId4" Type="http://schemas.openxmlformats.org/officeDocument/2006/relationships/chart" Target="../charts/chart34.xml"/></Relationships>
</file>

<file path=ppt/slides/_rels/slide73.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3.xml"/><Relationship Id="rId1" Type="http://schemas.openxmlformats.org/officeDocument/2006/relationships/slideLayout" Target="../slideLayouts/slideLayout11.xml"/><Relationship Id="rId4" Type="http://schemas.openxmlformats.org/officeDocument/2006/relationships/chart" Target="../charts/chart36.xml"/></Relationships>
</file>

<file path=ppt/slides/_rels/slide74.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44.xml"/><Relationship Id="rId1" Type="http://schemas.openxmlformats.org/officeDocument/2006/relationships/slideLayout" Target="../slideLayouts/slideLayout19.xml"/><Relationship Id="rId4" Type="http://schemas.openxmlformats.org/officeDocument/2006/relationships/chart" Target="../charts/chart38.xml"/></Relationships>
</file>

<file path=ppt/slides/_rels/slide75.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tags" Target="../tags/tag30.xml"/><Relationship Id="rId7" Type="http://schemas.openxmlformats.org/officeDocument/2006/relationships/chart" Target="../charts/chart39.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notesSlide" Target="../notesSlides/notesSlide45.xml"/><Relationship Id="rId5" Type="http://schemas.openxmlformats.org/officeDocument/2006/relationships/slideLayout" Target="../slideLayouts/slideLayout11.xml"/><Relationship Id="rId4" Type="http://schemas.openxmlformats.org/officeDocument/2006/relationships/tags" Target="../tags/tag31.xml"/></Relationships>
</file>

<file path=ppt/slides/_rels/slide76.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46.xml"/><Relationship Id="rId1" Type="http://schemas.openxmlformats.org/officeDocument/2006/relationships/slideLayout" Target="../slideLayouts/slideLayout11.xml"/><Relationship Id="rId4" Type="http://schemas.openxmlformats.org/officeDocument/2006/relationships/chart" Target="../charts/chart42.xml"/></Relationships>
</file>

<file path=ppt/slides/_rels/slide77.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47.xml"/><Relationship Id="rId1" Type="http://schemas.openxmlformats.org/officeDocument/2006/relationships/slideLayout" Target="../slideLayouts/slideLayout11.xml"/><Relationship Id="rId4" Type="http://schemas.openxmlformats.org/officeDocument/2006/relationships/chart" Target="../charts/chart44.xml"/></Relationships>
</file>

<file path=ppt/slides/_rels/slide78.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49.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0.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12.xml"/><Relationship Id="rId4" Type="http://schemas.openxmlformats.org/officeDocument/2006/relationships/chart" Target="../charts/chart49.xml"/></Relationships>
</file>

<file path=ppt/slides/_rels/slide81.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21.xml"/><Relationship Id="rId4" Type="http://schemas.openxmlformats.org/officeDocument/2006/relationships/chart" Target="../charts/chart52.xml"/></Relationships>
</file>

<file path=ppt/slides/_rels/slide82.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chart" Target="../charts/chart53.xml"/><Relationship Id="rId1" Type="http://schemas.openxmlformats.org/officeDocument/2006/relationships/slideLayout" Target="../slideLayouts/slideLayout12.xml"/><Relationship Id="rId4" Type="http://schemas.openxmlformats.org/officeDocument/2006/relationships/chart" Target="../charts/chart55.xml"/></Relationships>
</file>

<file path=ppt/slides/_rels/slide83.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notesSlide" Target="../notesSlides/notesSlide52.xml"/><Relationship Id="rId1" Type="http://schemas.openxmlformats.org/officeDocument/2006/relationships/slideLayout" Target="../slideLayouts/slideLayout11.xml"/><Relationship Id="rId4" Type="http://schemas.openxmlformats.org/officeDocument/2006/relationships/chart" Target="../charts/chart60.xml"/></Relationships>
</file>

<file path=ppt/slides/_rels/slide87.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53.xml"/><Relationship Id="rId1" Type="http://schemas.openxmlformats.org/officeDocument/2006/relationships/slideLayout" Target="../slideLayouts/slideLayout10.xml"/></Relationships>
</file>

<file path=ppt/slides/_rels/slide88.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89.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notesSlide" Target="../notesSlides/notesSlide55.xml"/><Relationship Id="rId1" Type="http://schemas.openxmlformats.org/officeDocument/2006/relationships/slideLayout" Target="../slideLayouts/slideLayout11.xml"/><Relationship Id="rId4"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notesSlide" Target="../notesSlides/notesSlide56.xml"/><Relationship Id="rId1" Type="http://schemas.openxmlformats.org/officeDocument/2006/relationships/slideLayout" Target="../slideLayouts/slideLayout10.xml"/></Relationships>
</file>

<file path=ppt/slides/_rels/slide91.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92.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93.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notesSlide" Target="../notesSlides/notesSlide59.xml"/><Relationship Id="rId1" Type="http://schemas.openxmlformats.org/officeDocument/2006/relationships/slideLayout" Target="../slideLayouts/slideLayout8.xml"/></Relationships>
</file>

<file path=ppt/slides/_rels/slide94.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notesSlide" Target="../notesSlides/notesSlide60.xml"/><Relationship Id="rId1" Type="http://schemas.openxmlformats.org/officeDocument/2006/relationships/slideLayout" Target="../slideLayouts/slideLayout8.xml"/></Relationships>
</file>

<file path=ppt/slides/_rels/slide95.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notesSlide" Target="../notesSlides/notesSlide61.xml"/><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notesSlide" Target="../notesSlides/notesSlide62.xml"/><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notesSlide" Target="../notesSlides/notesSlide63.xml"/><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3" Type="http://schemas.openxmlformats.org/officeDocument/2006/relationships/chart" Target="../charts/chart74.xml"/><Relationship Id="rId7" Type="http://schemas.openxmlformats.org/officeDocument/2006/relationships/chart" Target="../charts/chart78.xml"/><Relationship Id="rId2" Type="http://schemas.openxmlformats.org/officeDocument/2006/relationships/notesSlide" Target="../notesSlides/notesSlide65.xml"/><Relationship Id="rId1" Type="http://schemas.openxmlformats.org/officeDocument/2006/relationships/slideLayout" Target="../slideLayouts/slideLayout14.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chart" Target="../charts/chart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9">
            <a:extLst>
              <a:ext uri="{FF2B5EF4-FFF2-40B4-BE49-F238E27FC236}">
                <a16:creationId xmlns:a16="http://schemas.microsoft.com/office/drawing/2014/main" id="{4D908A40-0BBF-4FDE-8CE0-EC8AB336493F}"/>
              </a:ext>
            </a:extLst>
          </p:cNvPr>
          <p:cNvPicPr>
            <a:picLocks noGrp="1" noChangeAspect="1"/>
          </p:cNvPicPr>
          <p:nvPr>
            <p:ph type="pic" sz="quarter" idx="11"/>
          </p:nvPr>
        </p:nvPicPr>
        <p:blipFill>
          <a:blip r:embed="rId2"/>
          <a:srcRect l="15" r="15"/>
          <a:stretch>
            <a:fillRect/>
          </a:stretch>
        </p:blipFill>
        <p:spPr/>
      </p:pic>
      <p:sp>
        <p:nvSpPr>
          <p:cNvPr id="3" name="Title 2"/>
          <p:cNvSpPr>
            <a:spLocks noGrp="1"/>
          </p:cNvSpPr>
          <p:nvPr>
            <p:ph type="ctrTitle"/>
          </p:nvPr>
        </p:nvSpPr>
        <p:spPr/>
        <p:txBody>
          <a:bodyPr/>
          <a:lstStyle/>
          <a:p>
            <a:r>
              <a:rPr lang="en-GB" dirty="0"/>
              <a:t>Timesaver</a:t>
            </a:r>
            <a:br>
              <a:rPr lang="en-GB" dirty="0"/>
            </a:br>
            <a:r>
              <a:rPr lang="en-US" dirty="0">
                <a:solidFill>
                  <a:schemeClr val="tx1"/>
                </a:solidFill>
              </a:rPr>
              <a:t>Charts, tables, diagrams, icons and more</a:t>
            </a:r>
            <a:endParaRPr lang="en-GB" dirty="0"/>
          </a:p>
        </p:txBody>
      </p:sp>
      <p:sp>
        <p:nvSpPr>
          <p:cNvPr id="5" name="Text Placeholder 4"/>
          <p:cNvSpPr>
            <a:spLocks noGrp="1"/>
          </p:cNvSpPr>
          <p:nvPr>
            <p:ph type="body" sz="quarter" idx="10"/>
          </p:nvPr>
        </p:nvSpPr>
        <p:spPr/>
        <p:txBody>
          <a:bodyPr/>
          <a:lstStyle/>
          <a:p>
            <a:r>
              <a:rPr lang="en-GB" cap="all" dirty="0"/>
              <a:t>January 2020</a:t>
            </a:r>
          </a:p>
        </p:txBody>
      </p:sp>
    </p:spTree>
    <p:extLst>
      <p:ext uri="{BB962C8B-B14F-4D97-AF65-F5344CB8AC3E}">
        <p14:creationId xmlns:p14="http://schemas.microsoft.com/office/powerpoint/2010/main" val="101306983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GB" dirty="0"/>
              <a:t>Page subtitle</a:t>
            </a:r>
          </a:p>
        </p:txBody>
      </p:sp>
      <p:sp>
        <p:nvSpPr>
          <p:cNvPr id="15" name="Title 14"/>
          <p:cNvSpPr>
            <a:spLocks noGrp="1"/>
          </p:cNvSpPr>
          <p:nvPr>
            <p:ph type="title"/>
          </p:nvPr>
        </p:nvSpPr>
        <p:spPr/>
        <p:txBody>
          <a:bodyPr/>
          <a:lstStyle/>
          <a:p>
            <a:r>
              <a:rPr lang="en-US" dirty="0"/>
              <a:t>Agenda</a:t>
            </a:r>
          </a:p>
        </p:txBody>
      </p:sp>
      <p:graphicFrame>
        <p:nvGraphicFramePr>
          <p:cNvPr id="5" name="Group 3"/>
          <p:cNvGraphicFramePr>
            <a:graphicFrameLocks noGrp="1"/>
          </p:cNvGraphicFramePr>
          <p:nvPr>
            <p:extLst>
              <p:ext uri="{D42A27DB-BD31-4B8C-83A1-F6EECF244321}">
                <p14:modId xmlns:p14="http://schemas.microsoft.com/office/powerpoint/2010/main" val="2222845598"/>
              </p:ext>
            </p:extLst>
          </p:nvPr>
        </p:nvGraphicFramePr>
        <p:xfrm>
          <a:off x="501650" y="1463040"/>
          <a:ext cx="11188699" cy="4267384"/>
        </p:xfrm>
        <a:graphic>
          <a:graphicData uri="http://schemas.openxmlformats.org/drawingml/2006/table">
            <a:tbl>
              <a:tblPr/>
              <a:tblGrid>
                <a:gridCol w="3046505">
                  <a:extLst>
                    <a:ext uri="{9D8B030D-6E8A-4147-A177-3AD203B41FA5}">
                      <a16:colId xmlns:a16="http://schemas.microsoft.com/office/drawing/2014/main" val="20000"/>
                    </a:ext>
                  </a:extLst>
                </a:gridCol>
                <a:gridCol w="3046505">
                  <a:extLst>
                    <a:ext uri="{9D8B030D-6E8A-4147-A177-3AD203B41FA5}">
                      <a16:colId xmlns:a16="http://schemas.microsoft.com/office/drawing/2014/main" val="20001"/>
                    </a:ext>
                  </a:extLst>
                </a:gridCol>
                <a:gridCol w="2637758">
                  <a:extLst>
                    <a:ext uri="{9D8B030D-6E8A-4147-A177-3AD203B41FA5}">
                      <a16:colId xmlns:a16="http://schemas.microsoft.com/office/drawing/2014/main" val="20002"/>
                    </a:ext>
                  </a:extLst>
                </a:gridCol>
                <a:gridCol w="2457931">
                  <a:extLst>
                    <a:ext uri="{9D8B030D-6E8A-4147-A177-3AD203B41FA5}">
                      <a16:colId xmlns:a16="http://schemas.microsoft.com/office/drawing/2014/main" val="20003"/>
                    </a:ext>
                  </a:extLst>
                </a:gridCol>
              </a:tblGrid>
              <a:tr h="402994">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kumimoji="0" lang="en-US" sz="1300" b="1" u="none" strike="noStrike" cap="none" normalizeH="0" baseline="0" dirty="0">
                          <a:ln>
                            <a:noFill/>
                          </a:ln>
                          <a:solidFill>
                            <a:schemeClr val="accent1"/>
                          </a:solidFill>
                          <a:effectLst/>
                          <a:latin typeface="+mj-lt"/>
                        </a:rPr>
                        <a:t>Topic</a:t>
                      </a:r>
                      <a:endParaRPr kumimoji="0" lang="en-US" sz="1300" b="1" i="0" u="none" strike="noStrike" cap="none" normalizeH="0" baseline="0" dirty="0">
                        <a:ln>
                          <a:noFill/>
                        </a:ln>
                        <a:solidFill>
                          <a:schemeClr val="accent1"/>
                        </a:solidFill>
                        <a:effectLst/>
                        <a:latin typeface="+mj-lt"/>
                      </a:endParaRPr>
                    </a:p>
                  </a:txBody>
                  <a:tcPr marT="91440" marB="9144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1" u="none" strike="noStrike" kern="1200" cap="none" normalizeH="0" baseline="0" dirty="0">
                          <a:ln>
                            <a:noFill/>
                          </a:ln>
                          <a:solidFill>
                            <a:schemeClr val="accent1"/>
                          </a:solidFill>
                          <a:effectLst/>
                          <a:latin typeface="+mj-lt"/>
                        </a:rPr>
                        <a:t>Content</a:t>
                      </a:r>
                      <a:endParaRPr kumimoji="0" lang="en-US" sz="1300" b="1" i="0" u="none" strike="noStrike" kern="1200" cap="none" normalizeH="0" baseline="0" dirty="0">
                        <a:ln>
                          <a:noFill/>
                        </a:ln>
                        <a:solidFill>
                          <a:schemeClr val="accent1"/>
                        </a:solidFill>
                        <a:effectLst/>
                        <a:latin typeface="+mj-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1" u="none" strike="noStrike" kern="1200" cap="none" normalizeH="0" baseline="0" dirty="0">
                          <a:ln>
                            <a:noFill/>
                          </a:ln>
                          <a:solidFill>
                            <a:schemeClr val="accent1"/>
                          </a:solidFill>
                          <a:effectLst/>
                          <a:latin typeface="+mj-lt"/>
                        </a:rPr>
                        <a:t>Person responsible</a:t>
                      </a:r>
                      <a:endParaRPr kumimoji="0" lang="en-US" sz="1300" b="1" i="0" u="none" strike="noStrike" kern="1200" cap="none" normalizeH="0" baseline="0" dirty="0">
                        <a:ln>
                          <a:noFill/>
                        </a:ln>
                        <a:solidFill>
                          <a:schemeClr val="accent1"/>
                        </a:solidFill>
                        <a:effectLst/>
                        <a:latin typeface="+mj-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1" u="none" strike="noStrike" kern="1200" cap="none" normalizeH="0" baseline="0" dirty="0">
                          <a:ln>
                            <a:noFill/>
                          </a:ln>
                          <a:solidFill>
                            <a:schemeClr val="accent1"/>
                          </a:solidFill>
                          <a:effectLst/>
                          <a:latin typeface="+mj-lt"/>
                        </a:rPr>
                        <a:t>Timing</a:t>
                      </a:r>
                      <a:endParaRPr kumimoji="0" lang="en-US" sz="1300" b="1" i="0" u="none" strike="noStrike" kern="1200" cap="none" normalizeH="0" baseline="0" dirty="0">
                        <a:ln>
                          <a:noFill/>
                        </a:ln>
                        <a:solidFill>
                          <a:schemeClr val="accent1"/>
                        </a:solidFill>
                        <a:effectLst/>
                        <a:latin typeface="+mj-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a.m. – 0:00 a.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a.m. – 0:00 a.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58217">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i="0" u="none" strike="noStrike" cap="none" normalizeH="0" baseline="0" dirty="0">
                          <a:ln>
                            <a:noFill/>
                          </a:ln>
                          <a:solidFill>
                            <a:schemeClr val="tx1"/>
                          </a:solidFill>
                          <a:effectLst/>
                          <a:latin typeface="+mn-lt"/>
                        </a:rPr>
                        <a:t>Break</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3"/>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a.m. – 0:00 a.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58217">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i="0" u="none" strike="noStrike" cap="none" normalizeH="0" baseline="0" dirty="0">
                          <a:ln>
                            <a:noFill/>
                          </a:ln>
                          <a:solidFill>
                            <a:schemeClr val="tx1"/>
                          </a:solidFill>
                          <a:effectLst/>
                          <a:latin typeface="+mn-lt"/>
                        </a:rPr>
                        <a:t>Lunch</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5"/>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p.m. – 0:00 p.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620478">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Subject</a:t>
                      </a:r>
                      <a:endParaRPr kumimoji="0" lang="en-US" sz="1300" b="0"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300" u="none" strike="noStrike" kern="1200" cap="none" spc="0" normalizeH="0" baseline="0" noProof="0" dirty="0">
                          <a:ln>
                            <a:noFill/>
                          </a:ln>
                          <a:solidFill>
                            <a:schemeClr val="tx1"/>
                          </a:solidFill>
                          <a:effectLst/>
                          <a:uLnTx/>
                          <a:uFillTx/>
                          <a:latin typeface="+mn-lt"/>
                        </a:rPr>
                        <a:t>Bullet level 1</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300" u="none" strike="noStrike" kern="1200" cap="none" normalizeH="0" baseline="0" dirty="0">
                          <a:ln>
                            <a:noFill/>
                          </a:ln>
                          <a:solidFill>
                            <a:schemeClr val="tx1"/>
                          </a:solidFill>
                          <a:effectLst/>
                          <a:latin typeface="+mn-lt"/>
                        </a:rPr>
                        <a:t>Name</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defRPr/>
                      </a:pPr>
                      <a:r>
                        <a:rPr kumimoji="0" lang="en-US" sz="1300" u="none" strike="noStrike" kern="1200" cap="none" normalizeH="0" baseline="0" dirty="0">
                          <a:ln>
                            <a:noFill/>
                          </a:ln>
                          <a:solidFill>
                            <a:schemeClr val="tx1"/>
                          </a:solidFill>
                          <a:effectLst/>
                          <a:latin typeface="+mn-lt"/>
                        </a:rPr>
                        <a:t>0:00 p.m. – 0:00 p.m.</a:t>
                      </a:r>
                      <a:endParaRPr kumimoji="0" lang="en-US" sz="13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973552944"/>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Generic life cycle</a:t>
            </a:r>
          </a:p>
        </p:txBody>
      </p:sp>
      <p:sp>
        <p:nvSpPr>
          <p:cNvPr id="835585" name="Title 1"/>
          <p:cNvSpPr>
            <a:spLocks noGrp="1"/>
          </p:cNvSpPr>
          <p:nvPr>
            <p:ph type="title"/>
          </p:nvPr>
        </p:nvSpPr>
        <p:spPr/>
        <p:txBody>
          <a:bodyPr/>
          <a:lstStyle/>
          <a:p>
            <a:r>
              <a:rPr lang="en-US" altLang="ja-JP" dirty="0"/>
              <a:t>Curves</a:t>
            </a:r>
            <a:endParaRPr lang="en-US" dirty="0"/>
          </a:p>
        </p:txBody>
      </p:sp>
      <p:grpSp>
        <p:nvGrpSpPr>
          <p:cNvPr id="2" name="Group 1">
            <a:extLst>
              <a:ext uri="{FF2B5EF4-FFF2-40B4-BE49-F238E27FC236}">
                <a16:creationId xmlns:a16="http://schemas.microsoft.com/office/drawing/2014/main" id="{3C8B59B2-AA49-47F5-8BCB-791746F475B6}"/>
              </a:ext>
            </a:extLst>
          </p:cNvPr>
          <p:cNvGrpSpPr/>
          <p:nvPr/>
        </p:nvGrpSpPr>
        <p:grpSpPr>
          <a:xfrm>
            <a:off x="660006" y="2319333"/>
            <a:ext cx="11258725" cy="3854939"/>
            <a:chOff x="660006" y="2319333"/>
            <a:chExt cx="5957489" cy="3854939"/>
          </a:xfrm>
        </p:grpSpPr>
        <p:sp>
          <p:nvSpPr>
            <p:cNvPr id="7" name="Freeform 6"/>
            <p:cNvSpPr/>
            <p:nvPr/>
          </p:nvSpPr>
          <p:spPr bwMode="gray">
            <a:xfrm>
              <a:off x="1369437" y="2617308"/>
              <a:ext cx="4726563" cy="3247834"/>
            </a:xfrm>
            <a:custGeom>
              <a:avLst/>
              <a:gdLst>
                <a:gd name="connsiteX0" fmla="*/ 0 w 4535787"/>
                <a:gd name="connsiteY0" fmla="*/ 3116743 h 3116743"/>
                <a:gd name="connsiteX1" fmla="*/ 1285593 w 4535787"/>
                <a:gd name="connsiteY1" fmla="*/ 2808925 h 3116743"/>
                <a:gd name="connsiteX2" fmla="*/ 2091351 w 4535787"/>
                <a:gd name="connsiteY2" fmla="*/ 1849258 h 3116743"/>
                <a:gd name="connsiteX3" fmla="*/ 2725093 w 4535787"/>
                <a:gd name="connsiteY3" fmla="*/ 563665 h 3116743"/>
                <a:gd name="connsiteX4" fmla="*/ 3467478 w 4535787"/>
                <a:gd name="connsiteY4" fmla="*/ 2351 h 3116743"/>
                <a:gd name="connsiteX5" fmla="*/ 4535787 w 4535787"/>
                <a:gd name="connsiteY5" fmla="*/ 400703 h 3116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5787" h="3116743">
                  <a:moveTo>
                    <a:pt x="0" y="3116743"/>
                  </a:moveTo>
                  <a:cubicBezTo>
                    <a:pt x="468517" y="3068458"/>
                    <a:pt x="937034" y="3020173"/>
                    <a:pt x="1285593" y="2808925"/>
                  </a:cubicBezTo>
                  <a:cubicBezTo>
                    <a:pt x="1634152" y="2597677"/>
                    <a:pt x="1851434" y="2223468"/>
                    <a:pt x="2091351" y="1849258"/>
                  </a:cubicBezTo>
                  <a:cubicBezTo>
                    <a:pt x="2331268" y="1475048"/>
                    <a:pt x="2495739" y="871483"/>
                    <a:pt x="2725093" y="563665"/>
                  </a:cubicBezTo>
                  <a:cubicBezTo>
                    <a:pt x="2954447" y="255847"/>
                    <a:pt x="3165696" y="29511"/>
                    <a:pt x="3467478" y="2351"/>
                  </a:cubicBezTo>
                  <a:cubicBezTo>
                    <a:pt x="3769260" y="-24809"/>
                    <a:pt x="4152523" y="187947"/>
                    <a:pt x="4535787" y="400703"/>
                  </a:cubicBezTo>
                </a:path>
              </a:pathLst>
            </a:custGeom>
            <a:noFill/>
            <a:ln w="28575" algn="ctr">
              <a:solidFill>
                <a:schemeClr val="tx1"/>
              </a:solidFill>
              <a:miter lim="800000"/>
              <a:headEnd/>
              <a:tailEnd/>
            </a:ln>
          </p:spPr>
          <p:txBody>
            <a:bodyPr rtlCol="0" anchor="ctr"/>
            <a:lstStyle/>
            <a:p>
              <a:pPr algn="ctr"/>
              <a:endParaRPr lang="en-US" dirty="0">
                <a:solidFill>
                  <a:srgbClr val="53565A"/>
                </a:solidFill>
              </a:endParaRPr>
            </a:p>
          </p:txBody>
        </p:sp>
        <p:sp>
          <p:nvSpPr>
            <p:cNvPr id="835596" name="Rectangle 14"/>
            <p:cNvSpPr>
              <a:spLocks noChangeArrowheads="1"/>
            </p:cNvSpPr>
            <p:nvPr/>
          </p:nvSpPr>
          <p:spPr bwMode="auto">
            <a:xfrm>
              <a:off x="660006" y="4029000"/>
              <a:ext cx="511358" cy="153888"/>
            </a:xfrm>
            <a:prstGeom prst="rect">
              <a:avLst/>
            </a:prstGeom>
            <a:noFill/>
            <a:ln w="9525">
              <a:noFill/>
              <a:miter lim="800000"/>
              <a:headEnd/>
              <a:tailEnd/>
            </a:ln>
          </p:spPr>
          <p:txBody>
            <a:bodyPr wrap="none" lIns="0" tIns="0" rIns="0" bIns="0" anchor="ctr" anchorCtr="0">
              <a:spAutoFit/>
            </a:bodyPr>
            <a:lstStyle/>
            <a:p>
              <a:pPr algn="ctr"/>
              <a:r>
                <a:rPr lang="en-US" altLang="ja-JP" sz="1000" dirty="0">
                  <a:solidFill>
                    <a:srgbClr val="53565A"/>
                  </a:solidFill>
                  <a:ea typeface="ＭＳ Ｐゴシック" charset="-128"/>
                </a:rPr>
                <a:t>Units sold</a:t>
              </a:r>
            </a:p>
          </p:txBody>
        </p:sp>
        <p:sp>
          <p:nvSpPr>
            <p:cNvPr id="835597" name="Rectangle 15"/>
            <p:cNvSpPr>
              <a:spLocks noChangeArrowheads="1"/>
            </p:cNvSpPr>
            <p:nvPr/>
          </p:nvSpPr>
          <p:spPr bwMode="auto">
            <a:xfrm>
              <a:off x="3456160" y="6020384"/>
              <a:ext cx="924933"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Time since launch</a:t>
              </a:r>
            </a:p>
          </p:txBody>
        </p:sp>
        <p:sp>
          <p:nvSpPr>
            <p:cNvPr id="835598" name="Rectangle 16"/>
            <p:cNvSpPr>
              <a:spLocks noChangeArrowheads="1"/>
            </p:cNvSpPr>
            <p:nvPr/>
          </p:nvSpPr>
          <p:spPr bwMode="auto">
            <a:xfrm>
              <a:off x="1836788" y="5418885"/>
              <a:ext cx="509755"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A</a:t>
              </a:r>
            </a:p>
          </p:txBody>
        </p:sp>
        <p:sp>
          <p:nvSpPr>
            <p:cNvPr id="835599" name="AutoShape 17"/>
            <p:cNvSpPr>
              <a:spLocks noChangeArrowheads="1"/>
            </p:cNvSpPr>
            <p:nvPr/>
          </p:nvSpPr>
          <p:spPr bwMode="auto">
            <a:xfrm>
              <a:off x="2222495" y="5583503"/>
              <a:ext cx="193540" cy="365760"/>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0" name="AutoShape 18"/>
            <p:cNvSpPr>
              <a:spLocks noChangeArrowheads="1"/>
            </p:cNvSpPr>
            <p:nvPr/>
          </p:nvSpPr>
          <p:spPr bwMode="auto">
            <a:xfrm>
              <a:off x="3385189" y="4435741"/>
              <a:ext cx="193540" cy="365760"/>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1" name="AutoShape 19"/>
            <p:cNvSpPr>
              <a:spLocks noChangeArrowheads="1"/>
            </p:cNvSpPr>
            <p:nvPr/>
          </p:nvSpPr>
          <p:spPr bwMode="auto">
            <a:xfrm>
              <a:off x="3908822" y="3371877"/>
              <a:ext cx="193540" cy="365760"/>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2" name="AutoShape 20"/>
            <p:cNvSpPr>
              <a:spLocks noChangeArrowheads="1"/>
            </p:cNvSpPr>
            <p:nvPr/>
          </p:nvSpPr>
          <p:spPr bwMode="auto">
            <a:xfrm>
              <a:off x="5473731" y="2631197"/>
              <a:ext cx="193540" cy="365760"/>
            </a:xfrm>
            <a:prstGeom prst="flowChartConnector">
              <a:avLst/>
            </a:prstGeom>
            <a:solidFill>
              <a:schemeClr val="accent2"/>
            </a:solidFill>
            <a:ln w="6350" algn="ctr">
              <a:noFill/>
              <a:round/>
              <a:headEnd/>
              <a:tailEnd/>
            </a:ln>
          </p:spPr>
          <p:txBody>
            <a:bodyPr wrap="none" lIns="36000" tIns="36000" rIns="36000" bIns="36000" anchor="ctr"/>
            <a:lstStyle/>
            <a:p>
              <a:pPr algn="ctr"/>
              <a:endParaRPr lang="en-US" dirty="0">
                <a:solidFill>
                  <a:srgbClr val="53565A"/>
                </a:solidFill>
              </a:endParaRPr>
            </a:p>
          </p:txBody>
        </p:sp>
        <p:sp>
          <p:nvSpPr>
            <p:cNvPr id="835605" name="Rectangle 23"/>
            <p:cNvSpPr>
              <a:spLocks noChangeArrowheads="1"/>
            </p:cNvSpPr>
            <p:nvPr/>
          </p:nvSpPr>
          <p:spPr bwMode="auto">
            <a:xfrm>
              <a:off x="2928403" y="4429546"/>
              <a:ext cx="506549"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B</a:t>
              </a:r>
            </a:p>
          </p:txBody>
        </p:sp>
        <p:sp>
          <p:nvSpPr>
            <p:cNvPr id="835606" name="Rectangle 24"/>
            <p:cNvSpPr>
              <a:spLocks noChangeArrowheads="1"/>
            </p:cNvSpPr>
            <p:nvPr/>
          </p:nvSpPr>
          <p:spPr bwMode="auto">
            <a:xfrm>
              <a:off x="3402273" y="3323832"/>
              <a:ext cx="506549"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C</a:t>
              </a:r>
            </a:p>
          </p:txBody>
        </p:sp>
        <p:sp>
          <p:nvSpPr>
            <p:cNvPr id="835607" name="Rectangle 25"/>
            <p:cNvSpPr>
              <a:spLocks noChangeArrowheads="1"/>
            </p:cNvSpPr>
            <p:nvPr/>
          </p:nvSpPr>
          <p:spPr bwMode="auto">
            <a:xfrm>
              <a:off x="5702659" y="2495043"/>
              <a:ext cx="516167" cy="153888"/>
            </a:xfrm>
            <a:prstGeom prst="rect">
              <a:avLst/>
            </a:prstGeom>
            <a:noFill/>
            <a:ln w="9525">
              <a:noFill/>
              <a:miter lim="800000"/>
              <a:headEnd/>
              <a:tailEnd/>
            </a:ln>
          </p:spPr>
          <p:txBody>
            <a:bodyPr wrap="none" lIns="0" tIns="0" rIns="0" bIns="0" anchor="ctr" anchorCtr="0">
              <a:spAutoFit/>
            </a:bodyPr>
            <a:lstStyle/>
            <a:p>
              <a:r>
                <a:rPr lang="en-US" altLang="ja-JP" sz="1000" dirty="0">
                  <a:solidFill>
                    <a:srgbClr val="53565A"/>
                  </a:solidFill>
                  <a:ea typeface="ＭＳ Ｐゴシック" charset="-128"/>
                </a:rPr>
                <a:t>Product D</a:t>
              </a:r>
            </a:p>
          </p:txBody>
        </p:sp>
        <p:sp>
          <p:nvSpPr>
            <p:cNvPr id="33" name="Freeform 32"/>
            <p:cNvSpPr/>
            <p:nvPr/>
          </p:nvSpPr>
          <p:spPr bwMode="gray">
            <a:xfrm>
              <a:off x="1367238" y="2319333"/>
              <a:ext cx="5250257" cy="3573225"/>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6350" algn="ctr">
              <a:solidFill>
                <a:schemeClr val="tx1"/>
              </a:solidFill>
              <a:miter lim="800000"/>
              <a:headEnd type="triangle"/>
              <a:tailEnd type="triangle"/>
            </a:ln>
          </p:spPr>
          <p:txBody>
            <a:bodyPr rtlCol="0" anchor="ctr"/>
            <a:lstStyle/>
            <a:p>
              <a:pPr algn="ctr"/>
              <a:endParaRPr lang="en-US" dirty="0">
                <a:solidFill>
                  <a:srgbClr val="53565A"/>
                </a:solidFill>
              </a:endParaRPr>
            </a:p>
          </p:txBody>
        </p:sp>
      </p:grpSp>
      <p:sp>
        <p:nvSpPr>
          <p:cNvPr id="18" name="TextBox 17"/>
          <p:cNvSpPr txBox="1"/>
          <p:nvPr/>
        </p:nvSpPr>
        <p:spPr bwMode="gray">
          <a:xfrm>
            <a:off x="523934" y="1693488"/>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718841649"/>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Bell curve</a:t>
            </a:r>
          </a:p>
        </p:txBody>
      </p:sp>
      <p:sp>
        <p:nvSpPr>
          <p:cNvPr id="837633" name="Title 1"/>
          <p:cNvSpPr>
            <a:spLocks noGrp="1"/>
          </p:cNvSpPr>
          <p:nvPr>
            <p:ph type="title"/>
          </p:nvPr>
        </p:nvSpPr>
        <p:spPr/>
        <p:txBody>
          <a:bodyPr/>
          <a:lstStyle/>
          <a:p>
            <a:r>
              <a:rPr lang="en-US" altLang="ja-JP" dirty="0"/>
              <a:t>Curves</a:t>
            </a:r>
            <a:endParaRPr lang="en-US" dirty="0"/>
          </a:p>
        </p:txBody>
      </p:sp>
      <p:grpSp>
        <p:nvGrpSpPr>
          <p:cNvPr id="2" name="Group 1">
            <a:extLst>
              <a:ext uri="{FF2B5EF4-FFF2-40B4-BE49-F238E27FC236}">
                <a16:creationId xmlns:a16="http://schemas.microsoft.com/office/drawing/2014/main" id="{A07B5E26-7420-4323-97B3-015374AA94DA}"/>
              </a:ext>
            </a:extLst>
          </p:cNvPr>
          <p:cNvGrpSpPr/>
          <p:nvPr/>
        </p:nvGrpSpPr>
        <p:grpSpPr>
          <a:xfrm>
            <a:off x="1051033" y="2336923"/>
            <a:ext cx="10247588" cy="3575592"/>
            <a:chOff x="2245400" y="2336923"/>
            <a:chExt cx="7012138" cy="3575592"/>
          </a:xfrm>
        </p:grpSpPr>
        <p:sp>
          <p:nvSpPr>
            <p:cNvPr id="16" name="Freeform 15"/>
            <p:cNvSpPr/>
            <p:nvPr/>
          </p:nvSpPr>
          <p:spPr bwMode="gray">
            <a:xfrm>
              <a:off x="2939034" y="2336923"/>
              <a:ext cx="6318504" cy="3575592"/>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9525" algn="ctr">
              <a:solidFill>
                <a:srgbClr val="BBBCBC"/>
              </a:solidFill>
              <a:miter lim="800000"/>
              <a:headEnd type="none"/>
              <a:tailEnd type="none"/>
            </a:ln>
          </p:spPr>
          <p:txBody>
            <a:bodyPr rtlCol="0" anchor="ctr"/>
            <a:lstStyle/>
            <a:p>
              <a:pPr algn="ctr"/>
              <a:endParaRPr lang="en-US" dirty="0"/>
            </a:p>
          </p:txBody>
        </p:sp>
        <p:grpSp>
          <p:nvGrpSpPr>
            <p:cNvPr id="837635" name="Group 3"/>
            <p:cNvGrpSpPr>
              <a:grpSpLocks noChangeAspect="1"/>
            </p:cNvGrpSpPr>
            <p:nvPr/>
          </p:nvGrpSpPr>
          <p:grpSpPr bwMode="auto">
            <a:xfrm>
              <a:off x="3072384" y="2580002"/>
              <a:ext cx="6180138" cy="3159547"/>
              <a:chOff x="384" y="1248"/>
              <a:chExt cx="4992" cy="2208"/>
            </a:xfrm>
          </p:grpSpPr>
          <p:sp>
            <p:nvSpPr>
              <p:cNvPr id="837642" name="Freeform 4"/>
              <p:cNvSpPr>
                <a:spLocks noChangeAspect="1"/>
              </p:cNvSpPr>
              <p:nvPr/>
            </p:nvSpPr>
            <p:spPr bwMode="auto">
              <a:xfrm>
                <a:off x="384"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28575">
                <a:solidFill>
                  <a:schemeClr val="accent3"/>
                </a:solidFill>
                <a:round/>
                <a:headEnd/>
                <a:tailEnd/>
              </a:ln>
            </p:spPr>
            <p:txBody>
              <a:bodyPr wrap="none" lIns="36000" tIns="36000" rIns="36000" bIns="36000" anchor="ctr"/>
              <a:lstStyle/>
              <a:p>
                <a:endParaRPr lang="en-US" dirty="0"/>
              </a:p>
            </p:txBody>
          </p:sp>
          <p:sp>
            <p:nvSpPr>
              <p:cNvPr id="837643" name="Freeform 5"/>
              <p:cNvSpPr>
                <a:spLocks noChangeAspect="1"/>
              </p:cNvSpPr>
              <p:nvPr/>
            </p:nvSpPr>
            <p:spPr bwMode="auto">
              <a:xfrm flipH="1">
                <a:off x="2880"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28575">
                <a:solidFill>
                  <a:schemeClr val="accent3"/>
                </a:solidFill>
                <a:round/>
                <a:headEnd/>
                <a:tailEnd/>
              </a:ln>
            </p:spPr>
            <p:txBody>
              <a:bodyPr wrap="none" lIns="36000" tIns="36000" rIns="36000" bIns="36000" anchor="ctr"/>
              <a:lstStyle/>
              <a:p>
                <a:endParaRPr lang="en-US" dirty="0"/>
              </a:p>
            </p:txBody>
          </p:sp>
        </p:grpSp>
        <p:sp>
          <p:nvSpPr>
            <p:cNvPr id="837637" name="Text Box 9"/>
            <p:cNvSpPr txBox="1">
              <a:spLocks noChangeArrowheads="1"/>
            </p:cNvSpPr>
            <p:nvPr/>
          </p:nvSpPr>
          <p:spPr bwMode="auto">
            <a:xfrm>
              <a:off x="2245400" y="3779444"/>
              <a:ext cx="604123" cy="307777"/>
            </a:xfrm>
            <a:prstGeom prst="rect">
              <a:avLst/>
            </a:prstGeom>
            <a:noFill/>
            <a:ln w="9525">
              <a:noFill/>
              <a:miter lim="800000"/>
              <a:headEnd/>
              <a:tailEnd/>
            </a:ln>
          </p:spPr>
          <p:txBody>
            <a:bodyPr wrap="square" lIns="0" tIns="0" rIns="0" bIns="0" anchor="ctr" anchorCtr="0">
              <a:spAutoFit/>
            </a:bodyPr>
            <a:lstStyle/>
            <a:p>
              <a:pPr algn="r"/>
              <a:r>
                <a:rPr lang="en-US" altLang="ja-JP" sz="1000" dirty="0">
                  <a:solidFill>
                    <a:srgbClr val="53565A"/>
                  </a:solidFill>
                  <a:ea typeface="ＭＳ Ｐゴシック" charset="-128"/>
                </a:rPr>
                <a:t>Number</a:t>
              </a:r>
              <a:br>
                <a:rPr lang="en-US" altLang="ja-JP" sz="1000" dirty="0">
                  <a:solidFill>
                    <a:srgbClr val="53565A"/>
                  </a:solidFill>
                  <a:ea typeface="ＭＳ Ｐゴシック" charset="-128"/>
                </a:rPr>
              </a:br>
              <a:r>
                <a:rPr lang="en-US" altLang="ja-JP" sz="1000" dirty="0">
                  <a:solidFill>
                    <a:srgbClr val="53565A"/>
                  </a:solidFill>
                  <a:ea typeface="ＭＳ Ｐゴシック" charset="-128"/>
                </a:rPr>
                <a:t>of occurrences</a:t>
              </a:r>
            </a:p>
          </p:txBody>
        </p:sp>
      </p:grpSp>
      <p:sp>
        <p:nvSpPr>
          <p:cNvPr id="837638" name="Text Box 10"/>
          <p:cNvSpPr txBox="1">
            <a:spLocks noChangeArrowheads="1"/>
          </p:cNvSpPr>
          <p:nvPr/>
        </p:nvSpPr>
        <p:spPr bwMode="auto">
          <a:xfrm>
            <a:off x="5855432" y="6084197"/>
            <a:ext cx="485711"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Unit</a:t>
            </a:r>
          </a:p>
        </p:txBody>
      </p:sp>
      <p:sp>
        <p:nvSpPr>
          <p:cNvPr id="12" name="TextBox 11"/>
          <p:cNvSpPr txBox="1"/>
          <p:nvPr/>
        </p:nvSpPr>
        <p:spPr bwMode="gray">
          <a:xfrm>
            <a:off x="501650" y="1730175"/>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055942937"/>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Cost curve</a:t>
            </a:r>
          </a:p>
        </p:txBody>
      </p:sp>
      <p:sp>
        <p:nvSpPr>
          <p:cNvPr id="838657" name="Title 1"/>
          <p:cNvSpPr>
            <a:spLocks noGrp="1"/>
          </p:cNvSpPr>
          <p:nvPr>
            <p:ph type="title"/>
          </p:nvPr>
        </p:nvSpPr>
        <p:spPr/>
        <p:txBody>
          <a:bodyPr/>
          <a:lstStyle/>
          <a:p>
            <a:r>
              <a:rPr lang="en-US" altLang="ja-JP" dirty="0"/>
              <a:t>Curves</a:t>
            </a:r>
            <a:endParaRPr lang="en-US" dirty="0"/>
          </a:p>
        </p:txBody>
      </p:sp>
      <p:grpSp>
        <p:nvGrpSpPr>
          <p:cNvPr id="2" name="Group 1">
            <a:extLst>
              <a:ext uri="{FF2B5EF4-FFF2-40B4-BE49-F238E27FC236}">
                <a16:creationId xmlns:a16="http://schemas.microsoft.com/office/drawing/2014/main" id="{7C3719AD-601C-4EC9-8897-1B8416E77E96}"/>
              </a:ext>
            </a:extLst>
          </p:cNvPr>
          <p:cNvGrpSpPr/>
          <p:nvPr/>
        </p:nvGrpSpPr>
        <p:grpSpPr>
          <a:xfrm>
            <a:off x="628255" y="1583782"/>
            <a:ext cx="10670366" cy="4748701"/>
            <a:chOff x="2667262" y="2169868"/>
            <a:chExt cx="6180990" cy="3874840"/>
          </a:xfrm>
        </p:grpSpPr>
        <p:sp>
          <p:nvSpPr>
            <p:cNvPr id="24" name="Freeform 23"/>
            <p:cNvSpPr/>
            <p:nvPr/>
          </p:nvSpPr>
          <p:spPr bwMode="gray">
            <a:xfrm>
              <a:off x="3464381" y="2169868"/>
              <a:ext cx="5318038" cy="3570022"/>
            </a:xfrm>
            <a:custGeom>
              <a:avLst/>
              <a:gdLst>
                <a:gd name="connsiteX0" fmla="*/ 0 w 5029200"/>
                <a:gd name="connsiteY0" fmla="*/ 0 h 3419856"/>
                <a:gd name="connsiteX1" fmla="*/ 0 w 5029200"/>
                <a:gd name="connsiteY1" fmla="*/ 3419856 h 3419856"/>
                <a:gd name="connsiteX2" fmla="*/ 5029200 w 5029200"/>
                <a:gd name="connsiteY2" fmla="*/ 3419856 h 3419856"/>
              </a:gdLst>
              <a:ahLst/>
              <a:cxnLst>
                <a:cxn ang="0">
                  <a:pos x="connsiteX0" y="connsiteY0"/>
                </a:cxn>
                <a:cxn ang="0">
                  <a:pos x="connsiteX1" y="connsiteY1"/>
                </a:cxn>
                <a:cxn ang="0">
                  <a:pos x="connsiteX2" y="connsiteY2"/>
                </a:cxn>
              </a:cxnLst>
              <a:rect l="l" t="t" r="r" b="b"/>
              <a:pathLst>
                <a:path w="5029200" h="3419856">
                  <a:moveTo>
                    <a:pt x="0" y="0"/>
                  </a:moveTo>
                  <a:lnTo>
                    <a:pt x="0" y="3419856"/>
                  </a:lnTo>
                  <a:lnTo>
                    <a:pt x="5029200" y="3419856"/>
                  </a:lnTo>
                </a:path>
              </a:pathLst>
            </a:custGeom>
            <a:noFill/>
            <a:ln w="6350" algn="ctr">
              <a:solidFill>
                <a:srgbClr val="BBBCBC"/>
              </a:solidFill>
              <a:miter lim="800000"/>
              <a:headEnd type="none"/>
              <a:tailEnd type="none"/>
            </a:ln>
          </p:spPr>
          <p:txBody>
            <a:bodyPr rtlCol="0" anchor="ctr"/>
            <a:lstStyle/>
            <a:p>
              <a:pPr algn="ctr"/>
              <a:endParaRPr lang="en-US" dirty="0"/>
            </a:p>
          </p:txBody>
        </p:sp>
        <p:sp>
          <p:nvSpPr>
            <p:cNvPr id="838661" name="Text Box 5"/>
            <p:cNvSpPr txBox="1">
              <a:spLocks noChangeArrowheads="1"/>
            </p:cNvSpPr>
            <p:nvPr/>
          </p:nvSpPr>
          <p:spPr bwMode="auto">
            <a:xfrm>
              <a:off x="2667262" y="3877055"/>
              <a:ext cx="749647" cy="155651"/>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Cost/unit</a:t>
              </a:r>
            </a:p>
          </p:txBody>
        </p:sp>
        <p:sp>
          <p:nvSpPr>
            <p:cNvPr id="838662" name="Text Box 6"/>
            <p:cNvSpPr txBox="1">
              <a:spLocks noChangeArrowheads="1"/>
            </p:cNvSpPr>
            <p:nvPr/>
          </p:nvSpPr>
          <p:spPr bwMode="auto">
            <a:xfrm>
              <a:off x="5354277" y="5889057"/>
              <a:ext cx="1538249" cy="155651"/>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Cumulative volume</a:t>
              </a:r>
            </a:p>
          </p:txBody>
        </p:sp>
        <p:sp>
          <p:nvSpPr>
            <p:cNvPr id="838663" name="Arc 7"/>
            <p:cNvSpPr>
              <a:spLocks/>
            </p:cNvSpPr>
            <p:nvPr/>
          </p:nvSpPr>
          <p:spPr bwMode="auto">
            <a:xfrm rot="10800000">
              <a:off x="3774278" y="2261971"/>
              <a:ext cx="5073974" cy="3115035"/>
            </a:xfrm>
            <a:custGeom>
              <a:avLst/>
              <a:gdLst>
                <a:gd name="T0" fmla="*/ 0 w 22699"/>
                <a:gd name="T1" fmla="*/ 2147483647 h 21600"/>
                <a:gd name="T2" fmla="*/ 2147483647 w 22699"/>
                <a:gd name="T3" fmla="*/ 2147483647 h 21600"/>
                <a:gd name="T4" fmla="*/ 2147483647 w 22699"/>
                <a:gd name="T5" fmla="*/ 2147483647 h 21600"/>
                <a:gd name="T6" fmla="*/ 0 60000 65536"/>
                <a:gd name="T7" fmla="*/ 0 60000 65536"/>
                <a:gd name="T8" fmla="*/ 0 60000 65536"/>
                <a:gd name="T9" fmla="*/ 0 w 22699"/>
                <a:gd name="T10" fmla="*/ 0 h 21600"/>
                <a:gd name="T11" fmla="*/ 22699 w 22699"/>
                <a:gd name="T12" fmla="*/ 21600 h 21600"/>
              </a:gdLst>
              <a:ahLst/>
              <a:cxnLst>
                <a:cxn ang="T6">
                  <a:pos x="T0" y="T1"/>
                </a:cxn>
                <a:cxn ang="T7">
                  <a:pos x="T2" y="T3"/>
                </a:cxn>
                <a:cxn ang="T8">
                  <a:pos x="T4" y="T5"/>
                </a:cxn>
              </a:cxnLst>
              <a:rect l="T9" t="T10" r="T11" b="T12"/>
              <a:pathLst>
                <a:path w="22699" h="21600" fill="none" extrusionOk="0">
                  <a:moveTo>
                    <a:pt x="0" y="33"/>
                  </a:moveTo>
                  <a:cubicBezTo>
                    <a:pt x="398" y="11"/>
                    <a:pt x="797" y="-1"/>
                    <a:pt x="1196" y="0"/>
                  </a:cubicBezTo>
                  <a:cubicBezTo>
                    <a:pt x="12333" y="0"/>
                    <a:pt x="21645" y="8468"/>
                    <a:pt x="22699" y="19556"/>
                  </a:cubicBezTo>
                </a:path>
                <a:path w="22699" h="21600" stroke="0" extrusionOk="0">
                  <a:moveTo>
                    <a:pt x="0" y="33"/>
                  </a:moveTo>
                  <a:cubicBezTo>
                    <a:pt x="398" y="11"/>
                    <a:pt x="797" y="-1"/>
                    <a:pt x="1196" y="0"/>
                  </a:cubicBezTo>
                  <a:cubicBezTo>
                    <a:pt x="12333" y="0"/>
                    <a:pt x="21645" y="8468"/>
                    <a:pt x="22699" y="19556"/>
                  </a:cubicBezTo>
                  <a:lnTo>
                    <a:pt x="1196" y="21600"/>
                  </a:lnTo>
                  <a:close/>
                </a:path>
              </a:pathLst>
            </a:custGeom>
            <a:noFill/>
            <a:ln w="28575">
              <a:solidFill>
                <a:schemeClr val="accent6">
                  <a:lumMod val="40000"/>
                  <a:lumOff val="60000"/>
                </a:schemeClr>
              </a:solidFill>
              <a:round/>
              <a:headEnd/>
              <a:tailEnd/>
            </a:ln>
          </p:spPr>
          <p:txBody>
            <a:bodyPr wrap="square" lIns="36000" tIns="36000" rIns="36000" bIns="36000" anchor="ctr"/>
            <a:lstStyle/>
            <a:p>
              <a:pPr algn="ctr"/>
              <a:endParaRPr lang="en-US" dirty="0"/>
            </a:p>
          </p:txBody>
        </p:sp>
        <p:sp>
          <p:nvSpPr>
            <p:cNvPr id="838664" name="Oval 8"/>
            <p:cNvSpPr>
              <a:spLocks noChangeArrowheads="1"/>
            </p:cNvSpPr>
            <p:nvPr/>
          </p:nvSpPr>
          <p:spPr bwMode="auto">
            <a:xfrm>
              <a:off x="4177156" y="3573817"/>
              <a:ext cx="105936"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838665" name="Oval 9"/>
            <p:cNvSpPr>
              <a:spLocks noChangeArrowheads="1"/>
            </p:cNvSpPr>
            <p:nvPr/>
          </p:nvSpPr>
          <p:spPr bwMode="auto">
            <a:xfrm>
              <a:off x="3738953" y="2700323"/>
              <a:ext cx="105936"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11" name="Arc 10"/>
            <p:cNvSpPr>
              <a:spLocks/>
            </p:cNvSpPr>
            <p:nvPr/>
          </p:nvSpPr>
          <p:spPr bwMode="auto">
            <a:xfrm>
              <a:off x="4007105" y="2772580"/>
              <a:ext cx="202317" cy="655121"/>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6350">
              <a:solidFill>
                <a:srgbClr val="BBBCBC"/>
              </a:solidFill>
              <a:round/>
              <a:headEnd/>
              <a:tailEnd type="triangle" w="med" len="med"/>
            </a:ln>
          </p:spPr>
          <p:txBody>
            <a:bodyPr wrap="square" lIns="36000" tIns="36000" rIns="36000" bIns="36000" anchor="ctr"/>
            <a:lstStyle/>
            <a:p>
              <a:pPr algn="ctr">
                <a:defRPr/>
              </a:pPr>
              <a:endParaRPr lang="en-US" dirty="0"/>
            </a:p>
          </p:txBody>
        </p:sp>
        <p:sp>
          <p:nvSpPr>
            <p:cNvPr id="838667" name="Text Box 11"/>
            <p:cNvSpPr txBox="1">
              <a:spLocks noChangeArrowheads="1"/>
            </p:cNvSpPr>
            <p:nvPr/>
          </p:nvSpPr>
          <p:spPr bwMode="auto">
            <a:xfrm>
              <a:off x="3806393" y="2376445"/>
              <a:ext cx="405269"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838668" name="Text Box 12"/>
            <p:cNvSpPr txBox="1">
              <a:spLocks noChangeArrowheads="1"/>
            </p:cNvSpPr>
            <p:nvPr/>
          </p:nvSpPr>
          <p:spPr bwMode="auto">
            <a:xfrm>
              <a:off x="3732531" y="3762154"/>
              <a:ext cx="405269"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838669" name="Oval 13"/>
            <p:cNvSpPr>
              <a:spLocks noChangeArrowheads="1"/>
            </p:cNvSpPr>
            <p:nvPr/>
          </p:nvSpPr>
          <p:spPr bwMode="auto">
            <a:xfrm>
              <a:off x="7705002" y="5259789"/>
              <a:ext cx="105936"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838670" name="Oval 14"/>
            <p:cNvSpPr>
              <a:spLocks noChangeArrowheads="1"/>
            </p:cNvSpPr>
            <p:nvPr/>
          </p:nvSpPr>
          <p:spPr bwMode="auto">
            <a:xfrm>
              <a:off x="8377786" y="5310050"/>
              <a:ext cx="105936" cy="146118"/>
            </a:xfrm>
            <a:prstGeom prst="ellipse">
              <a:avLst/>
            </a:prstGeom>
            <a:solidFill>
              <a:schemeClr val="accent1"/>
            </a:solidFill>
            <a:ln w="6350" algn="ctr">
              <a:noFill/>
              <a:round/>
              <a:headEnd/>
              <a:tailEnd/>
            </a:ln>
          </p:spPr>
          <p:txBody>
            <a:bodyPr wrap="square" lIns="36000" tIns="36000" rIns="36000" bIns="36000" anchor="ctr"/>
            <a:lstStyle/>
            <a:p>
              <a:pPr algn="ctr"/>
              <a:endParaRPr lang="en-US" dirty="0"/>
            </a:p>
          </p:txBody>
        </p:sp>
        <p:sp>
          <p:nvSpPr>
            <p:cNvPr id="838671" name="Text Box 15"/>
            <p:cNvSpPr txBox="1">
              <a:spLocks noChangeArrowheads="1"/>
            </p:cNvSpPr>
            <p:nvPr/>
          </p:nvSpPr>
          <p:spPr bwMode="auto">
            <a:xfrm>
              <a:off x="7330560" y="5435281"/>
              <a:ext cx="405268"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838672" name="Text Box 16"/>
            <p:cNvSpPr txBox="1">
              <a:spLocks noChangeArrowheads="1"/>
            </p:cNvSpPr>
            <p:nvPr/>
          </p:nvSpPr>
          <p:spPr bwMode="auto">
            <a:xfrm>
              <a:off x="8294776" y="5507536"/>
              <a:ext cx="405268" cy="153888"/>
            </a:xfrm>
            <a:prstGeom prst="rect">
              <a:avLst/>
            </a:prstGeom>
            <a:noFill/>
            <a:ln w="9525">
              <a:noFill/>
              <a:miter lim="800000"/>
              <a:headEnd/>
              <a:tailEnd/>
            </a:ln>
          </p:spPr>
          <p:txBody>
            <a:bodyPr wrap="square" lIns="0" tIns="0" rIns="0" bIns="0" anchor="ctr" anchorCtr="0">
              <a:spAutoFit/>
            </a:bodyPr>
            <a:lstStyle/>
            <a:p>
              <a:pPr algn="ctr"/>
              <a:r>
                <a:rPr lang="en-US" altLang="ja-JP" sz="1000" dirty="0">
                  <a:solidFill>
                    <a:srgbClr val="53565A"/>
                  </a:solidFill>
                  <a:ea typeface="ＭＳ Ｐゴシック" charset="-128"/>
                </a:rPr>
                <a:t>Text</a:t>
              </a:r>
            </a:p>
          </p:txBody>
        </p:sp>
        <p:sp>
          <p:nvSpPr>
            <p:cNvPr id="18" name="Arc 17"/>
            <p:cNvSpPr>
              <a:spLocks/>
            </p:cNvSpPr>
            <p:nvPr/>
          </p:nvSpPr>
          <p:spPr bwMode="auto">
            <a:xfrm>
              <a:off x="7876811" y="5248550"/>
              <a:ext cx="472072" cy="73862"/>
            </a:xfrm>
            <a:custGeom>
              <a:avLst/>
              <a:gdLst>
                <a:gd name="T0" fmla="*/ 0 w 21600"/>
                <a:gd name="T1" fmla="*/ 0 h 21600"/>
                <a:gd name="T2" fmla="*/ 2147483647 w 21600"/>
                <a:gd name="T3" fmla="*/ 9539871 h 21600"/>
                <a:gd name="T4" fmla="*/ 0 w 21600"/>
                <a:gd name="T5" fmla="*/ 9539871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6350">
              <a:solidFill>
                <a:srgbClr val="BBBCBC"/>
              </a:solidFill>
              <a:round/>
              <a:headEnd/>
              <a:tailEnd type="triangle" w="med" len="med"/>
            </a:ln>
          </p:spPr>
          <p:txBody>
            <a:bodyPr wrap="square" lIns="36000" tIns="36000" rIns="36000" bIns="36000" anchor="ctr"/>
            <a:lstStyle/>
            <a:p>
              <a:pPr algn="ctr">
                <a:defRPr/>
              </a:pPr>
              <a:endParaRPr lang="en-US" dirty="0"/>
            </a:p>
          </p:txBody>
        </p:sp>
      </p:grpSp>
    </p:spTree>
    <p:extLst>
      <p:ext uri="{BB962C8B-B14F-4D97-AF65-F5344CB8AC3E}">
        <p14:creationId xmlns:p14="http://schemas.microsoft.com/office/powerpoint/2010/main" val="2181962169"/>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Downward and upward slopes</a:t>
            </a:r>
            <a:endParaRPr lang="en-US" dirty="0"/>
          </a:p>
        </p:txBody>
      </p:sp>
      <p:sp>
        <p:nvSpPr>
          <p:cNvPr id="839681" name="Title 1"/>
          <p:cNvSpPr>
            <a:spLocks noGrp="1"/>
          </p:cNvSpPr>
          <p:nvPr>
            <p:ph type="title"/>
          </p:nvPr>
        </p:nvSpPr>
        <p:spPr/>
        <p:txBody>
          <a:bodyPr/>
          <a:lstStyle/>
          <a:p>
            <a:r>
              <a:rPr lang="en-US" altLang="ja-JP"/>
              <a:t>Curves</a:t>
            </a:r>
            <a:endParaRPr lang="en-US" dirty="0"/>
          </a:p>
        </p:txBody>
      </p:sp>
      <p:sp>
        <p:nvSpPr>
          <p:cNvPr id="21" name="Freeform 3"/>
          <p:cNvSpPr>
            <a:spLocks/>
          </p:cNvSpPr>
          <p:nvPr/>
        </p:nvSpPr>
        <p:spPr bwMode="auto">
          <a:xfrm>
            <a:off x="1995790" y="2125909"/>
            <a:ext cx="3891016" cy="3571463"/>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9525" cap="rnd">
            <a:solidFill>
              <a:srgbClr val="BBBCBC"/>
            </a:solidFill>
            <a:round/>
            <a:headEnd type="triangle" w="med" len="med"/>
            <a:tailEnd type="triangle" w="med" len="med"/>
          </a:ln>
        </p:spPr>
        <p:txBody>
          <a:bodyPr lIns="36000" tIns="36000" rIns="36000" bIns="36000"/>
          <a:lstStyle/>
          <a:p>
            <a:pPr>
              <a:defRPr/>
            </a:pPr>
            <a:endParaRPr lang="en-US" sz="1400" kern="0" dirty="0">
              <a:solidFill>
                <a:prstClr val="white"/>
              </a:solidFill>
            </a:endParaRPr>
          </a:p>
        </p:txBody>
      </p:sp>
      <p:sp>
        <p:nvSpPr>
          <p:cNvPr id="23" name="Arc 4"/>
          <p:cNvSpPr>
            <a:spLocks/>
          </p:cNvSpPr>
          <p:nvPr/>
        </p:nvSpPr>
        <p:spPr bwMode="auto">
          <a:xfrm>
            <a:off x="2277748" y="2347715"/>
            <a:ext cx="3195520" cy="2969954"/>
          </a:xfrm>
          <a:custGeom>
            <a:avLst/>
            <a:gdLst>
              <a:gd name="T0" fmla="*/ 2147483647 w 24147"/>
              <a:gd name="T1" fmla="*/ 2147483647 h 21600"/>
              <a:gd name="T2" fmla="*/ 0 w 24147"/>
              <a:gd name="T3" fmla="*/ 2147483647 h 21600"/>
              <a:gd name="T4" fmla="*/ 2147483647 w 24147"/>
              <a:gd name="T5" fmla="*/ 0 h 21600"/>
              <a:gd name="T6" fmla="*/ 0 60000 65536"/>
              <a:gd name="T7" fmla="*/ 0 60000 65536"/>
              <a:gd name="T8" fmla="*/ 0 60000 65536"/>
              <a:gd name="T9" fmla="*/ 0 w 24147"/>
              <a:gd name="T10" fmla="*/ 0 h 21600"/>
              <a:gd name="T11" fmla="*/ 24147 w 24147"/>
              <a:gd name="T12" fmla="*/ 21600 h 21600"/>
            </a:gdLst>
            <a:ahLst/>
            <a:cxnLst>
              <a:cxn ang="T6">
                <a:pos x="T0" y="T1"/>
              </a:cxn>
              <a:cxn ang="T7">
                <a:pos x="T2" y="T3"/>
              </a:cxn>
              <a:cxn ang="T8">
                <a:pos x="T4" y="T5"/>
              </a:cxn>
            </a:cxnLst>
            <a:rect l="T9" t="T10" r="T11" b="T12"/>
            <a:pathLst>
              <a:path w="24147" h="21600" fill="none" extrusionOk="0">
                <a:moveTo>
                  <a:pt x="24147" y="21439"/>
                </a:moveTo>
                <a:cubicBezTo>
                  <a:pt x="23275" y="21546"/>
                  <a:pt x="22397" y="21599"/>
                  <a:pt x="21519" y="21600"/>
                </a:cubicBezTo>
                <a:cubicBezTo>
                  <a:pt x="10315" y="21600"/>
                  <a:pt x="971" y="13034"/>
                  <a:pt x="0" y="1872"/>
                </a:cubicBezTo>
              </a:path>
              <a:path w="24147" h="21600" stroke="0" extrusionOk="0">
                <a:moveTo>
                  <a:pt x="24147" y="21439"/>
                </a:moveTo>
                <a:cubicBezTo>
                  <a:pt x="23275" y="21546"/>
                  <a:pt x="22397" y="21599"/>
                  <a:pt x="21519" y="21600"/>
                </a:cubicBezTo>
                <a:cubicBezTo>
                  <a:pt x="10315" y="21600"/>
                  <a:pt x="971" y="13034"/>
                  <a:pt x="0" y="1872"/>
                </a:cubicBezTo>
                <a:lnTo>
                  <a:pt x="21519" y="0"/>
                </a:lnTo>
                <a:close/>
              </a:path>
            </a:pathLst>
          </a:custGeom>
          <a:noFill/>
          <a:ln w="28575" cap="rnd">
            <a:solidFill>
              <a:srgbClr val="E7E6E6"/>
            </a:solidFill>
            <a:round/>
            <a:headEnd/>
            <a:tailEnd/>
          </a:ln>
        </p:spPr>
        <p:txBody>
          <a:bodyPr wrap="none" lIns="36000" tIns="36000" rIns="36000" bIns="36000" anchor="ctr"/>
          <a:lstStyle/>
          <a:p>
            <a:pPr algn="ctr">
              <a:defRPr/>
            </a:pPr>
            <a:endParaRPr lang="en-US" sz="1400" kern="0" dirty="0">
              <a:solidFill>
                <a:prstClr val="white"/>
              </a:solidFill>
            </a:endParaRPr>
          </a:p>
        </p:txBody>
      </p:sp>
      <p:sp>
        <p:nvSpPr>
          <p:cNvPr id="24" name="Oval 5"/>
          <p:cNvSpPr>
            <a:spLocks noChangeArrowheads="1"/>
          </p:cNvSpPr>
          <p:nvPr/>
        </p:nvSpPr>
        <p:spPr bwMode="auto">
          <a:xfrm>
            <a:off x="2307620" y="3287574"/>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1</a:t>
            </a:r>
          </a:p>
        </p:txBody>
      </p:sp>
      <p:sp>
        <p:nvSpPr>
          <p:cNvPr id="25" name="Oval 6"/>
          <p:cNvSpPr>
            <a:spLocks noChangeArrowheads="1"/>
          </p:cNvSpPr>
          <p:nvPr/>
        </p:nvSpPr>
        <p:spPr bwMode="auto">
          <a:xfrm>
            <a:off x="3084147" y="4421045"/>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2</a:t>
            </a:r>
          </a:p>
        </p:txBody>
      </p:sp>
      <p:sp>
        <p:nvSpPr>
          <p:cNvPr id="26" name="Oval 7"/>
          <p:cNvSpPr>
            <a:spLocks noChangeArrowheads="1"/>
          </p:cNvSpPr>
          <p:nvPr/>
        </p:nvSpPr>
        <p:spPr bwMode="auto">
          <a:xfrm>
            <a:off x="4200699" y="5063908"/>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3</a:t>
            </a:r>
          </a:p>
        </p:txBody>
      </p:sp>
      <p:sp>
        <p:nvSpPr>
          <p:cNvPr id="27" name="Rectangle 8"/>
          <p:cNvSpPr>
            <a:spLocks noChangeArrowheads="1"/>
          </p:cNvSpPr>
          <p:nvPr/>
        </p:nvSpPr>
        <p:spPr bwMode="auto">
          <a:xfrm>
            <a:off x="3486472" y="5815794"/>
            <a:ext cx="909652" cy="153888"/>
          </a:xfrm>
          <a:prstGeom prst="rect">
            <a:avLst/>
          </a:prstGeom>
          <a:noFill/>
          <a:ln w="12700">
            <a:noFill/>
            <a:miter lim="800000"/>
            <a:headEnd/>
            <a:tailEnd/>
          </a:ln>
        </p:spPr>
        <p:txBody>
          <a:bodyPr wrap="square" lIns="0" tIns="0" rIns="0" bIns="0">
            <a:spAutoFit/>
          </a:bodyPr>
          <a:lstStyle/>
          <a:p>
            <a:pPr algn="ctr"/>
            <a:r>
              <a:rPr lang="en-US" altLang="ja-JP" sz="1000" dirty="0">
                <a:solidFill>
                  <a:srgbClr val="BBBCBC"/>
                </a:solidFill>
                <a:ea typeface="ＭＳ Ｐゴシック" charset="-128"/>
              </a:rPr>
              <a:t>Time</a:t>
            </a:r>
          </a:p>
        </p:txBody>
      </p:sp>
      <p:sp>
        <p:nvSpPr>
          <p:cNvPr id="28" name="Freeform 9"/>
          <p:cNvSpPr>
            <a:spLocks/>
          </p:cNvSpPr>
          <p:nvPr/>
        </p:nvSpPr>
        <p:spPr bwMode="auto">
          <a:xfrm>
            <a:off x="6298260" y="2125909"/>
            <a:ext cx="3892896" cy="3571463"/>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9525" cap="rnd">
            <a:solidFill>
              <a:srgbClr val="BBBCBC"/>
            </a:solidFill>
            <a:round/>
            <a:headEnd type="triangle" w="med" len="med"/>
            <a:tailEnd type="triangle" w="med" len="med"/>
          </a:ln>
        </p:spPr>
        <p:txBody>
          <a:bodyPr lIns="36000" tIns="36000" rIns="36000" bIns="36000"/>
          <a:lstStyle/>
          <a:p>
            <a:pPr>
              <a:defRPr/>
            </a:pPr>
            <a:endParaRPr lang="en-US" sz="1400" kern="0" dirty="0">
              <a:solidFill>
                <a:prstClr val="white"/>
              </a:solidFill>
            </a:endParaRPr>
          </a:p>
        </p:txBody>
      </p:sp>
      <p:sp>
        <p:nvSpPr>
          <p:cNvPr id="29" name="Arc 10"/>
          <p:cNvSpPr>
            <a:spLocks/>
          </p:cNvSpPr>
          <p:nvPr/>
        </p:nvSpPr>
        <p:spPr bwMode="auto">
          <a:xfrm>
            <a:off x="6544504" y="2347715"/>
            <a:ext cx="3195520" cy="2969954"/>
          </a:xfrm>
          <a:custGeom>
            <a:avLst/>
            <a:gdLst>
              <a:gd name="T0" fmla="*/ 2147483647 w 24161"/>
              <a:gd name="T1" fmla="*/ 2147483647 h 21600"/>
              <a:gd name="T2" fmla="*/ 0 w 24161"/>
              <a:gd name="T3" fmla="*/ 2147483647 h 21600"/>
              <a:gd name="T4" fmla="*/ 2147483647 w 24161"/>
              <a:gd name="T5" fmla="*/ 0 h 21600"/>
              <a:gd name="T6" fmla="*/ 0 60000 65536"/>
              <a:gd name="T7" fmla="*/ 0 60000 65536"/>
              <a:gd name="T8" fmla="*/ 0 60000 65536"/>
              <a:gd name="T9" fmla="*/ 0 w 24161"/>
              <a:gd name="T10" fmla="*/ 0 h 21600"/>
              <a:gd name="T11" fmla="*/ 24161 w 24161"/>
              <a:gd name="T12" fmla="*/ 21600 h 21600"/>
            </a:gdLst>
            <a:ahLst/>
            <a:cxnLst>
              <a:cxn ang="T6">
                <a:pos x="T0" y="T1"/>
              </a:cxn>
              <a:cxn ang="T7">
                <a:pos x="T2" y="T3"/>
              </a:cxn>
              <a:cxn ang="T8">
                <a:pos x="T4" y="T5"/>
              </a:cxn>
            </a:cxnLst>
            <a:rect l="T9" t="T10" r="T11" b="T12"/>
            <a:pathLst>
              <a:path w="24161" h="21600" fill="none" extrusionOk="0">
                <a:moveTo>
                  <a:pt x="24160" y="1873"/>
                </a:moveTo>
                <a:cubicBezTo>
                  <a:pt x="23188" y="13034"/>
                  <a:pt x="13845" y="21599"/>
                  <a:pt x="2642" y="21600"/>
                </a:cubicBezTo>
                <a:cubicBezTo>
                  <a:pt x="1758" y="21600"/>
                  <a:pt x="876" y="21545"/>
                  <a:pt x="0" y="21437"/>
                </a:cubicBezTo>
              </a:path>
              <a:path w="24161" h="21600" stroke="0" extrusionOk="0">
                <a:moveTo>
                  <a:pt x="24160" y="1873"/>
                </a:moveTo>
                <a:cubicBezTo>
                  <a:pt x="23188" y="13034"/>
                  <a:pt x="13845" y="21599"/>
                  <a:pt x="2642" y="21600"/>
                </a:cubicBezTo>
                <a:cubicBezTo>
                  <a:pt x="1758" y="21600"/>
                  <a:pt x="876" y="21545"/>
                  <a:pt x="0" y="21437"/>
                </a:cubicBezTo>
                <a:lnTo>
                  <a:pt x="2642" y="0"/>
                </a:lnTo>
                <a:close/>
              </a:path>
            </a:pathLst>
          </a:custGeom>
          <a:noFill/>
          <a:ln w="28575" cap="rnd">
            <a:solidFill>
              <a:srgbClr val="E7E6E6"/>
            </a:solidFill>
            <a:round/>
            <a:headEnd/>
            <a:tailEnd/>
          </a:ln>
        </p:spPr>
        <p:txBody>
          <a:bodyPr wrap="none" lIns="36000" tIns="36000" rIns="36000" bIns="36000" anchor="ctr"/>
          <a:lstStyle/>
          <a:p>
            <a:pPr algn="ctr">
              <a:defRPr/>
            </a:pPr>
            <a:endParaRPr lang="en-US" sz="1400" kern="0" dirty="0">
              <a:solidFill>
                <a:prstClr val="white"/>
              </a:solidFill>
            </a:endParaRPr>
          </a:p>
        </p:txBody>
      </p:sp>
      <p:sp>
        <p:nvSpPr>
          <p:cNvPr id="30" name="Oval 11"/>
          <p:cNvSpPr>
            <a:spLocks noChangeArrowheads="1"/>
          </p:cNvSpPr>
          <p:nvPr/>
        </p:nvSpPr>
        <p:spPr bwMode="auto">
          <a:xfrm flipH="1">
            <a:off x="9368400" y="3287574"/>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3</a:t>
            </a:r>
          </a:p>
        </p:txBody>
      </p:sp>
      <p:sp>
        <p:nvSpPr>
          <p:cNvPr id="31" name="Oval 12"/>
          <p:cNvSpPr>
            <a:spLocks noChangeArrowheads="1"/>
          </p:cNvSpPr>
          <p:nvPr/>
        </p:nvSpPr>
        <p:spPr bwMode="auto">
          <a:xfrm flipH="1">
            <a:off x="8820842" y="4189839"/>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2</a:t>
            </a:r>
          </a:p>
        </p:txBody>
      </p:sp>
      <p:sp>
        <p:nvSpPr>
          <p:cNvPr id="32" name="Oval 13"/>
          <p:cNvSpPr>
            <a:spLocks noChangeArrowheads="1"/>
          </p:cNvSpPr>
          <p:nvPr/>
        </p:nvSpPr>
        <p:spPr bwMode="auto">
          <a:xfrm flipH="1">
            <a:off x="7856548" y="4883455"/>
            <a:ext cx="341013" cy="341013"/>
          </a:xfrm>
          <a:prstGeom prst="ellipse">
            <a:avLst/>
          </a:prstGeom>
          <a:solidFill>
            <a:srgbClr val="86BC25"/>
          </a:solidFill>
          <a:ln w="12700" algn="ctr">
            <a:noFill/>
            <a:round/>
            <a:headEnd/>
            <a:tailEnd/>
          </a:ln>
        </p:spPr>
        <p:txBody>
          <a:bodyPr lIns="36000" tIns="36000" rIns="36000" bIns="36000" anchor="ctr"/>
          <a:lstStyle/>
          <a:p>
            <a:pPr algn="ctr">
              <a:defRPr/>
            </a:pPr>
            <a:r>
              <a:rPr lang="en-US" altLang="ja-JP" sz="1200" kern="0" dirty="0">
                <a:solidFill>
                  <a:schemeClr val="bg1"/>
                </a:solidFill>
                <a:ea typeface="ＭＳ Ｐゴシック" charset="-128"/>
              </a:rPr>
              <a:t>1</a:t>
            </a:r>
          </a:p>
        </p:txBody>
      </p:sp>
      <p:sp>
        <p:nvSpPr>
          <p:cNvPr id="33" name="Rectangle 8"/>
          <p:cNvSpPr>
            <a:spLocks noChangeArrowheads="1"/>
          </p:cNvSpPr>
          <p:nvPr/>
        </p:nvSpPr>
        <p:spPr bwMode="auto">
          <a:xfrm>
            <a:off x="7789882" y="5815794"/>
            <a:ext cx="909652" cy="153888"/>
          </a:xfrm>
          <a:prstGeom prst="rect">
            <a:avLst/>
          </a:prstGeom>
          <a:noFill/>
          <a:ln w="12700">
            <a:noFill/>
            <a:miter lim="800000"/>
            <a:headEnd/>
            <a:tailEnd/>
          </a:ln>
        </p:spPr>
        <p:txBody>
          <a:bodyPr wrap="square" lIns="0" tIns="0" rIns="0" bIns="0">
            <a:spAutoFit/>
          </a:bodyPr>
          <a:lstStyle/>
          <a:p>
            <a:pPr algn="ctr"/>
            <a:r>
              <a:rPr lang="en-US" altLang="ja-JP" sz="1000" dirty="0">
                <a:solidFill>
                  <a:srgbClr val="BBBCBC"/>
                </a:solidFill>
                <a:ea typeface="ＭＳ Ｐゴシック" charset="-128"/>
              </a:rPr>
              <a:t>Time</a:t>
            </a:r>
          </a:p>
        </p:txBody>
      </p:sp>
      <p:sp>
        <p:nvSpPr>
          <p:cNvPr id="34" name="TextBox 33"/>
          <p:cNvSpPr txBox="1"/>
          <p:nvPr/>
        </p:nvSpPr>
        <p:spPr bwMode="gray">
          <a:xfrm>
            <a:off x="6191250" y="1709928"/>
            <a:ext cx="4114800" cy="200055"/>
          </a:xfrm>
          <a:prstGeom prst="rect">
            <a:avLst/>
          </a:prstGeom>
          <a:noFill/>
        </p:spPr>
        <p:txBody>
          <a:bodyPr wrap="square" lIns="0" tIns="0" rIns="0" bIns="0" rtlCol="0">
            <a:spAutoFit/>
          </a:bodyPr>
          <a:lstStyle/>
          <a:p>
            <a:pPr>
              <a:defRPr/>
            </a:pPr>
            <a:r>
              <a:rPr lang="en-US" sz="1300" kern="0" dirty="0">
                <a:solidFill>
                  <a:srgbClr val="E7E6E6"/>
                </a:solidFill>
              </a:rPr>
              <a:t>Chart title goes here</a:t>
            </a:r>
          </a:p>
        </p:txBody>
      </p:sp>
      <p:sp>
        <p:nvSpPr>
          <p:cNvPr id="35" name="TextBox 34"/>
          <p:cNvSpPr txBox="1"/>
          <p:nvPr/>
        </p:nvSpPr>
        <p:spPr bwMode="gray">
          <a:xfrm>
            <a:off x="1920000" y="1709928"/>
            <a:ext cx="4114800" cy="200055"/>
          </a:xfrm>
          <a:prstGeom prst="rect">
            <a:avLst/>
          </a:prstGeom>
          <a:noFill/>
        </p:spPr>
        <p:txBody>
          <a:bodyPr wrap="square" lIns="0" tIns="0" rIns="0" bIns="0" rtlCol="0">
            <a:spAutoFit/>
          </a:bodyPr>
          <a:lstStyle/>
          <a:p>
            <a:pPr>
              <a:defRPr/>
            </a:pPr>
            <a:r>
              <a:rPr lang="en-US" sz="1300" kern="0" dirty="0">
                <a:solidFill>
                  <a:srgbClr val="E7E6E6"/>
                </a:solidFill>
              </a:rPr>
              <a:t>Chart title goes here</a:t>
            </a:r>
          </a:p>
        </p:txBody>
      </p:sp>
    </p:spTree>
    <p:extLst>
      <p:ext uri="{BB962C8B-B14F-4D97-AF65-F5344CB8AC3E}">
        <p14:creationId xmlns:p14="http://schemas.microsoft.com/office/powerpoint/2010/main" val="1300768082"/>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Cross</a:t>
            </a:r>
          </a:p>
        </p:txBody>
      </p:sp>
      <p:sp>
        <p:nvSpPr>
          <p:cNvPr id="840705" name="Title 1"/>
          <p:cNvSpPr>
            <a:spLocks noGrp="1"/>
          </p:cNvSpPr>
          <p:nvPr>
            <p:ph type="title"/>
          </p:nvPr>
        </p:nvSpPr>
        <p:spPr/>
        <p:txBody>
          <a:bodyPr/>
          <a:lstStyle/>
          <a:p>
            <a:r>
              <a:rPr lang="en-US" altLang="ja-JP" dirty="0"/>
              <a:t>Other</a:t>
            </a:r>
            <a:endParaRPr lang="en-US" dirty="0"/>
          </a:p>
        </p:txBody>
      </p:sp>
      <p:grpSp>
        <p:nvGrpSpPr>
          <p:cNvPr id="2" name="Group 1">
            <a:extLst>
              <a:ext uri="{FF2B5EF4-FFF2-40B4-BE49-F238E27FC236}">
                <a16:creationId xmlns:a16="http://schemas.microsoft.com/office/drawing/2014/main" id="{37D31020-6CF5-414C-8015-105D51582C7C}"/>
              </a:ext>
            </a:extLst>
          </p:cNvPr>
          <p:cNvGrpSpPr/>
          <p:nvPr/>
        </p:nvGrpSpPr>
        <p:grpSpPr>
          <a:xfrm>
            <a:off x="1438793" y="1174228"/>
            <a:ext cx="9307043" cy="4815081"/>
            <a:chOff x="1739329" y="1700213"/>
            <a:chExt cx="6569232" cy="4301149"/>
          </a:xfrm>
        </p:grpSpPr>
        <p:sp>
          <p:nvSpPr>
            <p:cNvPr id="840713" name="Text Placeholder 12"/>
            <p:cNvSpPr>
              <a:spLocks/>
            </p:cNvSpPr>
            <p:nvPr>
              <p:custDataLst>
                <p:tags r:id="rId2"/>
              </p:custDataLst>
            </p:nvPr>
          </p:nvSpPr>
          <p:spPr bwMode="auto">
            <a:xfrm>
              <a:off x="1739329" y="3882448"/>
              <a:ext cx="598820" cy="184666"/>
            </a:xfrm>
            <a:prstGeom prst="rect">
              <a:avLst/>
            </a:prstGeom>
            <a:noFill/>
            <a:ln w="9525">
              <a:noFill/>
              <a:miter lim="800000"/>
              <a:headEnd/>
              <a:tailEnd/>
            </a:ln>
          </p:spPr>
          <p:txBody>
            <a:bodyPr wrap="square" lIns="0" tIns="0" rIns="0" bIns="0" anchor="ctr" anchorCtr="0">
              <a:spAutoFit/>
            </a:bodyPr>
            <a:lstStyle/>
            <a:p>
              <a:pPr algn="r" defTabSz="1019175">
                <a:spcAft>
                  <a:spcPts val="300"/>
                </a:spcAft>
              </a:pPr>
              <a:r>
                <a:rPr lang="en-US" sz="1200" dirty="0"/>
                <a:t>Text</a:t>
              </a:r>
            </a:p>
          </p:txBody>
        </p:sp>
        <p:sp>
          <p:nvSpPr>
            <p:cNvPr id="840714" name="Text Placeholder 12"/>
            <p:cNvSpPr>
              <a:spLocks/>
            </p:cNvSpPr>
            <p:nvPr>
              <p:custDataLst>
                <p:tags r:id="rId3"/>
              </p:custDataLst>
            </p:nvPr>
          </p:nvSpPr>
          <p:spPr bwMode="auto">
            <a:xfrm>
              <a:off x="7712647" y="3882448"/>
              <a:ext cx="595914" cy="184666"/>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200" dirty="0"/>
                <a:t>Text</a:t>
              </a:r>
            </a:p>
          </p:txBody>
        </p:sp>
        <p:sp>
          <p:nvSpPr>
            <p:cNvPr id="840707" name="Line 3"/>
            <p:cNvSpPr>
              <a:spLocks noChangeShapeType="1"/>
            </p:cNvSpPr>
            <p:nvPr/>
          </p:nvSpPr>
          <p:spPr bwMode="auto">
            <a:xfrm flipH="1">
              <a:off x="5023151" y="2035787"/>
              <a:ext cx="1588" cy="3965575"/>
            </a:xfrm>
            <a:prstGeom prst="line">
              <a:avLst/>
            </a:prstGeom>
            <a:noFill/>
            <a:ln w="25400">
              <a:solidFill>
                <a:schemeClr val="tx1"/>
              </a:solidFill>
              <a:prstDash val="sysDot"/>
              <a:round/>
              <a:headEnd type="triangle" w="med" len="med"/>
              <a:tailEnd type="triangle" w="med" len="med"/>
            </a:ln>
          </p:spPr>
          <p:txBody>
            <a:bodyPr wrap="none" lIns="36000" tIns="36000" rIns="36000" anchor="ctr"/>
            <a:lstStyle/>
            <a:p>
              <a:endParaRPr lang="en-US" dirty="0"/>
            </a:p>
          </p:txBody>
        </p:sp>
        <p:sp>
          <p:nvSpPr>
            <p:cNvPr id="840708" name="Line 4"/>
            <p:cNvSpPr>
              <a:spLocks noChangeShapeType="1"/>
            </p:cNvSpPr>
            <p:nvPr/>
          </p:nvSpPr>
          <p:spPr bwMode="auto">
            <a:xfrm>
              <a:off x="2464158" y="3973195"/>
              <a:ext cx="5148262" cy="3175"/>
            </a:xfrm>
            <a:prstGeom prst="line">
              <a:avLst/>
            </a:prstGeom>
            <a:noFill/>
            <a:ln w="25400">
              <a:solidFill>
                <a:schemeClr val="tx1"/>
              </a:solidFill>
              <a:prstDash val="sysDot"/>
              <a:round/>
              <a:headEnd type="triangle" w="med" len="med"/>
              <a:tailEnd type="triangle" w="med" len="med"/>
            </a:ln>
          </p:spPr>
          <p:txBody>
            <a:bodyPr wrap="none" lIns="36000" tIns="36000" rIns="36000" anchor="ctr"/>
            <a:lstStyle/>
            <a:p>
              <a:endParaRPr lang="en-US" dirty="0"/>
            </a:p>
          </p:txBody>
        </p:sp>
        <p:sp>
          <p:nvSpPr>
            <p:cNvPr id="7" name="Rectangle 6"/>
            <p:cNvSpPr>
              <a:spLocks noChangeArrowheads="1"/>
            </p:cNvSpPr>
            <p:nvPr/>
          </p:nvSpPr>
          <p:spPr bwMode="auto">
            <a:xfrm>
              <a:off x="2594277" y="2238057"/>
              <a:ext cx="2359025" cy="1636712"/>
            </a:xfrm>
            <a:prstGeom prst="rect">
              <a:avLst/>
            </a:prstGeom>
            <a:noFill/>
            <a:ln w="12700">
              <a:solidFill>
                <a:schemeClr val="accent1"/>
              </a:solidFill>
              <a:miter lim="800000"/>
              <a:headEnd/>
              <a:tailEnd/>
            </a:ln>
          </p:spPr>
          <p:txBody>
            <a:bodyPr lIns="36000" tIns="36000" rIns="36000"/>
            <a:lstStyle/>
            <a:p>
              <a:pPr algn="ctr">
                <a:defRPr/>
              </a:pPr>
              <a:endParaRPr lang="en-US" dirty="0">
                <a:ea typeface="ＭＳ Ｐゴシック" pitchFamily="50" charset="-128"/>
              </a:endParaRPr>
            </a:p>
          </p:txBody>
        </p:sp>
        <p:sp>
          <p:nvSpPr>
            <p:cNvPr id="8" name="Rectangle 7"/>
            <p:cNvSpPr>
              <a:spLocks noChangeArrowheads="1"/>
            </p:cNvSpPr>
            <p:nvPr/>
          </p:nvSpPr>
          <p:spPr bwMode="auto">
            <a:xfrm>
              <a:off x="5108931" y="2238057"/>
              <a:ext cx="2360612" cy="1636712"/>
            </a:xfrm>
            <a:prstGeom prst="rect">
              <a:avLst/>
            </a:prstGeom>
            <a:noFill/>
            <a:ln w="12700">
              <a:solidFill>
                <a:schemeClr val="accent1"/>
              </a:solidFill>
              <a:miter lim="800000"/>
              <a:headEnd/>
              <a:tailEnd/>
            </a:ln>
          </p:spPr>
          <p:txBody>
            <a:bodyPr lIns="36000" tIns="36000" rIns="36000"/>
            <a:lstStyle/>
            <a:p>
              <a:pPr algn="ctr">
                <a:defRPr/>
              </a:pPr>
              <a:endParaRPr lang="en-US" dirty="0">
                <a:ea typeface="ＭＳ Ｐゴシック" pitchFamily="50" charset="-128"/>
              </a:endParaRPr>
            </a:p>
          </p:txBody>
        </p:sp>
        <p:sp>
          <p:nvSpPr>
            <p:cNvPr id="9" name="Rectangle 8"/>
            <p:cNvSpPr>
              <a:spLocks noChangeArrowheads="1"/>
            </p:cNvSpPr>
            <p:nvPr/>
          </p:nvSpPr>
          <p:spPr bwMode="auto">
            <a:xfrm>
              <a:off x="5108931" y="4074794"/>
              <a:ext cx="2360612" cy="1633538"/>
            </a:xfrm>
            <a:prstGeom prst="rect">
              <a:avLst/>
            </a:prstGeom>
            <a:noFill/>
            <a:ln w="12700">
              <a:solidFill>
                <a:schemeClr val="accent1"/>
              </a:solidFill>
              <a:miter lim="800000"/>
              <a:headEnd/>
              <a:tailEnd/>
            </a:ln>
          </p:spPr>
          <p:txBody>
            <a:bodyPr lIns="36000" tIns="36000" rIns="36000"/>
            <a:lstStyle/>
            <a:p>
              <a:pPr algn="ctr">
                <a:defRPr/>
              </a:pPr>
              <a:endParaRPr lang="en-US" dirty="0">
                <a:ea typeface="ＭＳ Ｐゴシック" pitchFamily="50" charset="-128"/>
              </a:endParaRPr>
            </a:p>
          </p:txBody>
        </p:sp>
        <p:sp>
          <p:nvSpPr>
            <p:cNvPr id="10" name="Rectangle 9"/>
            <p:cNvSpPr>
              <a:spLocks noChangeArrowheads="1"/>
            </p:cNvSpPr>
            <p:nvPr/>
          </p:nvSpPr>
          <p:spPr bwMode="auto">
            <a:xfrm>
              <a:off x="2594277" y="4074794"/>
              <a:ext cx="2359025" cy="1633538"/>
            </a:xfrm>
            <a:prstGeom prst="rect">
              <a:avLst/>
            </a:prstGeom>
            <a:noFill/>
            <a:ln w="12700">
              <a:solidFill>
                <a:schemeClr val="accent1"/>
              </a:solidFill>
              <a:miter lim="800000"/>
              <a:headEnd/>
              <a:tailEnd/>
            </a:ln>
          </p:spPr>
          <p:txBody>
            <a:bodyPr lIns="36000" tIns="36000" rIns="36000"/>
            <a:lstStyle/>
            <a:p>
              <a:pPr algn="ctr">
                <a:defRPr/>
              </a:pPr>
              <a:endParaRPr lang="en-US" dirty="0">
                <a:ea typeface="ＭＳ Ｐゴシック" pitchFamily="50" charset="-128"/>
              </a:endParaRPr>
            </a:p>
          </p:txBody>
        </p:sp>
        <p:sp>
          <p:nvSpPr>
            <p:cNvPr id="840715" name="Text Placeholder 12"/>
            <p:cNvSpPr>
              <a:spLocks/>
            </p:cNvSpPr>
            <p:nvPr>
              <p:custDataLst>
                <p:tags r:id="rId4"/>
              </p:custDataLst>
            </p:nvPr>
          </p:nvSpPr>
          <p:spPr bwMode="auto">
            <a:xfrm>
              <a:off x="4724535" y="1700213"/>
              <a:ext cx="598820" cy="184666"/>
            </a:xfrm>
            <a:prstGeom prst="rect">
              <a:avLst/>
            </a:prstGeom>
            <a:noFill/>
            <a:ln w="9525">
              <a:noFill/>
              <a:miter lim="800000"/>
              <a:headEnd/>
              <a:tailEnd/>
            </a:ln>
          </p:spPr>
          <p:txBody>
            <a:bodyPr wrap="square" lIns="0" tIns="0" rIns="0" bIns="0" anchor="ctr" anchorCtr="0">
              <a:spAutoFit/>
            </a:bodyPr>
            <a:lstStyle/>
            <a:p>
              <a:pPr algn="ctr" defTabSz="1019175">
                <a:spcAft>
                  <a:spcPts val="300"/>
                </a:spcAft>
              </a:pPr>
              <a:r>
                <a:rPr lang="en-US" sz="1200" dirty="0"/>
                <a:t>Text</a:t>
              </a:r>
            </a:p>
          </p:txBody>
        </p:sp>
      </p:grpSp>
      <p:sp>
        <p:nvSpPr>
          <p:cNvPr id="840716" name="Text Placeholder 12"/>
          <p:cNvSpPr>
            <a:spLocks/>
          </p:cNvSpPr>
          <p:nvPr>
            <p:custDataLst>
              <p:tags r:id="rId1"/>
            </p:custDataLst>
          </p:nvPr>
        </p:nvSpPr>
        <p:spPr bwMode="auto">
          <a:xfrm>
            <a:off x="5795135" y="6083522"/>
            <a:ext cx="598820" cy="184666"/>
          </a:xfrm>
          <a:prstGeom prst="rect">
            <a:avLst/>
          </a:prstGeom>
          <a:noFill/>
          <a:ln w="9525">
            <a:noFill/>
            <a:miter lim="800000"/>
            <a:headEnd/>
            <a:tailEnd/>
          </a:ln>
        </p:spPr>
        <p:txBody>
          <a:bodyPr wrap="square" lIns="0" tIns="0" rIns="0" bIns="0" anchor="ctr" anchorCtr="0">
            <a:spAutoFit/>
          </a:bodyPr>
          <a:lstStyle/>
          <a:p>
            <a:pPr algn="ctr" defTabSz="1019175">
              <a:spcAft>
                <a:spcPts val="300"/>
              </a:spcAft>
            </a:pPr>
            <a:r>
              <a:rPr lang="en-US" sz="1200" dirty="0"/>
              <a:t>Text</a:t>
            </a:r>
          </a:p>
        </p:txBody>
      </p:sp>
    </p:spTree>
    <p:extLst>
      <p:ext uri="{BB962C8B-B14F-4D97-AF65-F5344CB8AC3E}">
        <p14:creationId xmlns:p14="http://schemas.microsoft.com/office/powerpoint/2010/main" val="3625486644"/>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Funnels</a:t>
            </a:r>
          </a:p>
        </p:txBody>
      </p:sp>
      <p:sp>
        <p:nvSpPr>
          <p:cNvPr id="366601" name="Title 1"/>
          <p:cNvSpPr>
            <a:spLocks noGrp="1"/>
          </p:cNvSpPr>
          <p:nvPr>
            <p:ph type="title"/>
          </p:nvPr>
        </p:nvSpPr>
        <p:spPr/>
        <p:txBody>
          <a:bodyPr/>
          <a:lstStyle/>
          <a:p>
            <a:r>
              <a:rPr lang="en-US" altLang="ja-JP" dirty="0"/>
              <a:t>Other</a:t>
            </a:r>
            <a:endParaRPr lang="en-US" dirty="0">
              <a:solidFill>
                <a:schemeClr val="tx2"/>
              </a:solidFill>
            </a:endParaRPr>
          </a:p>
        </p:txBody>
      </p:sp>
      <p:sp>
        <p:nvSpPr>
          <p:cNvPr id="35" name="TextBox 34"/>
          <p:cNvSpPr txBox="1"/>
          <p:nvPr/>
        </p:nvSpPr>
        <p:spPr bwMode="gray">
          <a:xfrm>
            <a:off x="3980361" y="1710507"/>
            <a:ext cx="2845627" cy="200055"/>
          </a:xfrm>
          <a:prstGeom prst="rect">
            <a:avLst/>
          </a:prstGeom>
          <a:noFill/>
        </p:spPr>
        <p:txBody>
          <a:bodyPr wrap="square" lIns="0" tIns="0" rIns="0" bIns="0" rtlCol="0">
            <a:noAutofit/>
          </a:bodyPr>
          <a:lstStyle/>
          <a:p>
            <a:pPr algn="ctr"/>
            <a:r>
              <a:rPr lang="en-US" sz="1300" dirty="0"/>
              <a:t>Chart title goes here</a:t>
            </a:r>
          </a:p>
        </p:txBody>
      </p:sp>
      <p:sp>
        <p:nvSpPr>
          <p:cNvPr id="36" name="TextBox 35"/>
          <p:cNvSpPr txBox="1"/>
          <p:nvPr/>
        </p:nvSpPr>
        <p:spPr bwMode="gray">
          <a:xfrm>
            <a:off x="8192985" y="1710507"/>
            <a:ext cx="2845627" cy="200055"/>
          </a:xfrm>
          <a:prstGeom prst="rect">
            <a:avLst/>
          </a:prstGeom>
          <a:noFill/>
        </p:spPr>
        <p:txBody>
          <a:bodyPr wrap="square" lIns="0" tIns="0" rIns="0" bIns="0" rtlCol="0">
            <a:noAutofit/>
          </a:bodyPr>
          <a:lstStyle/>
          <a:p>
            <a:pPr algn="ctr"/>
            <a:r>
              <a:rPr lang="en-US" sz="1300" dirty="0"/>
              <a:t>Chart title goes here</a:t>
            </a:r>
          </a:p>
        </p:txBody>
      </p:sp>
      <p:grpSp>
        <p:nvGrpSpPr>
          <p:cNvPr id="2" name="Group 1">
            <a:extLst>
              <a:ext uri="{FF2B5EF4-FFF2-40B4-BE49-F238E27FC236}">
                <a16:creationId xmlns:a16="http://schemas.microsoft.com/office/drawing/2014/main" id="{CE1FC7E4-B626-4D2B-9EE0-4BD174E4D5FF}"/>
              </a:ext>
            </a:extLst>
          </p:cNvPr>
          <p:cNvGrpSpPr/>
          <p:nvPr/>
        </p:nvGrpSpPr>
        <p:grpSpPr>
          <a:xfrm>
            <a:off x="624088" y="2286001"/>
            <a:ext cx="10926682" cy="3636578"/>
            <a:chOff x="1908175" y="2286001"/>
            <a:chExt cx="8189914" cy="2725737"/>
          </a:xfrm>
        </p:grpSpPr>
        <p:sp>
          <p:nvSpPr>
            <p:cNvPr id="18" name="Freeform 17"/>
            <p:cNvSpPr>
              <a:spLocks/>
            </p:cNvSpPr>
            <p:nvPr/>
          </p:nvSpPr>
          <p:spPr bwMode="auto">
            <a:xfrm>
              <a:off x="7262814" y="2679700"/>
              <a:ext cx="2547937" cy="1879600"/>
            </a:xfrm>
            <a:custGeom>
              <a:avLst/>
              <a:gdLst/>
              <a:ahLst/>
              <a:cxnLst>
                <a:cxn ang="0">
                  <a:pos x="0" y="0"/>
                </a:cxn>
                <a:cxn ang="0">
                  <a:pos x="446" y="947"/>
                </a:cxn>
                <a:cxn ang="0">
                  <a:pos x="844" y="950"/>
                </a:cxn>
                <a:cxn ang="0">
                  <a:pos x="1290" y="3"/>
                </a:cxn>
                <a:cxn ang="0">
                  <a:pos x="0" y="0"/>
                </a:cxn>
              </a:cxnLst>
              <a:rect l="0" t="0" r="r" b="b"/>
              <a:pathLst>
                <a:path w="1291" h="951">
                  <a:moveTo>
                    <a:pt x="0" y="0"/>
                  </a:moveTo>
                  <a:lnTo>
                    <a:pt x="446" y="947"/>
                  </a:lnTo>
                  <a:lnTo>
                    <a:pt x="844" y="950"/>
                  </a:lnTo>
                  <a:lnTo>
                    <a:pt x="1290" y="3"/>
                  </a:lnTo>
                  <a:lnTo>
                    <a:pt x="0" y="0"/>
                  </a:lnTo>
                </a:path>
              </a:pathLst>
            </a:custGeom>
            <a:solidFill>
              <a:schemeClr val="accent3"/>
            </a:solidFill>
            <a:ln w="9525" cap="rnd" cmpd="sng">
              <a:solidFill>
                <a:schemeClr val="bg1"/>
              </a:solidFill>
              <a:prstDash val="solid"/>
              <a:round/>
              <a:headEnd type="none" w="med" len="med"/>
              <a:tailEnd type="none" w="med" len="med"/>
            </a:ln>
            <a:effectLst/>
          </p:spPr>
          <p:txBody>
            <a:bodyPr/>
            <a:lstStyle/>
            <a:p>
              <a:pPr>
                <a:defRPr/>
              </a:pPr>
              <a:endParaRPr lang="en-US" dirty="0"/>
            </a:p>
          </p:txBody>
        </p:sp>
        <p:sp>
          <p:nvSpPr>
            <p:cNvPr id="17" name="Rectangle 16"/>
            <p:cNvSpPr>
              <a:spLocks noChangeArrowheads="1"/>
            </p:cNvSpPr>
            <p:nvPr/>
          </p:nvSpPr>
          <p:spPr bwMode="auto">
            <a:xfrm>
              <a:off x="8142287" y="4551363"/>
              <a:ext cx="788988" cy="112713"/>
            </a:xfrm>
            <a:prstGeom prst="rect">
              <a:avLst/>
            </a:prstGeom>
            <a:solidFill>
              <a:schemeClr val="accent3"/>
            </a:solidFill>
            <a:ln w="9525">
              <a:solidFill>
                <a:schemeClr val="bg1"/>
              </a:solidFill>
              <a:miter lim="800000"/>
              <a:headEnd/>
              <a:tailEnd/>
            </a:ln>
          </p:spPr>
          <p:txBody>
            <a:bodyPr wrap="none" anchor="ctr"/>
            <a:lstStyle/>
            <a:p>
              <a:pPr algn="ctr">
                <a:defRPr/>
              </a:pPr>
              <a:endParaRPr lang="en-US" dirty="0"/>
            </a:p>
          </p:txBody>
        </p:sp>
        <p:sp>
          <p:nvSpPr>
            <p:cNvPr id="5" name="AutoShape 4"/>
            <p:cNvSpPr>
              <a:spLocks noChangeAspect="1" noChangeArrowheads="1"/>
            </p:cNvSpPr>
            <p:nvPr/>
          </p:nvSpPr>
          <p:spPr bwMode="auto">
            <a:xfrm rot="10800000" flipH="1">
              <a:off x="1908175" y="2679701"/>
              <a:ext cx="1989138" cy="2332037"/>
            </a:xfrm>
            <a:prstGeom prst="triangle">
              <a:avLst>
                <a:gd name="adj" fmla="val 49995"/>
              </a:avLst>
            </a:prstGeom>
            <a:solidFill>
              <a:schemeClr val="bg1"/>
            </a:solidFill>
            <a:ln w="19050">
              <a:solidFill>
                <a:schemeClr val="accent3"/>
              </a:solidFill>
              <a:miter lim="800000"/>
              <a:headEnd/>
              <a:tailEnd/>
            </a:ln>
          </p:spPr>
          <p:txBody>
            <a:bodyPr wrap="none" anchor="ctr"/>
            <a:lstStyle/>
            <a:p>
              <a:pPr algn="ctr">
                <a:defRPr/>
              </a:pPr>
              <a:endParaRPr lang="en-US" dirty="0"/>
            </a:p>
          </p:txBody>
        </p:sp>
        <p:sp>
          <p:nvSpPr>
            <p:cNvPr id="6" name="Line 5"/>
            <p:cNvSpPr>
              <a:spLocks noChangeAspect="1" noChangeShapeType="1"/>
            </p:cNvSpPr>
            <p:nvPr/>
          </p:nvSpPr>
          <p:spPr bwMode="auto">
            <a:xfrm>
              <a:off x="1987459" y="2865378"/>
              <a:ext cx="1830571" cy="0"/>
            </a:xfrm>
            <a:prstGeom prst="line">
              <a:avLst/>
            </a:prstGeom>
            <a:noFill/>
            <a:ln w="19050">
              <a:solidFill>
                <a:schemeClr val="accent1"/>
              </a:solidFill>
              <a:prstDash val="sysDash"/>
              <a:round/>
              <a:headEnd type="none" w="sm" len="sm"/>
              <a:tailEnd type="none" w="sm" len="sm"/>
            </a:ln>
          </p:spPr>
          <p:txBody>
            <a:bodyPr/>
            <a:lstStyle/>
            <a:p>
              <a:pPr>
                <a:defRPr/>
              </a:pPr>
              <a:endParaRPr lang="en-US" dirty="0"/>
            </a:p>
          </p:txBody>
        </p:sp>
        <p:sp>
          <p:nvSpPr>
            <p:cNvPr id="7" name="Line 6"/>
            <p:cNvSpPr>
              <a:spLocks noChangeAspect="1" noChangeShapeType="1"/>
            </p:cNvSpPr>
            <p:nvPr/>
          </p:nvSpPr>
          <p:spPr bwMode="auto">
            <a:xfrm>
              <a:off x="2783819" y="4726005"/>
              <a:ext cx="237851" cy="0"/>
            </a:xfrm>
            <a:prstGeom prst="line">
              <a:avLst/>
            </a:prstGeom>
            <a:noFill/>
            <a:ln w="19050">
              <a:solidFill>
                <a:schemeClr val="accent1"/>
              </a:solidFill>
              <a:prstDash val="sysDash"/>
              <a:round/>
              <a:headEnd type="none" w="sm" len="sm"/>
              <a:tailEnd type="none" w="sm" len="sm"/>
            </a:ln>
          </p:spPr>
          <p:txBody>
            <a:bodyPr/>
            <a:lstStyle/>
            <a:p>
              <a:pPr>
                <a:defRPr/>
              </a:pPr>
              <a:endParaRPr lang="en-US" dirty="0"/>
            </a:p>
          </p:txBody>
        </p:sp>
        <p:sp>
          <p:nvSpPr>
            <p:cNvPr id="8" name="Line 7"/>
            <p:cNvSpPr>
              <a:spLocks noChangeAspect="1" noChangeShapeType="1"/>
            </p:cNvSpPr>
            <p:nvPr/>
          </p:nvSpPr>
          <p:spPr bwMode="auto">
            <a:xfrm>
              <a:off x="2491349" y="4046789"/>
              <a:ext cx="822788" cy="0"/>
            </a:xfrm>
            <a:prstGeom prst="line">
              <a:avLst/>
            </a:prstGeom>
            <a:noFill/>
            <a:ln w="19050">
              <a:solidFill>
                <a:schemeClr val="accent1"/>
              </a:solidFill>
              <a:prstDash val="sysDash"/>
              <a:round/>
              <a:headEnd type="none" w="sm" len="sm"/>
              <a:tailEnd type="none" w="sm" len="sm"/>
            </a:ln>
          </p:spPr>
          <p:txBody>
            <a:bodyPr/>
            <a:lstStyle/>
            <a:p>
              <a:pPr>
                <a:defRPr/>
              </a:pPr>
              <a:endParaRPr lang="en-US" dirty="0"/>
            </a:p>
          </p:txBody>
        </p:sp>
        <p:sp>
          <p:nvSpPr>
            <p:cNvPr id="9" name="Line 8"/>
            <p:cNvSpPr>
              <a:spLocks noChangeAspect="1" noChangeShapeType="1"/>
            </p:cNvSpPr>
            <p:nvPr/>
          </p:nvSpPr>
          <p:spPr bwMode="auto">
            <a:xfrm>
              <a:off x="2238524" y="3453197"/>
              <a:ext cx="1328441" cy="0"/>
            </a:xfrm>
            <a:prstGeom prst="line">
              <a:avLst/>
            </a:prstGeom>
            <a:noFill/>
            <a:ln w="19050">
              <a:solidFill>
                <a:schemeClr val="accent1"/>
              </a:solidFill>
              <a:prstDash val="sysDash"/>
              <a:round/>
              <a:headEnd type="none" w="sm" len="sm"/>
              <a:tailEnd type="none" w="sm" len="sm"/>
            </a:ln>
          </p:spPr>
          <p:txBody>
            <a:bodyPr/>
            <a:lstStyle/>
            <a:p>
              <a:pPr>
                <a:defRPr/>
              </a:pPr>
              <a:endParaRPr lang="en-US" dirty="0"/>
            </a:p>
          </p:txBody>
        </p:sp>
        <p:sp>
          <p:nvSpPr>
            <p:cNvPr id="11" name="Freeform 10"/>
            <p:cNvSpPr>
              <a:spLocks/>
            </p:cNvSpPr>
            <p:nvPr/>
          </p:nvSpPr>
          <p:spPr bwMode="auto">
            <a:xfrm>
              <a:off x="4267720" y="2679701"/>
              <a:ext cx="2778125" cy="1947863"/>
            </a:xfrm>
            <a:custGeom>
              <a:avLst/>
              <a:gdLst/>
              <a:ahLst/>
              <a:cxnLst>
                <a:cxn ang="0">
                  <a:pos x="0" y="0"/>
                </a:cxn>
                <a:cxn ang="0">
                  <a:pos x="401" y="405"/>
                </a:cxn>
                <a:cxn ang="0">
                  <a:pos x="418" y="745"/>
                </a:cxn>
                <a:cxn ang="0">
                  <a:pos x="419" y="754"/>
                </a:cxn>
                <a:cxn ang="0">
                  <a:pos x="422" y="761"/>
                </a:cxn>
                <a:cxn ang="0">
                  <a:pos x="425" y="765"/>
                </a:cxn>
                <a:cxn ang="0">
                  <a:pos x="430" y="769"/>
                </a:cxn>
                <a:cxn ang="0">
                  <a:pos x="436" y="774"/>
                </a:cxn>
                <a:cxn ang="0">
                  <a:pos x="442" y="777"/>
                </a:cxn>
                <a:cxn ang="0">
                  <a:pos x="451" y="781"/>
                </a:cxn>
                <a:cxn ang="0">
                  <a:pos x="461" y="784"/>
                </a:cxn>
                <a:cxn ang="0">
                  <a:pos x="473" y="785"/>
                </a:cxn>
                <a:cxn ang="0">
                  <a:pos x="481" y="786"/>
                </a:cxn>
                <a:cxn ang="0">
                  <a:pos x="488" y="786"/>
                </a:cxn>
                <a:cxn ang="0">
                  <a:pos x="496" y="785"/>
                </a:cxn>
                <a:cxn ang="0">
                  <a:pos x="504" y="784"/>
                </a:cxn>
                <a:cxn ang="0">
                  <a:pos x="512" y="780"/>
                </a:cxn>
                <a:cxn ang="0">
                  <a:pos x="521" y="777"/>
                </a:cxn>
                <a:cxn ang="0">
                  <a:pos x="527" y="774"/>
                </a:cxn>
                <a:cxn ang="0">
                  <a:pos x="533" y="768"/>
                </a:cxn>
                <a:cxn ang="0">
                  <a:pos x="538" y="763"/>
                </a:cxn>
                <a:cxn ang="0">
                  <a:pos x="542" y="755"/>
                </a:cxn>
                <a:cxn ang="0">
                  <a:pos x="543" y="747"/>
                </a:cxn>
                <a:cxn ang="0">
                  <a:pos x="569" y="398"/>
                </a:cxn>
                <a:cxn ang="0">
                  <a:pos x="961" y="0"/>
                </a:cxn>
                <a:cxn ang="0">
                  <a:pos x="0" y="0"/>
                </a:cxn>
              </a:cxnLst>
              <a:rect l="0" t="0" r="r" b="b"/>
              <a:pathLst>
                <a:path w="962" h="787">
                  <a:moveTo>
                    <a:pt x="0" y="0"/>
                  </a:moveTo>
                  <a:lnTo>
                    <a:pt x="401" y="405"/>
                  </a:lnTo>
                  <a:lnTo>
                    <a:pt x="418" y="745"/>
                  </a:lnTo>
                  <a:lnTo>
                    <a:pt x="419" y="754"/>
                  </a:lnTo>
                  <a:lnTo>
                    <a:pt x="422" y="761"/>
                  </a:lnTo>
                  <a:lnTo>
                    <a:pt x="425" y="765"/>
                  </a:lnTo>
                  <a:lnTo>
                    <a:pt x="430" y="769"/>
                  </a:lnTo>
                  <a:lnTo>
                    <a:pt x="436" y="774"/>
                  </a:lnTo>
                  <a:lnTo>
                    <a:pt x="442" y="777"/>
                  </a:lnTo>
                  <a:lnTo>
                    <a:pt x="451" y="781"/>
                  </a:lnTo>
                  <a:lnTo>
                    <a:pt x="461" y="784"/>
                  </a:lnTo>
                  <a:lnTo>
                    <a:pt x="473" y="785"/>
                  </a:lnTo>
                  <a:lnTo>
                    <a:pt x="481" y="786"/>
                  </a:lnTo>
                  <a:lnTo>
                    <a:pt x="488" y="786"/>
                  </a:lnTo>
                  <a:lnTo>
                    <a:pt x="496" y="785"/>
                  </a:lnTo>
                  <a:lnTo>
                    <a:pt x="504" y="784"/>
                  </a:lnTo>
                  <a:lnTo>
                    <a:pt x="512" y="780"/>
                  </a:lnTo>
                  <a:lnTo>
                    <a:pt x="521" y="777"/>
                  </a:lnTo>
                  <a:lnTo>
                    <a:pt x="527" y="774"/>
                  </a:lnTo>
                  <a:lnTo>
                    <a:pt x="533" y="768"/>
                  </a:lnTo>
                  <a:lnTo>
                    <a:pt x="538" y="763"/>
                  </a:lnTo>
                  <a:lnTo>
                    <a:pt x="542" y="755"/>
                  </a:lnTo>
                  <a:lnTo>
                    <a:pt x="543" y="747"/>
                  </a:lnTo>
                  <a:lnTo>
                    <a:pt x="569" y="398"/>
                  </a:lnTo>
                  <a:lnTo>
                    <a:pt x="961" y="0"/>
                  </a:lnTo>
                  <a:lnTo>
                    <a:pt x="0" y="0"/>
                  </a:lnTo>
                </a:path>
              </a:pathLst>
            </a:custGeom>
            <a:solidFill>
              <a:schemeClr val="accent3"/>
            </a:solidFill>
            <a:ln w="9525" cap="rnd">
              <a:solidFill>
                <a:schemeClr val="bg1"/>
              </a:solidFill>
              <a:round/>
              <a:headEnd/>
              <a:tailEnd/>
            </a:ln>
            <a:effectLst/>
          </p:spPr>
          <p:txBody>
            <a:bodyPr/>
            <a:lstStyle/>
            <a:p>
              <a:pPr>
                <a:defRPr/>
              </a:pPr>
              <a:endParaRPr lang="en-US" dirty="0"/>
            </a:p>
          </p:txBody>
        </p:sp>
        <p:sp>
          <p:nvSpPr>
            <p:cNvPr id="366617" name="Freeform 13"/>
            <p:cNvSpPr>
              <a:spLocks/>
            </p:cNvSpPr>
            <p:nvPr/>
          </p:nvSpPr>
          <p:spPr bwMode="auto">
            <a:xfrm>
              <a:off x="4897850" y="3016251"/>
              <a:ext cx="1535113" cy="1522413"/>
            </a:xfrm>
            <a:custGeom>
              <a:avLst/>
              <a:gdLst>
                <a:gd name="T0" fmla="*/ 0 w 535"/>
                <a:gd name="T1" fmla="*/ 0 h 590"/>
                <a:gd name="T2" fmla="*/ 398 w 535"/>
                <a:gd name="T3" fmla="*/ 358 h 590"/>
                <a:gd name="T4" fmla="*/ 407 w 535"/>
                <a:gd name="T5" fmla="*/ 920 h 590"/>
                <a:gd name="T6" fmla="*/ 414 w 535"/>
                <a:gd name="T7" fmla="*/ 930 h 590"/>
                <a:gd name="T8" fmla="*/ 423 w 535"/>
                <a:gd name="T9" fmla="*/ 938 h 590"/>
                <a:gd name="T10" fmla="*/ 430 w 535"/>
                <a:gd name="T11" fmla="*/ 944 h 590"/>
                <a:gd name="T12" fmla="*/ 443 w 535"/>
                <a:gd name="T13" fmla="*/ 951 h 590"/>
                <a:gd name="T14" fmla="*/ 465 w 535"/>
                <a:gd name="T15" fmla="*/ 956 h 590"/>
                <a:gd name="T16" fmla="*/ 484 w 535"/>
                <a:gd name="T17" fmla="*/ 959 h 590"/>
                <a:gd name="T18" fmla="*/ 499 w 535"/>
                <a:gd name="T19" fmla="*/ 957 h 590"/>
                <a:gd name="T20" fmla="*/ 515 w 535"/>
                <a:gd name="T21" fmla="*/ 956 h 590"/>
                <a:gd name="T22" fmla="*/ 531 w 535"/>
                <a:gd name="T23" fmla="*/ 949 h 590"/>
                <a:gd name="T24" fmla="*/ 544 w 535"/>
                <a:gd name="T25" fmla="*/ 939 h 590"/>
                <a:gd name="T26" fmla="*/ 553 w 535"/>
                <a:gd name="T27" fmla="*/ 926 h 590"/>
                <a:gd name="T28" fmla="*/ 559 w 535"/>
                <a:gd name="T29" fmla="*/ 920 h 590"/>
                <a:gd name="T30" fmla="*/ 582 w 535"/>
                <a:gd name="T31" fmla="*/ 354 h 590"/>
                <a:gd name="T32" fmla="*/ 967 w 535"/>
                <a:gd name="T33" fmla="*/ 0 h 590"/>
                <a:gd name="T34" fmla="*/ 0 w 535"/>
                <a:gd name="T35" fmla="*/ 0 h 5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5"/>
                <a:gd name="T55" fmla="*/ 0 h 590"/>
                <a:gd name="T56" fmla="*/ 535 w 535"/>
                <a:gd name="T57" fmla="*/ 590 h 5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5" h="590">
                  <a:moveTo>
                    <a:pt x="0" y="0"/>
                  </a:moveTo>
                  <a:lnTo>
                    <a:pt x="220" y="220"/>
                  </a:lnTo>
                  <a:cubicBezTo>
                    <a:pt x="222" y="337"/>
                    <a:pt x="223" y="449"/>
                    <a:pt x="225" y="566"/>
                  </a:cubicBezTo>
                  <a:cubicBezTo>
                    <a:pt x="226" y="568"/>
                    <a:pt x="228" y="570"/>
                    <a:pt x="229" y="572"/>
                  </a:cubicBezTo>
                  <a:lnTo>
                    <a:pt x="234" y="577"/>
                  </a:lnTo>
                  <a:lnTo>
                    <a:pt x="238" y="581"/>
                  </a:lnTo>
                  <a:cubicBezTo>
                    <a:pt x="240" y="582"/>
                    <a:pt x="243" y="584"/>
                    <a:pt x="245" y="585"/>
                  </a:cubicBezTo>
                  <a:lnTo>
                    <a:pt x="257" y="588"/>
                  </a:lnTo>
                  <a:cubicBezTo>
                    <a:pt x="261" y="589"/>
                    <a:pt x="264" y="589"/>
                    <a:pt x="268" y="590"/>
                  </a:cubicBezTo>
                  <a:cubicBezTo>
                    <a:pt x="271" y="590"/>
                    <a:pt x="273" y="589"/>
                    <a:pt x="276" y="589"/>
                  </a:cubicBezTo>
                  <a:cubicBezTo>
                    <a:pt x="279" y="589"/>
                    <a:pt x="282" y="588"/>
                    <a:pt x="285" y="588"/>
                  </a:cubicBezTo>
                  <a:cubicBezTo>
                    <a:pt x="288" y="587"/>
                    <a:pt x="291" y="585"/>
                    <a:pt x="294" y="584"/>
                  </a:cubicBezTo>
                  <a:cubicBezTo>
                    <a:pt x="296" y="582"/>
                    <a:pt x="299" y="580"/>
                    <a:pt x="301" y="578"/>
                  </a:cubicBezTo>
                  <a:cubicBezTo>
                    <a:pt x="303" y="575"/>
                    <a:pt x="304" y="573"/>
                    <a:pt x="306" y="570"/>
                  </a:cubicBezTo>
                  <a:cubicBezTo>
                    <a:pt x="307" y="569"/>
                    <a:pt x="308" y="567"/>
                    <a:pt x="309" y="566"/>
                  </a:cubicBezTo>
                  <a:cubicBezTo>
                    <a:pt x="313" y="446"/>
                    <a:pt x="318" y="338"/>
                    <a:pt x="322" y="218"/>
                  </a:cubicBezTo>
                  <a:lnTo>
                    <a:pt x="535" y="0"/>
                  </a:lnTo>
                  <a:lnTo>
                    <a:pt x="0" y="0"/>
                  </a:lnTo>
                </a:path>
              </a:pathLst>
            </a:custGeom>
            <a:solidFill>
              <a:schemeClr val="accent1"/>
            </a:solidFill>
            <a:ln w="9525" cap="rnd">
              <a:noFill/>
              <a:round/>
              <a:headEnd/>
              <a:tailEnd/>
            </a:ln>
          </p:spPr>
          <p:txBody>
            <a:bodyPr/>
            <a:lstStyle/>
            <a:p>
              <a:endParaRPr lang="en-US" dirty="0"/>
            </a:p>
          </p:txBody>
        </p:sp>
        <p:cxnSp>
          <p:nvCxnSpPr>
            <p:cNvPr id="43" name="Straight Connector 42"/>
            <p:cNvCxnSpPr/>
            <p:nvPr/>
          </p:nvCxnSpPr>
          <p:spPr>
            <a:xfrm flipV="1">
              <a:off x="7262814" y="2679700"/>
              <a:ext cx="254793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7605714" y="3413125"/>
              <a:ext cx="186213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7943851" y="4144962"/>
              <a:ext cx="117951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66597" name="AutoShape 19"/>
            <p:cNvSpPr>
              <a:spLocks noChangeArrowheads="1"/>
            </p:cNvSpPr>
            <p:nvPr/>
          </p:nvSpPr>
          <p:spPr bwMode="auto">
            <a:xfrm rot="16200000" flipH="1">
              <a:off x="7508875" y="2278062"/>
              <a:ext cx="312738" cy="382588"/>
            </a:xfrm>
            <a:prstGeom prst="rightArrow">
              <a:avLst>
                <a:gd name="adj1" fmla="val 50000"/>
                <a:gd name="adj2" fmla="val 29014"/>
              </a:avLst>
            </a:prstGeom>
            <a:solidFill>
              <a:schemeClr val="accent1"/>
            </a:solidFill>
            <a:ln w="9525">
              <a:noFill/>
              <a:miter lim="800000"/>
              <a:headEnd/>
              <a:tailEnd/>
            </a:ln>
          </p:spPr>
          <p:txBody>
            <a:bodyPr wrap="none" anchor="ctr"/>
            <a:lstStyle/>
            <a:p>
              <a:pPr algn="ctr"/>
              <a:endParaRPr lang="en-US" dirty="0"/>
            </a:p>
          </p:txBody>
        </p:sp>
        <p:sp>
          <p:nvSpPr>
            <p:cNvPr id="366598" name="Freeform 23"/>
            <p:cNvSpPr>
              <a:spLocks/>
            </p:cNvSpPr>
            <p:nvPr/>
          </p:nvSpPr>
          <p:spPr bwMode="auto">
            <a:xfrm>
              <a:off x="9224963" y="3079751"/>
              <a:ext cx="620712" cy="358775"/>
            </a:xfrm>
            <a:custGeom>
              <a:avLst/>
              <a:gdLst>
                <a:gd name="T0" fmla="*/ 2027370 w 314"/>
                <a:gd name="T1" fmla="*/ 226698 h 182"/>
                <a:gd name="T2" fmla="*/ 2035266 w 314"/>
                <a:gd name="T3" fmla="*/ 818086 h 182"/>
                <a:gd name="T4" fmla="*/ 1101531 w 314"/>
                <a:gd name="T5" fmla="*/ 847655 h 182"/>
                <a:gd name="T6" fmla="*/ 1348290 w 314"/>
                <a:gd name="T7" fmla="*/ 680095 h 182"/>
                <a:gd name="T8" fmla="*/ 919917 w 314"/>
                <a:gd name="T9" fmla="*/ 392287 h 182"/>
                <a:gd name="T10" fmla="*/ 825161 w 314"/>
                <a:gd name="T11" fmla="*/ 364689 h 182"/>
                <a:gd name="T12" fmla="*/ 722510 w 314"/>
                <a:gd name="T13" fmla="*/ 374545 h 182"/>
                <a:gd name="T14" fmla="*/ 598143 w 314"/>
                <a:gd name="T15" fmla="*/ 412000 h 182"/>
                <a:gd name="T16" fmla="*/ 454036 w 314"/>
                <a:gd name="T17" fmla="*/ 488880 h 182"/>
                <a:gd name="T18" fmla="*/ 321773 w 314"/>
                <a:gd name="T19" fmla="*/ 579560 h 182"/>
                <a:gd name="T20" fmla="*/ 0 w 314"/>
                <a:gd name="T21" fmla="*/ 362718 h 182"/>
                <a:gd name="T22" fmla="*/ 223070 w 314"/>
                <a:gd name="T23" fmla="*/ 214871 h 182"/>
                <a:gd name="T24" fmla="*/ 315851 w 314"/>
                <a:gd name="T25" fmla="*/ 171502 h 182"/>
                <a:gd name="T26" fmla="*/ 434295 w 314"/>
                <a:gd name="T27" fmla="*/ 112364 h 182"/>
                <a:gd name="T28" fmla="*/ 529051 w 314"/>
                <a:gd name="T29" fmla="*/ 78852 h 182"/>
                <a:gd name="T30" fmla="*/ 621832 w 314"/>
                <a:gd name="T31" fmla="*/ 41397 h 182"/>
                <a:gd name="T32" fmla="*/ 726458 w 314"/>
                <a:gd name="T33" fmla="*/ 13799 h 182"/>
                <a:gd name="T34" fmla="*/ 837006 w 314"/>
                <a:gd name="T35" fmla="*/ 0 h 182"/>
                <a:gd name="T36" fmla="*/ 959398 w 314"/>
                <a:gd name="T37" fmla="*/ 0 h 182"/>
                <a:gd name="T38" fmla="*/ 1065998 w 314"/>
                <a:gd name="T39" fmla="*/ 1971 h 182"/>
                <a:gd name="T40" fmla="*/ 1178520 w 314"/>
                <a:gd name="T41" fmla="*/ 21684 h 182"/>
                <a:gd name="T42" fmla="*/ 1289068 w 314"/>
                <a:gd name="T43" fmla="*/ 61110 h 182"/>
                <a:gd name="T44" fmla="*/ 1350264 w 314"/>
                <a:gd name="T45" fmla="*/ 110392 h 182"/>
                <a:gd name="T46" fmla="*/ 1784559 w 314"/>
                <a:gd name="T47" fmla="*/ 386373 h 182"/>
                <a:gd name="T48" fmla="*/ 2027370 w 314"/>
                <a:gd name="T49" fmla="*/ 226698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2"/>
                <a:gd name="T77" fmla="*/ 314 w 314"/>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2">
                  <a:moveTo>
                    <a:pt x="312" y="48"/>
                  </a:moveTo>
                  <a:lnTo>
                    <a:pt x="313" y="175"/>
                  </a:lnTo>
                  <a:lnTo>
                    <a:pt x="169" y="181"/>
                  </a:lnTo>
                  <a:lnTo>
                    <a:pt x="207" y="145"/>
                  </a:lnTo>
                  <a:lnTo>
                    <a:pt x="142" y="84"/>
                  </a:lnTo>
                  <a:lnTo>
                    <a:pt x="127" y="78"/>
                  </a:lnTo>
                  <a:lnTo>
                    <a:pt x="111" y="80"/>
                  </a:lnTo>
                  <a:lnTo>
                    <a:pt x="92" y="88"/>
                  </a:lnTo>
                  <a:lnTo>
                    <a:pt x="70" y="105"/>
                  </a:lnTo>
                  <a:lnTo>
                    <a:pt x="50" y="124"/>
                  </a:lnTo>
                  <a:lnTo>
                    <a:pt x="0" y="77"/>
                  </a:lnTo>
                  <a:lnTo>
                    <a:pt x="34" y="46"/>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1"/>
            </a:solidFill>
            <a:ln w="9525" cap="rnd">
              <a:noFill/>
              <a:round/>
              <a:headEnd/>
              <a:tailEnd/>
            </a:ln>
          </p:spPr>
          <p:txBody>
            <a:bodyPr/>
            <a:lstStyle/>
            <a:p>
              <a:endParaRPr lang="en-US" dirty="0"/>
            </a:p>
          </p:txBody>
        </p:sp>
        <p:sp>
          <p:nvSpPr>
            <p:cNvPr id="366599" name="Freeform 24"/>
            <p:cNvSpPr>
              <a:spLocks/>
            </p:cNvSpPr>
            <p:nvPr/>
          </p:nvSpPr>
          <p:spPr bwMode="auto">
            <a:xfrm>
              <a:off x="8916988" y="3763963"/>
              <a:ext cx="622300" cy="360363"/>
            </a:xfrm>
            <a:custGeom>
              <a:avLst/>
              <a:gdLst>
                <a:gd name="T0" fmla="*/ 2025710 w 315"/>
                <a:gd name="T1" fmla="*/ 231662 h 182"/>
                <a:gd name="T2" fmla="*/ 2033600 w 315"/>
                <a:gd name="T3" fmla="*/ 837547 h 182"/>
                <a:gd name="T4" fmla="*/ 1102602 w 315"/>
                <a:gd name="T5" fmla="*/ 869227 h 182"/>
                <a:gd name="T6" fmla="*/ 1345214 w 315"/>
                <a:gd name="T7" fmla="*/ 696966 h 182"/>
                <a:gd name="T8" fmla="*/ 921136 w 315"/>
                <a:gd name="T9" fmla="*/ 401943 h 182"/>
                <a:gd name="T10" fmla="*/ 822513 w 315"/>
                <a:gd name="T11" fmla="*/ 372243 h 182"/>
                <a:gd name="T12" fmla="*/ 719946 w 315"/>
                <a:gd name="T13" fmla="*/ 386103 h 182"/>
                <a:gd name="T14" fmla="*/ 599626 w 315"/>
                <a:gd name="T15" fmla="*/ 421743 h 182"/>
                <a:gd name="T16" fmla="*/ 453664 w 315"/>
                <a:gd name="T17" fmla="*/ 500944 h 182"/>
                <a:gd name="T18" fmla="*/ 321510 w 315"/>
                <a:gd name="T19" fmla="*/ 595985 h 182"/>
                <a:gd name="T20" fmla="*/ 0 w 315"/>
                <a:gd name="T21" fmla="*/ 370263 h 182"/>
                <a:gd name="T22" fmla="*/ 220915 w 315"/>
                <a:gd name="T23" fmla="*/ 219782 h 182"/>
                <a:gd name="T24" fmla="*/ 309675 w 315"/>
                <a:gd name="T25" fmla="*/ 172261 h 182"/>
                <a:gd name="T26" fmla="*/ 431967 w 315"/>
                <a:gd name="T27" fmla="*/ 112861 h 182"/>
                <a:gd name="T28" fmla="*/ 528618 w 315"/>
                <a:gd name="T29" fmla="*/ 79201 h 182"/>
                <a:gd name="T30" fmla="*/ 621323 w 315"/>
                <a:gd name="T31" fmla="*/ 41580 h 182"/>
                <a:gd name="T32" fmla="*/ 723891 w 315"/>
                <a:gd name="T33" fmla="*/ 13860 h 182"/>
                <a:gd name="T34" fmla="*/ 836320 w 315"/>
                <a:gd name="T35" fmla="*/ 0 h 182"/>
                <a:gd name="T36" fmla="*/ 968475 w 315"/>
                <a:gd name="T37" fmla="*/ 0 h 182"/>
                <a:gd name="T38" fmla="*/ 1067098 w 315"/>
                <a:gd name="T39" fmla="*/ 1980 h 182"/>
                <a:gd name="T40" fmla="*/ 1179527 w 315"/>
                <a:gd name="T41" fmla="*/ 21780 h 182"/>
                <a:gd name="T42" fmla="*/ 1289985 w 315"/>
                <a:gd name="T43" fmla="*/ 61381 h 182"/>
                <a:gd name="T44" fmla="*/ 1351131 w 315"/>
                <a:gd name="T45" fmla="*/ 110881 h 182"/>
                <a:gd name="T46" fmla="*/ 1789016 w 315"/>
                <a:gd name="T47" fmla="*/ 390063 h 182"/>
                <a:gd name="T48" fmla="*/ 2025710 w 315"/>
                <a:gd name="T49" fmla="*/ 231662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5"/>
                <a:gd name="T76" fmla="*/ 0 h 182"/>
                <a:gd name="T77" fmla="*/ 315 w 315"/>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5" h="182">
                  <a:moveTo>
                    <a:pt x="313" y="48"/>
                  </a:moveTo>
                  <a:lnTo>
                    <a:pt x="314" y="175"/>
                  </a:lnTo>
                  <a:lnTo>
                    <a:pt x="170" y="181"/>
                  </a:lnTo>
                  <a:lnTo>
                    <a:pt x="208" y="145"/>
                  </a:lnTo>
                  <a:lnTo>
                    <a:pt x="143" y="84"/>
                  </a:lnTo>
                  <a:lnTo>
                    <a:pt x="127" y="78"/>
                  </a:lnTo>
                  <a:lnTo>
                    <a:pt x="111" y="80"/>
                  </a:lnTo>
                  <a:lnTo>
                    <a:pt x="93" y="88"/>
                  </a:lnTo>
                  <a:lnTo>
                    <a:pt x="70" y="105"/>
                  </a:lnTo>
                  <a:lnTo>
                    <a:pt x="50" y="124"/>
                  </a:lnTo>
                  <a:lnTo>
                    <a:pt x="0" y="77"/>
                  </a:lnTo>
                  <a:lnTo>
                    <a:pt x="34" y="46"/>
                  </a:lnTo>
                  <a:lnTo>
                    <a:pt x="48" y="36"/>
                  </a:lnTo>
                  <a:lnTo>
                    <a:pt x="67" y="24"/>
                  </a:lnTo>
                  <a:lnTo>
                    <a:pt x="82" y="17"/>
                  </a:lnTo>
                  <a:lnTo>
                    <a:pt x="96" y="9"/>
                  </a:lnTo>
                  <a:lnTo>
                    <a:pt x="112" y="3"/>
                  </a:lnTo>
                  <a:lnTo>
                    <a:pt x="129" y="0"/>
                  </a:lnTo>
                  <a:lnTo>
                    <a:pt x="149" y="0"/>
                  </a:lnTo>
                  <a:lnTo>
                    <a:pt x="165" y="1"/>
                  </a:lnTo>
                  <a:lnTo>
                    <a:pt x="182" y="5"/>
                  </a:lnTo>
                  <a:lnTo>
                    <a:pt x="199" y="13"/>
                  </a:lnTo>
                  <a:lnTo>
                    <a:pt x="209" y="23"/>
                  </a:lnTo>
                  <a:lnTo>
                    <a:pt x="276" y="82"/>
                  </a:lnTo>
                  <a:lnTo>
                    <a:pt x="313" y="48"/>
                  </a:lnTo>
                </a:path>
              </a:pathLst>
            </a:custGeom>
            <a:solidFill>
              <a:schemeClr val="accent1"/>
            </a:solidFill>
            <a:ln w="9525" cap="rnd">
              <a:noFill/>
              <a:round/>
              <a:headEnd/>
              <a:tailEnd/>
            </a:ln>
          </p:spPr>
          <p:txBody>
            <a:bodyPr/>
            <a:lstStyle/>
            <a:p>
              <a:endParaRPr lang="en-US" dirty="0"/>
            </a:p>
          </p:txBody>
        </p:sp>
        <p:sp>
          <p:nvSpPr>
            <p:cNvPr id="366600" name="Freeform 25"/>
            <p:cNvSpPr>
              <a:spLocks/>
            </p:cNvSpPr>
            <p:nvPr/>
          </p:nvSpPr>
          <p:spPr bwMode="auto">
            <a:xfrm>
              <a:off x="9477376" y="2351087"/>
              <a:ext cx="620713" cy="361950"/>
            </a:xfrm>
            <a:custGeom>
              <a:avLst/>
              <a:gdLst>
                <a:gd name="T0" fmla="*/ 2027370 w 314"/>
                <a:gd name="T1" fmla="*/ 229433 h 183"/>
                <a:gd name="T2" fmla="*/ 2035266 w 314"/>
                <a:gd name="T3" fmla="*/ 838616 h 183"/>
                <a:gd name="T4" fmla="*/ 1101531 w 314"/>
                <a:gd name="T5" fmla="*/ 870262 h 183"/>
                <a:gd name="T6" fmla="*/ 1348290 w 314"/>
                <a:gd name="T7" fmla="*/ 698188 h 183"/>
                <a:gd name="T8" fmla="*/ 919917 w 314"/>
                <a:gd name="T9" fmla="*/ 403485 h 183"/>
                <a:gd name="T10" fmla="*/ 825161 w 314"/>
                <a:gd name="T11" fmla="*/ 371839 h 183"/>
                <a:gd name="T12" fmla="*/ 722510 w 314"/>
                <a:gd name="T13" fmla="*/ 387662 h 183"/>
                <a:gd name="T14" fmla="*/ 598143 w 314"/>
                <a:gd name="T15" fmla="*/ 423264 h 183"/>
                <a:gd name="T16" fmla="*/ 454036 w 314"/>
                <a:gd name="T17" fmla="*/ 500401 h 183"/>
                <a:gd name="T18" fmla="*/ 321773 w 314"/>
                <a:gd name="T19" fmla="*/ 597316 h 183"/>
                <a:gd name="T20" fmla="*/ 0 w 314"/>
                <a:gd name="T21" fmla="*/ 371839 h 183"/>
                <a:gd name="T22" fmla="*/ 223070 w 314"/>
                <a:gd name="T23" fmla="*/ 227455 h 183"/>
                <a:gd name="T24" fmla="*/ 315851 w 314"/>
                <a:gd name="T25" fmla="*/ 172075 h 183"/>
                <a:gd name="T26" fmla="*/ 434295 w 314"/>
                <a:gd name="T27" fmla="*/ 112739 h 183"/>
                <a:gd name="T28" fmla="*/ 529051 w 314"/>
                <a:gd name="T29" fmla="*/ 79115 h 183"/>
                <a:gd name="T30" fmla="*/ 621832 w 314"/>
                <a:gd name="T31" fmla="*/ 41535 h 183"/>
                <a:gd name="T32" fmla="*/ 726458 w 314"/>
                <a:gd name="T33" fmla="*/ 13845 h 183"/>
                <a:gd name="T34" fmla="*/ 837006 w 314"/>
                <a:gd name="T35" fmla="*/ 0 h 183"/>
                <a:gd name="T36" fmla="*/ 959398 w 314"/>
                <a:gd name="T37" fmla="*/ 0 h 183"/>
                <a:gd name="T38" fmla="*/ 1065998 w 314"/>
                <a:gd name="T39" fmla="*/ 1978 h 183"/>
                <a:gd name="T40" fmla="*/ 1178520 w 314"/>
                <a:gd name="T41" fmla="*/ 21757 h 183"/>
                <a:gd name="T42" fmla="*/ 1289068 w 314"/>
                <a:gd name="T43" fmla="*/ 61314 h 183"/>
                <a:gd name="T44" fmla="*/ 1350264 w 314"/>
                <a:gd name="T45" fmla="*/ 110761 h 183"/>
                <a:gd name="T46" fmla="*/ 1784559 w 314"/>
                <a:gd name="T47" fmla="*/ 389640 h 183"/>
                <a:gd name="T48" fmla="*/ 2027370 w 314"/>
                <a:gd name="T49" fmla="*/ 229433 h 1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3"/>
                <a:gd name="T77" fmla="*/ 314 w 314"/>
                <a:gd name="T78" fmla="*/ 183 h 1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3">
                  <a:moveTo>
                    <a:pt x="312" y="48"/>
                  </a:moveTo>
                  <a:lnTo>
                    <a:pt x="313" y="176"/>
                  </a:lnTo>
                  <a:lnTo>
                    <a:pt x="169" y="182"/>
                  </a:lnTo>
                  <a:lnTo>
                    <a:pt x="207" y="146"/>
                  </a:lnTo>
                  <a:lnTo>
                    <a:pt x="142" y="85"/>
                  </a:lnTo>
                  <a:lnTo>
                    <a:pt x="127" y="78"/>
                  </a:lnTo>
                  <a:lnTo>
                    <a:pt x="111" y="81"/>
                  </a:lnTo>
                  <a:lnTo>
                    <a:pt x="92" y="89"/>
                  </a:lnTo>
                  <a:lnTo>
                    <a:pt x="70" y="105"/>
                  </a:lnTo>
                  <a:lnTo>
                    <a:pt x="50" y="125"/>
                  </a:lnTo>
                  <a:lnTo>
                    <a:pt x="0" y="78"/>
                  </a:lnTo>
                  <a:lnTo>
                    <a:pt x="34" y="47"/>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1"/>
            </a:solidFill>
            <a:ln w="9525" cap="rnd">
              <a:noFill/>
              <a:round/>
              <a:headEnd/>
              <a:tailEnd/>
            </a:ln>
          </p:spPr>
          <p:txBody>
            <a:bodyPr/>
            <a:lstStyle/>
            <a:p>
              <a:endParaRPr lang="en-US" dirty="0"/>
            </a:p>
          </p:txBody>
        </p:sp>
        <p:grpSp>
          <p:nvGrpSpPr>
            <p:cNvPr id="366605" name="Group 52"/>
            <p:cNvGrpSpPr>
              <a:grpSpLocks/>
            </p:cNvGrpSpPr>
            <p:nvPr/>
          </p:nvGrpSpPr>
          <p:grpSpPr bwMode="auto">
            <a:xfrm>
              <a:off x="7872414" y="2286001"/>
              <a:ext cx="1328737" cy="598487"/>
              <a:chOff x="6870856" y="2306970"/>
              <a:chExt cx="1439227" cy="598450"/>
            </a:xfrm>
            <a:solidFill>
              <a:schemeClr val="accent1"/>
            </a:solidFill>
          </p:grpSpPr>
          <p:sp>
            <p:nvSpPr>
              <p:cNvPr id="366613" name="AutoShape 22"/>
              <p:cNvSpPr>
                <a:spLocks noChangeArrowheads="1"/>
              </p:cNvSpPr>
              <p:nvPr>
                <p:custDataLst>
                  <p:tags r:id="rId3"/>
                </p:custDataLst>
              </p:nvPr>
            </p:nvSpPr>
            <p:spPr bwMode="auto">
              <a:xfrm rot="16200000" flipH="1">
                <a:off x="7796693" y="239173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sp>
            <p:nvSpPr>
              <p:cNvPr id="366614" name="AutoShape 22"/>
              <p:cNvSpPr>
                <a:spLocks noChangeArrowheads="1"/>
              </p:cNvSpPr>
              <p:nvPr>
                <p:custDataLst>
                  <p:tags r:id="rId4"/>
                </p:custDataLst>
              </p:nvPr>
            </p:nvSpPr>
            <p:spPr bwMode="auto">
              <a:xfrm rot="16200000" flipH="1">
                <a:off x="6786091" y="2392030"/>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sp>
            <p:nvSpPr>
              <p:cNvPr id="366615" name="AutoShape 22"/>
              <p:cNvSpPr>
                <a:spLocks noChangeArrowheads="1"/>
              </p:cNvSpPr>
              <p:nvPr>
                <p:custDataLst>
                  <p:tags r:id="rId5"/>
                </p:custDataLst>
              </p:nvPr>
            </p:nvSpPr>
            <p:spPr bwMode="auto">
              <a:xfrm rot="16200000" flipH="1">
                <a:off x="7291392" y="239173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grpSp>
        <p:grpSp>
          <p:nvGrpSpPr>
            <p:cNvPr id="366607" name="Group 53"/>
            <p:cNvGrpSpPr>
              <a:grpSpLocks/>
            </p:cNvGrpSpPr>
            <p:nvPr/>
          </p:nvGrpSpPr>
          <p:grpSpPr bwMode="auto">
            <a:xfrm>
              <a:off x="8118476" y="3025776"/>
              <a:ext cx="835025" cy="598487"/>
              <a:chOff x="7137556" y="3046110"/>
              <a:chExt cx="904871" cy="598450"/>
            </a:xfrm>
            <a:solidFill>
              <a:schemeClr val="accent1"/>
            </a:solidFill>
          </p:grpSpPr>
          <p:sp>
            <p:nvSpPr>
              <p:cNvPr id="366611" name="AutoShape 22"/>
              <p:cNvSpPr>
                <a:spLocks noChangeArrowheads="1"/>
              </p:cNvSpPr>
              <p:nvPr>
                <p:custDataLst>
                  <p:tags r:id="rId1"/>
                </p:custDataLst>
              </p:nvPr>
            </p:nvSpPr>
            <p:spPr bwMode="auto">
              <a:xfrm rot="16200000" flipH="1">
                <a:off x="7052791" y="3131170"/>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sp>
            <p:nvSpPr>
              <p:cNvPr id="366612" name="AutoShape 22"/>
              <p:cNvSpPr>
                <a:spLocks noChangeArrowheads="1"/>
              </p:cNvSpPr>
              <p:nvPr>
                <p:custDataLst>
                  <p:tags r:id="rId2"/>
                </p:custDataLst>
              </p:nvPr>
            </p:nvSpPr>
            <p:spPr bwMode="auto">
              <a:xfrm rot="16200000" flipH="1">
                <a:off x="7529037" y="3130875"/>
                <a:ext cx="598155" cy="428625"/>
              </a:xfrm>
              <a:prstGeom prst="rightArrow">
                <a:avLst>
                  <a:gd name="adj1" fmla="val 50000"/>
                  <a:gd name="adj2" fmla="val 30256"/>
                </a:avLst>
              </a:prstGeom>
              <a:grpFill/>
              <a:ln w="9525">
                <a:noFill/>
                <a:miter lim="800000"/>
                <a:headEnd/>
                <a:tailEnd/>
              </a:ln>
            </p:spPr>
            <p:txBody>
              <a:bodyPr wrap="none" anchor="ctr"/>
              <a:lstStyle/>
              <a:p>
                <a:pPr algn="ctr"/>
                <a:endParaRPr lang="en-US" dirty="0"/>
              </a:p>
            </p:txBody>
          </p:sp>
        </p:grpSp>
        <p:sp>
          <p:nvSpPr>
            <p:cNvPr id="366609" name="AutoShape 22"/>
            <p:cNvSpPr>
              <a:spLocks noChangeArrowheads="1"/>
            </p:cNvSpPr>
            <p:nvPr/>
          </p:nvSpPr>
          <p:spPr bwMode="auto">
            <a:xfrm rot="16200000" flipH="1">
              <a:off x="8237539" y="3873501"/>
              <a:ext cx="598487" cy="395287"/>
            </a:xfrm>
            <a:prstGeom prst="rightArrow">
              <a:avLst>
                <a:gd name="adj1" fmla="val 50000"/>
                <a:gd name="adj2" fmla="val 30302"/>
              </a:avLst>
            </a:prstGeom>
            <a:solidFill>
              <a:schemeClr val="accent1"/>
            </a:solidFill>
            <a:ln w="9525">
              <a:noFill/>
              <a:miter lim="800000"/>
              <a:headEnd/>
              <a:tailEnd/>
            </a:ln>
          </p:spPr>
          <p:txBody>
            <a:bodyPr wrap="none" anchor="ctr"/>
            <a:lstStyle/>
            <a:p>
              <a:pPr algn="ctr"/>
              <a:endParaRPr lang="en-US" dirty="0"/>
            </a:p>
          </p:txBody>
        </p:sp>
      </p:grpSp>
      <p:sp>
        <p:nvSpPr>
          <p:cNvPr id="31" name="TextBox 30"/>
          <p:cNvSpPr txBox="1"/>
          <p:nvPr/>
        </p:nvSpPr>
        <p:spPr bwMode="gray">
          <a:xfrm>
            <a:off x="995090" y="1710507"/>
            <a:ext cx="2029968" cy="200055"/>
          </a:xfrm>
          <a:prstGeom prst="rect">
            <a:avLst/>
          </a:prstGeom>
          <a:noFill/>
        </p:spPr>
        <p:txBody>
          <a:bodyPr wrap="square" lIns="0" tIns="0" rIns="0" bIns="0" rtlCol="0">
            <a:noAutofit/>
          </a:bodyPr>
          <a:lstStyle/>
          <a:p>
            <a:pPr algn="ctr"/>
            <a:r>
              <a:rPr lang="en-US" sz="1300" dirty="0"/>
              <a:t>Chart title runs here</a:t>
            </a:r>
          </a:p>
        </p:txBody>
      </p:sp>
    </p:spTree>
    <p:extLst>
      <p:ext uri="{BB962C8B-B14F-4D97-AF65-F5344CB8AC3E}">
        <p14:creationId xmlns:p14="http://schemas.microsoft.com/office/powerpoint/2010/main" val="3712354653"/>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pectrum</a:t>
            </a:r>
          </a:p>
        </p:txBody>
      </p:sp>
      <p:sp>
        <p:nvSpPr>
          <p:cNvPr id="842753" name="Title 1"/>
          <p:cNvSpPr>
            <a:spLocks noGrp="1"/>
          </p:cNvSpPr>
          <p:nvPr>
            <p:ph type="title"/>
          </p:nvPr>
        </p:nvSpPr>
        <p:spPr/>
        <p:txBody>
          <a:bodyPr/>
          <a:lstStyle/>
          <a:p>
            <a:r>
              <a:rPr lang="en-US" altLang="ja-JP" dirty="0"/>
              <a:t>Other</a:t>
            </a:r>
            <a:endParaRPr lang="en-US" dirty="0">
              <a:solidFill>
                <a:schemeClr val="tx2"/>
              </a:solidFill>
            </a:endParaRPr>
          </a:p>
        </p:txBody>
      </p:sp>
      <p:grpSp>
        <p:nvGrpSpPr>
          <p:cNvPr id="2" name="Group 1"/>
          <p:cNvGrpSpPr/>
          <p:nvPr/>
        </p:nvGrpSpPr>
        <p:grpSpPr>
          <a:xfrm>
            <a:off x="687483" y="2021297"/>
            <a:ext cx="11002867" cy="3312703"/>
            <a:chOff x="627063" y="2514600"/>
            <a:chExt cx="7493000" cy="2549426"/>
          </a:xfrm>
        </p:grpSpPr>
        <p:sp>
          <p:nvSpPr>
            <p:cNvPr id="842762" name="Rectangle 10"/>
            <p:cNvSpPr>
              <a:spLocks noChangeArrowheads="1"/>
            </p:cNvSpPr>
            <p:nvPr/>
          </p:nvSpPr>
          <p:spPr bwMode="auto">
            <a:xfrm>
              <a:off x="917893" y="4910138"/>
              <a:ext cx="989012" cy="153888"/>
            </a:xfrm>
            <a:prstGeom prst="rect">
              <a:avLst/>
            </a:prstGeom>
            <a:noFill/>
            <a:ln w="9525">
              <a:noFill/>
              <a:miter lim="800000"/>
              <a:headEnd/>
              <a:tailEnd/>
            </a:ln>
          </p:spPr>
          <p:txBody>
            <a:bodyPr lIns="0" tIns="0" rIns="0" bIns="0">
              <a:spAutoFit/>
            </a:bodyPr>
            <a:lstStyle/>
            <a:p>
              <a:r>
                <a:rPr lang="en-US" altLang="ja-JP" sz="1000" dirty="0">
                  <a:solidFill>
                    <a:srgbClr val="53565A"/>
                  </a:solidFill>
                  <a:ea typeface="ＭＳ Ｐゴシック" charset="-128"/>
                </a:rPr>
                <a:t>Low</a:t>
              </a:r>
            </a:p>
          </p:txBody>
        </p:sp>
        <p:sp>
          <p:nvSpPr>
            <p:cNvPr id="842763" name="Rectangle 11"/>
            <p:cNvSpPr>
              <a:spLocks noChangeArrowheads="1"/>
            </p:cNvSpPr>
            <p:nvPr/>
          </p:nvSpPr>
          <p:spPr bwMode="auto">
            <a:xfrm>
              <a:off x="6797040" y="4910138"/>
              <a:ext cx="739775" cy="153888"/>
            </a:xfrm>
            <a:prstGeom prst="rect">
              <a:avLst/>
            </a:prstGeom>
            <a:noFill/>
            <a:ln w="9525">
              <a:noFill/>
              <a:miter lim="800000"/>
              <a:headEnd/>
              <a:tailEnd/>
            </a:ln>
          </p:spPr>
          <p:txBody>
            <a:bodyPr lIns="0" tIns="0" rIns="0" bIns="0">
              <a:spAutoFit/>
            </a:bodyPr>
            <a:lstStyle/>
            <a:p>
              <a:pPr algn="r"/>
              <a:r>
                <a:rPr lang="en-US" altLang="ja-JP" sz="1000" dirty="0">
                  <a:solidFill>
                    <a:srgbClr val="53565A"/>
                  </a:solidFill>
                  <a:ea typeface="ＭＳ Ｐゴシック" charset="-128"/>
                </a:rPr>
                <a:t>High</a:t>
              </a:r>
            </a:p>
          </p:txBody>
        </p:sp>
        <p:sp>
          <p:nvSpPr>
            <p:cNvPr id="4" name="Oval 3"/>
            <p:cNvSpPr>
              <a:spLocks noChangeArrowheads="1"/>
            </p:cNvSpPr>
            <p:nvPr/>
          </p:nvSpPr>
          <p:spPr bwMode="auto">
            <a:xfrm>
              <a:off x="627063" y="3113088"/>
              <a:ext cx="1135062" cy="1304925"/>
            </a:xfrm>
            <a:prstGeom prst="ellipse">
              <a:avLst/>
            </a:prstGeom>
            <a:solidFill>
              <a:schemeClr val="bg2"/>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5" name="Oval 4"/>
            <p:cNvSpPr>
              <a:spLocks noChangeArrowheads="1"/>
            </p:cNvSpPr>
            <p:nvPr/>
          </p:nvSpPr>
          <p:spPr bwMode="auto">
            <a:xfrm>
              <a:off x="1571625" y="3128963"/>
              <a:ext cx="1135063" cy="1303337"/>
            </a:xfrm>
            <a:prstGeom prst="ellipse">
              <a:avLst/>
            </a:prstGeom>
            <a:solidFill>
              <a:schemeClr val="bg2"/>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6" name="Oval 5"/>
            <p:cNvSpPr>
              <a:spLocks noChangeArrowheads="1"/>
            </p:cNvSpPr>
            <p:nvPr/>
          </p:nvSpPr>
          <p:spPr bwMode="auto">
            <a:xfrm>
              <a:off x="2449513" y="2514600"/>
              <a:ext cx="1136650" cy="1304925"/>
            </a:xfrm>
            <a:prstGeom prst="ellipse">
              <a:avLst/>
            </a:prstGeom>
            <a:solidFill>
              <a:schemeClr val="bg2">
                <a:lumMod val="90000"/>
              </a:schemeClr>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7" name="Oval 6"/>
            <p:cNvSpPr>
              <a:spLocks noChangeArrowheads="1"/>
            </p:cNvSpPr>
            <p:nvPr/>
          </p:nvSpPr>
          <p:spPr bwMode="auto">
            <a:xfrm>
              <a:off x="2501900" y="3638550"/>
              <a:ext cx="1135063" cy="1304925"/>
            </a:xfrm>
            <a:prstGeom prst="ellipse">
              <a:avLst/>
            </a:prstGeom>
            <a:solidFill>
              <a:schemeClr val="bg2">
                <a:lumMod val="90000"/>
              </a:schemeClr>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8" name="Oval 7"/>
            <p:cNvSpPr>
              <a:spLocks noChangeArrowheads="1"/>
            </p:cNvSpPr>
            <p:nvPr/>
          </p:nvSpPr>
          <p:spPr bwMode="auto">
            <a:xfrm>
              <a:off x="3403600" y="2806700"/>
              <a:ext cx="1709738" cy="1962150"/>
            </a:xfrm>
            <a:prstGeom prst="ellipse">
              <a:avLst/>
            </a:prstGeom>
            <a:solidFill>
              <a:schemeClr val="tx2">
                <a:lumMod val="75000"/>
                <a:lumOff val="25000"/>
              </a:schemeClr>
            </a:solidFill>
            <a:ln w="9525">
              <a:noFill/>
              <a:round/>
              <a:headEnd/>
              <a:tailEnd/>
            </a:ln>
          </p:spPr>
          <p:txBody>
            <a:bodyPr wrap="none" lIns="91440" tIns="91440" rIns="91440" bIns="91440" anchor="ctr"/>
            <a:lstStyle/>
            <a:p>
              <a:pPr algn="ctr">
                <a:defRPr/>
              </a:pPr>
              <a:r>
                <a:rPr lang="en-US" altLang="ja-JP" sz="1200" dirty="0">
                  <a:ea typeface="ＭＳ Ｐゴシック" pitchFamily="50" charset="-128"/>
                </a:rPr>
                <a:t>Text</a:t>
              </a:r>
            </a:p>
          </p:txBody>
        </p:sp>
        <p:sp>
          <p:nvSpPr>
            <p:cNvPr id="9" name="Oval 8"/>
            <p:cNvSpPr>
              <a:spLocks noChangeArrowheads="1"/>
            </p:cNvSpPr>
            <p:nvPr/>
          </p:nvSpPr>
          <p:spPr bwMode="auto">
            <a:xfrm>
              <a:off x="4921250" y="2708275"/>
              <a:ext cx="1708150" cy="1960563"/>
            </a:xfrm>
            <a:prstGeom prst="ellipse">
              <a:avLst/>
            </a:prstGeom>
            <a:solidFill>
              <a:schemeClr val="tx2">
                <a:lumMod val="75000"/>
                <a:lumOff val="25000"/>
              </a:schemeClr>
            </a:solidFill>
            <a:ln w="9525">
              <a:noFill/>
              <a:round/>
              <a:headEnd/>
              <a:tailEnd/>
            </a:ln>
          </p:spPr>
          <p:txBody>
            <a:bodyPr wrap="none" lIns="91440" tIns="91440" rIns="91440" bIns="91440" anchor="ctr"/>
            <a:lstStyle/>
            <a:p>
              <a:pPr algn="ctr">
                <a:defRPr/>
              </a:pPr>
              <a:endParaRPr lang="en-US" altLang="ja-JP" sz="1200" dirty="0">
                <a:ea typeface="ＭＳ Ｐゴシック" pitchFamily="50" charset="-128"/>
              </a:endParaRPr>
            </a:p>
            <a:p>
              <a:pPr algn="ctr">
                <a:defRPr/>
              </a:pPr>
              <a:r>
                <a:rPr lang="en-US" altLang="ja-JP" sz="1200" dirty="0">
                  <a:ea typeface="ＭＳ Ｐゴシック" pitchFamily="50" charset="-128"/>
                </a:rPr>
                <a:t>Text</a:t>
              </a:r>
            </a:p>
          </p:txBody>
        </p:sp>
        <p:sp>
          <p:nvSpPr>
            <p:cNvPr id="10" name="Oval 9"/>
            <p:cNvSpPr>
              <a:spLocks noChangeArrowheads="1"/>
            </p:cNvSpPr>
            <p:nvPr/>
          </p:nvSpPr>
          <p:spPr bwMode="auto">
            <a:xfrm>
              <a:off x="6410325" y="2752725"/>
              <a:ext cx="1709738" cy="1960563"/>
            </a:xfrm>
            <a:prstGeom prst="ellipse">
              <a:avLst/>
            </a:prstGeom>
            <a:solidFill>
              <a:schemeClr val="accent3"/>
            </a:solidFill>
            <a:ln w="9525">
              <a:noFill/>
              <a:round/>
              <a:headEnd/>
              <a:tailEnd/>
            </a:ln>
          </p:spPr>
          <p:txBody>
            <a:bodyPr wrap="none" lIns="91440" tIns="91440" rIns="91440" bIns="91440" anchor="ctr"/>
            <a:lstStyle/>
            <a:p>
              <a:pPr algn="ctr">
                <a:defRPr/>
              </a:pPr>
              <a:r>
                <a:rPr lang="en-US" altLang="ja-JP" sz="1200" dirty="0">
                  <a:solidFill>
                    <a:schemeClr val="bg1"/>
                  </a:solidFill>
                  <a:ea typeface="ＭＳ Ｐゴシック" pitchFamily="50" charset="-128"/>
                </a:rPr>
                <a:t>Text</a:t>
              </a:r>
            </a:p>
          </p:txBody>
        </p:sp>
        <p:sp>
          <p:nvSpPr>
            <p:cNvPr id="842764" name="Line 12"/>
            <p:cNvSpPr>
              <a:spLocks noChangeShapeType="1"/>
            </p:cNvSpPr>
            <p:nvPr/>
          </p:nvSpPr>
          <p:spPr bwMode="auto">
            <a:xfrm>
              <a:off x="954088" y="3933825"/>
              <a:ext cx="6551612" cy="0"/>
            </a:xfrm>
            <a:prstGeom prst="line">
              <a:avLst/>
            </a:prstGeom>
            <a:noFill/>
            <a:ln w="38100">
              <a:solidFill>
                <a:schemeClr val="bg1"/>
              </a:solidFill>
              <a:round/>
              <a:headEnd type="none" w="med" len="med"/>
              <a:tailEnd type="triangle" w="med" len="med"/>
            </a:ln>
          </p:spPr>
          <p:txBody>
            <a:bodyPr wrap="none" lIns="36000" tIns="36000" rIns="36000" bIns="36000" anchor="ctr"/>
            <a:lstStyle/>
            <a:p>
              <a:endParaRPr lang="en-US" dirty="0"/>
            </a:p>
          </p:txBody>
        </p:sp>
      </p:grpSp>
      <p:sp>
        <p:nvSpPr>
          <p:cNvPr id="16" name="TextBox 15"/>
          <p:cNvSpPr txBox="1"/>
          <p:nvPr/>
        </p:nvSpPr>
        <p:spPr bwMode="gray">
          <a:xfrm>
            <a:off x="544909" y="1710507"/>
            <a:ext cx="8348472" cy="200055"/>
          </a:xfrm>
          <a:prstGeom prst="rect">
            <a:avLst/>
          </a:prstGeom>
          <a:noFill/>
        </p:spPr>
        <p:txBody>
          <a:bodyPr wrap="square" lIns="0" tIns="0" rIns="0" bIns="0" rtlCol="0">
            <a:noAutofit/>
          </a:bodyPr>
          <a:lstStyle/>
          <a:p>
            <a:r>
              <a:rPr lang="en-US" sz="1300" dirty="0"/>
              <a:t>Title runs here</a:t>
            </a:r>
          </a:p>
        </p:txBody>
      </p:sp>
    </p:spTree>
    <p:extLst>
      <p:ext uri="{BB962C8B-B14F-4D97-AF65-F5344CB8AC3E}">
        <p14:creationId xmlns:p14="http://schemas.microsoft.com/office/powerpoint/2010/main" val="1760213932"/>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Thermometers</a:t>
            </a:r>
          </a:p>
        </p:txBody>
      </p:sp>
      <p:sp>
        <p:nvSpPr>
          <p:cNvPr id="843777" name="Title 1"/>
          <p:cNvSpPr>
            <a:spLocks noGrp="1"/>
          </p:cNvSpPr>
          <p:nvPr>
            <p:ph type="title"/>
          </p:nvPr>
        </p:nvSpPr>
        <p:spPr/>
        <p:txBody>
          <a:bodyPr/>
          <a:lstStyle/>
          <a:p>
            <a:r>
              <a:rPr lang="en-US" altLang="ja-JP" dirty="0"/>
              <a:t>Other</a:t>
            </a:r>
            <a:endParaRPr lang="en-US" dirty="0">
              <a:solidFill>
                <a:schemeClr val="tx2"/>
              </a:solidFill>
            </a:endParaRPr>
          </a:p>
        </p:txBody>
      </p:sp>
      <p:grpSp>
        <p:nvGrpSpPr>
          <p:cNvPr id="2" name="Group 1">
            <a:extLst>
              <a:ext uri="{FF2B5EF4-FFF2-40B4-BE49-F238E27FC236}">
                <a16:creationId xmlns:a16="http://schemas.microsoft.com/office/drawing/2014/main" id="{98C2EBB9-0D2D-4374-80AC-40463F0748E1}"/>
              </a:ext>
            </a:extLst>
          </p:cNvPr>
          <p:cNvGrpSpPr/>
          <p:nvPr/>
        </p:nvGrpSpPr>
        <p:grpSpPr>
          <a:xfrm>
            <a:off x="3473451" y="1746504"/>
            <a:ext cx="1181099" cy="4194175"/>
            <a:chOff x="3473451" y="2055814"/>
            <a:chExt cx="1181099" cy="4194175"/>
          </a:xfrm>
        </p:grpSpPr>
        <p:sp>
          <p:nvSpPr>
            <p:cNvPr id="14" name="Line 3"/>
            <p:cNvSpPr>
              <a:spLocks noChangeShapeType="1"/>
            </p:cNvSpPr>
            <p:nvPr/>
          </p:nvSpPr>
          <p:spPr bwMode="auto">
            <a:xfrm flipH="1">
              <a:off x="3473451" y="3152775"/>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5" name="Line 4"/>
            <p:cNvSpPr>
              <a:spLocks noChangeShapeType="1"/>
            </p:cNvSpPr>
            <p:nvPr/>
          </p:nvSpPr>
          <p:spPr bwMode="auto">
            <a:xfrm flipH="1">
              <a:off x="3473451" y="3673475"/>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6" name="Line 5"/>
            <p:cNvSpPr>
              <a:spLocks noChangeShapeType="1"/>
            </p:cNvSpPr>
            <p:nvPr/>
          </p:nvSpPr>
          <p:spPr bwMode="auto">
            <a:xfrm flipH="1">
              <a:off x="3473451" y="4030663"/>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7" name="Line 6"/>
            <p:cNvSpPr>
              <a:spLocks noChangeShapeType="1"/>
            </p:cNvSpPr>
            <p:nvPr/>
          </p:nvSpPr>
          <p:spPr bwMode="auto">
            <a:xfrm flipH="1">
              <a:off x="3473451" y="4506913"/>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8" name="Line 7"/>
            <p:cNvSpPr>
              <a:spLocks noChangeShapeType="1"/>
            </p:cNvSpPr>
            <p:nvPr/>
          </p:nvSpPr>
          <p:spPr bwMode="auto">
            <a:xfrm>
              <a:off x="4154489" y="4521200"/>
              <a:ext cx="496887" cy="0"/>
            </a:xfrm>
            <a:prstGeom prst="line">
              <a:avLst/>
            </a:prstGeom>
            <a:noFill/>
            <a:ln w="19050">
              <a:solidFill>
                <a:schemeClr val="bg2"/>
              </a:solidFill>
              <a:round/>
              <a:headEnd type="triangle" w="med" len="med"/>
              <a:tailEnd/>
            </a:ln>
          </p:spPr>
          <p:txBody>
            <a:bodyPr wrap="none" anchor="ctr"/>
            <a:lstStyle/>
            <a:p>
              <a:pPr>
                <a:defRPr/>
              </a:pPr>
              <a:endParaRPr lang="en-US" sz="1400" dirty="0"/>
            </a:p>
          </p:txBody>
        </p:sp>
        <p:sp>
          <p:nvSpPr>
            <p:cNvPr id="19" name="Line 8"/>
            <p:cNvSpPr>
              <a:spLocks noChangeShapeType="1"/>
            </p:cNvSpPr>
            <p:nvPr/>
          </p:nvSpPr>
          <p:spPr bwMode="auto">
            <a:xfrm>
              <a:off x="4154489" y="3900488"/>
              <a:ext cx="496887" cy="0"/>
            </a:xfrm>
            <a:prstGeom prst="line">
              <a:avLst/>
            </a:prstGeom>
            <a:noFill/>
            <a:ln w="19050">
              <a:solidFill>
                <a:schemeClr val="bg2"/>
              </a:solidFill>
              <a:round/>
              <a:headEnd type="triangle" w="med" len="med"/>
              <a:tailEnd/>
            </a:ln>
          </p:spPr>
          <p:txBody>
            <a:bodyPr wrap="none" anchor="ctr"/>
            <a:lstStyle/>
            <a:p>
              <a:pPr>
                <a:defRPr/>
              </a:pPr>
              <a:endParaRPr lang="en-US" sz="1400" dirty="0"/>
            </a:p>
          </p:txBody>
        </p:sp>
        <p:sp>
          <p:nvSpPr>
            <p:cNvPr id="20" name="Rectangle 9"/>
            <p:cNvSpPr>
              <a:spLocks noChangeArrowheads="1"/>
            </p:cNvSpPr>
            <p:nvPr/>
          </p:nvSpPr>
          <p:spPr bwMode="auto">
            <a:xfrm>
              <a:off x="3760789" y="2114551"/>
              <a:ext cx="325437" cy="3852863"/>
            </a:xfrm>
            <a:prstGeom prst="rect">
              <a:avLst/>
            </a:prstGeom>
            <a:solidFill>
              <a:schemeClr val="bg1"/>
            </a:solidFill>
            <a:ln w="9525">
              <a:solidFill>
                <a:schemeClr val="accent1"/>
              </a:solidFill>
              <a:miter lim="800000"/>
              <a:headEnd/>
              <a:tailEnd/>
            </a:ln>
          </p:spPr>
          <p:txBody>
            <a:bodyPr wrap="none" anchor="ctr"/>
            <a:lstStyle/>
            <a:p>
              <a:pPr algn="ctr">
                <a:defRPr/>
              </a:pPr>
              <a:endParaRPr lang="en-US" sz="1400" dirty="0"/>
            </a:p>
          </p:txBody>
        </p:sp>
        <p:sp>
          <p:nvSpPr>
            <p:cNvPr id="21" name="Rectangle 10"/>
            <p:cNvSpPr>
              <a:spLocks noChangeArrowheads="1"/>
            </p:cNvSpPr>
            <p:nvPr/>
          </p:nvSpPr>
          <p:spPr bwMode="auto">
            <a:xfrm>
              <a:off x="3760789" y="3900488"/>
              <a:ext cx="325437" cy="2171700"/>
            </a:xfrm>
            <a:prstGeom prst="rect">
              <a:avLst/>
            </a:prstGeom>
            <a:solidFill>
              <a:schemeClr val="accent1"/>
            </a:solidFill>
            <a:ln w="9525">
              <a:solidFill>
                <a:schemeClr val="accent1"/>
              </a:solidFill>
              <a:miter lim="800000"/>
              <a:headEnd/>
              <a:tailEnd/>
            </a:ln>
          </p:spPr>
          <p:txBody>
            <a:bodyPr wrap="none" anchor="ctr"/>
            <a:lstStyle/>
            <a:p>
              <a:pPr algn="ctr">
                <a:defRPr/>
              </a:pPr>
              <a:endParaRPr lang="en-US" sz="1400" dirty="0"/>
            </a:p>
          </p:txBody>
        </p:sp>
        <p:grpSp>
          <p:nvGrpSpPr>
            <p:cNvPr id="843787" name="Group 11"/>
            <p:cNvGrpSpPr>
              <a:grpSpLocks/>
            </p:cNvGrpSpPr>
            <p:nvPr/>
          </p:nvGrpSpPr>
          <p:grpSpPr bwMode="auto">
            <a:xfrm>
              <a:off x="3760789" y="2568576"/>
              <a:ext cx="325437" cy="2836863"/>
              <a:chOff x="1467" y="3045073"/>
              <a:chExt cx="159" cy="2836863"/>
            </a:xfrm>
          </p:grpSpPr>
          <p:sp>
            <p:nvSpPr>
              <p:cNvPr id="843829" name="Line 12"/>
              <p:cNvSpPr>
                <a:spLocks noChangeShapeType="1"/>
              </p:cNvSpPr>
              <p:nvPr/>
            </p:nvSpPr>
            <p:spPr bwMode="auto">
              <a:xfrm>
                <a:off x="1467" y="4621521"/>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24" name="Line 13"/>
              <p:cNvSpPr>
                <a:spLocks noChangeShapeType="1"/>
              </p:cNvSpPr>
              <p:nvPr/>
            </p:nvSpPr>
            <p:spPr bwMode="auto">
              <a:xfrm>
                <a:off x="1467" y="4305488"/>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25" name="Line 14"/>
              <p:cNvSpPr>
                <a:spLocks noChangeShapeType="1"/>
              </p:cNvSpPr>
              <p:nvPr/>
            </p:nvSpPr>
            <p:spPr bwMode="auto">
              <a:xfrm>
                <a:off x="1467" y="3991314"/>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26" name="Line 15"/>
              <p:cNvSpPr>
                <a:spLocks noChangeShapeType="1"/>
              </p:cNvSpPr>
              <p:nvPr/>
            </p:nvSpPr>
            <p:spPr bwMode="auto">
              <a:xfrm>
                <a:off x="1467" y="3675280"/>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27" name="Line 16"/>
              <p:cNvSpPr>
                <a:spLocks noChangeShapeType="1"/>
              </p:cNvSpPr>
              <p:nvPr/>
            </p:nvSpPr>
            <p:spPr bwMode="auto">
              <a:xfrm>
                <a:off x="1467" y="3361106"/>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28" name="Line 17"/>
              <p:cNvSpPr>
                <a:spLocks noChangeShapeType="1"/>
              </p:cNvSpPr>
              <p:nvPr/>
            </p:nvSpPr>
            <p:spPr bwMode="auto">
              <a:xfrm>
                <a:off x="1467" y="3045073"/>
                <a:ext cx="159" cy="0"/>
              </a:xfrm>
              <a:prstGeom prst="line">
                <a:avLst/>
              </a:prstGeom>
              <a:noFill/>
              <a:ln w="9525">
                <a:solidFill>
                  <a:schemeClr val="accent1"/>
                </a:solidFill>
                <a:prstDash val="sysDot"/>
                <a:round/>
                <a:headEnd/>
                <a:tailEnd/>
              </a:ln>
            </p:spPr>
            <p:txBody>
              <a:bodyPr wrap="none" anchor="ctr"/>
              <a:lstStyle/>
              <a:p>
                <a:pPr>
                  <a:defRPr/>
                </a:pPr>
                <a:endParaRPr lang="en-US" sz="1400" dirty="0"/>
              </a:p>
            </p:txBody>
          </p:sp>
          <p:sp>
            <p:nvSpPr>
              <p:cNvPr id="843835" name="Line 18"/>
              <p:cNvSpPr>
                <a:spLocks noChangeShapeType="1"/>
              </p:cNvSpPr>
              <p:nvPr/>
            </p:nvSpPr>
            <p:spPr bwMode="auto">
              <a:xfrm>
                <a:off x="1467" y="5881936"/>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843836" name="Line 19"/>
              <p:cNvSpPr>
                <a:spLocks noChangeShapeType="1"/>
              </p:cNvSpPr>
              <p:nvPr/>
            </p:nvSpPr>
            <p:spPr bwMode="auto">
              <a:xfrm>
                <a:off x="1467" y="5567762"/>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843837" name="Line 20"/>
              <p:cNvSpPr>
                <a:spLocks noChangeShapeType="1"/>
              </p:cNvSpPr>
              <p:nvPr/>
            </p:nvSpPr>
            <p:spPr bwMode="auto">
              <a:xfrm>
                <a:off x="1467" y="5251729"/>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sp>
            <p:nvSpPr>
              <p:cNvPr id="843838" name="Line 21"/>
              <p:cNvSpPr>
                <a:spLocks noChangeShapeType="1"/>
              </p:cNvSpPr>
              <p:nvPr/>
            </p:nvSpPr>
            <p:spPr bwMode="auto">
              <a:xfrm>
                <a:off x="1467" y="4937554"/>
                <a:ext cx="159" cy="0"/>
              </a:xfrm>
              <a:prstGeom prst="line">
                <a:avLst/>
              </a:prstGeom>
              <a:noFill/>
              <a:ln w="9525">
                <a:solidFill>
                  <a:schemeClr val="accent1">
                    <a:lumMod val="40000"/>
                    <a:lumOff val="60000"/>
                  </a:schemeClr>
                </a:solidFill>
                <a:prstDash val="sysDot"/>
                <a:round/>
                <a:headEnd/>
                <a:tailEnd/>
              </a:ln>
            </p:spPr>
            <p:txBody>
              <a:bodyPr wrap="none" anchor="ctr"/>
              <a:lstStyle/>
              <a:p>
                <a:endParaRPr lang="en-US" dirty="0"/>
              </a:p>
            </p:txBody>
          </p:sp>
        </p:grpSp>
        <p:sp>
          <p:nvSpPr>
            <p:cNvPr id="45" name="Oval 34"/>
            <p:cNvSpPr>
              <a:spLocks noChangeArrowheads="1"/>
            </p:cNvSpPr>
            <p:nvPr/>
          </p:nvSpPr>
          <p:spPr bwMode="auto">
            <a:xfrm>
              <a:off x="3657601" y="5789614"/>
              <a:ext cx="530225" cy="460375"/>
            </a:xfrm>
            <a:prstGeom prst="ellipse">
              <a:avLst/>
            </a:prstGeom>
            <a:solidFill>
              <a:schemeClr val="accent1"/>
            </a:solidFill>
            <a:ln w="9525" algn="ctr">
              <a:solidFill>
                <a:schemeClr val="accent1"/>
              </a:solidFill>
              <a:round/>
              <a:headEnd/>
              <a:tailEnd/>
            </a:ln>
          </p:spPr>
          <p:txBody>
            <a:bodyPr wrap="none" anchor="ctr"/>
            <a:lstStyle/>
            <a:p>
              <a:pPr algn="ctr">
                <a:defRPr/>
              </a:pPr>
              <a:endParaRPr lang="en-US" sz="1100" dirty="0"/>
            </a:p>
          </p:txBody>
        </p:sp>
        <p:sp>
          <p:nvSpPr>
            <p:cNvPr id="843801" name="Rectangle 35"/>
            <p:cNvSpPr>
              <a:spLocks noChangeArrowheads="1"/>
            </p:cNvSpPr>
            <p:nvPr/>
          </p:nvSpPr>
          <p:spPr bwMode="auto">
            <a:xfrm>
              <a:off x="3776664" y="5780089"/>
              <a:ext cx="288925" cy="58737"/>
            </a:xfrm>
            <a:prstGeom prst="rect">
              <a:avLst/>
            </a:prstGeom>
            <a:solidFill>
              <a:schemeClr val="accent1"/>
            </a:solidFill>
            <a:ln w="12700" algn="ctr">
              <a:noFill/>
              <a:miter lim="800000"/>
              <a:headEnd/>
              <a:tailEnd/>
            </a:ln>
          </p:spPr>
          <p:txBody>
            <a:bodyPr wrap="none" anchor="ctr"/>
            <a:lstStyle/>
            <a:p>
              <a:pPr algn="ctr"/>
              <a:endParaRPr lang="en-US" sz="1400" dirty="0"/>
            </a:p>
          </p:txBody>
        </p:sp>
        <p:sp>
          <p:nvSpPr>
            <p:cNvPr id="843802" name="Rectangle 36"/>
            <p:cNvSpPr>
              <a:spLocks noChangeArrowheads="1"/>
            </p:cNvSpPr>
            <p:nvPr/>
          </p:nvSpPr>
          <p:spPr bwMode="auto">
            <a:xfrm>
              <a:off x="3881883" y="5957889"/>
              <a:ext cx="72135"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ea typeface="ＭＳ Ｐゴシック" charset="-128"/>
                </a:rPr>
                <a:t>0</a:t>
              </a:r>
            </a:p>
          </p:txBody>
        </p:sp>
        <p:cxnSp>
          <p:nvCxnSpPr>
            <p:cNvPr id="48" name="AutoShape 37"/>
            <p:cNvCxnSpPr>
              <a:cxnSpLocks noChangeShapeType="1"/>
            </p:cNvCxnSpPr>
            <p:nvPr/>
          </p:nvCxnSpPr>
          <p:spPr bwMode="auto">
            <a:xfrm rot="10800000">
              <a:off x="4192588" y="4075114"/>
              <a:ext cx="461962" cy="141287"/>
            </a:xfrm>
            <a:prstGeom prst="bentConnector3">
              <a:avLst>
                <a:gd name="adj1" fmla="val 49796"/>
              </a:avLst>
            </a:prstGeom>
            <a:noFill/>
            <a:ln w="19050">
              <a:solidFill>
                <a:schemeClr val="bg2"/>
              </a:solidFill>
              <a:miter lim="800000"/>
              <a:headEnd/>
              <a:tailEnd type="triangle" w="med" len="med"/>
            </a:ln>
          </p:spPr>
        </p:cxnSp>
        <p:sp>
          <p:nvSpPr>
            <p:cNvPr id="49" name="Oval 38"/>
            <p:cNvSpPr>
              <a:spLocks noChangeArrowheads="1"/>
            </p:cNvSpPr>
            <p:nvPr/>
          </p:nvSpPr>
          <p:spPr bwMode="auto">
            <a:xfrm>
              <a:off x="3657601" y="2055814"/>
              <a:ext cx="530225" cy="460375"/>
            </a:xfrm>
            <a:prstGeom prst="ellipse">
              <a:avLst/>
            </a:prstGeom>
            <a:solidFill>
              <a:schemeClr val="bg1"/>
            </a:solidFill>
            <a:ln w="9525">
              <a:solidFill>
                <a:schemeClr val="accent1"/>
              </a:solidFill>
              <a:round/>
              <a:headEnd/>
              <a:tailEnd/>
            </a:ln>
          </p:spPr>
          <p:txBody>
            <a:bodyPr wrap="none" anchor="ctr"/>
            <a:lstStyle/>
            <a:p>
              <a:pPr algn="ctr">
                <a:defRPr/>
              </a:pPr>
              <a:endParaRPr lang="en-US" sz="1400" dirty="0"/>
            </a:p>
          </p:txBody>
        </p:sp>
        <p:sp>
          <p:nvSpPr>
            <p:cNvPr id="843805" name="Rectangle 39"/>
            <p:cNvSpPr>
              <a:spLocks noChangeArrowheads="1"/>
            </p:cNvSpPr>
            <p:nvPr/>
          </p:nvSpPr>
          <p:spPr bwMode="white">
            <a:xfrm>
              <a:off x="3770314" y="2424114"/>
              <a:ext cx="306387" cy="103187"/>
            </a:xfrm>
            <a:prstGeom prst="rect">
              <a:avLst/>
            </a:prstGeom>
            <a:solidFill>
              <a:schemeClr val="bg1"/>
            </a:solidFill>
            <a:ln w="12700">
              <a:noFill/>
              <a:miter lim="800000"/>
              <a:headEnd/>
              <a:tailEnd/>
            </a:ln>
          </p:spPr>
          <p:txBody>
            <a:bodyPr wrap="none" anchor="ctr"/>
            <a:lstStyle/>
            <a:p>
              <a:pPr algn="ctr"/>
              <a:endParaRPr lang="en-US" sz="1400" dirty="0"/>
            </a:p>
          </p:txBody>
        </p:sp>
        <p:sp>
          <p:nvSpPr>
            <p:cNvPr id="843806" name="Rectangle 40"/>
            <p:cNvSpPr>
              <a:spLocks noChangeArrowheads="1"/>
            </p:cNvSpPr>
            <p:nvPr/>
          </p:nvSpPr>
          <p:spPr bwMode="auto">
            <a:xfrm>
              <a:off x="3846609" y="2195514"/>
              <a:ext cx="144270"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solidFill>
                    <a:srgbClr val="53565A"/>
                  </a:solidFill>
                  <a:ea typeface="ＭＳ Ｐゴシック" charset="-128"/>
                </a:rPr>
                <a:t>10</a:t>
              </a:r>
            </a:p>
          </p:txBody>
        </p:sp>
      </p:grpSp>
      <p:grpSp>
        <p:nvGrpSpPr>
          <p:cNvPr id="4" name="Group 3">
            <a:extLst>
              <a:ext uri="{FF2B5EF4-FFF2-40B4-BE49-F238E27FC236}">
                <a16:creationId xmlns:a16="http://schemas.microsoft.com/office/drawing/2014/main" id="{FF0227F2-208A-497E-A924-5055C452706F}"/>
              </a:ext>
            </a:extLst>
          </p:cNvPr>
          <p:cNvGrpSpPr/>
          <p:nvPr/>
        </p:nvGrpSpPr>
        <p:grpSpPr>
          <a:xfrm>
            <a:off x="8146415" y="1746504"/>
            <a:ext cx="642095" cy="4194175"/>
            <a:chOff x="8146415" y="2067244"/>
            <a:chExt cx="642095" cy="4194175"/>
          </a:xfrm>
        </p:grpSpPr>
        <p:sp>
          <p:nvSpPr>
            <p:cNvPr id="843788" name="Rectangle 22"/>
            <p:cNvSpPr>
              <a:spLocks noChangeArrowheads="1"/>
            </p:cNvSpPr>
            <p:nvPr/>
          </p:nvSpPr>
          <p:spPr bwMode="auto">
            <a:xfrm>
              <a:off x="8644240" y="2643506"/>
              <a:ext cx="144270"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10</a:t>
              </a:r>
            </a:p>
          </p:txBody>
        </p:sp>
        <p:sp>
          <p:nvSpPr>
            <p:cNvPr id="843789" name="Rectangle 23"/>
            <p:cNvSpPr>
              <a:spLocks noChangeArrowheads="1"/>
            </p:cNvSpPr>
            <p:nvPr/>
          </p:nvSpPr>
          <p:spPr bwMode="auto">
            <a:xfrm>
              <a:off x="8644240" y="2945131"/>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9</a:t>
              </a:r>
            </a:p>
          </p:txBody>
        </p:sp>
        <p:sp>
          <p:nvSpPr>
            <p:cNvPr id="843790" name="Rectangle 24"/>
            <p:cNvSpPr>
              <a:spLocks noChangeArrowheads="1"/>
            </p:cNvSpPr>
            <p:nvPr/>
          </p:nvSpPr>
          <p:spPr bwMode="auto">
            <a:xfrm>
              <a:off x="8644240" y="3264219"/>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8</a:t>
              </a:r>
            </a:p>
          </p:txBody>
        </p:sp>
        <p:sp>
          <p:nvSpPr>
            <p:cNvPr id="843791" name="Rectangle 25"/>
            <p:cNvSpPr>
              <a:spLocks noChangeArrowheads="1"/>
            </p:cNvSpPr>
            <p:nvPr/>
          </p:nvSpPr>
          <p:spPr bwMode="auto">
            <a:xfrm>
              <a:off x="8644240" y="3583306"/>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7</a:t>
              </a:r>
            </a:p>
          </p:txBody>
        </p:sp>
        <p:sp>
          <p:nvSpPr>
            <p:cNvPr id="843792" name="Rectangle 26"/>
            <p:cNvSpPr>
              <a:spLocks noChangeArrowheads="1"/>
            </p:cNvSpPr>
            <p:nvPr/>
          </p:nvSpPr>
          <p:spPr bwMode="auto">
            <a:xfrm>
              <a:off x="8644240" y="3900806"/>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6</a:t>
              </a:r>
            </a:p>
          </p:txBody>
        </p:sp>
        <p:sp>
          <p:nvSpPr>
            <p:cNvPr id="843793" name="Rectangle 27"/>
            <p:cNvSpPr>
              <a:spLocks noChangeArrowheads="1"/>
            </p:cNvSpPr>
            <p:nvPr/>
          </p:nvSpPr>
          <p:spPr bwMode="auto">
            <a:xfrm>
              <a:off x="8644240" y="4219894"/>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5</a:t>
              </a:r>
            </a:p>
          </p:txBody>
        </p:sp>
        <p:sp>
          <p:nvSpPr>
            <p:cNvPr id="843794" name="Rectangle 28"/>
            <p:cNvSpPr>
              <a:spLocks noChangeArrowheads="1"/>
            </p:cNvSpPr>
            <p:nvPr/>
          </p:nvSpPr>
          <p:spPr bwMode="auto">
            <a:xfrm>
              <a:off x="8644240" y="4538981"/>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4</a:t>
              </a:r>
            </a:p>
          </p:txBody>
        </p:sp>
        <p:sp>
          <p:nvSpPr>
            <p:cNvPr id="843795" name="Rectangle 29"/>
            <p:cNvSpPr>
              <a:spLocks noChangeArrowheads="1"/>
            </p:cNvSpPr>
            <p:nvPr/>
          </p:nvSpPr>
          <p:spPr bwMode="auto">
            <a:xfrm>
              <a:off x="8644240" y="4856481"/>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3</a:t>
              </a:r>
            </a:p>
          </p:txBody>
        </p:sp>
        <p:sp>
          <p:nvSpPr>
            <p:cNvPr id="843796" name="Rectangle 30"/>
            <p:cNvSpPr>
              <a:spLocks noChangeArrowheads="1"/>
            </p:cNvSpPr>
            <p:nvPr/>
          </p:nvSpPr>
          <p:spPr bwMode="auto">
            <a:xfrm>
              <a:off x="8644240" y="5175569"/>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2</a:t>
              </a:r>
            </a:p>
          </p:txBody>
        </p:sp>
        <p:sp>
          <p:nvSpPr>
            <p:cNvPr id="843797" name="Rectangle 31"/>
            <p:cNvSpPr>
              <a:spLocks noChangeArrowheads="1"/>
            </p:cNvSpPr>
            <p:nvPr/>
          </p:nvSpPr>
          <p:spPr bwMode="auto">
            <a:xfrm>
              <a:off x="8644240" y="5481956"/>
              <a:ext cx="72136" cy="160813"/>
            </a:xfrm>
            <a:prstGeom prst="rect">
              <a:avLst/>
            </a:prstGeom>
            <a:noFill/>
            <a:ln w="12700">
              <a:noFill/>
              <a:miter lim="800000"/>
              <a:headEnd/>
              <a:tailEnd/>
            </a:ln>
          </p:spPr>
          <p:txBody>
            <a:bodyPr wrap="none" lIns="0" tIns="0" rIns="0" bIns="0">
              <a:spAutoFit/>
            </a:bodyPr>
            <a:lstStyle/>
            <a:p>
              <a:pPr>
                <a:lnSpc>
                  <a:spcPct val="95000"/>
                </a:lnSpc>
              </a:pPr>
              <a:r>
                <a:rPr lang="en-US" sz="1100" dirty="0">
                  <a:solidFill>
                    <a:srgbClr val="53565A"/>
                  </a:solidFill>
                  <a:ea typeface="ＭＳ Ｐゴシック" charset="-128"/>
                </a:rPr>
                <a:t>1</a:t>
              </a:r>
            </a:p>
          </p:txBody>
        </p:sp>
        <p:sp>
          <p:nvSpPr>
            <p:cNvPr id="52" name="Rectangle 41"/>
            <p:cNvSpPr>
              <a:spLocks noChangeArrowheads="1"/>
            </p:cNvSpPr>
            <p:nvPr/>
          </p:nvSpPr>
          <p:spPr bwMode="auto">
            <a:xfrm>
              <a:off x="8252779" y="2125981"/>
              <a:ext cx="325437" cy="3852863"/>
            </a:xfrm>
            <a:prstGeom prst="rect">
              <a:avLst/>
            </a:prstGeom>
            <a:solidFill>
              <a:schemeClr val="bg1"/>
            </a:solidFill>
            <a:ln w="9525">
              <a:solidFill>
                <a:schemeClr val="accent4"/>
              </a:solidFill>
              <a:miter lim="800000"/>
              <a:headEnd/>
              <a:tailEnd/>
            </a:ln>
          </p:spPr>
          <p:txBody>
            <a:bodyPr wrap="none" anchor="ctr"/>
            <a:lstStyle/>
            <a:p>
              <a:pPr algn="ctr">
                <a:defRPr/>
              </a:pPr>
              <a:endParaRPr lang="en-US" sz="1400" dirty="0">
                <a:solidFill>
                  <a:srgbClr val="53565A"/>
                </a:solidFill>
              </a:endParaRPr>
            </a:p>
          </p:txBody>
        </p:sp>
        <p:sp>
          <p:nvSpPr>
            <p:cNvPr id="53" name="Rectangle 42"/>
            <p:cNvSpPr>
              <a:spLocks noChangeArrowheads="1"/>
            </p:cNvSpPr>
            <p:nvPr/>
          </p:nvSpPr>
          <p:spPr bwMode="auto">
            <a:xfrm>
              <a:off x="8252779" y="3361056"/>
              <a:ext cx="325437" cy="2722563"/>
            </a:xfrm>
            <a:prstGeom prst="rect">
              <a:avLst/>
            </a:prstGeom>
            <a:solidFill>
              <a:schemeClr val="accent4"/>
            </a:solidFill>
            <a:ln w="9525">
              <a:solidFill>
                <a:schemeClr val="accent4"/>
              </a:solidFill>
              <a:miter lim="800000"/>
              <a:headEnd/>
              <a:tailEnd/>
            </a:ln>
          </p:spPr>
          <p:txBody>
            <a:bodyPr wrap="none" anchor="ctr"/>
            <a:lstStyle/>
            <a:p>
              <a:pPr algn="ctr">
                <a:defRPr/>
              </a:pPr>
              <a:endParaRPr lang="en-US" sz="1400" dirty="0"/>
            </a:p>
          </p:txBody>
        </p:sp>
        <p:grpSp>
          <p:nvGrpSpPr>
            <p:cNvPr id="843809" name="Group 43"/>
            <p:cNvGrpSpPr>
              <a:grpSpLocks/>
            </p:cNvGrpSpPr>
            <p:nvPr/>
          </p:nvGrpSpPr>
          <p:grpSpPr bwMode="auto">
            <a:xfrm>
              <a:off x="8252779" y="2580006"/>
              <a:ext cx="325437" cy="2836863"/>
              <a:chOff x="1467" y="1638"/>
              <a:chExt cx="159" cy="1526"/>
            </a:xfrm>
          </p:grpSpPr>
          <p:sp>
            <p:nvSpPr>
              <p:cNvPr id="843819" name="Line 44"/>
              <p:cNvSpPr>
                <a:spLocks noChangeShapeType="1"/>
              </p:cNvSpPr>
              <p:nvPr/>
            </p:nvSpPr>
            <p:spPr bwMode="auto">
              <a:xfrm>
                <a:off x="1467" y="2486"/>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0" name="Line 45"/>
              <p:cNvSpPr>
                <a:spLocks noChangeShapeType="1"/>
              </p:cNvSpPr>
              <p:nvPr/>
            </p:nvSpPr>
            <p:spPr bwMode="auto">
              <a:xfrm>
                <a:off x="1467" y="2316"/>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1" name="Line 46"/>
              <p:cNvSpPr>
                <a:spLocks noChangeShapeType="1"/>
              </p:cNvSpPr>
              <p:nvPr/>
            </p:nvSpPr>
            <p:spPr bwMode="auto">
              <a:xfrm>
                <a:off x="1467" y="2147"/>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58" name="Line 47"/>
              <p:cNvSpPr>
                <a:spLocks noChangeShapeType="1"/>
              </p:cNvSpPr>
              <p:nvPr/>
            </p:nvSpPr>
            <p:spPr bwMode="auto">
              <a:xfrm>
                <a:off x="1467" y="1977"/>
                <a:ext cx="159" cy="0"/>
              </a:xfrm>
              <a:prstGeom prst="line">
                <a:avLst/>
              </a:prstGeom>
              <a:noFill/>
              <a:ln w="9525">
                <a:solidFill>
                  <a:schemeClr val="accent4"/>
                </a:solidFill>
                <a:prstDash val="sysDot"/>
                <a:round/>
                <a:headEnd/>
                <a:tailEnd/>
              </a:ln>
            </p:spPr>
            <p:txBody>
              <a:bodyPr wrap="none" anchor="ctr"/>
              <a:lstStyle/>
              <a:p>
                <a:pPr>
                  <a:defRPr/>
                </a:pPr>
                <a:endParaRPr lang="en-US" sz="1400" dirty="0">
                  <a:solidFill>
                    <a:srgbClr val="53565A"/>
                  </a:solidFill>
                </a:endParaRPr>
              </a:p>
            </p:txBody>
          </p:sp>
          <p:sp>
            <p:nvSpPr>
              <p:cNvPr id="59" name="Line 48"/>
              <p:cNvSpPr>
                <a:spLocks noChangeShapeType="1"/>
              </p:cNvSpPr>
              <p:nvPr/>
            </p:nvSpPr>
            <p:spPr bwMode="auto">
              <a:xfrm>
                <a:off x="1467" y="1808"/>
                <a:ext cx="159" cy="0"/>
              </a:xfrm>
              <a:prstGeom prst="line">
                <a:avLst/>
              </a:prstGeom>
              <a:noFill/>
              <a:ln w="9525">
                <a:solidFill>
                  <a:schemeClr val="accent4"/>
                </a:solidFill>
                <a:prstDash val="sysDot"/>
                <a:round/>
                <a:headEnd/>
                <a:tailEnd/>
              </a:ln>
            </p:spPr>
            <p:txBody>
              <a:bodyPr wrap="none" anchor="ctr"/>
              <a:lstStyle/>
              <a:p>
                <a:pPr>
                  <a:defRPr/>
                </a:pPr>
                <a:endParaRPr lang="en-US" sz="1400" dirty="0">
                  <a:solidFill>
                    <a:srgbClr val="53565A"/>
                  </a:solidFill>
                </a:endParaRPr>
              </a:p>
            </p:txBody>
          </p:sp>
          <p:sp>
            <p:nvSpPr>
              <p:cNvPr id="60" name="Line 49"/>
              <p:cNvSpPr>
                <a:spLocks noChangeShapeType="1"/>
              </p:cNvSpPr>
              <p:nvPr/>
            </p:nvSpPr>
            <p:spPr bwMode="auto">
              <a:xfrm>
                <a:off x="1467" y="1638"/>
                <a:ext cx="159" cy="0"/>
              </a:xfrm>
              <a:prstGeom prst="line">
                <a:avLst/>
              </a:prstGeom>
              <a:noFill/>
              <a:ln w="9525">
                <a:solidFill>
                  <a:schemeClr val="accent4"/>
                </a:solidFill>
                <a:prstDash val="sysDot"/>
                <a:round/>
                <a:headEnd/>
                <a:tailEnd/>
              </a:ln>
            </p:spPr>
            <p:txBody>
              <a:bodyPr wrap="none" anchor="ctr"/>
              <a:lstStyle/>
              <a:p>
                <a:pPr>
                  <a:defRPr/>
                </a:pPr>
                <a:endParaRPr lang="en-US" sz="1400" dirty="0">
                  <a:solidFill>
                    <a:srgbClr val="53565A"/>
                  </a:solidFill>
                </a:endParaRPr>
              </a:p>
            </p:txBody>
          </p:sp>
          <p:sp>
            <p:nvSpPr>
              <p:cNvPr id="843825" name="Line 50"/>
              <p:cNvSpPr>
                <a:spLocks noChangeShapeType="1"/>
              </p:cNvSpPr>
              <p:nvPr/>
            </p:nvSpPr>
            <p:spPr bwMode="auto">
              <a:xfrm>
                <a:off x="1467" y="3164"/>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6" name="Line 51"/>
              <p:cNvSpPr>
                <a:spLocks noChangeShapeType="1"/>
              </p:cNvSpPr>
              <p:nvPr/>
            </p:nvSpPr>
            <p:spPr bwMode="auto">
              <a:xfrm>
                <a:off x="1467" y="2995"/>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7" name="Line 52"/>
              <p:cNvSpPr>
                <a:spLocks noChangeShapeType="1"/>
              </p:cNvSpPr>
              <p:nvPr/>
            </p:nvSpPr>
            <p:spPr bwMode="auto">
              <a:xfrm>
                <a:off x="1467" y="2825"/>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sp>
            <p:nvSpPr>
              <p:cNvPr id="843828" name="Line 53"/>
              <p:cNvSpPr>
                <a:spLocks noChangeShapeType="1"/>
              </p:cNvSpPr>
              <p:nvPr/>
            </p:nvSpPr>
            <p:spPr bwMode="auto">
              <a:xfrm>
                <a:off x="1467" y="2656"/>
                <a:ext cx="159" cy="0"/>
              </a:xfrm>
              <a:prstGeom prst="line">
                <a:avLst/>
              </a:prstGeom>
              <a:noFill/>
              <a:ln w="9525">
                <a:solidFill>
                  <a:schemeClr val="bg1"/>
                </a:solidFill>
                <a:prstDash val="sysDot"/>
                <a:round/>
                <a:headEnd/>
                <a:tailEnd/>
              </a:ln>
            </p:spPr>
            <p:txBody>
              <a:bodyPr wrap="none" anchor="ctr"/>
              <a:lstStyle/>
              <a:p>
                <a:endParaRPr lang="en-US" dirty="0">
                  <a:solidFill>
                    <a:srgbClr val="53565A"/>
                  </a:solidFill>
                </a:endParaRPr>
              </a:p>
            </p:txBody>
          </p:sp>
        </p:grpSp>
        <p:sp>
          <p:nvSpPr>
            <p:cNvPr id="67" name="Oval 56"/>
            <p:cNvSpPr>
              <a:spLocks noChangeArrowheads="1"/>
            </p:cNvSpPr>
            <p:nvPr/>
          </p:nvSpPr>
          <p:spPr bwMode="auto">
            <a:xfrm>
              <a:off x="8146415" y="5801044"/>
              <a:ext cx="534988" cy="460375"/>
            </a:xfrm>
            <a:prstGeom prst="ellipse">
              <a:avLst/>
            </a:prstGeom>
            <a:solidFill>
              <a:schemeClr val="accent4"/>
            </a:solidFill>
            <a:ln w="9525" algn="ctr">
              <a:solidFill>
                <a:schemeClr val="accent4"/>
              </a:solidFill>
              <a:round/>
              <a:headEnd/>
              <a:tailEnd/>
            </a:ln>
          </p:spPr>
          <p:txBody>
            <a:bodyPr wrap="none" anchor="ctr"/>
            <a:lstStyle/>
            <a:p>
              <a:pPr algn="ctr">
                <a:defRPr/>
              </a:pPr>
              <a:endParaRPr lang="en-US" sz="1400" dirty="0">
                <a:solidFill>
                  <a:srgbClr val="53565A"/>
                </a:solidFill>
              </a:endParaRPr>
            </a:p>
          </p:txBody>
        </p:sp>
        <p:sp>
          <p:nvSpPr>
            <p:cNvPr id="843813" name="Rectangle 57"/>
            <p:cNvSpPr>
              <a:spLocks noChangeArrowheads="1"/>
            </p:cNvSpPr>
            <p:nvPr/>
          </p:nvSpPr>
          <p:spPr bwMode="auto">
            <a:xfrm>
              <a:off x="8270240" y="5791519"/>
              <a:ext cx="287338" cy="58737"/>
            </a:xfrm>
            <a:prstGeom prst="rect">
              <a:avLst/>
            </a:prstGeom>
            <a:solidFill>
              <a:schemeClr val="accent4"/>
            </a:solidFill>
            <a:ln w="12700" algn="ctr">
              <a:noFill/>
              <a:miter lim="800000"/>
              <a:headEnd/>
              <a:tailEnd/>
            </a:ln>
          </p:spPr>
          <p:txBody>
            <a:bodyPr wrap="none" anchor="ctr"/>
            <a:lstStyle/>
            <a:p>
              <a:pPr algn="ctr"/>
              <a:endParaRPr lang="en-US" sz="1400" dirty="0">
                <a:solidFill>
                  <a:srgbClr val="53565A"/>
                </a:solidFill>
              </a:endParaRPr>
            </a:p>
          </p:txBody>
        </p:sp>
        <p:sp>
          <p:nvSpPr>
            <p:cNvPr id="843814" name="Rectangle 58"/>
            <p:cNvSpPr>
              <a:spLocks noChangeArrowheads="1"/>
            </p:cNvSpPr>
            <p:nvPr/>
          </p:nvSpPr>
          <p:spPr bwMode="auto">
            <a:xfrm>
              <a:off x="8375459" y="5969319"/>
              <a:ext cx="72136"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solidFill>
                    <a:schemeClr val="bg1"/>
                  </a:solidFill>
                  <a:ea typeface="ＭＳ Ｐゴシック" charset="-128"/>
                </a:rPr>
                <a:t>0</a:t>
              </a:r>
            </a:p>
          </p:txBody>
        </p:sp>
        <p:sp>
          <p:nvSpPr>
            <p:cNvPr id="70" name="Oval 59"/>
            <p:cNvSpPr>
              <a:spLocks noChangeArrowheads="1"/>
            </p:cNvSpPr>
            <p:nvPr/>
          </p:nvSpPr>
          <p:spPr bwMode="auto">
            <a:xfrm>
              <a:off x="8146415" y="2067244"/>
              <a:ext cx="534988" cy="460375"/>
            </a:xfrm>
            <a:prstGeom prst="ellipse">
              <a:avLst/>
            </a:prstGeom>
            <a:solidFill>
              <a:schemeClr val="bg1"/>
            </a:solidFill>
            <a:ln w="9525">
              <a:solidFill>
                <a:schemeClr val="accent4"/>
              </a:solidFill>
              <a:round/>
              <a:headEnd/>
              <a:tailEnd/>
            </a:ln>
          </p:spPr>
          <p:txBody>
            <a:bodyPr wrap="none" anchor="ctr"/>
            <a:lstStyle/>
            <a:p>
              <a:pPr algn="ctr">
                <a:defRPr/>
              </a:pPr>
              <a:endParaRPr lang="en-US" sz="1400" dirty="0">
                <a:solidFill>
                  <a:srgbClr val="53565A"/>
                </a:solidFill>
              </a:endParaRPr>
            </a:p>
          </p:txBody>
        </p:sp>
        <p:sp>
          <p:nvSpPr>
            <p:cNvPr id="843816" name="Rectangle 60"/>
            <p:cNvSpPr>
              <a:spLocks noChangeArrowheads="1"/>
            </p:cNvSpPr>
            <p:nvPr/>
          </p:nvSpPr>
          <p:spPr bwMode="white">
            <a:xfrm>
              <a:off x="8260048" y="2435544"/>
              <a:ext cx="310896" cy="103187"/>
            </a:xfrm>
            <a:prstGeom prst="rect">
              <a:avLst/>
            </a:prstGeom>
            <a:solidFill>
              <a:schemeClr val="bg1"/>
            </a:solidFill>
            <a:ln w="12700">
              <a:noFill/>
              <a:miter lim="800000"/>
              <a:headEnd/>
              <a:tailEnd/>
            </a:ln>
          </p:spPr>
          <p:txBody>
            <a:bodyPr wrap="none" anchor="ctr"/>
            <a:lstStyle/>
            <a:p>
              <a:pPr algn="ctr"/>
              <a:endParaRPr lang="en-US" sz="1400" dirty="0">
                <a:solidFill>
                  <a:srgbClr val="53565A"/>
                </a:solidFill>
              </a:endParaRPr>
            </a:p>
          </p:txBody>
        </p:sp>
        <p:sp>
          <p:nvSpPr>
            <p:cNvPr id="843817" name="Rectangle 61"/>
            <p:cNvSpPr>
              <a:spLocks noChangeArrowheads="1"/>
            </p:cNvSpPr>
            <p:nvPr/>
          </p:nvSpPr>
          <p:spPr bwMode="auto">
            <a:xfrm>
              <a:off x="8339393" y="2218374"/>
              <a:ext cx="144270"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a:solidFill>
                    <a:srgbClr val="53565A"/>
                  </a:solidFill>
                  <a:ea typeface="ＭＳ Ｐゴシック" charset="-128"/>
                </a:rPr>
                <a:t>10</a:t>
              </a:r>
            </a:p>
          </p:txBody>
        </p:sp>
      </p:grpSp>
      <p:sp>
        <p:nvSpPr>
          <p:cNvPr id="61" name="Rectangle 60">
            <a:extLst>
              <a:ext uri="{FF2B5EF4-FFF2-40B4-BE49-F238E27FC236}">
                <a16:creationId xmlns:a16="http://schemas.microsoft.com/office/drawing/2014/main" id="{1AAC9913-DAC5-7940-AE09-0B03183C4001}"/>
              </a:ext>
            </a:extLst>
          </p:cNvPr>
          <p:cNvSpPr>
            <a:spLocks noChangeArrowheads="1"/>
          </p:cNvSpPr>
          <p:nvPr/>
        </p:nvSpPr>
        <p:spPr bwMode="auto">
          <a:xfrm>
            <a:off x="8935616" y="0"/>
            <a:ext cx="3256384" cy="628650"/>
          </a:xfrm>
          <a:prstGeom prst="rect">
            <a:avLst/>
          </a:prstGeom>
          <a:solidFill>
            <a:srgbClr val="FFCD00"/>
          </a:solidFill>
          <a:ln w="6350" algn="ctr">
            <a:noFill/>
            <a:miter lim="800000"/>
            <a:headEnd/>
            <a:tailEnd/>
          </a:ln>
        </p:spPr>
        <p:txBody>
          <a:bodyPr tIns="91440" bIns="91440">
            <a:noAutofit/>
          </a:bodyPr>
          <a:lstStyle/>
          <a:p>
            <a:pPr>
              <a:defRPr/>
            </a:pPr>
            <a:r>
              <a:rPr lang="en-US" altLang="ja-JP" sz="1000" dirty="0">
                <a:ea typeface="ＭＳ Ｐゴシック" pitchFamily="50" charset="-128"/>
              </a:rPr>
              <a:t>Note:</a:t>
            </a:r>
          </a:p>
          <a:p>
            <a:pPr>
              <a:defRPr/>
            </a:pPr>
            <a:r>
              <a:rPr lang="en-US" altLang="ja-JP" sz="1000" dirty="0">
                <a:ea typeface="ＭＳ Ｐゴシック" pitchFamily="50" charset="-128"/>
              </a:rPr>
              <a:t>Click on the color portion and move up or down to the appropriate level</a:t>
            </a:r>
          </a:p>
        </p:txBody>
      </p:sp>
    </p:spTree>
    <p:extLst>
      <p:ext uri="{BB962C8B-B14F-4D97-AF65-F5344CB8AC3E}">
        <p14:creationId xmlns:p14="http://schemas.microsoft.com/office/powerpoint/2010/main" val="1539697283"/>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AutoShape 3"/>
          <p:cNvSpPr>
            <a:spLocks noChangeArrowheads="1"/>
          </p:cNvSpPr>
          <p:nvPr/>
        </p:nvSpPr>
        <p:spPr bwMode="auto">
          <a:xfrm rot="16200000">
            <a:off x="4709627" y="1744579"/>
            <a:ext cx="371054" cy="521208"/>
          </a:xfrm>
          <a:prstGeom prst="flowChartDelay">
            <a:avLst/>
          </a:prstGeom>
          <a:solidFill>
            <a:schemeClr val="bg2">
              <a:lumMod val="20000"/>
              <a:lumOff val="80000"/>
            </a:schemeClr>
          </a:solidFill>
          <a:ln w="3175" algn="ctr">
            <a:noFill/>
            <a:miter lim="800000"/>
            <a:headEnd/>
            <a:tailEnd/>
          </a:ln>
        </p:spPr>
        <p:txBody>
          <a:bodyPr wrap="square" lIns="36000" tIns="36000" rIns="36000" bIns="36000" anchor="ctr"/>
          <a:lstStyle/>
          <a:p>
            <a:pPr algn="ctr">
              <a:defRPr/>
            </a:pPr>
            <a:endParaRPr lang="en-US" sz="1400" dirty="0">
              <a:solidFill>
                <a:srgbClr val="53565A"/>
              </a:solidFill>
            </a:endParaRPr>
          </a:p>
        </p:txBody>
      </p:sp>
      <p:sp>
        <p:nvSpPr>
          <p:cNvPr id="4" name="Text Placeholder 3"/>
          <p:cNvSpPr>
            <a:spLocks noGrp="1"/>
          </p:cNvSpPr>
          <p:nvPr>
            <p:ph type="body" sz="quarter" idx="13"/>
          </p:nvPr>
        </p:nvSpPr>
        <p:spPr/>
        <p:txBody>
          <a:bodyPr/>
          <a:lstStyle/>
          <a:p>
            <a:r>
              <a:rPr lang="en-US" dirty="0"/>
              <a:t>Saving thermometer</a:t>
            </a:r>
          </a:p>
        </p:txBody>
      </p:sp>
      <p:sp>
        <p:nvSpPr>
          <p:cNvPr id="371719" name="Title 1"/>
          <p:cNvSpPr>
            <a:spLocks noGrp="1"/>
          </p:cNvSpPr>
          <p:nvPr>
            <p:ph type="title"/>
          </p:nvPr>
        </p:nvSpPr>
        <p:spPr/>
        <p:txBody>
          <a:bodyPr/>
          <a:lstStyle/>
          <a:p>
            <a:r>
              <a:rPr lang="en-US" altLang="ja-JP" dirty="0"/>
              <a:t>Other</a:t>
            </a:r>
            <a:endParaRPr lang="en-US" dirty="0">
              <a:solidFill>
                <a:schemeClr val="tx2"/>
              </a:solidFill>
            </a:endParaRPr>
          </a:p>
        </p:txBody>
      </p:sp>
      <p:sp>
        <p:nvSpPr>
          <p:cNvPr id="96" name="Oval 5"/>
          <p:cNvSpPr>
            <a:spLocks noChangeArrowheads="1"/>
          </p:cNvSpPr>
          <p:nvPr/>
        </p:nvSpPr>
        <p:spPr bwMode="auto">
          <a:xfrm>
            <a:off x="4572526" y="5068824"/>
            <a:ext cx="679450" cy="736600"/>
          </a:xfrm>
          <a:prstGeom prst="ellipse">
            <a:avLst/>
          </a:prstGeom>
          <a:solidFill>
            <a:schemeClr val="accent2"/>
          </a:solidFill>
          <a:ln w="28575" algn="ctr">
            <a:solidFill>
              <a:schemeClr val="accent2"/>
            </a:solidFill>
            <a:round/>
            <a:headEnd/>
            <a:tailEnd/>
          </a:ln>
        </p:spPr>
        <p:txBody>
          <a:bodyPr wrap="square" lIns="36000" tIns="36000" rIns="36000" bIns="36000" anchor="ctr"/>
          <a:lstStyle/>
          <a:p>
            <a:pPr algn="ctr">
              <a:defRPr/>
            </a:pPr>
            <a:endParaRPr lang="en-US" sz="1400" dirty="0">
              <a:solidFill>
                <a:srgbClr val="53565A"/>
              </a:solidFill>
            </a:endParaRPr>
          </a:p>
        </p:txBody>
      </p:sp>
      <p:sp>
        <p:nvSpPr>
          <p:cNvPr id="371723" name="Text Box 9"/>
          <p:cNvSpPr txBox="1">
            <a:spLocks noChangeArrowheads="1"/>
          </p:cNvSpPr>
          <p:nvPr/>
        </p:nvSpPr>
        <p:spPr bwMode="auto">
          <a:xfrm>
            <a:off x="3881912" y="435878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2M</a:t>
            </a:r>
          </a:p>
        </p:txBody>
      </p:sp>
      <p:sp>
        <p:nvSpPr>
          <p:cNvPr id="371724" name="Text Box 10"/>
          <p:cNvSpPr txBox="1">
            <a:spLocks noChangeArrowheads="1"/>
          </p:cNvSpPr>
          <p:nvPr/>
        </p:nvSpPr>
        <p:spPr bwMode="auto">
          <a:xfrm>
            <a:off x="3881912" y="398241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3M</a:t>
            </a:r>
          </a:p>
        </p:txBody>
      </p:sp>
      <p:sp>
        <p:nvSpPr>
          <p:cNvPr id="371725" name="Text Box 13"/>
          <p:cNvSpPr txBox="1">
            <a:spLocks noChangeArrowheads="1"/>
          </p:cNvSpPr>
          <p:nvPr/>
        </p:nvSpPr>
        <p:spPr bwMode="auto">
          <a:xfrm>
            <a:off x="3881912" y="4735148"/>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1M</a:t>
            </a:r>
          </a:p>
        </p:txBody>
      </p:sp>
      <p:sp>
        <p:nvSpPr>
          <p:cNvPr id="371726" name="Text Box 16"/>
          <p:cNvSpPr txBox="1">
            <a:spLocks noChangeArrowheads="1"/>
          </p:cNvSpPr>
          <p:nvPr/>
        </p:nvSpPr>
        <p:spPr bwMode="auto">
          <a:xfrm>
            <a:off x="3881912" y="360604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4M</a:t>
            </a:r>
          </a:p>
        </p:txBody>
      </p:sp>
      <p:sp>
        <p:nvSpPr>
          <p:cNvPr id="371727" name="Text Box 18"/>
          <p:cNvSpPr txBox="1">
            <a:spLocks noChangeArrowheads="1"/>
          </p:cNvSpPr>
          <p:nvPr/>
        </p:nvSpPr>
        <p:spPr bwMode="auto">
          <a:xfrm>
            <a:off x="3881912" y="5122102"/>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0M</a:t>
            </a:r>
          </a:p>
        </p:txBody>
      </p:sp>
      <p:sp>
        <p:nvSpPr>
          <p:cNvPr id="371728" name="Text Box 19"/>
          <p:cNvSpPr txBox="1">
            <a:spLocks noChangeArrowheads="1"/>
          </p:cNvSpPr>
          <p:nvPr/>
        </p:nvSpPr>
        <p:spPr bwMode="auto">
          <a:xfrm>
            <a:off x="3881912" y="285330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6M</a:t>
            </a:r>
          </a:p>
        </p:txBody>
      </p:sp>
      <p:sp>
        <p:nvSpPr>
          <p:cNvPr id="371729" name="Text Box 20"/>
          <p:cNvSpPr txBox="1">
            <a:spLocks noChangeArrowheads="1"/>
          </p:cNvSpPr>
          <p:nvPr/>
        </p:nvSpPr>
        <p:spPr bwMode="auto">
          <a:xfrm>
            <a:off x="5318443" y="2533587"/>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A: $XXM:</a:t>
            </a:r>
          </a:p>
          <a:p>
            <a:pPr marL="0" lvl="1">
              <a:buSzPct val="100000"/>
            </a:pPr>
            <a:r>
              <a:rPr lang="en-US" altLang="ja-JP" sz="1100" dirty="0">
                <a:solidFill>
                  <a:srgbClr val="53565A"/>
                </a:solidFill>
                <a:ea typeface="ＭＳ Ｐゴシック" charset="-128"/>
              </a:rPr>
              <a:t>..</a:t>
            </a:r>
          </a:p>
        </p:txBody>
      </p:sp>
      <p:sp>
        <p:nvSpPr>
          <p:cNvPr id="371730" name="Text Box 21"/>
          <p:cNvSpPr txBox="1">
            <a:spLocks noChangeArrowheads="1"/>
          </p:cNvSpPr>
          <p:nvPr/>
        </p:nvSpPr>
        <p:spPr bwMode="auto">
          <a:xfrm>
            <a:off x="5318443" y="3056509"/>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B: $XXM:</a:t>
            </a:r>
          </a:p>
          <a:p>
            <a:pPr marL="0" lvl="1">
              <a:buSzPct val="100000"/>
            </a:pPr>
            <a:r>
              <a:rPr lang="en-US" altLang="ja-JP" sz="1100" dirty="0">
                <a:solidFill>
                  <a:srgbClr val="53565A"/>
                </a:solidFill>
                <a:ea typeface="ＭＳ Ｐゴシック" charset="-128"/>
              </a:rPr>
              <a:t>..</a:t>
            </a:r>
          </a:p>
        </p:txBody>
      </p:sp>
      <p:sp>
        <p:nvSpPr>
          <p:cNvPr id="371731" name="Text Box 22"/>
          <p:cNvSpPr txBox="1">
            <a:spLocks noChangeArrowheads="1"/>
          </p:cNvSpPr>
          <p:nvPr/>
        </p:nvSpPr>
        <p:spPr bwMode="auto">
          <a:xfrm>
            <a:off x="5318443" y="3579431"/>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C: $XXM:</a:t>
            </a:r>
          </a:p>
          <a:p>
            <a:pPr marL="0" lvl="1">
              <a:buSzPct val="100000"/>
            </a:pPr>
            <a:r>
              <a:rPr lang="en-US" altLang="ja-JP" sz="1100" dirty="0">
                <a:solidFill>
                  <a:srgbClr val="53565A"/>
                </a:solidFill>
                <a:ea typeface="ＭＳ Ｐゴシック" charset="-128"/>
              </a:rPr>
              <a:t>..</a:t>
            </a:r>
          </a:p>
        </p:txBody>
      </p:sp>
      <p:sp>
        <p:nvSpPr>
          <p:cNvPr id="371732" name="Text Box 23"/>
          <p:cNvSpPr txBox="1">
            <a:spLocks noChangeArrowheads="1"/>
          </p:cNvSpPr>
          <p:nvPr/>
        </p:nvSpPr>
        <p:spPr bwMode="auto">
          <a:xfrm>
            <a:off x="4292079" y="1542987"/>
            <a:ext cx="1211925" cy="184666"/>
          </a:xfrm>
          <a:prstGeom prst="rect">
            <a:avLst/>
          </a:prstGeom>
          <a:noFill/>
          <a:ln w="9525" algn="ctr">
            <a:noFill/>
            <a:miter lim="800000"/>
            <a:headEnd/>
            <a:tailEnd/>
          </a:ln>
        </p:spPr>
        <p:txBody>
          <a:bodyPr wrap="square" lIns="0" tIns="0" rIns="0" bIns="0">
            <a:spAutoFit/>
          </a:bodyPr>
          <a:lstStyle/>
          <a:p>
            <a:pPr algn="ctr"/>
            <a:r>
              <a:rPr lang="en-US" altLang="ja-JP" sz="1200" dirty="0">
                <a:solidFill>
                  <a:srgbClr val="53565A"/>
                </a:solidFill>
                <a:ea typeface="ＭＳ Ｐゴシック" charset="-128"/>
              </a:rPr>
              <a:t>Total: $XXM</a:t>
            </a:r>
          </a:p>
        </p:txBody>
      </p:sp>
      <p:sp>
        <p:nvSpPr>
          <p:cNvPr id="371733" name="Text Box 29"/>
          <p:cNvSpPr txBox="1">
            <a:spLocks noChangeArrowheads="1"/>
          </p:cNvSpPr>
          <p:nvPr/>
        </p:nvSpPr>
        <p:spPr bwMode="auto">
          <a:xfrm>
            <a:off x="3881912" y="247693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7M</a:t>
            </a:r>
          </a:p>
        </p:txBody>
      </p:sp>
      <p:sp>
        <p:nvSpPr>
          <p:cNvPr id="371734" name="Text Box 31"/>
          <p:cNvSpPr txBox="1">
            <a:spLocks noChangeArrowheads="1"/>
          </p:cNvSpPr>
          <p:nvPr/>
        </p:nvSpPr>
        <p:spPr bwMode="auto">
          <a:xfrm>
            <a:off x="3881912" y="3229670"/>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5M</a:t>
            </a:r>
          </a:p>
        </p:txBody>
      </p:sp>
      <p:sp>
        <p:nvSpPr>
          <p:cNvPr id="371735" name="Text Box 35"/>
          <p:cNvSpPr txBox="1">
            <a:spLocks noChangeArrowheads="1"/>
          </p:cNvSpPr>
          <p:nvPr/>
        </p:nvSpPr>
        <p:spPr bwMode="auto">
          <a:xfrm>
            <a:off x="3881912" y="2102677"/>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a:solidFill>
                  <a:srgbClr val="53565A"/>
                </a:solidFill>
                <a:ea typeface="ＭＳ Ｐゴシック" charset="-128"/>
              </a:rPr>
              <a:t>$8M</a:t>
            </a:r>
          </a:p>
        </p:txBody>
      </p:sp>
      <p:sp>
        <p:nvSpPr>
          <p:cNvPr id="371736" name="Text Box 36"/>
          <p:cNvSpPr txBox="1">
            <a:spLocks noChangeArrowheads="1"/>
          </p:cNvSpPr>
          <p:nvPr/>
        </p:nvSpPr>
        <p:spPr bwMode="auto">
          <a:xfrm>
            <a:off x="5318443" y="4102353"/>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D: $XXM:</a:t>
            </a:r>
          </a:p>
          <a:p>
            <a:pPr marL="0" lvl="1">
              <a:buSzPct val="100000"/>
            </a:pPr>
            <a:r>
              <a:rPr lang="en-US" altLang="ja-JP" sz="1100" dirty="0">
                <a:solidFill>
                  <a:srgbClr val="53565A"/>
                </a:solidFill>
                <a:ea typeface="ＭＳ Ｐゴシック" charset="-128"/>
              </a:rPr>
              <a:t>..</a:t>
            </a:r>
          </a:p>
        </p:txBody>
      </p:sp>
      <p:sp>
        <p:nvSpPr>
          <p:cNvPr id="371737" name="Rectangle 37"/>
          <p:cNvSpPr>
            <a:spLocks noChangeArrowheads="1"/>
          </p:cNvSpPr>
          <p:nvPr/>
        </p:nvSpPr>
        <p:spPr bwMode="auto">
          <a:xfrm>
            <a:off x="8281084" y="2312924"/>
            <a:ext cx="360000" cy="180000"/>
          </a:xfrm>
          <a:prstGeom prst="rect">
            <a:avLst/>
          </a:prstGeom>
          <a:solidFill>
            <a:schemeClr val="bg2">
              <a:lumMod val="20000"/>
              <a:lumOff val="80000"/>
            </a:schemeClr>
          </a:solidFill>
          <a:ln w="12700" algn="ctr">
            <a:noFill/>
            <a:miter lim="800000"/>
            <a:headEnd/>
            <a:tailEnd/>
          </a:ln>
        </p:spPr>
        <p:txBody>
          <a:bodyPr wrap="square" lIns="36000" tIns="36000" rIns="36000" bIns="36000" anchor="ctr"/>
          <a:lstStyle/>
          <a:p>
            <a:pPr algn="ctr"/>
            <a:endParaRPr lang="en-US" sz="1200" dirty="0">
              <a:solidFill>
                <a:srgbClr val="53565A"/>
              </a:solidFill>
            </a:endParaRPr>
          </a:p>
        </p:txBody>
      </p:sp>
      <p:sp>
        <p:nvSpPr>
          <p:cNvPr id="371738" name="Rectangle 38"/>
          <p:cNvSpPr>
            <a:spLocks noChangeArrowheads="1"/>
          </p:cNvSpPr>
          <p:nvPr/>
        </p:nvSpPr>
        <p:spPr bwMode="auto">
          <a:xfrm>
            <a:off x="8281084" y="2548100"/>
            <a:ext cx="360000" cy="180000"/>
          </a:xfrm>
          <a:prstGeom prst="rect">
            <a:avLst/>
          </a:prstGeom>
          <a:solidFill>
            <a:schemeClr val="bg2">
              <a:lumMod val="60000"/>
              <a:lumOff val="40000"/>
            </a:schemeClr>
          </a:solidFill>
          <a:ln w="12700" algn="ctr">
            <a:noFill/>
            <a:miter lim="800000"/>
            <a:headEnd/>
            <a:tailEnd/>
          </a:ln>
        </p:spPr>
        <p:txBody>
          <a:bodyPr wrap="square" lIns="36000" tIns="36000" rIns="36000" bIns="36000" anchor="ctr"/>
          <a:lstStyle/>
          <a:p>
            <a:pPr algn="ctr"/>
            <a:endParaRPr lang="en-US" sz="1200" dirty="0">
              <a:solidFill>
                <a:srgbClr val="53565A"/>
              </a:solidFill>
            </a:endParaRPr>
          </a:p>
        </p:txBody>
      </p:sp>
      <p:sp>
        <p:nvSpPr>
          <p:cNvPr id="129" name="Rectangle 39"/>
          <p:cNvSpPr>
            <a:spLocks noChangeArrowheads="1"/>
          </p:cNvSpPr>
          <p:nvPr/>
        </p:nvSpPr>
        <p:spPr bwMode="auto">
          <a:xfrm>
            <a:off x="8281084" y="2783276"/>
            <a:ext cx="360000" cy="180000"/>
          </a:xfrm>
          <a:prstGeom prst="rect">
            <a:avLst/>
          </a:prstGeom>
          <a:solidFill>
            <a:schemeClr val="bg2"/>
          </a:solidFill>
          <a:ln w="12700" algn="ctr">
            <a:noFill/>
            <a:miter lim="800000"/>
            <a:headEnd/>
            <a:tailEnd/>
          </a:ln>
        </p:spPr>
        <p:txBody>
          <a:bodyPr wrap="square" lIns="36000" tIns="36000" rIns="36000" bIns="36000" anchor="ctr"/>
          <a:lstStyle/>
          <a:p>
            <a:pPr algn="ctr">
              <a:defRPr/>
            </a:pPr>
            <a:endParaRPr lang="en-US" sz="1200" dirty="0">
              <a:solidFill>
                <a:srgbClr val="53565A"/>
              </a:solidFill>
            </a:endParaRPr>
          </a:p>
        </p:txBody>
      </p:sp>
      <p:sp>
        <p:nvSpPr>
          <p:cNvPr id="371740" name="Text Box 40"/>
          <p:cNvSpPr txBox="1">
            <a:spLocks noChangeArrowheads="1"/>
          </p:cNvSpPr>
          <p:nvPr/>
        </p:nvSpPr>
        <p:spPr bwMode="auto">
          <a:xfrm>
            <a:off x="8707278" y="2788639"/>
            <a:ext cx="613951"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C</a:t>
            </a:r>
          </a:p>
        </p:txBody>
      </p:sp>
      <p:sp>
        <p:nvSpPr>
          <p:cNvPr id="371741" name="Text Box 41"/>
          <p:cNvSpPr txBox="1">
            <a:spLocks noChangeArrowheads="1"/>
          </p:cNvSpPr>
          <p:nvPr/>
        </p:nvSpPr>
        <p:spPr bwMode="auto">
          <a:xfrm>
            <a:off x="8707278" y="2553463"/>
            <a:ext cx="613951"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B</a:t>
            </a:r>
          </a:p>
        </p:txBody>
      </p:sp>
      <p:sp>
        <p:nvSpPr>
          <p:cNvPr id="371742" name="Text Box 42"/>
          <p:cNvSpPr txBox="1">
            <a:spLocks noChangeArrowheads="1"/>
          </p:cNvSpPr>
          <p:nvPr/>
        </p:nvSpPr>
        <p:spPr bwMode="auto">
          <a:xfrm>
            <a:off x="8707278" y="2318287"/>
            <a:ext cx="618759"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A</a:t>
            </a:r>
          </a:p>
        </p:txBody>
      </p:sp>
      <p:sp>
        <p:nvSpPr>
          <p:cNvPr id="133" name="Rectangle 43"/>
          <p:cNvSpPr>
            <a:spLocks noChangeArrowheads="1"/>
          </p:cNvSpPr>
          <p:nvPr/>
        </p:nvSpPr>
        <p:spPr bwMode="auto">
          <a:xfrm>
            <a:off x="8281084" y="3018452"/>
            <a:ext cx="360000" cy="180000"/>
          </a:xfrm>
          <a:prstGeom prst="rect">
            <a:avLst/>
          </a:prstGeom>
          <a:solidFill>
            <a:schemeClr val="bg2">
              <a:lumMod val="50000"/>
            </a:schemeClr>
          </a:solidFill>
          <a:ln w="12700" algn="ctr">
            <a:noFill/>
            <a:miter lim="800000"/>
            <a:headEnd/>
            <a:tailEnd/>
          </a:ln>
        </p:spPr>
        <p:txBody>
          <a:bodyPr wrap="square" lIns="36000" tIns="36000" rIns="36000" bIns="36000" anchor="ctr" anchorCtr="0"/>
          <a:lstStyle/>
          <a:p>
            <a:pPr algn="ctr">
              <a:defRPr/>
            </a:pPr>
            <a:endParaRPr lang="en-US" sz="1200" dirty="0">
              <a:solidFill>
                <a:srgbClr val="53565A"/>
              </a:solidFill>
            </a:endParaRPr>
          </a:p>
        </p:txBody>
      </p:sp>
      <p:sp>
        <p:nvSpPr>
          <p:cNvPr id="371744" name="Text Box 44"/>
          <p:cNvSpPr txBox="1">
            <a:spLocks noChangeArrowheads="1"/>
          </p:cNvSpPr>
          <p:nvPr/>
        </p:nvSpPr>
        <p:spPr bwMode="auto">
          <a:xfrm>
            <a:off x="8707278" y="3023815"/>
            <a:ext cx="623569"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D</a:t>
            </a:r>
          </a:p>
        </p:txBody>
      </p:sp>
      <p:sp>
        <p:nvSpPr>
          <p:cNvPr id="135" name="Rectangle 45"/>
          <p:cNvSpPr>
            <a:spLocks noChangeArrowheads="1"/>
          </p:cNvSpPr>
          <p:nvPr/>
        </p:nvSpPr>
        <p:spPr bwMode="auto">
          <a:xfrm>
            <a:off x="8281084" y="3253629"/>
            <a:ext cx="360000" cy="180000"/>
          </a:xfrm>
          <a:prstGeom prst="rect">
            <a:avLst/>
          </a:prstGeom>
          <a:solidFill>
            <a:schemeClr val="accent2"/>
          </a:solidFill>
          <a:ln w="12700" algn="ctr">
            <a:noFill/>
            <a:miter lim="800000"/>
            <a:headEnd/>
            <a:tailEnd/>
          </a:ln>
        </p:spPr>
        <p:txBody>
          <a:bodyPr wrap="square" lIns="36000" tIns="36000" rIns="36000" bIns="36000" anchor="ctr" anchorCtr="0"/>
          <a:lstStyle/>
          <a:p>
            <a:pPr algn="ctr">
              <a:defRPr/>
            </a:pPr>
            <a:endParaRPr lang="en-US" sz="1200" dirty="0">
              <a:solidFill>
                <a:srgbClr val="53565A"/>
              </a:solidFill>
            </a:endParaRPr>
          </a:p>
        </p:txBody>
      </p:sp>
      <p:sp>
        <p:nvSpPr>
          <p:cNvPr id="371746" name="Text Box 46"/>
          <p:cNvSpPr txBox="1">
            <a:spLocks noChangeArrowheads="1"/>
          </p:cNvSpPr>
          <p:nvPr/>
        </p:nvSpPr>
        <p:spPr bwMode="auto">
          <a:xfrm>
            <a:off x="8707278" y="3258992"/>
            <a:ext cx="607539" cy="169277"/>
          </a:xfrm>
          <a:prstGeom prst="rect">
            <a:avLst/>
          </a:prstGeom>
          <a:noFill/>
          <a:ln w="9525" algn="ctr">
            <a:noFill/>
            <a:miter lim="800000"/>
            <a:headEnd/>
            <a:tailEnd/>
          </a:ln>
        </p:spPr>
        <p:txBody>
          <a:bodyPr wrap="none" lIns="0" tIns="0" rIns="0" bIns="0" anchor="ctr" anchorCtr="0">
            <a:spAutoFit/>
          </a:bodyPr>
          <a:lstStyle/>
          <a:p>
            <a:r>
              <a:rPr lang="en-US" altLang="ja-JP" sz="1100" dirty="0">
                <a:solidFill>
                  <a:srgbClr val="53565A"/>
                </a:solidFill>
                <a:ea typeface="ＭＳ Ｐゴシック" charset="-128"/>
              </a:rPr>
              <a:t>Category E</a:t>
            </a:r>
          </a:p>
        </p:txBody>
      </p:sp>
      <p:sp>
        <p:nvSpPr>
          <p:cNvPr id="371747" name="Text Box 47"/>
          <p:cNvSpPr txBox="1">
            <a:spLocks noChangeArrowheads="1"/>
          </p:cNvSpPr>
          <p:nvPr/>
        </p:nvSpPr>
        <p:spPr bwMode="auto">
          <a:xfrm>
            <a:off x="5318443" y="4625275"/>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E: $XXM:</a:t>
            </a:r>
          </a:p>
          <a:p>
            <a:pPr marL="0" lvl="1">
              <a:buSzPct val="100000"/>
            </a:pPr>
            <a:r>
              <a:rPr lang="en-US" altLang="ja-JP" sz="1100" dirty="0">
                <a:solidFill>
                  <a:srgbClr val="53565A"/>
                </a:solidFill>
                <a:ea typeface="ＭＳ Ｐゴシック" charset="-128"/>
              </a:rPr>
              <a:t>..</a:t>
            </a:r>
          </a:p>
        </p:txBody>
      </p:sp>
      <p:graphicFrame>
        <p:nvGraphicFramePr>
          <p:cNvPr id="55" name="Table 54"/>
          <p:cNvGraphicFramePr>
            <a:graphicFrameLocks noGrp="1"/>
          </p:cNvGraphicFramePr>
          <p:nvPr>
            <p:extLst>
              <p:ext uri="{D42A27DB-BD31-4B8C-83A1-F6EECF244321}">
                <p14:modId xmlns:p14="http://schemas.microsoft.com/office/powerpoint/2010/main" val="998038986"/>
              </p:ext>
            </p:extLst>
          </p:nvPr>
        </p:nvGraphicFramePr>
        <p:xfrm>
          <a:off x="4634549" y="2184328"/>
          <a:ext cx="523875" cy="3008320"/>
        </p:xfrm>
        <a:graphic>
          <a:graphicData uri="http://schemas.openxmlformats.org/drawingml/2006/table">
            <a:tbl>
              <a:tblPr firstRow="1" bandRow="1">
                <a:tableStyleId>{5C22544A-7EE6-4342-B048-85BDC9FD1C3A}</a:tableStyleId>
              </a:tblPr>
              <a:tblGrid>
                <a:gridCol w="523875">
                  <a:extLst>
                    <a:ext uri="{9D8B030D-6E8A-4147-A177-3AD203B41FA5}">
                      <a16:colId xmlns:a16="http://schemas.microsoft.com/office/drawing/2014/main" val="20000"/>
                    </a:ext>
                  </a:extLst>
                </a:gridCol>
              </a:tblGrid>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0"/>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4"/>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5"/>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006"/>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8"/>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9"/>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0"/>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1"/>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2"/>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3"/>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4"/>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5"/>
                  </a:ext>
                </a:extLst>
              </a:tr>
            </a:tbl>
          </a:graphicData>
        </a:graphic>
      </p:graphicFrame>
      <p:sp>
        <p:nvSpPr>
          <p:cNvPr id="33" name="Rectangle 32">
            <a:extLst>
              <a:ext uri="{FF2B5EF4-FFF2-40B4-BE49-F238E27FC236}">
                <a16:creationId xmlns:a16="http://schemas.microsoft.com/office/drawing/2014/main" id="{D02E1EEF-15FD-504F-93A1-D8DD7C4A3B05}"/>
              </a:ext>
            </a:extLst>
          </p:cNvPr>
          <p:cNvSpPr>
            <a:spLocks noChangeArrowheads="1"/>
          </p:cNvSpPr>
          <p:nvPr/>
        </p:nvSpPr>
        <p:spPr bwMode="auto">
          <a:xfrm>
            <a:off x="8935616" y="0"/>
            <a:ext cx="3256384" cy="853440"/>
          </a:xfrm>
          <a:prstGeom prst="rect">
            <a:avLst/>
          </a:prstGeom>
          <a:solidFill>
            <a:srgbClr val="FFCD00"/>
          </a:solidFill>
          <a:ln w="6350" algn="ctr">
            <a:noFill/>
            <a:miter lim="800000"/>
            <a:headEnd/>
            <a:tailEnd/>
          </a:ln>
        </p:spPr>
        <p:txBody>
          <a:bodyPr tIns="91440" bIns="91440">
            <a:noAutofit/>
          </a:bodyPr>
          <a:lstStyle/>
          <a:p>
            <a:pPr>
              <a:defRPr/>
            </a:pPr>
            <a:r>
              <a:rPr lang="en-US" altLang="ja-JP" sz="1000" b="1" dirty="0">
                <a:solidFill>
                  <a:sysClr val="windowText" lastClr="000000"/>
                </a:solidFill>
                <a:ea typeface="ＭＳ Ｐゴシック" pitchFamily="50" charset="-128"/>
              </a:rPr>
              <a:t>Note:</a:t>
            </a:r>
          </a:p>
          <a:p>
            <a:pPr>
              <a:defRPr/>
            </a:pPr>
            <a:r>
              <a:rPr lang="en-US" altLang="ja-JP" sz="1000" dirty="0">
                <a:solidFill>
                  <a:sysClr val="windowText" lastClr="000000"/>
                </a:solidFill>
                <a:ea typeface="ＭＳ Ｐゴシック" pitchFamily="50" charset="-128"/>
              </a:rPr>
              <a:t>Double-click on the colored area to adjust the amount per category, to change the scale use right click on the invisible vertical axis</a:t>
            </a:r>
          </a:p>
        </p:txBody>
      </p:sp>
    </p:spTree>
    <p:extLst>
      <p:ext uri="{BB962C8B-B14F-4D97-AF65-F5344CB8AC3E}">
        <p14:creationId xmlns:p14="http://schemas.microsoft.com/office/powerpoint/2010/main" val="2443473360"/>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Placeholder 25">
            <a:extLst>
              <a:ext uri="{FF2B5EF4-FFF2-40B4-BE49-F238E27FC236}">
                <a16:creationId xmlns:a16="http://schemas.microsoft.com/office/drawing/2014/main" id="{3A9AAAD9-44FD-4C43-83E3-9300D123465E}"/>
              </a:ext>
            </a:extLst>
          </p:cNvPr>
          <p:cNvGraphicFramePr>
            <a:graphicFrameLocks noGrp="1"/>
          </p:cNvGraphicFramePr>
          <p:nvPr>
            <p:ph type="chart" sz="quarter" idx="21"/>
            <p:extLst>
              <p:ext uri="{D42A27DB-BD31-4B8C-83A1-F6EECF244321}">
                <p14:modId xmlns:p14="http://schemas.microsoft.com/office/powerpoint/2010/main" val="1168590902"/>
              </p:ext>
            </p:extLst>
          </p:nvPr>
        </p:nvGraphicFramePr>
        <p:xfrm>
          <a:off x="3099376" y="1984375"/>
          <a:ext cx="5349875"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 Placeholder 11">
            <a:extLst>
              <a:ext uri="{FF2B5EF4-FFF2-40B4-BE49-F238E27FC236}">
                <a16:creationId xmlns:a16="http://schemas.microsoft.com/office/drawing/2014/main" id="{D7B05208-2643-4937-8800-DF5FCC46EC89}"/>
              </a:ext>
            </a:extLst>
          </p:cNvPr>
          <p:cNvSpPr>
            <a:spLocks noGrp="1"/>
          </p:cNvSpPr>
          <p:nvPr>
            <p:ph type="body" sz="quarter" idx="22"/>
          </p:nvPr>
        </p:nvSpPr>
        <p:spPr>
          <a:xfrm>
            <a:off x="3120503" y="1665288"/>
            <a:ext cx="5349128" cy="420687"/>
          </a:xfrm>
        </p:spPr>
        <p:txBody>
          <a:bodyPr/>
          <a:lstStyle/>
          <a:p>
            <a:r>
              <a:rPr lang="en-US" noProof="0" dirty="0">
                <a:latin typeface="+mj-lt"/>
              </a:rPr>
              <a:t>Chart title runs here (units)</a:t>
            </a:r>
          </a:p>
          <a:p>
            <a:endParaRPr lang="en-US" noProof="0" dirty="0">
              <a:latin typeface="+mj-lt"/>
            </a:endParaRPr>
          </a:p>
        </p:txBody>
      </p:sp>
      <p:sp>
        <p:nvSpPr>
          <p:cNvPr id="36" name="Text Placeholder 35"/>
          <p:cNvSpPr>
            <a:spLocks noGrp="1"/>
          </p:cNvSpPr>
          <p:nvPr>
            <p:ph type="body" sz="quarter" idx="13"/>
          </p:nvPr>
        </p:nvSpPr>
        <p:spPr>
          <a:xfrm>
            <a:off x="501650" y="651600"/>
            <a:ext cx="11188700" cy="404089"/>
          </a:xfrm>
        </p:spPr>
        <p:txBody>
          <a:bodyPr/>
          <a:lstStyle/>
          <a:p>
            <a:r>
              <a:rPr lang="en-GB"/>
              <a:t>Single </a:t>
            </a:r>
            <a:r>
              <a:rPr lang="en-US"/>
              <a:t>color</a:t>
            </a:r>
            <a:r>
              <a:rPr lang="en-GB"/>
              <a:t> highlight</a:t>
            </a:r>
            <a:endParaRPr lang="en-GB" dirty="0"/>
          </a:p>
        </p:txBody>
      </p:sp>
      <p:sp>
        <p:nvSpPr>
          <p:cNvPr id="2" name="Title 1"/>
          <p:cNvSpPr>
            <a:spLocks noGrp="1"/>
          </p:cNvSpPr>
          <p:nvPr>
            <p:ph type="title"/>
          </p:nvPr>
        </p:nvSpPr>
        <p:spPr/>
        <p:txBody>
          <a:bodyPr/>
          <a:lstStyle/>
          <a:p>
            <a:r>
              <a:rPr lang="en-US" dirty="0"/>
              <a:t>Column chart with icons</a:t>
            </a:r>
          </a:p>
        </p:txBody>
      </p:sp>
      <p:cxnSp>
        <p:nvCxnSpPr>
          <p:cNvPr id="23" name="Straight Connector 22">
            <a:extLst>
              <a:ext uri="{FF2B5EF4-FFF2-40B4-BE49-F238E27FC236}">
                <a16:creationId xmlns:a16="http://schemas.microsoft.com/office/drawing/2014/main" id="{35C809E8-F00F-410E-9561-BA1AC1C11A1D}"/>
              </a:ext>
            </a:extLst>
          </p:cNvPr>
          <p:cNvCxnSpPr>
            <a:cxnSpLocks/>
            <a:stCxn id="30" idx="14"/>
          </p:cNvCxnSpPr>
          <p:nvPr/>
        </p:nvCxnSpPr>
        <p:spPr bwMode="gray">
          <a:xfrm>
            <a:off x="5760648" y="2594396"/>
            <a:ext cx="0" cy="57666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3E8548-9880-42DD-88A9-1109A5A4FDEE}"/>
              </a:ext>
            </a:extLst>
          </p:cNvPr>
          <p:cNvCxnSpPr/>
          <p:nvPr/>
        </p:nvCxnSpPr>
        <p:spPr bwMode="gray">
          <a:xfrm flipH="1">
            <a:off x="7909438" y="2589934"/>
            <a:ext cx="0" cy="155091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AC08381-5530-4C49-997A-F30FBEB9BBAC}"/>
              </a:ext>
            </a:extLst>
          </p:cNvPr>
          <p:cNvCxnSpPr>
            <a:cxnSpLocks/>
          </p:cNvCxnSpPr>
          <p:nvPr/>
        </p:nvCxnSpPr>
        <p:spPr bwMode="gray">
          <a:xfrm>
            <a:off x="6815759" y="2589934"/>
            <a:ext cx="0" cy="83906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21E0C46-6E68-468F-8B88-F1C5C314A945}"/>
              </a:ext>
            </a:extLst>
          </p:cNvPr>
          <p:cNvCxnSpPr>
            <a:cxnSpLocks/>
            <a:stCxn id="28" idx="2"/>
          </p:cNvCxnSpPr>
          <p:nvPr/>
        </p:nvCxnSpPr>
        <p:spPr bwMode="gray">
          <a:xfrm>
            <a:off x="4661968" y="2594396"/>
            <a:ext cx="0" cy="106320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A05BE5A-2C0C-4D30-9B11-B89A31AF7936}"/>
              </a:ext>
            </a:extLst>
          </p:cNvPr>
          <p:cNvCxnSpPr>
            <a:cxnSpLocks/>
            <a:stCxn id="32" idx="27"/>
          </p:cNvCxnSpPr>
          <p:nvPr/>
        </p:nvCxnSpPr>
        <p:spPr bwMode="gray">
          <a:xfrm>
            <a:off x="3614088" y="2594396"/>
            <a:ext cx="0" cy="120544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Freeform 337">
            <a:extLst>
              <a:ext uri="{FF2B5EF4-FFF2-40B4-BE49-F238E27FC236}">
                <a16:creationId xmlns:a16="http://schemas.microsoft.com/office/drawing/2014/main" id="{6D072718-6C26-4E49-ADF2-92CEB064205C}"/>
              </a:ext>
            </a:extLst>
          </p:cNvPr>
          <p:cNvSpPr>
            <a:spLocks noChangeAspect="1" noEditPoints="1"/>
          </p:cNvSpPr>
          <p:nvPr/>
        </p:nvSpPr>
        <p:spPr bwMode="auto">
          <a:xfrm>
            <a:off x="4373968" y="2018396"/>
            <a:ext cx="576000" cy="576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chemeClr val="bg1">
              <a:lumMod val="65000"/>
            </a:schemeClr>
          </a:solidFill>
          <a:ln>
            <a:noFill/>
          </a:ln>
        </p:spPr>
        <p:txBody>
          <a:bodyPr vert="horz" wrap="square" lIns="121920" tIns="60960" rIns="121920" bIns="60960" numCol="1" anchor="t" anchorCtr="0" compatLnSpc="1">
            <a:prstTxWarp prst="textNoShape">
              <a:avLst/>
            </a:prstTxWarp>
          </a:bodyPr>
          <a:lstStyle/>
          <a:p>
            <a:endParaRPr lang="en-GB" sz="3200"/>
          </a:p>
        </p:txBody>
      </p:sp>
      <p:sp>
        <p:nvSpPr>
          <p:cNvPr id="29" name="Freeform 997">
            <a:extLst>
              <a:ext uri="{FF2B5EF4-FFF2-40B4-BE49-F238E27FC236}">
                <a16:creationId xmlns:a16="http://schemas.microsoft.com/office/drawing/2014/main" id="{B61BF40D-CF84-45E9-96B2-E7688B7473BE}"/>
              </a:ext>
            </a:extLst>
          </p:cNvPr>
          <p:cNvSpPr>
            <a:spLocks noChangeAspect="1" noEditPoints="1"/>
          </p:cNvSpPr>
          <p:nvPr/>
        </p:nvSpPr>
        <p:spPr bwMode="auto">
          <a:xfrm>
            <a:off x="6530688" y="2018396"/>
            <a:ext cx="576000" cy="576000"/>
          </a:xfrm>
          <a:custGeom>
            <a:avLst/>
            <a:gdLst>
              <a:gd name="T0" fmla="*/ 394 w 512"/>
              <a:gd name="T1" fmla="*/ 280 h 512"/>
              <a:gd name="T2" fmla="*/ 365 w 512"/>
              <a:gd name="T3" fmla="*/ 309 h 512"/>
              <a:gd name="T4" fmla="*/ 167 w 512"/>
              <a:gd name="T5" fmla="*/ 309 h 512"/>
              <a:gd name="T6" fmla="*/ 117 w 512"/>
              <a:gd name="T7" fmla="*/ 259 h 512"/>
              <a:gd name="T8" fmla="*/ 167 w 512"/>
              <a:gd name="T9" fmla="*/ 210 h 512"/>
              <a:gd name="T10" fmla="*/ 189 w 512"/>
              <a:gd name="T11" fmla="*/ 217 h 512"/>
              <a:gd name="T12" fmla="*/ 199 w 512"/>
              <a:gd name="T13" fmla="*/ 221 h 512"/>
              <a:gd name="T14" fmla="*/ 208 w 512"/>
              <a:gd name="T15" fmla="*/ 213 h 512"/>
              <a:gd name="T16" fmla="*/ 208 w 512"/>
              <a:gd name="T17" fmla="*/ 211 h 512"/>
              <a:gd name="T18" fmla="*/ 210 w 512"/>
              <a:gd name="T19" fmla="*/ 206 h 512"/>
              <a:gd name="T20" fmla="*/ 277 w 512"/>
              <a:gd name="T21" fmla="*/ 160 h 512"/>
              <a:gd name="T22" fmla="*/ 347 w 512"/>
              <a:gd name="T23" fmla="*/ 230 h 512"/>
              <a:gd name="T24" fmla="*/ 347 w 512"/>
              <a:gd name="T25" fmla="*/ 234 h 512"/>
              <a:gd name="T26" fmla="*/ 347 w 512"/>
              <a:gd name="T27" fmla="*/ 239 h 512"/>
              <a:gd name="T28" fmla="*/ 350 w 512"/>
              <a:gd name="T29" fmla="*/ 249 h 512"/>
              <a:gd name="T30" fmla="*/ 361 w 512"/>
              <a:gd name="T31" fmla="*/ 251 h 512"/>
              <a:gd name="T32" fmla="*/ 363 w 512"/>
              <a:gd name="T33" fmla="*/ 250 h 512"/>
              <a:gd name="T34" fmla="*/ 365 w 512"/>
              <a:gd name="T35" fmla="*/ 250 h 512"/>
              <a:gd name="T36" fmla="*/ 394 w 512"/>
              <a:gd name="T37" fmla="*/ 28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416 w 512"/>
              <a:gd name="T49" fmla="*/ 280 h 512"/>
              <a:gd name="T50" fmla="*/ 369 w 512"/>
              <a:gd name="T51" fmla="*/ 229 h 512"/>
              <a:gd name="T52" fmla="*/ 277 w 512"/>
              <a:gd name="T53" fmla="*/ 138 h 512"/>
              <a:gd name="T54" fmla="*/ 192 w 512"/>
              <a:gd name="T55" fmla="*/ 194 h 512"/>
              <a:gd name="T56" fmla="*/ 167 w 512"/>
              <a:gd name="T57" fmla="*/ 189 h 512"/>
              <a:gd name="T58" fmla="*/ 96 w 512"/>
              <a:gd name="T59" fmla="*/ 259 h 512"/>
              <a:gd name="T60" fmla="*/ 167 w 512"/>
              <a:gd name="T61" fmla="*/ 330 h 512"/>
              <a:gd name="T62" fmla="*/ 365 w 512"/>
              <a:gd name="T63" fmla="*/ 330 h 512"/>
              <a:gd name="T64" fmla="*/ 416 w 512"/>
              <a:gd name="T65"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94" y="280"/>
                </a:moveTo>
                <a:cubicBezTo>
                  <a:pt x="394" y="296"/>
                  <a:pt x="381" y="309"/>
                  <a:pt x="365" y="309"/>
                </a:cubicBezTo>
                <a:cubicBezTo>
                  <a:pt x="167" y="309"/>
                  <a:pt x="167" y="309"/>
                  <a:pt x="167" y="309"/>
                </a:cubicBezTo>
                <a:cubicBezTo>
                  <a:pt x="139" y="309"/>
                  <a:pt x="117" y="287"/>
                  <a:pt x="117" y="259"/>
                </a:cubicBezTo>
                <a:cubicBezTo>
                  <a:pt x="117" y="232"/>
                  <a:pt x="139" y="210"/>
                  <a:pt x="167" y="210"/>
                </a:cubicBezTo>
                <a:cubicBezTo>
                  <a:pt x="175" y="210"/>
                  <a:pt x="182" y="212"/>
                  <a:pt x="189" y="217"/>
                </a:cubicBezTo>
                <a:cubicBezTo>
                  <a:pt x="191" y="220"/>
                  <a:pt x="195" y="222"/>
                  <a:pt x="199" y="221"/>
                </a:cubicBezTo>
                <a:cubicBezTo>
                  <a:pt x="204" y="220"/>
                  <a:pt x="207" y="217"/>
                  <a:pt x="208" y="213"/>
                </a:cubicBezTo>
                <a:cubicBezTo>
                  <a:pt x="208" y="211"/>
                  <a:pt x="208" y="211"/>
                  <a:pt x="208" y="211"/>
                </a:cubicBezTo>
                <a:cubicBezTo>
                  <a:pt x="209" y="209"/>
                  <a:pt x="209" y="208"/>
                  <a:pt x="210" y="206"/>
                </a:cubicBezTo>
                <a:cubicBezTo>
                  <a:pt x="220" y="179"/>
                  <a:pt x="248" y="160"/>
                  <a:pt x="277" y="160"/>
                </a:cubicBezTo>
                <a:cubicBezTo>
                  <a:pt x="316" y="160"/>
                  <a:pt x="347" y="191"/>
                  <a:pt x="347" y="230"/>
                </a:cubicBezTo>
                <a:cubicBezTo>
                  <a:pt x="347" y="231"/>
                  <a:pt x="347" y="232"/>
                  <a:pt x="347" y="234"/>
                </a:cubicBezTo>
                <a:cubicBezTo>
                  <a:pt x="347" y="236"/>
                  <a:pt x="347" y="237"/>
                  <a:pt x="347" y="239"/>
                </a:cubicBezTo>
                <a:cubicBezTo>
                  <a:pt x="346" y="243"/>
                  <a:pt x="348" y="247"/>
                  <a:pt x="350" y="249"/>
                </a:cubicBezTo>
                <a:cubicBezTo>
                  <a:pt x="353" y="251"/>
                  <a:pt x="357" y="252"/>
                  <a:pt x="361" y="251"/>
                </a:cubicBezTo>
                <a:cubicBezTo>
                  <a:pt x="362" y="250"/>
                  <a:pt x="363" y="250"/>
                  <a:pt x="363" y="250"/>
                </a:cubicBezTo>
                <a:cubicBezTo>
                  <a:pt x="364" y="250"/>
                  <a:pt x="364" y="250"/>
                  <a:pt x="365" y="250"/>
                </a:cubicBezTo>
                <a:cubicBezTo>
                  <a:pt x="381" y="250"/>
                  <a:pt x="394" y="263"/>
                  <a:pt x="394" y="2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0"/>
                </a:moveTo>
                <a:cubicBezTo>
                  <a:pt x="416" y="253"/>
                  <a:pt x="395" y="231"/>
                  <a:pt x="369" y="229"/>
                </a:cubicBezTo>
                <a:cubicBezTo>
                  <a:pt x="368" y="179"/>
                  <a:pt x="327" y="138"/>
                  <a:pt x="277" y="138"/>
                </a:cubicBezTo>
                <a:cubicBezTo>
                  <a:pt x="240" y="138"/>
                  <a:pt x="206" y="161"/>
                  <a:pt x="192" y="194"/>
                </a:cubicBezTo>
                <a:cubicBezTo>
                  <a:pt x="184" y="190"/>
                  <a:pt x="176" y="189"/>
                  <a:pt x="167" y="189"/>
                </a:cubicBezTo>
                <a:cubicBezTo>
                  <a:pt x="127" y="189"/>
                  <a:pt x="96" y="220"/>
                  <a:pt x="96" y="259"/>
                </a:cubicBezTo>
                <a:cubicBezTo>
                  <a:pt x="96" y="299"/>
                  <a:pt x="127" y="330"/>
                  <a:pt x="167" y="330"/>
                </a:cubicBezTo>
                <a:cubicBezTo>
                  <a:pt x="365" y="330"/>
                  <a:pt x="365" y="330"/>
                  <a:pt x="365" y="330"/>
                </a:cubicBezTo>
                <a:cubicBezTo>
                  <a:pt x="393" y="330"/>
                  <a:pt x="416" y="308"/>
                  <a:pt x="416" y="280"/>
                </a:cubicBezTo>
                <a:close/>
              </a:path>
            </a:pathLst>
          </a:custGeom>
          <a:solidFill>
            <a:schemeClr val="bg1">
              <a:lumMod val="65000"/>
            </a:schemeClr>
          </a:solidFill>
          <a:ln>
            <a:noFill/>
          </a:ln>
        </p:spPr>
        <p:txBody>
          <a:bodyPr vert="horz" wrap="square" lIns="121920" tIns="60960" rIns="121920" bIns="60960" numCol="1" anchor="t" anchorCtr="0" compatLnSpc="1">
            <a:prstTxWarp prst="textNoShape">
              <a:avLst/>
            </a:prstTxWarp>
          </a:bodyPr>
          <a:lstStyle/>
          <a:p>
            <a:endParaRPr lang="en-GB" sz="3200"/>
          </a:p>
        </p:txBody>
      </p:sp>
      <p:sp>
        <p:nvSpPr>
          <p:cNvPr id="30" name="Freeform 315">
            <a:extLst>
              <a:ext uri="{FF2B5EF4-FFF2-40B4-BE49-F238E27FC236}">
                <a16:creationId xmlns:a16="http://schemas.microsoft.com/office/drawing/2014/main" id="{3D8AB539-1512-42E9-95C8-470960B749BA}"/>
              </a:ext>
            </a:extLst>
          </p:cNvPr>
          <p:cNvSpPr>
            <a:spLocks noChangeAspect="1" noEditPoints="1"/>
          </p:cNvSpPr>
          <p:nvPr/>
        </p:nvSpPr>
        <p:spPr bwMode="auto">
          <a:xfrm>
            <a:off x="5472648" y="2018396"/>
            <a:ext cx="576000" cy="576000"/>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en-GB" sz="3200"/>
          </a:p>
        </p:txBody>
      </p:sp>
      <p:sp>
        <p:nvSpPr>
          <p:cNvPr id="31" name="Freeform 333">
            <a:extLst>
              <a:ext uri="{FF2B5EF4-FFF2-40B4-BE49-F238E27FC236}">
                <a16:creationId xmlns:a16="http://schemas.microsoft.com/office/drawing/2014/main" id="{C29BB116-FFC5-4511-9DFD-3D4386D057BA}"/>
              </a:ext>
            </a:extLst>
          </p:cNvPr>
          <p:cNvSpPr>
            <a:spLocks noChangeAspect="1" noEditPoints="1"/>
          </p:cNvSpPr>
          <p:nvPr/>
        </p:nvSpPr>
        <p:spPr bwMode="auto">
          <a:xfrm>
            <a:off x="7609047" y="2018396"/>
            <a:ext cx="576000" cy="576000"/>
          </a:xfrm>
          <a:custGeom>
            <a:avLst/>
            <a:gdLst>
              <a:gd name="T0" fmla="*/ 276 w 512"/>
              <a:gd name="T1" fmla="*/ 352 h 512"/>
              <a:gd name="T2" fmla="*/ 355 w 512"/>
              <a:gd name="T3" fmla="*/ 352 h 512"/>
              <a:gd name="T4" fmla="*/ 354 w 512"/>
              <a:gd name="T5" fmla="*/ 354 h 512"/>
              <a:gd name="T6" fmla="*/ 316 w 512"/>
              <a:gd name="T7" fmla="*/ 369 h 512"/>
              <a:gd name="T8" fmla="*/ 278 w 512"/>
              <a:gd name="T9" fmla="*/ 354 h 512"/>
              <a:gd name="T10" fmla="*/ 276 w 512"/>
              <a:gd name="T11" fmla="*/ 352 h 512"/>
              <a:gd name="T12" fmla="*/ 233 w 512"/>
              <a:gd name="T13" fmla="*/ 158 h 512"/>
              <a:gd name="T14" fmla="*/ 195 w 512"/>
              <a:gd name="T15" fmla="*/ 142 h 512"/>
              <a:gd name="T16" fmla="*/ 158 w 512"/>
              <a:gd name="T17" fmla="*/ 158 h 512"/>
              <a:gd name="T18" fmla="*/ 142 w 512"/>
              <a:gd name="T19" fmla="*/ 195 h 512"/>
              <a:gd name="T20" fmla="*/ 158 w 512"/>
              <a:gd name="T21" fmla="*/ 233 h 512"/>
              <a:gd name="T22" fmla="*/ 210 w 512"/>
              <a:gd name="T23" fmla="*/ 286 h 512"/>
              <a:gd name="T24" fmla="*/ 286 w 512"/>
              <a:gd name="T25" fmla="*/ 210 h 512"/>
              <a:gd name="T26" fmla="*/ 233 w 512"/>
              <a:gd name="T27" fmla="*/ 158 h 512"/>
              <a:gd name="T28" fmla="*/ 320 w 512"/>
              <a:gd name="T29" fmla="*/ 245 h 512"/>
              <a:gd name="T30" fmla="*/ 301 w 512"/>
              <a:gd name="T31" fmla="*/ 226 h 512"/>
              <a:gd name="T32" fmla="*/ 281 w 512"/>
              <a:gd name="T33" fmla="*/ 245 h 512"/>
              <a:gd name="T34" fmla="*/ 320 w 512"/>
              <a:gd name="T35" fmla="*/ 245 h 512"/>
              <a:gd name="T36" fmla="*/ 234 w 512"/>
              <a:gd name="T37" fmla="*/ 309 h 512"/>
              <a:gd name="T38" fmla="*/ 256 w 512"/>
              <a:gd name="T39" fmla="*/ 331 h 512"/>
              <a:gd name="T40" fmla="*/ 256 w 512"/>
              <a:gd name="T41" fmla="*/ 330 h 512"/>
              <a:gd name="T42" fmla="*/ 367 w 512"/>
              <a:gd name="T43" fmla="*/ 330 h 512"/>
              <a:gd name="T44" fmla="*/ 369 w 512"/>
              <a:gd name="T45" fmla="*/ 316 h 512"/>
              <a:gd name="T46" fmla="*/ 369 w 512"/>
              <a:gd name="T47" fmla="*/ 309 h 512"/>
              <a:gd name="T48" fmla="*/ 234 w 512"/>
              <a:gd name="T49" fmla="*/ 309 h 512"/>
              <a:gd name="T50" fmla="*/ 239 w 512"/>
              <a:gd name="T51" fmla="*/ 288 h 512"/>
              <a:gd name="T52" fmla="*/ 361 w 512"/>
              <a:gd name="T53" fmla="*/ 288 h 512"/>
              <a:gd name="T54" fmla="*/ 354 w 512"/>
              <a:gd name="T55" fmla="*/ 278 h 512"/>
              <a:gd name="T56" fmla="*/ 341 w 512"/>
              <a:gd name="T57" fmla="*/ 266 h 512"/>
              <a:gd name="T58" fmla="*/ 341 w 512"/>
              <a:gd name="T59" fmla="*/ 266 h 512"/>
              <a:gd name="T60" fmla="*/ 260 w 512"/>
              <a:gd name="T61" fmla="*/ 266 h 512"/>
              <a:gd name="T62" fmla="*/ 239 w 512"/>
              <a:gd name="T63" fmla="*/ 288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1 w 512"/>
              <a:gd name="T75" fmla="*/ 316 h 512"/>
              <a:gd name="T76" fmla="*/ 369 w 512"/>
              <a:gd name="T77" fmla="*/ 263 h 512"/>
              <a:gd name="T78" fmla="*/ 308 w 512"/>
              <a:gd name="T79" fmla="*/ 203 h 512"/>
              <a:gd name="T80" fmla="*/ 248 w 512"/>
              <a:gd name="T81" fmla="*/ 143 h 512"/>
              <a:gd name="T82" fmla="*/ 195 w 512"/>
              <a:gd name="T83" fmla="*/ 121 h 512"/>
              <a:gd name="T84" fmla="*/ 143 w 512"/>
              <a:gd name="T85" fmla="*/ 143 h 512"/>
              <a:gd name="T86" fmla="*/ 121 w 512"/>
              <a:gd name="T87" fmla="*/ 195 h 512"/>
              <a:gd name="T88" fmla="*/ 143 w 512"/>
              <a:gd name="T89" fmla="*/ 248 h 512"/>
              <a:gd name="T90" fmla="*/ 203 w 512"/>
              <a:gd name="T91" fmla="*/ 308 h 512"/>
              <a:gd name="T92" fmla="*/ 263 w 512"/>
              <a:gd name="T93" fmla="*/ 369 h 512"/>
              <a:gd name="T94" fmla="*/ 316 w 512"/>
              <a:gd name="T95" fmla="*/ 391 h 512"/>
              <a:gd name="T96" fmla="*/ 369 w 512"/>
              <a:gd name="T97" fmla="*/ 369 h 512"/>
              <a:gd name="T98" fmla="*/ 391 w 512"/>
              <a:gd name="T99"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76" y="352"/>
                </a:moveTo>
                <a:cubicBezTo>
                  <a:pt x="355" y="352"/>
                  <a:pt x="355" y="352"/>
                  <a:pt x="355" y="352"/>
                </a:cubicBezTo>
                <a:cubicBezTo>
                  <a:pt x="355" y="352"/>
                  <a:pt x="354" y="353"/>
                  <a:pt x="354" y="354"/>
                </a:cubicBezTo>
                <a:cubicBezTo>
                  <a:pt x="344" y="364"/>
                  <a:pt x="330" y="369"/>
                  <a:pt x="316" y="369"/>
                </a:cubicBezTo>
                <a:cubicBezTo>
                  <a:pt x="302" y="369"/>
                  <a:pt x="288" y="364"/>
                  <a:pt x="278" y="354"/>
                </a:cubicBezTo>
                <a:lnTo>
                  <a:pt x="276" y="352"/>
                </a:lnTo>
                <a:close/>
                <a:moveTo>
                  <a:pt x="233" y="158"/>
                </a:moveTo>
                <a:cubicBezTo>
                  <a:pt x="223" y="148"/>
                  <a:pt x="210" y="142"/>
                  <a:pt x="195" y="142"/>
                </a:cubicBezTo>
                <a:cubicBezTo>
                  <a:pt x="181" y="142"/>
                  <a:pt x="168" y="148"/>
                  <a:pt x="158" y="158"/>
                </a:cubicBezTo>
                <a:cubicBezTo>
                  <a:pt x="148" y="168"/>
                  <a:pt x="142" y="181"/>
                  <a:pt x="142" y="195"/>
                </a:cubicBezTo>
                <a:cubicBezTo>
                  <a:pt x="142" y="210"/>
                  <a:pt x="148" y="223"/>
                  <a:pt x="158" y="233"/>
                </a:cubicBezTo>
                <a:cubicBezTo>
                  <a:pt x="210" y="286"/>
                  <a:pt x="210" y="286"/>
                  <a:pt x="210" y="286"/>
                </a:cubicBezTo>
                <a:cubicBezTo>
                  <a:pt x="286" y="210"/>
                  <a:pt x="286" y="210"/>
                  <a:pt x="286" y="210"/>
                </a:cubicBezTo>
                <a:lnTo>
                  <a:pt x="233" y="158"/>
                </a:lnTo>
                <a:close/>
                <a:moveTo>
                  <a:pt x="320" y="245"/>
                </a:moveTo>
                <a:cubicBezTo>
                  <a:pt x="301" y="226"/>
                  <a:pt x="301" y="226"/>
                  <a:pt x="301" y="226"/>
                </a:cubicBezTo>
                <a:cubicBezTo>
                  <a:pt x="281" y="245"/>
                  <a:pt x="281" y="245"/>
                  <a:pt x="281" y="245"/>
                </a:cubicBezTo>
                <a:lnTo>
                  <a:pt x="320" y="245"/>
                </a:lnTo>
                <a:close/>
                <a:moveTo>
                  <a:pt x="234" y="309"/>
                </a:moveTo>
                <a:cubicBezTo>
                  <a:pt x="256" y="331"/>
                  <a:pt x="256" y="331"/>
                  <a:pt x="256" y="331"/>
                </a:cubicBezTo>
                <a:cubicBezTo>
                  <a:pt x="256" y="330"/>
                  <a:pt x="256" y="330"/>
                  <a:pt x="256" y="330"/>
                </a:cubicBezTo>
                <a:cubicBezTo>
                  <a:pt x="367" y="330"/>
                  <a:pt x="367" y="330"/>
                  <a:pt x="367" y="330"/>
                </a:cubicBezTo>
                <a:cubicBezTo>
                  <a:pt x="368" y="326"/>
                  <a:pt x="369" y="321"/>
                  <a:pt x="369" y="316"/>
                </a:cubicBezTo>
                <a:cubicBezTo>
                  <a:pt x="369" y="314"/>
                  <a:pt x="369" y="311"/>
                  <a:pt x="369" y="309"/>
                </a:cubicBezTo>
                <a:lnTo>
                  <a:pt x="234" y="309"/>
                </a:lnTo>
                <a:close/>
                <a:moveTo>
                  <a:pt x="239" y="288"/>
                </a:moveTo>
                <a:cubicBezTo>
                  <a:pt x="361" y="288"/>
                  <a:pt x="361" y="288"/>
                  <a:pt x="361" y="288"/>
                </a:cubicBezTo>
                <a:cubicBezTo>
                  <a:pt x="359" y="284"/>
                  <a:pt x="357" y="281"/>
                  <a:pt x="354" y="278"/>
                </a:cubicBezTo>
                <a:cubicBezTo>
                  <a:pt x="341" y="266"/>
                  <a:pt x="341" y="266"/>
                  <a:pt x="341" y="266"/>
                </a:cubicBezTo>
                <a:cubicBezTo>
                  <a:pt x="341" y="266"/>
                  <a:pt x="341" y="266"/>
                  <a:pt x="341" y="266"/>
                </a:cubicBezTo>
                <a:cubicBezTo>
                  <a:pt x="260" y="266"/>
                  <a:pt x="260" y="266"/>
                  <a:pt x="260" y="266"/>
                </a:cubicBezTo>
                <a:lnTo>
                  <a:pt x="23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316"/>
                </a:moveTo>
                <a:cubicBezTo>
                  <a:pt x="391" y="296"/>
                  <a:pt x="383" y="277"/>
                  <a:pt x="369" y="263"/>
                </a:cubicBezTo>
                <a:cubicBezTo>
                  <a:pt x="308" y="203"/>
                  <a:pt x="308" y="203"/>
                  <a:pt x="308" y="203"/>
                </a:cubicBezTo>
                <a:cubicBezTo>
                  <a:pt x="248" y="143"/>
                  <a:pt x="248" y="143"/>
                  <a:pt x="248" y="143"/>
                </a:cubicBezTo>
                <a:cubicBezTo>
                  <a:pt x="234" y="128"/>
                  <a:pt x="215" y="121"/>
                  <a:pt x="195" y="121"/>
                </a:cubicBezTo>
                <a:cubicBezTo>
                  <a:pt x="175" y="121"/>
                  <a:pt x="157" y="128"/>
                  <a:pt x="143" y="143"/>
                </a:cubicBezTo>
                <a:cubicBezTo>
                  <a:pt x="128" y="157"/>
                  <a:pt x="121" y="175"/>
                  <a:pt x="121" y="195"/>
                </a:cubicBezTo>
                <a:cubicBezTo>
                  <a:pt x="121" y="215"/>
                  <a:pt x="128" y="234"/>
                  <a:pt x="143" y="248"/>
                </a:cubicBezTo>
                <a:cubicBezTo>
                  <a:pt x="203" y="308"/>
                  <a:pt x="203" y="308"/>
                  <a:pt x="203" y="308"/>
                </a:cubicBezTo>
                <a:cubicBezTo>
                  <a:pt x="263" y="369"/>
                  <a:pt x="263" y="369"/>
                  <a:pt x="263" y="369"/>
                </a:cubicBezTo>
                <a:cubicBezTo>
                  <a:pt x="277" y="383"/>
                  <a:pt x="296" y="391"/>
                  <a:pt x="316" y="391"/>
                </a:cubicBezTo>
                <a:cubicBezTo>
                  <a:pt x="336" y="391"/>
                  <a:pt x="355" y="383"/>
                  <a:pt x="369" y="369"/>
                </a:cubicBezTo>
                <a:cubicBezTo>
                  <a:pt x="383" y="355"/>
                  <a:pt x="391" y="336"/>
                  <a:pt x="391" y="316"/>
                </a:cubicBezTo>
                <a:close/>
              </a:path>
            </a:pathLst>
          </a:custGeom>
          <a:solidFill>
            <a:schemeClr val="bg1">
              <a:lumMod val="65000"/>
            </a:schemeClr>
          </a:solidFill>
          <a:ln>
            <a:noFill/>
          </a:ln>
        </p:spPr>
        <p:txBody>
          <a:bodyPr vert="horz" wrap="square" lIns="121920" tIns="60960" rIns="121920" bIns="60960" numCol="1" anchor="t" anchorCtr="0" compatLnSpc="1">
            <a:prstTxWarp prst="textNoShape">
              <a:avLst/>
            </a:prstTxWarp>
          </a:bodyPr>
          <a:lstStyle/>
          <a:p>
            <a:endParaRPr lang="en-GB" sz="3200"/>
          </a:p>
        </p:txBody>
      </p:sp>
      <p:sp>
        <p:nvSpPr>
          <p:cNvPr id="32" name="Freeform 538">
            <a:extLst>
              <a:ext uri="{FF2B5EF4-FFF2-40B4-BE49-F238E27FC236}">
                <a16:creationId xmlns:a16="http://schemas.microsoft.com/office/drawing/2014/main" id="{30837CA7-990D-4DC5-AD53-BBF4C9569CE4}"/>
              </a:ext>
            </a:extLst>
          </p:cNvPr>
          <p:cNvSpPr>
            <a:spLocks noChangeAspect="1" noEditPoints="1"/>
          </p:cNvSpPr>
          <p:nvPr/>
        </p:nvSpPr>
        <p:spPr bwMode="auto">
          <a:xfrm>
            <a:off x="3326088" y="2018396"/>
            <a:ext cx="576000" cy="57600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bg1">
              <a:lumMod val="65000"/>
            </a:schemeClr>
          </a:solidFill>
          <a:ln>
            <a:noFill/>
          </a:ln>
        </p:spPr>
        <p:txBody>
          <a:bodyPr vert="horz" wrap="square" lIns="121920" tIns="60960" rIns="121920" bIns="60960" numCol="1" anchor="t" anchorCtr="0" compatLnSpc="1">
            <a:prstTxWarp prst="textNoShape">
              <a:avLst/>
            </a:prstTxWarp>
          </a:bodyPr>
          <a:lstStyle/>
          <a:p>
            <a:endParaRPr lang="en-GB" sz="3200"/>
          </a:p>
        </p:txBody>
      </p:sp>
    </p:spTree>
    <p:extLst>
      <p:ext uri="{BB962C8B-B14F-4D97-AF65-F5344CB8AC3E}">
        <p14:creationId xmlns:p14="http://schemas.microsoft.com/office/powerpoint/2010/main" val="28866337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Tables with text</a:t>
            </a:r>
          </a:p>
        </p:txBody>
      </p:sp>
      <p:graphicFrame>
        <p:nvGraphicFramePr>
          <p:cNvPr id="19" name="Chart Placeholder 18"/>
          <p:cNvGraphicFramePr>
            <a:graphicFrameLocks noGrp="1"/>
          </p:cNvGraphicFramePr>
          <p:nvPr>
            <p:ph type="chart" sz="quarter" idx="15"/>
            <p:extLst>
              <p:ext uri="{D42A27DB-BD31-4B8C-83A1-F6EECF244321}">
                <p14:modId xmlns:p14="http://schemas.microsoft.com/office/powerpoint/2010/main" val="1314686104"/>
              </p:ext>
            </p:extLst>
          </p:nvPr>
        </p:nvGraphicFramePr>
        <p:xfrm>
          <a:off x="501650" y="2052638"/>
          <a:ext cx="11188699" cy="3797452"/>
        </p:xfrm>
        <a:graphic>
          <a:graphicData uri="http://schemas.openxmlformats.org/drawingml/2006/table">
            <a:tbl>
              <a:tblPr firstRow="1" bandRow="1">
                <a:tableStyleId>{5C22544A-7EE6-4342-B048-85BDC9FD1C3A}</a:tableStyleId>
              </a:tblPr>
              <a:tblGrid>
                <a:gridCol w="2918790">
                  <a:extLst>
                    <a:ext uri="{9D8B030D-6E8A-4147-A177-3AD203B41FA5}">
                      <a16:colId xmlns:a16="http://schemas.microsoft.com/office/drawing/2014/main" val="20000"/>
                    </a:ext>
                  </a:extLst>
                </a:gridCol>
                <a:gridCol w="8269909">
                  <a:extLst>
                    <a:ext uri="{9D8B030D-6E8A-4147-A177-3AD203B41FA5}">
                      <a16:colId xmlns:a16="http://schemas.microsoft.com/office/drawing/2014/main" val="20001"/>
                    </a:ext>
                  </a:extLst>
                </a:gridCol>
              </a:tblGrid>
              <a:tr h="500400">
                <a:tc>
                  <a:txBody>
                    <a:bodyPr/>
                    <a:lstStyle/>
                    <a:p>
                      <a:pPr marL="0" indent="0">
                        <a:lnSpc>
                          <a:spcPct val="110000"/>
                        </a:lnSpc>
                        <a:buFont typeface="Arial" panose="020B0604020202020204" pitchFamily="34" charset="0"/>
                        <a:buNone/>
                      </a:pPr>
                      <a:r>
                        <a:rPr lang="en-US" sz="1300" b="1" dirty="0">
                          <a:solidFill>
                            <a:schemeClr val="accent1"/>
                          </a:solidFill>
                          <a:latin typeface="+mj-lt"/>
                        </a:rPr>
                        <a:t>Column heading, Calibri</a:t>
                      </a:r>
                    </a:p>
                  </a:txBody>
                  <a:tcPr marL="91909" marR="91909" marT="91440" marB="91440" anchor="ctr">
                    <a:lnL w="571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300" b="1" dirty="0">
                          <a:solidFill>
                            <a:schemeClr val="accent1"/>
                          </a:solidFill>
                          <a:latin typeface="+mj-lt"/>
                        </a:rPr>
                        <a:t>Column heading,</a:t>
                      </a:r>
                      <a:r>
                        <a:rPr lang="en-GB" sz="1300" b="1" baseline="0" dirty="0">
                          <a:solidFill>
                            <a:schemeClr val="accent1"/>
                          </a:solidFill>
                          <a:latin typeface="+mj-lt"/>
                        </a:rPr>
                        <a:t> </a:t>
                      </a:r>
                      <a:r>
                        <a:rPr lang="en-US" sz="1300" b="1" dirty="0">
                          <a:solidFill>
                            <a:schemeClr val="accent1"/>
                          </a:solidFill>
                          <a:latin typeface="+mj-lt"/>
                        </a:rPr>
                        <a:t>Calibri</a:t>
                      </a:r>
                      <a:endParaRPr lang="en-GB" sz="1300" b="1" dirty="0">
                        <a:solidFill>
                          <a:schemeClr val="accent1"/>
                        </a:solidFill>
                        <a:latin typeface="+mj-lt"/>
                      </a:endParaRPr>
                    </a:p>
                  </a:txBody>
                  <a:tcPr marL="91909" marR="91909" marT="91440" marB="91440" anchor="ctr">
                    <a:lnL w="63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a:lnSpc>
                          <a:spcPct val="100000"/>
                        </a:lnSpc>
                        <a:spcBef>
                          <a:spcPts val="300"/>
                        </a:spcBef>
                        <a:spcAft>
                          <a:spcPts val="0"/>
                        </a:spcAft>
                        <a:buClrTx/>
                        <a:buSzPct val="100000"/>
                        <a:buFont typeface="Arial"/>
                        <a:buChar char="•"/>
                      </a:pPr>
                      <a:r>
                        <a:rPr lang="en-US" sz="1300" b="0" dirty="0">
                          <a:solidFill>
                            <a:schemeClr val="tx1"/>
                          </a:solidFill>
                          <a:latin typeface="+mn-lt"/>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300" b="0" dirty="0">
                          <a:solidFill>
                            <a:schemeClr val="tx1"/>
                          </a:solidFill>
                          <a:latin typeface="+mn-lt"/>
                        </a:rPr>
                        <a:t>This is dummy text it is not here to be read this is dummy text</a:t>
                      </a: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3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300" b="0" kern="1200" dirty="0">
                          <a:solidFill>
                            <a:schemeClr val="tx1"/>
                          </a:solidFill>
                          <a:latin typeface="+mn-lt"/>
                          <a:ea typeface="+mn-ea"/>
                          <a:cs typeface="+mn-cs"/>
                        </a:rPr>
                        <a:t>This is dummy text it is not here to be read this is dummy text</a:t>
                      </a: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3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300" b="0" kern="1200" dirty="0">
                          <a:solidFill>
                            <a:schemeClr val="tx1"/>
                          </a:solidFill>
                          <a:latin typeface="+mn-lt"/>
                          <a:ea typeface="+mn-ea"/>
                          <a:cs typeface="+mn-cs"/>
                        </a:rPr>
                        <a:t>This is dummy text it is not here to be read this is dummy text</a:t>
                      </a: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24263">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300" b="0" kern="1200" dirty="0">
                          <a:solidFill>
                            <a:schemeClr val="tx1"/>
                          </a:solidFill>
                          <a:latin typeface="+mn-lt"/>
                          <a:ea typeface="+mn-ea"/>
                          <a:cs typeface="+mn-cs"/>
                        </a:rPr>
                        <a:t>This is dummy text it is not here to be read this is dummy text</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300" b="0" kern="1200" dirty="0">
                          <a:solidFill>
                            <a:schemeClr val="tx1"/>
                          </a:solidFill>
                          <a:latin typeface="+mn-lt"/>
                          <a:ea typeface="+mn-ea"/>
                          <a:cs typeface="+mn-cs"/>
                        </a:rPr>
                        <a:t>This is dummy text it is not here to be read this is dummy text</a:t>
                      </a:r>
                    </a:p>
                  </a:txBody>
                  <a:tcPr marL="91909" marR="91909"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9" name="Text Placeholder 8"/>
          <p:cNvSpPr>
            <a:spLocks noGrp="1"/>
          </p:cNvSpPr>
          <p:nvPr>
            <p:ph type="body" sz="quarter" idx="18"/>
          </p:nvPr>
        </p:nvSpPr>
        <p:spPr/>
        <p:txBody>
          <a:bodyPr/>
          <a:lstStyle/>
          <a:p>
            <a:r>
              <a:rPr lang="en-US" dirty="0"/>
              <a:t>Table title runs here</a:t>
            </a:r>
          </a:p>
          <a:p>
            <a:endParaRPr lang="en-US" dirty="0"/>
          </a:p>
        </p:txBody>
      </p:sp>
      <p:sp>
        <p:nvSpPr>
          <p:cNvPr id="37" name="Text Placeholder 36"/>
          <p:cNvSpPr>
            <a:spLocks noGrp="1"/>
          </p:cNvSpPr>
          <p:nvPr>
            <p:ph type="body" sz="quarter" idx="23"/>
          </p:nvPr>
        </p:nvSpPr>
        <p:spPr/>
        <p:txBody>
          <a:bodyPr>
            <a:normAutofit lnSpcReduction="10000"/>
          </a:bodyPr>
          <a:lstStyle/>
          <a:p>
            <a:r>
              <a:rPr lang="en-GB" dirty="0"/>
              <a:t>Source:</a:t>
            </a:r>
          </a:p>
          <a:p>
            <a:r>
              <a:rPr lang="en-GB" dirty="0"/>
              <a:t>Note:</a:t>
            </a:r>
          </a:p>
        </p:txBody>
      </p:sp>
      <p:sp>
        <p:nvSpPr>
          <p:cNvPr id="3" name="Title 2"/>
          <p:cNvSpPr>
            <a:spLocks noGrp="1"/>
          </p:cNvSpPr>
          <p:nvPr>
            <p:ph type="title"/>
          </p:nvPr>
        </p:nvSpPr>
        <p:spPr/>
        <p:txBody>
          <a:bodyPr/>
          <a:lstStyle/>
          <a:p>
            <a:r>
              <a:rPr lang="en-US" dirty="0"/>
              <a:t>Tables</a:t>
            </a:r>
          </a:p>
        </p:txBody>
      </p:sp>
    </p:spTree>
    <p:extLst>
      <p:ext uri="{BB962C8B-B14F-4D97-AF65-F5344CB8AC3E}">
        <p14:creationId xmlns:p14="http://schemas.microsoft.com/office/powerpoint/2010/main" val="1971237964"/>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1"/>
                </a:solidFill>
              </a:rPr>
              <a:t>Diagrams</a:t>
            </a:r>
          </a:p>
        </p:txBody>
      </p:sp>
    </p:spTree>
    <p:extLst>
      <p:ext uri="{BB962C8B-B14F-4D97-AF65-F5344CB8AC3E}">
        <p14:creationId xmlns:p14="http://schemas.microsoft.com/office/powerpoint/2010/main" val="402533845"/>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94041-CFB6-E841-A9A5-F7D69C5153F9}"/>
              </a:ext>
            </a:extLst>
          </p:cNvPr>
          <p:cNvSpPr>
            <a:spLocks noGrp="1"/>
          </p:cNvSpPr>
          <p:nvPr>
            <p:ph type="title"/>
          </p:nvPr>
        </p:nvSpPr>
        <p:spPr/>
        <p:txBody>
          <a:bodyPr/>
          <a:lstStyle/>
          <a:p>
            <a:r>
              <a:rPr lang="en-US" dirty="0"/>
              <a:t>Road diagram</a:t>
            </a:r>
          </a:p>
        </p:txBody>
      </p:sp>
      <p:cxnSp>
        <p:nvCxnSpPr>
          <p:cNvPr id="56" name="Straight Connector 55">
            <a:extLst>
              <a:ext uri="{FF2B5EF4-FFF2-40B4-BE49-F238E27FC236}">
                <a16:creationId xmlns:a16="http://schemas.microsoft.com/office/drawing/2014/main" id="{3EFF7C70-BA28-1D4D-8B21-741F1A55A931}"/>
              </a:ext>
            </a:extLst>
          </p:cNvPr>
          <p:cNvCxnSpPr/>
          <p:nvPr/>
        </p:nvCxnSpPr>
        <p:spPr>
          <a:xfrm flipH="1" flipV="1">
            <a:off x="7777534" y="1511589"/>
            <a:ext cx="1454864" cy="0"/>
          </a:xfrm>
          <a:prstGeom prst="line">
            <a:avLst/>
          </a:prstGeom>
          <a:noFill/>
          <a:ln w="50800" cap="rnd" cmpd="sng" algn="ctr">
            <a:solidFill>
              <a:sysClr val="window" lastClr="FFFFFF">
                <a:lumMod val="85000"/>
              </a:sysClr>
            </a:solidFill>
            <a:prstDash val="solid"/>
          </a:ln>
          <a:effectLst/>
        </p:spPr>
      </p:cxnSp>
      <p:sp>
        <p:nvSpPr>
          <p:cNvPr id="57" name="Oval 56">
            <a:extLst>
              <a:ext uri="{FF2B5EF4-FFF2-40B4-BE49-F238E27FC236}">
                <a16:creationId xmlns:a16="http://schemas.microsoft.com/office/drawing/2014/main" id="{DA32890C-C531-4D41-8046-9A7A828B7B4F}"/>
              </a:ext>
            </a:extLst>
          </p:cNvPr>
          <p:cNvSpPr/>
          <p:nvPr/>
        </p:nvSpPr>
        <p:spPr bwMode="gray">
          <a:xfrm>
            <a:off x="8425942" y="1505865"/>
            <a:ext cx="1759991" cy="1165422"/>
          </a:xfrm>
          <a:prstGeom prst="ellipse">
            <a:avLst/>
          </a:prstGeom>
          <a:solidFill>
            <a:sysClr val="windowText" lastClr="000000"/>
          </a:solidFill>
          <a:ln w="50800" cap="rnd" algn="ctr">
            <a:solidFill>
              <a:sysClr val="window" lastClr="FFFFFF">
                <a:lumMod val="85000"/>
              </a:sysClr>
            </a:solid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58" name="Oval 57">
            <a:extLst>
              <a:ext uri="{FF2B5EF4-FFF2-40B4-BE49-F238E27FC236}">
                <a16:creationId xmlns:a16="http://schemas.microsoft.com/office/drawing/2014/main" id="{23CC3CDF-B02B-F94B-895F-920AC4AA53E1}"/>
              </a:ext>
            </a:extLst>
          </p:cNvPr>
          <p:cNvSpPr/>
          <p:nvPr/>
        </p:nvSpPr>
        <p:spPr bwMode="gray">
          <a:xfrm>
            <a:off x="1623614" y="2656181"/>
            <a:ext cx="2869349" cy="1871926"/>
          </a:xfrm>
          <a:prstGeom prst="ellipse">
            <a:avLst/>
          </a:prstGeom>
          <a:solidFill>
            <a:sysClr val="windowText" lastClr="000000"/>
          </a:solidFill>
          <a:ln w="50800" cap="rnd" algn="ctr">
            <a:solidFill>
              <a:sysClr val="window" lastClr="FFFFFF">
                <a:lumMod val="85000"/>
              </a:sysClr>
            </a:solid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59" name="Rectangle 58">
            <a:extLst>
              <a:ext uri="{FF2B5EF4-FFF2-40B4-BE49-F238E27FC236}">
                <a16:creationId xmlns:a16="http://schemas.microsoft.com/office/drawing/2014/main" id="{FE63E6BA-D1C1-FE47-A0DE-D76114ED70C6}"/>
              </a:ext>
            </a:extLst>
          </p:cNvPr>
          <p:cNvSpPr/>
          <p:nvPr/>
        </p:nvSpPr>
        <p:spPr bwMode="gray">
          <a:xfrm>
            <a:off x="3032376" y="2674978"/>
            <a:ext cx="1885842" cy="1846935"/>
          </a:xfrm>
          <a:prstGeom prst="rect">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cxnSp>
        <p:nvCxnSpPr>
          <p:cNvPr id="60" name="Straight Connector 59">
            <a:extLst>
              <a:ext uri="{FF2B5EF4-FFF2-40B4-BE49-F238E27FC236}">
                <a16:creationId xmlns:a16="http://schemas.microsoft.com/office/drawing/2014/main" id="{1F6D8C2B-9081-5642-B594-886AFFBF61FE}"/>
              </a:ext>
            </a:extLst>
          </p:cNvPr>
          <p:cNvCxnSpPr/>
          <p:nvPr/>
        </p:nvCxnSpPr>
        <p:spPr>
          <a:xfrm>
            <a:off x="3047479" y="2662709"/>
            <a:ext cx="6338950" cy="4333"/>
          </a:xfrm>
          <a:prstGeom prst="line">
            <a:avLst/>
          </a:prstGeom>
          <a:noFill/>
          <a:ln w="50800" cap="rnd" cmpd="sng" algn="ctr">
            <a:solidFill>
              <a:sysClr val="window" lastClr="FFFFFF">
                <a:lumMod val="85000"/>
              </a:sysClr>
            </a:solidFill>
            <a:prstDash val="solid"/>
          </a:ln>
          <a:effectLst/>
        </p:spPr>
      </p:cxnSp>
      <p:cxnSp>
        <p:nvCxnSpPr>
          <p:cNvPr id="61" name="Straight Connector 60">
            <a:extLst>
              <a:ext uri="{FF2B5EF4-FFF2-40B4-BE49-F238E27FC236}">
                <a16:creationId xmlns:a16="http://schemas.microsoft.com/office/drawing/2014/main" id="{21ABFB3A-6FF1-9947-958E-DF680DCCE556}"/>
              </a:ext>
            </a:extLst>
          </p:cNvPr>
          <p:cNvCxnSpPr>
            <a:cxnSpLocks/>
          </p:cNvCxnSpPr>
          <p:nvPr/>
        </p:nvCxnSpPr>
        <p:spPr>
          <a:xfrm flipH="1" flipV="1">
            <a:off x="2855949" y="4527860"/>
            <a:ext cx="5029152" cy="1592"/>
          </a:xfrm>
          <a:prstGeom prst="line">
            <a:avLst/>
          </a:prstGeom>
          <a:noFill/>
          <a:ln w="50800" cap="rnd" cmpd="sng" algn="ctr">
            <a:solidFill>
              <a:sysClr val="window" lastClr="FFFFFF">
                <a:lumMod val="85000"/>
              </a:sysClr>
            </a:solidFill>
            <a:prstDash val="solid"/>
          </a:ln>
          <a:effectLst/>
        </p:spPr>
      </p:cxnSp>
      <p:sp>
        <p:nvSpPr>
          <p:cNvPr id="62" name="Rectangle 61">
            <a:extLst>
              <a:ext uri="{FF2B5EF4-FFF2-40B4-BE49-F238E27FC236}">
                <a16:creationId xmlns:a16="http://schemas.microsoft.com/office/drawing/2014/main" id="{708B1185-93EB-B545-B32F-5C89FBDD8E6B}"/>
              </a:ext>
            </a:extLst>
          </p:cNvPr>
          <p:cNvSpPr/>
          <p:nvPr/>
        </p:nvSpPr>
        <p:spPr bwMode="gray">
          <a:xfrm>
            <a:off x="544217" y="2980727"/>
            <a:ext cx="1720036" cy="477048"/>
          </a:xfrm>
          <a:prstGeom prst="rect">
            <a:avLst/>
          </a:prstGeom>
          <a:solidFill>
            <a:srgbClr val="046A38"/>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63" name="TextBox 62">
            <a:extLst>
              <a:ext uri="{FF2B5EF4-FFF2-40B4-BE49-F238E27FC236}">
                <a16:creationId xmlns:a16="http://schemas.microsoft.com/office/drawing/2014/main" id="{4B3D3571-619F-694B-B597-73D561528466}"/>
              </a:ext>
            </a:extLst>
          </p:cNvPr>
          <p:cNvSpPr txBox="1"/>
          <p:nvPr/>
        </p:nvSpPr>
        <p:spPr>
          <a:xfrm>
            <a:off x="698821" y="3057130"/>
            <a:ext cx="1453540"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IE" sz="1000" b="1" dirty="0">
                <a:latin typeface="Calibri"/>
              </a:rPr>
              <a:t>Lorem ipsum </a:t>
            </a:r>
          </a:p>
        </p:txBody>
      </p:sp>
      <p:sp>
        <p:nvSpPr>
          <p:cNvPr id="64" name="Rectangle 63">
            <a:extLst>
              <a:ext uri="{FF2B5EF4-FFF2-40B4-BE49-F238E27FC236}">
                <a16:creationId xmlns:a16="http://schemas.microsoft.com/office/drawing/2014/main" id="{7280AD63-466B-0F40-AA17-CFA5D5D8BF52}"/>
              </a:ext>
            </a:extLst>
          </p:cNvPr>
          <p:cNvSpPr/>
          <p:nvPr/>
        </p:nvSpPr>
        <p:spPr bwMode="gray">
          <a:xfrm>
            <a:off x="4017537" y="4385015"/>
            <a:ext cx="1273028" cy="366257"/>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65" name="TextBox 64">
            <a:extLst>
              <a:ext uri="{FF2B5EF4-FFF2-40B4-BE49-F238E27FC236}">
                <a16:creationId xmlns:a16="http://schemas.microsoft.com/office/drawing/2014/main" id="{C2CD8F8C-A97A-004B-AC22-518A49C3A133}"/>
              </a:ext>
            </a:extLst>
          </p:cNvPr>
          <p:cNvSpPr txBox="1"/>
          <p:nvPr/>
        </p:nvSpPr>
        <p:spPr>
          <a:xfrm>
            <a:off x="4142816" y="4452887"/>
            <a:ext cx="1118270" cy="153888"/>
          </a:xfrm>
          <a:prstGeom prst="rect">
            <a:avLst/>
          </a:prstGeom>
          <a:noFill/>
        </p:spPr>
        <p:txBody>
          <a:bodyPr wrap="square" lIns="0" tIns="0" rIns="0" bIns="0" rtlCol="0">
            <a:spAutoFit/>
          </a:bodyPr>
          <a:lstStyle/>
          <a:p>
            <a:pPr defTabSz="787481">
              <a:buSzPct val="100000"/>
              <a:defRPr/>
            </a:pPr>
            <a:r>
              <a:rPr lang="en-IE" sz="1000" b="1" dirty="0">
                <a:solidFill>
                  <a:prstClr val="white"/>
                </a:solidFill>
                <a:latin typeface="Calibri"/>
                <a:ea typeface="Open Sans Semibold" panose="020B0706030804020204" pitchFamily="34" charset="0"/>
                <a:cs typeface="Open Sans Semibold" panose="020B0706030804020204" pitchFamily="34" charset="0"/>
              </a:rPr>
              <a:t>Lorem ipsum </a:t>
            </a:r>
          </a:p>
        </p:txBody>
      </p:sp>
      <p:sp>
        <p:nvSpPr>
          <p:cNvPr id="66" name="Rectangle 65">
            <a:extLst>
              <a:ext uri="{FF2B5EF4-FFF2-40B4-BE49-F238E27FC236}">
                <a16:creationId xmlns:a16="http://schemas.microsoft.com/office/drawing/2014/main" id="{DA836642-6B60-6642-928B-22359D8FEACC}"/>
              </a:ext>
            </a:extLst>
          </p:cNvPr>
          <p:cNvSpPr/>
          <p:nvPr/>
        </p:nvSpPr>
        <p:spPr bwMode="gray">
          <a:xfrm>
            <a:off x="7943009" y="1527260"/>
            <a:ext cx="1371056" cy="1118315"/>
          </a:xfrm>
          <a:prstGeom prst="rect">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67" name="Rectangle 66">
            <a:extLst>
              <a:ext uri="{FF2B5EF4-FFF2-40B4-BE49-F238E27FC236}">
                <a16:creationId xmlns:a16="http://schemas.microsoft.com/office/drawing/2014/main" id="{F0DB7271-7700-FF48-B58C-99448F969B25}"/>
              </a:ext>
            </a:extLst>
          </p:cNvPr>
          <p:cNvSpPr/>
          <p:nvPr/>
        </p:nvSpPr>
        <p:spPr bwMode="gray">
          <a:xfrm>
            <a:off x="10203930" y="2299499"/>
            <a:ext cx="1386185" cy="379057"/>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68" name="TextBox 67">
            <a:extLst>
              <a:ext uri="{FF2B5EF4-FFF2-40B4-BE49-F238E27FC236}">
                <a16:creationId xmlns:a16="http://schemas.microsoft.com/office/drawing/2014/main" id="{66E7A0D2-ECAD-DB47-855A-C659C10F7DC9}"/>
              </a:ext>
            </a:extLst>
          </p:cNvPr>
          <p:cNvSpPr txBox="1"/>
          <p:nvPr/>
        </p:nvSpPr>
        <p:spPr>
          <a:xfrm>
            <a:off x="10555406" y="2406831"/>
            <a:ext cx="1034709"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IE" sz="1000" b="1" dirty="0">
                <a:latin typeface="Calibri"/>
              </a:rPr>
              <a:t>Lorem ipsum </a:t>
            </a:r>
          </a:p>
        </p:txBody>
      </p:sp>
      <p:sp>
        <p:nvSpPr>
          <p:cNvPr id="69" name="Rectangle 68">
            <a:extLst>
              <a:ext uri="{FF2B5EF4-FFF2-40B4-BE49-F238E27FC236}">
                <a16:creationId xmlns:a16="http://schemas.microsoft.com/office/drawing/2014/main" id="{1F87267E-B85B-3046-9001-675BEE947EB2}"/>
              </a:ext>
            </a:extLst>
          </p:cNvPr>
          <p:cNvSpPr/>
          <p:nvPr/>
        </p:nvSpPr>
        <p:spPr bwMode="gray">
          <a:xfrm>
            <a:off x="7899642" y="1243011"/>
            <a:ext cx="1454068" cy="449258"/>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70" name="TextBox 69">
            <a:extLst>
              <a:ext uri="{FF2B5EF4-FFF2-40B4-BE49-F238E27FC236}">
                <a16:creationId xmlns:a16="http://schemas.microsoft.com/office/drawing/2014/main" id="{11DC09C5-4ED3-EE42-B884-4D299D93A57A}"/>
              </a:ext>
            </a:extLst>
          </p:cNvPr>
          <p:cNvSpPr txBox="1"/>
          <p:nvPr/>
        </p:nvSpPr>
        <p:spPr>
          <a:xfrm>
            <a:off x="8100143" y="1343020"/>
            <a:ext cx="1101279"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IE" sz="1000" b="1" dirty="0">
                <a:latin typeface="Calibri"/>
              </a:rPr>
              <a:t>Lorem ipsum </a:t>
            </a:r>
          </a:p>
        </p:txBody>
      </p:sp>
      <p:sp>
        <p:nvSpPr>
          <p:cNvPr id="71" name="Rectangle 70">
            <a:extLst>
              <a:ext uri="{FF2B5EF4-FFF2-40B4-BE49-F238E27FC236}">
                <a16:creationId xmlns:a16="http://schemas.microsoft.com/office/drawing/2014/main" id="{F4C51EAF-6B4C-E847-8369-54BFA92B3F2F}"/>
              </a:ext>
            </a:extLst>
          </p:cNvPr>
          <p:cNvSpPr/>
          <p:nvPr/>
        </p:nvSpPr>
        <p:spPr bwMode="gray">
          <a:xfrm>
            <a:off x="7766778" y="4378441"/>
            <a:ext cx="1285268" cy="366256"/>
          </a:xfrm>
          <a:prstGeom prst="rect">
            <a:avLst/>
          </a:prstGeom>
          <a:solidFill>
            <a:srgbClr val="0D8390">
              <a:lumMod val="50000"/>
            </a:srgbClr>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72" name="TextBox 71">
            <a:extLst>
              <a:ext uri="{FF2B5EF4-FFF2-40B4-BE49-F238E27FC236}">
                <a16:creationId xmlns:a16="http://schemas.microsoft.com/office/drawing/2014/main" id="{52F60A53-270F-FB43-807F-3D1CC0507D41}"/>
              </a:ext>
            </a:extLst>
          </p:cNvPr>
          <p:cNvSpPr txBox="1"/>
          <p:nvPr/>
        </p:nvSpPr>
        <p:spPr>
          <a:xfrm>
            <a:off x="7898518" y="4495698"/>
            <a:ext cx="1390174" cy="153888"/>
          </a:xfrm>
          <a:prstGeom prst="rect">
            <a:avLst/>
          </a:prstGeom>
          <a:noFill/>
        </p:spPr>
        <p:txBody>
          <a:bodyPr wrap="square" lIns="0" tIns="0" rIns="0" bIns="0" rtlCol="0">
            <a:spAutoFit/>
          </a:bodyPr>
          <a:lstStyle/>
          <a:p>
            <a:pPr defTabSz="787481">
              <a:buSzPct val="100000"/>
              <a:defRPr/>
            </a:pPr>
            <a:r>
              <a:rPr lang="en-IE" sz="1000" b="1" dirty="0">
                <a:solidFill>
                  <a:prstClr val="white"/>
                </a:solidFill>
                <a:latin typeface="Calibri"/>
                <a:ea typeface="Open Sans Semibold" panose="020B0706030804020204" pitchFamily="34" charset="0"/>
                <a:cs typeface="Open Sans Semibold" panose="020B0706030804020204" pitchFamily="34" charset="0"/>
              </a:rPr>
              <a:t>Lorem ipsum </a:t>
            </a:r>
          </a:p>
        </p:txBody>
      </p:sp>
      <p:sp>
        <p:nvSpPr>
          <p:cNvPr id="73" name="TextBox 72">
            <a:extLst>
              <a:ext uri="{FF2B5EF4-FFF2-40B4-BE49-F238E27FC236}">
                <a16:creationId xmlns:a16="http://schemas.microsoft.com/office/drawing/2014/main" id="{DA290F56-4FFD-1C48-92A0-49CAC1AF6596}"/>
              </a:ext>
            </a:extLst>
          </p:cNvPr>
          <p:cNvSpPr txBox="1"/>
          <p:nvPr/>
        </p:nvSpPr>
        <p:spPr>
          <a:xfrm>
            <a:off x="7895937" y="1739282"/>
            <a:ext cx="1445460" cy="663053"/>
          </a:xfrm>
          <a:prstGeom prst="rect">
            <a:avLst/>
          </a:prstGeom>
          <a:solidFill>
            <a:sysClr val="windowText" lastClr="000000"/>
          </a:solidFill>
          <a:ln>
            <a:solidFill>
              <a:srgbClr val="86BC25"/>
            </a:solidFill>
          </a:ln>
        </p:spPr>
        <p:txBody>
          <a:bodyPr wrap="square" lIns="72000" tIns="36000" rIns="72000" bIns="72000" rtlCol="0">
            <a:spAutoFit/>
          </a:bodyPr>
          <a:lstStyle/>
          <a:p>
            <a:pPr lvl="0"/>
            <a:r>
              <a:rPr lang="en-IE" sz="900" kern="0" dirty="0">
                <a:solidFill>
                  <a:prstClr val="white"/>
                </a:solidFill>
              </a:rPr>
              <a:t>This is dummy text it is not here to be read. The is just text to show where you could insert text. </a:t>
            </a:r>
          </a:p>
        </p:txBody>
      </p:sp>
      <p:sp>
        <p:nvSpPr>
          <p:cNvPr id="74" name="TextBox 73">
            <a:extLst>
              <a:ext uri="{FF2B5EF4-FFF2-40B4-BE49-F238E27FC236}">
                <a16:creationId xmlns:a16="http://schemas.microsoft.com/office/drawing/2014/main" id="{1E00AAA1-0AFE-3244-B62C-F52BF1B6F1AD}"/>
              </a:ext>
            </a:extLst>
          </p:cNvPr>
          <p:cNvSpPr txBox="1"/>
          <p:nvPr/>
        </p:nvSpPr>
        <p:spPr>
          <a:xfrm>
            <a:off x="10180241" y="2707314"/>
            <a:ext cx="1409874" cy="1355550"/>
          </a:xfrm>
          <a:prstGeom prst="rect">
            <a:avLst/>
          </a:prstGeom>
          <a:solidFill>
            <a:sysClr val="windowText" lastClr="000000"/>
          </a:solidFill>
          <a:ln>
            <a:solidFill>
              <a:srgbClr val="86BC25"/>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pPr lvl="0"/>
            <a:r>
              <a:rPr lang="en-IE" sz="900" kern="0" dirty="0">
                <a:solidFill>
                  <a:prstClr val="white"/>
                </a:solidFill>
                <a:latin typeface="+mn-lt"/>
              </a:rPr>
              <a:t>This is dummy text it is not here to be read. The is just text to show where you could insert text. This is dummy text it is not here to be read. This is dummy text it is not here to be read. This is dummy text it is not here to be read.</a:t>
            </a:r>
          </a:p>
        </p:txBody>
      </p:sp>
      <p:sp>
        <p:nvSpPr>
          <p:cNvPr id="75" name="TextBox 74">
            <a:extLst>
              <a:ext uri="{FF2B5EF4-FFF2-40B4-BE49-F238E27FC236}">
                <a16:creationId xmlns:a16="http://schemas.microsoft.com/office/drawing/2014/main" id="{5E40190D-566D-7D42-B10B-235623948FBA}"/>
              </a:ext>
            </a:extLst>
          </p:cNvPr>
          <p:cNvSpPr txBox="1"/>
          <p:nvPr/>
        </p:nvSpPr>
        <p:spPr>
          <a:xfrm>
            <a:off x="528000" y="3501559"/>
            <a:ext cx="1734207" cy="801552"/>
          </a:xfrm>
          <a:prstGeom prst="rect">
            <a:avLst/>
          </a:prstGeom>
          <a:solidFill>
            <a:sysClr val="windowText" lastClr="000000"/>
          </a:solidFill>
          <a:ln>
            <a:solidFill>
              <a:srgbClr val="26890D"/>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pPr lvl="0"/>
            <a:r>
              <a:rPr lang="en-IE" sz="900" kern="0" dirty="0">
                <a:solidFill>
                  <a:prstClr val="white"/>
                </a:solidFill>
                <a:latin typeface="+mn-lt"/>
              </a:rPr>
              <a:t>This is dummy text it is not here to be read. The is just text to show where you could insert text. This is dummy text it is not here to be read.</a:t>
            </a:r>
          </a:p>
        </p:txBody>
      </p:sp>
      <p:sp>
        <p:nvSpPr>
          <p:cNvPr id="76" name="TextBox 75">
            <a:extLst>
              <a:ext uri="{FF2B5EF4-FFF2-40B4-BE49-F238E27FC236}">
                <a16:creationId xmlns:a16="http://schemas.microsoft.com/office/drawing/2014/main" id="{F551482A-E2FC-444D-B1A4-A1DABD787B0F}"/>
              </a:ext>
            </a:extLst>
          </p:cNvPr>
          <p:cNvSpPr txBox="1"/>
          <p:nvPr/>
        </p:nvSpPr>
        <p:spPr>
          <a:xfrm>
            <a:off x="4017537" y="4819144"/>
            <a:ext cx="1273028" cy="940051"/>
          </a:xfrm>
          <a:prstGeom prst="rect">
            <a:avLst/>
          </a:prstGeom>
          <a:solidFill>
            <a:sysClr val="windowText" lastClr="000000"/>
          </a:solidFill>
          <a:ln>
            <a:solidFill>
              <a:srgbClr val="007CB0"/>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pPr lvl="0"/>
            <a:r>
              <a:rPr lang="en-IE" sz="900" kern="0" dirty="0">
                <a:solidFill>
                  <a:prstClr val="white"/>
                </a:solidFill>
                <a:latin typeface="+mn-lt"/>
              </a:rPr>
              <a:t>This is dummy text it is not here to be read. The is just text to show where you could insert text. This is dummy text it is not here to be read.</a:t>
            </a:r>
          </a:p>
        </p:txBody>
      </p:sp>
      <p:sp>
        <p:nvSpPr>
          <p:cNvPr id="77" name="TextBox 76">
            <a:extLst>
              <a:ext uri="{FF2B5EF4-FFF2-40B4-BE49-F238E27FC236}">
                <a16:creationId xmlns:a16="http://schemas.microsoft.com/office/drawing/2014/main" id="{90E00812-FA1B-1A47-93F1-E2819722EFC8}"/>
              </a:ext>
            </a:extLst>
          </p:cNvPr>
          <p:cNvSpPr txBox="1"/>
          <p:nvPr/>
        </p:nvSpPr>
        <p:spPr>
          <a:xfrm>
            <a:off x="7777534" y="4812570"/>
            <a:ext cx="1285268" cy="940051"/>
          </a:xfrm>
          <a:prstGeom prst="rect">
            <a:avLst/>
          </a:prstGeom>
          <a:solidFill>
            <a:sysClr val="windowText" lastClr="000000"/>
          </a:solidFill>
          <a:ln>
            <a:solidFill>
              <a:srgbClr val="0D8390">
                <a:lumMod val="75000"/>
              </a:srgbClr>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pPr lvl="0"/>
            <a:r>
              <a:rPr lang="en-IE" sz="900" kern="0" dirty="0">
                <a:solidFill>
                  <a:prstClr val="white"/>
                </a:solidFill>
                <a:latin typeface="+mn-lt"/>
              </a:rPr>
              <a:t>This is dummy text it is not here to be read. The is just text to show where you could insert text. This is dummy text it is not here to be read.</a:t>
            </a:r>
          </a:p>
        </p:txBody>
      </p:sp>
      <p:sp>
        <p:nvSpPr>
          <p:cNvPr id="78" name="Rectangle 77">
            <a:extLst>
              <a:ext uri="{FF2B5EF4-FFF2-40B4-BE49-F238E27FC236}">
                <a16:creationId xmlns:a16="http://schemas.microsoft.com/office/drawing/2014/main" id="{03B11919-1248-8642-8175-7CE788E37A92}"/>
              </a:ext>
            </a:extLst>
          </p:cNvPr>
          <p:cNvSpPr/>
          <p:nvPr/>
        </p:nvSpPr>
        <p:spPr bwMode="gray">
          <a:xfrm>
            <a:off x="4548851" y="2487928"/>
            <a:ext cx="2004597" cy="294189"/>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800" b="1" i="0" u="none" strike="noStrike" kern="0" cap="none" spc="0" normalizeH="0" baseline="0" noProof="0" dirty="0">
              <a:ln>
                <a:noFill/>
              </a:ln>
              <a:solidFill>
                <a:prstClr val="white"/>
              </a:solidFill>
              <a:effectLst/>
              <a:uLnTx/>
              <a:uFillTx/>
            </a:endParaRPr>
          </a:p>
        </p:txBody>
      </p:sp>
      <p:sp>
        <p:nvSpPr>
          <p:cNvPr id="79" name="TextBox 78">
            <a:extLst>
              <a:ext uri="{FF2B5EF4-FFF2-40B4-BE49-F238E27FC236}">
                <a16:creationId xmlns:a16="http://schemas.microsoft.com/office/drawing/2014/main" id="{C22707FD-D1E2-2B4A-B4D4-D125FD9A07BC}"/>
              </a:ext>
            </a:extLst>
          </p:cNvPr>
          <p:cNvSpPr txBox="1"/>
          <p:nvPr/>
        </p:nvSpPr>
        <p:spPr>
          <a:xfrm>
            <a:off x="4833849" y="2535815"/>
            <a:ext cx="1449437" cy="15388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Pct val="100000"/>
              <a:buFontTx/>
              <a:buNone/>
              <a:tabLst/>
              <a:defRPr kumimoji="0" sz="1200" b="0" i="0" u="none" strike="noStrike" cap="none" spc="0" normalizeH="0" baseline="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algn="ctr"/>
            <a:r>
              <a:rPr lang="en-IE" sz="1000" b="1" dirty="0">
                <a:latin typeface="Calibri"/>
              </a:rPr>
              <a:t>Lorem ipsum </a:t>
            </a:r>
          </a:p>
        </p:txBody>
      </p:sp>
      <p:sp>
        <p:nvSpPr>
          <p:cNvPr id="80" name="TextBox 79">
            <a:extLst>
              <a:ext uri="{FF2B5EF4-FFF2-40B4-BE49-F238E27FC236}">
                <a16:creationId xmlns:a16="http://schemas.microsoft.com/office/drawing/2014/main" id="{E73D127C-84FE-CE45-99A3-D1E329974263}"/>
              </a:ext>
            </a:extLst>
          </p:cNvPr>
          <p:cNvSpPr txBox="1"/>
          <p:nvPr/>
        </p:nvSpPr>
        <p:spPr>
          <a:xfrm>
            <a:off x="4548852" y="2813441"/>
            <a:ext cx="1984556" cy="1217050"/>
          </a:xfrm>
          <a:prstGeom prst="rect">
            <a:avLst/>
          </a:prstGeom>
          <a:solidFill>
            <a:sysClr val="windowText" lastClr="000000"/>
          </a:solidFill>
          <a:ln>
            <a:solidFill>
              <a:srgbClr val="26890D"/>
            </a:solidFill>
          </a:ln>
        </p:spPr>
        <p:txBody>
          <a:bodyPr wrap="square" lIns="72000" tIns="36000" rIns="72000" bIns="72000" rtlCol="0">
            <a:spAutoFit/>
          </a:bodyPr>
          <a:lstStyle>
            <a:defPPr>
              <a:defRPr lang="en-US"/>
            </a:defPPr>
            <a:lvl1pPr>
              <a:spcBef>
                <a:spcPts val="600"/>
              </a:spcBef>
              <a:buSzPct val="100000"/>
              <a:defRPr sz="800">
                <a:solidFill>
                  <a:srgbClr val="313131"/>
                </a:solidFill>
                <a:latin typeface="+mj-lt"/>
              </a:defRPr>
            </a:lvl1pPr>
          </a:lstStyle>
          <a:p>
            <a:r>
              <a:rPr lang="en-IE" sz="900" kern="0" dirty="0">
                <a:solidFill>
                  <a:prstClr val="white"/>
                </a:solidFill>
                <a:latin typeface="+mn-lt"/>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grpSp>
        <p:nvGrpSpPr>
          <p:cNvPr id="81" name="Group 80">
            <a:extLst>
              <a:ext uri="{FF2B5EF4-FFF2-40B4-BE49-F238E27FC236}">
                <a16:creationId xmlns:a16="http://schemas.microsoft.com/office/drawing/2014/main" id="{F81C854E-00D7-B147-A4AA-E162F57BFD6F}"/>
              </a:ext>
            </a:extLst>
          </p:cNvPr>
          <p:cNvGrpSpPr/>
          <p:nvPr/>
        </p:nvGrpSpPr>
        <p:grpSpPr>
          <a:xfrm>
            <a:off x="7320003" y="1262016"/>
            <a:ext cx="514880" cy="514880"/>
            <a:chOff x="7643362" y="2623352"/>
            <a:chExt cx="315200" cy="315200"/>
          </a:xfrm>
        </p:grpSpPr>
        <p:sp>
          <p:nvSpPr>
            <p:cNvPr id="82" name="Oval 81">
              <a:extLst>
                <a:ext uri="{FF2B5EF4-FFF2-40B4-BE49-F238E27FC236}">
                  <a16:creationId xmlns:a16="http://schemas.microsoft.com/office/drawing/2014/main" id="{07821980-D9EC-F148-A464-5A3B05CA33FC}"/>
                </a:ext>
              </a:extLst>
            </p:cNvPr>
            <p:cNvSpPr/>
            <p:nvPr/>
          </p:nvSpPr>
          <p:spPr bwMode="gray">
            <a:xfrm>
              <a:off x="7643362" y="2623352"/>
              <a:ext cx="315200" cy="31520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83" name="Oval 82">
              <a:extLst>
                <a:ext uri="{FF2B5EF4-FFF2-40B4-BE49-F238E27FC236}">
                  <a16:creationId xmlns:a16="http://schemas.microsoft.com/office/drawing/2014/main" id="{2E5B4BB5-8126-BC44-9110-C9ECFC2AD0E8}"/>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1</a:t>
              </a:r>
            </a:p>
          </p:txBody>
        </p:sp>
      </p:grpSp>
      <p:sp>
        <p:nvSpPr>
          <p:cNvPr id="84" name="Oval 83">
            <a:extLst>
              <a:ext uri="{FF2B5EF4-FFF2-40B4-BE49-F238E27FC236}">
                <a16:creationId xmlns:a16="http://schemas.microsoft.com/office/drawing/2014/main" id="{77E6AEA5-EDCA-2943-B1F4-2A312DBDFC5D}"/>
              </a:ext>
            </a:extLst>
          </p:cNvPr>
          <p:cNvSpPr/>
          <p:nvPr/>
        </p:nvSpPr>
        <p:spPr bwMode="gray">
          <a:xfrm>
            <a:off x="9808241" y="1526747"/>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85" name="Freeform 928">
            <a:extLst>
              <a:ext uri="{FF2B5EF4-FFF2-40B4-BE49-F238E27FC236}">
                <a16:creationId xmlns:a16="http://schemas.microsoft.com/office/drawing/2014/main" id="{38F2415F-C885-AB41-A84B-AAB1913CA47E}"/>
              </a:ext>
            </a:extLst>
          </p:cNvPr>
          <p:cNvSpPr>
            <a:spLocks noEditPoints="1"/>
          </p:cNvSpPr>
          <p:nvPr/>
        </p:nvSpPr>
        <p:spPr bwMode="auto">
          <a:xfrm>
            <a:off x="9835386" y="1553892"/>
            <a:ext cx="392578" cy="392578"/>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86" name="Group 85">
            <a:extLst>
              <a:ext uri="{FF2B5EF4-FFF2-40B4-BE49-F238E27FC236}">
                <a16:creationId xmlns:a16="http://schemas.microsoft.com/office/drawing/2014/main" id="{059ED205-856E-F942-BB37-C603C95DC0F0}"/>
              </a:ext>
            </a:extLst>
          </p:cNvPr>
          <p:cNvGrpSpPr/>
          <p:nvPr/>
        </p:nvGrpSpPr>
        <p:grpSpPr>
          <a:xfrm>
            <a:off x="9864788" y="2185948"/>
            <a:ext cx="514880" cy="514880"/>
            <a:chOff x="7643362" y="2623352"/>
            <a:chExt cx="315200" cy="315200"/>
          </a:xfrm>
        </p:grpSpPr>
        <p:sp>
          <p:nvSpPr>
            <p:cNvPr id="87" name="Oval 86">
              <a:extLst>
                <a:ext uri="{FF2B5EF4-FFF2-40B4-BE49-F238E27FC236}">
                  <a16:creationId xmlns:a16="http://schemas.microsoft.com/office/drawing/2014/main" id="{7CB25C08-D815-A246-A03A-15267BE5679A}"/>
                </a:ext>
              </a:extLst>
            </p:cNvPr>
            <p:cNvSpPr/>
            <p:nvPr/>
          </p:nvSpPr>
          <p:spPr bwMode="gray">
            <a:xfrm>
              <a:off x="7643362" y="2623352"/>
              <a:ext cx="315200" cy="315200"/>
            </a:xfrm>
            <a:prstGeom prst="ellipse">
              <a:avLst/>
            </a:prstGeom>
            <a:solidFill>
              <a:srgbClr val="43B02A"/>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88" name="Oval 87">
              <a:extLst>
                <a:ext uri="{FF2B5EF4-FFF2-40B4-BE49-F238E27FC236}">
                  <a16:creationId xmlns:a16="http://schemas.microsoft.com/office/drawing/2014/main" id="{54CBFE05-1682-2B4D-ABD1-A86973D1241F}"/>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2</a:t>
              </a:r>
            </a:p>
          </p:txBody>
        </p:sp>
      </p:grpSp>
      <p:sp>
        <p:nvSpPr>
          <p:cNvPr id="89" name="Oval 88">
            <a:extLst>
              <a:ext uri="{FF2B5EF4-FFF2-40B4-BE49-F238E27FC236}">
                <a16:creationId xmlns:a16="http://schemas.microsoft.com/office/drawing/2014/main" id="{73DF653B-6AA1-0C40-9AC9-ACA08BB98645}"/>
              </a:ext>
            </a:extLst>
          </p:cNvPr>
          <p:cNvSpPr/>
          <p:nvPr/>
        </p:nvSpPr>
        <p:spPr bwMode="gray">
          <a:xfrm>
            <a:off x="8728645" y="2477965"/>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90" name="Freeform 124">
            <a:extLst>
              <a:ext uri="{FF2B5EF4-FFF2-40B4-BE49-F238E27FC236}">
                <a16:creationId xmlns:a16="http://schemas.microsoft.com/office/drawing/2014/main" id="{18B43B39-9032-BD4F-8910-F301245007B0}"/>
              </a:ext>
            </a:extLst>
          </p:cNvPr>
          <p:cNvSpPr>
            <a:spLocks noChangeAspect="1" noEditPoints="1"/>
          </p:cNvSpPr>
          <p:nvPr/>
        </p:nvSpPr>
        <p:spPr bwMode="auto">
          <a:xfrm>
            <a:off x="8752463" y="2502368"/>
            <a:ext cx="399233" cy="398063"/>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66 w 512"/>
              <a:gd name="T23" fmla="*/ 373 h 512"/>
              <a:gd name="T24" fmla="*/ 266 w 512"/>
              <a:gd name="T25" fmla="*/ 352 h 512"/>
              <a:gd name="T26" fmla="*/ 288 w 512"/>
              <a:gd name="T27" fmla="*/ 362 h 512"/>
              <a:gd name="T28" fmla="*/ 298 w 512"/>
              <a:gd name="T29" fmla="*/ 330 h 512"/>
              <a:gd name="T30" fmla="*/ 256 w 512"/>
              <a:gd name="T31" fmla="*/ 320 h 512"/>
              <a:gd name="T32" fmla="*/ 298 w 512"/>
              <a:gd name="T33" fmla="*/ 309 h 512"/>
              <a:gd name="T34" fmla="*/ 298 w 512"/>
              <a:gd name="T35" fmla="*/ 330 h 512"/>
              <a:gd name="T36" fmla="*/ 266 w 512"/>
              <a:gd name="T37" fmla="*/ 288 h 512"/>
              <a:gd name="T38" fmla="*/ 266 w 512"/>
              <a:gd name="T39" fmla="*/ 266 h 512"/>
              <a:gd name="T40" fmla="*/ 330 w 512"/>
              <a:gd name="T41" fmla="*/ 277 h 512"/>
              <a:gd name="T42" fmla="*/ 341 w 512"/>
              <a:gd name="T43" fmla="*/ 245 h 512"/>
              <a:gd name="T44" fmla="*/ 256 w 512"/>
              <a:gd name="T45" fmla="*/ 234 h 512"/>
              <a:gd name="T46" fmla="*/ 341 w 512"/>
              <a:gd name="T47" fmla="*/ 224 h 512"/>
              <a:gd name="T48" fmla="*/ 341 w 512"/>
              <a:gd name="T49" fmla="*/ 245 h 512"/>
              <a:gd name="T50" fmla="*/ 266 w 512"/>
              <a:gd name="T51" fmla="*/ 202 h 512"/>
              <a:gd name="T52" fmla="*/ 266 w 512"/>
              <a:gd name="T53" fmla="*/ 181 h 512"/>
              <a:gd name="T54" fmla="*/ 373 w 512"/>
              <a:gd name="T55" fmla="*/ 192 h 512"/>
              <a:gd name="T56" fmla="*/ 378 w 512"/>
              <a:gd name="T57" fmla="*/ 160 h 512"/>
              <a:gd name="T58" fmla="*/ 256 w 512"/>
              <a:gd name="T59" fmla="*/ 149 h 512"/>
              <a:gd name="T60" fmla="*/ 378 w 512"/>
              <a:gd name="T61" fmla="*/ 138 h 512"/>
              <a:gd name="T62" fmla="*/ 378 w 512"/>
              <a:gd name="T63"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77" y="373"/>
                </a:moveTo>
                <a:cubicBezTo>
                  <a:pt x="266" y="373"/>
                  <a:pt x="266" y="373"/>
                  <a:pt x="266" y="373"/>
                </a:cubicBezTo>
                <a:cubicBezTo>
                  <a:pt x="260" y="373"/>
                  <a:pt x="256" y="368"/>
                  <a:pt x="256" y="362"/>
                </a:cubicBezTo>
                <a:cubicBezTo>
                  <a:pt x="256" y="356"/>
                  <a:pt x="260" y="352"/>
                  <a:pt x="266" y="352"/>
                </a:cubicBezTo>
                <a:cubicBezTo>
                  <a:pt x="277" y="352"/>
                  <a:pt x="277" y="352"/>
                  <a:pt x="277" y="352"/>
                </a:cubicBezTo>
                <a:cubicBezTo>
                  <a:pt x="283" y="352"/>
                  <a:pt x="288" y="356"/>
                  <a:pt x="288" y="362"/>
                </a:cubicBezTo>
                <a:cubicBezTo>
                  <a:pt x="288" y="368"/>
                  <a:pt x="283" y="373"/>
                  <a:pt x="277" y="373"/>
                </a:cubicBezTo>
                <a:close/>
                <a:moveTo>
                  <a:pt x="298" y="330"/>
                </a:move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304" y="309"/>
                  <a:pt x="309" y="314"/>
                  <a:pt x="309" y="320"/>
                </a:cubicBezTo>
                <a:cubicBezTo>
                  <a:pt x="309" y="326"/>
                  <a:pt x="304" y="330"/>
                  <a:pt x="298" y="330"/>
                </a:cubicBezTo>
                <a:close/>
                <a:moveTo>
                  <a:pt x="320" y="288"/>
                </a:moveTo>
                <a:cubicBezTo>
                  <a:pt x="266" y="288"/>
                  <a:pt x="266" y="288"/>
                  <a:pt x="266" y="288"/>
                </a:cubicBezTo>
                <a:cubicBezTo>
                  <a:pt x="260" y="288"/>
                  <a:pt x="256" y="283"/>
                  <a:pt x="256" y="277"/>
                </a:cubicBezTo>
                <a:cubicBezTo>
                  <a:pt x="256" y="271"/>
                  <a:pt x="260" y="266"/>
                  <a:pt x="266" y="266"/>
                </a:cubicBezTo>
                <a:cubicBezTo>
                  <a:pt x="320" y="266"/>
                  <a:pt x="320" y="266"/>
                  <a:pt x="320" y="266"/>
                </a:cubicBezTo>
                <a:cubicBezTo>
                  <a:pt x="326" y="266"/>
                  <a:pt x="330" y="271"/>
                  <a:pt x="330" y="277"/>
                </a:cubicBezTo>
                <a:cubicBezTo>
                  <a:pt x="330" y="283"/>
                  <a:pt x="326" y="288"/>
                  <a:pt x="320" y="288"/>
                </a:cubicBezTo>
                <a:close/>
                <a:moveTo>
                  <a:pt x="341" y="245"/>
                </a:moveTo>
                <a:cubicBezTo>
                  <a:pt x="266" y="245"/>
                  <a:pt x="266" y="245"/>
                  <a:pt x="266" y="245"/>
                </a:cubicBezTo>
                <a:cubicBezTo>
                  <a:pt x="260" y="245"/>
                  <a:pt x="256" y="240"/>
                  <a:pt x="256" y="234"/>
                </a:cubicBezTo>
                <a:cubicBezTo>
                  <a:pt x="256" y="228"/>
                  <a:pt x="260" y="224"/>
                  <a:pt x="266" y="224"/>
                </a:cubicBezTo>
                <a:cubicBezTo>
                  <a:pt x="341" y="224"/>
                  <a:pt x="341" y="224"/>
                  <a:pt x="341" y="224"/>
                </a:cubicBezTo>
                <a:cubicBezTo>
                  <a:pt x="347" y="224"/>
                  <a:pt x="352" y="228"/>
                  <a:pt x="352" y="234"/>
                </a:cubicBezTo>
                <a:cubicBezTo>
                  <a:pt x="352" y="240"/>
                  <a:pt x="347" y="245"/>
                  <a:pt x="341" y="245"/>
                </a:cubicBezTo>
                <a:close/>
                <a:moveTo>
                  <a:pt x="362" y="202"/>
                </a:moveTo>
                <a:cubicBezTo>
                  <a:pt x="266" y="202"/>
                  <a:pt x="266" y="202"/>
                  <a:pt x="266" y="202"/>
                </a:cubicBezTo>
                <a:cubicBezTo>
                  <a:pt x="260" y="202"/>
                  <a:pt x="256" y="198"/>
                  <a:pt x="256" y="192"/>
                </a:cubicBezTo>
                <a:cubicBezTo>
                  <a:pt x="256" y="186"/>
                  <a:pt x="260" y="181"/>
                  <a:pt x="266" y="181"/>
                </a:cubicBezTo>
                <a:cubicBezTo>
                  <a:pt x="362" y="181"/>
                  <a:pt x="362" y="181"/>
                  <a:pt x="362" y="181"/>
                </a:cubicBezTo>
                <a:cubicBezTo>
                  <a:pt x="368" y="181"/>
                  <a:pt x="373" y="186"/>
                  <a:pt x="373" y="192"/>
                </a:cubicBezTo>
                <a:cubicBezTo>
                  <a:pt x="373" y="198"/>
                  <a:pt x="368" y="202"/>
                  <a:pt x="362" y="202"/>
                </a:cubicBezTo>
                <a:close/>
                <a:moveTo>
                  <a:pt x="378" y="160"/>
                </a:moveTo>
                <a:cubicBezTo>
                  <a:pt x="266" y="160"/>
                  <a:pt x="266" y="160"/>
                  <a:pt x="266" y="160"/>
                </a:cubicBezTo>
                <a:cubicBezTo>
                  <a:pt x="260" y="160"/>
                  <a:pt x="256" y="155"/>
                  <a:pt x="256" y="149"/>
                </a:cubicBezTo>
                <a:cubicBezTo>
                  <a:pt x="256" y="143"/>
                  <a:pt x="260" y="138"/>
                  <a:pt x="266" y="138"/>
                </a:cubicBezTo>
                <a:cubicBezTo>
                  <a:pt x="378" y="138"/>
                  <a:pt x="378" y="138"/>
                  <a:pt x="378" y="138"/>
                </a:cubicBezTo>
                <a:cubicBezTo>
                  <a:pt x="384" y="138"/>
                  <a:pt x="389" y="143"/>
                  <a:pt x="389" y="149"/>
                </a:cubicBezTo>
                <a:cubicBezTo>
                  <a:pt x="389" y="155"/>
                  <a:pt x="384" y="160"/>
                  <a:pt x="378" y="16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91" name="Group 90">
            <a:extLst>
              <a:ext uri="{FF2B5EF4-FFF2-40B4-BE49-F238E27FC236}">
                <a16:creationId xmlns:a16="http://schemas.microsoft.com/office/drawing/2014/main" id="{3CC8C197-BB7D-D140-A6D3-8425A215F37C}"/>
              </a:ext>
            </a:extLst>
          </p:cNvPr>
          <p:cNvGrpSpPr/>
          <p:nvPr/>
        </p:nvGrpSpPr>
        <p:grpSpPr>
          <a:xfrm>
            <a:off x="6406520" y="2301058"/>
            <a:ext cx="514880" cy="514880"/>
            <a:chOff x="7643362" y="2623352"/>
            <a:chExt cx="315200" cy="315200"/>
          </a:xfrm>
        </p:grpSpPr>
        <p:sp>
          <p:nvSpPr>
            <p:cNvPr id="92" name="Oval 91">
              <a:extLst>
                <a:ext uri="{FF2B5EF4-FFF2-40B4-BE49-F238E27FC236}">
                  <a16:creationId xmlns:a16="http://schemas.microsoft.com/office/drawing/2014/main" id="{CD474CC9-BBDF-6C47-9BFA-DA98F4F693A7}"/>
                </a:ext>
              </a:extLst>
            </p:cNvPr>
            <p:cNvSpPr/>
            <p:nvPr/>
          </p:nvSpPr>
          <p:spPr bwMode="gray">
            <a:xfrm>
              <a:off x="7643362" y="2623352"/>
              <a:ext cx="315200" cy="315200"/>
            </a:xfrm>
            <a:prstGeom prst="ellipse">
              <a:avLst/>
            </a:prstGeom>
            <a:solidFill>
              <a:srgbClr val="26890D"/>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93" name="Oval 92">
              <a:extLst>
                <a:ext uri="{FF2B5EF4-FFF2-40B4-BE49-F238E27FC236}">
                  <a16:creationId xmlns:a16="http://schemas.microsoft.com/office/drawing/2014/main" id="{C755183F-AEB0-294D-964E-759C113FCE51}"/>
                </a:ext>
              </a:extLst>
            </p:cNvPr>
            <p:cNvSpPr/>
            <p:nvPr/>
          </p:nvSpPr>
          <p:spPr bwMode="gray">
            <a:xfrm>
              <a:off x="7671785"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3</a:t>
              </a:r>
            </a:p>
          </p:txBody>
        </p:sp>
      </p:grpSp>
      <p:sp>
        <p:nvSpPr>
          <p:cNvPr id="94" name="Oval 93">
            <a:extLst>
              <a:ext uri="{FF2B5EF4-FFF2-40B4-BE49-F238E27FC236}">
                <a16:creationId xmlns:a16="http://schemas.microsoft.com/office/drawing/2014/main" id="{7C2D5525-6778-DC48-9C33-9685E7AA3F0D}"/>
              </a:ext>
            </a:extLst>
          </p:cNvPr>
          <p:cNvSpPr/>
          <p:nvPr/>
        </p:nvSpPr>
        <p:spPr bwMode="gray">
          <a:xfrm>
            <a:off x="3243173" y="2431694"/>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95" name="Freeform 370">
            <a:extLst>
              <a:ext uri="{FF2B5EF4-FFF2-40B4-BE49-F238E27FC236}">
                <a16:creationId xmlns:a16="http://schemas.microsoft.com/office/drawing/2014/main" id="{7716B561-003D-354E-B9CA-063F587D703C}"/>
              </a:ext>
            </a:extLst>
          </p:cNvPr>
          <p:cNvSpPr>
            <a:spLocks noChangeAspect="1" noEditPoints="1"/>
          </p:cNvSpPr>
          <p:nvPr/>
        </p:nvSpPr>
        <p:spPr bwMode="auto">
          <a:xfrm>
            <a:off x="3270270" y="2458791"/>
            <a:ext cx="392674" cy="392674"/>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96" name="Group 95">
            <a:extLst>
              <a:ext uri="{FF2B5EF4-FFF2-40B4-BE49-F238E27FC236}">
                <a16:creationId xmlns:a16="http://schemas.microsoft.com/office/drawing/2014/main" id="{CE939CDC-E485-F346-94DA-11CF6B2953A8}"/>
              </a:ext>
            </a:extLst>
          </p:cNvPr>
          <p:cNvGrpSpPr/>
          <p:nvPr/>
        </p:nvGrpSpPr>
        <p:grpSpPr>
          <a:xfrm>
            <a:off x="2007710" y="2597370"/>
            <a:ext cx="514880" cy="514880"/>
            <a:chOff x="7643361" y="2623352"/>
            <a:chExt cx="315200" cy="315200"/>
          </a:xfrm>
        </p:grpSpPr>
        <p:sp>
          <p:nvSpPr>
            <p:cNvPr id="97" name="Oval 96">
              <a:extLst>
                <a:ext uri="{FF2B5EF4-FFF2-40B4-BE49-F238E27FC236}">
                  <a16:creationId xmlns:a16="http://schemas.microsoft.com/office/drawing/2014/main" id="{B213B92F-707B-C74C-8E7A-CC825EB5630A}"/>
                </a:ext>
              </a:extLst>
            </p:cNvPr>
            <p:cNvSpPr/>
            <p:nvPr/>
          </p:nvSpPr>
          <p:spPr bwMode="gray">
            <a:xfrm>
              <a:off x="7643361" y="2623352"/>
              <a:ext cx="315200" cy="315200"/>
            </a:xfrm>
            <a:prstGeom prst="ellipse">
              <a:avLst/>
            </a:prstGeom>
            <a:solidFill>
              <a:srgbClr val="046A38"/>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98" name="Oval 97">
              <a:extLst>
                <a:ext uri="{FF2B5EF4-FFF2-40B4-BE49-F238E27FC236}">
                  <a16:creationId xmlns:a16="http://schemas.microsoft.com/office/drawing/2014/main" id="{27F097C7-5FC4-E047-A1BF-4EE494C59A1F}"/>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4</a:t>
              </a:r>
            </a:p>
          </p:txBody>
        </p:sp>
      </p:grpSp>
      <p:sp>
        <p:nvSpPr>
          <p:cNvPr id="99" name="Oval 98">
            <a:extLst>
              <a:ext uri="{FF2B5EF4-FFF2-40B4-BE49-F238E27FC236}">
                <a16:creationId xmlns:a16="http://schemas.microsoft.com/office/drawing/2014/main" id="{2F2F92F6-5685-5147-A072-60FC9488B222}"/>
              </a:ext>
            </a:extLst>
          </p:cNvPr>
          <p:cNvSpPr/>
          <p:nvPr/>
        </p:nvSpPr>
        <p:spPr bwMode="gray">
          <a:xfrm>
            <a:off x="2610777" y="4303324"/>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100" name="Freeform 831">
            <a:extLst>
              <a:ext uri="{FF2B5EF4-FFF2-40B4-BE49-F238E27FC236}">
                <a16:creationId xmlns:a16="http://schemas.microsoft.com/office/drawing/2014/main" id="{5590EE81-BDD0-5A4E-A516-B7403A5D2763}"/>
              </a:ext>
            </a:extLst>
          </p:cNvPr>
          <p:cNvSpPr>
            <a:spLocks noChangeAspect="1" noEditPoints="1"/>
          </p:cNvSpPr>
          <p:nvPr/>
        </p:nvSpPr>
        <p:spPr bwMode="auto">
          <a:xfrm>
            <a:off x="2636046" y="4328593"/>
            <a:ext cx="396331" cy="396331"/>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101" name="Group 100">
            <a:extLst>
              <a:ext uri="{FF2B5EF4-FFF2-40B4-BE49-F238E27FC236}">
                <a16:creationId xmlns:a16="http://schemas.microsoft.com/office/drawing/2014/main" id="{80666095-A62F-E549-87AC-A5CAD49BDC44}"/>
              </a:ext>
            </a:extLst>
          </p:cNvPr>
          <p:cNvGrpSpPr/>
          <p:nvPr/>
        </p:nvGrpSpPr>
        <p:grpSpPr>
          <a:xfrm>
            <a:off x="3596893" y="4281528"/>
            <a:ext cx="514880" cy="514880"/>
            <a:chOff x="7643361" y="2623352"/>
            <a:chExt cx="315200" cy="315200"/>
          </a:xfrm>
        </p:grpSpPr>
        <p:sp>
          <p:nvSpPr>
            <p:cNvPr id="102" name="Oval 101">
              <a:extLst>
                <a:ext uri="{FF2B5EF4-FFF2-40B4-BE49-F238E27FC236}">
                  <a16:creationId xmlns:a16="http://schemas.microsoft.com/office/drawing/2014/main" id="{A1E48C80-8C3C-404F-86D3-73DBBA017C7F}"/>
                </a:ext>
              </a:extLst>
            </p:cNvPr>
            <p:cNvSpPr/>
            <p:nvPr/>
          </p:nvSpPr>
          <p:spPr bwMode="gray">
            <a:xfrm>
              <a:off x="7643361" y="2623352"/>
              <a:ext cx="315200" cy="315200"/>
            </a:xfrm>
            <a:prstGeom prst="ellipse">
              <a:avLst/>
            </a:prstGeom>
            <a:solidFill>
              <a:srgbClr val="00768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103" name="Oval 102">
              <a:extLst>
                <a:ext uri="{FF2B5EF4-FFF2-40B4-BE49-F238E27FC236}">
                  <a16:creationId xmlns:a16="http://schemas.microsoft.com/office/drawing/2014/main" id="{9E8CA2CC-D907-E049-88BF-033123C4AC97}"/>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4</a:t>
              </a:r>
            </a:p>
          </p:txBody>
        </p:sp>
      </p:grpSp>
      <p:sp>
        <p:nvSpPr>
          <p:cNvPr id="104" name="Oval 103">
            <a:extLst>
              <a:ext uri="{FF2B5EF4-FFF2-40B4-BE49-F238E27FC236}">
                <a16:creationId xmlns:a16="http://schemas.microsoft.com/office/drawing/2014/main" id="{F9BB1396-79AB-AC4F-8A5A-4CDD035CED86}"/>
              </a:ext>
            </a:extLst>
          </p:cNvPr>
          <p:cNvSpPr/>
          <p:nvPr/>
        </p:nvSpPr>
        <p:spPr bwMode="gray">
          <a:xfrm>
            <a:off x="6632268" y="4307490"/>
            <a:ext cx="446869" cy="446869"/>
          </a:xfrm>
          <a:prstGeom prst="ellipse">
            <a:avLst/>
          </a:prstGeom>
          <a:solidFill>
            <a:srgbClr val="D9D9D9"/>
          </a:solidFill>
          <a:ln w="19050" algn="ctr">
            <a:noFill/>
            <a:miter lim="800000"/>
            <a:headEnd/>
            <a:tailEnd/>
          </a:ln>
        </p:spPr>
        <p:txBody>
          <a:bodyPr wrap="square" lIns="88900" tIns="88900" rIns="88900" bIns="88900" rtlCol="0" anchor="ctr"/>
          <a:lstStyle/>
          <a:p>
            <a:pPr algn="ctr" defTabSz="787481">
              <a:lnSpc>
                <a:spcPct val="106000"/>
              </a:lnSpc>
              <a:buFont typeface="Wingdings 2" pitchFamily="18" charset="2"/>
              <a:buNone/>
              <a:defRPr/>
            </a:pPr>
            <a:endParaRPr lang="en-IE" sz="800" b="1" dirty="0">
              <a:solidFill>
                <a:prstClr val="white"/>
              </a:solidFill>
              <a:latin typeface="Calibri"/>
            </a:endParaRPr>
          </a:p>
        </p:txBody>
      </p:sp>
      <p:sp>
        <p:nvSpPr>
          <p:cNvPr id="105" name="Freeform 36">
            <a:extLst>
              <a:ext uri="{FF2B5EF4-FFF2-40B4-BE49-F238E27FC236}">
                <a16:creationId xmlns:a16="http://schemas.microsoft.com/office/drawing/2014/main" id="{8B420E78-C832-8E41-94C8-4A9BDCBEA091}"/>
              </a:ext>
            </a:extLst>
          </p:cNvPr>
          <p:cNvSpPr>
            <a:spLocks noChangeAspect="1" noEditPoints="1"/>
          </p:cNvSpPr>
          <p:nvPr/>
        </p:nvSpPr>
        <p:spPr bwMode="auto">
          <a:xfrm>
            <a:off x="6659307" y="4334529"/>
            <a:ext cx="392790" cy="39279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787481"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Calibri"/>
            </a:endParaRPr>
          </a:p>
        </p:txBody>
      </p:sp>
      <p:grpSp>
        <p:nvGrpSpPr>
          <p:cNvPr id="106" name="Group 105">
            <a:extLst>
              <a:ext uri="{FF2B5EF4-FFF2-40B4-BE49-F238E27FC236}">
                <a16:creationId xmlns:a16="http://schemas.microsoft.com/office/drawing/2014/main" id="{ED327F4A-9600-6E45-A9B3-DA3CC0CF2F21}"/>
              </a:ext>
            </a:extLst>
          </p:cNvPr>
          <p:cNvGrpSpPr/>
          <p:nvPr/>
        </p:nvGrpSpPr>
        <p:grpSpPr>
          <a:xfrm>
            <a:off x="7345960" y="4297690"/>
            <a:ext cx="514880" cy="514880"/>
            <a:chOff x="7643364" y="2623352"/>
            <a:chExt cx="315200" cy="315200"/>
          </a:xfrm>
        </p:grpSpPr>
        <p:sp>
          <p:nvSpPr>
            <p:cNvPr id="107" name="Oval 106">
              <a:extLst>
                <a:ext uri="{FF2B5EF4-FFF2-40B4-BE49-F238E27FC236}">
                  <a16:creationId xmlns:a16="http://schemas.microsoft.com/office/drawing/2014/main" id="{E03F1DF5-5C71-4741-AF4D-C72C247855B3}"/>
                </a:ext>
              </a:extLst>
            </p:cNvPr>
            <p:cNvSpPr/>
            <p:nvPr/>
          </p:nvSpPr>
          <p:spPr bwMode="gray">
            <a:xfrm>
              <a:off x="7643364" y="2623352"/>
              <a:ext cx="315200" cy="315200"/>
            </a:xfrm>
            <a:prstGeom prst="ellipse">
              <a:avLst/>
            </a:prstGeom>
            <a:solidFill>
              <a:srgbClr val="004F59"/>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endParaRPr kumimoji="0" lang="en-IE" sz="1100" b="1" i="0" u="none" strike="noStrike" kern="0" cap="none" spc="0" normalizeH="0" baseline="0" noProof="0" dirty="0">
                <a:ln>
                  <a:noFill/>
                </a:ln>
                <a:solidFill>
                  <a:prstClr val="white"/>
                </a:solidFill>
                <a:effectLst/>
                <a:uLnTx/>
                <a:uFillTx/>
                <a:latin typeface="Calibri"/>
              </a:endParaRPr>
            </a:p>
          </p:txBody>
        </p:sp>
        <p:sp>
          <p:nvSpPr>
            <p:cNvPr id="108" name="Oval 107">
              <a:extLst>
                <a:ext uri="{FF2B5EF4-FFF2-40B4-BE49-F238E27FC236}">
                  <a16:creationId xmlns:a16="http://schemas.microsoft.com/office/drawing/2014/main" id="{FB40B84A-59CE-1F4D-BFD0-9DA99C81282B}"/>
                </a:ext>
              </a:extLst>
            </p:cNvPr>
            <p:cNvSpPr/>
            <p:nvPr/>
          </p:nvSpPr>
          <p:spPr bwMode="gray">
            <a:xfrm>
              <a:off x="7671789" y="2649956"/>
              <a:ext cx="258355" cy="25835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787481" eaLnBrk="1" fontAlgn="auto" latinLnBrk="0" hangingPunct="1">
                <a:lnSpc>
                  <a:spcPct val="106000"/>
                </a:lnSpc>
                <a:spcBef>
                  <a:spcPts val="0"/>
                </a:spcBef>
                <a:spcAft>
                  <a:spcPts val="0"/>
                </a:spcAft>
                <a:buClrTx/>
                <a:buSzTx/>
                <a:buFont typeface="Wingdings 2" pitchFamily="18" charset="2"/>
                <a:buNone/>
                <a:tabLst/>
                <a:defRPr/>
              </a:pPr>
              <a:r>
                <a:rPr kumimoji="0" lang="en-IE" sz="1100" b="0" i="0" u="none" strike="noStrike" kern="0" cap="none" spc="0" normalizeH="0" baseline="0" noProof="0" dirty="0">
                  <a:ln>
                    <a:noFill/>
                  </a:ln>
                  <a:solidFill>
                    <a:prstClr val="white"/>
                  </a:solidFill>
                  <a:effectLst/>
                  <a:uLnTx/>
                  <a:uFillTx/>
                  <a:latin typeface="Calibri"/>
                </a:rPr>
                <a:t>4</a:t>
              </a:r>
            </a:p>
          </p:txBody>
        </p:sp>
      </p:grpSp>
      <p:sp>
        <p:nvSpPr>
          <p:cNvPr id="109" name="Star: 5 Points 108">
            <a:extLst>
              <a:ext uri="{FF2B5EF4-FFF2-40B4-BE49-F238E27FC236}">
                <a16:creationId xmlns:a16="http://schemas.microsoft.com/office/drawing/2014/main" id="{A4994953-8CD5-4E0E-80E2-9158D8C32B30}"/>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2196730146"/>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Simple</a:t>
            </a:r>
            <a:endParaRPr lang="en-GB" dirty="0"/>
          </a:p>
        </p:txBody>
      </p:sp>
      <p:sp>
        <p:nvSpPr>
          <p:cNvPr id="3" name="Title 2"/>
          <p:cNvSpPr>
            <a:spLocks noGrp="1"/>
          </p:cNvSpPr>
          <p:nvPr>
            <p:ph type="title"/>
          </p:nvPr>
        </p:nvSpPr>
        <p:spPr/>
        <p:txBody>
          <a:bodyPr/>
          <a:lstStyle/>
          <a:p>
            <a:r>
              <a:rPr lang="en-GB" dirty="0"/>
              <a:t>Process diagram</a:t>
            </a:r>
          </a:p>
        </p:txBody>
      </p:sp>
      <p:grpSp>
        <p:nvGrpSpPr>
          <p:cNvPr id="9" name="Group 8"/>
          <p:cNvGrpSpPr/>
          <p:nvPr/>
        </p:nvGrpSpPr>
        <p:grpSpPr>
          <a:xfrm>
            <a:off x="2402435" y="1487214"/>
            <a:ext cx="7698006" cy="4751719"/>
            <a:chOff x="805559" y="1700213"/>
            <a:chExt cx="7556703" cy="4664497"/>
          </a:xfrm>
        </p:grpSpPr>
        <p:sp>
          <p:nvSpPr>
            <p:cNvPr id="5" name="Oval 4"/>
            <p:cNvSpPr>
              <a:spLocks noChangeAspect="1"/>
            </p:cNvSpPr>
            <p:nvPr/>
          </p:nvSpPr>
          <p:spPr bwMode="gray">
            <a:xfrm>
              <a:off x="805559"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1</a:t>
              </a:r>
            </a:p>
            <a:p>
              <a:pPr algn="ctr">
                <a:buFont typeface="Wingdings 2" pitchFamily="18" charset="2"/>
                <a:buNone/>
              </a:pPr>
              <a:r>
                <a:rPr lang="en-GB" sz="1400" dirty="0">
                  <a:solidFill>
                    <a:schemeClr val="bg1"/>
                  </a:solidFill>
                </a:rPr>
                <a:t>Detail one</a:t>
              </a:r>
            </a:p>
          </p:txBody>
        </p:sp>
        <p:grpSp>
          <p:nvGrpSpPr>
            <p:cNvPr id="6" name="Group 5"/>
            <p:cNvGrpSpPr>
              <a:grpSpLocks noChangeAspect="1"/>
            </p:cNvGrpSpPr>
            <p:nvPr/>
          </p:nvGrpSpPr>
          <p:grpSpPr bwMode="auto">
            <a:xfrm>
              <a:off x="2915901" y="2373014"/>
              <a:ext cx="472398" cy="472398"/>
              <a:chOff x="3852" y="1696"/>
              <a:chExt cx="340" cy="340"/>
            </a:xfrm>
            <a:solidFill>
              <a:schemeClr val="accent6"/>
            </a:solidFill>
          </p:grpSpPr>
          <p:sp>
            <p:nvSpPr>
              <p:cNvPr id="7"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8"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21" name="Group 20"/>
            <p:cNvGrpSpPr>
              <a:grpSpLocks noChangeAspect="1"/>
            </p:cNvGrpSpPr>
            <p:nvPr/>
          </p:nvGrpSpPr>
          <p:grpSpPr bwMode="auto">
            <a:xfrm>
              <a:off x="5783341" y="2373014"/>
              <a:ext cx="472398" cy="472398"/>
              <a:chOff x="3852" y="1696"/>
              <a:chExt cx="340" cy="340"/>
            </a:xfrm>
            <a:solidFill>
              <a:schemeClr val="accent6"/>
            </a:solidFill>
          </p:grpSpPr>
          <p:sp>
            <p:nvSpPr>
              <p:cNvPr id="22"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23"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24" name="Group 23"/>
            <p:cNvGrpSpPr>
              <a:grpSpLocks noChangeAspect="1"/>
            </p:cNvGrpSpPr>
            <p:nvPr/>
          </p:nvGrpSpPr>
          <p:grpSpPr bwMode="auto">
            <a:xfrm flipH="1">
              <a:off x="5770894" y="5219512"/>
              <a:ext cx="472398" cy="472398"/>
              <a:chOff x="3852" y="1696"/>
              <a:chExt cx="340" cy="340"/>
            </a:xfrm>
            <a:solidFill>
              <a:schemeClr val="accent6"/>
            </a:solidFill>
          </p:grpSpPr>
          <p:sp>
            <p:nvSpPr>
              <p:cNvPr id="25"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26"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27" name="Group 26"/>
            <p:cNvGrpSpPr>
              <a:grpSpLocks noChangeAspect="1"/>
            </p:cNvGrpSpPr>
            <p:nvPr/>
          </p:nvGrpSpPr>
          <p:grpSpPr bwMode="auto">
            <a:xfrm flipH="1">
              <a:off x="2903476" y="5219512"/>
              <a:ext cx="472398" cy="472398"/>
              <a:chOff x="3852" y="1696"/>
              <a:chExt cx="340" cy="340"/>
            </a:xfrm>
            <a:solidFill>
              <a:schemeClr val="accent6"/>
            </a:solidFill>
          </p:grpSpPr>
          <p:sp>
            <p:nvSpPr>
              <p:cNvPr id="28"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29"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30" name="Group 29"/>
            <p:cNvGrpSpPr>
              <a:grpSpLocks noChangeAspect="1"/>
            </p:cNvGrpSpPr>
            <p:nvPr/>
          </p:nvGrpSpPr>
          <p:grpSpPr bwMode="auto">
            <a:xfrm rot="5400000">
              <a:off x="7223682" y="3802441"/>
              <a:ext cx="472398" cy="472398"/>
              <a:chOff x="3852" y="1696"/>
              <a:chExt cx="340" cy="340"/>
            </a:xfrm>
            <a:solidFill>
              <a:schemeClr val="accent6"/>
            </a:solidFill>
          </p:grpSpPr>
          <p:sp>
            <p:nvSpPr>
              <p:cNvPr id="31"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32"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grpSp>
          <p:nvGrpSpPr>
            <p:cNvPr id="33" name="Group 32"/>
            <p:cNvGrpSpPr>
              <a:grpSpLocks noChangeAspect="1"/>
            </p:cNvGrpSpPr>
            <p:nvPr/>
          </p:nvGrpSpPr>
          <p:grpSpPr bwMode="auto">
            <a:xfrm rot="16200000" flipV="1">
              <a:off x="1469070" y="3802441"/>
              <a:ext cx="472398" cy="472398"/>
              <a:chOff x="3852" y="1696"/>
              <a:chExt cx="340" cy="340"/>
            </a:xfrm>
            <a:solidFill>
              <a:schemeClr val="accent6"/>
            </a:solidFill>
          </p:grpSpPr>
          <p:sp>
            <p:nvSpPr>
              <p:cNvPr id="34"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sp>
            <p:nvSpPr>
              <p:cNvPr id="35"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noAutofit/>
              </a:bodyPr>
              <a:lstStyle/>
              <a:p>
                <a:endParaRPr lang="en-GB"/>
              </a:p>
            </p:txBody>
          </p:sp>
        </p:grpSp>
        <p:sp>
          <p:nvSpPr>
            <p:cNvPr id="36" name="Oval 35"/>
            <p:cNvSpPr>
              <a:spLocks noChangeAspect="1"/>
            </p:cNvSpPr>
            <p:nvPr/>
          </p:nvSpPr>
          <p:spPr bwMode="gray">
            <a:xfrm>
              <a:off x="3674910"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2</a:t>
              </a:r>
            </a:p>
            <a:p>
              <a:pPr algn="ctr">
                <a:buFont typeface="Wingdings 2" pitchFamily="18" charset="2"/>
                <a:buNone/>
              </a:pPr>
              <a:r>
                <a:rPr lang="en-GB" sz="1400" dirty="0">
                  <a:solidFill>
                    <a:schemeClr val="bg1"/>
                  </a:solidFill>
                </a:rPr>
                <a:t>Detail two</a:t>
              </a:r>
            </a:p>
          </p:txBody>
        </p:sp>
        <p:sp>
          <p:nvSpPr>
            <p:cNvPr id="37" name="Oval 36"/>
            <p:cNvSpPr>
              <a:spLocks noChangeAspect="1"/>
            </p:cNvSpPr>
            <p:nvPr/>
          </p:nvSpPr>
          <p:spPr bwMode="gray">
            <a:xfrm>
              <a:off x="6544262" y="1700213"/>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3</a:t>
              </a:r>
            </a:p>
            <a:p>
              <a:pPr algn="ctr">
                <a:buFont typeface="Wingdings 2" pitchFamily="18" charset="2"/>
                <a:buNone/>
              </a:pPr>
              <a:r>
                <a:rPr lang="en-GB" sz="1400" dirty="0">
                  <a:solidFill>
                    <a:schemeClr val="bg1"/>
                  </a:solidFill>
                </a:rPr>
                <a:t>Detail three</a:t>
              </a:r>
            </a:p>
          </p:txBody>
        </p:sp>
        <p:sp>
          <p:nvSpPr>
            <p:cNvPr id="38" name="Oval 37"/>
            <p:cNvSpPr>
              <a:spLocks noChangeAspect="1"/>
            </p:cNvSpPr>
            <p:nvPr/>
          </p:nvSpPr>
          <p:spPr bwMode="gray">
            <a:xfrm>
              <a:off x="6544262" y="4546710"/>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4</a:t>
              </a:r>
            </a:p>
            <a:p>
              <a:pPr algn="ctr">
                <a:buFont typeface="Wingdings 2" pitchFamily="18" charset="2"/>
                <a:buNone/>
              </a:pPr>
              <a:r>
                <a:rPr lang="en-GB" sz="1400" dirty="0">
                  <a:solidFill>
                    <a:schemeClr val="bg1"/>
                  </a:solidFill>
                </a:rPr>
                <a:t>Detail four</a:t>
              </a:r>
            </a:p>
          </p:txBody>
        </p:sp>
        <p:sp>
          <p:nvSpPr>
            <p:cNvPr id="39" name="Oval 38"/>
            <p:cNvSpPr>
              <a:spLocks noChangeAspect="1"/>
            </p:cNvSpPr>
            <p:nvPr/>
          </p:nvSpPr>
          <p:spPr bwMode="gray">
            <a:xfrm>
              <a:off x="3674910" y="4546710"/>
              <a:ext cx="1818000" cy="1818000"/>
            </a:xfrm>
            <a:prstGeom prst="ellipse">
              <a:avLst/>
            </a:prstGeom>
            <a:solidFill>
              <a:schemeClr val="accent3"/>
            </a:solidFill>
            <a:ln w="19050" algn="ctr">
              <a:noFill/>
              <a:miter lim="800000"/>
              <a:headEnd/>
              <a:tailEnd/>
            </a:ln>
          </p:spPr>
          <p:txBody>
            <a:bodyPr wrap="square" lIns="0" tIns="0" rIns="0" bIns="0" rtlCol="0" anchor="ctr"/>
            <a:lstStyle/>
            <a:p>
              <a:pPr algn="ctr">
                <a:buFont typeface="Wingdings 2" pitchFamily="18" charset="2"/>
                <a:buNone/>
              </a:pPr>
              <a:r>
                <a:rPr lang="en-GB" sz="4400" dirty="0">
                  <a:solidFill>
                    <a:schemeClr val="bg1"/>
                  </a:solidFill>
                </a:rPr>
                <a:t>5</a:t>
              </a:r>
            </a:p>
            <a:p>
              <a:pPr algn="ctr">
                <a:buFont typeface="Wingdings 2" pitchFamily="18" charset="2"/>
                <a:buNone/>
              </a:pPr>
              <a:r>
                <a:rPr lang="en-GB" sz="1400" dirty="0">
                  <a:solidFill>
                    <a:schemeClr val="bg1"/>
                  </a:solidFill>
                </a:rPr>
                <a:t>Detail five</a:t>
              </a:r>
            </a:p>
          </p:txBody>
        </p:sp>
        <p:sp>
          <p:nvSpPr>
            <p:cNvPr id="40" name="Oval 39"/>
            <p:cNvSpPr>
              <a:spLocks noChangeAspect="1"/>
            </p:cNvSpPr>
            <p:nvPr/>
          </p:nvSpPr>
          <p:spPr bwMode="gray">
            <a:xfrm>
              <a:off x="805559" y="4546710"/>
              <a:ext cx="1818000" cy="1818000"/>
            </a:xfrm>
            <a:prstGeom prst="ellipse">
              <a:avLst/>
            </a:prstGeom>
            <a:noFill/>
            <a:ln w="19050" algn="ctr">
              <a:solidFill>
                <a:schemeClr val="accent3"/>
              </a:solidFill>
              <a:miter lim="800000"/>
              <a:headEnd/>
              <a:tailEnd/>
            </a:ln>
          </p:spPr>
          <p:txBody>
            <a:bodyPr wrap="square" lIns="0" tIns="0" rIns="0" bIns="0" rtlCol="0" anchor="ctr"/>
            <a:lstStyle/>
            <a:p>
              <a:pPr algn="ctr">
                <a:buFont typeface="Wingdings 2" pitchFamily="18" charset="2"/>
                <a:buNone/>
              </a:pPr>
              <a:r>
                <a:rPr lang="en-GB" sz="4400" dirty="0">
                  <a:solidFill>
                    <a:schemeClr val="accent3"/>
                  </a:solidFill>
                </a:rPr>
                <a:t>6</a:t>
              </a:r>
            </a:p>
            <a:p>
              <a:pPr algn="ctr">
                <a:buFont typeface="Wingdings 2" pitchFamily="18" charset="2"/>
                <a:buNone/>
              </a:pPr>
              <a:r>
                <a:rPr lang="en-GB" sz="1400" dirty="0">
                  <a:solidFill>
                    <a:schemeClr val="accent3"/>
                  </a:solidFill>
                </a:rPr>
                <a:t>Detail six</a:t>
              </a:r>
            </a:p>
          </p:txBody>
        </p:sp>
      </p:grpSp>
    </p:spTree>
    <p:extLst>
      <p:ext uri="{BB962C8B-B14F-4D97-AF65-F5344CB8AC3E}">
        <p14:creationId xmlns:p14="http://schemas.microsoft.com/office/powerpoint/2010/main" val="3839887946"/>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con use</a:t>
            </a:r>
            <a:endParaRPr lang="en-GB" dirty="0"/>
          </a:p>
        </p:txBody>
      </p:sp>
      <p:sp>
        <p:nvSpPr>
          <p:cNvPr id="3" name="Title 2"/>
          <p:cNvSpPr>
            <a:spLocks noGrp="1"/>
          </p:cNvSpPr>
          <p:nvPr>
            <p:ph type="title"/>
          </p:nvPr>
        </p:nvSpPr>
        <p:spPr/>
        <p:txBody>
          <a:bodyPr/>
          <a:lstStyle/>
          <a:p>
            <a:r>
              <a:rPr lang="en-GB" dirty="0"/>
              <a:t>Process diagram</a:t>
            </a:r>
          </a:p>
        </p:txBody>
      </p:sp>
      <p:grpSp>
        <p:nvGrpSpPr>
          <p:cNvPr id="20" name="Group 19"/>
          <p:cNvGrpSpPr/>
          <p:nvPr/>
        </p:nvGrpSpPr>
        <p:grpSpPr>
          <a:xfrm>
            <a:off x="1671146" y="1359298"/>
            <a:ext cx="9059916" cy="4783142"/>
            <a:chOff x="396000" y="1706662"/>
            <a:chExt cx="8356600" cy="4411830"/>
          </a:xfrm>
        </p:grpSpPr>
        <p:sp>
          <p:nvSpPr>
            <p:cNvPr id="5" name="Freeform 575"/>
            <p:cNvSpPr>
              <a:spLocks noChangeAspect="1" noEditPoints="1"/>
            </p:cNvSpPr>
            <p:nvPr/>
          </p:nvSpPr>
          <p:spPr bwMode="auto">
            <a:xfrm>
              <a:off x="396000" y="3429000"/>
              <a:ext cx="1170000" cy="1170000"/>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solidFill>
                  <a:schemeClr val="accent3"/>
                </a:solidFill>
              </a:endParaRPr>
            </a:p>
          </p:txBody>
        </p:sp>
        <p:grpSp>
          <p:nvGrpSpPr>
            <p:cNvPr id="6" name="Group 454"/>
            <p:cNvGrpSpPr>
              <a:grpSpLocks noChangeAspect="1"/>
            </p:cNvGrpSpPr>
            <p:nvPr/>
          </p:nvGrpSpPr>
          <p:grpSpPr bwMode="auto">
            <a:xfrm>
              <a:off x="5187066" y="3429000"/>
              <a:ext cx="1170000" cy="1170000"/>
              <a:chOff x="2325" y="1565"/>
              <a:chExt cx="340" cy="340"/>
            </a:xfrm>
            <a:solidFill>
              <a:schemeClr val="accent3"/>
            </a:solidFill>
          </p:grpSpPr>
          <p:sp>
            <p:nvSpPr>
              <p:cNvPr id="7" name="Freeform 455"/>
              <p:cNvSpPr>
                <a:spLocks noEditPoints="1"/>
              </p:cNvSpPr>
              <p:nvPr/>
            </p:nvSpPr>
            <p:spPr bwMode="auto">
              <a:xfrm>
                <a:off x="2325" y="156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456"/>
              <p:cNvSpPr>
                <a:spLocks noEditPoints="1"/>
              </p:cNvSpPr>
              <p:nvPr/>
            </p:nvSpPr>
            <p:spPr bwMode="auto">
              <a:xfrm>
                <a:off x="2405" y="1649"/>
                <a:ext cx="179" cy="175"/>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 name="Group 662"/>
            <p:cNvGrpSpPr>
              <a:grpSpLocks noChangeAspect="1"/>
            </p:cNvGrpSpPr>
            <p:nvPr/>
          </p:nvGrpSpPr>
          <p:grpSpPr bwMode="auto">
            <a:xfrm>
              <a:off x="2791533" y="3429000"/>
              <a:ext cx="1170000" cy="1170000"/>
              <a:chOff x="2340" y="2340"/>
              <a:chExt cx="340" cy="340"/>
            </a:xfrm>
            <a:solidFill>
              <a:schemeClr val="accent3"/>
            </a:solidFill>
          </p:grpSpPr>
          <p:sp>
            <p:nvSpPr>
              <p:cNvPr id="10" name="Oval 663"/>
              <p:cNvSpPr>
                <a:spLocks noChangeArrowheads="1"/>
              </p:cNvSpPr>
              <p:nvPr/>
            </p:nvSpPr>
            <p:spPr bwMode="auto">
              <a:xfrm>
                <a:off x="2559" y="2559"/>
                <a:ext cx="15"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64"/>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Oval 665"/>
              <p:cNvSpPr>
                <a:spLocks noChangeArrowheads="1"/>
              </p:cNvSpPr>
              <p:nvPr/>
            </p:nvSpPr>
            <p:spPr bwMode="auto">
              <a:xfrm>
                <a:off x="2439" y="2559"/>
                <a:ext cx="14"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66"/>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 name="Group 550"/>
            <p:cNvGrpSpPr>
              <a:grpSpLocks noChangeAspect="1"/>
            </p:cNvGrpSpPr>
            <p:nvPr/>
          </p:nvGrpSpPr>
          <p:grpSpPr bwMode="auto">
            <a:xfrm>
              <a:off x="7582600" y="3427279"/>
              <a:ext cx="1170000" cy="1170000"/>
              <a:chOff x="1520" y="1938"/>
              <a:chExt cx="340" cy="340"/>
            </a:xfrm>
            <a:solidFill>
              <a:schemeClr val="bg2">
                <a:lumMod val="75000"/>
              </a:schemeClr>
            </a:solidFill>
          </p:grpSpPr>
          <p:sp>
            <p:nvSpPr>
              <p:cNvPr id="15"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 name="Group 986"/>
            <p:cNvGrpSpPr>
              <a:grpSpLocks noChangeAspect="1"/>
            </p:cNvGrpSpPr>
            <p:nvPr/>
          </p:nvGrpSpPr>
          <p:grpSpPr bwMode="auto">
            <a:xfrm>
              <a:off x="5183045" y="1706662"/>
              <a:ext cx="1170000" cy="1170000"/>
              <a:chOff x="4274" y="3998"/>
              <a:chExt cx="340" cy="340"/>
            </a:xfrm>
            <a:solidFill>
              <a:schemeClr val="bg2">
                <a:lumMod val="75000"/>
              </a:schemeClr>
            </a:solidFill>
          </p:grpSpPr>
          <p:sp>
            <p:nvSpPr>
              <p:cNvPr id="18"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21" name="Straight Connector 20"/>
            <p:cNvCxnSpPr/>
            <p:nvPr/>
          </p:nvCxnSpPr>
          <p:spPr>
            <a:xfrm flipH="1">
              <a:off x="3378200" y="2298700"/>
              <a:ext cx="176400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3378200" y="22987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589001"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989784"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381620"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394320" y="2298700"/>
              <a:ext cx="176400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flipV="1">
              <a:off x="8158320" y="22987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991802" y="5722700"/>
              <a:ext cx="7166518"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991802" y="4953000"/>
              <a:ext cx="0" cy="7697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flipV="1">
              <a:off x="8158320" y="46355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406802" y="4650740"/>
              <a:ext cx="1170000"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accent3"/>
                  </a:solidFill>
                </a:rPr>
                <a:t>Producer</a:t>
              </a:r>
            </a:p>
          </p:txBody>
        </p:sp>
        <p:sp>
          <p:nvSpPr>
            <p:cNvPr id="44" name="TextBox 43"/>
            <p:cNvSpPr txBox="1"/>
            <p:nvPr/>
          </p:nvSpPr>
          <p:spPr>
            <a:xfrm>
              <a:off x="2539206" y="4650740"/>
              <a:ext cx="1674654"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accent3"/>
                  </a:solidFill>
                </a:rPr>
                <a:t>Distributor</a:t>
              </a:r>
            </a:p>
          </p:txBody>
        </p:sp>
        <p:sp>
          <p:nvSpPr>
            <p:cNvPr id="45" name="TextBox 44"/>
            <p:cNvSpPr txBox="1"/>
            <p:nvPr/>
          </p:nvSpPr>
          <p:spPr>
            <a:xfrm>
              <a:off x="5183046" y="4650740"/>
              <a:ext cx="1170000"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accent3"/>
                  </a:solidFill>
                </a:rPr>
                <a:t>Retailer</a:t>
              </a:r>
            </a:p>
          </p:txBody>
        </p:sp>
        <p:sp>
          <p:nvSpPr>
            <p:cNvPr id="46" name="TextBox 45"/>
            <p:cNvSpPr txBox="1"/>
            <p:nvPr/>
          </p:nvSpPr>
          <p:spPr>
            <a:xfrm>
              <a:off x="5183046" y="2931659"/>
              <a:ext cx="1170000" cy="257442"/>
            </a:xfrm>
            <a:prstGeom prst="rect">
              <a:avLst/>
            </a:prstGeom>
            <a:noFill/>
            <a:ln>
              <a:noFill/>
            </a:ln>
          </p:spPr>
          <p:txBody>
            <a:bodyPr wrap="square" lIns="0" tIns="0" rIns="0" bIns="0" rtlCol="0">
              <a:spAutoFit/>
            </a:bodyPr>
            <a:lstStyle/>
            <a:p>
              <a:pPr algn="ctr">
                <a:spcBef>
                  <a:spcPts val="600"/>
                </a:spcBef>
                <a:buSzPct val="100000"/>
              </a:pPr>
              <a:r>
                <a:rPr lang="en-GB" sz="1400" dirty="0">
                  <a:solidFill>
                    <a:schemeClr val="bg2">
                      <a:lumMod val="75000"/>
                    </a:schemeClr>
                  </a:solidFill>
                </a:rPr>
                <a:t>Shopping</a:t>
              </a:r>
            </a:p>
          </p:txBody>
        </p:sp>
        <p:sp>
          <p:nvSpPr>
            <p:cNvPr id="47" name="TextBox 46"/>
            <p:cNvSpPr txBox="1"/>
            <p:nvPr/>
          </p:nvSpPr>
          <p:spPr>
            <a:xfrm>
              <a:off x="3586969" y="5861050"/>
              <a:ext cx="1975632" cy="257442"/>
            </a:xfrm>
            <a:prstGeom prst="rect">
              <a:avLst/>
            </a:prstGeom>
            <a:noFill/>
          </p:spPr>
          <p:txBody>
            <a:bodyPr wrap="square" lIns="0" tIns="0" rIns="0" bIns="0" rtlCol="0">
              <a:spAutoFit/>
            </a:bodyPr>
            <a:lstStyle/>
            <a:p>
              <a:pPr algn="ctr">
                <a:spcBef>
                  <a:spcPts val="600"/>
                </a:spcBef>
                <a:buSzPct val="100000"/>
              </a:pPr>
              <a:r>
                <a:rPr lang="en-GB" sz="1400" dirty="0">
                  <a:solidFill>
                    <a:schemeClr val="bg2">
                      <a:lumMod val="75000"/>
                    </a:schemeClr>
                  </a:solidFill>
                </a:rPr>
                <a:t>Distribution</a:t>
              </a:r>
            </a:p>
          </p:txBody>
        </p:sp>
        <p:sp>
          <p:nvSpPr>
            <p:cNvPr id="48" name="Oval 47"/>
            <p:cNvSpPr/>
            <p:nvPr/>
          </p:nvSpPr>
          <p:spPr bwMode="gray">
            <a:xfrm>
              <a:off x="1584734" y="396303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9" name="Oval 48"/>
            <p:cNvSpPr/>
            <p:nvPr/>
          </p:nvSpPr>
          <p:spPr bwMode="gray">
            <a:xfrm>
              <a:off x="2658093" y="39663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0" name="Oval 49"/>
            <p:cNvSpPr/>
            <p:nvPr/>
          </p:nvSpPr>
          <p:spPr bwMode="gray">
            <a:xfrm>
              <a:off x="3328863" y="329056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1" name="Oval 50"/>
            <p:cNvSpPr/>
            <p:nvPr/>
          </p:nvSpPr>
          <p:spPr bwMode="gray">
            <a:xfrm>
              <a:off x="3987805" y="39663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2" name="Oval 51"/>
            <p:cNvSpPr/>
            <p:nvPr/>
          </p:nvSpPr>
          <p:spPr bwMode="gray">
            <a:xfrm>
              <a:off x="5067172"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3" name="Oval 52"/>
            <p:cNvSpPr/>
            <p:nvPr/>
          </p:nvSpPr>
          <p:spPr bwMode="gray">
            <a:xfrm>
              <a:off x="6374500"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4" name="Oval 53"/>
            <p:cNvSpPr/>
            <p:nvPr/>
          </p:nvSpPr>
          <p:spPr bwMode="gray">
            <a:xfrm>
              <a:off x="7457832"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5" name="Oval 54"/>
            <p:cNvSpPr/>
            <p:nvPr/>
          </p:nvSpPr>
          <p:spPr bwMode="gray">
            <a:xfrm>
              <a:off x="8110650" y="329382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6" name="Oval 55"/>
            <p:cNvSpPr/>
            <p:nvPr/>
          </p:nvSpPr>
          <p:spPr bwMode="gray">
            <a:xfrm>
              <a:off x="8110650" y="4618783"/>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8" name="Oval 57"/>
            <p:cNvSpPr/>
            <p:nvPr/>
          </p:nvSpPr>
          <p:spPr bwMode="gray">
            <a:xfrm>
              <a:off x="796373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9" name="Oval 58"/>
            <p:cNvSpPr/>
            <p:nvPr/>
          </p:nvSpPr>
          <p:spPr bwMode="gray">
            <a:xfrm>
              <a:off x="734283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0" name="Oval 59"/>
            <p:cNvSpPr/>
            <p:nvPr/>
          </p:nvSpPr>
          <p:spPr bwMode="gray">
            <a:xfrm>
              <a:off x="6721940"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1" name="Oval 60"/>
            <p:cNvSpPr/>
            <p:nvPr/>
          </p:nvSpPr>
          <p:spPr bwMode="gray">
            <a:xfrm>
              <a:off x="6101044"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2" name="Oval 61"/>
            <p:cNvSpPr/>
            <p:nvPr/>
          </p:nvSpPr>
          <p:spPr bwMode="gray">
            <a:xfrm>
              <a:off x="5480148"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3" name="Oval 62"/>
            <p:cNvSpPr/>
            <p:nvPr/>
          </p:nvSpPr>
          <p:spPr bwMode="gray">
            <a:xfrm>
              <a:off x="485925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4" name="Oval 63"/>
            <p:cNvSpPr/>
            <p:nvPr/>
          </p:nvSpPr>
          <p:spPr bwMode="gray">
            <a:xfrm>
              <a:off x="423835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5" name="Oval 64"/>
            <p:cNvSpPr/>
            <p:nvPr/>
          </p:nvSpPr>
          <p:spPr bwMode="gray">
            <a:xfrm>
              <a:off x="3617460"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6" name="Oval 65"/>
            <p:cNvSpPr/>
            <p:nvPr/>
          </p:nvSpPr>
          <p:spPr bwMode="gray">
            <a:xfrm>
              <a:off x="2996564"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0" name="Oval 69"/>
            <p:cNvSpPr/>
            <p:nvPr/>
          </p:nvSpPr>
          <p:spPr bwMode="gray">
            <a:xfrm>
              <a:off x="2375668"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1" name="Oval 70"/>
            <p:cNvSpPr/>
            <p:nvPr/>
          </p:nvSpPr>
          <p:spPr bwMode="gray">
            <a:xfrm>
              <a:off x="175477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2" name="Oval 71"/>
            <p:cNvSpPr/>
            <p:nvPr/>
          </p:nvSpPr>
          <p:spPr bwMode="gray">
            <a:xfrm>
              <a:off x="113387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3" name="Oval 72"/>
            <p:cNvSpPr/>
            <p:nvPr/>
          </p:nvSpPr>
          <p:spPr bwMode="gray">
            <a:xfrm>
              <a:off x="944132" y="49529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6" name="Oval 75"/>
            <p:cNvSpPr/>
            <p:nvPr/>
          </p:nvSpPr>
          <p:spPr bwMode="gray">
            <a:xfrm>
              <a:off x="5070695" y="2253162"/>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7" name="Oval 76"/>
            <p:cNvSpPr/>
            <p:nvPr/>
          </p:nvSpPr>
          <p:spPr bwMode="gray">
            <a:xfrm>
              <a:off x="6370055" y="225763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Tree>
    <p:extLst>
      <p:ext uri="{BB962C8B-B14F-4D97-AF65-F5344CB8AC3E}">
        <p14:creationId xmlns:p14="http://schemas.microsoft.com/office/powerpoint/2010/main" val="674946367"/>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Involved on solid background</a:t>
            </a:r>
            <a:endParaRPr lang="en-GB" dirty="0"/>
          </a:p>
        </p:txBody>
      </p:sp>
      <p:sp>
        <p:nvSpPr>
          <p:cNvPr id="3" name="Title 2"/>
          <p:cNvSpPr>
            <a:spLocks noGrp="1"/>
          </p:cNvSpPr>
          <p:nvPr>
            <p:ph type="title"/>
          </p:nvPr>
        </p:nvSpPr>
        <p:spPr/>
        <p:txBody>
          <a:bodyPr/>
          <a:lstStyle/>
          <a:p>
            <a:r>
              <a:rPr lang="en-GB" dirty="0"/>
              <a:t>Process diagram</a:t>
            </a:r>
          </a:p>
        </p:txBody>
      </p:sp>
      <p:grpSp>
        <p:nvGrpSpPr>
          <p:cNvPr id="105" name="Group 104"/>
          <p:cNvGrpSpPr/>
          <p:nvPr/>
        </p:nvGrpSpPr>
        <p:grpSpPr>
          <a:xfrm>
            <a:off x="1769679" y="959237"/>
            <a:ext cx="8250621" cy="5247163"/>
            <a:chOff x="1101589" y="1758900"/>
            <a:chExt cx="6661535" cy="4237862"/>
          </a:xfrm>
        </p:grpSpPr>
        <p:cxnSp>
          <p:nvCxnSpPr>
            <p:cNvPr id="92" name="Straight Connector 91"/>
            <p:cNvCxnSpPr/>
            <p:nvPr/>
          </p:nvCxnSpPr>
          <p:spPr>
            <a:xfrm flipH="1">
              <a:off x="5168663" y="5102076"/>
              <a:ext cx="0" cy="288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5992723" y="1996062"/>
              <a:ext cx="21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035800" y="4856038"/>
              <a:ext cx="72732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7035800" y="4255619"/>
              <a:ext cx="72732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4992482" y="3655141"/>
              <a:ext cx="2770642" cy="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4258491" y="2754763"/>
              <a:ext cx="0" cy="179938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258491" y="4554152"/>
              <a:ext cx="732609" cy="24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91100" y="2754764"/>
              <a:ext cx="0" cy="180453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endCxn id="29" idx="2"/>
            </p:cNvCxnSpPr>
            <p:nvPr/>
          </p:nvCxnSpPr>
          <p:spPr>
            <a:xfrm>
              <a:off x="4258491" y="2754763"/>
              <a:ext cx="86068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258491" y="3354068"/>
              <a:ext cx="7326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4258491" y="3955520"/>
              <a:ext cx="7326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449012" y="3656660"/>
              <a:ext cx="280947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88127" y="5649338"/>
              <a:ext cx="128653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3" idx="4"/>
            </p:cNvCxnSpPr>
            <p:nvPr/>
          </p:nvCxnSpPr>
          <p:spPr>
            <a:xfrm flipH="1">
              <a:off x="2388127" y="4004084"/>
              <a:ext cx="1" cy="164525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1" idx="6"/>
            </p:cNvCxnSpPr>
            <p:nvPr/>
          </p:nvCxnSpPr>
          <p:spPr>
            <a:xfrm flipV="1">
              <a:off x="1796436" y="4686999"/>
              <a:ext cx="591691" cy="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bwMode="gray">
            <a:xfrm>
              <a:off x="3173724" y="5301915"/>
              <a:ext cx="694847" cy="6948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13" name="Oval 12"/>
            <p:cNvSpPr/>
            <p:nvPr/>
          </p:nvSpPr>
          <p:spPr bwMode="gray">
            <a:xfrm>
              <a:off x="5723465" y="3380026"/>
              <a:ext cx="553271" cy="553271"/>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4" name="Oval 13"/>
            <p:cNvSpPr/>
            <p:nvPr/>
          </p:nvSpPr>
          <p:spPr bwMode="gray">
            <a:xfrm>
              <a:off x="5723464" y="4139045"/>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7" name="Oval 16"/>
            <p:cNvSpPr/>
            <p:nvPr/>
          </p:nvSpPr>
          <p:spPr bwMode="gray">
            <a:xfrm>
              <a:off x="4892027" y="5374419"/>
              <a:ext cx="553271" cy="553271"/>
            </a:xfrm>
            <a:prstGeom prst="ellipse">
              <a:avLst/>
            </a:prstGeom>
            <a:solidFill>
              <a:schemeClr val="bg1"/>
            </a:solidFill>
            <a:ln w="19050" algn="ctr">
              <a:solidFill>
                <a:schemeClr val="accent5"/>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8" name="Oval 17"/>
            <p:cNvSpPr/>
            <p:nvPr/>
          </p:nvSpPr>
          <p:spPr bwMode="gray">
            <a:xfrm>
              <a:off x="7165579" y="4613764"/>
              <a:ext cx="484548" cy="484548"/>
            </a:xfrm>
            <a:prstGeom prst="ellipse">
              <a:avLst/>
            </a:prstGeom>
            <a:solidFill>
              <a:schemeClr val="accent3">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9" name="Oval 18"/>
            <p:cNvSpPr/>
            <p:nvPr/>
          </p:nvSpPr>
          <p:spPr bwMode="gray">
            <a:xfrm>
              <a:off x="7165579" y="4015747"/>
              <a:ext cx="484548" cy="484548"/>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20" name="Oval 19"/>
            <p:cNvSpPr/>
            <p:nvPr/>
          </p:nvSpPr>
          <p:spPr bwMode="gray">
            <a:xfrm>
              <a:off x="7165579" y="3417730"/>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21" name="Oval 20"/>
            <p:cNvSpPr/>
            <p:nvPr/>
          </p:nvSpPr>
          <p:spPr bwMode="gray">
            <a:xfrm>
              <a:off x="1101589" y="4339576"/>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t>Title</a:t>
              </a:r>
            </a:p>
          </p:txBody>
        </p:sp>
        <p:sp>
          <p:nvSpPr>
            <p:cNvPr id="22" name="Oval 21"/>
            <p:cNvSpPr/>
            <p:nvPr/>
          </p:nvSpPr>
          <p:spPr bwMode="gray">
            <a:xfrm>
              <a:off x="1101589" y="3309237"/>
              <a:ext cx="694847" cy="694847"/>
            </a:xfrm>
            <a:prstGeom prst="ellipse">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t>Title</a:t>
              </a:r>
            </a:p>
          </p:txBody>
        </p:sp>
        <p:sp>
          <p:nvSpPr>
            <p:cNvPr id="23" name="Oval 22"/>
            <p:cNvSpPr/>
            <p:nvPr/>
          </p:nvSpPr>
          <p:spPr bwMode="gray">
            <a:xfrm>
              <a:off x="2040704" y="3309237"/>
              <a:ext cx="694847" cy="694847"/>
            </a:xfrm>
            <a:prstGeom prst="ellipse">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t>Title</a:t>
              </a:r>
            </a:p>
          </p:txBody>
        </p:sp>
        <p:sp>
          <p:nvSpPr>
            <p:cNvPr id="24" name="Oval 23"/>
            <p:cNvSpPr/>
            <p:nvPr/>
          </p:nvSpPr>
          <p:spPr bwMode="gray">
            <a:xfrm>
              <a:off x="2979819" y="3309237"/>
              <a:ext cx="694847" cy="6948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25" name="Oval 24"/>
            <p:cNvSpPr/>
            <p:nvPr/>
          </p:nvSpPr>
          <p:spPr bwMode="gray">
            <a:xfrm>
              <a:off x="4392613" y="3119480"/>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6" name="Oval 25"/>
            <p:cNvSpPr/>
            <p:nvPr/>
          </p:nvSpPr>
          <p:spPr bwMode="gray">
            <a:xfrm>
              <a:off x="4392613" y="3718358"/>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7" name="Oval 26"/>
            <p:cNvSpPr/>
            <p:nvPr/>
          </p:nvSpPr>
          <p:spPr bwMode="gray">
            <a:xfrm>
              <a:off x="4392613" y="4317236"/>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8" name="Oval 27"/>
            <p:cNvSpPr/>
            <p:nvPr/>
          </p:nvSpPr>
          <p:spPr bwMode="gray">
            <a:xfrm>
              <a:off x="4392613" y="2520488"/>
              <a:ext cx="474324" cy="474324"/>
            </a:xfrm>
            <a:prstGeom prst="ellipse">
              <a:avLst/>
            </a:prstGeom>
            <a:solidFill>
              <a:schemeClr val="accent3">
                <a:lumMod val="20000"/>
                <a:lumOff val="80000"/>
              </a:schemeClr>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29" name="Oval 28"/>
            <p:cNvSpPr/>
            <p:nvPr/>
          </p:nvSpPr>
          <p:spPr bwMode="gray">
            <a:xfrm>
              <a:off x="5119172" y="2520488"/>
              <a:ext cx="474324" cy="474324"/>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30" name="Oval 29"/>
            <p:cNvSpPr/>
            <p:nvPr/>
          </p:nvSpPr>
          <p:spPr bwMode="gray">
            <a:xfrm>
              <a:off x="6200495" y="1758900"/>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cxnSp>
          <p:nvCxnSpPr>
            <p:cNvPr id="66" name="Straight Connector 65"/>
            <p:cNvCxnSpPr>
              <a:stCxn id="13" idx="0"/>
            </p:cNvCxnSpPr>
            <p:nvPr/>
          </p:nvCxnSpPr>
          <p:spPr>
            <a:xfrm flipH="1" flipV="1">
              <a:off x="5998219" y="1996062"/>
              <a:ext cx="1882" cy="138396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763124" y="3655200"/>
              <a:ext cx="0" cy="120083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032376" y="3655141"/>
              <a:ext cx="3424" cy="120927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513580" y="3655200"/>
              <a:ext cx="0" cy="7604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14" idx="6"/>
            </p:cNvCxnSpPr>
            <p:nvPr/>
          </p:nvCxnSpPr>
          <p:spPr>
            <a:xfrm>
              <a:off x="6276735" y="4415681"/>
              <a:ext cx="2381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15" idx="0"/>
            </p:cNvCxnSpPr>
            <p:nvPr/>
          </p:nvCxnSpPr>
          <p:spPr>
            <a:xfrm>
              <a:off x="5998219" y="4692316"/>
              <a:ext cx="0" cy="682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5170541" y="5105273"/>
              <a:ext cx="165181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6822352" y="5105111"/>
              <a:ext cx="0" cy="288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bwMode="gray">
            <a:xfrm>
              <a:off x="5723463" y="5374420"/>
              <a:ext cx="553271" cy="553271"/>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sp>
          <p:nvSpPr>
            <p:cNvPr id="16" name="Oval 15"/>
            <p:cNvSpPr/>
            <p:nvPr/>
          </p:nvSpPr>
          <p:spPr bwMode="gray">
            <a:xfrm>
              <a:off x="6545716" y="5374419"/>
              <a:ext cx="553271" cy="553271"/>
            </a:xfrm>
            <a:prstGeom prst="ellipse">
              <a:avLst/>
            </a:prstGeom>
            <a:solidFill>
              <a:schemeClr val="accent5"/>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t>Title</a:t>
              </a:r>
            </a:p>
          </p:txBody>
        </p:sp>
      </p:grpSp>
    </p:spTree>
    <p:extLst>
      <p:ext uri="{BB962C8B-B14F-4D97-AF65-F5344CB8AC3E}">
        <p14:creationId xmlns:p14="http://schemas.microsoft.com/office/powerpoint/2010/main" val="2196595859"/>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nvolved</a:t>
            </a:r>
            <a:endParaRPr lang="en-GB" dirty="0"/>
          </a:p>
        </p:txBody>
      </p:sp>
      <p:sp>
        <p:nvSpPr>
          <p:cNvPr id="3" name="Title 2"/>
          <p:cNvSpPr>
            <a:spLocks noGrp="1"/>
          </p:cNvSpPr>
          <p:nvPr>
            <p:ph type="title"/>
          </p:nvPr>
        </p:nvSpPr>
        <p:spPr/>
        <p:txBody>
          <a:bodyPr/>
          <a:lstStyle/>
          <a:p>
            <a:r>
              <a:rPr lang="en-GB" dirty="0"/>
              <a:t>Process diagram</a:t>
            </a:r>
          </a:p>
        </p:txBody>
      </p:sp>
      <p:grpSp>
        <p:nvGrpSpPr>
          <p:cNvPr id="5" name="Group 4"/>
          <p:cNvGrpSpPr/>
          <p:nvPr/>
        </p:nvGrpSpPr>
        <p:grpSpPr>
          <a:xfrm>
            <a:off x="1261242" y="1518745"/>
            <a:ext cx="9539628" cy="4547646"/>
            <a:chOff x="1101589" y="2820997"/>
            <a:chExt cx="6661823" cy="3175765"/>
          </a:xfrm>
        </p:grpSpPr>
        <p:cxnSp>
          <p:nvCxnSpPr>
            <p:cNvPr id="92" name="Straight Connector 91"/>
            <p:cNvCxnSpPr/>
            <p:nvPr/>
          </p:nvCxnSpPr>
          <p:spPr>
            <a:xfrm flipH="1">
              <a:off x="5168663" y="5102076"/>
              <a:ext cx="0" cy="2880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035800" y="4856038"/>
              <a:ext cx="72732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7035800" y="4255619"/>
              <a:ext cx="72732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4258491" y="3055585"/>
              <a:ext cx="0" cy="1200085"/>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258491" y="4255669"/>
              <a:ext cx="732609" cy="247"/>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91100" y="3055585"/>
              <a:ext cx="0" cy="120523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258491" y="3055585"/>
              <a:ext cx="73260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1449012" y="3655142"/>
              <a:ext cx="6314400" cy="151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88127" y="5649338"/>
              <a:ext cx="128653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3" idx="4"/>
            </p:cNvCxnSpPr>
            <p:nvPr/>
          </p:nvCxnSpPr>
          <p:spPr>
            <a:xfrm flipH="1">
              <a:off x="2388127" y="4004084"/>
              <a:ext cx="1" cy="164525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1" idx="6"/>
            </p:cNvCxnSpPr>
            <p:nvPr/>
          </p:nvCxnSpPr>
          <p:spPr>
            <a:xfrm flipV="1">
              <a:off x="1796436" y="4686999"/>
              <a:ext cx="591691" cy="1"/>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bwMode="gray">
            <a:xfrm>
              <a:off x="3173724" y="5301915"/>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13" name="Oval 12"/>
            <p:cNvSpPr/>
            <p:nvPr/>
          </p:nvSpPr>
          <p:spPr bwMode="gray">
            <a:xfrm>
              <a:off x="5723465" y="3380026"/>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4" name="Oval 13"/>
            <p:cNvSpPr/>
            <p:nvPr/>
          </p:nvSpPr>
          <p:spPr bwMode="gray">
            <a:xfrm>
              <a:off x="5723464" y="4139045"/>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5" name="Oval 14"/>
            <p:cNvSpPr/>
            <p:nvPr/>
          </p:nvSpPr>
          <p:spPr bwMode="gray">
            <a:xfrm>
              <a:off x="5723463" y="5374420"/>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6" name="Oval 15"/>
            <p:cNvSpPr/>
            <p:nvPr/>
          </p:nvSpPr>
          <p:spPr bwMode="gray">
            <a:xfrm>
              <a:off x="6545716" y="5374419"/>
              <a:ext cx="553271" cy="553271"/>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7" name="Oval 16"/>
            <p:cNvSpPr/>
            <p:nvPr/>
          </p:nvSpPr>
          <p:spPr bwMode="gray">
            <a:xfrm>
              <a:off x="4892027" y="5374419"/>
              <a:ext cx="553271" cy="553271"/>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18" name="Oval 17"/>
            <p:cNvSpPr/>
            <p:nvPr/>
          </p:nvSpPr>
          <p:spPr bwMode="gray">
            <a:xfrm>
              <a:off x="7165579" y="4613764"/>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19" name="Oval 18"/>
            <p:cNvSpPr/>
            <p:nvPr/>
          </p:nvSpPr>
          <p:spPr bwMode="gray">
            <a:xfrm>
              <a:off x="7165579" y="4015747"/>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20" name="Oval 19"/>
            <p:cNvSpPr/>
            <p:nvPr/>
          </p:nvSpPr>
          <p:spPr bwMode="gray">
            <a:xfrm>
              <a:off x="7165579" y="3417730"/>
              <a:ext cx="484548" cy="484548"/>
            </a:xfrm>
            <a:prstGeom prst="ellipse">
              <a:avLst/>
            </a:prstGeom>
            <a:solidFill>
              <a:schemeClr val="accent3"/>
            </a:solidFill>
            <a:ln w="19050"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bg1"/>
                  </a:solidFill>
                </a:rPr>
                <a:t>Title</a:t>
              </a:r>
            </a:p>
          </p:txBody>
        </p:sp>
        <p:sp>
          <p:nvSpPr>
            <p:cNvPr id="21" name="Oval 20"/>
            <p:cNvSpPr/>
            <p:nvPr/>
          </p:nvSpPr>
          <p:spPr bwMode="gray">
            <a:xfrm>
              <a:off x="1101589" y="4339576"/>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22" name="Oval 21"/>
            <p:cNvSpPr/>
            <p:nvPr/>
          </p:nvSpPr>
          <p:spPr bwMode="gray">
            <a:xfrm>
              <a:off x="1101589" y="3309237"/>
              <a:ext cx="694847" cy="694847"/>
            </a:xfrm>
            <a:prstGeom prst="ellipse">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accent3"/>
                  </a:solidFill>
                </a:rPr>
                <a:t>Title</a:t>
              </a:r>
            </a:p>
          </p:txBody>
        </p:sp>
        <p:sp>
          <p:nvSpPr>
            <p:cNvPr id="23" name="Oval 22"/>
            <p:cNvSpPr/>
            <p:nvPr/>
          </p:nvSpPr>
          <p:spPr bwMode="gray">
            <a:xfrm>
              <a:off x="2040704" y="3309237"/>
              <a:ext cx="694847" cy="694847"/>
            </a:xfrm>
            <a:prstGeom prst="ellipse">
              <a:avLst/>
            </a:prstGeom>
            <a:solidFill>
              <a:schemeClr val="bg1"/>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accent3"/>
                  </a:solidFill>
                </a:rPr>
                <a:t>Title</a:t>
              </a:r>
            </a:p>
          </p:txBody>
        </p:sp>
        <p:sp>
          <p:nvSpPr>
            <p:cNvPr id="24" name="Oval 23"/>
            <p:cNvSpPr/>
            <p:nvPr/>
          </p:nvSpPr>
          <p:spPr bwMode="gray">
            <a:xfrm>
              <a:off x="2979819" y="3309237"/>
              <a:ext cx="694847" cy="6948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dirty="0">
                  <a:solidFill>
                    <a:schemeClr val="bg1"/>
                  </a:solidFill>
                </a:rPr>
                <a:t>Title</a:t>
              </a:r>
            </a:p>
          </p:txBody>
        </p:sp>
        <p:sp>
          <p:nvSpPr>
            <p:cNvPr id="25" name="Oval 24"/>
            <p:cNvSpPr/>
            <p:nvPr/>
          </p:nvSpPr>
          <p:spPr bwMode="gray">
            <a:xfrm>
              <a:off x="4392613" y="2820997"/>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6" name="Oval 25"/>
            <p:cNvSpPr/>
            <p:nvPr/>
          </p:nvSpPr>
          <p:spPr bwMode="gray">
            <a:xfrm>
              <a:off x="4392613" y="3419875"/>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sp>
          <p:nvSpPr>
            <p:cNvPr id="27" name="Oval 26"/>
            <p:cNvSpPr/>
            <p:nvPr/>
          </p:nvSpPr>
          <p:spPr bwMode="gray">
            <a:xfrm>
              <a:off x="4392613" y="4018753"/>
              <a:ext cx="474324" cy="474324"/>
            </a:xfrm>
            <a:prstGeom prst="ellipse">
              <a:avLst/>
            </a:prstGeom>
            <a:solidFill>
              <a:schemeClr val="bg1"/>
            </a:solidFill>
            <a:ln w="19050" algn="ctr">
              <a:solidFill>
                <a:schemeClr val="accent3"/>
              </a:solidFill>
              <a:miter lim="800000"/>
              <a:headEnd/>
              <a:tailEnd/>
            </a:ln>
          </p:spPr>
          <p:txBody>
            <a:bodyPr wrap="square" lIns="36000" tIns="36000" rIns="36000" bIns="36000" rtlCol="0" anchor="ctr"/>
            <a:lstStyle/>
            <a:p>
              <a:pPr algn="ctr">
                <a:lnSpc>
                  <a:spcPct val="106000"/>
                </a:lnSpc>
                <a:buFont typeface="Wingdings 2" pitchFamily="18" charset="2"/>
                <a:buNone/>
              </a:pPr>
              <a:r>
                <a:rPr lang="en-GB" sz="900" dirty="0">
                  <a:solidFill>
                    <a:schemeClr val="accent3"/>
                  </a:solidFill>
                </a:rPr>
                <a:t>Title</a:t>
              </a:r>
            </a:p>
          </p:txBody>
        </p:sp>
        <p:cxnSp>
          <p:nvCxnSpPr>
            <p:cNvPr id="74" name="Straight Connector 73"/>
            <p:cNvCxnSpPr/>
            <p:nvPr/>
          </p:nvCxnSpPr>
          <p:spPr>
            <a:xfrm>
              <a:off x="7763124" y="3655200"/>
              <a:ext cx="0" cy="120083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035800" y="3655142"/>
              <a:ext cx="3424" cy="1209273"/>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513580" y="3655200"/>
              <a:ext cx="0" cy="76048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14" idx="6"/>
            </p:cNvCxnSpPr>
            <p:nvPr/>
          </p:nvCxnSpPr>
          <p:spPr>
            <a:xfrm>
              <a:off x="6276735" y="4415681"/>
              <a:ext cx="23814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15" idx="0"/>
            </p:cNvCxnSpPr>
            <p:nvPr/>
          </p:nvCxnSpPr>
          <p:spPr>
            <a:xfrm>
              <a:off x="5998219" y="4692316"/>
              <a:ext cx="0" cy="68210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5170541" y="5105273"/>
              <a:ext cx="165181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6822352" y="5105111"/>
              <a:ext cx="0" cy="2880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77531695"/>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One level plus text</a:t>
            </a:r>
          </a:p>
        </p:txBody>
      </p:sp>
      <p:sp>
        <p:nvSpPr>
          <p:cNvPr id="610305" name="Title 28"/>
          <p:cNvSpPr>
            <a:spLocks noGrp="1"/>
          </p:cNvSpPr>
          <p:nvPr>
            <p:ph type="title"/>
          </p:nvPr>
        </p:nvSpPr>
        <p:spPr/>
        <p:txBody>
          <a:bodyPr/>
          <a:lstStyle/>
          <a:p>
            <a:r>
              <a:rPr lang="en-US" dirty="0"/>
              <a:t>Logic trees</a:t>
            </a:r>
          </a:p>
        </p:txBody>
      </p:sp>
      <p:sp>
        <p:nvSpPr>
          <p:cNvPr id="23" name="Text Placeholder 5"/>
          <p:cNvSpPr txBox="1">
            <a:spLocks/>
          </p:cNvSpPr>
          <p:nvPr/>
        </p:nvSpPr>
        <p:spPr>
          <a:xfrm>
            <a:off x="6188156" y="1611786"/>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cxnSp>
        <p:nvCxnSpPr>
          <p:cNvPr id="9" name="AutoShape 8"/>
          <p:cNvCxnSpPr>
            <a:cxnSpLocks noChangeShapeType="1"/>
            <a:stCxn id="5" idx="1"/>
            <a:endCxn id="4" idx="3"/>
          </p:cNvCxnSpPr>
          <p:nvPr/>
        </p:nvCxnSpPr>
        <p:spPr bwMode="auto">
          <a:xfrm rot="10800000" flipV="1">
            <a:off x="3437378" y="1977545"/>
            <a:ext cx="1006098" cy="1908175"/>
          </a:xfrm>
          <a:prstGeom prst="bentConnector3">
            <a:avLst>
              <a:gd name="adj1" fmla="val 50000"/>
            </a:avLst>
          </a:prstGeom>
          <a:noFill/>
          <a:ln w="6350">
            <a:solidFill>
              <a:srgbClr val="BBBCBC"/>
            </a:solidFill>
            <a:miter lim="800000"/>
            <a:headEnd type="none" w="sm" len="sm"/>
            <a:tailEnd type="none" w="med" len="lg"/>
          </a:ln>
        </p:spPr>
      </p:cxnSp>
      <p:cxnSp>
        <p:nvCxnSpPr>
          <p:cNvPr id="10" name="AutoShape 9"/>
          <p:cNvCxnSpPr>
            <a:cxnSpLocks noChangeShapeType="1"/>
            <a:stCxn id="4" idx="3"/>
            <a:endCxn id="6" idx="1"/>
          </p:cNvCxnSpPr>
          <p:nvPr/>
        </p:nvCxnSpPr>
        <p:spPr bwMode="auto">
          <a:xfrm flipV="1">
            <a:off x="3437378" y="3249662"/>
            <a:ext cx="1006098" cy="636058"/>
          </a:xfrm>
          <a:prstGeom prst="bentConnector3">
            <a:avLst>
              <a:gd name="adj1" fmla="val 50000"/>
            </a:avLst>
          </a:prstGeom>
          <a:noFill/>
          <a:ln w="6350">
            <a:solidFill>
              <a:srgbClr val="BBBCBC"/>
            </a:solidFill>
            <a:miter lim="800000"/>
            <a:headEnd type="none" w="sm" len="sm"/>
            <a:tailEnd type="none" w="med" len="lg"/>
          </a:ln>
        </p:spPr>
      </p:cxnSp>
      <p:cxnSp>
        <p:nvCxnSpPr>
          <p:cNvPr id="11" name="AutoShape 10"/>
          <p:cNvCxnSpPr>
            <a:cxnSpLocks noChangeShapeType="1"/>
            <a:stCxn id="4" idx="3"/>
            <a:endCxn id="7" idx="1"/>
          </p:cNvCxnSpPr>
          <p:nvPr/>
        </p:nvCxnSpPr>
        <p:spPr bwMode="auto">
          <a:xfrm>
            <a:off x="3437378" y="3885721"/>
            <a:ext cx="1006098" cy="636059"/>
          </a:xfrm>
          <a:prstGeom prst="bentConnector3">
            <a:avLst>
              <a:gd name="adj1" fmla="val 50000"/>
            </a:avLst>
          </a:prstGeom>
          <a:noFill/>
          <a:ln w="6350">
            <a:solidFill>
              <a:srgbClr val="BBBCBC"/>
            </a:solidFill>
            <a:miter lim="800000"/>
            <a:headEnd type="none" w="sm" len="sm"/>
            <a:tailEnd type="none" w="med" len="lg"/>
          </a:ln>
        </p:spPr>
      </p:cxnSp>
      <p:cxnSp>
        <p:nvCxnSpPr>
          <p:cNvPr id="12" name="AutoShape 11"/>
          <p:cNvCxnSpPr>
            <a:cxnSpLocks noChangeShapeType="1"/>
            <a:stCxn id="4" idx="3"/>
            <a:endCxn id="8" idx="1"/>
          </p:cNvCxnSpPr>
          <p:nvPr/>
        </p:nvCxnSpPr>
        <p:spPr bwMode="auto">
          <a:xfrm>
            <a:off x="3437378" y="3885721"/>
            <a:ext cx="1006098" cy="1908175"/>
          </a:xfrm>
          <a:prstGeom prst="bentConnector3">
            <a:avLst>
              <a:gd name="adj1" fmla="val 50000"/>
            </a:avLst>
          </a:prstGeom>
          <a:noFill/>
          <a:ln w="6350">
            <a:solidFill>
              <a:srgbClr val="BBBCBC"/>
            </a:solidFill>
            <a:miter lim="800000"/>
            <a:headEnd type="none" w="sm" len="sm"/>
            <a:tailEnd type="none" w="med" len="lg"/>
          </a:ln>
        </p:spPr>
      </p:cxnSp>
      <p:sp>
        <p:nvSpPr>
          <p:cNvPr id="4" name="Rectangle 3"/>
          <p:cNvSpPr>
            <a:spLocks noChangeArrowheads="1"/>
          </p:cNvSpPr>
          <p:nvPr/>
        </p:nvSpPr>
        <p:spPr bwMode="auto">
          <a:xfrm>
            <a:off x="1882898" y="3519960"/>
            <a:ext cx="1554480" cy="731520"/>
          </a:xfrm>
          <a:prstGeom prst="rect">
            <a:avLst/>
          </a:prstGeom>
          <a:solidFill>
            <a:schemeClr val="tx1"/>
          </a:solidFill>
          <a:ln w="12700" algn="ctr">
            <a:noFill/>
            <a:miter lim="800000"/>
            <a:headEnd type="none" w="sm" len="sm"/>
            <a:tailEnd type="none" w="med" len="lg"/>
          </a:ln>
        </p:spPr>
        <p:txBody>
          <a:bodyPr lIns="88900" tIns="88900" rIns="88900" bIns="88900" anchor="ctr"/>
          <a:lstStyle/>
          <a:p>
            <a:pPr>
              <a:defRPr/>
            </a:pPr>
            <a:r>
              <a:rPr lang="en-US" altLang="ja-JP" sz="2400" dirty="0">
                <a:solidFill>
                  <a:schemeClr val="bg1"/>
                </a:solidFill>
                <a:ea typeface="ＭＳ Ｐゴシック" pitchFamily="50" charset="-128"/>
              </a:rPr>
              <a:t>Text</a:t>
            </a:r>
          </a:p>
        </p:txBody>
      </p:sp>
      <p:sp>
        <p:nvSpPr>
          <p:cNvPr id="5" name="Rectangle 4"/>
          <p:cNvSpPr>
            <a:spLocks noChangeArrowheads="1"/>
          </p:cNvSpPr>
          <p:nvPr/>
        </p:nvSpPr>
        <p:spPr bwMode="auto">
          <a:xfrm>
            <a:off x="4443476" y="1611785"/>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6" name="Rectangle 5"/>
          <p:cNvSpPr>
            <a:spLocks noChangeArrowheads="1"/>
          </p:cNvSpPr>
          <p:nvPr/>
        </p:nvSpPr>
        <p:spPr bwMode="auto">
          <a:xfrm>
            <a:off x="4443476" y="2883902"/>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7" name="Rectangle 6"/>
          <p:cNvSpPr>
            <a:spLocks noChangeArrowheads="1"/>
          </p:cNvSpPr>
          <p:nvPr/>
        </p:nvSpPr>
        <p:spPr bwMode="auto">
          <a:xfrm>
            <a:off x="4443476" y="4156019"/>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8" name="Rectangle 7"/>
          <p:cNvSpPr>
            <a:spLocks noChangeArrowheads="1"/>
          </p:cNvSpPr>
          <p:nvPr/>
        </p:nvSpPr>
        <p:spPr bwMode="auto">
          <a:xfrm>
            <a:off x="4443476" y="5428135"/>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19" name="Text Placeholder 5"/>
          <p:cNvSpPr txBox="1">
            <a:spLocks/>
          </p:cNvSpPr>
          <p:nvPr/>
        </p:nvSpPr>
        <p:spPr>
          <a:xfrm>
            <a:off x="6188156" y="2883903"/>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20" name="Text Placeholder 5"/>
          <p:cNvSpPr txBox="1">
            <a:spLocks/>
          </p:cNvSpPr>
          <p:nvPr/>
        </p:nvSpPr>
        <p:spPr>
          <a:xfrm>
            <a:off x="6188156" y="4156020"/>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21" name="Text Placeholder 5"/>
          <p:cNvSpPr txBox="1">
            <a:spLocks/>
          </p:cNvSpPr>
          <p:nvPr/>
        </p:nvSpPr>
        <p:spPr>
          <a:xfrm>
            <a:off x="6188156" y="5428136"/>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18" name="Text Box 12"/>
          <p:cNvSpPr txBox="1">
            <a:spLocks noChangeArrowheads="1"/>
          </p:cNvSpPr>
          <p:nvPr/>
        </p:nvSpPr>
        <p:spPr bwMode="auto">
          <a:xfrm>
            <a:off x="9002233" y="0"/>
            <a:ext cx="3189767" cy="1016001"/>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1726208063"/>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One level plus text</a:t>
            </a:r>
          </a:p>
        </p:txBody>
      </p:sp>
      <p:sp>
        <p:nvSpPr>
          <p:cNvPr id="610305" name="Title 28"/>
          <p:cNvSpPr>
            <a:spLocks noGrp="1"/>
          </p:cNvSpPr>
          <p:nvPr>
            <p:ph type="title"/>
          </p:nvPr>
        </p:nvSpPr>
        <p:spPr/>
        <p:txBody>
          <a:bodyPr/>
          <a:lstStyle/>
          <a:p>
            <a:r>
              <a:rPr lang="en-US"/>
              <a:t>Logic trees</a:t>
            </a:r>
            <a:endParaRPr lang="en-US" dirty="0"/>
          </a:p>
        </p:txBody>
      </p:sp>
      <p:sp>
        <p:nvSpPr>
          <p:cNvPr id="18" name="Text Box 12"/>
          <p:cNvSpPr txBox="1">
            <a:spLocks noChangeArrowheads="1"/>
          </p:cNvSpPr>
          <p:nvPr/>
        </p:nvSpPr>
        <p:spPr bwMode="auto">
          <a:xfrm>
            <a:off x="9002233" y="0"/>
            <a:ext cx="3189767" cy="949569"/>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solidFill>
                  <a:schemeClr val="bg1"/>
                </a:solidFill>
                <a:ea typeface="ＭＳ Ｐゴシック" pitchFamily="50" charset="-128"/>
              </a:rPr>
              <a:t>Note: </a:t>
            </a:r>
          </a:p>
          <a:p>
            <a:pPr>
              <a:defRPr/>
            </a:pPr>
            <a:r>
              <a:rPr lang="en-US" sz="1000" dirty="0">
                <a:solidFill>
                  <a:schemeClr val="bg1"/>
                </a:solidFill>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
        <p:nvSpPr>
          <p:cNvPr id="22" name="Text Placeholder 5">
            <a:extLst>
              <a:ext uri="{FF2B5EF4-FFF2-40B4-BE49-F238E27FC236}">
                <a16:creationId xmlns:a16="http://schemas.microsoft.com/office/drawing/2014/main" id="{B507F7A2-81E9-4B46-8C17-DDC097F940DA}"/>
              </a:ext>
            </a:extLst>
          </p:cNvPr>
          <p:cNvSpPr txBox="1">
            <a:spLocks/>
          </p:cNvSpPr>
          <p:nvPr/>
        </p:nvSpPr>
        <p:spPr>
          <a:xfrm>
            <a:off x="6188156" y="1611786"/>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cxnSp>
        <p:nvCxnSpPr>
          <p:cNvPr id="24" name="AutoShape 8">
            <a:extLst>
              <a:ext uri="{FF2B5EF4-FFF2-40B4-BE49-F238E27FC236}">
                <a16:creationId xmlns:a16="http://schemas.microsoft.com/office/drawing/2014/main" id="{7DA44499-6E84-4F07-BC49-E4D739C51FA0}"/>
              </a:ext>
            </a:extLst>
          </p:cNvPr>
          <p:cNvCxnSpPr>
            <a:cxnSpLocks noChangeShapeType="1"/>
            <a:stCxn id="29" idx="1"/>
            <a:endCxn id="28" idx="3"/>
          </p:cNvCxnSpPr>
          <p:nvPr/>
        </p:nvCxnSpPr>
        <p:spPr bwMode="auto">
          <a:xfrm rot="10800000" flipV="1">
            <a:off x="3437378" y="1977545"/>
            <a:ext cx="1006098" cy="1908175"/>
          </a:xfrm>
          <a:prstGeom prst="bentConnector3">
            <a:avLst>
              <a:gd name="adj1" fmla="val 50000"/>
            </a:avLst>
          </a:prstGeom>
          <a:noFill/>
          <a:ln w="6350">
            <a:solidFill>
              <a:srgbClr val="BBBCBC"/>
            </a:solidFill>
            <a:miter lim="800000"/>
            <a:headEnd type="none" w="sm" len="sm"/>
            <a:tailEnd type="none" w="med" len="lg"/>
          </a:ln>
        </p:spPr>
      </p:cxnSp>
      <p:cxnSp>
        <p:nvCxnSpPr>
          <p:cNvPr id="25" name="AutoShape 9">
            <a:extLst>
              <a:ext uri="{FF2B5EF4-FFF2-40B4-BE49-F238E27FC236}">
                <a16:creationId xmlns:a16="http://schemas.microsoft.com/office/drawing/2014/main" id="{65AF2419-EED0-4AE7-B697-36CB33B2332A}"/>
              </a:ext>
            </a:extLst>
          </p:cNvPr>
          <p:cNvCxnSpPr>
            <a:cxnSpLocks noChangeShapeType="1"/>
            <a:stCxn id="28" idx="3"/>
            <a:endCxn id="30" idx="1"/>
          </p:cNvCxnSpPr>
          <p:nvPr/>
        </p:nvCxnSpPr>
        <p:spPr bwMode="auto">
          <a:xfrm flipV="1">
            <a:off x="3437378" y="3249662"/>
            <a:ext cx="1006098" cy="636058"/>
          </a:xfrm>
          <a:prstGeom prst="bentConnector3">
            <a:avLst>
              <a:gd name="adj1" fmla="val 50000"/>
            </a:avLst>
          </a:prstGeom>
          <a:noFill/>
          <a:ln w="6350">
            <a:solidFill>
              <a:srgbClr val="BBBCBC"/>
            </a:solidFill>
            <a:miter lim="800000"/>
            <a:headEnd type="none" w="sm" len="sm"/>
            <a:tailEnd type="none" w="med" len="lg"/>
          </a:ln>
        </p:spPr>
      </p:cxnSp>
      <p:cxnSp>
        <p:nvCxnSpPr>
          <p:cNvPr id="26" name="AutoShape 10">
            <a:extLst>
              <a:ext uri="{FF2B5EF4-FFF2-40B4-BE49-F238E27FC236}">
                <a16:creationId xmlns:a16="http://schemas.microsoft.com/office/drawing/2014/main" id="{9E54E4B5-0986-4CF8-A953-F6E2064694A3}"/>
              </a:ext>
            </a:extLst>
          </p:cNvPr>
          <p:cNvCxnSpPr>
            <a:cxnSpLocks noChangeShapeType="1"/>
            <a:stCxn id="28" idx="3"/>
            <a:endCxn id="31" idx="1"/>
          </p:cNvCxnSpPr>
          <p:nvPr/>
        </p:nvCxnSpPr>
        <p:spPr bwMode="auto">
          <a:xfrm>
            <a:off x="3437378" y="3885721"/>
            <a:ext cx="1006098" cy="636059"/>
          </a:xfrm>
          <a:prstGeom prst="bentConnector3">
            <a:avLst>
              <a:gd name="adj1" fmla="val 50000"/>
            </a:avLst>
          </a:prstGeom>
          <a:noFill/>
          <a:ln w="6350">
            <a:solidFill>
              <a:srgbClr val="BBBCBC"/>
            </a:solidFill>
            <a:miter lim="800000"/>
            <a:headEnd type="none" w="sm" len="sm"/>
            <a:tailEnd type="none" w="med" len="lg"/>
          </a:ln>
        </p:spPr>
      </p:cxnSp>
      <p:cxnSp>
        <p:nvCxnSpPr>
          <p:cNvPr id="27" name="AutoShape 11">
            <a:extLst>
              <a:ext uri="{FF2B5EF4-FFF2-40B4-BE49-F238E27FC236}">
                <a16:creationId xmlns:a16="http://schemas.microsoft.com/office/drawing/2014/main" id="{CFCDCA50-BD6D-43DC-9DB2-D6108932DFA4}"/>
              </a:ext>
            </a:extLst>
          </p:cNvPr>
          <p:cNvCxnSpPr>
            <a:cxnSpLocks noChangeShapeType="1"/>
            <a:stCxn id="28" idx="3"/>
            <a:endCxn id="32" idx="1"/>
          </p:cNvCxnSpPr>
          <p:nvPr/>
        </p:nvCxnSpPr>
        <p:spPr bwMode="auto">
          <a:xfrm>
            <a:off x="3437378" y="3885721"/>
            <a:ext cx="1006098" cy="1908175"/>
          </a:xfrm>
          <a:prstGeom prst="bentConnector3">
            <a:avLst>
              <a:gd name="adj1" fmla="val 50000"/>
            </a:avLst>
          </a:prstGeom>
          <a:noFill/>
          <a:ln w="6350">
            <a:solidFill>
              <a:srgbClr val="BBBCBC"/>
            </a:solidFill>
            <a:miter lim="800000"/>
            <a:headEnd type="none" w="sm" len="sm"/>
            <a:tailEnd type="none" w="med" len="lg"/>
          </a:ln>
        </p:spPr>
      </p:cxnSp>
      <p:sp>
        <p:nvSpPr>
          <p:cNvPr id="28" name="Rectangle 27">
            <a:extLst>
              <a:ext uri="{FF2B5EF4-FFF2-40B4-BE49-F238E27FC236}">
                <a16:creationId xmlns:a16="http://schemas.microsoft.com/office/drawing/2014/main" id="{39337A69-760F-41BB-BE66-47444810DEBF}"/>
              </a:ext>
            </a:extLst>
          </p:cNvPr>
          <p:cNvSpPr>
            <a:spLocks noChangeArrowheads="1"/>
          </p:cNvSpPr>
          <p:nvPr/>
        </p:nvSpPr>
        <p:spPr bwMode="auto">
          <a:xfrm>
            <a:off x="1882898" y="3519960"/>
            <a:ext cx="1554480" cy="731520"/>
          </a:xfrm>
          <a:prstGeom prst="rect">
            <a:avLst/>
          </a:prstGeom>
          <a:noFill/>
          <a:ln w="12700" algn="ctr">
            <a:solidFill>
              <a:schemeClr val="tx1"/>
            </a:solidFill>
            <a:miter lim="800000"/>
            <a:headEnd type="none" w="sm" len="sm"/>
            <a:tailEnd type="none" w="med" len="lg"/>
          </a:ln>
        </p:spPr>
        <p:txBody>
          <a:bodyPr lIns="88900" tIns="88900" rIns="88900" bIns="88900" anchor="ctr"/>
          <a:lstStyle/>
          <a:p>
            <a:pPr>
              <a:defRPr/>
            </a:pPr>
            <a:r>
              <a:rPr lang="en-US" altLang="ja-JP" sz="2400" dirty="0">
                <a:ea typeface="ＭＳ Ｐゴシック" pitchFamily="50" charset="-128"/>
              </a:rPr>
              <a:t>Text</a:t>
            </a:r>
          </a:p>
        </p:txBody>
      </p:sp>
      <p:sp>
        <p:nvSpPr>
          <p:cNvPr id="29" name="Rectangle 28">
            <a:extLst>
              <a:ext uri="{FF2B5EF4-FFF2-40B4-BE49-F238E27FC236}">
                <a16:creationId xmlns:a16="http://schemas.microsoft.com/office/drawing/2014/main" id="{EC8CC30E-9AD8-490B-9636-E9539C23243C}"/>
              </a:ext>
            </a:extLst>
          </p:cNvPr>
          <p:cNvSpPr>
            <a:spLocks noChangeArrowheads="1"/>
          </p:cNvSpPr>
          <p:nvPr/>
        </p:nvSpPr>
        <p:spPr bwMode="auto">
          <a:xfrm>
            <a:off x="4443476" y="1611785"/>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30" name="Rectangle 29">
            <a:extLst>
              <a:ext uri="{FF2B5EF4-FFF2-40B4-BE49-F238E27FC236}">
                <a16:creationId xmlns:a16="http://schemas.microsoft.com/office/drawing/2014/main" id="{BB745285-E09F-46D6-96E2-7C9B4A0755A9}"/>
              </a:ext>
            </a:extLst>
          </p:cNvPr>
          <p:cNvSpPr>
            <a:spLocks noChangeArrowheads="1"/>
          </p:cNvSpPr>
          <p:nvPr/>
        </p:nvSpPr>
        <p:spPr bwMode="auto">
          <a:xfrm>
            <a:off x="4443476" y="2883902"/>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31" name="Rectangle 30">
            <a:extLst>
              <a:ext uri="{FF2B5EF4-FFF2-40B4-BE49-F238E27FC236}">
                <a16:creationId xmlns:a16="http://schemas.microsoft.com/office/drawing/2014/main" id="{8E3BD99D-3D9F-4874-9400-9D6A37A95FB2}"/>
              </a:ext>
            </a:extLst>
          </p:cNvPr>
          <p:cNvSpPr>
            <a:spLocks noChangeArrowheads="1"/>
          </p:cNvSpPr>
          <p:nvPr/>
        </p:nvSpPr>
        <p:spPr bwMode="auto">
          <a:xfrm>
            <a:off x="4443476" y="4156019"/>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32" name="Rectangle 31">
            <a:extLst>
              <a:ext uri="{FF2B5EF4-FFF2-40B4-BE49-F238E27FC236}">
                <a16:creationId xmlns:a16="http://schemas.microsoft.com/office/drawing/2014/main" id="{51552C05-8123-4EB9-96CF-1AF187750FA5}"/>
              </a:ext>
            </a:extLst>
          </p:cNvPr>
          <p:cNvSpPr>
            <a:spLocks noChangeArrowheads="1"/>
          </p:cNvSpPr>
          <p:nvPr/>
        </p:nvSpPr>
        <p:spPr bwMode="auto">
          <a:xfrm>
            <a:off x="4443476" y="5428135"/>
            <a:ext cx="1554480" cy="731520"/>
          </a:xfrm>
          <a:prstGeom prst="rect">
            <a:avLst/>
          </a:prstGeom>
          <a:noFill/>
          <a:ln w="12700" algn="ctr">
            <a:solidFill>
              <a:schemeClr val="accent2"/>
            </a:solidFill>
            <a:miter lim="800000"/>
            <a:headEnd type="none" w="sm" len="sm"/>
            <a:tailEnd type="none" w="med" len="lg"/>
          </a:ln>
        </p:spPr>
        <p:txBody>
          <a:bodyPr lIns="88900" tIns="88900" rIns="88900" bIns="88900" anchor="ctr"/>
          <a:lstStyle/>
          <a:p>
            <a:pPr>
              <a:defRPr/>
            </a:pPr>
            <a:r>
              <a:rPr lang="en-US" altLang="ja-JP" dirty="0">
                <a:solidFill>
                  <a:schemeClr val="accent2"/>
                </a:solidFill>
                <a:ea typeface="ＭＳ Ｐゴシック" pitchFamily="50" charset="-128"/>
              </a:rPr>
              <a:t>Text</a:t>
            </a:r>
          </a:p>
        </p:txBody>
      </p:sp>
      <p:sp>
        <p:nvSpPr>
          <p:cNvPr id="33" name="Text Placeholder 5">
            <a:extLst>
              <a:ext uri="{FF2B5EF4-FFF2-40B4-BE49-F238E27FC236}">
                <a16:creationId xmlns:a16="http://schemas.microsoft.com/office/drawing/2014/main" id="{2D9465BD-C54D-4C24-993D-41F09519F634}"/>
              </a:ext>
            </a:extLst>
          </p:cNvPr>
          <p:cNvSpPr txBox="1">
            <a:spLocks/>
          </p:cNvSpPr>
          <p:nvPr/>
        </p:nvSpPr>
        <p:spPr>
          <a:xfrm>
            <a:off x="6188156" y="2883903"/>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34" name="Text Placeholder 5">
            <a:extLst>
              <a:ext uri="{FF2B5EF4-FFF2-40B4-BE49-F238E27FC236}">
                <a16:creationId xmlns:a16="http://schemas.microsoft.com/office/drawing/2014/main" id="{F33534E6-61DF-4C9B-BE59-32AAA03C4D3A}"/>
              </a:ext>
            </a:extLst>
          </p:cNvPr>
          <p:cNvSpPr txBox="1">
            <a:spLocks/>
          </p:cNvSpPr>
          <p:nvPr/>
        </p:nvSpPr>
        <p:spPr>
          <a:xfrm>
            <a:off x="6188156" y="4156020"/>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35" name="Text Placeholder 5">
            <a:extLst>
              <a:ext uri="{FF2B5EF4-FFF2-40B4-BE49-F238E27FC236}">
                <a16:creationId xmlns:a16="http://schemas.microsoft.com/office/drawing/2014/main" id="{B207A208-F3F5-4C20-99CA-6E22E6DABDFA}"/>
              </a:ext>
            </a:extLst>
          </p:cNvPr>
          <p:cNvSpPr txBox="1">
            <a:spLocks/>
          </p:cNvSpPr>
          <p:nvPr/>
        </p:nvSpPr>
        <p:spPr>
          <a:xfrm>
            <a:off x="6188156" y="5428136"/>
            <a:ext cx="411480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dummy text it is not here to be read 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Tree>
    <p:extLst>
      <p:ext uri="{BB962C8B-B14F-4D97-AF65-F5344CB8AC3E}">
        <p14:creationId xmlns:p14="http://schemas.microsoft.com/office/powerpoint/2010/main" val="246675045"/>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Vertical</a:t>
            </a:r>
            <a:endParaRPr lang="en-US" dirty="0"/>
          </a:p>
        </p:txBody>
      </p:sp>
      <p:sp>
        <p:nvSpPr>
          <p:cNvPr id="614401" name="Title 1"/>
          <p:cNvSpPr>
            <a:spLocks noGrp="1"/>
          </p:cNvSpPr>
          <p:nvPr>
            <p:ph type="title"/>
          </p:nvPr>
        </p:nvSpPr>
        <p:spPr/>
        <p:txBody>
          <a:bodyPr/>
          <a:lstStyle/>
          <a:p>
            <a:r>
              <a:rPr lang="en-US"/>
              <a:t>Logic trees </a:t>
            </a:r>
            <a:endParaRPr lang="en-US" dirty="0"/>
          </a:p>
        </p:txBody>
      </p:sp>
      <p:sp>
        <p:nvSpPr>
          <p:cNvPr id="30" name="Rectangle 29"/>
          <p:cNvSpPr>
            <a:spLocks noChangeArrowheads="1"/>
          </p:cNvSpPr>
          <p:nvPr/>
        </p:nvSpPr>
        <p:spPr bwMode="auto">
          <a:xfrm>
            <a:off x="5058069" y="1612216"/>
            <a:ext cx="2067477" cy="731520"/>
          </a:xfrm>
          <a:prstGeom prst="rect">
            <a:avLst/>
          </a:prstGeom>
          <a:noFill/>
          <a:ln w="19050" algn="ctr">
            <a:solidFill>
              <a:srgbClr val="0097A9"/>
            </a:solidFill>
            <a:miter lim="800000"/>
            <a:headEnd type="none" w="sm" len="sm"/>
            <a:tailEnd type="none" w="sm" len="sm"/>
          </a:ln>
        </p:spPr>
        <p:txBody>
          <a:bodyPr wrap="square" lIns="88900" tIns="88900" rIns="88900" bIns="88900" anchor="ctr"/>
          <a:lstStyle/>
          <a:p>
            <a:pPr algn="ctr">
              <a:spcBef>
                <a:spcPts val="200"/>
              </a:spcBef>
              <a:defRPr/>
            </a:pPr>
            <a:r>
              <a:rPr lang="en-GB" altLang="ja-JP" sz="2400" dirty="0">
                <a:solidFill>
                  <a:srgbClr val="0097A9"/>
                </a:solidFill>
                <a:ea typeface="ＭＳ Ｐゴシック" pitchFamily="50" charset="-128"/>
                <a:cs typeface="Arial" pitchFamily="34" charset="0"/>
              </a:rPr>
              <a:t>Text</a:t>
            </a:r>
          </a:p>
        </p:txBody>
      </p:sp>
      <p:sp>
        <p:nvSpPr>
          <p:cNvPr id="31" name="Rectangle 30"/>
          <p:cNvSpPr>
            <a:spLocks noChangeArrowheads="1"/>
          </p:cNvSpPr>
          <p:nvPr/>
        </p:nvSpPr>
        <p:spPr bwMode="auto">
          <a:xfrm>
            <a:off x="501650"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2" name="Rectangle 31"/>
          <p:cNvSpPr>
            <a:spLocks noChangeArrowheads="1"/>
          </p:cNvSpPr>
          <p:nvPr/>
        </p:nvSpPr>
        <p:spPr bwMode="auto">
          <a:xfrm>
            <a:off x="1767980"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3" name="Rectangle 32"/>
          <p:cNvSpPr>
            <a:spLocks noChangeArrowheads="1"/>
          </p:cNvSpPr>
          <p:nvPr/>
        </p:nvSpPr>
        <p:spPr bwMode="auto">
          <a:xfrm>
            <a:off x="3034310"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4" name="Rectangle 33"/>
          <p:cNvSpPr>
            <a:spLocks noChangeArrowheads="1"/>
          </p:cNvSpPr>
          <p:nvPr/>
        </p:nvSpPr>
        <p:spPr bwMode="auto">
          <a:xfrm>
            <a:off x="4300639"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5" name="Rectangle 34"/>
          <p:cNvSpPr>
            <a:spLocks noChangeArrowheads="1"/>
          </p:cNvSpPr>
          <p:nvPr/>
        </p:nvSpPr>
        <p:spPr bwMode="auto">
          <a:xfrm>
            <a:off x="5566969"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6" name="Rectangle 35"/>
          <p:cNvSpPr>
            <a:spLocks noChangeArrowheads="1"/>
          </p:cNvSpPr>
          <p:nvPr/>
        </p:nvSpPr>
        <p:spPr bwMode="auto">
          <a:xfrm>
            <a:off x="6833299"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7" name="Rectangle 36"/>
          <p:cNvSpPr>
            <a:spLocks noChangeArrowheads="1"/>
          </p:cNvSpPr>
          <p:nvPr/>
        </p:nvSpPr>
        <p:spPr bwMode="auto">
          <a:xfrm>
            <a:off x="8099629"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8" name="Rectangle 37"/>
          <p:cNvSpPr>
            <a:spLocks noChangeArrowheads="1"/>
          </p:cNvSpPr>
          <p:nvPr/>
        </p:nvSpPr>
        <p:spPr bwMode="auto">
          <a:xfrm>
            <a:off x="9365958"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39" name="Rectangle 38"/>
          <p:cNvSpPr>
            <a:spLocks noChangeArrowheads="1"/>
          </p:cNvSpPr>
          <p:nvPr/>
        </p:nvSpPr>
        <p:spPr bwMode="auto">
          <a:xfrm>
            <a:off x="1261127" y="3205685"/>
            <a:ext cx="2067477" cy="731520"/>
          </a:xfrm>
          <a:prstGeom prst="rect">
            <a:avLst/>
          </a:prstGeom>
          <a:noFill/>
          <a:ln w="19050" algn="ctr">
            <a:solidFill>
              <a:schemeClr val="tx2"/>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tx2"/>
                </a:solidFill>
                <a:ea typeface="ＭＳ Ｐゴシック" pitchFamily="50" charset="-128"/>
                <a:cs typeface="Arial" pitchFamily="34" charset="0"/>
              </a:rPr>
              <a:t>Text</a:t>
            </a:r>
          </a:p>
        </p:txBody>
      </p:sp>
      <p:sp>
        <p:nvSpPr>
          <p:cNvPr id="40" name="Rectangle 39"/>
          <p:cNvSpPr>
            <a:spLocks noChangeArrowheads="1"/>
          </p:cNvSpPr>
          <p:nvPr/>
        </p:nvSpPr>
        <p:spPr bwMode="auto">
          <a:xfrm>
            <a:off x="5058069" y="3205685"/>
            <a:ext cx="2067477" cy="731520"/>
          </a:xfrm>
          <a:prstGeom prst="rect">
            <a:avLst/>
          </a:prstGeom>
          <a:noFill/>
          <a:ln w="19050" algn="ctr">
            <a:solidFill>
              <a:schemeClr val="tx2"/>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tx2"/>
                </a:solidFill>
                <a:ea typeface="ＭＳ Ｐゴシック" pitchFamily="50" charset="-128"/>
                <a:cs typeface="Arial" pitchFamily="34" charset="0"/>
              </a:rPr>
              <a:t>Text</a:t>
            </a:r>
          </a:p>
        </p:txBody>
      </p:sp>
      <p:sp>
        <p:nvSpPr>
          <p:cNvPr id="41" name="Rectangle 40"/>
          <p:cNvSpPr>
            <a:spLocks noChangeArrowheads="1"/>
          </p:cNvSpPr>
          <p:nvPr/>
        </p:nvSpPr>
        <p:spPr bwMode="auto">
          <a:xfrm>
            <a:off x="8859358" y="3205685"/>
            <a:ext cx="2067477" cy="731520"/>
          </a:xfrm>
          <a:prstGeom prst="rect">
            <a:avLst/>
          </a:prstGeom>
          <a:noFill/>
          <a:ln w="19050" algn="ctr">
            <a:solidFill>
              <a:schemeClr val="tx2"/>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tx2"/>
                </a:solidFill>
                <a:ea typeface="ＭＳ Ｐゴシック" pitchFamily="50" charset="-128"/>
                <a:cs typeface="Arial" pitchFamily="34" charset="0"/>
              </a:rPr>
              <a:t>Text</a:t>
            </a:r>
          </a:p>
        </p:txBody>
      </p:sp>
      <p:cxnSp>
        <p:nvCxnSpPr>
          <p:cNvPr id="42" name="AutoShape 15"/>
          <p:cNvCxnSpPr>
            <a:cxnSpLocks noChangeShapeType="1"/>
            <a:stCxn id="30" idx="2"/>
            <a:endCxn id="39" idx="0"/>
          </p:cNvCxnSpPr>
          <p:nvPr/>
        </p:nvCxnSpPr>
        <p:spPr bwMode="auto">
          <a:xfrm rot="5400000">
            <a:off x="3762364" y="876239"/>
            <a:ext cx="861949" cy="3796942"/>
          </a:xfrm>
          <a:prstGeom prst="bentConnector3">
            <a:avLst>
              <a:gd name="adj1" fmla="val 50000"/>
            </a:avLst>
          </a:prstGeom>
          <a:noFill/>
          <a:ln w="6350">
            <a:solidFill>
              <a:schemeClr val="tx1"/>
            </a:solidFill>
            <a:miter lim="800000"/>
            <a:headEnd/>
            <a:tailEnd/>
          </a:ln>
        </p:spPr>
      </p:cxnSp>
      <p:cxnSp>
        <p:nvCxnSpPr>
          <p:cNvPr id="43" name="AutoShape 16"/>
          <p:cNvCxnSpPr>
            <a:cxnSpLocks noChangeShapeType="1"/>
            <a:stCxn id="30" idx="2"/>
            <a:endCxn id="41" idx="0"/>
          </p:cNvCxnSpPr>
          <p:nvPr/>
        </p:nvCxnSpPr>
        <p:spPr bwMode="auto">
          <a:xfrm rot="16200000" flipH="1">
            <a:off x="7561480" y="874066"/>
            <a:ext cx="861949" cy="3801289"/>
          </a:xfrm>
          <a:prstGeom prst="bentConnector3">
            <a:avLst>
              <a:gd name="adj1" fmla="val 50000"/>
            </a:avLst>
          </a:prstGeom>
          <a:noFill/>
          <a:ln w="6350">
            <a:solidFill>
              <a:schemeClr val="tx1"/>
            </a:solidFill>
            <a:miter lim="800000"/>
            <a:headEnd/>
            <a:tailEnd/>
          </a:ln>
        </p:spPr>
      </p:cxnSp>
      <p:cxnSp>
        <p:nvCxnSpPr>
          <p:cNvPr id="44" name="AutoShape 17"/>
          <p:cNvCxnSpPr>
            <a:cxnSpLocks noChangeShapeType="1"/>
            <a:stCxn id="40" idx="0"/>
            <a:endCxn id="30" idx="2"/>
          </p:cNvCxnSpPr>
          <p:nvPr/>
        </p:nvCxnSpPr>
        <p:spPr bwMode="auto">
          <a:xfrm flipV="1">
            <a:off x="6091808" y="2343737"/>
            <a:ext cx="0" cy="861949"/>
          </a:xfrm>
          <a:prstGeom prst="straightConnector1">
            <a:avLst/>
          </a:prstGeom>
          <a:noFill/>
          <a:ln w="6350">
            <a:solidFill>
              <a:schemeClr val="tx1"/>
            </a:solidFill>
            <a:round/>
            <a:headEnd/>
            <a:tailEnd/>
          </a:ln>
        </p:spPr>
      </p:cxnSp>
      <p:cxnSp>
        <p:nvCxnSpPr>
          <p:cNvPr id="45" name="AutoShape 18"/>
          <p:cNvCxnSpPr>
            <a:cxnSpLocks noChangeShapeType="1"/>
            <a:stCxn id="31" idx="0"/>
            <a:endCxn id="39" idx="2"/>
          </p:cNvCxnSpPr>
          <p:nvPr/>
        </p:nvCxnSpPr>
        <p:spPr bwMode="auto">
          <a:xfrm rot="5400000" flipH="1" flipV="1">
            <a:off x="1231801" y="3736088"/>
            <a:ext cx="861949" cy="1264184"/>
          </a:xfrm>
          <a:prstGeom prst="bentConnector3">
            <a:avLst>
              <a:gd name="adj1" fmla="val 50000"/>
            </a:avLst>
          </a:prstGeom>
          <a:noFill/>
          <a:ln w="6350">
            <a:solidFill>
              <a:schemeClr val="tx1"/>
            </a:solidFill>
            <a:miter lim="800000"/>
            <a:headEnd/>
            <a:tailEnd/>
          </a:ln>
        </p:spPr>
      </p:cxnSp>
      <p:cxnSp>
        <p:nvCxnSpPr>
          <p:cNvPr id="46" name="AutoShape 19"/>
          <p:cNvCxnSpPr>
            <a:cxnSpLocks noChangeShapeType="1"/>
            <a:stCxn id="39" idx="2"/>
            <a:endCxn id="33" idx="0"/>
          </p:cNvCxnSpPr>
          <p:nvPr/>
        </p:nvCxnSpPr>
        <p:spPr bwMode="auto">
          <a:xfrm rot="16200000" flipH="1">
            <a:off x="2498130" y="3733941"/>
            <a:ext cx="861949" cy="1268475"/>
          </a:xfrm>
          <a:prstGeom prst="bentConnector3">
            <a:avLst>
              <a:gd name="adj1" fmla="val 50000"/>
            </a:avLst>
          </a:prstGeom>
          <a:noFill/>
          <a:ln w="6350">
            <a:solidFill>
              <a:schemeClr val="tx1"/>
            </a:solidFill>
            <a:miter lim="800000"/>
            <a:headEnd/>
            <a:tailEnd/>
          </a:ln>
        </p:spPr>
      </p:cxnSp>
      <p:cxnSp>
        <p:nvCxnSpPr>
          <p:cNvPr id="47" name="AutoShape 20"/>
          <p:cNvCxnSpPr>
            <a:cxnSpLocks noChangeShapeType="1"/>
            <a:stCxn id="34" idx="0"/>
            <a:endCxn id="40" idx="2"/>
          </p:cNvCxnSpPr>
          <p:nvPr/>
        </p:nvCxnSpPr>
        <p:spPr bwMode="auto">
          <a:xfrm rot="5400000" flipH="1" flipV="1">
            <a:off x="5029766" y="3737113"/>
            <a:ext cx="861949" cy="1262138"/>
          </a:xfrm>
          <a:prstGeom prst="bentConnector3">
            <a:avLst>
              <a:gd name="adj1" fmla="val 50000"/>
            </a:avLst>
          </a:prstGeom>
          <a:noFill/>
          <a:ln w="6350">
            <a:solidFill>
              <a:schemeClr val="tx1"/>
            </a:solidFill>
            <a:miter lim="800000"/>
            <a:headEnd/>
            <a:tailEnd/>
          </a:ln>
        </p:spPr>
      </p:cxnSp>
      <p:cxnSp>
        <p:nvCxnSpPr>
          <p:cNvPr id="48" name="AutoShape 21"/>
          <p:cNvCxnSpPr>
            <a:cxnSpLocks noChangeShapeType="1"/>
            <a:stCxn id="40" idx="2"/>
            <a:endCxn id="36" idx="0"/>
          </p:cNvCxnSpPr>
          <p:nvPr/>
        </p:nvCxnSpPr>
        <p:spPr bwMode="auto">
          <a:xfrm rot="16200000" flipH="1">
            <a:off x="6296096" y="3732919"/>
            <a:ext cx="861949" cy="1270522"/>
          </a:xfrm>
          <a:prstGeom prst="bentConnector3">
            <a:avLst>
              <a:gd name="adj1" fmla="val 50000"/>
            </a:avLst>
          </a:prstGeom>
          <a:noFill/>
          <a:ln w="6350">
            <a:solidFill>
              <a:schemeClr val="tx1"/>
            </a:solidFill>
            <a:miter lim="800000"/>
            <a:headEnd/>
            <a:tailEnd/>
          </a:ln>
        </p:spPr>
      </p:cxnSp>
      <p:cxnSp>
        <p:nvCxnSpPr>
          <p:cNvPr id="49" name="AutoShape 22"/>
          <p:cNvCxnSpPr>
            <a:cxnSpLocks noChangeShapeType="1"/>
            <a:stCxn id="37" idx="0"/>
            <a:endCxn id="41" idx="2"/>
          </p:cNvCxnSpPr>
          <p:nvPr/>
        </p:nvCxnSpPr>
        <p:spPr bwMode="auto">
          <a:xfrm rot="5400000" flipH="1" flipV="1">
            <a:off x="8829906" y="3735961"/>
            <a:ext cx="861949" cy="1264437"/>
          </a:xfrm>
          <a:prstGeom prst="bentConnector3">
            <a:avLst>
              <a:gd name="adj1" fmla="val 50000"/>
            </a:avLst>
          </a:prstGeom>
          <a:noFill/>
          <a:ln w="6350">
            <a:solidFill>
              <a:schemeClr val="tx1"/>
            </a:solidFill>
            <a:miter lim="800000"/>
            <a:headEnd/>
            <a:tailEnd/>
          </a:ln>
        </p:spPr>
      </p:cxnSp>
      <p:cxnSp>
        <p:nvCxnSpPr>
          <p:cNvPr id="50" name="AutoShape 23"/>
          <p:cNvCxnSpPr>
            <a:cxnSpLocks noChangeShapeType="1"/>
            <a:stCxn id="41" idx="2"/>
            <a:endCxn id="54" idx="0"/>
          </p:cNvCxnSpPr>
          <p:nvPr/>
        </p:nvCxnSpPr>
        <p:spPr bwMode="auto">
          <a:xfrm rot="16200000" flipH="1">
            <a:off x="10096235" y="3734068"/>
            <a:ext cx="861949" cy="1268222"/>
          </a:xfrm>
          <a:prstGeom prst="bentConnector3">
            <a:avLst>
              <a:gd name="adj1" fmla="val 50000"/>
            </a:avLst>
          </a:prstGeom>
          <a:noFill/>
          <a:ln w="6350">
            <a:solidFill>
              <a:schemeClr val="tx1"/>
            </a:solidFill>
            <a:miter lim="800000"/>
            <a:headEnd/>
            <a:tailEnd/>
          </a:ln>
        </p:spPr>
      </p:cxnSp>
      <p:cxnSp>
        <p:nvCxnSpPr>
          <p:cNvPr id="51" name="AutoShape 24"/>
          <p:cNvCxnSpPr>
            <a:cxnSpLocks noChangeShapeType="1"/>
            <a:stCxn id="32" idx="0"/>
            <a:endCxn id="39" idx="2"/>
          </p:cNvCxnSpPr>
          <p:nvPr/>
        </p:nvCxnSpPr>
        <p:spPr bwMode="auto">
          <a:xfrm flipH="1" flipV="1">
            <a:off x="2294867" y="3937206"/>
            <a:ext cx="2145" cy="861949"/>
          </a:xfrm>
          <a:prstGeom prst="straightConnector1">
            <a:avLst/>
          </a:prstGeom>
          <a:noFill/>
          <a:ln w="6350">
            <a:solidFill>
              <a:schemeClr val="tx1"/>
            </a:solidFill>
            <a:round/>
            <a:headEnd/>
            <a:tailEnd/>
          </a:ln>
        </p:spPr>
      </p:cxnSp>
      <p:cxnSp>
        <p:nvCxnSpPr>
          <p:cNvPr id="52" name="AutoShape 25"/>
          <p:cNvCxnSpPr>
            <a:cxnSpLocks noChangeShapeType="1"/>
            <a:stCxn id="35" idx="0"/>
            <a:endCxn id="40" idx="2"/>
          </p:cNvCxnSpPr>
          <p:nvPr/>
        </p:nvCxnSpPr>
        <p:spPr bwMode="auto">
          <a:xfrm flipH="1" flipV="1">
            <a:off x="6091808" y="3937206"/>
            <a:ext cx="4192" cy="861949"/>
          </a:xfrm>
          <a:prstGeom prst="straightConnector1">
            <a:avLst/>
          </a:prstGeom>
          <a:noFill/>
          <a:ln w="6350">
            <a:solidFill>
              <a:schemeClr val="tx1"/>
            </a:solidFill>
            <a:round/>
            <a:headEnd/>
            <a:tailEnd/>
          </a:ln>
        </p:spPr>
      </p:cxnSp>
      <p:cxnSp>
        <p:nvCxnSpPr>
          <p:cNvPr id="53" name="AutoShape 26"/>
          <p:cNvCxnSpPr>
            <a:cxnSpLocks noChangeShapeType="1"/>
            <a:stCxn id="38" idx="0"/>
            <a:endCxn id="41" idx="2"/>
          </p:cNvCxnSpPr>
          <p:nvPr/>
        </p:nvCxnSpPr>
        <p:spPr bwMode="auto">
          <a:xfrm flipH="1" flipV="1">
            <a:off x="9893098" y="3937206"/>
            <a:ext cx="1893" cy="861949"/>
          </a:xfrm>
          <a:prstGeom prst="straightConnector1">
            <a:avLst/>
          </a:prstGeom>
          <a:noFill/>
          <a:ln w="6350">
            <a:solidFill>
              <a:schemeClr val="tx1"/>
            </a:solidFill>
            <a:miter lim="800000"/>
            <a:headEnd/>
            <a:tailEnd/>
          </a:ln>
        </p:spPr>
      </p:cxnSp>
      <p:sp>
        <p:nvSpPr>
          <p:cNvPr id="54" name="Rectangle 53"/>
          <p:cNvSpPr>
            <a:spLocks noChangeArrowheads="1"/>
          </p:cNvSpPr>
          <p:nvPr/>
        </p:nvSpPr>
        <p:spPr bwMode="auto">
          <a:xfrm>
            <a:off x="10632288" y="4799154"/>
            <a:ext cx="1058062" cy="731520"/>
          </a:xfrm>
          <a:prstGeom prst="rect">
            <a:avLst/>
          </a:prstGeom>
          <a:noFill/>
          <a:ln w="19050" algn="ctr">
            <a:solidFill>
              <a:schemeClr val="accent2"/>
            </a:solidFill>
            <a:miter lim="800000"/>
            <a:headEnd type="none" w="sm" len="sm"/>
            <a:tailEnd type="none" w="sm" len="sm"/>
          </a:ln>
        </p:spPr>
        <p:txBody>
          <a:bodyPr wrap="square" lIns="88900" tIns="88900" rIns="88900" bIns="88900" anchor="ctr"/>
          <a:lstStyle/>
          <a:p>
            <a:pPr algn="ctr">
              <a:spcBef>
                <a:spcPts val="200"/>
              </a:spcBef>
            </a:pPr>
            <a:r>
              <a:rPr lang="en-GB" altLang="ja-JP" sz="1600" dirty="0">
                <a:solidFill>
                  <a:schemeClr val="accent2"/>
                </a:solidFill>
                <a:ea typeface="ＭＳ Ｐゴシック" pitchFamily="50" charset="-128"/>
                <a:cs typeface="Arial" pitchFamily="34" charset="0"/>
              </a:rPr>
              <a:t>Text</a:t>
            </a:r>
          </a:p>
        </p:txBody>
      </p:sp>
      <p:sp>
        <p:nvSpPr>
          <p:cNvPr id="29" name="Text Box 12">
            <a:extLst>
              <a:ext uri="{FF2B5EF4-FFF2-40B4-BE49-F238E27FC236}">
                <a16:creationId xmlns:a16="http://schemas.microsoft.com/office/drawing/2014/main" id="{4AC67FAC-E406-4E53-9CE9-843919223ED2}"/>
              </a:ext>
            </a:extLst>
          </p:cNvPr>
          <p:cNvSpPr txBox="1">
            <a:spLocks noChangeArrowheads="1"/>
          </p:cNvSpPr>
          <p:nvPr/>
        </p:nvSpPr>
        <p:spPr bwMode="auto">
          <a:xfrm>
            <a:off x="9002233" y="0"/>
            <a:ext cx="3189767" cy="949569"/>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ea typeface="ＭＳ Ｐゴシック" pitchFamily="50" charset="-128"/>
              </a:rPr>
              <a:t>Note: </a:t>
            </a:r>
          </a:p>
          <a:p>
            <a:pPr>
              <a:defRPr/>
            </a:pPr>
            <a:r>
              <a:rPr lang="en-US" sz="1000" dirty="0">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1760470451"/>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Vertical</a:t>
            </a:r>
            <a:endParaRPr lang="en-US" dirty="0"/>
          </a:p>
        </p:txBody>
      </p:sp>
      <p:sp>
        <p:nvSpPr>
          <p:cNvPr id="614401" name="Title 1"/>
          <p:cNvSpPr>
            <a:spLocks noGrp="1"/>
          </p:cNvSpPr>
          <p:nvPr>
            <p:ph type="title"/>
          </p:nvPr>
        </p:nvSpPr>
        <p:spPr/>
        <p:txBody>
          <a:bodyPr/>
          <a:lstStyle/>
          <a:p>
            <a:r>
              <a:rPr lang="en-US"/>
              <a:t>Logic trees on black background </a:t>
            </a:r>
            <a:endParaRPr lang="en-US" dirty="0"/>
          </a:p>
        </p:txBody>
      </p:sp>
      <p:sp>
        <p:nvSpPr>
          <p:cNvPr id="30" name="Rectangle 29"/>
          <p:cNvSpPr>
            <a:spLocks noChangeArrowheads="1"/>
          </p:cNvSpPr>
          <p:nvPr/>
        </p:nvSpPr>
        <p:spPr bwMode="auto">
          <a:xfrm>
            <a:off x="5062957" y="1612216"/>
            <a:ext cx="2057739" cy="731520"/>
          </a:xfrm>
          <a:prstGeom prst="rect">
            <a:avLst/>
          </a:prstGeom>
          <a:noFill/>
          <a:ln w="12700" algn="ctr">
            <a:solidFill>
              <a:schemeClr val="accent2"/>
            </a:solidFill>
            <a:miter lim="800000"/>
            <a:headEnd type="none" w="sm" len="sm"/>
            <a:tailEnd type="none" w="sm" len="sm"/>
          </a:ln>
        </p:spPr>
        <p:txBody>
          <a:bodyPr wrap="square" lIns="88900" tIns="88900" rIns="88900" bIns="88900" anchor="ctr"/>
          <a:lstStyle/>
          <a:p>
            <a:pPr algn="ctr">
              <a:spcBef>
                <a:spcPts val="200"/>
              </a:spcBef>
              <a:defRPr/>
            </a:pPr>
            <a:r>
              <a:rPr lang="en-GB" altLang="ja-JP" sz="2400" dirty="0">
                <a:solidFill>
                  <a:schemeClr val="accent2"/>
                </a:solidFill>
                <a:ea typeface="ＭＳ Ｐゴシック" pitchFamily="50" charset="-128"/>
                <a:cs typeface="Arial" pitchFamily="34" charset="0"/>
              </a:rPr>
              <a:t>Text</a:t>
            </a:r>
          </a:p>
        </p:txBody>
      </p:sp>
      <p:sp>
        <p:nvSpPr>
          <p:cNvPr id="31" name="Rectangle 30"/>
          <p:cNvSpPr>
            <a:spLocks noChangeArrowheads="1"/>
          </p:cNvSpPr>
          <p:nvPr/>
        </p:nvSpPr>
        <p:spPr bwMode="auto">
          <a:xfrm>
            <a:off x="527999"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2" name="Rectangle 31"/>
          <p:cNvSpPr>
            <a:spLocks noChangeArrowheads="1"/>
          </p:cNvSpPr>
          <p:nvPr/>
        </p:nvSpPr>
        <p:spPr bwMode="auto">
          <a:xfrm>
            <a:off x="1788364"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3" name="Rectangle 32"/>
          <p:cNvSpPr>
            <a:spLocks noChangeArrowheads="1"/>
          </p:cNvSpPr>
          <p:nvPr/>
        </p:nvSpPr>
        <p:spPr bwMode="auto">
          <a:xfrm>
            <a:off x="3048729"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4" name="Rectangle 33"/>
          <p:cNvSpPr>
            <a:spLocks noChangeArrowheads="1"/>
          </p:cNvSpPr>
          <p:nvPr/>
        </p:nvSpPr>
        <p:spPr bwMode="auto">
          <a:xfrm>
            <a:off x="4309094"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5" name="Rectangle 34"/>
          <p:cNvSpPr>
            <a:spLocks noChangeArrowheads="1"/>
          </p:cNvSpPr>
          <p:nvPr/>
        </p:nvSpPr>
        <p:spPr bwMode="auto">
          <a:xfrm>
            <a:off x="5569459"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6" name="Rectangle 35"/>
          <p:cNvSpPr>
            <a:spLocks noChangeArrowheads="1"/>
          </p:cNvSpPr>
          <p:nvPr/>
        </p:nvSpPr>
        <p:spPr bwMode="auto">
          <a:xfrm>
            <a:off x="6829825"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7" name="Rectangle 36"/>
          <p:cNvSpPr>
            <a:spLocks noChangeArrowheads="1"/>
          </p:cNvSpPr>
          <p:nvPr/>
        </p:nvSpPr>
        <p:spPr bwMode="auto">
          <a:xfrm>
            <a:off x="8090190"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8" name="Rectangle 37"/>
          <p:cNvSpPr>
            <a:spLocks noChangeArrowheads="1"/>
          </p:cNvSpPr>
          <p:nvPr/>
        </p:nvSpPr>
        <p:spPr bwMode="auto">
          <a:xfrm>
            <a:off x="9350555"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39" name="Rectangle 38"/>
          <p:cNvSpPr>
            <a:spLocks noChangeArrowheads="1"/>
          </p:cNvSpPr>
          <p:nvPr/>
        </p:nvSpPr>
        <p:spPr bwMode="auto">
          <a:xfrm>
            <a:off x="1283899" y="3205685"/>
            <a:ext cx="2057739" cy="731520"/>
          </a:xfrm>
          <a:prstGeom prst="rect">
            <a:avLst/>
          </a:prstGeom>
          <a:noFill/>
          <a:ln w="12700" algn="ctr">
            <a:solidFill>
              <a:schemeClr val="accent1"/>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accent1"/>
                </a:solidFill>
                <a:ea typeface="ＭＳ Ｐゴシック" pitchFamily="50" charset="-128"/>
                <a:cs typeface="Arial" pitchFamily="34" charset="0"/>
              </a:rPr>
              <a:t>Text</a:t>
            </a:r>
          </a:p>
        </p:txBody>
      </p:sp>
      <p:sp>
        <p:nvSpPr>
          <p:cNvPr id="40" name="Rectangle 39"/>
          <p:cNvSpPr>
            <a:spLocks noChangeArrowheads="1"/>
          </p:cNvSpPr>
          <p:nvPr/>
        </p:nvSpPr>
        <p:spPr bwMode="auto">
          <a:xfrm>
            <a:off x="5062957" y="3205685"/>
            <a:ext cx="2057739" cy="731520"/>
          </a:xfrm>
          <a:prstGeom prst="rect">
            <a:avLst/>
          </a:prstGeom>
          <a:noFill/>
          <a:ln w="12700" algn="ctr">
            <a:solidFill>
              <a:schemeClr val="accent1"/>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accent1"/>
                </a:solidFill>
                <a:ea typeface="ＭＳ Ｐゴシック" pitchFamily="50" charset="-128"/>
                <a:cs typeface="Arial" pitchFamily="34" charset="0"/>
              </a:rPr>
              <a:t>Text</a:t>
            </a:r>
          </a:p>
        </p:txBody>
      </p:sp>
      <p:sp>
        <p:nvSpPr>
          <p:cNvPr id="41" name="Rectangle 40"/>
          <p:cNvSpPr>
            <a:spLocks noChangeArrowheads="1"/>
          </p:cNvSpPr>
          <p:nvPr/>
        </p:nvSpPr>
        <p:spPr bwMode="auto">
          <a:xfrm>
            <a:off x="8846341" y="3205685"/>
            <a:ext cx="2057739" cy="731520"/>
          </a:xfrm>
          <a:prstGeom prst="rect">
            <a:avLst/>
          </a:prstGeom>
          <a:noFill/>
          <a:ln w="12700" algn="ctr">
            <a:solidFill>
              <a:schemeClr val="accent1"/>
            </a:solidFill>
            <a:miter lim="800000"/>
            <a:headEnd type="none" w="sm" len="sm"/>
            <a:tailEnd type="none" w="sm" len="sm"/>
          </a:ln>
        </p:spPr>
        <p:txBody>
          <a:bodyPr wrap="square" lIns="88900" tIns="88900" rIns="88900" bIns="88900" anchor="ctr"/>
          <a:lstStyle/>
          <a:p>
            <a:pPr algn="ctr">
              <a:spcBef>
                <a:spcPts val="200"/>
              </a:spcBef>
            </a:pPr>
            <a:r>
              <a:rPr lang="en-GB" altLang="ja-JP" dirty="0">
                <a:solidFill>
                  <a:schemeClr val="accent1"/>
                </a:solidFill>
                <a:ea typeface="ＭＳ Ｐゴシック" pitchFamily="50" charset="-128"/>
                <a:cs typeface="Arial" pitchFamily="34" charset="0"/>
              </a:rPr>
              <a:t>Text</a:t>
            </a:r>
          </a:p>
        </p:txBody>
      </p:sp>
      <p:cxnSp>
        <p:nvCxnSpPr>
          <p:cNvPr id="42" name="AutoShape 15"/>
          <p:cNvCxnSpPr>
            <a:cxnSpLocks noChangeShapeType="1"/>
            <a:stCxn id="30" idx="2"/>
            <a:endCxn id="39" idx="0"/>
          </p:cNvCxnSpPr>
          <p:nvPr/>
        </p:nvCxnSpPr>
        <p:spPr bwMode="auto">
          <a:xfrm rot="5400000">
            <a:off x="3771325" y="885181"/>
            <a:ext cx="861949" cy="3779058"/>
          </a:xfrm>
          <a:prstGeom prst="bentConnector3">
            <a:avLst>
              <a:gd name="adj1" fmla="val 50000"/>
            </a:avLst>
          </a:prstGeom>
          <a:noFill/>
          <a:ln w="6350">
            <a:solidFill>
              <a:srgbClr val="53565A"/>
            </a:solidFill>
            <a:miter lim="800000"/>
            <a:headEnd/>
            <a:tailEnd/>
          </a:ln>
        </p:spPr>
      </p:cxnSp>
      <p:cxnSp>
        <p:nvCxnSpPr>
          <p:cNvPr id="43" name="AutoShape 16"/>
          <p:cNvCxnSpPr>
            <a:cxnSpLocks noChangeShapeType="1"/>
            <a:stCxn id="30" idx="2"/>
            <a:endCxn id="41" idx="0"/>
          </p:cNvCxnSpPr>
          <p:nvPr/>
        </p:nvCxnSpPr>
        <p:spPr bwMode="auto">
          <a:xfrm rot="16200000" flipH="1">
            <a:off x="7552546" y="883018"/>
            <a:ext cx="861949" cy="3783384"/>
          </a:xfrm>
          <a:prstGeom prst="bentConnector3">
            <a:avLst>
              <a:gd name="adj1" fmla="val 50000"/>
            </a:avLst>
          </a:prstGeom>
          <a:noFill/>
          <a:ln w="6350">
            <a:solidFill>
              <a:srgbClr val="53565A"/>
            </a:solidFill>
            <a:miter lim="800000"/>
            <a:headEnd/>
            <a:tailEnd/>
          </a:ln>
        </p:spPr>
      </p:cxnSp>
      <p:cxnSp>
        <p:nvCxnSpPr>
          <p:cNvPr id="44" name="AutoShape 17"/>
          <p:cNvCxnSpPr>
            <a:cxnSpLocks noChangeShapeType="1"/>
            <a:stCxn id="40" idx="0"/>
            <a:endCxn id="30" idx="2"/>
          </p:cNvCxnSpPr>
          <p:nvPr/>
        </p:nvCxnSpPr>
        <p:spPr bwMode="auto">
          <a:xfrm flipV="1">
            <a:off x="6091826" y="2343737"/>
            <a:ext cx="0" cy="861949"/>
          </a:xfrm>
          <a:prstGeom prst="straightConnector1">
            <a:avLst/>
          </a:prstGeom>
          <a:noFill/>
          <a:ln w="6350">
            <a:solidFill>
              <a:srgbClr val="53565A"/>
            </a:solidFill>
            <a:round/>
            <a:headEnd/>
            <a:tailEnd/>
          </a:ln>
        </p:spPr>
      </p:cxnSp>
      <p:cxnSp>
        <p:nvCxnSpPr>
          <p:cNvPr id="45" name="AutoShape 18"/>
          <p:cNvCxnSpPr>
            <a:cxnSpLocks noChangeShapeType="1"/>
            <a:stCxn id="31" idx="0"/>
            <a:endCxn id="39" idx="2"/>
          </p:cNvCxnSpPr>
          <p:nvPr/>
        </p:nvCxnSpPr>
        <p:spPr bwMode="auto">
          <a:xfrm rot="5400000" flipH="1" flipV="1">
            <a:off x="1252681" y="3739065"/>
            <a:ext cx="861949" cy="1258230"/>
          </a:xfrm>
          <a:prstGeom prst="bentConnector3">
            <a:avLst>
              <a:gd name="adj1" fmla="val 50000"/>
            </a:avLst>
          </a:prstGeom>
          <a:noFill/>
          <a:ln w="6350">
            <a:solidFill>
              <a:srgbClr val="53565A"/>
            </a:solidFill>
            <a:miter lim="800000"/>
            <a:headEnd/>
            <a:tailEnd/>
          </a:ln>
        </p:spPr>
      </p:cxnSp>
      <p:cxnSp>
        <p:nvCxnSpPr>
          <p:cNvPr id="46" name="AutoShape 19"/>
          <p:cNvCxnSpPr>
            <a:cxnSpLocks noChangeShapeType="1"/>
            <a:stCxn id="39" idx="2"/>
            <a:endCxn id="33" idx="0"/>
          </p:cNvCxnSpPr>
          <p:nvPr/>
        </p:nvCxnSpPr>
        <p:spPr bwMode="auto">
          <a:xfrm rot="16200000" flipH="1">
            <a:off x="2513046" y="3736929"/>
            <a:ext cx="861949" cy="1262500"/>
          </a:xfrm>
          <a:prstGeom prst="bentConnector3">
            <a:avLst>
              <a:gd name="adj1" fmla="val 50000"/>
            </a:avLst>
          </a:prstGeom>
          <a:noFill/>
          <a:ln w="6350">
            <a:solidFill>
              <a:srgbClr val="53565A"/>
            </a:solidFill>
            <a:miter lim="800000"/>
            <a:headEnd/>
            <a:tailEnd/>
          </a:ln>
        </p:spPr>
      </p:cxnSp>
      <p:cxnSp>
        <p:nvCxnSpPr>
          <p:cNvPr id="47" name="AutoShape 20"/>
          <p:cNvCxnSpPr>
            <a:cxnSpLocks noChangeShapeType="1"/>
            <a:stCxn id="34" idx="0"/>
            <a:endCxn id="40" idx="2"/>
          </p:cNvCxnSpPr>
          <p:nvPr/>
        </p:nvCxnSpPr>
        <p:spPr bwMode="auto">
          <a:xfrm rot="5400000" flipH="1" flipV="1">
            <a:off x="5032757" y="3740085"/>
            <a:ext cx="861949" cy="1256193"/>
          </a:xfrm>
          <a:prstGeom prst="bentConnector3">
            <a:avLst>
              <a:gd name="adj1" fmla="val 50000"/>
            </a:avLst>
          </a:prstGeom>
          <a:noFill/>
          <a:ln w="6350">
            <a:solidFill>
              <a:srgbClr val="53565A"/>
            </a:solidFill>
            <a:miter lim="800000"/>
            <a:headEnd/>
            <a:tailEnd/>
          </a:ln>
        </p:spPr>
      </p:cxnSp>
      <p:cxnSp>
        <p:nvCxnSpPr>
          <p:cNvPr id="48" name="AutoShape 21"/>
          <p:cNvCxnSpPr>
            <a:cxnSpLocks noChangeShapeType="1"/>
            <a:stCxn id="40" idx="2"/>
            <a:endCxn id="36" idx="0"/>
          </p:cNvCxnSpPr>
          <p:nvPr/>
        </p:nvCxnSpPr>
        <p:spPr bwMode="auto">
          <a:xfrm rot="16200000" flipH="1">
            <a:off x="6293122" y="3735911"/>
            <a:ext cx="861949" cy="1264538"/>
          </a:xfrm>
          <a:prstGeom prst="bentConnector3">
            <a:avLst>
              <a:gd name="adj1" fmla="val 50000"/>
            </a:avLst>
          </a:prstGeom>
          <a:noFill/>
          <a:ln w="6350">
            <a:solidFill>
              <a:srgbClr val="53565A"/>
            </a:solidFill>
            <a:miter lim="800000"/>
            <a:headEnd/>
            <a:tailEnd/>
          </a:ln>
        </p:spPr>
      </p:cxnSp>
      <p:cxnSp>
        <p:nvCxnSpPr>
          <p:cNvPr id="49" name="AutoShape 22"/>
          <p:cNvCxnSpPr>
            <a:cxnSpLocks noChangeShapeType="1"/>
            <a:stCxn id="37" idx="0"/>
            <a:endCxn id="41" idx="2"/>
          </p:cNvCxnSpPr>
          <p:nvPr/>
        </p:nvCxnSpPr>
        <p:spPr bwMode="auto">
          <a:xfrm rot="5400000" flipH="1" flipV="1">
            <a:off x="8814997" y="3738939"/>
            <a:ext cx="861949" cy="1258481"/>
          </a:xfrm>
          <a:prstGeom prst="bentConnector3">
            <a:avLst>
              <a:gd name="adj1" fmla="val 50000"/>
            </a:avLst>
          </a:prstGeom>
          <a:noFill/>
          <a:ln w="6350">
            <a:solidFill>
              <a:srgbClr val="53565A"/>
            </a:solidFill>
            <a:miter lim="800000"/>
            <a:headEnd/>
            <a:tailEnd/>
          </a:ln>
        </p:spPr>
      </p:cxnSp>
      <p:cxnSp>
        <p:nvCxnSpPr>
          <p:cNvPr id="50" name="AutoShape 23"/>
          <p:cNvCxnSpPr>
            <a:cxnSpLocks noChangeShapeType="1"/>
            <a:stCxn id="41" idx="2"/>
            <a:endCxn id="54" idx="0"/>
          </p:cNvCxnSpPr>
          <p:nvPr/>
        </p:nvCxnSpPr>
        <p:spPr bwMode="auto">
          <a:xfrm rot="16200000" flipH="1">
            <a:off x="10075362" y="3737055"/>
            <a:ext cx="861949" cy="1262249"/>
          </a:xfrm>
          <a:prstGeom prst="bentConnector3">
            <a:avLst>
              <a:gd name="adj1" fmla="val 50000"/>
            </a:avLst>
          </a:prstGeom>
          <a:noFill/>
          <a:ln w="6350">
            <a:solidFill>
              <a:srgbClr val="53565A"/>
            </a:solidFill>
            <a:miter lim="800000"/>
            <a:headEnd/>
            <a:tailEnd/>
          </a:ln>
        </p:spPr>
      </p:cxnSp>
      <p:cxnSp>
        <p:nvCxnSpPr>
          <p:cNvPr id="51" name="AutoShape 24"/>
          <p:cNvCxnSpPr>
            <a:cxnSpLocks noChangeShapeType="1"/>
            <a:stCxn id="32" idx="0"/>
            <a:endCxn id="39" idx="2"/>
          </p:cNvCxnSpPr>
          <p:nvPr/>
        </p:nvCxnSpPr>
        <p:spPr bwMode="auto">
          <a:xfrm flipH="1" flipV="1">
            <a:off x="2312769" y="3937206"/>
            <a:ext cx="2135" cy="861949"/>
          </a:xfrm>
          <a:prstGeom prst="straightConnector1">
            <a:avLst/>
          </a:prstGeom>
          <a:noFill/>
          <a:ln w="6350">
            <a:solidFill>
              <a:srgbClr val="53565A"/>
            </a:solidFill>
            <a:round/>
            <a:headEnd/>
            <a:tailEnd/>
          </a:ln>
        </p:spPr>
      </p:cxnSp>
      <p:cxnSp>
        <p:nvCxnSpPr>
          <p:cNvPr id="52" name="AutoShape 25"/>
          <p:cNvCxnSpPr>
            <a:cxnSpLocks noChangeShapeType="1"/>
            <a:stCxn id="35" idx="0"/>
            <a:endCxn id="40" idx="2"/>
          </p:cNvCxnSpPr>
          <p:nvPr/>
        </p:nvCxnSpPr>
        <p:spPr bwMode="auto">
          <a:xfrm flipH="1" flipV="1">
            <a:off x="6091826" y="3937206"/>
            <a:ext cx="4172" cy="861949"/>
          </a:xfrm>
          <a:prstGeom prst="straightConnector1">
            <a:avLst/>
          </a:prstGeom>
          <a:noFill/>
          <a:ln w="6350">
            <a:solidFill>
              <a:srgbClr val="53565A"/>
            </a:solidFill>
            <a:round/>
            <a:headEnd/>
            <a:tailEnd/>
          </a:ln>
        </p:spPr>
      </p:cxnSp>
      <p:cxnSp>
        <p:nvCxnSpPr>
          <p:cNvPr id="53" name="AutoShape 26"/>
          <p:cNvCxnSpPr>
            <a:cxnSpLocks noChangeShapeType="1"/>
            <a:stCxn id="38" idx="0"/>
            <a:endCxn id="41" idx="2"/>
          </p:cNvCxnSpPr>
          <p:nvPr/>
        </p:nvCxnSpPr>
        <p:spPr bwMode="auto">
          <a:xfrm flipH="1" flipV="1">
            <a:off x="9875211" y="3937206"/>
            <a:ext cx="1884" cy="861949"/>
          </a:xfrm>
          <a:prstGeom prst="straightConnector1">
            <a:avLst/>
          </a:prstGeom>
          <a:noFill/>
          <a:ln w="6350">
            <a:solidFill>
              <a:srgbClr val="53565A"/>
            </a:solidFill>
            <a:miter lim="800000"/>
            <a:headEnd/>
            <a:tailEnd/>
          </a:ln>
        </p:spPr>
      </p:cxnSp>
      <p:sp>
        <p:nvSpPr>
          <p:cNvPr id="54" name="Rectangle 53"/>
          <p:cNvSpPr>
            <a:spLocks noChangeArrowheads="1"/>
          </p:cNvSpPr>
          <p:nvPr/>
        </p:nvSpPr>
        <p:spPr bwMode="auto">
          <a:xfrm>
            <a:off x="10610920" y="4799154"/>
            <a:ext cx="1053078" cy="731520"/>
          </a:xfrm>
          <a:prstGeom prst="rect">
            <a:avLst/>
          </a:prstGeom>
          <a:noFill/>
          <a:ln w="12700" algn="ctr">
            <a:solidFill>
              <a:schemeClr val="tx1"/>
            </a:solidFill>
            <a:miter lim="800000"/>
            <a:headEnd type="none" w="sm" len="sm"/>
            <a:tailEnd type="none" w="sm" len="sm"/>
          </a:ln>
        </p:spPr>
        <p:txBody>
          <a:bodyPr wrap="square" lIns="88900" tIns="88900" rIns="88900" bIns="88900" anchor="ctr"/>
          <a:lstStyle/>
          <a:p>
            <a:pPr algn="ctr">
              <a:spcBef>
                <a:spcPts val="200"/>
              </a:spcBef>
            </a:pPr>
            <a:r>
              <a:rPr lang="en-GB" altLang="ja-JP" sz="1200" dirty="0">
                <a:ea typeface="ＭＳ Ｐゴシック" pitchFamily="50" charset="-128"/>
                <a:cs typeface="Arial" pitchFamily="34" charset="0"/>
              </a:rPr>
              <a:t>Text</a:t>
            </a:r>
          </a:p>
        </p:txBody>
      </p:sp>
      <p:sp>
        <p:nvSpPr>
          <p:cNvPr id="29" name="Text Box 12">
            <a:extLst>
              <a:ext uri="{FF2B5EF4-FFF2-40B4-BE49-F238E27FC236}">
                <a16:creationId xmlns:a16="http://schemas.microsoft.com/office/drawing/2014/main" id="{3D657026-9295-4D45-839D-0709E40CE90E}"/>
              </a:ext>
            </a:extLst>
          </p:cNvPr>
          <p:cNvSpPr txBox="1">
            <a:spLocks noChangeArrowheads="1"/>
          </p:cNvSpPr>
          <p:nvPr/>
        </p:nvSpPr>
        <p:spPr bwMode="auto">
          <a:xfrm>
            <a:off x="9002233" y="0"/>
            <a:ext cx="3189767" cy="949569"/>
          </a:xfrm>
          <a:prstGeom prst="rect">
            <a:avLst/>
          </a:prstGeom>
          <a:solidFill>
            <a:srgbClr val="FFCD00"/>
          </a:solidFill>
          <a:ln w="6350" algn="ctr">
            <a:noFill/>
            <a:miter lim="800000"/>
            <a:headEnd/>
            <a:tailEnd/>
          </a:ln>
        </p:spPr>
        <p:txBody>
          <a:bodyPr wrap="square" lIns="88900" tIns="88900" rIns="88900" bIns="88900">
            <a:noAutofit/>
          </a:bodyPr>
          <a:lstStyle/>
          <a:p>
            <a:pPr>
              <a:defRPr/>
            </a:pPr>
            <a:r>
              <a:rPr lang="en-US" sz="1000" b="1" dirty="0">
                <a:solidFill>
                  <a:schemeClr val="bg1"/>
                </a:solidFill>
                <a:ea typeface="ＭＳ Ｐゴシック" pitchFamily="50" charset="-128"/>
              </a:rPr>
              <a:t>Note: </a:t>
            </a:r>
          </a:p>
          <a:p>
            <a:pPr>
              <a:defRPr/>
            </a:pPr>
            <a:r>
              <a:rPr lang="en-US" sz="1000" dirty="0">
                <a:solidFill>
                  <a:schemeClr val="bg1"/>
                </a:solidFill>
                <a:ea typeface="ＭＳ Ｐゴシック" pitchFamily="50" charset="-128"/>
              </a:rPr>
              <a:t>Use the Connectors under AutoShapes to connect additional boxes. Use Align and Distribute in the Draw toolbar to properly position the boxes on the page. Work from right to left: first align, then distribute</a:t>
            </a:r>
          </a:p>
        </p:txBody>
      </p:sp>
    </p:spTree>
    <p:extLst>
      <p:ext uri="{BB962C8B-B14F-4D97-AF65-F5344CB8AC3E}">
        <p14:creationId xmlns:p14="http://schemas.microsoft.com/office/powerpoint/2010/main" val="347300532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dirty="0"/>
              <a:t>Tables with text</a:t>
            </a:r>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2985089655"/>
              </p:ext>
            </p:extLst>
          </p:nvPr>
        </p:nvGraphicFramePr>
        <p:xfrm>
          <a:off x="501650" y="2052638"/>
          <a:ext cx="11188700" cy="3729120"/>
        </p:xfrm>
        <a:graphic>
          <a:graphicData uri="http://schemas.openxmlformats.org/drawingml/2006/table">
            <a:tbl>
              <a:tblPr firstRow="1" bandRow="1">
                <a:tableStyleId>{5C22544A-7EE6-4342-B048-85BDC9FD1C3A}</a:tableStyleId>
              </a:tblPr>
              <a:tblGrid>
                <a:gridCol w="2797175">
                  <a:extLst>
                    <a:ext uri="{9D8B030D-6E8A-4147-A177-3AD203B41FA5}">
                      <a16:colId xmlns:a16="http://schemas.microsoft.com/office/drawing/2014/main" val="20000"/>
                    </a:ext>
                  </a:extLst>
                </a:gridCol>
                <a:gridCol w="2797175">
                  <a:extLst>
                    <a:ext uri="{9D8B030D-6E8A-4147-A177-3AD203B41FA5}">
                      <a16:colId xmlns:a16="http://schemas.microsoft.com/office/drawing/2014/main" val="20001"/>
                    </a:ext>
                  </a:extLst>
                </a:gridCol>
                <a:gridCol w="2797175">
                  <a:extLst>
                    <a:ext uri="{9D8B030D-6E8A-4147-A177-3AD203B41FA5}">
                      <a16:colId xmlns:a16="http://schemas.microsoft.com/office/drawing/2014/main" val="20002"/>
                    </a:ext>
                  </a:extLst>
                </a:gridCol>
                <a:gridCol w="2797175">
                  <a:extLst>
                    <a:ext uri="{9D8B030D-6E8A-4147-A177-3AD203B41FA5}">
                      <a16:colId xmlns:a16="http://schemas.microsoft.com/office/drawing/2014/main" val="20003"/>
                    </a:ext>
                  </a:extLst>
                </a:gridCol>
              </a:tblGrid>
              <a:tr h="466140">
                <a:tc>
                  <a:txBody>
                    <a:bodyPr/>
                    <a:lstStyle/>
                    <a:p>
                      <a:r>
                        <a:rPr lang="en-GB" sz="1300" b="1" dirty="0">
                          <a:solidFill>
                            <a:schemeClr val="accent1"/>
                          </a:solidFill>
                          <a:latin typeface="+mj-lt"/>
                        </a:rPr>
                        <a:t>Section 1</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Section 2</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Section 3</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Section 4</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a:t>
                      </a:r>
                      <a:r>
                        <a:rPr lang="en-GB" sz="1300" baseline="0" dirty="0">
                          <a:solidFill>
                            <a:schemeClr val="tx1"/>
                          </a:solidFill>
                        </a:rPr>
                        <a:t> here</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Text here</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6140">
                <a:tc>
                  <a:txBody>
                    <a:bodyPr/>
                    <a:lstStyle/>
                    <a:p>
                      <a:r>
                        <a:rPr lang="en-GB" sz="1300" dirty="0">
                          <a:solidFill>
                            <a:schemeClr val="tx1"/>
                          </a:solidFill>
                        </a:rPr>
                        <a:t>Result</a:t>
                      </a:r>
                      <a:r>
                        <a:rPr lang="en-GB" sz="1300" baseline="0" dirty="0">
                          <a:solidFill>
                            <a:schemeClr val="tx1"/>
                          </a:solidFill>
                        </a:rPr>
                        <a:t> 1</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Result</a:t>
                      </a:r>
                      <a:r>
                        <a:rPr lang="en-GB" sz="1300" baseline="0" dirty="0">
                          <a:solidFill>
                            <a:schemeClr val="tx1"/>
                          </a:solidFill>
                        </a:rPr>
                        <a:t> 2</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Result 3</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dirty="0">
                          <a:solidFill>
                            <a:schemeClr val="tx1"/>
                          </a:solidFill>
                        </a:rPr>
                        <a:t>Result 4</a:t>
                      </a: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12" name="Text Placeholder 11"/>
          <p:cNvSpPr>
            <a:spLocks noGrp="1"/>
          </p:cNvSpPr>
          <p:nvPr>
            <p:ph type="body" sz="quarter" idx="18"/>
          </p:nvPr>
        </p:nvSpPr>
        <p:spPr/>
        <p:txBody>
          <a:bodyPr/>
          <a:lstStyle/>
          <a:p>
            <a:r>
              <a:rPr lang="en-US" dirty="0"/>
              <a:t>Table title runs here</a:t>
            </a:r>
          </a:p>
        </p:txBody>
      </p:sp>
      <p:sp>
        <p:nvSpPr>
          <p:cNvPr id="5" name="Text Placeholder 4"/>
          <p:cNvSpPr>
            <a:spLocks noGrp="1"/>
          </p:cNvSpPr>
          <p:nvPr>
            <p:ph type="body" sz="quarter" idx="23"/>
          </p:nvPr>
        </p:nvSpPr>
        <p:spPr/>
        <p:txBody>
          <a:bodyPr>
            <a:normAutofit lnSpcReduction="10000"/>
          </a:bodyPr>
          <a:lstStyle/>
          <a:p>
            <a:r>
              <a:rPr lang="en-GB"/>
              <a:t>Source:</a:t>
            </a:r>
          </a:p>
          <a:p>
            <a:r>
              <a:rPr lang="en-GB"/>
              <a:t>Note:</a:t>
            </a:r>
            <a:endParaRPr lang="en-GB"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1319181924"/>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Hypothesis or summary tree</a:t>
            </a:r>
          </a:p>
        </p:txBody>
      </p:sp>
      <p:sp>
        <p:nvSpPr>
          <p:cNvPr id="240645" name="Title 1"/>
          <p:cNvSpPr>
            <a:spLocks noGrp="1"/>
          </p:cNvSpPr>
          <p:nvPr>
            <p:ph type="title"/>
          </p:nvPr>
        </p:nvSpPr>
        <p:spPr/>
        <p:txBody>
          <a:bodyPr/>
          <a:lstStyle/>
          <a:p>
            <a:r>
              <a:rPr lang="en-US"/>
              <a:t>Logic trees </a:t>
            </a:r>
            <a:endParaRPr lang="en-US" dirty="0"/>
          </a:p>
        </p:txBody>
      </p:sp>
      <p:sp>
        <p:nvSpPr>
          <p:cNvPr id="24" name="Text Box 10"/>
          <p:cNvSpPr txBox="1">
            <a:spLocks noChangeArrowheads="1"/>
          </p:cNvSpPr>
          <p:nvPr/>
        </p:nvSpPr>
        <p:spPr bwMode="auto">
          <a:xfrm>
            <a:off x="502494" y="1611785"/>
            <a:ext cx="2553749" cy="457200"/>
          </a:xfrm>
          <a:prstGeom prst="rect">
            <a:avLst/>
          </a:prstGeom>
          <a:solidFill>
            <a:schemeClr val="tx1"/>
          </a:solidFill>
          <a:ln w="12700" algn="ctr">
            <a:noFill/>
            <a:miter lim="800000"/>
            <a:headEnd/>
            <a:tailEnd type="none" w="sm" len="med"/>
          </a:ln>
        </p:spPr>
        <p:txBody>
          <a:bodyPr lIns="88900" tIns="88900" rIns="88900" bIns="88900" anchor="ctr" anchorCtr="0"/>
          <a:lstStyle/>
          <a:p>
            <a:pPr defTabSz="957263">
              <a:spcBef>
                <a:spcPts val="200"/>
              </a:spcBef>
            </a:pPr>
            <a:r>
              <a:rPr lang="en-US" dirty="0">
                <a:solidFill>
                  <a:schemeClr val="bg1"/>
                </a:solidFill>
                <a:cs typeface="Arial" pitchFamily="34" charset="0"/>
              </a:rPr>
              <a:t>Introduction</a:t>
            </a:r>
          </a:p>
        </p:txBody>
      </p:sp>
      <p:sp>
        <p:nvSpPr>
          <p:cNvPr id="25" name="Rectangle 11"/>
          <p:cNvSpPr>
            <a:spLocks noChangeArrowheads="1"/>
          </p:cNvSpPr>
          <p:nvPr/>
        </p:nvSpPr>
        <p:spPr bwMode="auto">
          <a:xfrm>
            <a:off x="502494" y="2070900"/>
            <a:ext cx="2553749" cy="1020512"/>
          </a:xfrm>
          <a:prstGeom prst="rect">
            <a:avLst/>
          </a:prstGeom>
          <a:solidFill>
            <a:srgbClr val="DDEFE8"/>
          </a:solidFill>
          <a:ln w="12700" algn="ctr">
            <a:noFill/>
            <a:miter lim="800000"/>
            <a:headEnd/>
            <a:tailEnd/>
          </a:ln>
        </p:spPr>
        <p:txBody>
          <a:bodyPr lIns="88900" tIns="88900" rIns="88900" bIns="88900" anchor="t" anchorCtr="0"/>
          <a:lstStyle/>
          <a:p>
            <a:pPr marL="114300" lvl="1" indent="-114300" defTabSz="957263">
              <a:spcBef>
                <a:spcPts val="200"/>
              </a:spcBef>
              <a:spcAft>
                <a:spcPts val="300"/>
              </a:spcAft>
              <a:buSzPct val="100000"/>
              <a:buFont typeface="Arial"/>
              <a:buChar char="•"/>
            </a:pPr>
            <a:r>
              <a:rPr lang="en-US" sz="1400" dirty="0">
                <a:cs typeface="Arial" pitchFamily="34" charset="0"/>
              </a:rPr>
              <a:t>Situation: Text</a:t>
            </a:r>
          </a:p>
          <a:p>
            <a:pPr marL="114300" lvl="1" indent="-114300" defTabSz="957263">
              <a:spcBef>
                <a:spcPts val="200"/>
              </a:spcBef>
              <a:spcAft>
                <a:spcPts val="300"/>
              </a:spcAft>
              <a:buSzPct val="100000"/>
              <a:buFont typeface="Arial"/>
              <a:buChar char="•"/>
            </a:pPr>
            <a:r>
              <a:rPr lang="en-US" sz="1400" dirty="0">
                <a:cs typeface="Arial" pitchFamily="34" charset="0"/>
              </a:rPr>
              <a:t>Complication: Text</a:t>
            </a:r>
          </a:p>
          <a:p>
            <a:pPr marL="114300" lvl="1" indent="-114300" defTabSz="957263">
              <a:spcBef>
                <a:spcPts val="200"/>
              </a:spcBef>
              <a:spcAft>
                <a:spcPts val="300"/>
              </a:spcAft>
              <a:buSzPct val="100000"/>
              <a:buFont typeface="Arial"/>
              <a:buChar char="•"/>
            </a:pPr>
            <a:r>
              <a:rPr lang="en-US" sz="1400" dirty="0">
                <a:cs typeface="Arial" pitchFamily="34" charset="0"/>
              </a:rPr>
              <a:t>Question: Text</a:t>
            </a:r>
          </a:p>
        </p:txBody>
      </p:sp>
      <p:sp>
        <p:nvSpPr>
          <p:cNvPr id="27" name="Text Box 10"/>
          <p:cNvSpPr txBox="1">
            <a:spLocks noChangeArrowheads="1"/>
          </p:cNvSpPr>
          <p:nvPr/>
        </p:nvSpPr>
        <p:spPr bwMode="auto">
          <a:xfrm>
            <a:off x="502494" y="3314319"/>
            <a:ext cx="2553749" cy="457200"/>
          </a:xfrm>
          <a:prstGeom prst="rect">
            <a:avLst/>
          </a:prstGeom>
          <a:solidFill>
            <a:schemeClr val="tx1"/>
          </a:solidFill>
          <a:ln w="12700" algn="ctr">
            <a:no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28" name="Rectangle 11"/>
          <p:cNvSpPr>
            <a:spLocks noChangeArrowheads="1"/>
          </p:cNvSpPr>
          <p:nvPr/>
        </p:nvSpPr>
        <p:spPr bwMode="auto">
          <a:xfrm>
            <a:off x="501650" y="3777633"/>
            <a:ext cx="2553749" cy="591195"/>
          </a:xfrm>
          <a:prstGeom prst="rect">
            <a:avLst/>
          </a:prstGeom>
          <a:solidFill>
            <a:srgbClr val="DDEFE8"/>
          </a:solidFill>
          <a:ln w="12700" algn="ctr">
            <a:no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29" name="Text Box 10"/>
          <p:cNvSpPr txBox="1">
            <a:spLocks noChangeArrowheads="1"/>
          </p:cNvSpPr>
          <p:nvPr/>
        </p:nvSpPr>
        <p:spPr bwMode="auto">
          <a:xfrm>
            <a:off x="3380530" y="1611785"/>
            <a:ext cx="8305766" cy="457200"/>
          </a:xfrm>
          <a:prstGeom prst="rect">
            <a:avLst/>
          </a:prstGeom>
          <a:solidFill>
            <a:schemeClr val="tx1"/>
          </a:solidFill>
          <a:ln w="12700" algn="ctr">
            <a:noFill/>
            <a:miter lim="800000"/>
            <a:headEnd/>
            <a:tailEnd type="none" w="sm" len="med"/>
          </a:ln>
        </p:spPr>
        <p:txBody>
          <a:bodyPr lIns="88900" tIns="88900" rIns="88900" bIns="88900" anchor="ctr" anchorCtr="0"/>
          <a:lstStyle/>
          <a:p>
            <a:pPr defTabSz="957263">
              <a:spcBef>
                <a:spcPts val="200"/>
              </a:spcBef>
            </a:pPr>
            <a:r>
              <a:rPr lang="en-US" dirty="0">
                <a:solidFill>
                  <a:schemeClr val="bg1"/>
                </a:solidFill>
                <a:cs typeface="Arial" pitchFamily="34" charset="0"/>
              </a:rPr>
              <a:t>Answer</a:t>
            </a:r>
          </a:p>
        </p:txBody>
      </p:sp>
      <p:sp>
        <p:nvSpPr>
          <p:cNvPr id="30" name="Rectangle 11"/>
          <p:cNvSpPr>
            <a:spLocks noChangeArrowheads="1"/>
          </p:cNvSpPr>
          <p:nvPr/>
        </p:nvSpPr>
        <p:spPr bwMode="auto">
          <a:xfrm>
            <a:off x="3380530" y="2070900"/>
            <a:ext cx="8305766" cy="1020512"/>
          </a:xfrm>
          <a:prstGeom prst="rect">
            <a:avLst/>
          </a:prstGeom>
          <a:solidFill>
            <a:srgbClr val="DDEFE8"/>
          </a:solidFill>
          <a:ln w="12700" algn="ctr">
            <a:noFill/>
            <a:miter lim="800000"/>
            <a:headEnd/>
            <a:tailEnd/>
          </a:ln>
        </p:spPr>
        <p:txBody>
          <a:bodyPr lIns="88900" tIns="88900" rIns="88900" bIns="88900" anchor="t" anchorCtr="0"/>
          <a:lstStyle/>
          <a:p>
            <a:pPr defTabSz="957263">
              <a:spcBef>
                <a:spcPts val="200"/>
              </a:spcBef>
              <a:spcAft>
                <a:spcPts val="300"/>
              </a:spcAft>
            </a:pPr>
            <a:r>
              <a:rPr lang="fr-FR" sz="1400" dirty="0">
                <a:cs typeface="Arial" pitchFamily="34" charset="0"/>
              </a:rPr>
              <a:t>Main hypothesis</a:t>
            </a:r>
          </a:p>
        </p:txBody>
      </p:sp>
      <p:sp>
        <p:nvSpPr>
          <p:cNvPr id="31" name="Text Box 10"/>
          <p:cNvSpPr txBox="1">
            <a:spLocks noChangeArrowheads="1"/>
          </p:cNvSpPr>
          <p:nvPr/>
        </p:nvSpPr>
        <p:spPr bwMode="auto">
          <a:xfrm>
            <a:off x="3380530" y="3314319"/>
            <a:ext cx="2553749" cy="457200"/>
          </a:xfrm>
          <a:prstGeom prst="rect">
            <a:avLst/>
          </a:prstGeom>
          <a:solidFill>
            <a:schemeClr val="tx1"/>
          </a:solidFill>
          <a:ln w="12700" algn="ctr">
            <a:no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5" name="Rectangle 11"/>
          <p:cNvSpPr>
            <a:spLocks noChangeArrowheads="1"/>
          </p:cNvSpPr>
          <p:nvPr/>
        </p:nvSpPr>
        <p:spPr bwMode="auto">
          <a:xfrm>
            <a:off x="3379967" y="3777633"/>
            <a:ext cx="2553749" cy="591195"/>
          </a:xfrm>
          <a:prstGeom prst="rect">
            <a:avLst/>
          </a:prstGeom>
          <a:solidFill>
            <a:srgbClr val="DDEFE8"/>
          </a:solidFill>
          <a:ln w="12700" algn="ctr">
            <a:no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36" name="Text Box 10"/>
          <p:cNvSpPr txBox="1">
            <a:spLocks noChangeArrowheads="1"/>
          </p:cNvSpPr>
          <p:nvPr/>
        </p:nvSpPr>
        <p:spPr bwMode="auto">
          <a:xfrm>
            <a:off x="6258565" y="3314319"/>
            <a:ext cx="2553749" cy="457200"/>
          </a:xfrm>
          <a:prstGeom prst="rect">
            <a:avLst/>
          </a:prstGeom>
          <a:solidFill>
            <a:schemeClr val="tx1"/>
          </a:solidFill>
          <a:ln w="12700" algn="ctr">
            <a:no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7" name="Rectangle 11"/>
          <p:cNvSpPr>
            <a:spLocks noChangeArrowheads="1"/>
          </p:cNvSpPr>
          <p:nvPr/>
        </p:nvSpPr>
        <p:spPr bwMode="auto">
          <a:xfrm>
            <a:off x="6258284" y="3777633"/>
            <a:ext cx="2553749" cy="591195"/>
          </a:xfrm>
          <a:prstGeom prst="rect">
            <a:avLst/>
          </a:prstGeom>
          <a:solidFill>
            <a:srgbClr val="DDEFE8"/>
          </a:solidFill>
          <a:ln w="12700" algn="ctr">
            <a:no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38" name="Text Box 10"/>
          <p:cNvSpPr txBox="1">
            <a:spLocks noChangeArrowheads="1"/>
          </p:cNvSpPr>
          <p:nvPr/>
        </p:nvSpPr>
        <p:spPr bwMode="auto">
          <a:xfrm>
            <a:off x="9136600" y="3314319"/>
            <a:ext cx="2553749" cy="457200"/>
          </a:xfrm>
          <a:prstGeom prst="rect">
            <a:avLst/>
          </a:prstGeom>
          <a:solidFill>
            <a:schemeClr val="tx1"/>
          </a:solidFill>
          <a:ln w="12700" algn="ctr">
            <a:no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9" name="Rectangle 11"/>
          <p:cNvSpPr>
            <a:spLocks noChangeArrowheads="1"/>
          </p:cNvSpPr>
          <p:nvPr/>
        </p:nvSpPr>
        <p:spPr bwMode="auto">
          <a:xfrm>
            <a:off x="9136600" y="3777633"/>
            <a:ext cx="2553749" cy="591195"/>
          </a:xfrm>
          <a:prstGeom prst="rect">
            <a:avLst/>
          </a:prstGeom>
          <a:solidFill>
            <a:srgbClr val="DDEFE8"/>
          </a:solidFill>
          <a:ln w="12700" algn="ctr">
            <a:no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40" name="Text Placeholder 31"/>
          <p:cNvSpPr txBox="1">
            <a:spLocks/>
          </p:cNvSpPr>
          <p:nvPr/>
        </p:nvSpPr>
        <p:spPr bwMode="auto">
          <a:xfrm>
            <a:off x="502494"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7" name="Isosceles Triangle 6"/>
          <p:cNvSpPr/>
          <p:nvPr/>
        </p:nvSpPr>
        <p:spPr bwMode="gray">
          <a:xfrm rot="5400000">
            <a:off x="3081227" y="2509842"/>
            <a:ext cx="274320" cy="121607"/>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Text Placeholder 31"/>
          <p:cNvSpPr txBox="1">
            <a:spLocks/>
          </p:cNvSpPr>
          <p:nvPr/>
        </p:nvSpPr>
        <p:spPr bwMode="auto">
          <a:xfrm>
            <a:off x="3380530"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45" name="Text Placeholder 31"/>
          <p:cNvSpPr txBox="1">
            <a:spLocks/>
          </p:cNvSpPr>
          <p:nvPr/>
        </p:nvSpPr>
        <p:spPr bwMode="auto">
          <a:xfrm>
            <a:off x="6258565"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46" name="Text Placeholder 31"/>
          <p:cNvSpPr txBox="1">
            <a:spLocks/>
          </p:cNvSpPr>
          <p:nvPr/>
        </p:nvSpPr>
        <p:spPr bwMode="auto">
          <a:xfrm>
            <a:off x="9136600"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Tree>
    <p:extLst>
      <p:ext uri="{BB962C8B-B14F-4D97-AF65-F5344CB8AC3E}">
        <p14:creationId xmlns:p14="http://schemas.microsoft.com/office/powerpoint/2010/main" val="1291501890"/>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Hypothesis or summary tree</a:t>
            </a:r>
          </a:p>
        </p:txBody>
      </p:sp>
      <p:sp>
        <p:nvSpPr>
          <p:cNvPr id="240645" name="Title 1"/>
          <p:cNvSpPr>
            <a:spLocks noGrp="1"/>
          </p:cNvSpPr>
          <p:nvPr>
            <p:ph type="title"/>
          </p:nvPr>
        </p:nvSpPr>
        <p:spPr/>
        <p:txBody>
          <a:bodyPr/>
          <a:lstStyle/>
          <a:p>
            <a:r>
              <a:rPr lang="en-US"/>
              <a:t>Logic trees </a:t>
            </a:r>
            <a:endParaRPr lang="en-US" dirty="0"/>
          </a:p>
        </p:txBody>
      </p:sp>
      <p:sp>
        <p:nvSpPr>
          <p:cNvPr id="24" name="Text Box 10"/>
          <p:cNvSpPr txBox="1">
            <a:spLocks noChangeArrowheads="1"/>
          </p:cNvSpPr>
          <p:nvPr/>
        </p:nvSpPr>
        <p:spPr bwMode="auto">
          <a:xfrm>
            <a:off x="502494" y="1611785"/>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ctr" anchorCtr="0"/>
          <a:lstStyle/>
          <a:p>
            <a:pPr defTabSz="957263">
              <a:spcBef>
                <a:spcPts val="200"/>
              </a:spcBef>
            </a:pPr>
            <a:r>
              <a:rPr lang="en-US" dirty="0">
                <a:solidFill>
                  <a:schemeClr val="bg1"/>
                </a:solidFill>
                <a:cs typeface="Arial" pitchFamily="34" charset="0"/>
              </a:rPr>
              <a:t>Introduction</a:t>
            </a:r>
          </a:p>
        </p:txBody>
      </p:sp>
      <p:sp>
        <p:nvSpPr>
          <p:cNvPr id="25" name="Rectangle 11"/>
          <p:cNvSpPr>
            <a:spLocks noChangeArrowheads="1"/>
          </p:cNvSpPr>
          <p:nvPr/>
        </p:nvSpPr>
        <p:spPr bwMode="auto">
          <a:xfrm>
            <a:off x="502494" y="2070900"/>
            <a:ext cx="2553749" cy="1020512"/>
          </a:xfrm>
          <a:prstGeom prst="rect">
            <a:avLst/>
          </a:prstGeom>
          <a:noFill/>
          <a:ln w="12700" algn="ctr">
            <a:solidFill>
              <a:schemeClr val="accent1"/>
            </a:solidFill>
            <a:miter lim="800000"/>
            <a:headEnd/>
            <a:tailEnd/>
          </a:ln>
        </p:spPr>
        <p:txBody>
          <a:bodyPr lIns="88900" tIns="88900" rIns="88900" bIns="88900" anchor="t" anchorCtr="0"/>
          <a:lstStyle/>
          <a:p>
            <a:pPr marL="114300" lvl="1" indent="-114300" defTabSz="957263">
              <a:spcBef>
                <a:spcPts val="200"/>
              </a:spcBef>
              <a:spcAft>
                <a:spcPts val="300"/>
              </a:spcAft>
              <a:buSzPct val="100000"/>
              <a:buFont typeface="Arial"/>
              <a:buChar char="•"/>
            </a:pPr>
            <a:r>
              <a:rPr lang="en-US" sz="1400" dirty="0">
                <a:cs typeface="Arial" pitchFamily="34" charset="0"/>
              </a:rPr>
              <a:t>Situation: Text</a:t>
            </a:r>
          </a:p>
          <a:p>
            <a:pPr marL="114300" lvl="1" indent="-114300" defTabSz="957263">
              <a:spcBef>
                <a:spcPts val="200"/>
              </a:spcBef>
              <a:spcAft>
                <a:spcPts val="300"/>
              </a:spcAft>
              <a:buSzPct val="100000"/>
              <a:buFont typeface="Arial"/>
              <a:buChar char="•"/>
            </a:pPr>
            <a:r>
              <a:rPr lang="en-US" sz="1400" dirty="0">
                <a:cs typeface="Arial" pitchFamily="34" charset="0"/>
              </a:rPr>
              <a:t>Complication: Text</a:t>
            </a:r>
          </a:p>
          <a:p>
            <a:pPr marL="114300" lvl="1" indent="-114300" defTabSz="957263">
              <a:spcBef>
                <a:spcPts val="200"/>
              </a:spcBef>
              <a:spcAft>
                <a:spcPts val="300"/>
              </a:spcAft>
              <a:buSzPct val="100000"/>
              <a:buFont typeface="Arial"/>
              <a:buChar char="•"/>
            </a:pPr>
            <a:r>
              <a:rPr lang="en-US" sz="1400" dirty="0">
                <a:cs typeface="Arial" pitchFamily="34" charset="0"/>
              </a:rPr>
              <a:t>Question: Text</a:t>
            </a:r>
          </a:p>
        </p:txBody>
      </p:sp>
      <p:sp>
        <p:nvSpPr>
          <p:cNvPr id="27" name="Text Box 10"/>
          <p:cNvSpPr txBox="1">
            <a:spLocks noChangeArrowheads="1"/>
          </p:cNvSpPr>
          <p:nvPr/>
        </p:nvSpPr>
        <p:spPr bwMode="auto">
          <a:xfrm>
            <a:off x="502494" y="3314319"/>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28" name="Rectangle 11"/>
          <p:cNvSpPr>
            <a:spLocks noChangeArrowheads="1"/>
          </p:cNvSpPr>
          <p:nvPr/>
        </p:nvSpPr>
        <p:spPr bwMode="auto">
          <a:xfrm>
            <a:off x="501650" y="3777633"/>
            <a:ext cx="2553749" cy="591195"/>
          </a:xfrm>
          <a:prstGeom prst="rect">
            <a:avLst/>
          </a:prstGeom>
          <a:noFill/>
          <a:ln w="12700" algn="ctr">
            <a:solidFill>
              <a:schemeClr val="accent1"/>
            </a:solid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29" name="Text Box 10"/>
          <p:cNvSpPr txBox="1">
            <a:spLocks noChangeArrowheads="1"/>
          </p:cNvSpPr>
          <p:nvPr/>
        </p:nvSpPr>
        <p:spPr bwMode="auto">
          <a:xfrm>
            <a:off x="3380530" y="1611785"/>
            <a:ext cx="8305766"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ctr" anchorCtr="0"/>
          <a:lstStyle/>
          <a:p>
            <a:pPr defTabSz="957263">
              <a:spcBef>
                <a:spcPts val="200"/>
              </a:spcBef>
            </a:pPr>
            <a:r>
              <a:rPr lang="en-US" dirty="0">
                <a:solidFill>
                  <a:schemeClr val="bg1"/>
                </a:solidFill>
                <a:cs typeface="Arial" pitchFamily="34" charset="0"/>
              </a:rPr>
              <a:t>Answer</a:t>
            </a:r>
          </a:p>
        </p:txBody>
      </p:sp>
      <p:sp>
        <p:nvSpPr>
          <p:cNvPr id="30" name="Rectangle 11"/>
          <p:cNvSpPr>
            <a:spLocks noChangeArrowheads="1"/>
          </p:cNvSpPr>
          <p:nvPr/>
        </p:nvSpPr>
        <p:spPr bwMode="auto">
          <a:xfrm>
            <a:off x="3380530" y="2070900"/>
            <a:ext cx="8305766" cy="1020512"/>
          </a:xfrm>
          <a:prstGeom prst="rect">
            <a:avLst/>
          </a:prstGeom>
          <a:noFill/>
          <a:ln w="12700" algn="ctr">
            <a:solidFill>
              <a:schemeClr val="accent1"/>
            </a:solidFill>
            <a:miter lim="800000"/>
            <a:headEnd/>
            <a:tailEnd/>
          </a:ln>
        </p:spPr>
        <p:txBody>
          <a:bodyPr lIns="88900" tIns="88900" rIns="88900" bIns="88900" anchor="t" anchorCtr="0"/>
          <a:lstStyle/>
          <a:p>
            <a:pPr defTabSz="957263">
              <a:spcBef>
                <a:spcPts val="200"/>
              </a:spcBef>
              <a:spcAft>
                <a:spcPts val="300"/>
              </a:spcAft>
            </a:pPr>
            <a:r>
              <a:rPr lang="fr-FR" sz="1400" dirty="0">
                <a:cs typeface="Arial" pitchFamily="34" charset="0"/>
              </a:rPr>
              <a:t>Main hypothesis</a:t>
            </a:r>
          </a:p>
        </p:txBody>
      </p:sp>
      <p:sp>
        <p:nvSpPr>
          <p:cNvPr id="31" name="Text Box 10"/>
          <p:cNvSpPr txBox="1">
            <a:spLocks noChangeArrowheads="1"/>
          </p:cNvSpPr>
          <p:nvPr/>
        </p:nvSpPr>
        <p:spPr bwMode="auto">
          <a:xfrm>
            <a:off x="3380530" y="3314319"/>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5" name="Rectangle 11"/>
          <p:cNvSpPr>
            <a:spLocks noChangeArrowheads="1"/>
          </p:cNvSpPr>
          <p:nvPr/>
        </p:nvSpPr>
        <p:spPr bwMode="auto">
          <a:xfrm>
            <a:off x="3379967" y="3777633"/>
            <a:ext cx="2553749" cy="591195"/>
          </a:xfrm>
          <a:prstGeom prst="rect">
            <a:avLst/>
          </a:prstGeom>
          <a:noFill/>
          <a:ln w="12700" algn="ctr">
            <a:solidFill>
              <a:schemeClr val="accent1"/>
            </a:solid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36" name="Text Box 10"/>
          <p:cNvSpPr txBox="1">
            <a:spLocks noChangeArrowheads="1"/>
          </p:cNvSpPr>
          <p:nvPr/>
        </p:nvSpPr>
        <p:spPr bwMode="auto">
          <a:xfrm>
            <a:off x="6258565" y="3314319"/>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7" name="Rectangle 11"/>
          <p:cNvSpPr>
            <a:spLocks noChangeArrowheads="1"/>
          </p:cNvSpPr>
          <p:nvPr/>
        </p:nvSpPr>
        <p:spPr bwMode="auto">
          <a:xfrm>
            <a:off x="6258284" y="3777633"/>
            <a:ext cx="2553749" cy="591195"/>
          </a:xfrm>
          <a:prstGeom prst="rect">
            <a:avLst/>
          </a:prstGeom>
          <a:noFill/>
          <a:ln w="12700" algn="ctr">
            <a:solidFill>
              <a:schemeClr val="accent1"/>
            </a:solid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38" name="Text Box 10"/>
          <p:cNvSpPr txBox="1">
            <a:spLocks noChangeArrowheads="1"/>
          </p:cNvSpPr>
          <p:nvPr/>
        </p:nvSpPr>
        <p:spPr bwMode="auto">
          <a:xfrm>
            <a:off x="9136600" y="3314319"/>
            <a:ext cx="2553749" cy="457200"/>
          </a:xfrm>
          <a:prstGeom prst="rect">
            <a:avLst/>
          </a:prstGeom>
          <a:solidFill>
            <a:schemeClr val="accent1"/>
          </a:solidFill>
          <a:ln w="12700" algn="ctr">
            <a:solidFill>
              <a:schemeClr val="accent1"/>
            </a:solidFill>
            <a:miter lim="800000"/>
            <a:headEnd/>
            <a:tailEnd type="none" w="sm" len="med"/>
          </a:ln>
        </p:spPr>
        <p:txBody>
          <a:bodyPr lIns="88900" tIns="88900" rIns="88900" bIns="88900" anchor="t" anchorCtr="0"/>
          <a:lstStyle/>
          <a:p>
            <a:pPr defTabSz="957263">
              <a:spcBef>
                <a:spcPts val="200"/>
              </a:spcBef>
            </a:pPr>
            <a:r>
              <a:rPr lang="en-US" dirty="0">
                <a:solidFill>
                  <a:schemeClr val="bg1"/>
                </a:solidFill>
                <a:cs typeface="Arial" pitchFamily="34" charset="0"/>
              </a:rPr>
              <a:t>Chapter X</a:t>
            </a:r>
          </a:p>
        </p:txBody>
      </p:sp>
      <p:sp>
        <p:nvSpPr>
          <p:cNvPr id="39" name="Rectangle 11"/>
          <p:cNvSpPr>
            <a:spLocks noChangeArrowheads="1"/>
          </p:cNvSpPr>
          <p:nvPr/>
        </p:nvSpPr>
        <p:spPr bwMode="auto">
          <a:xfrm>
            <a:off x="9136600" y="3777633"/>
            <a:ext cx="2553749" cy="591195"/>
          </a:xfrm>
          <a:prstGeom prst="rect">
            <a:avLst/>
          </a:prstGeom>
          <a:noFill/>
          <a:ln w="12700" algn="ctr">
            <a:solidFill>
              <a:schemeClr val="accent1"/>
            </a:solidFill>
            <a:miter lim="800000"/>
            <a:headEnd/>
            <a:tailEnd/>
          </a:ln>
        </p:spPr>
        <p:txBody>
          <a:bodyPr lIns="88900" tIns="88900" rIns="88900" bIns="88900" anchor="t"/>
          <a:lstStyle/>
          <a:p>
            <a:pPr defTabSz="957998">
              <a:spcBef>
                <a:spcPts val="200"/>
              </a:spcBef>
              <a:spcAft>
                <a:spcPts val="300"/>
              </a:spcAft>
              <a:defRPr/>
            </a:pPr>
            <a:r>
              <a:rPr lang="en-US" sz="1400" kern="0" dirty="0">
                <a:cs typeface="Arial" pitchFamily="34" charset="0"/>
              </a:rPr>
              <a:t>Supporting </a:t>
            </a:r>
            <a:r>
              <a:rPr lang="en-US" sz="1400" dirty="0">
                <a:cs typeface="Arial" pitchFamily="34" charset="0"/>
              </a:rPr>
              <a:t>hypothesis</a:t>
            </a:r>
            <a:endParaRPr lang="en-US" sz="1400" kern="0" dirty="0">
              <a:cs typeface="Arial" pitchFamily="34" charset="0"/>
            </a:endParaRPr>
          </a:p>
        </p:txBody>
      </p:sp>
      <p:sp>
        <p:nvSpPr>
          <p:cNvPr id="40" name="Text Placeholder 31"/>
          <p:cNvSpPr txBox="1">
            <a:spLocks/>
          </p:cNvSpPr>
          <p:nvPr/>
        </p:nvSpPr>
        <p:spPr bwMode="auto">
          <a:xfrm>
            <a:off x="502494"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7" name="Isosceles Triangle 6"/>
          <p:cNvSpPr/>
          <p:nvPr/>
        </p:nvSpPr>
        <p:spPr bwMode="gray">
          <a:xfrm rot="5400000">
            <a:off x="3081227" y="2509842"/>
            <a:ext cx="274320" cy="121607"/>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Text Placeholder 31"/>
          <p:cNvSpPr txBox="1">
            <a:spLocks/>
          </p:cNvSpPr>
          <p:nvPr/>
        </p:nvSpPr>
        <p:spPr bwMode="auto">
          <a:xfrm>
            <a:off x="3380530"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45" name="Text Placeholder 31"/>
          <p:cNvSpPr txBox="1">
            <a:spLocks/>
          </p:cNvSpPr>
          <p:nvPr/>
        </p:nvSpPr>
        <p:spPr bwMode="auto">
          <a:xfrm>
            <a:off x="6258565"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
        <p:nvSpPr>
          <p:cNvPr id="46" name="Text Placeholder 31"/>
          <p:cNvSpPr txBox="1">
            <a:spLocks/>
          </p:cNvSpPr>
          <p:nvPr/>
        </p:nvSpPr>
        <p:spPr bwMode="auto">
          <a:xfrm>
            <a:off x="9136600" y="4487922"/>
            <a:ext cx="2553749" cy="148850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1" indent="-114300">
              <a:buSzPct val="100000"/>
              <a:buFont typeface="Arial"/>
              <a:buChar char="•"/>
              <a:defRPr/>
            </a:pPr>
            <a:r>
              <a:rPr lang="en-US" sz="1400" dirty="0"/>
              <a:t>This is a level 1 bullet</a:t>
            </a:r>
          </a:p>
          <a:p>
            <a:pPr marL="254000" lvl="2" indent="-114300">
              <a:buFont typeface="Arial"/>
              <a:buChar char="−"/>
            </a:pPr>
            <a:r>
              <a:rPr lang="en-US" sz="1400" dirty="0"/>
              <a:t>This is a level 2 bullet</a:t>
            </a:r>
          </a:p>
          <a:p>
            <a:pPr marL="393700" lvl="3" indent="-114300">
              <a:buSzPct val="100000"/>
              <a:buFont typeface="Arial"/>
              <a:buChar char="◦"/>
            </a:pPr>
            <a:r>
              <a:rPr lang="en-US" sz="1400" dirty="0"/>
              <a:t>This is a level 3 bullet</a:t>
            </a:r>
          </a:p>
        </p:txBody>
      </p:sp>
    </p:spTree>
    <p:extLst>
      <p:ext uri="{BB962C8B-B14F-4D97-AF65-F5344CB8AC3E}">
        <p14:creationId xmlns:p14="http://schemas.microsoft.com/office/powerpoint/2010/main" val="1566824997"/>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Arrows showing base trends</a:t>
            </a:r>
            <a:endParaRPr lang="en-US" dirty="0"/>
          </a:p>
        </p:txBody>
      </p:sp>
      <p:sp>
        <p:nvSpPr>
          <p:cNvPr id="618497" name="Title 1"/>
          <p:cNvSpPr>
            <a:spLocks noGrp="1"/>
          </p:cNvSpPr>
          <p:nvPr>
            <p:ph type="title"/>
          </p:nvPr>
        </p:nvSpPr>
        <p:spPr/>
        <p:txBody>
          <a:bodyPr/>
          <a:lstStyle/>
          <a:p>
            <a:r>
              <a:rPr lang="en-US" altLang="ja-JP"/>
              <a:t>Driver trees </a:t>
            </a:r>
            <a:endParaRPr lang="en-US" dirty="0"/>
          </a:p>
        </p:txBody>
      </p:sp>
      <p:sp>
        <p:nvSpPr>
          <p:cNvPr id="96" name="Rectangle 95"/>
          <p:cNvSpPr>
            <a:spLocks noChangeArrowheads="1"/>
          </p:cNvSpPr>
          <p:nvPr/>
        </p:nvSpPr>
        <p:spPr bwMode="auto">
          <a:xfrm>
            <a:off x="1889125" y="3374233"/>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97" name="Rectangle 96"/>
          <p:cNvSpPr>
            <a:spLocks noChangeArrowheads="1"/>
          </p:cNvSpPr>
          <p:nvPr/>
        </p:nvSpPr>
        <p:spPr bwMode="auto">
          <a:xfrm>
            <a:off x="3703257" y="2395445"/>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98" name="Rectangle 97"/>
          <p:cNvSpPr>
            <a:spLocks noChangeArrowheads="1"/>
          </p:cNvSpPr>
          <p:nvPr/>
        </p:nvSpPr>
        <p:spPr bwMode="auto">
          <a:xfrm>
            <a:off x="3703257" y="4353021"/>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99" name="Rectangle 98"/>
          <p:cNvSpPr>
            <a:spLocks noChangeArrowheads="1"/>
          </p:cNvSpPr>
          <p:nvPr/>
        </p:nvSpPr>
        <p:spPr bwMode="auto">
          <a:xfrm>
            <a:off x="5517388" y="4353021"/>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100" name="Rectangle 99"/>
          <p:cNvSpPr>
            <a:spLocks noChangeArrowheads="1"/>
          </p:cNvSpPr>
          <p:nvPr/>
        </p:nvSpPr>
        <p:spPr bwMode="auto">
          <a:xfrm>
            <a:off x="5517388" y="3565558"/>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cxnSp>
        <p:nvCxnSpPr>
          <p:cNvPr id="101" name="AutoShape 8"/>
          <p:cNvCxnSpPr>
            <a:cxnSpLocks noChangeShapeType="1"/>
            <a:stCxn id="96" idx="3"/>
            <a:endCxn id="97" idx="1"/>
          </p:cNvCxnSpPr>
          <p:nvPr/>
        </p:nvCxnSpPr>
        <p:spPr bwMode="auto">
          <a:xfrm flipV="1">
            <a:off x="3260725" y="2669765"/>
            <a:ext cx="442532" cy="978788"/>
          </a:xfrm>
          <a:prstGeom prst="bentConnector3">
            <a:avLst>
              <a:gd name="adj1" fmla="val 50000"/>
            </a:avLst>
          </a:prstGeom>
          <a:noFill/>
          <a:ln w="6350">
            <a:solidFill>
              <a:srgbClr val="BBBCBC"/>
            </a:solidFill>
            <a:miter lim="800000"/>
            <a:headEnd type="none" w="sm" len="sm"/>
            <a:tailEnd type="none" w="med" len="lg"/>
          </a:ln>
        </p:spPr>
      </p:cxnSp>
      <p:cxnSp>
        <p:nvCxnSpPr>
          <p:cNvPr id="102" name="AutoShape 9"/>
          <p:cNvCxnSpPr>
            <a:cxnSpLocks noChangeShapeType="1"/>
            <a:stCxn id="96" idx="3"/>
            <a:endCxn id="98" idx="1"/>
          </p:cNvCxnSpPr>
          <p:nvPr/>
        </p:nvCxnSpPr>
        <p:spPr bwMode="auto">
          <a:xfrm>
            <a:off x="3260725" y="3648553"/>
            <a:ext cx="442532" cy="978788"/>
          </a:xfrm>
          <a:prstGeom prst="bentConnector3">
            <a:avLst>
              <a:gd name="adj1" fmla="val 50000"/>
            </a:avLst>
          </a:prstGeom>
          <a:noFill/>
          <a:ln w="6350">
            <a:solidFill>
              <a:srgbClr val="BBBCBC"/>
            </a:solidFill>
            <a:miter lim="800000"/>
            <a:headEnd type="none" w="sm" len="sm"/>
            <a:tailEnd type="none" w="med" len="lg"/>
          </a:ln>
        </p:spPr>
      </p:cxnSp>
      <p:cxnSp>
        <p:nvCxnSpPr>
          <p:cNvPr id="103" name="AutoShape 10"/>
          <p:cNvCxnSpPr>
            <a:cxnSpLocks noChangeShapeType="1"/>
            <a:stCxn id="98" idx="3"/>
            <a:endCxn id="100" idx="1"/>
          </p:cNvCxnSpPr>
          <p:nvPr/>
        </p:nvCxnSpPr>
        <p:spPr bwMode="auto">
          <a:xfrm flipV="1">
            <a:off x="5074858" y="3839879"/>
            <a:ext cx="442531" cy="787463"/>
          </a:xfrm>
          <a:prstGeom prst="bentConnector3">
            <a:avLst>
              <a:gd name="adj1" fmla="val 50000"/>
            </a:avLst>
          </a:prstGeom>
          <a:noFill/>
          <a:ln w="6350">
            <a:solidFill>
              <a:srgbClr val="BBBCBC"/>
            </a:solidFill>
            <a:miter lim="800000"/>
            <a:headEnd type="none" w="sm" len="sm"/>
            <a:tailEnd type="none" w="med" len="lg"/>
          </a:ln>
        </p:spPr>
      </p:cxnSp>
      <p:cxnSp>
        <p:nvCxnSpPr>
          <p:cNvPr id="104" name="AutoShape 11"/>
          <p:cNvCxnSpPr>
            <a:cxnSpLocks noChangeShapeType="1"/>
            <a:stCxn id="98" idx="3"/>
            <a:endCxn id="99" idx="1"/>
          </p:cNvCxnSpPr>
          <p:nvPr/>
        </p:nvCxnSpPr>
        <p:spPr bwMode="auto">
          <a:xfrm>
            <a:off x="5074858" y="4627341"/>
            <a:ext cx="442531" cy="0"/>
          </a:xfrm>
          <a:prstGeom prst="straightConnector1">
            <a:avLst/>
          </a:prstGeom>
          <a:noFill/>
          <a:ln w="6350">
            <a:solidFill>
              <a:schemeClr val="accent6"/>
            </a:solidFill>
            <a:miter lim="800000"/>
            <a:headEnd type="none" w="sm" len="sm"/>
            <a:tailEnd type="none" w="med" len="lg"/>
          </a:ln>
        </p:spPr>
      </p:cxnSp>
      <p:sp>
        <p:nvSpPr>
          <p:cNvPr id="105" name="Rectangle 104"/>
          <p:cNvSpPr>
            <a:spLocks noChangeArrowheads="1"/>
          </p:cNvSpPr>
          <p:nvPr/>
        </p:nvSpPr>
        <p:spPr bwMode="auto">
          <a:xfrm>
            <a:off x="5517388" y="2778095"/>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sp>
        <p:nvSpPr>
          <p:cNvPr id="106" name="Rectangle 105"/>
          <p:cNvSpPr>
            <a:spLocks noChangeArrowheads="1"/>
          </p:cNvSpPr>
          <p:nvPr/>
        </p:nvSpPr>
        <p:spPr bwMode="auto">
          <a:xfrm>
            <a:off x="5517388" y="1990632"/>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cxnSp>
        <p:nvCxnSpPr>
          <p:cNvPr id="107" name="AutoShape 14"/>
          <p:cNvCxnSpPr>
            <a:cxnSpLocks noChangeShapeType="1"/>
            <a:stCxn id="97" idx="3"/>
            <a:endCxn id="106" idx="1"/>
          </p:cNvCxnSpPr>
          <p:nvPr/>
        </p:nvCxnSpPr>
        <p:spPr bwMode="auto">
          <a:xfrm flipV="1">
            <a:off x="5074858" y="2264953"/>
            <a:ext cx="442531" cy="404813"/>
          </a:xfrm>
          <a:prstGeom prst="bentConnector3">
            <a:avLst>
              <a:gd name="adj1" fmla="val 50000"/>
            </a:avLst>
          </a:prstGeom>
          <a:noFill/>
          <a:ln w="6350">
            <a:solidFill>
              <a:srgbClr val="BBBCBC"/>
            </a:solidFill>
            <a:miter lim="800000"/>
            <a:headEnd type="none" w="sm" len="sm"/>
            <a:tailEnd type="none" w="med" len="lg"/>
          </a:ln>
        </p:spPr>
      </p:cxnSp>
      <p:cxnSp>
        <p:nvCxnSpPr>
          <p:cNvPr id="108" name="AutoShape 15"/>
          <p:cNvCxnSpPr>
            <a:cxnSpLocks noChangeShapeType="1"/>
            <a:stCxn id="97" idx="3"/>
            <a:endCxn id="105" idx="1"/>
          </p:cNvCxnSpPr>
          <p:nvPr/>
        </p:nvCxnSpPr>
        <p:spPr bwMode="auto">
          <a:xfrm>
            <a:off x="5074858" y="2669765"/>
            <a:ext cx="442531" cy="382650"/>
          </a:xfrm>
          <a:prstGeom prst="bentConnector3">
            <a:avLst>
              <a:gd name="adj1" fmla="val 50000"/>
            </a:avLst>
          </a:prstGeom>
          <a:noFill/>
          <a:ln w="6350">
            <a:solidFill>
              <a:srgbClr val="BBBCBC"/>
            </a:solidFill>
            <a:miter lim="800000"/>
            <a:headEnd type="none" w="sm" len="sm"/>
            <a:tailEnd type="none" w="med" len="lg"/>
          </a:ln>
        </p:spPr>
      </p:cxnSp>
      <p:sp>
        <p:nvSpPr>
          <p:cNvPr id="109" name="Rectangle 24"/>
          <p:cNvSpPr>
            <a:spLocks noChangeArrowheads="1"/>
          </p:cNvSpPr>
          <p:nvPr/>
        </p:nvSpPr>
        <p:spPr bwMode="auto">
          <a:xfrm>
            <a:off x="5517388" y="5140486"/>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GB" altLang="ja-JP" sz="1200" dirty="0">
                <a:solidFill>
                  <a:schemeClr val="bg1"/>
                </a:solidFill>
                <a:ea typeface="ＭＳ Ｐゴシック" pitchFamily="50" charset="-128"/>
                <a:cs typeface="Arial" pitchFamily="34" charset="0"/>
              </a:rPr>
              <a:t>Text</a:t>
            </a:r>
          </a:p>
        </p:txBody>
      </p:sp>
      <p:cxnSp>
        <p:nvCxnSpPr>
          <p:cNvPr id="110" name="AutoShape 25"/>
          <p:cNvCxnSpPr>
            <a:cxnSpLocks noChangeShapeType="1"/>
            <a:stCxn id="98" idx="3"/>
            <a:endCxn id="109" idx="1"/>
          </p:cNvCxnSpPr>
          <p:nvPr/>
        </p:nvCxnSpPr>
        <p:spPr bwMode="auto">
          <a:xfrm>
            <a:off x="5074858" y="4627342"/>
            <a:ext cx="442531" cy="787465"/>
          </a:xfrm>
          <a:prstGeom prst="bentConnector3">
            <a:avLst>
              <a:gd name="adj1" fmla="val 50000"/>
            </a:avLst>
          </a:prstGeom>
          <a:noFill/>
          <a:ln w="6350">
            <a:solidFill>
              <a:srgbClr val="BBBCBC"/>
            </a:solidFill>
            <a:miter lim="800000"/>
            <a:headEnd type="none" w="sm" len="sm"/>
            <a:tailEnd type="none" w="med" len="lg"/>
          </a:ln>
        </p:spPr>
      </p:cxnSp>
      <p:sp>
        <p:nvSpPr>
          <p:cNvPr id="119" name="Text Box 26"/>
          <p:cNvSpPr txBox="1">
            <a:spLocks noChangeArrowheads="1"/>
          </p:cNvSpPr>
          <p:nvPr/>
        </p:nvSpPr>
        <p:spPr bwMode="auto">
          <a:xfrm>
            <a:off x="7415551" y="1704583"/>
            <a:ext cx="249107"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0" name="Text Box 27"/>
          <p:cNvSpPr txBox="1">
            <a:spLocks noChangeArrowheads="1"/>
          </p:cNvSpPr>
          <p:nvPr/>
        </p:nvSpPr>
        <p:spPr bwMode="auto">
          <a:xfrm>
            <a:off x="8567733" y="1704583"/>
            <a:ext cx="249107"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1" name="Text Box 28"/>
          <p:cNvSpPr txBox="1">
            <a:spLocks noChangeArrowheads="1"/>
          </p:cNvSpPr>
          <p:nvPr/>
        </p:nvSpPr>
        <p:spPr bwMode="auto">
          <a:xfrm>
            <a:off x="9719916" y="1704583"/>
            <a:ext cx="249107" cy="184666"/>
          </a:xfrm>
          <a:prstGeom prst="rect">
            <a:avLst/>
          </a:prstGeom>
          <a:noFill/>
          <a:ln w="9525">
            <a:noFill/>
            <a:miter lim="800000"/>
            <a:headEnd type="none" w="sm" len="sm"/>
            <a:tailEnd type="none" w="sm" len="sm"/>
          </a:ln>
        </p:spPr>
        <p:txBody>
          <a:bodyPr wrap="none" lIns="0" tIns="0" rIns="0" bIns="0">
            <a:sp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129" name="Rectangle 15"/>
          <p:cNvSpPr>
            <a:spLocks noChangeArrowheads="1"/>
          </p:cNvSpPr>
          <p:nvPr/>
        </p:nvSpPr>
        <p:spPr bwMode="gray">
          <a:xfrm>
            <a:off x="7082905" y="1348793"/>
            <a:ext cx="3200400" cy="203069"/>
          </a:xfrm>
          <a:prstGeom prst="rect">
            <a:avLst/>
          </a:prstGeom>
          <a:noFill/>
          <a:ln w="9525" algn="ctr">
            <a:noFill/>
            <a:miter lim="800000"/>
            <a:headEnd/>
            <a:tailEnd/>
          </a:ln>
        </p:spPr>
        <p:txBody>
          <a:bodyPr wrap="square" lIns="0" tIns="0" rIns="0" bIns="0">
            <a:spAutoFit/>
          </a:bodyPr>
          <a:lstStyle/>
          <a:p>
            <a:pPr algn="ctr" eaLnBrk="1" hangingPunct="1">
              <a:lnSpc>
                <a:spcPct val="106000"/>
              </a:lnSpc>
              <a:spcBef>
                <a:spcPct val="20000"/>
              </a:spcBef>
              <a:buClr>
                <a:srgbClr val="002776"/>
              </a:buClr>
            </a:pPr>
            <a:r>
              <a:rPr lang="en-GB" sz="1300" dirty="0">
                <a:cs typeface="Arial" pitchFamily="34" charset="0"/>
              </a:rPr>
              <a:t>Unit or additional information</a:t>
            </a:r>
          </a:p>
        </p:txBody>
      </p:sp>
      <p:grpSp>
        <p:nvGrpSpPr>
          <p:cNvPr id="130" name="Group 129"/>
          <p:cNvGrpSpPr/>
          <p:nvPr/>
        </p:nvGrpSpPr>
        <p:grpSpPr>
          <a:xfrm>
            <a:off x="7586360" y="5856845"/>
            <a:ext cx="2275078" cy="226386"/>
            <a:chOff x="5831034" y="6058564"/>
            <a:chExt cx="3259958" cy="324388"/>
          </a:xfrm>
        </p:grpSpPr>
        <p:sp>
          <p:nvSpPr>
            <p:cNvPr id="131" name="AutoShape 11"/>
            <p:cNvSpPr>
              <a:spLocks noChangeArrowheads="1"/>
            </p:cNvSpPr>
            <p:nvPr/>
          </p:nvSpPr>
          <p:spPr bwMode="gray">
            <a:xfrm>
              <a:off x="8080300" y="6088054"/>
              <a:ext cx="324388" cy="265408"/>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dirty="0">
                <a:cs typeface="Arial" pitchFamily="34" charset="0"/>
              </a:endParaRPr>
            </a:p>
          </p:txBody>
        </p:sp>
        <p:sp>
          <p:nvSpPr>
            <p:cNvPr id="132" name="AutoShape 11"/>
            <p:cNvSpPr>
              <a:spLocks noChangeArrowheads="1"/>
            </p:cNvSpPr>
            <p:nvPr/>
          </p:nvSpPr>
          <p:spPr bwMode="gray">
            <a:xfrm rot="16200000">
              <a:off x="6985537" y="6088053"/>
              <a:ext cx="324388" cy="265409"/>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dirty="0">
                <a:cs typeface="Arial" pitchFamily="34" charset="0"/>
              </a:endParaRPr>
            </a:p>
          </p:txBody>
        </p:sp>
        <p:sp>
          <p:nvSpPr>
            <p:cNvPr id="133" name="AutoShape 11"/>
            <p:cNvSpPr>
              <a:spLocks noChangeArrowheads="1"/>
            </p:cNvSpPr>
            <p:nvPr/>
          </p:nvSpPr>
          <p:spPr bwMode="gray">
            <a:xfrm rot="10800000">
              <a:off x="5831034" y="6088045"/>
              <a:ext cx="324388" cy="265409"/>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dirty="0">
                <a:cs typeface="Arial" pitchFamily="34" charset="0"/>
              </a:endParaRPr>
            </a:p>
          </p:txBody>
        </p:sp>
        <p:sp>
          <p:nvSpPr>
            <p:cNvPr id="134" name="Text Box 26"/>
            <p:cNvSpPr txBox="1">
              <a:spLocks noChangeArrowheads="1"/>
            </p:cNvSpPr>
            <p:nvPr/>
          </p:nvSpPr>
          <p:spPr bwMode="auto">
            <a:xfrm>
              <a:off x="6220002" y="6128416"/>
              <a:ext cx="576533"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Positive</a:t>
              </a:r>
            </a:p>
          </p:txBody>
        </p:sp>
        <p:sp>
          <p:nvSpPr>
            <p:cNvPr id="135" name="Text Box 26"/>
            <p:cNvSpPr txBox="1">
              <a:spLocks noChangeArrowheads="1"/>
            </p:cNvSpPr>
            <p:nvPr/>
          </p:nvSpPr>
          <p:spPr bwMode="auto">
            <a:xfrm>
              <a:off x="7329203" y="6128421"/>
              <a:ext cx="558157"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utral</a:t>
              </a:r>
            </a:p>
          </p:txBody>
        </p:sp>
        <p:sp>
          <p:nvSpPr>
            <p:cNvPr id="136" name="Text Box 26"/>
            <p:cNvSpPr txBox="1">
              <a:spLocks noChangeArrowheads="1"/>
            </p:cNvSpPr>
            <p:nvPr/>
          </p:nvSpPr>
          <p:spPr bwMode="auto">
            <a:xfrm>
              <a:off x="8434066" y="6128421"/>
              <a:ext cx="656926"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gative</a:t>
              </a:r>
            </a:p>
          </p:txBody>
        </p:sp>
      </p:grpSp>
      <p:sp>
        <p:nvSpPr>
          <p:cNvPr id="138" name="AutoShape 11"/>
          <p:cNvSpPr>
            <a:spLocks noChangeArrowheads="1"/>
          </p:cNvSpPr>
          <p:nvPr/>
        </p:nvSpPr>
        <p:spPr bwMode="gray">
          <a:xfrm rot="10800000">
            <a:off x="9689417" y="2079999"/>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39" name="AutoShape 11"/>
          <p:cNvSpPr>
            <a:spLocks noChangeArrowheads="1"/>
          </p:cNvSpPr>
          <p:nvPr/>
        </p:nvSpPr>
        <p:spPr bwMode="gray">
          <a:xfrm rot="10800000">
            <a:off x="8537234" y="2079999"/>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0" name="AutoShape 11"/>
          <p:cNvSpPr>
            <a:spLocks noChangeArrowheads="1"/>
          </p:cNvSpPr>
          <p:nvPr/>
        </p:nvSpPr>
        <p:spPr bwMode="gray">
          <a:xfrm rot="10800000">
            <a:off x="7385052" y="2079999"/>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1" name="AutoShape 11"/>
          <p:cNvSpPr>
            <a:spLocks noChangeArrowheads="1"/>
          </p:cNvSpPr>
          <p:nvPr/>
        </p:nvSpPr>
        <p:spPr bwMode="gray">
          <a:xfrm rot="10800000">
            <a:off x="9689417" y="4485725"/>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2" name="AutoShape 11"/>
          <p:cNvSpPr>
            <a:spLocks noChangeArrowheads="1"/>
          </p:cNvSpPr>
          <p:nvPr/>
        </p:nvSpPr>
        <p:spPr bwMode="gray">
          <a:xfrm rot="10800000">
            <a:off x="8537235" y="4485725"/>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3" name="AutoShape 11"/>
          <p:cNvSpPr>
            <a:spLocks noChangeArrowheads="1"/>
          </p:cNvSpPr>
          <p:nvPr/>
        </p:nvSpPr>
        <p:spPr bwMode="gray">
          <a:xfrm rot="10800000">
            <a:off x="7385053" y="4485725"/>
            <a:ext cx="320040" cy="274320"/>
          </a:xfrm>
          <a:prstGeom prst="downArrow">
            <a:avLst>
              <a:gd name="adj1" fmla="val 49815"/>
              <a:gd name="adj2" fmla="val 54667"/>
            </a:avLst>
          </a:prstGeom>
          <a:solidFill>
            <a:schemeClr val="accent2"/>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4" name="AutoShape 11"/>
          <p:cNvSpPr>
            <a:spLocks noChangeArrowheads="1"/>
          </p:cNvSpPr>
          <p:nvPr/>
        </p:nvSpPr>
        <p:spPr bwMode="gray">
          <a:xfrm>
            <a:off x="7380704" y="3707173"/>
            <a:ext cx="320040"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5" name="AutoShape 11"/>
          <p:cNvSpPr>
            <a:spLocks noChangeArrowheads="1"/>
          </p:cNvSpPr>
          <p:nvPr/>
        </p:nvSpPr>
        <p:spPr bwMode="gray">
          <a:xfrm>
            <a:off x="8532886" y="3707173"/>
            <a:ext cx="320040"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6" name="AutoShape 11"/>
          <p:cNvSpPr>
            <a:spLocks noChangeArrowheads="1"/>
          </p:cNvSpPr>
          <p:nvPr/>
        </p:nvSpPr>
        <p:spPr bwMode="gray">
          <a:xfrm>
            <a:off x="9685069" y="3707173"/>
            <a:ext cx="320040" cy="274320"/>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7" name="AutoShape 11"/>
          <p:cNvSpPr>
            <a:spLocks noChangeArrowheads="1"/>
          </p:cNvSpPr>
          <p:nvPr/>
        </p:nvSpPr>
        <p:spPr bwMode="gray">
          <a:xfrm rot="16200000">
            <a:off x="7387333" y="5279820"/>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8" name="AutoShape 11"/>
          <p:cNvSpPr>
            <a:spLocks noChangeArrowheads="1"/>
          </p:cNvSpPr>
          <p:nvPr/>
        </p:nvSpPr>
        <p:spPr bwMode="gray">
          <a:xfrm rot="16200000">
            <a:off x="8539515" y="5279820"/>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49" name="AutoShape 11"/>
          <p:cNvSpPr>
            <a:spLocks noChangeArrowheads="1"/>
          </p:cNvSpPr>
          <p:nvPr/>
        </p:nvSpPr>
        <p:spPr bwMode="gray">
          <a:xfrm rot="16200000">
            <a:off x="9691698" y="5279820"/>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50" name="AutoShape 11"/>
          <p:cNvSpPr>
            <a:spLocks noChangeArrowheads="1"/>
          </p:cNvSpPr>
          <p:nvPr/>
        </p:nvSpPr>
        <p:spPr bwMode="gray">
          <a:xfrm rot="16200000">
            <a:off x="7387333" y="2917429"/>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51" name="AutoShape 11"/>
          <p:cNvSpPr>
            <a:spLocks noChangeArrowheads="1"/>
          </p:cNvSpPr>
          <p:nvPr/>
        </p:nvSpPr>
        <p:spPr bwMode="gray">
          <a:xfrm rot="16200000">
            <a:off x="8539515" y="2917429"/>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
        <p:nvSpPr>
          <p:cNvPr id="152" name="AutoShape 11"/>
          <p:cNvSpPr>
            <a:spLocks noChangeArrowheads="1"/>
          </p:cNvSpPr>
          <p:nvPr/>
        </p:nvSpPr>
        <p:spPr bwMode="gray">
          <a:xfrm rot="16200000">
            <a:off x="9691698" y="2917429"/>
            <a:ext cx="320040" cy="274320"/>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rgbClr val="002776"/>
              </a:solidFill>
              <a:cs typeface="Arial" pitchFamily="34" charset="0"/>
            </a:endParaRPr>
          </a:p>
        </p:txBody>
      </p:sp>
    </p:spTree>
    <p:extLst>
      <p:ext uri="{BB962C8B-B14F-4D97-AF65-F5344CB8AC3E}">
        <p14:creationId xmlns:p14="http://schemas.microsoft.com/office/powerpoint/2010/main" val="4134520013"/>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Moons showing base trends</a:t>
            </a:r>
            <a:endParaRPr lang="en-US" dirty="0"/>
          </a:p>
        </p:txBody>
      </p:sp>
      <p:sp>
        <p:nvSpPr>
          <p:cNvPr id="619521" name="Title 1"/>
          <p:cNvSpPr>
            <a:spLocks noGrp="1"/>
          </p:cNvSpPr>
          <p:nvPr>
            <p:ph type="title"/>
          </p:nvPr>
        </p:nvSpPr>
        <p:spPr/>
        <p:txBody>
          <a:bodyPr/>
          <a:lstStyle/>
          <a:p>
            <a:r>
              <a:rPr lang="en-US"/>
              <a:t>Driver trees </a:t>
            </a:r>
            <a:endParaRPr lang="en-US" dirty="0"/>
          </a:p>
        </p:txBody>
      </p:sp>
      <p:cxnSp>
        <p:nvCxnSpPr>
          <p:cNvPr id="10" name="AutoShape 9"/>
          <p:cNvCxnSpPr>
            <a:cxnSpLocks noChangeShapeType="1"/>
            <a:stCxn id="4" idx="3"/>
            <a:endCxn id="6" idx="1"/>
          </p:cNvCxnSpPr>
          <p:nvPr/>
        </p:nvCxnSpPr>
        <p:spPr bwMode="auto">
          <a:xfrm>
            <a:off x="3535363" y="3740296"/>
            <a:ext cx="842018" cy="785273"/>
          </a:xfrm>
          <a:prstGeom prst="bentConnector3">
            <a:avLst>
              <a:gd name="adj1" fmla="val 50000"/>
            </a:avLst>
          </a:prstGeom>
          <a:noFill/>
          <a:ln w="6350">
            <a:solidFill>
              <a:srgbClr val="BBBCBC"/>
            </a:solidFill>
            <a:miter lim="800000"/>
            <a:headEnd type="none" w="sm" len="sm"/>
            <a:tailEnd type="none" w="sm" len="sm"/>
          </a:ln>
        </p:spPr>
      </p:cxnSp>
      <p:cxnSp>
        <p:nvCxnSpPr>
          <p:cNvPr id="11" name="AutoShape 10"/>
          <p:cNvCxnSpPr>
            <a:cxnSpLocks noChangeShapeType="1"/>
            <a:stCxn id="4" idx="3"/>
            <a:endCxn id="7" idx="1"/>
          </p:cNvCxnSpPr>
          <p:nvPr/>
        </p:nvCxnSpPr>
        <p:spPr bwMode="auto">
          <a:xfrm flipV="1">
            <a:off x="3535363" y="2169749"/>
            <a:ext cx="842018" cy="1570546"/>
          </a:xfrm>
          <a:prstGeom prst="bentConnector3">
            <a:avLst>
              <a:gd name="adj1" fmla="val 50000"/>
            </a:avLst>
          </a:prstGeom>
          <a:noFill/>
          <a:ln w="6350">
            <a:solidFill>
              <a:srgbClr val="BBBCBC"/>
            </a:solidFill>
            <a:miter lim="800000"/>
            <a:headEnd type="none" w="sm" len="sm"/>
            <a:tailEnd type="none" w="sm" len="sm"/>
          </a:ln>
        </p:spPr>
      </p:cxnSp>
      <p:cxnSp>
        <p:nvCxnSpPr>
          <p:cNvPr id="12" name="AutoShape 11"/>
          <p:cNvCxnSpPr>
            <a:cxnSpLocks noChangeShapeType="1"/>
            <a:stCxn id="4" idx="3"/>
            <a:endCxn id="8" idx="1"/>
          </p:cNvCxnSpPr>
          <p:nvPr/>
        </p:nvCxnSpPr>
        <p:spPr bwMode="auto">
          <a:xfrm flipV="1">
            <a:off x="3535363" y="2955023"/>
            <a:ext cx="842018" cy="785273"/>
          </a:xfrm>
          <a:prstGeom prst="bentConnector3">
            <a:avLst>
              <a:gd name="adj1" fmla="val 50000"/>
            </a:avLst>
          </a:prstGeom>
          <a:noFill/>
          <a:ln w="6350">
            <a:solidFill>
              <a:srgbClr val="BBBCBC"/>
            </a:solidFill>
            <a:miter lim="800000"/>
            <a:headEnd type="none" w="sm" len="sm"/>
            <a:tailEnd type="none" w="sm" len="sm"/>
          </a:ln>
        </p:spPr>
      </p:cxnSp>
      <p:cxnSp>
        <p:nvCxnSpPr>
          <p:cNvPr id="14" name="AutoShape 14"/>
          <p:cNvCxnSpPr>
            <a:cxnSpLocks noChangeShapeType="1"/>
            <a:stCxn id="5" idx="1"/>
            <a:endCxn id="4" idx="3"/>
          </p:cNvCxnSpPr>
          <p:nvPr/>
        </p:nvCxnSpPr>
        <p:spPr bwMode="auto">
          <a:xfrm rot="10800000">
            <a:off x="3535363" y="3740297"/>
            <a:ext cx="842018" cy="1570545"/>
          </a:xfrm>
          <a:prstGeom prst="bentConnector3">
            <a:avLst>
              <a:gd name="adj1" fmla="val 50000"/>
            </a:avLst>
          </a:prstGeom>
          <a:noFill/>
          <a:ln w="6350">
            <a:solidFill>
              <a:srgbClr val="BBBCBC"/>
            </a:solidFill>
            <a:miter lim="800000"/>
            <a:headEnd type="none" w="sm" len="sm"/>
            <a:tailEnd type="none" w="med" len="lg"/>
          </a:ln>
        </p:spPr>
      </p:cxnSp>
      <p:grpSp>
        <p:nvGrpSpPr>
          <p:cNvPr id="2" name="Group 1"/>
          <p:cNvGrpSpPr/>
          <p:nvPr/>
        </p:nvGrpSpPr>
        <p:grpSpPr>
          <a:xfrm>
            <a:off x="7748121" y="5784407"/>
            <a:ext cx="1259136" cy="185415"/>
            <a:chOff x="6817465" y="6022432"/>
            <a:chExt cx="2173353" cy="320040"/>
          </a:xfrm>
        </p:grpSpPr>
        <p:sp>
          <p:nvSpPr>
            <p:cNvPr id="16" name="Oval 31"/>
            <p:cNvSpPr>
              <a:spLocks noChangeArrowheads="1"/>
            </p:cNvSpPr>
            <p:nvPr/>
          </p:nvSpPr>
          <p:spPr bwMode="auto">
            <a:xfrm>
              <a:off x="6817465" y="6022432"/>
              <a:ext cx="320040" cy="320040"/>
            </a:xfrm>
            <a:prstGeom prst="ellipse">
              <a:avLst/>
            </a:prstGeom>
            <a:solidFill>
              <a:schemeClr val="tx1"/>
            </a:solidFill>
            <a:ln w="9525" cap="rnd" algn="ctr">
              <a:solidFill>
                <a:schemeClr val="tx1"/>
              </a:solidFill>
              <a:round/>
              <a:headEnd/>
              <a:tailEnd/>
            </a:ln>
          </p:spPr>
          <p:txBody>
            <a:bodyPr wrap="none" anchor="ctr"/>
            <a:lstStyle/>
            <a:p>
              <a:pPr algn="ctr">
                <a:defRPr/>
              </a:pPr>
              <a:endParaRPr lang="en-US" sz="1400" dirty="0"/>
            </a:p>
          </p:txBody>
        </p:sp>
        <p:sp>
          <p:nvSpPr>
            <p:cNvPr id="619598" name="Text Box 32"/>
            <p:cNvSpPr txBox="1">
              <a:spLocks noChangeArrowheads="1"/>
            </p:cNvSpPr>
            <p:nvPr/>
          </p:nvSpPr>
          <p:spPr bwMode="auto">
            <a:xfrm>
              <a:off x="7222523" y="6049642"/>
              <a:ext cx="586581"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Strong</a:t>
              </a:r>
            </a:p>
          </p:txBody>
        </p:sp>
        <p:sp>
          <p:nvSpPr>
            <p:cNvPr id="18" name="Oval 33"/>
            <p:cNvSpPr>
              <a:spLocks noChangeArrowheads="1"/>
            </p:cNvSpPr>
            <p:nvPr/>
          </p:nvSpPr>
          <p:spPr bwMode="auto">
            <a:xfrm>
              <a:off x="8082511" y="6022432"/>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sz="1400" dirty="0"/>
            </a:p>
          </p:txBody>
        </p:sp>
        <p:sp>
          <p:nvSpPr>
            <p:cNvPr id="619600" name="Text Box 34"/>
            <p:cNvSpPr txBox="1">
              <a:spLocks noChangeArrowheads="1"/>
            </p:cNvSpPr>
            <p:nvPr/>
          </p:nvSpPr>
          <p:spPr bwMode="auto">
            <a:xfrm>
              <a:off x="8484476" y="6049642"/>
              <a:ext cx="506342"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Weak</a:t>
              </a:r>
            </a:p>
          </p:txBody>
        </p:sp>
      </p:grpSp>
      <p:sp>
        <p:nvSpPr>
          <p:cNvPr id="26" name="Oval 19"/>
          <p:cNvSpPr>
            <a:spLocks noChangeArrowheads="1"/>
          </p:cNvSpPr>
          <p:nvPr/>
        </p:nvSpPr>
        <p:spPr bwMode="auto">
          <a:xfrm>
            <a:off x="10086392"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37" name="Oval 36"/>
          <p:cNvSpPr>
            <a:spLocks noChangeArrowheads="1"/>
          </p:cNvSpPr>
          <p:nvPr/>
        </p:nvSpPr>
        <p:spPr bwMode="auto">
          <a:xfrm>
            <a:off x="9160449"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48" name="Oval 47"/>
          <p:cNvSpPr>
            <a:spLocks noChangeArrowheads="1"/>
          </p:cNvSpPr>
          <p:nvPr/>
        </p:nvSpPr>
        <p:spPr bwMode="auto">
          <a:xfrm>
            <a:off x="8234504"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59" name="Oval 58"/>
          <p:cNvSpPr>
            <a:spLocks noChangeArrowheads="1"/>
          </p:cNvSpPr>
          <p:nvPr/>
        </p:nvSpPr>
        <p:spPr bwMode="auto">
          <a:xfrm>
            <a:off x="7308559"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70" name="Oval 69"/>
          <p:cNvSpPr>
            <a:spLocks noChangeArrowheads="1"/>
          </p:cNvSpPr>
          <p:nvPr/>
        </p:nvSpPr>
        <p:spPr bwMode="auto">
          <a:xfrm>
            <a:off x="6382614" y="2009729"/>
            <a:ext cx="320040" cy="320040"/>
          </a:xfrm>
          <a:prstGeom prst="ellipse">
            <a:avLst/>
          </a:prstGeom>
          <a:solidFill>
            <a:schemeClr val="bg1"/>
          </a:solidFill>
          <a:ln w="9525">
            <a:solidFill>
              <a:schemeClr val="tx1"/>
            </a:solidFill>
            <a:round/>
            <a:headEnd/>
            <a:tailEnd/>
          </a:ln>
        </p:spPr>
        <p:txBody>
          <a:bodyPr wrap="none" anchor="ctr"/>
          <a:lstStyle/>
          <a:p>
            <a:pPr algn="ctr">
              <a:defRPr/>
            </a:pPr>
            <a:endParaRPr lang="en-US" dirty="0"/>
          </a:p>
        </p:txBody>
      </p:sp>
      <p:sp>
        <p:nvSpPr>
          <p:cNvPr id="4" name="Rectangle 3"/>
          <p:cNvSpPr>
            <a:spLocks noChangeArrowheads="1"/>
          </p:cNvSpPr>
          <p:nvPr/>
        </p:nvSpPr>
        <p:spPr bwMode="auto">
          <a:xfrm>
            <a:off x="2163763" y="3465975"/>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5" name="Rectangle 4"/>
          <p:cNvSpPr>
            <a:spLocks noChangeArrowheads="1"/>
          </p:cNvSpPr>
          <p:nvPr/>
        </p:nvSpPr>
        <p:spPr bwMode="auto">
          <a:xfrm>
            <a:off x="4377381" y="5036520"/>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6" name="Rectangle 5"/>
          <p:cNvSpPr>
            <a:spLocks noChangeArrowheads="1"/>
          </p:cNvSpPr>
          <p:nvPr/>
        </p:nvSpPr>
        <p:spPr bwMode="auto">
          <a:xfrm>
            <a:off x="4377381" y="4251248"/>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7" name="Rectangle 6"/>
          <p:cNvSpPr>
            <a:spLocks noChangeArrowheads="1"/>
          </p:cNvSpPr>
          <p:nvPr/>
        </p:nvSpPr>
        <p:spPr bwMode="auto">
          <a:xfrm>
            <a:off x="4377381" y="1895429"/>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8" name="Rectangle 7"/>
          <p:cNvSpPr>
            <a:spLocks noChangeArrowheads="1"/>
          </p:cNvSpPr>
          <p:nvPr/>
        </p:nvSpPr>
        <p:spPr bwMode="auto">
          <a:xfrm>
            <a:off x="4377381" y="2680702"/>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9" name="Rectangle 8"/>
          <p:cNvSpPr>
            <a:spLocks noChangeArrowheads="1"/>
          </p:cNvSpPr>
          <p:nvPr/>
        </p:nvSpPr>
        <p:spPr bwMode="auto">
          <a:xfrm>
            <a:off x="4377381" y="3465975"/>
            <a:ext cx="1371600" cy="548640"/>
          </a:xfrm>
          <a:prstGeom prst="rect">
            <a:avLst/>
          </a:prstGeom>
          <a:solidFill>
            <a:schemeClr val="accent5"/>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81" name="Rectangle 18"/>
          <p:cNvSpPr>
            <a:spLocks noChangeArrowheads="1"/>
          </p:cNvSpPr>
          <p:nvPr/>
        </p:nvSpPr>
        <p:spPr bwMode="auto">
          <a:xfrm>
            <a:off x="9926372"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2" name="Rectangle 17"/>
          <p:cNvSpPr>
            <a:spLocks noChangeArrowheads="1"/>
          </p:cNvSpPr>
          <p:nvPr/>
        </p:nvSpPr>
        <p:spPr bwMode="auto">
          <a:xfrm>
            <a:off x="9000426"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3" name="Rectangle 16"/>
          <p:cNvSpPr>
            <a:spLocks noChangeArrowheads="1"/>
          </p:cNvSpPr>
          <p:nvPr/>
        </p:nvSpPr>
        <p:spPr bwMode="auto">
          <a:xfrm>
            <a:off x="8074482"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4" name="Rectangle 15"/>
          <p:cNvSpPr>
            <a:spLocks noChangeArrowheads="1"/>
          </p:cNvSpPr>
          <p:nvPr/>
        </p:nvSpPr>
        <p:spPr bwMode="auto">
          <a:xfrm>
            <a:off x="7148538"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5" name="Rectangle 13"/>
          <p:cNvSpPr>
            <a:spLocks noChangeArrowheads="1"/>
          </p:cNvSpPr>
          <p:nvPr/>
        </p:nvSpPr>
        <p:spPr bwMode="auto">
          <a:xfrm>
            <a:off x="6222594" y="1601316"/>
            <a:ext cx="640080" cy="184666"/>
          </a:xfrm>
          <a:prstGeom prst="rect">
            <a:avLst/>
          </a:prstGeom>
          <a:noFill/>
          <a:ln w="9525">
            <a:noFill/>
            <a:miter lim="800000"/>
            <a:headEnd type="none" w="sm" len="sm"/>
            <a:tailEnd type="none" w="sm" len="sm"/>
          </a:ln>
        </p:spPr>
        <p:txBody>
          <a:bodyPr wrap="none" lIns="0" tIns="0" rIns="0" bIns="0" anchor="ctr">
            <a:noAutofit/>
          </a:bodyPr>
          <a:lstStyle/>
          <a:p>
            <a:pPr algn="ctr" eaLnBrk="1" hangingPunct="1">
              <a:spcBef>
                <a:spcPct val="20000"/>
              </a:spcBef>
            </a:pPr>
            <a:r>
              <a:rPr lang="en-GB" altLang="ja-JP" sz="1200" dirty="0">
                <a:ea typeface="ＭＳ Ｐゴシック" charset="-128"/>
                <a:cs typeface="Arial" pitchFamily="34" charset="0"/>
              </a:rPr>
              <a:t>Text</a:t>
            </a:r>
          </a:p>
        </p:txBody>
      </p:sp>
      <p:sp>
        <p:nvSpPr>
          <p:cNvPr id="86" name="Rectangle 15"/>
          <p:cNvSpPr>
            <a:spLocks noChangeArrowheads="1"/>
          </p:cNvSpPr>
          <p:nvPr/>
        </p:nvSpPr>
        <p:spPr bwMode="gray">
          <a:xfrm>
            <a:off x="6280794" y="1249681"/>
            <a:ext cx="4297680" cy="203069"/>
          </a:xfrm>
          <a:prstGeom prst="rect">
            <a:avLst/>
          </a:prstGeom>
          <a:noFill/>
          <a:ln w="9525" algn="ctr">
            <a:noFill/>
            <a:miter lim="800000"/>
            <a:headEnd/>
            <a:tailEnd/>
          </a:ln>
        </p:spPr>
        <p:txBody>
          <a:bodyPr wrap="square" lIns="0" tIns="0" rIns="0" bIns="0">
            <a:spAutoFit/>
          </a:bodyPr>
          <a:lstStyle/>
          <a:p>
            <a:pPr algn="ctr" eaLnBrk="1" hangingPunct="1">
              <a:lnSpc>
                <a:spcPct val="106000"/>
              </a:lnSpc>
              <a:spcBef>
                <a:spcPct val="20000"/>
              </a:spcBef>
              <a:buClr>
                <a:srgbClr val="002776"/>
              </a:buClr>
            </a:pPr>
            <a:r>
              <a:rPr lang="en-GB" sz="1300" dirty="0">
                <a:cs typeface="Arial" pitchFamily="34" charset="0"/>
              </a:rPr>
              <a:t>Unit or additional information</a:t>
            </a:r>
          </a:p>
        </p:txBody>
      </p:sp>
      <p:sp>
        <p:nvSpPr>
          <p:cNvPr id="117" name="Oval 19"/>
          <p:cNvSpPr>
            <a:spLocks noChangeArrowheads="1"/>
          </p:cNvSpPr>
          <p:nvPr/>
        </p:nvSpPr>
        <p:spPr bwMode="auto">
          <a:xfrm>
            <a:off x="10086392"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18" name="Oval 117"/>
          <p:cNvSpPr>
            <a:spLocks noChangeArrowheads="1"/>
          </p:cNvSpPr>
          <p:nvPr/>
        </p:nvSpPr>
        <p:spPr bwMode="auto">
          <a:xfrm>
            <a:off x="9160449"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19" name="Oval 118"/>
          <p:cNvSpPr>
            <a:spLocks noChangeArrowheads="1"/>
          </p:cNvSpPr>
          <p:nvPr/>
        </p:nvSpPr>
        <p:spPr bwMode="auto">
          <a:xfrm>
            <a:off x="8234504"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20" name="Oval 119"/>
          <p:cNvSpPr>
            <a:spLocks noChangeArrowheads="1"/>
          </p:cNvSpPr>
          <p:nvPr/>
        </p:nvSpPr>
        <p:spPr bwMode="auto">
          <a:xfrm>
            <a:off x="7308559"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sp>
        <p:nvSpPr>
          <p:cNvPr id="121" name="Oval 120"/>
          <p:cNvSpPr>
            <a:spLocks noChangeArrowheads="1"/>
          </p:cNvSpPr>
          <p:nvPr/>
        </p:nvSpPr>
        <p:spPr bwMode="auto">
          <a:xfrm>
            <a:off x="6382614" y="5150820"/>
            <a:ext cx="320040" cy="320040"/>
          </a:xfrm>
          <a:prstGeom prst="ellipse">
            <a:avLst/>
          </a:prstGeom>
          <a:solidFill>
            <a:schemeClr val="tx1"/>
          </a:solidFill>
          <a:ln w="9525">
            <a:solidFill>
              <a:schemeClr val="tx1"/>
            </a:solidFill>
            <a:round/>
            <a:headEnd/>
            <a:tailEnd/>
          </a:ln>
        </p:spPr>
        <p:txBody>
          <a:bodyPr wrap="none" anchor="ctr"/>
          <a:lstStyle/>
          <a:p>
            <a:pPr algn="ctr">
              <a:defRPr/>
            </a:pPr>
            <a:endParaRPr lang="en-US" dirty="0"/>
          </a:p>
        </p:txBody>
      </p:sp>
      <p:grpSp>
        <p:nvGrpSpPr>
          <p:cNvPr id="19" name="Group 18"/>
          <p:cNvGrpSpPr/>
          <p:nvPr/>
        </p:nvGrpSpPr>
        <p:grpSpPr>
          <a:xfrm>
            <a:off x="10086392" y="2795002"/>
            <a:ext cx="320040" cy="320040"/>
            <a:chOff x="2362200" y="1633474"/>
            <a:chExt cx="457200" cy="457200"/>
          </a:xfrm>
        </p:grpSpPr>
        <p:sp>
          <p:nvSpPr>
            <p:cNvPr id="15" name="Pie 14"/>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Pie 16"/>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22" name="Group 21"/>
          <p:cNvGrpSpPr/>
          <p:nvPr/>
        </p:nvGrpSpPr>
        <p:grpSpPr>
          <a:xfrm>
            <a:off x="9160449" y="2795002"/>
            <a:ext cx="320040" cy="320040"/>
            <a:chOff x="2362200" y="1633474"/>
            <a:chExt cx="457200" cy="457200"/>
          </a:xfrm>
        </p:grpSpPr>
        <p:sp>
          <p:nvSpPr>
            <p:cNvPr id="20" name="Pie 19"/>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 name="Pie 20"/>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25" name="Group 24"/>
          <p:cNvGrpSpPr/>
          <p:nvPr/>
        </p:nvGrpSpPr>
        <p:grpSpPr>
          <a:xfrm>
            <a:off x="8234504" y="2795002"/>
            <a:ext cx="320040" cy="320040"/>
            <a:chOff x="2362200" y="1633474"/>
            <a:chExt cx="457200" cy="457200"/>
          </a:xfrm>
        </p:grpSpPr>
        <p:sp>
          <p:nvSpPr>
            <p:cNvPr id="23" name="Pie 22"/>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Pie 23"/>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84" name="Group 619583"/>
          <p:cNvGrpSpPr/>
          <p:nvPr/>
        </p:nvGrpSpPr>
        <p:grpSpPr>
          <a:xfrm>
            <a:off x="7308559" y="2795002"/>
            <a:ext cx="320040" cy="320040"/>
            <a:chOff x="2362200" y="1633474"/>
            <a:chExt cx="457200" cy="457200"/>
          </a:xfrm>
        </p:grpSpPr>
        <p:sp>
          <p:nvSpPr>
            <p:cNvPr id="28" name="Pie 27"/>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1" name="Pie 30"/>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90" name="Group 619589"/>
          <p:cNvGrpSpPr/>
          <p:nvPr/>
        </p:nvGrpSpPr>
        <p:grpSpPr>
          <a:xfrm>
            <a:off x="6382614" y="2795002"/>
            <a:ext cx="320040" cy="320040"/>
            <a:chOff x="2362200" y="1633474"/>
            <a:chExt cx="457200" cy="457200"/>
          </a:xfrm>
        </p:grpSpPr>
        <p:sp>
          <p:nvSpPr>
            <p:cNvPr id="619588" name="Pie 619587"/>
            <p:cNvSpPr/>
            <p:nvPr/>
          </p:nvSpPr>
          <p:spPr bwMode="gray">
            <a:xfrm>
              <a:off x="2362200" y="1633474"/>
              <a:ext cx="457200" cy="457200"/>
            </a:xfrm>
            <a:prstGeom prst="pie">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89" name="Pie 619588"/>
            <p:cNvSpPr/>
            <p:nvPr/>
          </p:nvSpPr>
          <p:spPr bwMode="gray">
            <a:xfrm>
              <a:off x="2362200" y="1633474"/>
              <a:ext cx="457200" cy="457200"/>
            </a:xfrm>
            <a:prstGeom prst="pie">
              <a:avLst>
                <a:gd name="adj1" fmla="val 16200000"/>
                <a:gd name="adj2" fmla="val 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93" name="Group 619592"/>
          <p:cNvGrpSpPr/>
          <p:nvPr/>
        </p:nvGrpSpPr>
        <p:grpSpPr>
          <a:xfrm>
            <a:off x="10086392" y="3580275"/>
            <a:ext cx="320040" cy="320040"/>
            <a:chOff x="2362200" y="1633474"/>
            <a:chExt cx="457200" cy="457200"/>
          </a:xfrm>
        </p:grpSpPr>
        <p:sp>
          <p:nvSpPr>
            <p:cNvPr id="619591" name="Pie 619590"/>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92" name="Pie 619591"/>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596" name="Group 619595"/>
          <p:cNvGrpSpPr/>
          <p:nvPr/>
        </p:nvGrpSpPr>
        <p:grpSpPr>
          <a:xfrm>
            <a:off x="9160449" y="3580275"/>
            <a:ext cx="320040" cy="320040"/>
            <a:chOff x="2362200" y="1633474"/>
            <a:chExt cx="457200" cy="457200"/>
          </a:xfrm>
        </p:grpSpPr>
        <p:sp>
          <p:nvSpPr>
            <p:cNvPr id="619594" name="Pie 619593"/>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95" name="Pie 619594"/>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01" name="Group 619600"/>
          <p:cNvGrpSpPr/>
          <p:nvPr/>
        </p:nvGrpSpPr>
        <p:grpSpPr>
          <a:xfrm>
            <a:off x="8234504" y="3580275"/>
            <a:ext cx="320040" cy="320040"/>
            <a:chOff x="2362200" y="1633474"/>
            <a:chExt cx="457200" cy="457200"/>
          </a:xfrm>
        </p:grpSpPr>
        <p:sp>
          <p:nvSpPr>
            <p:cNvPr id="619597" name="Pie 619596"/>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599" name="Pie 619598"/>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04" name="Group 619603"/>
          <p:cNvGrpSpPr/>
          <p:nvPr/>
        </p:nvGrpSpPr>
        <p:grpSpPr>
          <a:xfrm>
            <a:off x="7308559" y="3580275"/>
            <a:ext cx="320040" cy="320040"/>
            <a:chOff x="2362200" y="1633474"/>
            <a:chExt cx="457200" cy="457200"/>
          </a:xfrm>
        </p:grpSpPr>
        <p:sp>
          <p:nvSpPr>
            <p:cNvPr id="619602" name="Pie 619601"/>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03" name="Pie 619602"/>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10" name="Group 619609"/>
          <p:cNvGrpSpPr/>
          <p:nvPr/>
        </p:nvGrpSpPr>
        <p:grpSpPr>
          <a:xfrm>
            <a:off x="6382614" y="3580275"/>
            <a:ext cx="320040" cy="320040"/>
            <a:chOff x="2362200" y="1633474"/>
            <a:chExt cx="457200" cy="457200"/>
          </a:xfrm>
        </p:grpSpPr>
        <p:sp>
          <p:nvSpPr>
            <p:cNvPr id="619608" name="Pie 619607"/>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09" name="Pie 619608"/>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19613" name="Group 619612"/>
          <p:cNvGrpSpPr/>
          <p:nvPr/>
        </p:nvGrpSpPr>
        <p:grpSpPr>
          <a:xfrm>
            <a:off x="10086392" y="4365548"/>
            <a:ext cx="320040" cy="320040"/>
            <a:chOff x="2362200" y="1633474"/>
            <a:chExt cx="457200" cy="457200"/>
          </a:xfrm>
        </p:grpSpPr>
        <p:sp>
          <p:nvSpPr>
            <p:cNvPr id="619611" name="Pie 619610"/>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12" name="Pie 619611"/>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4" name="Group 33"/>
          <p:cNvGrpSpPr/>
          <p:nvPr/>
        </p:nvGrpSpPr>
        <p:grpSpPr>
          <a:xfrm>
            <a:off x="9160449" y="4365548"/>
            <a:ext cx="320040" cy="320040"/>
            <a:chOff x="2362200" y="1633474"/>
            <a:chExt cx="457200" cy="457200"/>
          </a:xfrm>
        </p:grpSpPr>
        <p:sp>
          <p:nvSpPr>
            <p:cNvPr id="619614" name="Pie 619613"/>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9615" name="Pie 619614"/>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45" name="Group 44"/>
          <p:cNvGrpSpPr/>
          <p:nvPr/>
        </p:nvGrpSpPr>
        <p:grpSpPr>
          <a:xfrm>
            <a:off x="8234504" y="4365548"/>
            <a:ext cx="320040" cy="320040"/>
            <a:chOff x="2362200" y="1633474"/>
            <a:chExt cx="457200" cy="457200"/>
          </a:xfrm>
        </p:grpSpPr>
        <p:sp>
          <p:nvSpPr>
            <p:cNvPr id="39" name="Pie 38"/>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Pie 41"/>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56" name="Group 55"/>
          <p:cNvGrpSpPr/>
          <p:nvPr/>
        </p:nvGrpSpPr>
        <p:grpSpPr>
          <a:xfrm>
            <a:off x="7308559" y="4365548"/>
            <a:ext cx="320040" cy="320040"/>
            <a:chOff x="2362200" y="1633474"/>
            <a:chExt cx="457200" cy="457200"/>
          </a:xfrm>
        </p:grpSpPr>
        <p:sp>
          <p:nvSpPr>
            <p:cNvPr id="50" name="Pie 49"/>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Pie 52"/>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78" name="Group 77"/>
          <p:cNvGrpSpPr/>
          <p:nvPr/>
        </p:nvGrpSpPr>
        <p:grpSpPr>
          <a:xfrm>
            <a:off x="6382614" y="4365548"/>
            <a:ext cx="320040" cy="320040"/>
            <a:chOff x="2362200" y="1633474"/>
            <a:chExt cx="457200" cy="457200"/>
          </a:xfrm>
        </p:grpSpPr>
        <p:sp>
          <p:nvSpPr>
            <p:cNvPr id="72" name="Pie 71"/>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5" name="Pie 74"/>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cxnSp>
        <p:nvCxnSpPr>
          <p:cNvPr id="27" name="Straight Connector 26"/>
          <p:cNvCxnSpPr>
            <a:stCxn id="4" idx="3"/>
            <a:endCxn id="9" idx="1"/>
          </p:cNvCxnSpPr>
          <p:nvPr/>
        </p:nvCxnSpPr>
        <p:spPr>
          <a:xfrm>
            <a:off x="3535363" y="3740295"/>
            <a:ext cx="842018" cy="0"/>
          </a:xfrm>
          <a:prstGeom prst="line">
            <a:avLst/>
          </a:prstGeom>
          <a:noFill/>
          <a:ln w="6350">
            <a:solidFill>
              <a:srgbClr val="BBBCBC"/>
            </a:solidFill>
            <a:miter lim="800000"/>
            <a:headEnd type="none" w="sm" len="sm"/>
            <a:tailEnd type="none" w="sm" len="sm"/>
          </a:ln>
        </p:spPr>
      </p:cxnSp>
    </p:spTree>
    <p:extLst>
      <p:ext uri="{BB962C8B-B14F-4D97-AF65-F5344CB8AC3E}">
        <p14:creationId xmlns:p14="http://schemas.microsoft.com/office/powerpoint/2010/main" val="736681886"/>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Text with general trends</a:t>
            </a:r>
          </a:p>
        </p:txBody>
      </p:sp>
      <p:sp>
        <p:nvSpPr>
          <p:cNvPr id="620545" name="Title 1"/>
          <p:cNvSpPr>
            <a:spLocks noGrp="1"/>
          </p:cNvSpPr>
          <p:nvPr>
            <p:ph type="title"/>
          </p:nvPr>
        </p:nvSpPr>
        <p:spPr/>
        <p:txBody>
          <a:bodyPr/>
          <a:lstStyle/>
          <a:p>
            <a:r>
              <a:rPr lang="en-US" dirty="0"/>
              <a:t>Driver trees</a:t>
            </a:r>
          </a:p>
        </p:txBody>
      </p:sp>
      <p:cxnSp>
        <p:nvCxnSpPr>
          <p:cNvPr id="18" name="AutoShape 12"/>
          <p:cNvCxnSpPr>
            <a:cxnSpLocks noChangeShapeType="1"/>
            <a:stCxn id="9" idx="3"/>
            <a:endCxn id="10" idx="1"/>
          </p:cNvCxnSpPr>
          <p:nvPr/>
        </p:nvCxnSpPr>
        <p:spPr bwMode="auto">
          <a:xfrm flipV="1">
            <a:off x="3437319" y="2703196"/>
            <a:ext cx="643541" cy="1147763"/>
          </a:xfrm>
          <a:prstGeom prst="bentConnector3">
            <a:avLst>
              <a:gd name="adj1" fmla="val 50000"/>
            </a:avLst>
          </a:prstGeom>
          <a:noFill/>
          <a:ln w="6350">
            <a:solidFill>
              <a:srgbClr val="BBBCBC"/>
            </a:solidFill>
            <a:miter lim="800000"/>
            <a:headEnd/>
            <a:tailEnd/>
          </a:ln>
        </p:spPr>
      </p:cxnSp>
      <p:cxnSp>
        <p:nvCxnSpPr>
          <p:cNvPr id="19" name="AutoShape 13"/>
          <p:cNvCxnSpPr>
            <a:cxnSpLocks noChangeShapeType="1"/>
            <a:stCxn id="9" idx="3"/>
            <a:endCxn id="11" idx="1"/>
          </p:cNvCxnSpPr>
          <p:nvPr/>
        </p:nvCxnSpPr>
        <p:spPr bwMode="auto">
          <a:xfrm>
            <a:off x="3437319" y="3850958"/>
            <a:ext cx="643541" cy="1147762"/>
          </a:xfrm>
          <a:prstGeom prst="bentConnector3">
            <a:avLst>
              <a:gd name="adj1" fmla="val 50000"/>
            </a:avLst>
          </a:prstGeom>
          <a:noFill/>
          <a:ln w="6350">
            <a:solidFill>
              <a:srgbClr val="BBBCBC"/>
            </a:solidFill>
            <a:miter lim="800000"/>
            <a:headEnd/>
            <a:tailEnd/>
          </a:ln>
        </p:spPr>
      </p:cxnSp>
      <p:cxnSp>
        <p:nvCxnSpPr>
          <p:cNvPr id="20" name="AutoShape 14"/>
          <p:cNvCxnSpPr>
            <a:cxnSpLocks noChangeShapeType="1"/>
            <a:stCxn id="10" idx="3"/>
            <a:endCxn id="12" idx="1"/>
          </p:cNvCxnSpPr>
          <p:nvPr/>
        </p:nvCxnSpPr>
        <p:spPr bwMode="auto">
          <a:xfrm flipV="1">
            <a:off x="5452460" y="1939609"/>
            <a:ext cx="643541" cy="763587"/>
          </a:xfrm>
          <a:prstGeom prst="bentConnector3">
            <a:avLst>
              <a:gd name="adj1" fmla="val 50000"/>
            </a:avLst>
          </a:prstGeom>
          <a:noFill/>
          <a:ln w="6350">
            <a:solidFill>
              <a:srgbClr val="BBBCBC"/>
            </a:solidFill>
            <a:miter lim="800000"/>
            <a:headEnd/>
            <a:tailEnd/>
          </a:ln>
        </p:spPr>
      </p:cxnSp>
      <p:cxnSp>
        <p:nvCxnSpPr>
          <p:cNvPr id="21" name="AutoShape 15"/>
          <p:cNvCxnSpPr>
            <a:cxnSpLocks noChangeShapeType="1"/>
            <a:stCxn id="10" idx="3"/>
            <a:endCxn id="13" idx="1"/>
          </p:cNvCxnSpPr>
          <p:nvPr/>
        </p:nvCxnSpPr>
        <p:spPr bwMode="auto">
          <a:xfrm>
            <a:off x="5452460" y="2703195"/>
            <a:ext cx="643541" cy="0"/>
          </a:xfrm>
          <a:prstGeom prst="straightConnector1">
            <a:avLst/>
          </a:prstGeom>
          <a:noFill/>
          <a:ln w="6350">
            <a:solidFill>
              <a:srgbClr val="BBBCBC"/>
            </a:solidFill>
            <a:round/>
            <a:headEnd/>
            <a:tailEnd/>
          </a:ln>
        </p:spPr>
      </p:cxnSp>
      <p:cxnSp>
        <p:nvCxnSpPr>
          <p:cNvPr id="22" name="AutoShape 16"/>
          <p:cNvCxnSpPr>
            <a:cxnSpLocks noChangeShapeType="1"/>
            <a:stCxn id="10" idx="3"/>
            <a:endCxn id="14" idx="1"/>
          </p:cNvCxnSpPr>
          <p:nvPr/>
        </p:nvCxnSpPr>
        <p:spPr bwMode="auto">
          <a:xfrm>
            <a:off x="5452460" y="2703196"/>
            <a:ext cx="643541" cy="765175"/>
          </a:xfrm>
          <a:prstGeom prst="bentConnector3">
            <a:avLst>
              <a:gd name="adj1" fmla="val 50000"/>
            </a:avLst>
          </a:prstGeom>
          <a:noFill/>
          <a:ln w="6350">
            <a:solidFill>
              <a:srgbClr val="BBBCBC"/>
            </a:solidFill>
            <a:miter lim="800000"/>
            <a:headEnd/>
            <a:tailEnd/>
          </a:ln>
        </p:spPr>
      </p:cxnSp>
      <p:cxnSp>
        <p:nvCxnSpPr>
          <p:cNvPr id="23" name="AutoShape 17"/>
          <p:cNvCxnSpPr>
            <a:cxnSpLocks noChangeShapeType="1"/>
            <a:stCxn id="11" idx="3"/>
            <a:endCxn id="15" idx="1"/>
          </p:cNvCxnSpPr>
          <p:nvPr/>
        </p:nvCxnSpPr>
        <p:spPr bwMode="auto">
          <a:xfrm flipV="1">
            <a:off x="5452460" y="4233546"/>
            <a:ext cx="643541" cy="765175"/>
          </a:xfrm>
          <a:prstGeom prst="bentConnector3">
            <a:avLst>
              <a:gd name="adj1" fmla="val 50000"/>
            </a:avLst>
          </a:prstGeom>
          <a:noFill/>
          <a:ln w="6350">
            <a:solidFill>
              <a:srgbClr val="BBBCBC"/>
            </a:solidFill>
            <a:miter lim="800000"/>
            <a:headEnd/>
            <a:tailEnd/>
          </a:ln>
        </p:spPr>
      </p:cxnSp>
      <p:cxnSp>
        <p:nvCxnSpPr>
          <p:cNvPr id="24" name="AutoShape 18"/>
          <p:cNvCxnSpPr>
            <a:cxnSpLocks noChangeShapeType="1"/>
            <a:stCxn id="11" idx="3"/>
            <a:endCxn id="16" idx="1"/>
          </p:cNvCxnSpPr>
          <p:nvPr/>
        </p:nvCxnSpPr>
        <p:spPr bwMode="auto">
          <a:xfrm>
            <a:off x="5452460" y="4998720"/>
            <a:ext cx="643541" cy="0"/>
          </a:xfrm>
          <a:prstGeom prst="straightConnector1">
            <a:avLst/>
          </a:prstGeom>
          <a:noFill/>
          <a:ln w="6350">
            <a:solidFill>
              <a:srgbClr val="BBBCBC"/>
            </a:solidFill>
            <a:round/>
            <a:headEnd/>
            <a:tailEnd/>
          </a:ln>
        </p:spPr>
      </p:cxnSp>
      <p:cxnSp>
        <p:nvCxnSpPr>
          <p:cNvPr id="25" name="AutoShape 19"/>
          <p:cNvCxnSpPr>
            <a:cxnSpLocks noChangeShapeType="1"/>
            <a:stCxn id="11" idx="3"/>
            <a:endCxn id="17" idx="1"/>
          </p:cNvCxnSpPr>
          <p:nvPr/>
        </p:nvCxnSpPr>
        <p:spPr bwMode="auto">
          <a:xfrm>
            <a:off x="5452460" y="4998721"/>
            <a:ext cx="643541" cy="765175"/>
          </a:xfrm>
          <a:prstGeom prst="bentConnector3">
            <a:avLst>
              <a:gd name="adj1" fmla="val 50000"/>
            </a:avLst>
          </a:prstGeom>
          <a:noFill/>
          <a:ln w="6350">
            <a:solidFill>
              <a:srgbClr val="BBBCBC"/>
            </a:solidFill>
            <a:miter lim="800000"/>
            <a:headEnd/>
            <a:tailEnd/>
          </a:ln>
        </p:spPr>
      </p:cxnSp>
      <p:sp>
        <p:nvSpPr>
          <p:cNvPr id="9" name="Rectangle 3"/>
          <p:cNvSpPr>
            <a:spLocks noChangeArrowheads="1"/>
          </p:cNvSpPr>
          <p:nvPr/>
        </p:nvSpPr>
        <p:spPr bwMode="auto">
          <a:xfrm>
            <a:off x="2065718" y="3576638"/>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0" name="Rectangle 4"/>
          <p:cNvSpPr>
            <a:spLocks noChangeArrowheads="1"/>
          </p:cNvSpPr>
          <p:nvPr/>
        </p:nvSpPr>
        <p:spPr bwMode="auto">
          <a:xfrm>
            <a:off x="4080859" y="2428875"/>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1" name="Rectangle 5"/>
          <p:cNvSpPr>
            <a:spLocks noChangeArrowheads="1"/>
          </p:cNvSpPr>
          <p:nvPr/>
        </p:nvSpPr>
        <p:spPr bwMode="auto">
          <a:xfrm>
            <a:off x="4080859" y="4724400"/>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2" name="Rectangle 6"/>
          <p:cNvSpPr>
            <a:spLocks noChangeArrowheads="1"/>
          </p:cNvSpPr>
          <p:nvPr/>
        </p:nvSpPr>
        <p:spPr bwMode="auto">
          <a:xfrm>
            <a:off x="6096000" y="1665288"/>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3" name="Rectangle 7"/>
          <p:cNvSpPr>
            <a:spLocks noChangeArrowheads="1"/>
          </p:cNvSpPr>
          <p:nvPr/>
        </p:nvSpPr>
        <p:spPr bwMode="auto">
          <a:xfrm>
            <a:off x="6096000" y="2428875"/>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4" name="Rectangle 8"/>
          <p:cNvSpPr>
            <a:spLocks noChangeArrowheads="1"/>
          </p:cNvSpPr>
          <p:nvPr/>
        </p:nvSpPr>
        <p:spPr bwMode="auto">
          <a:xfrm>
            <a:off x="6096000" y="3194050"/>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5" name="Rectangle 9"/>
          <p:cNvSpPr>
            <a:spLocks noChangeArrowheads="1"/>
          </p:cNvSpPr>
          <p:nvPr/>
        </p:nvSpPr>
        <p:spPr bwMode="auto">
          <a:xfrm>
            <a:off x="6096000" y="3959225"/>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6" name="Rectangle 10"/>
          <p:cNvSpPr>
            <a:spLocks noChangeArrowheads="1"/>
          </p:cNvSpPr>
          <p:nvPr/>
        </p:nvSpPr>
        <p:spPr bwMode="auto">
          <a:xfrm>
            <a:off x="6096000" y="4724400"/>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17" name="Rectangle 11"/>
          <p:cNvSpPr>
            <a:spLocks noChangeArrowheads="1"/>
          </p:cNvSpPr>
          <p:nvPr/>
        </p:nvSpPr>
        <p:spPr bwMode="auto">
          <a:xfrm>
            <a:off x="6096000" y="5489575"/>
            <a:ext cx="1371600"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p>
        </p:txBody>
      </p:sp>
      <p:sp>
        <p:nvSpPr>
          <p:cNvPr id="29" name="Text Placeholder 5"/>
          <p:cNvSpPr txBox="1">
            <a:spLocks/>
          </p:cNvSpPr>
          <p:nvPr/>
        </p:nvSpPr>
        <p:spPr>
          <a:xfrm>
            <a:off x="7570904" y="1665289"/>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0" name="Text Placeholder 5"/>
          <p:cNvSpPr txBox="1">
            <a:spLocks/>
          </p:cNvSpPr>
          <p:nvPr/>
        </p:nvSpPr>
        <p:spPr>
          <a:xfrm>
            <a:off x="7570904" y="2430146"/>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1" name="Text Placeholder 5"/>
          <p:cNvSpPr txBox="1">
            <a:spLocks/>
          </p:cNvSpPr>
          <p:nvPr/>
        </p:nvSpPr>
        <p:spPr>
          <a:xfrm>
            <a:off x="7570904" y="3195003"/>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2" name="Text Placeholder 5"/>
          <p:cNvSpPr txBox="1">
            <a:spLocks/>
          </p:cNvSpPr>
          <p:nvPr/>
        </p:nvSpPr>
        <p:spPr>
          <a:xfrm>
            <a:off x="7570904" y="3959860"/>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3" name="Text Placeholder 5"/>
          <p:cNvSpPr txBox="1">
            <a:spLocks/>
          </p:cNvSpPr>
          <p:nvPr/>
        </p:nvSpPr>
        <p:spPr>
          <a:xfrm>
            <a:off x="7570904" y="4724717"/>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34" name="Text Placeholder 5"/>
          <p:cNvSpPr txBox="1">
            <a:spLocks/>
          </p:cNvSpPr>
          <p:nvPr/>
        </p:nvSpPr>
        <p:spPr>
          <a:xfrm>
            <a:off x="7570904" y="5489576"/>
            <a:ext cx="2908508" cy="5386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000" dirty="0">
                <a:solidFill>
                  <a:schemeClr val="tx1"/>
                </a:solidFill>
              </a:rPr>
              <a:t>This is dummy text its not here to be read</a:t>
            </a:r>
          </a:p>
          <a:p>
            <a:pPr marL="254000" lvl="2" indent="-114300">
              <a:spcBef>
                <a:spcPts val="600"/>
              </a:spcBef>
              <a:buSzPct val="100000"/>
              <a:buFont typeface="Arial"/>
              <a:buChar char="−"/>
            </a:pPr>
            <a:r>
              <a:rPr lang="en-US" sz="1000" dirty="0">
                <a:solidFill>
                  <a:schemeClr val="tx1"/>
                </a:solidFill>
              </a:rPr>
              <a:t>This is a level 2 bullet this is dummy text its not here to be read</a:t>
            </a:r>
          </a:p>
        </p:txBody>
      </p:sp>
      <p:sp>
        <p:nvSpPr>
          <p:cNvPr id="27" name="Rectangle 15">
            <a:extLst>
              <a:ext uri="{FF2B5EF4-FFF2-40B4-BE49-F238E27FC236}">
                <a16:creationId xmlns:a16="http://schemas.microsoft.com/office/drawing/2014/main" id="{B063E9B5-53AC-4C8C-A1C4-665A29E9F285}"/>
              </a:ext>
            </a:extLst>
          </p:cNvPr>
          <p:cNvSpPr>
            <a:spLocks noChangeArrowheads="1"/>
          </p:cNvSpPr>
          <p:nvPr/>
        </p:nvSpPr>
        <p:spPr bwMode="gray">
          <a:xfrm>
            <a:off x="7562373" y="1348793"/>
            <a:ext cx="2909455" cy="203069"/>
          </a:xfrm>
          <a:prstGeom prst="rect">
            <a:avLst/>
          </a:prstGeom>
          <a:noFill/>
          <a:ln w="9525" algn="ctr">
            <a:noFill/>
            <a:miter lim="800000"/>
            <a:headEnd/>
            <a:tailEnd/>
          </a:ln>
        </p:spPr>
        <p:txBody>
          <a:bodyPr wrap="square" lIns="0" tIns="0" rIns="0" bIns="0">
            <a:spAutoFit/>
          </a:bodyPr>
          <a:lstStyle/>
          <a:p>
            <a:pPr algn="ctr" eaLnBrk="1" hangingPunct="1">
              <a:lnSpc>
                <a:spcPct val="106000"/>
              </a:lnSpc>
              <a:spcBef>
                <a:spcPct val="20000"/>
              </a:spcBef>
              <a:buClr>
                <a:srgbClr val="002776"/>
              </a:buClr>
            </a:pPr>
            <a:r>
              <a:rPr lang="en-GB" sz="1300" dirty="0">
                <a:cs typeface="Arial" pitchFamily="34" charset="0"/>
              </a:rPr>
              <a:t>Unit or additional information</a:t>
            </a:r>
          </a:p>
        </p:txBody>
      </p:sp>
    </p:spTree>
    <p:extLst>
      <p:ext uri="{BB962C8B-B14F-4D97-AF65-F5344CB8AC3E}">
        <p14:creationId xmlns:p14="http://schemas.microsoft.com/office/powerpoint/2010/main" val="1423266824"/>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Expanded text</a:t>
            </a:r>
            <a:endParaRPr lang="en-US" dirty="0"/>
          </a:p>
        </p:txBody>
      </p:sp>
      <p:sp>
        <p:nvSpPr>
          <p:cNvPr id="241668" name="Title 1"/>
          <p:cNvSpPr>
            <a:spLocks noGrp="1"/>
          </p:cNvSpPr>
          <p:nvPr>
            <p:ph type="title"/>
          </p:nvPr>
        </p:nvSpPr>
        <p:spPr/>
        <p:txBody>
          <a:bodyPr/>
          <a:lstStyle/>
          <a:p>
            <a:r>
              <a:rPr lang="en-US"/>
              <a:t>Driver trees </a:t>
            </a:r>
            <a:endParaRPr lang="en-US" dirty="0"/>
          </a:p>
        </p:txBody>
      </p:sp>
      <p:sp>
        <p:nvSpPr>
          <p:cNvPr id="11" name="AutoShape 4"/>
          <p:cNvSpPr>
            <a:spLocks noChangeArrowheads="1"/>
          </p:cNvSpPr>
          <p:nvPr/>
        </p:nvSpPr>
        <p:spPr bwMode="auto">
          <a:xfrm>
            <a:off x="814268" y="1611544"/>
            <a:ext cx="10876082" cy="366712"/>
          </a:xfrm>
          <a:prstGeom prst="homePlate">
            <a:avLst>
              <a:gd name="adj" fmla="val 58990"/>
            </a:avLst>
          </a:prstGeom>
          <a:solidFill>
            <a:srgbClr val="0097A9"/>
          </a:solidFill>
          <a:ln w="12700" algn="ctr">
            <a:noFill/>
            <a:miter lim="800000"/>
            <a:headEnd/>
            <a:tailEnd/>
          </a:ln>
        </p:spPr>
        <p:txBody>
          <a:bodyPr lIns="36000" tIns="36000" rIns="36000" bIns="36000" anchor="ctr"/>
          <a:lstStyle/>
          <a:p>
            <a:pPr algn="ctr">
              <a:defRPr/>
            </a:pPr>
            <a:r>
              <a:rPr lang="en-US" dirty="0">
                <a:solidFill>
                  <a:schemeClr val="bg1"/>
                </a:solidFill>
                <a:ea typeface="ＭＳ Ｐゴシック" pitchFamily="50" charset="-128"/>
              </a:rPr>
              <a:t>Text</a:t>
            </a:r>
            <a:endParaRPr lang="en-US" altLang="ja-JP" dirty="0">
              <a:solidFill>
                <a:schemeClr val="bg1"/>
              </a:solidFill>
              <a:ea typeface="ＭＳ Ｐゴシック" pitchFamily="50" charset="-128"/>
            </a:endParaRPr>
          </a:p>
        </p:txBody>
      </p:sp>
      <p:cxnSp>
        <p:nvCxnSpPr>
          <p:cNvPr id="27" name="AutoShape 21"/>
          <p:cNvCxnSpPr>
            <a:cxnSpLocks noChangeShapeType="1"/>
            <a:stCxn id="18" idx="1"/>
            <a:endCxn id="14" idx="3"/>
          </p:cNvCxnSpPr>
          <p:nvPr/>
        </p:nvCxnSpPr>
        <p:spPr bwMode="gray">
          <a:xfrm rot="10800000" flipV="1">
            <a:off x="4649625" y="2304912"/>
            <a:ext cx="677388" cy="590118"/>
          </a:xfrm>
          <a:prstGeom prst="bentConnector3">
            <a:avLst>
              <a:gd name="adj1" fmla="val 50000"/>
            </a:avLst>
          </a:prstGeom>
          <a:noFill/>
          <a:ln w="6350">
            <a:solidFill>
              <a:srgbClr val="BBBCBC"/>
            </a:solidFill>
            <a:miter lim="800000"/>
            <a:headEnd/>
            <a:tailEnd type="triangle" w="med" len="med"/>
          </a:ln>
        </p:spPr>
      </p:cxnSp>
      <p:cxnSp>
        <p:nvCxnSpPr>
          <p:cNvPr id="28" name="AutoShape 22"/>
          <p:cNvCxnSpPr>
            <a:cxnSpLocks noChangeShapeType="1"/>
            <a:stCxn id="15" idx="1"/>
            <a:endCxn id="14" idx="3"/>
          </p:cNvCxnSpPr>
          <p:nvPr/>
        </p:nvCxnSpPr>
        <p:spPr bwMode="gray">
          <a:xfrm flipH="1">
            <a:off x="4649622" y="2895030"/>
            <a:ext cx="677389" cy="0"/>
          </a:xfrm>
          <a:prstGeom prst="straightConnector1">
            <a:avLst/>
          </a:prstGeom>
          <a:noFill/>
          <a:ln w="6350">
            <a:solidFill>
              <a:srgbClr val="BBBCBC"/>
            </a:solidFill>
            <a:round/>
            <a:headEnd/>
            <a:tailEnd type="triangle" w="med" len="med"/>
          </a:ln>
        </p:spPr>
      </p:cxnSp>
      <p:cxnSp>
        <p:nvCxnSpPr>
          <p:cNvPr id="29" name="AutoShape 23"/>
          <p:cNvCxnSpPr>
            <a:cxnSpLocks noChangeShapeType="1"/>
            <a:stCxn id="17" idx="1"/>
            <a:endCxn id="14" idx="3"/>
          </p:cNvCxnSpPr>
          <p:nvPr/>
        </p:nvCxnSpPr>
        <p:spPr bwMode="gray">
          <a:xfrm rot="10800000">
            <a:off x="4649625" y="2895030"/>
            <a:ext cx="677388" cy="590118"/>
          </a:xfrm>
          <a:prstGeom prst="bentConnector3">
            <a:avLst>
              <a:gd name="adj1" fmla="val 50000"/>
            </a:avLst>
          </a:prstGeom>
          <a:noFill/>
          <a:ln w="6350">
            <a:solidFill>
              <a:srgbClr val="BBBCBC"/>
            </a:solidFill>
            <a:miter lim="800000"/>
            <a:headEnd/>
            <a:tailEnd type="triangle" w="med" len="med"/>
          </a:ln>
        </p:spPr>
      </p:cxnSp>
      <p:cxnSp>
        <p:nvCxnSpPr>
          <p:cNvPr id="30" name="AutoShape 24"/>
          <p:cNvCxnSpPr>
            <a:cxnSpLocks noChangeShapeType="1"/>
            <a:stCxn id="16" idx="1"/>
            <a:endCxn id="13" idx="3"/>
          </p:cNvCxnSpPr>
          <p:nvPr/>
        </p:nvCxnSpPr>
        <p:spPr bwMode="gray">
          <a:xfrm rot="10800000" flipV="1">
            <a:off x="4649622" y="4075266"/>
            <a:ext cx="677389" cy="590118"/>
          </a:xfrm>
          <a:prstGeom prst="bentConnector3">
            <a:avLst>
              <a:gd name="adj1" fmla="val 50000"/>
            </a:avLst>
          </a:prstGeom>
          <a:noFill/>
          <a:ln w="6350">
            <a:solidFill>
              <a:srgbClr val="BBBCBC"/>
            </a:solidFill>
            <a:miter lim="800000"/>
            <a:headEnd/>
            <a:tailEnd type="triangle" w="med" len="med"/>
          </a:ln>
        </p:spPr>
      </p:cxnSp>
      <p:cxnSp>
        <p:nvCxnSpPr>
          <p:cNvPr id="31" name="AutoShape 25"/>
          <p:cNvCxnSpPr>
            <a:cxnSpLocks noChangeShapeType="1"/>
            <a:stCxn id="20" idx="1"/>
            <a:endCxn id="13" idx="3"/>
          </p:cNvCxnSpPr>
          <p:nvPr/>
        </p:nvCxnSpPr>
        <p:spPr bwMode="gray">
          <a:xfrm flipH="1">
            <a:off x="4649624" y="4665384"/>
            <a:ext cx="677388" cy="0"/>
          </a:xfrm>
          <a:prstGeom prst="straightConnector1">
            <a:avLst/>
          </a:prstGeom>
          <a:noFill/>
          <a:ln w="6350">
            <a:solidFill>
              <a:srgbClr val="BBBCBC"/>
            </a:solidFill>
            <a:round/>
            <a:headEnd/>
            <a:tailEnd type="triangle" w="med" len="med"/>
          </a:ln>
        </p:spPr>
      </p:cxnSp>
      <p:cxnSp>
        <p:nvCxnSpPr>
          <p:cNvPr id="32" name="AutoShape 26"/>
          <p:cNvCxnSpPr>
            <a:cxnSpLocks noChangeShapeType="1"/>
            <a:stCxn id="19" idx="1"/>
            <a:endCxn id="13" idx="3"/>
          </p:cNvCxnSpPr>
          <p:nvPr/>
        </p:nvCxnSpPr>
        <p:spPr bwMode="gray">
          <a:xfrm rot="10800000">
            <a:off x="4649625" y="4665384"/>
            <a:ext cx="677388" cy="590120"/>
          </a:xfrm>
          <a:prstGeom prst="bentConnector3">
            <a:avLst>
              <a:gd name="adj1" fmla="val 50000"/>
            </a:avLst>
          </a:prstGeom>
          <a:noFill/>
          <a:ln w="6350">
            <a:solidFill>
              <a:srgbClr val="BBBCBC"/>
            </a:solidFill>
            <a:miter lim="800000"/>
            <a:headEnd/>
            <a:tailEnd type="triangle" w="med" len="med"/>
          </a:ln>
        </p:spPr>
      </p:cxnSp>
      <p:cxnSp>
        <p:nvCxnSpPr>
          <p:cNvPr id="33" name="AutoShape 27"/>
          <p:cNvCxnSpPr>
            <a:cxnSpLocks noChangeShapeType="1"/>
            <a:stCxn id="14" idx="1"/>
            <a:endCxn id="10" idx="3"/>
          </p:cNvCxnSpPr>
          <p:nvPr/>
        </p:nvCxnSpPr>
        <p:spPr bwMode="gray">
          <a:xfrm rot="10800000" flipV="1">
            <a:off x="2429900" y="2895030"/>
            <a:ext cx="604087" cy="885178"/>
          </a:xfrm>
          <a:prstGeom prst="bentConnector3">
            <a:avLst>
              <a:gd name="adj1" fmla="val 50000"/>
            </a:avLst>
          </a:prstGeom>
          <a:noFill/>
          <a:ln w="6350">
            <a:solidFill>
              <a:srgbClr val="BBBCBC"/>
            </a:solidFill>
            <a:miter lim="800000"/>
            <a:headEnd/>
            <a:tailEnd type="triangle" w="med" len="med"/>
          </a:ln>
        </p:spPr>
      </p:cxnSp>
      <p:cxnSp>
        <p:nvCxnSpPr>
          <p:cNvPr id="34" name="AutoShape 28"/>
          <p:cNvCxnSpPr>
            <a:cxnSpLocks noChangeShapeType="1"/>
            <a:stCxn id="13" idx="1"/>
            <a:endCxn id="10" idx="3"/>
          </p:cNvCxnSpPr>
          <p:nvPr/>
        </p:nvCxnSpPr>
        <p:spPr bwMode="gray">
          <a:xfrm rot="10800000">
            <a:off x="2429900" y="3780208"/>
            <a:ext cx="604087" cy="885176"/>
          </a:xfrm>
          <a:prstGeom prst="bentConnector3">
            <a:avLst>
              <a:gd name="adj1" fmla="val 50000"/>
            </a:avLst>
          </a:prstGeom>
          <a:noFill/>
          <a:ln w="6350">
            <a:solidFill>
              <a:srgbClr val="BBBCBC"/>
            </a:solidFill>
            <a:miter lim="800000"/>
            <a:headEnd/>
            <a:tailEnd type="triangle" w="med" len="med"/>
          </a:ln>
        </p:spPr>
      </p:cxnSp>
      <p:sp>
        <p:nvSpPr>
          <p:cNvPr id="37" name="Text Box 10"/>
          <p:cNvSpPr txBox="1">
            <a:spLocks noChangeArrowheads="1"/>
          </p:cNvSpPr>
          <p:nvPr/>
        </p:nvSpPr>
        <p:spPr bwMode="auto">
          <a:xfrm>
            <a:off x="7015047" y="2030592"/>
            <a:ext cx="4362683" cy="365760"/>
          </a:xfrm>
          <a:prstGeom prst="rect">
            <a:avLst/>
          </a:prstGeom>
          <a:solidFill>
            <a:schemeClr val="tx1"/>
          </a:solidFill>
          <a:ln w="12700" algn="ctr">
            <a:noFill/>
            <a:miter lim="800000"/>
            <a:headEnd/>
            <a:tailEnd type="none" w="sm" len="med"/>
          </a:ln>
        </p:spPr>
        <p:txBody>
          <a:bodyPr lIns="88900" tIns="88900" rIns="88900" bIns="88900" anchor="ctr" anchorCtr="0"/>
          <a:lstStyle/>
          <a:p>
            <a:pPr defTabSz="957263"/>
            <a:r>
              <a:rPr lang="en-US" sz="1200" dirty="0">
                <a:solidFill>
                  <a:schemeClr val="bg1"/>
                </a:solidFill>
              </a:rPr>
              <a:t>Text</a:t>
            </a:r>
          </a:p>
        </p:txBody>
      </p:sp>
      <p:sp>
        <p:nvSpPr>
          <p:cNvPr id="38" name="Text Placeholder 5"/>
          <p:cNvSpPr txBox="1">
            <a:spLocks/>
          </p:cNvSpPr>
          <p:nvPr/>
        </p:nvSpPr>
        <p:spPr>
          <a:xfrm>
            <a:off x="7015047" y="2387868"/>
            <a:ext cx="4362683" cy="1371600"/>
          </a:xfrm>
          <a:prstGeom prst="rect">
            <a:avLst/>
          </a:prstGeom>
          <a:solidFill>
            <a:srgbClr val="FFFFFF"/>
          </a:solidFill>
          <a:ln w="12700">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not to be read</a:t>
            </a:r>
          </a:p>
          <a:p>
            <a:pPr marL="114300" lvl="1" indent="-114300">
              <a:spcBef>
                <a:spcPts val="600"/>
              </a:spcBef>
              <a:buSzPct val="100000"/>
              <a:buFont typeface="Arial"/>
              <a:buChar char="•"/>
            </a:pPr>
            <a:r>
              <a:rPr lang="en-US" sz="1000" dirty="0">
                <a:solidFill>
                  <a:schemeClr val="tx1"/>
                </a:solidFill>
              </a:rPr>
              <a:t>This is a level 1 bullet</a:t>
            </a:r>
          </a:p>
          <a:p>
            <a:pPr marL="254000" lvl="2" indent="-114300">
              <a:spcBef>
                <a:spcPts val="600"/>
              </a:spcBef>
              <a:buSzPct val="100000"/>
              <a:buFont typeface="Arial"/>
              <a:buChar char="−"/>
            </a:pPr>
            <a:r>
              <a:rPr lang="en-US" sz="1000" dirty="0">
                <a:solidFill>
                  <a:schemeClr val="tx1"/>
                </a:solidFill>
              </a:rPr>
              <a:t>This is a level 2 bullet </a:t>
            </a:r>
          </a:p>
        </p:txBody>
      </p:sp>
      <p:sp>
        <p:nvSpPr>
          <p:cNvPr id="45" name="Text Box 10"/>
          <p:cNvSpPr txBox="1">
            <a:spLocks noChangeArrowheads="1"/>
          </p:cNvSpPr>
          <p:nvPr/>
        </p:nvSpPr>
        <p:spPr bwMode="auto">
          <a:xfrm>
            <a:off x="7015047" y="3805163"/>
            <a:ext cx="4362683" cy="365760"/>
          </a:xfrm>
          <a:prstGeom prst="rect">
            <a:avLst/>
          </a:prstGeom>
          <a:solidFill>
            <a:schemeClr val="tx1"/>
          </a:solidFill>
          <a:ln w="12700" algn="ctr">
            <a:noFill/>
            <a:miter lim="800000"/>
            <a:headEnd/>
            <a:tailEnd type="none" w="sm" len="med"/>
          </a:ln>
        </p:spPr>
        <p:txBody>
          <a:bodyPr lIns="88900" tIns="88900" rIns="88900" bIns="88900" anchor="ctr" anchorCtr="0"/>
          <a:lstStyle/>
          <a:p>
            <a:pPr defTabSz="957263"/>
            <a:r>
              <a:rPr lang="en-US" sz="1200" dirty="0">
                <a:solidFill>
                  <a:schemeClr val="bg1"/>
                </a:solidFill>
              </a:rPr>
              <a:t>Text</a:t>
            </a:r>
          </a:p>
        </p:txBody>
      </p:sp>
      <p:sp>
        <p:nvSpPr>
          <p:cNvPr id="46" name="Text Placeholder 5"/>
          <p:cNvSpPr txBox="1">
            <a:spLocks/>
          </p:cNvSpPr>
          <p:nvPr/>
        </p:nvSpPr>
        <p:spPr>
          <a:xfrm>
            <a:off x="7015047" y="4158224"/>
            <a:ext cx="4362683" cy="1371600"/>
          </a:xfrm>
          <a:prstGeom prst="rect">
            <a:avLst/>
          </a:prstGeom>
          <a:solidFill>
            <a:srgbClr val="FFFFFF"/>
          </a:solidFill>
          <a:ln w="12700">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rPr>
              <a:t>This is dummy text not to be read</a:t>
            </a:r>
          </a:p>
          <a:p>
            <a:pPr marL="114300" lvl="1" indent="-114300">
              <a:spcBef>
                <a:spcPts val="600"/>
              </a:spcBef>
              <a:buSzPct val="100000"/>
              <a:buFont typeface="Arial"/>
              <a:buChar char="•"/>
            </a:pPr>
            <a:r>
              <a:rPr lang="en-US" sz="1000" dirty="0">
                <a:solidFill>
                  <a:schemeClr val="tx1"/>
                </a:solidFill>
              </a:rPr>
              <a:t>This is a level 1 bullet</a:t>
            </a:r>
          </a:p>
          <a:p>
            <a:pPr marL="254000" lvl="2" indent="-114300">
              <a:spcBef>
                <a:spcPts val="600"/>
              </a:spcBef>
              <a:buSzPct val="100000"/>
              <a:buFont typeface="Arial"/>
              <a:buChar char="−"/>
            </a:pPr>
            <a:r>
              <a:rPr lang="en-US" sz="1000" dirty="0">
                <a:solidFill>
                  <a:schemeClr val="tx1"/>
                </a:solidFill>
              </a:rPr>
              <a:t>This is a level 2 bullet </a:t>
            </a:r>
          </a:p>
        </p:txBody>
      </p:sp>
      <p:sp>
        <p:nvSpPr>
          <p:cNvPr id="10" name="Rectangle 3"/>
          <p:cNvSpPr>
            <a:spLocks noChangeArrowheads="1"/>
          </p:cNvSpPr>
          <p:nvPr/>
        </p:nvSpPr>
        <p:spPr bwMode="auto">
          <a:xfrm>
            <a:off x="814265" y="3505888"/>
            <a:ext cx="1615635"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3" name="Rectangle 6"/>
          <p:cNvSpPr>
            <a:spLocks noChangeArrowheads="1"/>
          </p:cNvSpPr>
          <p:nvPr/>
        </p:nvSpPr>
        <p:spPr bwMode="auto">
          <a:xfrm>
            <a:off x="3033987" y="4391064"/>
            <a:ext cx="1615635"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4" name="Rectangle 7"/>
          <p:cNvSpPr>
            <a:spLocks noChangeArrowheads="1"/>
          </p:cNvSpPr>
          <p:nvPr/>
        </p:nvSpPr>
        <p:spPr bwMode="auto">
          <a:xfrm>
            <a:off x="3033987" y="2620710"/>
            <a:ext cx="1615635" cy="548640"/>
          </a:xfrm>
          <a:prstGeom prst="rect">
            <a:avLst/>
          </a:prstGeom>
          <a:solidFill>
            <a:schemeClr val="accent2"/>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5" name="Rectangle 8"/>
          <p:cNvSpPr>
            <a:spLocks noChangeArrowheads="1"/>
          </p:cNvSpPr>
          <p:nvPr/>
        </p:nvSpPr>
        <p:spPr bwMode="auto">
          <a:xfrm>
            <a:off x="5327011" y="2620710"/>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6" name="Rectangle 9"/>
          <p:cNvSpPr>
            <a:spLocks noChangeArrowheads="1"/>
          </p:cNvSpPr>
          <p:nvPr/>
        </p:nvSpPr>
        <p:spPr bwMode="auto">
          <a:xfrm>
            <a:off x="5327011" y="3800946"/>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7" name="Rectangle 10"/>
          <p:cNvSpPr>
            <a:spLocks noChangeArrowheads="1"/>
          </p:cNvSpPr>
          <p:nvPr/>
        </p:nvSpPr>
        <p:spPr bwMode="auto">
          <a:xfrm>
            <a:off x="5327010" y="3210828"/>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8" name="Rectangle 11"/>
          <p:cNvSpPr>
            <a:spLocks noChangeArrowheads="1"/>
          </p:cNvSpPr>
          <p:nvPr/>
        </p:nvSpPr>
        <p:spPr bwMode="auto">
          <a:xfrm>
            <a:off x="5327010" y="2030592"/>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19" name="Rectangle 12"/>
          <p:cNvSpPr>
            <a:spLocks noChangeArrowheads="1"/>
          </p:cNvSpPr>
          <p:nvPr/>
        </p:nvSpPr>
        <p:spPr bwMode="auto">
          <a:xfrm>
            <a:off x="5327010" y="4981184"/>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20" name="Rectangle 13"/>
          <p:cNvSpPr>
            <a:spLocks noChangeArrowheads="1"/>
          </p:cNvSpPr>
          <p:nvPr/>
        </p:nvSpPr>
        <p:spPr bwMode="auto">
          <a:xfrm>
            <a:off x="5327010" y="4391064"/>
            <a:ext cx="1615635" cy="548640"/>
          </a:xfrm>
          <a:prstGeom prst="rect">
            <a:avLst/>
          </a:prstGeom>
          <a:solidFill>
            <a:schemeClr val="tx1"/>
          </a:solidFill>
          <a:ln w="19050" algn="ctr">
            <a:noFill/>
            <a:miter lim="800000"/>
            <a:headEnd type="none" w="sm" len="sm"/>
            <a:tailEnd type="none" w="med" len="lg"/>
          </a:ln>
        </p:spPr>
        <p:txBody>
          <a:bodyPr lIns="88900" tIns="88900" rIns="88900" bIns="88900" anchor="ctr"/>
          <a:lstStyle/>
          <a:p>
            <a:pPr>
              <a:spcBef>
                <a:spcPts val="200"/>
              </a:spcBef>
            </a:pPr>
            <a:r>
              <a:rPr lang="en-US" sz="1200" dirty="0">
                <a:solidFill>
                  <a:schemeClr val="bg1"/>
                </a:solidFill>
                <a:ea typeface="ＭＳ Ｐゴシック" pitchFamily="50" charset="-128"/>
                <a:cs typeface="Arial" pitchFamily="34" charset="0"/>
              </a:rPr>
              <a:t>Text</a:t>
            </a:r>
            <a:endParaRPr lang="en-US" altLang="ja-JP" sz="1200" dirty="0">
              <a:solidFill>
                <a:schemeClr val="bg1"/>
              </a:solidFill>
              <a:ea typeface="ＭＳ Ｐゴシック" pitchFamily="50" charset="-128"/>
              <a:cs typeface="Arial" pitchFamily="34" charset="0"/>
            </a:endParaRPr>
          </a:p>
        </p:txBody>
      </p:sp>
      <p:sp>
        <p:nvSpPr>
          <p:cNvPr id="40" name="AutoShape 4"/>
          <p:cNvSpPr>
            <a:spLocks noChangeArrowheads="1"/>
          </p:cNvSpPr>
          <p:nvPr/>
        </p:nvSpPr>
        <p:spPr bwMode="auto">
          <a:xfrm flipH="1">
            <a:off x="501650" y="5594823"/>
            <a:ext cx="10876082" cy="366712"/>
          </a:xfrm>
          <a:prstGeom prst="homePlate">
            <a:avLst>
              <a:gd name="adj" fmla="val 58990"/>
            </a:avLst>
          </a:prstGeom>
          <a:solidFill>
            <a:srgbClr val="0097A9"/>
          </a:solidFill>
          <a:ln w="12700" algn="ctr">
            <a:noFill/>
            <a:miter lim="800000"/>
            <a:headEnd/>
            <a:tailEnd/>
          </a:ln>
        </p:spPr>
        <p:txBody>
          <a:bodyPr lIns="36000" tIns="36000" rIns="36000" bIns="36000" anchor="ctr"/>
          <a:lstStyle/>
          <a:p>
            <a:pPr algn="ctr">
              <a:defRPr/>
            </a:pPr>
            <a:r>
              <a:rPr lang="en-US" dirty="0">
                <a:solidFill>
                  <a:schemeClr val="bg1"/>
                </a:solidFill>
                <a:ea typeface="ＭＳ Ｐゴシック" pitchFamily="50" charset="-128"/>
              </a:rPr>
              <a:t>Text</a:t>
            </a:r>
            <a:endParaRPr lang="en-US" altLang="ja-JP" dirty="0">
              <a:solidFill>
                <a:schemeClr val="bg1"/>
              </a:solidFill>
              <a:ea typeface="ＭＳ Ｐゴシック" pitchFamily="50" charset="-128"/>
            </a:endParaRPr>
          </a:p>
        </p:txBody>
      </p:sp>
    </p:spTree>
    <p:extLst>
      <p:ext uri="{BB962C8B-B14F-4D97-AF65-F5344CB8AC3E}">
        <p14:creationId xmlns:p14="http://schemas.microsoft.com/office/powerpoint/2010/main" val="861487129"/>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Arrows showing trend</a:t>
            </a:r>
          </a:p>
        </p:txBody>
      </p:sp>
      <p:sp>
        <p:nvSpPr>
          <p:cNvPr id="622593" name="Title 1"/>
          <p:cNvSpPr>
            <a:spLocks noGrp="1"/>
          </p:cNvSpPr>
          <p:nvPr>
            <p:ph type="title"/>
          </p:nvPr>
        </p:nvSpPr>
        <p:spPr/>
        <p:txBody>
          <a:bodyPr/>
          <a:lstStyle/>
          <a:p>
            <a:r>
              <a:rPr lang="en-US" dirty="0"/>
              <a:t>Driver trees </a:t>
            </a:r>
          </a:p>
        </p:txBody>
      </p:sp>
      <p:cxnSp>
        <p:nvCxnSpPr>
          <p:cNvPr id="11" name="AutoShape 10"/>
          <p:cNvCxnSpPr>
            <a:cxnSpLocks noChangeShapeType="1"/>
            <a:stCxn id="7" idx="1"/>
            <a:endCxn id="5" idx="3"/>
          </p:cNvCxnSpPr>
          <p:nvPr/>
        </p:nvCxnSpPr>
        <p:spPr bwMode="auto">
          <a:xfrm rot="10800000" flipV="1">
            <a:off x="5450318" y="2654934"/>
            <a:ext cx="812864" cy="476250"/>
          </a:xfrm>
          <a:prstGeom prst="bentConnector3">
            <a:avLst>
              <a:gd name="adj1" fmla="val 50000"/>
            </a:avLst>
          </a:prstGeom>
          <a:noFill/>
          <a:ln w="6350">
            <a:solidFill>
              <a:srgbClr val="BBBCBC"/>
            </a:solidFill>
            <a:miter lim="800000"/>
            <a:headEnd/>
            <a:tailEnd/>
          </a:ln>
        </p:spPr>
      </p:cxnSp>
      <p:cxnSp>
        <p:nvCxnSpPr>
          <p:cNvPr id="12" name="AutoShape 11"/>
          <p:cNvCxnSpPr>
            <a:cxnSpLocks noChangeShapeType="1"/>
            <a:stCxn id="8" idx="1"/>
            <a:endCxn id="5" idx="3"/>
          </p:cNvCxnSpPr>
          <p:nvPr/>
        </p:nvCxnSpPr>
        <p:spPr bwMode="auto">
          <a:xfrm rot="10800000">
            <a:off x="5450318" y="3131186"/>
            <a:ext cx="812864" cy="581025"/>
          </a:xfrm>
          <a:prstGeom prst="bentConnector3">
            <a:avLst>
              <a:gd name="adj1" fmla="val 50000"/>
            </a:avLst>
          </a:prstGeom>
          <a:noFill/>
          <a:ln w="6350">
            <a:solidFill>
              <a:srgbClr val="BBBCBC"/>
            </a:solidFill>
            <a:miter lim="800000"/>
            <a:headEnd/>
            <a:tailEnd/>
          </a:ln>
        </p:spPr>
      </p:cxnSp>
      <p:cxnSp>
        <p:nvCxnSpPr>
          <p:cNvPr id="13" name="AutoShape 12"/>
          <p:cNvCxnSpPr>
            <a:cxnSpLocks noChangeShapeType="1"/>
            <a:stCxn id="9" idx="1"/>
            <a:endCxn id="6" idx="3"/>
          </p:cNvCxnSpPr>
          <p:nvPr/>
        </p:nvCxnSpPr>
        <p:spPr bwMode="auto">
          <a:xfrm rot="10800000" flipV="1">
            <a:off x="5450318" y="4699634"/>
            <a:ext cx="812864" cy="565150"/>
          </a:xfrm>
          <a:prstGeom prst="bentConnector3">
            <a:avLst>
              <a:gd name="adj1" fmla="val 50000"/>
            </a:avLst>
          </a:prstGeom>
          <a:noFill/>
          <a:ln w="6350">
            <a:solidFill>
              <a:srgbClr val="BBBCBC"/>
            </a:solidFill>
            <a:miter lim="800000"/>
            <a:headEnd/>
            <a:tailEnd/>
          </a:ln>
        </p:spPr>
      </p:cxnSp>
      <p:cxnSp>
        <p:nvCxnSpPr>
          <p:cNvPr id="14" name="AutoShape 13"/>
          <p:cNvCxnSpPr>
            <a:cxnSpLocks noChangeShapeType="1"/>
            <a:stCxn id="10" idx="1"/>
            <a:endCxn id="6" idx="3"/>
          </p:cNvCxnSpPr>
          <p:nvPr/>
        </p:nvCxnSpPr>
        <p:spPr bwMode="auto">
          <a:xfrm rot="10800000">
            <a:off x="5450318" y="5264786"/>
            <a:ext cx="812864" cy="442913"/>
          </a:xfrm>
          <a:prstGeom prst="bentConnector3">
            <a:avLst>
              <a:gd name="adj1" fmla="val 50000"/>
            </a:avLst>
          </a:prstGeom>
          <a:noFill/>
          <a:ln w="6350">
            <a:solidFill>
              <a:srgbClr val="BBBCBC"/>
            </a:solidFill>
            <a:miter lim="800000"/>
            <a:headEnd/>
            <a:tailEnd/>
          </a:ln>
        </p:spPr>
      </p:cxnSp>
      <p:cxnSp>
        <p:nvCxnSpPr>
          <p:cNvPr id="15" name="AutoShape 14"/>
          <p:cNvCxnSpPr>
            <a:cxnSpLocks noChangeShapeType="1"/>
            <a:stCxn id="5" idx="1"/>
            <a:endCxn id="4" idx="3"/>
          </p:cNvCxnSpPr>
          <p:nvPr/>
        </p:nvCxnSpPr>
        <p:spPr bwMode="auto">
          <a:xfrm rot="10800000" flipV="1">
            <a:off x="3265854" y="3131184"/>
            <a:ext cx="812864" cy="1049338"/>
          </a:xfrm>
          <a:prstGeom prst="bentConnector3">
            <a:avLst>
              <a:gd name="adj1" fmla="val 50000"/>
            </a:avLst>
          </a:prstGeom>
          <a:noFill/>
          <a:ln w="6350">
            <a:solidFill>
              <a:srgbClr val="BBBCBC"/>
            </a:solidFill>
            <a:miter lim="800000"/>
            <a:headEnd/>
            <a:tailEnd/>
          </a:ln>
        </p:spPr>
      </p:cxnSp>
      <p:cxnSp>
        <p:nvCxnSpPr>
          <p:cNvPr id="16" name="AutoShape 15"/>
          <p:cNvCxnSpPr>
            <a:cxnSpLocks noChangeShapeType="1"/>
            <a:stCxn id="6" idx="1"/>
            <a:endCxn id="4" idx="3"/>
          </p:cNvCxnSpPr>
          <p:nvPr/>
        </p:nvCxnSpPr>
        <p:spPr bwMode="auto">
          <a:xfrm rot="10800000">
            <a:off x="3265854" y="4180522"/>
            <a:ext cx="812864" cy="1084262"/>
          </a:xfrm>
          <a:prstGeom prst="bentConnector3">
            <a:avLst>
              <a:gd name="adj1" fmla="val 50000"/>
            </a:avLst>
          </a:prstGeom>
          <a:noFill/>
          <a:ln w="6350">
            <a:solidFill>
              <a:srgbClr val="BBBCBC"/>
            </a:solidFill>
            <a:miter lim="800000"/>
            <a:headEnd/>
            <a:tailEnd/>
          </a:ln>
        </p:spPr>
      </p:cxnSp>
      <p:cxnSp>
        <p:nvCxnSpPr>
          <p:cNvPr id="20" name="AutoShape 19"/>
          <p:cNvCxnSpPr>
            <a:cxnSpLocks noChangeShapeType="1"/>
            <a:stCxn id="17" idx="1"/>
            <a:endCxn id="7" idx="3"/>
          </p:cNvCxnSpPr>
          <p:nvPr/>
        </p:nvCxnSpPr>
        <p:spPr bwMode="auto">
          <a:xfrm rot="10800000" flipV="1">
            <a:off x="7634784" y="1889759"/>
            <a:ext cx="812863" cy="765175"/>
          </a:xfrm>
          <a:prstGeom prst="bentConnector3">
            <a:avLst>
              <a:gd name="adj1" fmla="val 50000"/>
            </a:avLst>
          </a:prstGeom>
          <a:noFill/>
          <a:ln w="6350">
            <a:solidFill>
              <a:srgbClr val="BBBCBC"/>
            </a:solidFill>
            <a:miter lim="800000"/>
            <a:headEnd/>
            <a:tailEnd/>
          </a:ln>
        </p:spPr>
      </p:cxnSp>
      <p:cxnSp>
        <p:nvCxnSpPr>
          <p:cNvPr id="21" name="AutoShape 20"/>
          <p:cNvCxnSpPr>
            <a:cxnSpLocks noChangeShapeType="1"/>
            <a:stCxn id="18" idx="1"/>
            <a:endCxn id="7" idx="3"/>
          </p:cNvCxnSpPr>
          <p:nvPr/>
        </p:nvCxnSpPr>
        <p:spPr bwMode="auto">
          <a:xfrm rot="10800000" flipV="1">
            <a:off x="7634784" y="2651759"/>
            <a:ext cx="812863" cy="3175"/>
          </a:xfrm>
          <a:prstGeom prst="bentConnector3">
            <a:avLst>
              <a:gd name="adj1" fmla="val 50000"/>
            </a:avLst>
          </a:prstGeom>
          <a:noFill/>
          <a:ln w="6350">
            <a:solidFill>
              <a:srgbClr val="BBBCBC"/>
            </a:solidFill>
            <a:miter lim="800000"/>
            <a:headEnd/>
            <a:tailEnd/>
          </a:ln>
        </p:spPr>
      </p:cxnSp>
      <p:cxnSp>
        <p:nvCxnSpPr>
          <p:cNvPr id="22" name="AutoShape 21"/>
          <p:cNvCxnSpPr>
            <a:cxnSpLocks noChangeShapeType="1"/>
            <a:stCxn id="19" idx="1"/>
            <a:endCxn id="7" idx="3"/>
          </p:cNvCxnSpPr>
          <p:nvPr/>
        </p:nvCxnSpPr>
        <p:spPr bwMode="auto">
          <a:xfrm rot="10800000">
            <a:off x="7634784" y="2654936"/>
            <a:ext cx="812863" cy="758825"/>
          </a:xfrm>
          <a:prstGeom prst="bentConnector3">
            <a:avLst>
              <a:gd name="adj1" fmla="val 50000"/>
            </a:avLst>
          </a:prstGeom>
          <a:noFill/>
          <a:ln w="6350">
            <a:solidFill>
              <a:srgbClr val="BBBCBC"/>
            </a:solidFill>
            <a:miter lim="800000"/>
            <a:headEnd/>
            <a:tailEnd/>
          </a:ln>
        </p:spPr>
      </p:cxnSp>
      <p:sp>
        <p:nvSpPr>
          <p:cNvPr id="622621" name="Text Box 29"/>
          <p:cNvSpPr txBox="1">
            <a:spLocks noChangeArrowheads="1"/>
          </p:cNvSpPr>
          <p:nvPr/>
        </p:nvSpPr>
        <p:spPr bwMode="auto">
          <a:xfrm>
            <a:off x="3352142" y="3961066"/>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2" name="Text Box 30"/>
          <p:cNvSpPr txBox="1">
            <a:spLocks noChangeArrowheads="1"/>
          </p:cNvSpPr>
          <p:nvPr/>
        </p:nvSpPr>
        <p:spPr bwMode="auto">
          <a:xfrm>
            <a:off x="5487825" y="2911728"/>
            <a:ext cx="327974" cy="153888"/>
          </a:xfrm>
          <a:prstGeom prst="rect">
            <a:avLst/>
          </a:prstGeom>
          <a:noFill/>
          <a:ln w="9525" algn="ctr">
            <a:noFill/>
            <a:miter lim="800000"/>
            <a:headEnd type="none" w="sm" len="sm"/>
            <a:tailEnd type="none" w="med" len="lg"/>
          </a:ln>
        </p:spPr>
        <p:txBody>
          <a:bodyPr wrap="square" lIns="0" tIns="0" rIns="0" bIns="0">
            <a:spAutoFit/>
          </a:bodyPr>
          <a:lstStyle/>
          <a:p>
            <a:pPr algn="ctr"/>
            <a:r>
              <a:rPr lang="en-US" altLang="ja-JP" sz="1000" dirty="0">
                <a:ea typeface="ＭＳ Ｐゴシック" charset="-128"/>
              </a:rPr>
              <a:t>Text</a:t>
            </a:r>
          </a:p>
        </p:txBody>
      </p:sp>
      <p:sp>
        <p:nvSpPr>
          <p:cNvPr id="622623" name="Text Box 31"/>
          <p:cNvSpPr txBox="1">
            <a:spLocks noChangeArrowheads="1"/>
          </p:cNvSpPr>
          <p:nvPr/>
        </p:nvSpPr>
        <p:spPr bwMode="auto">
          <a:xfrm>
            <a:off x="5541205" y="5054472"/>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4" name="Text Box 32"/>
          <p:cNvSpPr txBox="1">
            <a:spLocks noChangeArrowheads="1"/>
          </p:cNvSpPr>
          <p:nvPr/>
        </p:nvSpPr>
        <p:spPr bwMode="auto">
          <a:xfrm>
            <a:off x="7722769" y="2435478"/>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5" name="Text Box 33"/>
          <p:cNvSpPr txBox="1">
            <a:spLocks noChangeArrowheads="1"/>
          </p:cNvSpPr>
          <p:nvPr/>
        </p:nvSpPr>
        <p:spPr bwMode="auto">
          <a:xfrm>
            <a:off x="7722769" y="4425314"/>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6" name="Text Box 34"/>
          <p:cNvSpPr txBox="1">
            <a:spLocks noChangeArrowheads="1"/>
          </p:cNvSpPr>
          <p:nvPr/>
        </p:nvSpPr>
        <p:spPr bwMode="auto">
          <a:xfrm>
            <a:off x="7722769" y="5469953"/>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28" name="Text Box 36"/>
          <p:cNvSpPr txBox="1">
            <a:spLocks noChangeArrowheads="1"/>
          </p:cNvSpPr>
          <p:nvPr/>
        </p:nvSpPr>
        <p:spPr bwMode="auto">
          <a:xfrm>
            <a:off x="7722769" y="3474465"/>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30" name="Text Box 38"/>
          <p:cNvSpPr txBox="1">
            <a:spLocks noChangeArrowheads="1"/>
          </p:cNvSpPr>
          <p:nvPr/>
        </p:nvSpPr>
        <p:spPr bwMode="auto">
          <a:xfrm>
            <a:off x="9912831" y="1652015"/>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31" name="Text Box 39"/>
          <p:cNvSpPr txBox="1">
            <a:spLocks noChangeArrowheads="1"/>
          </p:cNvSpPr>
          <p:nvPr/>
        </p:nvSpPr>
        <p:spPr bwMode="auto">
          <a:xfrm>
            <a:off x="9912831" y="2395727"/>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622632" name="Text Box 40"/>
          <p:cNvSpPr txBox="1">
            <a:spLocks noChangeArrowheads="1"/>
          </p:cNvSpPr>
          <p:nvPr/>
        </p:nvSpPr>
        <p:spPr bwMode="auto">
          <a:xfrm>
            <a:off x="9912831" y="3176015"/>
            <a:ext cx="221214" cy="153888"/>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000" dirty="0">
                <a:ea typeface="ＭＳ Ｐゴシック" charset="-128"/>
              </a:rPr>
              <a:t>Text</a:t>
            </a:r>
          </a:p>
        </p:txBody>
      </p:sp>
      <p:sp>
        <p:nvSpPr>
          <p:cNvPr id="4" name="Rectangle 3"/>
          <p:cNvSpPr>
            <a:spLocks noChangeArrowheads="1"/>
          </p:cNvSpPr>
          <p:nvPr/>
        </p:nvSpPr>
        <p:spPr bwMode="auto">
          <a:xfrm>
            <a:off x="1894254" y="3906202"/>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5" name="Rectangle 4"/>
          <p:cNvSpPr>
            <a:spLocks noChangeArrowheads="1"/>
          </p:cNvSpPr>
          <p:nvPr/>
        </p:nvSpPr>
        <p:spPr bwMode="auto">
          <a:xfrm>
            <a:off x="4078718" y="285686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6" name="Rectangle 5"/>
          <p:cNvSpPr>
            <a:spLocks noChangeArrowheads="1"/>
          </p:cNvSpPr>
          <p:nvPr/>
        </p:nvSpPr>
        <p:spPr bwMode="auto">
          <a:xfrm>
            <a:off x="4078718" y="499046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7" name="Rectangle 6"/>
          <p:cNvSpPr>
            <a:spLocks noChangeArrowheads="1"/>
          </p:cNvSpPr>
          <p:nvPr/>
        </p:nvSpPr>
        <p:spPr bwMode="auto">
          <a:xfrm>
            <a:off x="6263182" y="238061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8" name="Rectangle 7"/>
          <p:cNvSpPr>
            <a:spLocks noChangeArrowheads="1"/>
          </p:cNvSpPr>
          <p:nvPr/>
        </p:nvSpPr>
        <p:spPr bwMode="auto">
          <a:xfrm>
            <a:off x="6263182" y="343788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9" name="Rectangle 8"/>
          <p:cNvSpPr>
            <a:spLocks noChangeArrowheads="1"/>
          </p:cNvSpPr>
          <p:nvPr/>
        </p:nvSpPr>
        <p:spPr bwMode="auto">
          <a:xfrm>
            <a:off x="6263182" y="4425314"/>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10" name="Rectangle 9"/>
          <p:cNvSpPr>
            <a:spLocks noChangeArrowheads="1"/>
          </p:cNvSpPr>
          <p:nvPr/>
        </p:nvSpPr>
        <p:spPr bwMode="auto">
          <a:xfrm>
            <a:off x="6263182" y="5433377"/>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17" name="Rectangle 16"/>
          <p:cNvSpPr>
            <a:spLocks noChangeArrowheads="1"/>
          </p:cNvSpPr>
          <p:nvPr/>
        </p:nvSpPr>
        <p:spPr bwMode="auto">
          <a:xfrm>
            <a:off x="8447645" y="161543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18" name="Rectangle 17"/>
          <p:cNvSpPr>
            <a:spLocks noChangeArrowheads="1"/>
          </p:cNvSpPr>
          <p:nvPr/>
        </p:nvSpPr>
        <p:spPr bwMode="auto">
          <a:xfrm>
            <a:off x="8447645" y="237743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19" name="Rectangle 18"/>
          <p:cNvSpPr>
            <a:spLocks noChangeArrowheads="1"/>
          </p:cNvSpPr>
          <p:nvPr/>
        </p:nvSpPr>
        <p:spPr bwMode="auto">
          <a:xfrm>
            <a:off x="8447645" y="3139439"/>
            <a:ext cx="1371600" cy="548640"/>
          </a:xfrm>
          <a:prstGeom prst="rect">
            <a:avLst/>
          </a:prstGeom>
          <a:solidFill>
            <a:schemeClr val="accent3"/>
          </a:solidFill>
          <a:ln w="19050" algn="ctr">
            <a:noFill/>
            <a:miter lim="800000"/>
            <a:headEnd type="none" w="sm" len="sm"/>
            <a:tailEnd type="none" w="med" len="lg"/>
          </a:ln>
        </p:spPr>
        <p:txBody>
          <a:bodyPr lIns="88900" tIns="88900" rIns="88900" bIns="88900" anchor="ctr"/>
          <a:lstStyle/>
          <a:p>
            <a:pPr>
              <a:spcBef>
                <a:spcPts val="200"/>
              </a:spcBef>
            </a:pPr>
            <a:r>
              <a:rPr lang="en-US" altLang="ja-JP" sz="1200" dirty="0">
                <a:solidFill>
                  <a:schemeClr val="bg1"/>
                </a:solidFill>
                <a:ea typeface="ＭＳ Ｐゴシック" pitchFamily="50" charset="-128"/>
                <a:cs typeface="Arial" pitchFamily="34" charset="0"/>
              </a:rPr>
              <a:t>Text</a:t>
            </a:r>
          </a:p>
        </p:txBody>
      </p:sp>
      <p:sp>
        <p:nvSpPr>
          <p:cNvPr id="47" name="AutoShape 112"/>
          <p:cNvSpPr>
            <a:spLocks noChangeArrowheads="1"/>
          </p:cNvSpPr>
          <p:nvPr/>
        </p:nvSpPr>
        <p:spPr bwMode="grayWhite">
          <a:xfrm>
            <a:off x="3327749" y="4201987"/>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48" name="AutoShape 110"/>
          <p:cNvSpPr>
            <a:spLocks noChangeArrowheads="1"/>
          </p:cNvSpPr>
          <p:nvPr/>
        </p:nvSpPr>
        <p:spPr bwMode="grayWhite">
          <a:xfrm>
            <a:off x="5516812" y="5286249"/>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dirty="0"/>
          </a:p>
        </p:txBody>
      </p:sp>
      <p:sp>
        <p:nvSpPr>
          <p:cNvPr id="49" name="AutoShape 110"/>
          <p:cNvSpPr>
            <a:spLocks noChangeArrowheads="1"/>
          </p:cNvSpPr>
          <p:nvPr/>
        </p:nvSpPr>
        <p:spPr bwMode="grayWhite">
          <a:xfrm>
            <a:off x="7698376" y="3686938"/>
            <a:ext cx="270000" cy="270000"/>
          </a:xfrm>
          <a:prstGeom prst="rightArrow">
            <a:avLst/>
          </a:prstGeom>
          <a:solidFill>
            <a:srgbClr val="FF9900"/>
          </a:solidFill>
          <a:ln w="12700" algn="ctr">
            <a:solidFill>
              <a:schemeClr val="bg1"/>
            </a:solidFill>
            <a:miter lim="800000"/>
            <a:headEnd/>
            <a:tailEnd/>
          </a:ln>
        </p:spPr>
        <p:txBody>
          <a:bodyPr wrap="none" anchor="ctr"/>
          <a:lstStyle/>
          <a:p>
            <a:pPr algn="ctr"/>
            <a:endParaRPr lang="en-US" sz="1000" dirty="0"/>
          </a:p>
        </p:txBody>
      </p:sp>
      <p:sp>
        <p:nvSpPr>
          <p:cNvPr id="50" name="AutoShape 112"/>
          <p:cNvSpPr>
            <a:spLocks noChangeArrowheads="1"/>
          </p:cNvSpPr>
          <p:nvPr/>
        </p:nvSpPr>
        <p:spPr bwMode="grayWhite">
          <a:xfrm>
            <a:off x="5516812" y="3152649"/>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1" name="AutoShape 112"/>
          <p:cNvSpPr>
            <a:spLocks noChangeArrowheads="1"/>
          </p:cNvSpPr>
          <p:nvPr/>
        </p:nvSpPr>
        <p:spPr bwMode="grayWhite">
          <a:xfrm>
            <a:off x="7698376" y="2676399"/>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2" name="AutoShape 112"/>
          <p:cNvSpPr>
            <a:spLocks noChangeArrowheads="1"/>
          </p:cNvSpPr>
          <p:nvPr/>
        </p:nvSpPr>
        <p:spPr bwMode="grayWhite">
          <a:xfrm>
            <a:off x="9888438" y="1846200"/>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3" name="AutoShape 112"/>
          <p:cNvSpPr>
            <a:spLocks noChangeArrowheads="1"/>
          </p:cNvSpPr>
          <p:nvPr/>
        </p:nvSpPr>
        <p:spPr bwMode="grayWhite">
          <a:xfrm>
            <a:off x="9888438" y="3370200"/>
            <a:ext cx="270000" cy="270000"/>
          </a:xfrm>
          <a:prstGeom prst="upArrow">
            <a:avLst>
              <a:gd name="adj1" fmla="val 49880"/>
              <a:gd name="adj2" fmla="val 49801"/>
            </a:avLst>
          </a:prstGeom>
          <a:solidFill>
            <a:schemeClr val="accent2"/>
          </a:solidFill>
          <a:ln w="12700" algn="ctr">
            <a:solidFill>
              <a:schemeClr val="bg1"/>
            </a:solidFill>
            <a:miter lim="800000"/>
            <a:headEnd/>
            <a:tailEnd/>
          </a:ln>
        </p:spPr>
        <p:txBody>
          <a:bodyPr wrap="none" anchor="ctr"/>
          <a:lstStyle/>
          <a:p>
            <a:pPr algn="ctr"/>
            <a:endParaRPr lang="en-US" sz="1000" dirty="0"/>
          </a:p>
        </p:txBody>
      </p:sp>
      <p:sp>
        <p:nvSpPr>
          <p:cNvPr id="56" name="AutoShape 110"/>
          <p:cNvSpPr>
            <a:spLocks noChangeArrowheads="1"/>
          </p:cNvSpPr>
          <p:nvPr/>
        </p:nvSpPr>
        <p:spPr bwMode="grayWhite">
          <a:xfrm>
            <a:off x="7698376" y="4656075"/>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dirty="0"/>
          </a:p>
        </p:txBody>
      </p:sp>
      <p:sp>
        <p:nvSpPr>
          <p:cNvPr id="57" name="AutoShape 110"/>
          <p:cNvSpPr>
            <a:spLocks noChangeArrowheads="1"/>
          </p:cNvSpPr>
          <p:nvPr/>
        </p:nvSpPr>
        <p:spPr bwMode="grayWhite">
          <a:xfrm>
            <a:off x="9888438" y="2623602"/>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000" dirty="0"/>
          </a:p>
        </p:txBody>
      </p:sp>
      <p:sp>
        <p:nvSpPr>
          <p:cNvPr id="58" name="AutoShape 110"/>
          <p:cNvSpPr>
            <a:spLocks noChangeArrowheads="1"/>
          </p:cNvSpPr>
          <p:nvPr/>
        </p:nvSpPr>
        <p:spPr bwMode="grayWhite">
          <a:xfrm>
            <a:off x="7698376" y="5682426"/>
            <a:ext cx="270000" cy="270000"/>
          </a:xfrm>
          <a:prstGeom prst="rightArrow">
            <a:avLst/>
          </a:prstGeom>
          <a:solidFill>
            <a:srgbClr val="FF9900"/>
          </a:solidFill>
          <a:ln w="12700" algn="ctr">
            <a:solidFill>
              <a:schemeClr val="bg1"/>
            </a:solidFill>
            <a:miter lim="800000"/>
            <a:headEnd/>
            <a:tailEnd/>
          </a:ln>
        </p:spPr>
        <p:txBody>
          <a:bodyPr wrap="none" anchor="ctr"/>
          <a:lstStyle/>
          <a:p>
            <a:pPr algn="ctr"/>
            <a:endParaRPr lang="en-US" sz="1000" dirty="0"/>
          </a:p>
        </p:txBody>
      </p:sp>
    </p:spTree>
    <p:extLst>
      <p:ext uri="{BB962C8B-B14F-4D97-AF65-F5344CB8AC3E}">
        <p14:creationId xmlns:p14="http://schemas.microsoft.com/office/powerpoint/2010/main" val="830682266"/>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Simple</a:t>
            </a:r>
            <a:endParaRPr lang="en-US" dirty="0"/>
          </a:p>
        </p:txBody>
      </p:sp>
      <p:sp>
        <p:nvSpPr>
          <p:cNvPr id="242701" name="Title 1"/>
          <p:cNvSpPr>
            <a:spLocks noGrp="1"/>
          </p:cNvSpPr>
          <p:nvPr>
            <p:ph type="title"/>
          </p:nvPr>
        </p:nvSpPr>
        <p:spPr/>
        <p:txBody>
          <a:bodyPr/>
          <a:lstStyle/>
          <a:p>
            <a:r>
              <a:rPr lang="en-US"/>
              <a:t>Organization chart </a:t>
            </a:r>
            <a:endParaRPr lang="en-US" dirty="0"/>
          </a:p>
        </p:txBody>
      </p:sp>
      <p:cxnSp>
        <p:nvCxnSpPr>
          <p:cNvPr id="43" name="Straight Connector 42"/>
          <p:cNvCxnSpPr>
            <a:stCxn id="46" idx="2"/>
            <a:endCxn id="48" idx="0"/>
          </p:cNvCxnSpPr>
          <p:nvPr/>
        </p:nvCxnSpPr>
        <p:spPr bwMode="gray">
          <a:xfrm>
            <a:off x="6096000" y="2430252"/>
            <a:ext cx="0" cy="16836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5318760" y="1611315"/>
            <a:ext cx="1554480" cy="818937"/>
            <a:chOff x="3794760" y="1611314"/>
            <a:chExt cx="1554480" cy="818937"/>
          </a:xfrm>
        </p:grpSpPr>
        <p:sp>
          <p:nvSpPr>
            <p:cNvPr id="45" name="Rectangle 44"/>
            <p:cNvSpPr/>
            <p:nvPr/>
          </p:nvSpPr>
          <p:spPr bwMode="gray">
            <a:xfrm>
              <a:off x="3794760" y="1611314"/>
              <a:ext cx="1554480" cy="457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bg1"/>
                  </a:solidFill>
                </a:rPr>
                <a:t>Sponsor</a:t>
              </a:r>
            </a:p>
          </p:txBody>
        </p:sp>
        <p:sp>
          <p:nvSpPr>
            <p:cNvPr id="46" name="Rectangle 45"/>
            <p:cNvSpPr/>
            <p:nvPr/>
          </p:nvSpPr>
          <p:spPr bwMode="gray">
            <a:xfrm>
              <a:off x="3794760" y="2064491"/>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p:txBody>
        </p:sp>
      </p:grpSp>
      <p:grpSp>
        <p:nvGrpSpPr>
          <p:cNvPr id="47" name="Group 46"/>
          <p:cNvGrpSpPr/>
          <p:nvPr/>
        </p:nvGrpSpPr>
        <p:grpSpPr>
          <a:xfrm>
            <a:off x="5318760" y="2598621"/>
            <a:ext cx="1554480" cy="1001817"/>
            <a:chOff x="3794760" y="2517666"/>
            <a:chExt cx="1554480" cy="1001817"/>
          </a:xfrm>
        </p:grpSpPr>
        <p:sp>
          <p:nvSpPr>
            <p:cNvPr id="48" name="Rectangle 47"/>
            <p:cNvSpPr/>
            <p:nvPr/>
          </p:nvSpPr>
          <p:spPr bwMode="gray">
            <a:xfrm>
              <a:off x="3794760" y="2517666"/>
              <a:ext cx="155448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Project management</a:t>
              </a:r>
            </a:p>
          </p:txBody>
        </p:sp>
        <p:sp>
          <p:nvSpPr>
            <p:cNvPr id="49" name="Rectangle 48"/>
            <p:cNvSpPr/>
            <p:nvPr/>
          </p:nvSpPr>
          <p:spPr bwMode="gray">
            <a:xfrm>
              <a:off x="3794760" y="2970843"/>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0" name="Group 49"/>
          <p:cNvGrpSpPr/>
          <p:nvPr/>
        </p:nvGrpSpPr>
        <p:grpSpPr>
          <a:xfrm>
            <a:off x="7033260" y="2598621"/>
            <a:ext cx="1554480" cy="1001817"/>
            <a:chOff x="5504815" y="2517666"/>
            <a:chExt cx="1554480" cy="1001817"/>
          </a:xfrm>
        </p:grpSpPr>
        <p:sp>
          <p:nvSpPr>
            <p:cNvPr id="51" name="Rectangle 50"/>
            <p:cNvSpPr/>
            <p:nvPr/>
          </p:nvSpPr>
          <p:spPr bwMode="gray">
            <a:xfrm>
              <a:off x="5504815" y="2517666"/>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QA</a:t>
              </a:r>
            </a:p>
          </p:txBody>
        </p:sp>
        <p:sp>
          <p:nvSpPr>
            <p:cNvPr id="52" name="Rectangle 51"/>
            <p:cNvSpPr/>
            <p:nvPr/>
          </p:nvSpPr>
          <p:spPr bwMode="gray">
            <a:xfrm>
              <a:off x="5504815" y="2970843"/>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Short description</a:t>
              </a:r>
            </a:p>
          </p:txBody>
        </p:sp>
      </p:grpSp>
      <p:grpSp>
        <p:nvGrpSpPr>
          <p:cNvPr id="53" name="Group 52"/>
          <p:cNvGrpSpPr/>
          <p:nvPr/>
        </p:nvGrpSpPr>
        <p:grpSpPr>
          <a:xfrm>
            <a:off x="7033260" y="3768806"/>
            <a:ext cx="1554480" cy="1001816"/>
            <a:chOff x="5504815" y="3623192"/>
            <a:chExt cx="1554480" cy="1001816"/>
          </a:xfrm>
        </p:grpSpPr>
        <p:sp>
          <p:nvSpPr>
            <p:cNvPr id="54" name="Rectangle 53"/>
            <p:cNvSpPr/>
            <p:nvPr/>
          </p:nvSpPr>
          <p:spPr bwMode="gray">
            <a:xfrm>
              <a:off x="5504815" y="3623192"/>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PMO</a:t>
              </a:r>
            </a:p>
          </p:txBody>
        </p:sp>
        <p:sp>
          <p:nvSpPr>
            <p:cNvPr id="55" name="Rectangle 54"/>
            <p:cNvSpPr/>
            <p:nvPr/>
          </p:nvSpPr>
          <p:spPr bwMode="gray">
            <a:xfrm>
              <a:off x="5504815"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6" name="Group 55"/>
          <p:cNvGrpSpPr/>
          <p:nvPr/>
        </p:nvGrpSpPr>
        <p:grpSpPr>
          <a:xfrm>
            <a:off x="3604260" y="3768806"/>
            <a:ext cx="1554480" cy="1001816"/>
            <a:chOff x="3794760" y="3623192"/>
            <a:chExt cx="1554480" cy="1001816"/>
          </a:xfrm>
        </p:grpSpPr>
        <p:sp>
          <p:nvSpPr>
            <p:cNvPr id="57" name="Rectangle 56"/>
            <p:cNvSpPr/>
            <p:nvPr/>
          </p:nvSpPr>
          <p:spPr bwMode="gray">
            <a:xfrm>
              <a:off x="3794760" y="3623192"/>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Project management</a:t>
              </a:r>
            </a:p>
          </p:txBody>
        </p:sp>
        <p:sp>
          <p:nvSpPr>
            <p:cNvPr id="58" name="Rectangle 57"/>
            <p:cNvSpPr/>
            <p:nvPr/>
          </p:nvSpPr>
          <p:spPr bwMode="gray">
            <a:xfrm>
              <a:off x="3794760"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59" name="Group 58"/>
          <p:cNvGrpSpPr/>
          <p:nvPr/>
        </p:nvGrpSpPr>
        <p:grpSpPr>
          <a:xfrm>
            <a:off x="5318760" y="3768806"/>
            <a:ext cx="1554480" cy="1001816"/>
            <a:chOff x="2084705" y="3623192"/>
            <a:chExt cx="1554480" cy="1001816"/>
          </a:xfrm>
        </p:grpSpPr>
        <p:sp>
          <p:nvSpPr>
            <p:cNvPr id="60" name="Rectangle 59"/>
            <p:cNvSpPr/>
            <p:nvPr/>
          </p:nvSpPr>
          <p:spPr bwMode="gray">
            <a:xfrm>
              <a:off x="2084705" y="3623192"/>
              <a:ext cx="155448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bg1"/>
                  </a:solidFill>
                </a:rPr>
                <a:t>Subject experts</a:t>
              </a:r>
            </a:p>
          </p:txBody>
        </p:sp>
        <p:sp>
          <p:nvSpPr>
            <p:cNvPr id="61" name="Rectangle 60"/>
            <p:cNvSpPr/>
            <p:nvPr/>
          </p:nvSpPr>
          <p:spPr bwMode="gray">
            <a:xfrm>
              <a:off x="2084705" y="4076368"/>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2" name="Group 61"/>
          <p:cNvGrpSpPr/>
          <p:nvPr/>
        </p:nvGrpSpPr>
        <p:grpSpPr>
          <a:xfrm>
            <a:off x="1889760" y="4938990"/>
            <a:ext cx="1554480" cy="1001816"/>
            <a:chOff x="374650" y="4898021"/>
            <a:chExt cx="1554480" cy="1001816"/>
          </a:xfrm>
        </p:grpSpPr>
        <p:sp>
          <p:nvSpPr>
            <p:cNvPr id="63" name="Rectangle 62"/>
            <p:cNvSpPr/>
            <p:nvPr/>
          </p:nvSpPr>
          <p:spPr bwMode="gray">
            <a:xfrm>
              <a:off x="374650"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Workstream</a:t>
              </a:r>
            </a:p>
          </p:txBody>
        </p:sp>
        <p:sp>
          <p:nvSpPr>
            <p:cNvPr id="64" name="Rectangle 63"/>
            <p:cNvSpPr/>
            <p:nvPr/>
          </p:nvSpPr>
          <p:spPr bwMode="gray">
            <a:xfrm>
              <a:off x="37465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5" name="Group 64"/>
          <p:cNvGrpSpPr/>
          <p:nvPr/>
        </p:nvGrpSpPr>
        <p:grpSpPr>
          <a:xfrm>
            <a:off x="3604260" y="4938990"/>
            <a:ext cx="1554480" cy="1001816"/>
            <a:chOff x="2084705" y="4898021"/>
            <a:chExt cx="1554480" cy="1001816"/>
          </a:xfrm>
        </p:grpSpPr>
        <p:sp>
          <p:nvSpPr>
            <p:cNvPr id="66" name="Rectangle 65"/>
            <p:cNvSpPr/>
            <p:nvPr/>
          </p:nvSpPr>
          <p:spPr bwMode="gray">
            <a:xfrm>
              <a:off x="2084705"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Workstream</a:t>
              </a:r>
            </a:p>
          </p:txBody>
        </p:sp>
        <p:sp>
          <p:nvSpPr>
            <p:cNvPr id="67" name="Rectangle 66"/>
            <p:cNvSpPr/>
            <p:nvPr/>
          </p:nvSpPr>
          <p:spPr bwMode="gray">
            <a:xfrm>
              <a:off x="2084705"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68" name="Group 67"/>
          <p:cNvGrpSpPr/>
          <p:nvPr/>
        </p:nvGrpSpPr>
        <p:grpSpPr>
          <a:xfrm>
            <a:off x="5318760" y="4938990"/>
            <a:ext cx="1554480" cy="1001816"/>
            <a:chOff x="3794760" y="4898021"/>
            <a:chExt cx="1554480" cy="1001816"/>
          </a:xfrm>
        </p:grpSpPr>
        <p:sp>
          <p:nvSpPr>
            <p:cNvPr id="69" name="Rectangle 68"/>
            <p:cNvSpPr/>
            <p:nvPr/>
          </p:nvSpPr>
          <p:spPr bwMode="gray">
            <a:xfrm>
              <a:off x="3794760" y="4898021"/>
              <a:ext cx="1554480"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t>Workstream</a:t>
              </a:r>
            </a:p>
          </p:txBody>
        </p:sp>
        <p:sp>
          <p:nvSpPr>
            <p:cNvPr id="70" name="Rectangle 69"/>
            <p:cNvSpPr/>
            <p:nvPr/>
          </p:nvSpPr>
          <p:spPr bwMode="gray">
            <a:xfrm>
              <a:off x="379476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71" name="Group 70"/>
          <p:cNvGrpSpPr/>
          <p:nvPr/>
        </p:nvGrpSpPr>
        <p:grpSpPr>
          <a:xfrm>
            <a:off x="7033260" y="4938990"/>
            <a:ext cx="1554480" cy="1001816"/>
            <a:chOff x="5504815" y="4898021"/>
            <a:chExt cx="1554480" cy="1001816"/>
          </a:xfrm>
        </p:grpSpPr>
        <p:sp>
          <p:nvSpPr>
            <p:cNvPr id="72" name="Rectangle 71"/>
            <p:cNvSpPr/>
            <p:nvPr/>
          </p:nvSpPr>
          <p:spPr bwMode="gray">
            <a:xfrm>
              <a:off x="5504815"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Workstream</a:t>
              </a:r>
            </a:p>
          </p:txBody>
        </p:sp>
        <p:sp>
          <p:nvSpPr>
            <p:cNvPr id="73" name="Rectangle 72"/>
            <p:cNvSpPr/>
            <p:nvPr/>
          </p:nvSpPr>
          <p:spPr bwMode="gray">
            <a:xfrm>
              <a:off x="5504815"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grpSp>
        <p:nvGrpSpPr>
          <p:cNvPr id="74" name="Group 73"/>
          <p:cNvGrpSpPr/>
          <p:nvPr/>
        </p:nvGrpSpPr>
        <p:grpSpPr>
          <a:xfrm>
            <a:off x="8747760" y="4938990"/>
            <a:ext cx="1554480" cy="1001816"/>
            <a:chOff x="7214870" y="4898021"/>
            <a:chExt cx="1554480" cy="1001816"/>
          </a:xfrm>
        </p:grpSpPr>
        <p:sp>
          <p:nvSpPr>
            <p:cNvPr id="75" name="Rectangle 74"/>
            <p:cNvSpPr/>
            <p:nvPr/>
          </p:nvSpPr>
          <p:spPr bwMode="gray">
            <a:xfrm>
              <a:off x="7214870" y="4898021"/>
              <a:ext cx="1554480" cy="45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000" dirty="0">
                  <a:solidFill>
                    <a:schemeClr val="tx1"/>
                  </a:solidFill>
                </a:rPr>
                <a:t>Workstream</a:t>
              </a:r>
            </a:p>
          </p:txBody>
        </p:sp>
        <p:sp>
          <p:nvSpPr>
            <p:cNvPr id="76" name="Rectangle 75"/>
            <p:cNvSpPr/>
            <p:nvPr/>
          </p:nvSpPr>
          <p:spPr bwMode="gray">
            <a:xfrm>
              <a:off x="7214870" y="5351197"/>
              <a:ext cx="1554480" cy="5486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r>
                <a:rPr lang="en-US" sz="1000" dirty="0">
                  <a:solidFill>
                    <a:schemeClr val="tx1"/>
                  </a:solidFill>
                </a:rPr>
                <a:t>Name Surname</a:t>
              </a:r>
            </a:p>
            <a:p>
              <a:r>
                <a:rPr lang="en-US" sz="1000" dirty="0">
                  <a:solidFill>
                    <a:schemeClr val="tx1"/>
                  </a:solidFill>
                </a:rPr>
                <a:t>Name Surname</a:t>
              </a:r>
            </a:p>
          </p:txBody>
        </p:sp>
      </p:grpSp>
      <p:cxnSp>
        <p:nvCxnSpPr>
          <p:cNvPr id="77" name="Straight Connector 76"/>
          <p:cNvCxnSpPr>
            <a:stCxn id="61" idx="2"/>
            <a:endCxn id="69" idx="0"/>
          </p:cNvCxnSpPr>
          <p:nvPr/>
        </p:nvCxnSpPr>
        <p:spPr bwMode="gray">
          <a:xfrm>
            <a:off x="6096000" y="4770622"/>
            <a:ext cx="0" cy="16836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49" idx="2"/>
            <a:endCxn id="60" idx="0"/>
          </p:cNvCxnSpPr>
          <p:nvPr/>
        </p:nvCxnSpPr>
        <p:spPr bwMode="gray">
          <a:xfrm>
            <a:off x="6096000" y="3600438"/>
            <a:ext cx="0" cy="16836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79" name="Elbow Connector 78"/>
          <p:cNvCxnSpPr>
            <a:stCxn id="46" idx="2"/>
            <a:endCxn id="51" idx="0"/>
          </p:cNvCxnSpPr>
          <p:nvPr/>
        </p:nvCxnSpPr>
        <p:spPr>
          <a:xfrm rot="16200000" flipH="1">
            <a:off x="6869067" y="1657185"/>
            <a:ext cx="168369" cy="1714500"/>
          </a:xfrm>
          <a:prstGeom prst="bentConnector3">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0" name="Elbow Connector 79"/>
          <p:cNvCxnSpPr>
            <a:stCxn id="49" idx="2"/>
            <a:endCxn id="54" idx="0"/>
          </p:cNvCxnSpPr>
          <p:nvPr/>
        </p:nvCxnSpPr>
        <p:spPr>
          <a:xfrm rot="16200000" flipH="1">
            <a:off x="6869067" y="2827371"/>
            <a:ext cx="168369"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49" idx="2"/>
            <a:endCxn id="57" idx="0"/>
          </p:cNvCxnSpPr>
          <p:nvPr/>
        </p:nvCxnSpPr>
        <p:spPr>
          <a:xfrm rot="5400000">
            <a:off x="5154567" y="2827371"/>
            <a:ext cx="168369"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2" name="Elbow Connector 81"/>
          <p:cNvCxnSpPr>
            <a:stCxn id="61" idx="2"/>
            <a:endCxn id="72" idx="0"/>
          </p:cNvCxnSpPr>
          <p:nvPr/>
        </p:nvCxnSpPr>
        <p:spPr>
          <a:xfrm rot="16200000" flipH="1">
            <a:off x="6869066" y="3997556"/>
            <a:ext cx="168368"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3" name="Elbow Connector 82"/>
          <p:cNvCxnSpPr>
            <a:stCxn id="61" idx="2"/>
            <a:endCxn id="66" idx="0"/>
          </p:cNvCxnSpPr>
          <p:nvPr/>
        </p:nvCxnSpPr>
        <p:spPr>
          <a:xfrm rot="5400000">
            <a:off x="5154566" y="3997556"/>
            <a:ext cx="168368" cy="17145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61" idx="2"/>
            <a:endCxn id="75" idx="0"/>
          </p:cNvCxnSpPr>
          <p:nvPr/>
        </p:nvCxnSpPr>
        <p:spPr>
          <a:xfrm rot="16200000" flipH="1">
            <a:off x="7726316" y="3140306"/>
            <a:ext cx="168368" cy="34290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61" idx="2"/>
            <a:endCxn id="63" idx="0"/>
          </p:cNvCxnSpPr>
          <p:nvPr/>
        </p:nvCxnSpPr>
        <p:spPr>
          <a:xfrm rot="5400000">
            <a:off x="4297316" y="3140306"/>
            <a:ext cx="168368" cy="3429000"/>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0009367"/>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Extensive</a:t>
            </a:r>
            <a:endParaRPr lang="en-US" dirty="0"/>
          </a:p>
        </p:txBody>
      </p:sp>
      <p:sp>
        <p:nvSpPr>
          <p:cNvPr id="243726" name="Title 1"/>
          <p:cNvSpPr>
            <a:spLocks noGrp="1"/>
          </p:cNvSpPr>
          <p:nvPr>
            <p:ph type="title"/>
          </p:nvPr>
        </p:nvSpPr>
        <p:spPr/>
        <p:txBody>
          <a:bodyPr/>
          <a:lstStyle/>
          <a:p>
            <a:r>
              <a:rPr lang="en-US"/>
              <a:t>Organization chart</a:t>
            </a:r>
            <a:endParaRPr lang="en-US" dirty="0"/>
          </a:p>
        </p:txBody>
      </p:sp>
      <p:cxnSp>
        <p:nvCxnSpPr>
          <p:cNvPr id="138" name="Elbow Connector 137"/>
          <p:cNvCxnSpPr>
            <a:stCxn id="93" idx="2"/>
            <a:endCxn id="243790" idx="0"/>
          </p:cNvCxnSpPr>
          <p:nvPr/>
        </p:nvCxnSpPr>
        <p:spPr>
          <a:xfrm rot="16200000" flipH="1">
            <a:off x="7665589" y="808655"/>
            <a:ext cx="517442" cy="3680457"/>
          </a:xfrm>
          <a:prstGeom prst="bentConnector3">
            <a:avLst>
              <a:gd name="adj1" fmla="val 85038"/>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43800" name="Text Box 10"/>
          <p:cNvSpPr txBox="1">
            <a:spLocks noChangeArrowheads="1"/>
          </p:cNvSpPr>
          <p:nvPr/>
        </p:nvSpPr>
        <p:spPr bwMode="auto">
          <a:xfrm>
            <a:off x="2696162" y="1962978"/>
            <a:ext cx="1889235" cy="274320"/>
          </a:xfrm>
          <a:prstGeom prst="rect">
            <a:avLst/>
          </a:prstGeom>
          <a:solidFill>
            <a:schemeClr val="accent2"/>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9" name="Rectangle 108"/>
          <p:cNvSpPr>
            <a:spLocks noChangeArrowheads="1"/>
          </p:cNvSpPr>
          <p:nvPr/>
        </p:nvSpPr>
        <p:spPr bwMode="auto">
          <a:xfrm>
            <a:off x="2696162" y="2236333"/>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defTabSz="957998">
              <a:spcBef>
                <a:spcPts val="300"/>
              </a:spcBef>
              <a:defRPr/>
            </a:pPr>
            <a:r>
              <a:rPr lang="en-US" sz="1000" dirty="0">
                <a:latin typeface="+mj-lt"/>
              </a:rPr>
              <a:t>Text</a:t>
            </a:r>
          </a:p>
        </p:txBody>
      </p:sp>
      <p:cxnSp>
        <p:nvCxnSpPr>
          <p:cNvPr id="16" name="AutoShape 16"/>
          <p:cNvCxnSpPr>
            <a:cxnSpLocks noChangeShapeType="1"/>
            <a:stCxn id="93" idx="2"/>
            <a:endCxn id="109" idx="3"/>
          </p:cNvCxnSpPr>
          <p:nvPr/>
        </p:nvCxnSpPr>
        <p:spPr bwMode="auto">
          <a:xfrm rot="5400000">
            <a:off x="5285925" y="1689637"/>
            <a:ext cx="97630" cy="1498684"/>
          </a:xfrm>
          <a:prstGeom prst="bentConnector2">
            <a:avLst/>
          </a:prstGeom>
          <a:noFill/>
          <a:ln w="6350">
            <a:solidFill>
              <a:srgbClr val="BBBCBC"/>
            </a:solidFill>
            <a:miter lim="800000"/>
            <a:headEnd type="none" w="sm" len="sm"/>
            <a:tailEnd type="none" w="med" len="lg"/>
          </a:ln>
        </p:spPr>
      </p:cxnSp>
      <p:cxnSp>
        <p:nvCxnSpPr>
          <p:cNvPr id="17" name="AutoShape 17"/>
          <p:cNvCxnSpPr>
            <a:cxnSpLocks noChangeShapeType="1"/>
            <a:stCxn id="97" idx="2"/>
            <a:endCxn id="122" idx="1"/>
          </p:cNvCxnSpPr>
          <p:nvPr/>
        </p:nvCxnSpPr>
        <p:spPr bwMode="auto">
          <a:xfrm rot="5400000">
            <a:off x="1491089" y="3574271"/>
            <a:ext cx="327497" cy="531654"/>
          </a:xfrm>
          <a:prstGeom prst="bentConnector4">
            <a:avLst>
              <a:gd name="adj1" fmla="val 29059"/>
              <a:gd name="adj2" fmla="val 149253"/>
            </a:avLst>
          </a:prstGeom>
          <a:noFill/>
          <a:ln w="6350">
            <a:solidFill>
              <a:srgbClr val="BBBCBC"/>
            </a:solidFill>
            <a:miter lim="800000"/>
            <a:headEnd type="none" w="sm" len="sm"/>
            <a:tailEnd type="none" w="med" len="lg"/>
          </a:ln>
        </p:spPr>
      </p:cxnSp>
      <p:cxnSp>
        <p:nvCxnSpPr>
          <p:cNvPr id="126" name="Elbow Connector 125"/>
          <p:cNvCxnSpPr>
            <a:stCxn id="113" idx="1"/>
            <a:endCxn id="93" idx="2"/>
          </p:cNvCxnSpPr>
          <p:nvPr/>
        </p:nvCxnSpPr>
        <p:spPr>
          <a:xfrm rot="10800000">
            <a:off x="6084084" y="2390163"/>
            <a:ext cx="1517427" cy="97630"/>
          </a:xfrm>
          <a:prstGeom prst="bentConnector2">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stCxn id="93" idx="2"/>
            <a:endCxn id="243796" idx="0"/>
          </p:cNvCxnSpPr>
          <p:nvPr/>
        </p:nvCxnSpPr>
        <p:spPr>
          <a:xfrm rot="5400000">
            <a:off x="3743652" y="567176"/>
            <a:ext cx="517442" cy="4163419"/>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stCxn id="93" idx="2"/>
            <a:endCxn id="243792" idx="0"/>
          </p:cNvCxnSpPr>
          <p:nvPr/>
        </p:nvCxnSpPr>
        <p:spPr>
          <a:xfrm rot="5400000">
            <a:off x="5050964" y="1874489"/>
            <a:ext cx="517442" cy="1548793"/>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135" name="Elbow Connector 134"/>
          <p:cNvCxnSpPr>
            <a:stCxn id="93" idx="2"/>
            <a:endCxn id="243794" idx="0"/>
          </p:cNvCxnSpPr>
          <p:nvPr/>
        </p:nvCxnSpPr>
        <p:spPr>
          <a:xfrm rot="16200000" flipH="1">
            <a:off x="6358276" y="2115968"/>
            <a:ext cx="517442" cy="1065833"/>
          </a:xfrm>
          <a:prstGeom prst="bentConnector3">
            <a:avLst>
              <a:gd name="adj1" fmla="val 85039"/>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60" name="AutoShape 17"/>
          <p:cNvCxnSpPr>
            <a:cxnSpLocks noChangeShapeType="1"/>
            <a:stCxn id="103" idx="2"/>
            <a:endCxn id="130" idx="1"/>
          </p:cNvCxnSpPr>
          <p:nvPr/>
        </p:nvCxnSpPr>
        <p:spPr bwMode="auto">
          <a:xfrm rot="5400000">
            <a:off x="4131650" y="3573905"/>
            <a:ext cx="301195" cy="506085"/>
          </a:xfrm>
          <a:prstGeom prst="bentConnector4">
            <a:avLst>
              <a:gd name="adj1" fmla="val 27231"/>
              <a:gd name="adj2" fmla="val 154898"/>
            </a:avLst>
          </a:prstGeom>
          <a:noFill/>
          <a:ln w="6350">
            <a:solidFill>
              <a:srgbClr val="BBBCBC"/>
            </a:solidFill>
            <a:miter lim="800000"/>
            <a:headEnd type="none" w="sm" len="sm"/>
            <a:tailEnd type="none" w="med" len="lg"/>
          </a:ln>
        </p:spPr>
      </p:cxnSp>
      <p:cxnSp>
        <p:nvCxnSpPr>
          <p:cNvPr id="276" name="AutoShape 17"/>
          <p:cNvCxnSpPr>
            <a:cxnSpLocks noChangeShapeType="1"/>
            <a:stCxn id="100" idx="2"/>
            <a:endCxn id="127" idx="1"/>
          </p:cNvCxnSpPr>
          <p:nvPr/>
        </p:nvCxnSpPr>
        <p:spPr bwMode="auto">
          <a:xfrm rot="5400000">
            <a:off x="6759060" y="3586690"/>
            <a:ext cx="301195" cy="480515"/>
          </a:xfrm>
          <a:prstGeom prst="bentConnector4">
            <a:avLst>
              <a:gd name="adj1" fmla="val 27231"/>
              <a:gd name="adj2" fmla="val 157819"/>
            </a:avLst>
          </a:prstGeom>
          <a:noFill/>
          <a:ln w="6350">
            <a:solidFill>
              <a:srgbClr val="BBBCBC"/>
            </a:solidFill>
            <a:miter lim="800000"/>
            <a:headEnd type="none" w="sm" len="sm"/>
            <a:tailEnd type="none" w="med" len="lg"/>
          </a:ln>
        </p:spPr>
      </p:cxnSp>
      <p:cxnSp>
        <p:nvCxnSpPr>
          <p:cNvPr id="292" name="AutoShape 17"/>
          <p:cNvCxnSpPr>
            <a:cxnSpLocks noChangeShapeType="1"/>
            <a:stCxn id="106" idx="2"/>
            <a:endCxn id="124" idx="1"/>
          </p:cNvCxnSpPr>
          <p:nvPr/>
        </p:nvCxnSpPr>
        <p:spPr bwMode="auto">
          <a:xfrm rot="5400000">
            <a:off x="9386471" y="3599476"/>
            <a:ext cx="301195" cy="454943"/>
          </a:xfrm>
          <a:prstGeom prst="bentConnector4">
            <a:avLst>
              <a:gd name="adj1" fmla="val 27231"/>
              <a:gd name="adj2" fmla="val 161069"/>
            </a:avLst>
          </a:prstGeom>
          <a:noFill/>
          <a:ln w="6350">
            <a:solidFill>
              <a:srgbClr val="BBBCBC"/>
            </a:solidFill>
            <a:miter lim="800000"/>
            <a:headEnd type="none" w="sm" len="sm"/>
            <a:tailEnd type="none" w="med" len="lg"/>
          </a:ln>
        </p:spPr>
      </p:cxnSp>
      <p:sp>
        <p:nvSpPr>
          <p:cNvPr id="243788" name="Text Box 10"/>
          <p:cNvSpPr txBox="1">
            <a:spLocks noChangeArrowheads="1"/>
          </p:cNvSpPr>
          <p:nvPr/>
        </p:nvSpPr>
        <p:spPr bwMode="auto">
          <a:xfrm>
            <a:off x="5139464" y="1619239"/>
            <a:ext cx="1889235" cy="274320"/>
          </a:xfrm>
          <a:prstGeom prst="rect">
            <a:avLst/>
          </a:prstGeom>
          <a:solidFill>
            <a:schemeClr val="accent1"/>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93" name="Rectangle 92"/>
          <p:cNvSpPr>
            <a:spLocks noChangeArrowheads="1"/>
          </p:cNvSpPr>
          <p:nvPr/>
        </p:nvSpPr>
        <p:spPr bwMode="auto">
          <a:xfrm>
            <a:off x="5139464" y="1887243"/>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8" name="Text Box 10"/>
          <p:cNvSpPr txBox="1">
            <a:spLocks noChangeArrowheads="1"/>
          </p:cNvSpPr>
          <p:nvPr/>
        </p:nvSpPr>
        <p:spPr bwMode="auto">
          <a:xfrm>
            <a:off x="7601508" y="1962978"/>
            <a:ext cx="1889235" cy="274320"/>
          </a:xfrm>
          <a:prstGeom prst="rect">
            <a:avLst/>
          </a:prstGeom>
          <a:solidFill>
            <a:schemeClr val="accent2"/>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3" name="Rectangle 112"/>
          <p:cNvSpPr>
            <a:spLocks noChangeArrowheads="1"/>
          </p:cNvSpPr>
          <p:nvPr/>
        </p:nvSpPr>
        <p:spPr bwMode="auto">
          <a:xfrm>
            <a:off x="7601508" y="2236333"/>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cxnSp>
        <p:nvCxnSpPr>
          <p:cNvPr id="142" name="AutoShape 17"/>
          <p:cNvCxnSpPr>
            <a:cxnSpLocks noChangeShapeType="1"/>
            <a:stCxn id="122" idx="1"/>
            <a:endCxn id="114" idx="1"/>
          </p:cNvCxnSpPr>
          <p:nvPr/>
        </p:nvCxnSpPr>
        <p:spPr bwMode="auto">
          <a:xfrm rot="10800000" flipV="1">
            <a:off x="1389008" y="4003847"/>
            <a:ext cx="15435" cy="722376"/>
          </a:xfrm>
          <a:prstGeom prst="bentConnector3">
            <a:avLst>
              <a:gd name="adj1" fmla="val 1800000"/>
            </a:avLst>
          </a:prstGeom>
          <a:noFill/>
          <a:ln w="6350">
            <a:solidFill>
              <a:srgbClr val="BBBCBC"/>
            </a:solidFill>
            <a:miter lim="800000"/>
            <a:headEnd type="none" w="sm" len="sm"/>
            <a:tailEnd type="none" w="med" len="lg"/>
          </a:ln>
        </p:spPr>
      </p:cxnSp>
      <p:cxnSp>
        <p:nvCxnSpPr>
          <p:cNvPr id="145" name="AutoShape 17"/>
          <p:cNvCxnSpPr>
            <a:cxnSpLocks noChangeShapeType="1"/>
            <a:stCxn id="114" idx="1"/>
            <a:endCxn id="243804" idx="1"/>
          </p:cNvCxnSpPr>
          <p:nvPr/>
        </p:nvCxnSpPr>
        <p:spPr bwMode="auto">
          <a:xfrm rot="10800000" flipV="1">
            <a:off x="1389008" y="4726223"/>
            <a:ext cx="15435" cy="722376"/>
          </a:xfrm>
          <a:prstGeom prst="bentConnector3">
            <a:avLst>
              <a:gd name="adj1" fmla="val 1800000"/>
            </a:avLst>
          </a:prstGeom>
          <a:noFill/>
          <a:ln w="6350">
            <a:solidFill>
              <a:srgbClr val="BBBCBC"/>
            </a:solidFill>
            <a:miter lim="800000"/>
            <a:headEnd type="none" w="sm" len="sm"/>
            <a:tailEnd type="none" w="med" len="lg"/>
          </a:ln>
        </p:spPr>
      </p:cxnSp>
      <p:cxnSp>
        <p:nvCxnSpPr>
          <p:cNvPr id="162" name="AutoShape 17"/>
          <p:cNvCxnSpPr>
            <a:cxnSpLocks noChangeShapeType="1"/>
            <a:stCxn id="116" idx="1"/>
            <a:endCxn id="105" idx="1"/>
          </p:cNvCxnSpPr>
          <p:nvPr/>
        </p:nvCxnSpPr>
        <p:spPr bwMode="auto">
          <a:xfrm rot="10800000" flipV="1">
            <a:off x="9309596" y="4707935"/>
            <a:ext cx="15435" cy="740664"/>
          </a:xfrm>
          <a:prstGeom prst="bentConnector3">
            <a:avLst>
              <a:gd name="adj1" fmla="val 1800000"/>
            </a:avLst>
          </a:prstGeom>
          <a:noFill/>
          <a:ln w="6350">
            <a:solidFill>
              <a:srgbClr val="BBBCBC"/>
            </a:solidFill>
            <a:miter lim="800000"/>
            <a:headEnd type="none" w="sm" len="sm"/>
            <a:tailEnd type="none" w="med" len="lg"/>
          </a:ln>
        </p:spPr>
      </p:cxnSp>
      <p:cxnSp>
        <p:nvCxnSpPr>
          <p:cNvPr id="163" name="AutoShape 17"/>
          <p:cNvCxnSpPr>
            <a:cxnSpLocks noChangeShapeType="1"/>
            <a:stCxn id="118" idx="1"/>
            <a:endCxn id="108" idx="1"/>
          </p:cNvCxnSpPr>
          <p:nvPr/>
        </p:nvCxnSpPr>
        <p:spPr bwMode="auto">
          <a:xfrm rot="10800000" flipV="1">
            <a:off x="6669399" y="4707935"/>
            <a:ext cx="15435" cy="740664"/>
          </a:xfrm>
          <a:prstGeom prst="bentConnector3">
            <a:avLst>
              <a:gd name="adj1" fmla="val 1800000"/>
            </a:avLst>
          </a:prstGeom>
          <a:noFill/>
          <a:ln w="6350">
            <a:solidFill>
              <a:srgbClr val="BBBCBC"/>
            </a:solidFill>
            <a:miter lim="800000"/>
            <a:headEnd type="none" w="sm" len="sm"/>
            <a:tailEnd type="none" w="med" len="lg"/>
          </a:ln>
        </p:spPr>
      </p:cxnSp>
      <p:cxnSp>
        <p:nvCxnSpPr>
          <p:cNvPr id="164" name="AutoShape 17"/>
          <p:cNvCxnSpPr>
            <a:cxnSpLocks noChangeShapeType="1"/>
            <a:stCxn id="120" idx="1"/>
            <a:endCxn id="111" idx="1"/>
          </p:cNvCxnSpPr>
          <p:nvPr/>
        </p:nvCxnSpPr>
        <p:spPr bwMode="auto">
          <a:xfrm rot="10800000" flipV="1">
            <a:off x="4029204" y="4707935"/>
            <a:ext cx="15435" cy="740664"/>
          </a:xfrm>
          <a:prstGeom prst="bentConnector3">
            <a:avLst>
              <a:gd name="adj1" fmla="val 1800000"/>
            </a:avLst>
          </a:prstGeom>
          <a:noFill/>
          <a:ln w="6350">
            <a:solidFill>
              <a:srgbClr val="BBBCBC"/>
            </a:solidFill>
            <a:miter lim="800000"/>
            <a:headEnd type="none" w="sm" len="sm"/>
            <a:tailEnd type="none" w="med" len="lg"/>
          </a:ln>
        </p:spPr>
      </p:cxnSp>
      <p:cxnSp>
        <p:nvCxnSpPr>
          <p:cNvPr id="171" name="AutoShape 17"/>
          <p:cNvCxnSpPr>
            <a:cxnSpLocks noChangeShapeType="1"/>
            <a:stCxn id="124" idx="1"/>
            <a:endCxn id="116" idx="1"/>
          </p:cNvCxnSpPr>
          <p:nvPr/>
        </p:nvCxnSpPr>
        <p:spPr bwMode="auto">
          <a:xfrm rot="10800000" flipV="1">
            <a:off x="9309596" y="3977545"/>
            <a:ext cx="15435" cy="730390"/>
          </a:xfrm>
          <a:prstGeom prst="bentConnector3">
            <a:avLst>
              <a:gd name="adj1" fmla="val 1800000"/>
            </a:avLst>
          </a:prstGeom>
          <a:noFill/>
          <a:ln w="6350">
            <a:solidFill>
              <a:srgbClr val="BBBCBC"/>
            </a:solidFill>
            <a:miter lim="800000"/>
            <a:headEnd type="none" w="sm" len="sm"/>
            <a:tailEnd type="none" w="med" len="lg"/>
          </a:ln>
        </p:spPr>
      </p:cxnSp>
      <p:cxnSp>
        <p:nvCxnSpPr>
          <p:cNvPr id="178" name="AutoShape 17"/>
          <p:cNvCxnSpPr>
            <a:cxnSpLocks noChangeShapeType="1"/>
            <a:stCxn id="127" idx="1"/>
            <a:endCxn id="118" idx="1"/>
          </p:cNvCxnSpPr>
          <p:nvPr/>
        </p:nvCxnSpPr>
        <p:spPr bwMode="auto">
          <a:xfrm rot="10800000" flipV="1">
            <a:off x="6669399" y="3977545"/>
            <a:ext cx="15435" cy="730390"/>
          </a:xfrm>
          <a:prstGeom prst="bentConnector3">
            <a:avLst>
              <a:gd name="adj1" fmla="val 1800000"/>
            </a:avLst>
          </a:prstGeom>
          <a:noFill/>
          <a:ln w="6350">
            <a:solidFill>
              <a:srgbClr val="BBBCBC"/>
            </a:solidFill>
            <a:miter lim="800000"/>
            <a:headEnd type="none" w="sm" len="sm"/>
            <a:tailEnd type="none" w="med" len="lg"/>
          </a:ln>
        </p:spPr>
      </p:cxnSp>
      <p:cxnSp>
        <p:nvCxnSpPr>
          <p:cNvPr id="183" name="AutoShape 17"/>
          <p:cNvCxnSpPr>
            <a:cxnSpLocks noChangeShapeType="1"/>
            <a:stCxn id="130" idx="1"/>
            <a:endCxn id="120" idx="1"/>
          </p:cNvCxnSpPr>
          <p:nvPr/>
        </p:nvCxnSpPr>
        <p:spPr bwMode="auto">
          <a:xfrm rot="10800000" flipV="1">
            <a:off x="4029204" y="3977545"/>
            <a:ext cx="15435" cy="730390"/>
          </a:xfrm>
          <a:prstGeom prst="bentConnector3">
            <a:avLst>
              <a:gd name="adj1" fmla="val 1800000"/>
            </a:avLst>
          </a:prstGeom>
          <a:noFill/>
          <a:ln w="6350">
            <a:solidFill>
              <a:srgbClr val="BBBCBC"/>
            </a:solidFill>
            <a:miter lim="800000"/>
            <a:headEnd type="none" w="sm" len="sm"/>
            <a:tailEnd type="none" w="med" len="lg"/>
          </a:ln>
        </p:spPr>
      </p:cxnSp>
      <p:sp>
        <p:nvSpPr>
          <p:cNvPr id="105" name="Text Box 10"/>
          <p:cNvSpPr txBox="1">
            <a:spLocks noChangeArrowheads="1"/>
          </p:cNvSpPr>
          <p:nvPr/>
        </p:nvSpPr>
        <p:spPr bwMode="auto">
          <a:xfrm>
            <a:off x="9309596" y="5311439"/>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7" name="Rectangle 106"/>
          <p:cNvSpPr>
            <a:spLocks noChangeArrowheads="1"/>
          </p:cNvSpPr>
          <p:nvPr/>
        </p:nvSpPr>
        <p:spPr bwMode="auto">
          <a:xfrm>
            <a:off x="9309596" y="5586250"/>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defTabSz="957998">
              <a:spcBef>
                <a:spcPts val="300"/>
              </a:spcBef>
              <a:defRPr/>
            </a:pPr>
            <a:r>
              <a:rPr lang="en-US" sz="1000" dirty="0">
                <a:latin typeface="+mj-lt"/>
              </a:rPr>
              <a:t>Text</a:t>
            </a:r>
          </a:p>
        </p:txBody>
      </p:sp>
      <p:sp>
        <p:nvSpPr>
          <p:cNvPr id="116" name="Text Box 10"/>
          <p:cNvSpPr txBox="1">
            <a:spLocks noChangeArrowheads="1"/>
          </p:cNvSpPr>
          <p:nvPr/>
        </p:nvSpPr>
        <p:spPr bwMode="auto">
          <a:xfrm>
            <a:off x="9309596" y="457077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7" name="Rectangle 116"/>
          <p:cNvSpPr>
            <a:spLocks noChangeArrowheads="1"/>
          </p:cNvSpPr>
          <p:nvPr/>
        </p:nvSpPr>
        <p:spPr bwMode="auto">
          <a:xfrm>
            <a:off x="9309596" y="4845586"/>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24" name="Text Box 10"/>
          <p:cNvSpPr txBox="1">
            <a:spLocks noChangeArrowheads="1"/>
          </p:cNvSpPr>
          <p:nvPr/>
        </p:nvSpPr>
        <p:spPr bwMode="auto">
          <a:xfrm>
            <a:off x="9309596" y="384038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25" name="Rectangle 124"/>
          <p:cNvSpPr>
            <a:spLocks noChangeArrowheads="1"/>
          </p:cNvSpPr>
          <p:nvPr/>
        </p:nvSpPr>
        <p:spPr bwMode="auto">
          <a:xfrm>
            <a:off x="9309596" y="4104922"/>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804" name="Text Box 10"/>
          <p:cNvSpPr txBox="1">
            <a:spLocks noChangeArrowheads="1"/>
          </p:cNvSpPr>
          <p:nvPr/>
        </p:nvSpPr>
        <p:spPr bwMode="auto">
          <a:xfrm>
            <a:off x="1389008" y="5311439"/>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55" name="Rectangle 154"/>
          <p:cNvSpPr>
            <a:spLocks noChangeArrowheads="1"/>
          </p:cNvSpPr>
          <p:nvPr/>
        </p:nvSpPr>
        <p:spPr bwMode="auto">
          <a:xfrm>
            <a:off x="1389008" y="5586250"/>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08" name="Text Box 10"/>
          <p:cNvSpPr txBox="1">
            <a:spLocks noChangeArrowheads="1"/>
          </p:cNvSpPr>
          <p:nvPr/>
        </p:nvSpPr>
        <p:spPr bwMode="auto">
          <a:xfrm>
            <a:off x="6669399" y="5311439"/>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0" name="Rectangle 109"/>
          <p:cNvSpPr>
            <a:spLocks noChangeArrowheads="1"/>
          </p:cNvSpPr>
          <p:nvPr/>
        </p:nvSpPr>
        <p:spPr bwMode="auto">
          <a:xfrm>
            <a:off x="6669399" y="5586250"/>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11" name="Text Box 10"/>
          <p:cNvSpPr txBox="1">
            <a:spLocks noChangeArrowheads="1"/>
          </p:cNvSpPr>
          <p:nvPr/>
        </p:nvSpPr>
        <p:spPr bwMode="auto">
          <a:xfrm>
            <a:off x="4029204" y="5311439"/>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2" name="Rectangle 111"/>
          <p:cNvSpPr>
            <a:spLocks noChangeArrowheads="1"/>
          </p:cNvSpPr>
          <p:nvPr/>
        </p:nvSpPr>
        <p:spPr bwMode="auto">
          <a:xfrm>
            <a:off x="4029204" y="5586250"/>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14" name="Text Box 10"/>
          <p:cNvSpPr txBox="1">
            <a:spLocks noChangeArrowheads="1"/>
          </p:cNvSpPr>
          <p:nvPr/>
        </p:nvSpPr>
        <p:spPr bwMode="auto">
          <a:xfrm>
            <a:off x="1389008" y="4589063"/>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5" name="Rectangle 114"/>
          <p:cNvSpPr>
            <a:spLocks noChangeArrowheads="1"/>
          </p:cNvSpPr>
          <p:nvPr/>
        </p:nvSpPr>
        <p:spPr bwMode="auto">
          <a:xfrm>
            <a:off x="1389008" y="4845586"/>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18" name="Text Box 10"/>
          <p:cNvSpPr txBox="1">
            <a:spLocks noChangeArrowheads="1"/>
          </p:cNvSpPr>
          <p:nvPr/>
        </p:nvSpPr>
        <p:spPr bwMode="auto">
          <a:xfrm>
            <a:off x="6669399" y="457077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19" name="Rectangle 118"/>
          <p:cNvSpPr>
            <a:spLocks noChangeArrowheads="1"/>
          </p:cNvSpPr>
          <p:nvPr/>
        </p:nvSpPr>
        <p:spPr bwMode="auto">
          <a:xfrm>
            <a:off x="6669399" y="4845586"/>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20" name="Text Box 10"/>
          <p:cNvSpPr txBox="1">
            <a:spLocks noChangeArrowheads="1"/>
          </p:cNvSpPr>
          <p:nvPr/>
        </p:nvSpPr>
        <p:spPr bwMode="auto">
          <a:xfrm>
            <a:off x="4029204" y="457077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21" name="Rectangle 120"/>
          <p:cNvSpPr>
            <a:spLocks noChangeArrowheads="1"/>
          </p:cNvSpPr>
          <p:nvPr/>
        </p:nvSpPr>
        <p:spPr bwMode="auto">
          <a:xfrm>
            <a:off x="4029204" y="4845586"/>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22" name="Text Box 10"/>
          <p:cNvSpPr txBox="1">
            <a:spLocks noChangeArrowheads="1"/>
          </p:cNvSpPr>
          <p:nvPr/>
        </p:nvSpPr>
        <p:spPr bwMode="auto">
          <a:xfrm>
            <a:off x="1389008" y="3866687"/>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23" name="Rectangle 122"/>
          <p:cNvSpPr>
            <a:spLocks noChangeArrowheads="1"/>
          </p:cNvSpPr>
          <p:nvPr/>
        </p:nvSpPr>
        <p:spPr bwMode="auto">
          <a:xfrm>
            <a:off x="1389008" y="4141498"/>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27" name="Text Box 10"/>
          <p:cNvSpPr txBox="1">
            <a:spLocks noChangeArrowheads="1"/>
          </p:cNvSpPr>
          <p:nvPr/>
        </p:nvSpPr>
        <p:spPr bwMode="auto">
          <a:xfrm>
            <a:off x="6669399" y="384038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28" name="Rectangle 127"/>
          <p:cNvSpPr>
            <a:spLocks noChangeArrowheads="1"/>
          </p:cNvSpPr>
          <p:nvPr/>
        </p:nvSpPr>
        <p:spPr bwMode="auto">
          <a:xfrm>
            <a:off x="6669399" y="4104922"/>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130" name="Text Box 10"/>
          <p:cNvSpPr txBox="1">
            <a:spLocks noChangeArrowheads="1"/>
          </p:cNvSpPr>
          <p:nvPr/>
        </p:nvSpPr>
        <p:spPr bwMode="auto">
          <a:xfrm>
            <a:off x="4029204" y="3840385"/>
            <a:ext cx="1889235"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31" name="Rectangle 130"/>
          <p:cNvSpPr>
            <a:spLocks noChangeArrowheads="1"/>
          </p:cNvSpPr>
          <p:nvPr/>
        </p:nvSpPr>
        <p:spPr bwMode="auto">
          <a:xfrm>
            <a:off x="4029204" y="4104922"/>
            <a:ext cx="1889235" cy="36576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6" name="Text Box 10"/>
          <p:cNvSpPr txBox="1">
            <a:spLocks noChangeArrowheads="1"/>
          </p:cNvSpPr>
          <p:nvPr/>
        </p:nvSpPr>
        <p:spPr bwMode="auto">
          <a:xfrm>
            <a:off x="976045" y="2907605"/>
            <a:ext cx="1889235"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97" name="Rectangle 96"/>
          <p:cNvSpPr>
            <a:spLocks noChangeArrowheads="1"/>
          </p:cNvSpPr>
          <p:nvPr/>
        </p:nvSpPr>
        <p:spPr bwMode="auto">
          <a:xfrm>
            <a:off x="976045" y="3173430"/>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4" name="Text Box 10"/>
          <p:cNvSpPr txBox="1">
            <a:spLocks noChangeArrowheads="1"/>
          </p:cNvSpPr>
          <p:nvPr/>
        </p:nvSpPr>
        <p:spPr bwMode="auto">
          <a:xfrm>
            <a:off x="6205296" y="2907605"/>
            <a:ext cx="1889235"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0" name="Rectangle 99"/>
          <p:cNvSpPr>
            <a:spLocks noChangeArrowheads="1"/>
          </p:cNvSpPr>
          <p:nvPr/>
        </p:nvSpPr>
        <p:spPr bwMode="auto">
          <a:xfrm>
            <a:off x="6205296" y="3173430"/>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2" name="Text Box 10"/>
          <p:cNvSpPr txBox="1">
            <a:spLocks noChangeArrowheads="1"/>
          </p:cNvSpPr>
          <p:nvPr/>
        </p:nvSpPr>
        <p:spPr bwMode="auto">
          <a:xfrm>
            <a:off x="3590671" y="2907605"/>
            <a:ext cx="1889235"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3" name="Rectangle 102"/>
          <p:cNvSpPr>
            <a:spLocks noChangeArrowheads="1"/>
          </p:cNvSpPr>
          <p:nvPr/>
        </p:nvSpPr>
        <p:spPr bwMode="auto">
          <a:xfrm>
            <a:off x="3590671" y="3173430"/>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243790" name="Text Box 10"/>
          <p:cNvSpPr txBox="1">
            <a:spLocks noChangeArrowheads="1"/>
          </p:cNvSpPr>
          <p:nvPr/>
        </p:nvSpPr>
        <p:spPr bwMode="auto">
          <a:xfrm>
            <a:off x="8819921" y="2907605"/>
            <a:ext cx="1889235"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106" name="Rectangle 105"/>
          <p:cNvSpPr>
            <a:spLocks noChangeArrowheads="1"/>
          </p:cNvSpPr>
          <p:nvPr/>
        </p:nvSpPr>
        <p:spPr bwMode="auto">
          <a:xfrm>
            <a:off x="8819921" y="3173430"/>
            <a:ext cx="1889235" cy="50292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Tree>
    <p:extLst>
      <p:ext uri="{BB962C8B-B14F-4D97-AF65-F5344CB8AC3E}">
        <p14:creationId xmlns:p14="http://schemas.microsoft.com/office/powerpoint/2010/main" val="1798692340"/>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With text blocks</a:t>
            </a:r>
          </a:p>
        </p:txBody>
      </p:sp>
      <p:sp>
        <p:nvSpPr>
          <p:cNvPr id="625665" name="Title 1"/>
          <p:cNvSpPr>
            <a:spLocks noGrp="1"/>
          </p:cNvSpPr>
          <p:nvPr>
            <p:ph type="title"/>
          </p:nvPr>
        </p:nvSpPr>
        <p:spPr/>
        <p:txBody>
          <a:bodyPr/>
          <a:lstStyle/>
          <a:p>
            <a:r>
              <a:rPr lang="en-US" dirty="0"/>
              <a:t>Organization chart</a:t>
            </a:r>
          </a:p>
        </p:txBody>
      </p:sp>
      <p:grpSp>
        <p:nvGrpSpPr>
          <p:cNvPr id="2" name="Group 1">
            <a:extLst>
              <a:ext uri="{FF2B5EF4-FFF2-40B4-BE49-F238E27FC236}">
                <a16:creationId xmlns:a16="http://schemas.microsoft.com/office/drawing/2014/main" id="{505DDDBD-E0E8-4074-B715-8EBA4BF1EBEF}"/>
              </a:ext>
            </a:extLst>
          </p:cNvPr>
          <p:cNvGrpSpPr/>
          <p:nvPr/>
        </p:nvGrpSpPr>
        <p:grpSpPr>
          <a:xfrm>
            <a:off x="780835" y="1611784"/>
            <a:ext cx="10510463" cy="3109562"/>
            <a:chOff x="2133268" y="1611785"/>
            <a:chExt cx="7822682" cy="2724637"/>
          </a:xfrm>
        </p:grpSpPr>
        <p:cxnSp>
          <p:nvCxnSpPr>
            <p:cNvPr id="10" name="AutoShape 9"/>
            <p:cNvCxnSpPr>
              <a:cxnSpLocks noChangeShapeType="1"/>
              <a:stCxn id="35" idx="0"/>
              <a:endCxn id="34" idx="2"/>
            </p:cNvCxnSpPr>
            <p:nvPr/>
          </p:nvCxnSpPr>
          <p:spPr bwMode="auto">
            <a:xfrm rot="5400000" flipH="1" flipV="1">
              <a:off x="4455245" y="1247276"/>
              <a:ext cx="453637" cy="2811589"/>
            </a:xfrm>
            <a:prstGeom prst="bentConnector3">
              <a:avLst>
                <a:gd name="adj1" fmla="val 50000"/>
              </a:avLst>
            </a:prstGeom>
            <a:noFill/>
            <a:ln w="6350">
              <a:solidFill>
                <a:srgbClr val="BBBCBC"/>
              </a:solidFill>
              <a:miter lim="800000"/>
              <a:headEnd/>
              <a:tailEnd/>
            </a:ln>
          </p:spPr>
        </p:cxnSp>
        <p:cxnSp>
          <p:nvCxnSpPr>
            <p:cNvPr id="11" name="AutoShape 10"/>
            <p:cNvCxnSpPr>
              <a:cxnSpLocks noChangeShapeType="1"/>
              <a:stCxn id="34" idx="2"/>
              <a:endCxn id="41" idx="0"/>
            </p:cNvCxnSpPr>
            <p:nvPr/>
          </p:nvCxnSpPr>
          <p:spPr bwMode="auto">
            <a:xfrm rot="16200000" flipH="1">
              <a:off x="7223586" y="1290522"/>
              <a:ext cx="453637" cy="2725093"/>
            </a:xfrm>
            <a:prstGeom prst="bentConnector3">
              <a:avLst>
                <a:gd name="adj1" fmla="val 50000"/>
              </a:avLst>
            </a:prstGeom>
            <a:noFill/>
            <a:ln w="6350">
              <a:solidFill>
                <a:srgbClr val="BBBCBC"/>
              </a:solidFill>
              <a:miter lim="800000"/>
              <a:headEnd/>
              <a:tailEnd/>
            </a:ln>
          </p:spPr>
        </p:cxnSp>
        <p:cxnSp>
          <p:nvCxnSpPr>
            <p:cNvPr id="17" name="AutoShape 17"/>
            <p:cNvCxnSpPr>
              <a:cxnSpLocks noChangeShapeType="1"/>
              <a:stCxn id="39" idx="0"/>
              <a:endCxn id="34" idx="2"/>
            </p:cNvCxnSpPr>
            <p:nvPr/>
          </p:nvCxnSpPr>
          <p:spPr bwMode="gray">
            <a:xfrm flipV="1">
              <a:off x="6087857" y="2426251"/>
              <a:ext cx="0" cy="453637"/>
            </a:xfrm>
            <a:prstGeom prst="straightConnector1">
              <a:avLst/>
            </a:prstGeom>
            <a:noFill/>
            <a:ln w="6350">
              <a:solidFill>
                <a:srgbClr val="BBBCBC"/>
              </a:solidFill>
              <a:round/>
              <a:headEnd/>
              <a:tailEnd/>
            </a:ln>
          </p:spPr>
        </p:cxnSp>
        <p:sp>
          <p:nvSpPr>
            <p:cNvPr id="21" name="Text Placeholder 5"/>
            <p:cNvSpPr txBox="1">
              <a:spLocks/>
            </p:cNvSpPr>
            <p:nvPr/>
          </p:nvSpPr>
          <p:spPr>
            <a:xfrm>
              <a:off x="2133268" y="3733363"/>
              <a:ext cx="2286000" cy="603059"/>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latin typeface="+mj-lt"/>
                </a:rPr>
                <a:t>This is dummy text not to be read</a:t>
              </a:r>
            </a:p>
            <a:p>
              <a:pPr marL="114300" lvl="1" indent="-114300">
                <a:spcBef>
                  <a:spcPts val="600"/>
                </a:spcBef>
                <a:buSzPct val="100000"/>
                <a:buFont typeface="Arial"/>
                <a:buChar char="•"/>
              </a:pPr>
              <a:r>
                <a:rPr lang="en-US" sz="1000" dirty="0">
                  <a:solidFill>
                    <a:schemeClr val="tx1"/>
                  </a:solidFill>
                  <a:latin typeface="+mj-lt"/>
                </a:rPr>
                <a:t>This is a level 1 bullet</a:t>
              </a:r>
            </a:p>
            <a:p>
              <a:pPr marL="254000" lvl="2" indent="-114300">
                <a:spcBef>
                  <a:spcPts val="600"/>
                </a:spcBef>
                <a:buSzPct val="100000"/>
                <a:buFont typeface="Arial"/>
                <a:buChar char="−"/>
              </a:pPr>
              <a:r>
                <a:rPr lang="en-US" sz="1000" dirty="0">
                  <a:solidFill>
                    <a:schemeClr val="tx1"/>
                  </a:solidFill>
                  <a:latin typeface="+mj-lt"/>
                </a:rPr>
                <a:t>This is a level 2 bullet </a:t>
              </a:r>
            </a:p>
          </p:txBody>
        </p:sp>
        <p:sp>
          <p:nvSpPr>
            <p:cNvPr id="30" name="Text Box 10"/>
            <p:cNvSpPr txBox="1">
              <a:spLocks noChangeArrowheads="1"/>
            </p:cNvSpPr>
            <p:nvPr/>
          </p:nvSpPr>
          <p:spPr bwMode="auto">
            <a:xfrm>
              <a:off x="4944857" y="1611785"/>
              <a:ext cx="2286000" cy="274320"/>
            </a:xfrm>
            <a:prstGeom prst="rect">
              <a:avLst/>
            </a:prstGeom>
            <a:solidFill>
              <a:schemeClr val="accent3"/>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34" name="Rectangle 33"/>
            <p:cNvSpPr>
              <a:spLocks noChangeArrowheads="1"/>
            </p:cNvSpPr>
            <p:nvPr/>
          </p:nvSpPr>
          <p:spPr bwMode="auto">
            <a:xfrm>
              <a:off x="4944857" y="1877610"/>
              <a:ext cx="2286000" cy="54864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35" name="Text Box 10"/>
            <p:cNvSpPr txBox="1">
              <a:spLocks noChangeArrowheads="1"/>
            </p:cNvSpPr>
            <p:nvPr/>
          </p:nvSpPr>
          <p:spPr bwMode="auto">
            <a:xfrm>
              <a:off x="2133268" y="2879887"/>
              <a:ext cx="228600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36" name="Rectangle 35"/>
            <p:cNvSpPr>
              <a:spLocks noChangeArrowheads="1"/>
            </p:cNvSpPr>
            <p:nvPr/>
          </p:nvSpPr>
          <p:spPr bwMode="auto">
            <a:xfrm>
              <a:off x="2133268" y="3154698"/>
              <a:ext cx="2286000" cy="54864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39" name="Text Box 10"/>
            <p:cNvSpPr txBox="1">
              <a:spLocks noChangeArrowheads="1"/>
            </p:cNvSpPr>
            <p:nvPr/>
          </p:nvSpPr>
          <p:spPr bwMode="auto">
            <a:xfrm>
              <a:off x="4944857" y="2879887"/>
              <a:ext cx="228600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40" name="Rectangle 39"/>
            <p:cNvSpPr>
              <a:spLocks noChangeArrowheads="1"/>
            </p:cNvSpPr>
            <p:nvPr/>
          </p:nvSpPr>
          <p:spPr bwMode="auto">
            <a:xfrm>
              <a:off x="4944857" y="3154698"/>
              <a:ext cx="2286000" cy="548640"/>
            </a:xfrm>
            <a:prstGeom prst="rect">
              <a:avLst/>
            </a:prstGeom>
            <a:solidFill>
              <a:schemeClr val="bg1">
                <a:lumMod val="75000"/>
              </a:schemeClr>
            </a:solidFill>
            <a:ln w="12700" algn="ctr">
              <a:noFill/>
              <a:miter lim="800000"/>
              <a:headEnd/>
              <a:tailEnd/>
            </a:ln>
          </p:spPr>
          <p:txBody>
            <a:bodyPr lIns="88900" tIns="88900" rIns="88900" bIns="88900" anchor="t"/>
            <a:lstStyle/>
            <a:p>
              <a:pPr marL="359623" indent="-359623" defTabSz="957998">
                <a:spcBef>
                  <a:spcPts val="300"/>
                </a:spcBef>
                <a:defRPr/>
              </a:pPr>
              <a:r>
                <a:rPr lang="en-US" sz="1000" dirty="0">
                  <a:latin typeface="+mj-lt"/>
                </a:rPr>
                <a:t>Text</a:t>
              </a:r>
            </a:p>
          </p:txBody>
        </p:sp>
        <p:sp>
          <p:nvSpPr>
            <p:cNvPr id="41" name="Text Box 10"/>
            <p:cNvSpPr txBox="1">
              <a:spLocks noChangeArrowheads="1"/>
            </p:cNvSpPr>
            <p:nvPr/>
          </p:nvSpPr>
          <p:spPr bwMode="auto">
            <a:xfrm>
              <a:off x="7669950" y="2879887"/>
              <a:ext cx="2286000" cy="274320"/>
            </a:xfrm>
            <a:prstGeom prst="rect">
              <a:avLst/>
            </a:prstGeom>
            <a:solidFill>
              <a:schemeClr val="accent6"/>
            </a:solidFill>
            <a:ln w="12700" algn="ctr">
              <a:noFill/>
              <a:miter lim="800000"/>
              <a:headEnd/>
              <a:tailEnd type="none" w="sm" len="med"/>
            </a:ln>
          </p:spPr>
          <p:txBody>
            <a:bodyPr lIns="88900" tIns="88900" rIns="88900" bIns="88900" anchor="ctr" anchorCtr="1"/>
            <a:lstStyle/>
            <a:p>
              <a:pPr defTabSz="957263"/>
              <a:r>
                <a:rPr lang="en-US" sz="1000" dirty="0">
                  <a:solidFill>
                    <a:schemeClr val="bg1"/>
                  </a:solidFill>
                  <a:latin typeface="+mj-lt"/>
                </a:rPr>
                <a:t>Label</a:t>
              </a:r>
            </a:p>
          </p:txBody>
        </p:sp>
        <p:sp>
          <p:nvSpPr>
            <p:cNvPr id="42" name="Rectangle 41"/>
            <p:cNvSpPr>
              <a:spLocks noChangeArrowheads="1"/>
            </p:cNvSpPr>
            <p:nvPr/>
          </p:nvSpPr>
          <p:spPr bwMode="auto">
            <a:xfrm>
              <a:off x="7669950" y="3154698"/>
              <a:ext cx="2286000" cy="548640"/>
            </a:xfrm>
            <a:prstGeom prst="rect">
              <a:avLst/>
            </a:prstGeom>
            <a:solidFill>
              <a:schemeClr val="bg1">
                <a:lumMod val="75000"/>
              </a:schemeClr>
            </a:solidFill>
            <a:ln w="12700" algn="ctr">
              <a:noFill/>
              <a:miter lim="800000"/>
              <a:headEnd/>
              <a:tailEnd/>
            </a:ln>
          </p:spPr>
          <p:txBody>
            <a:bodyPr lIns="88900" tIns="88900" rIns="88900" bIns="88900" anchor="t"/>
            <a:lstStyle/>
            <a:p>
              <a:pPr defTabSz="957998">
                <a:spcBef>
                  <a:spcPts val="300"/>
                </a:spcBef>
                <a:defRPr/>
              </a:pPr>
              <a:r>
                <a:rPr lang="en-US" sz="1000" dirty="0">
                  <a:latin typeface="+mj-lt"/>
                </a:rPr>
                <a:t>Text</a:t>
              </a:r>
            </a:p>
          </p:txBody>
        </p:sp>
        <p:sp>
          <p:nvSpPr>
            <p:cNvPr id="43" name="Text Placeholder 5"/>
            <p:cNvSpPr txBox="1">
              <a:spLocks/>
            </p:cNvSpPr>
            <p:nvPr/>
          </p:nvSpPr>
          <p:spPr>
            <a:xfrm>
              <a:off x="4944857" y="3733363"/>
              <a:ext cx="2286000" cy="603059"/>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latin typeface="+mj-lt"/>
                </a:rPr>
                <a:t>This is dummy text not to be read</a:t>
              </a:r>
            </a:p>
            <a:p>
              <a:pPr marL="114300" lvl="1" indent="-114300">
                <a:spcBef>
                  <a:spcPts val="600"/>
                </a:spcBef>
                <a:buSzPct val="100000"/>
                <a:buFont typeface="Arial"/>
                <a:buChar char="•"/>
              </a:pPr>
              <a:r>
                <a:rPr lang="en-US" sz="1000" dirty="0">
                  <a:solidFill>
                    <a:schemeClr val="tx1"/>
                  </a:solidFill>
                  <a:latin typeface="+mj-lt"/>
                </a:rPr>
                <a:t>This is a level 1 bullet</a:t>
              </a:r>
            </a:p>
            <a:p>
              <a:pPr marL="254000" lvl="2" indent="-114300">
                <a:spcBef>
                  <a:spcPts val="600"/>
                </a:spcBef>
                <a:buSzPct val="100000"/>
                <a:buFont typeface="Arial"/>
                <a:buChar char="−"/>
              </a:pPr>
              <a:r>
                <a:rPr lang="en-US" sz="1000" dirty="0">
                  <a:solidFill>
                    <a:schemeClr val="tx1"/>
                  </a:solidFill>
                  <a:latin typeface="+mj-lt"/>
                </a:rPr>
                <a:t>This is a level 2 bullet </a:t>
              </a:r>
            </a:p>
          </p:txBody>
        </p:sp>
        <p:sp>
          <p:nvSpPr>
            <p:cNvPr id="44" name="Text Placeholder 5"/>
            <p:cNvSpPr txBox="1">
              <a:spLocks/>
            </p:cNvSpPr>
            <p:nvPr/>
          </p:nvSpPr>
          <p:spPr>
            <a:xfrm>
              <a:off x="7669950" y="3733363"/>
              <a:ext cx="2286000" cy="603059"/>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000" dirty="0">
                  <a:solidFill>
                    <a:schemeClr val="tx1"/>
                  </a:solidFill>
                  <a:latin typeface="+mj-lt"/>
                </a:rPr>
                <a:t>This is dummy text not to be read</a:t>
              </a:r>
            </a:p>
            <a:p>
              <a:pPr marL="114300" lvl="1" indent="-114300">
                <a:spcBef>
                  <a:spcPts val="600"/>
                </a:spcBef>
                <a:buSzPct val="100000"/>
                <a:buFont typeface="Arial"/>
                <a:buChar char="•"/>
              </a:pPr>
              <a:r>
                <a:rPr lang="en-US" sz="1000" dirty="0">
                  <a:solidFill>
                    <a:schemeClr val="tx1"/>
                  </a:solidFill>
                  <a:latin typeface="+mj-lt"/>
                </a:rPr>
                <a:t>This is a level 1 bullet</a:t>
              </a:r>
            </a:p>
            <a:p>
              <a:pPr marL="254000" lvl="2" indent="-114300">
                <a:spcBef>
                  <a:spcPts val="600"/>
                </a:spcBef>
                <a:buSzPct val="100000"/>
                <a:buFont typeface="Arial"/>
                <a:buChar char="−"/>
              </a:pPr>
              <a:r>
                <a:rPr lang="en-US" sz="1000" dirty="0">
                  <a:solidFill>
                    <a:schemeClr val="tx1"/>
                  </a:solidFill>
                  <a:latin typeface="+mj-lt"/>
                </a:rPr>
                <a:t>This is a level 2 bullet </a:t>
              </a:r>
            </a:p>
          </p:txBody>
        </p:sp>
      </p:grpSp>
    </p:spTree>
    <p:extLst>
      <p:ext uri="{BB962C8B-B14F-4D97-AF65-F5344CB8AC3E}">
        <p14:creationId xmlns:p14="http://schemas.microsoft.com/office/powerpoint/2010/main" val="191465205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Tables with text</a:t>
            </a:r>
            <a:endParaRPr lang="en-US" dirty="0"/>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3091792957"/>
              </p:ext>
            </p:extLst>
          </p:nvPr>
        </p:nvGraphicFramePr>
        <p:xfrm>
          <a:off x="501650" y="2052638"/>
          <a:ext cx="11188698" cy="3803700"/>
        </p:xfrm>
        <a:graphic>
          <a:graphicData uri="http://schemas.openxmlformats.org/drawingml/2006/table">
            <a:tbl>
              <a:tblPr firstRow="1" bandRow="1">
                <a:tableStyleId>{5C22544A-7EE6-4342-B048-85BDC9FD1C3A}</a:tableStyleId>
              </a:tblPr>
              <a:tblGrid>
                <a:gridCol w="2450974">
                  <a:extLst>
                    <a:ext uri="{9D8B030D-6E8A-4147-A177-3AD203B41FA5}">
                      <a16:colId xmlns:a16="http://schemas.microsoft.com/office/drawing/2014/main" val="20000"/>
                    </a:ext>
                  </a:extLst>
                </a:gridCol>
                <a:gridCol w="4368862">
                  <a:extLst>
                    <a:ext uri="{9D8B030D-6E8A-4147-A177-3AD203B41FA5}">
                      <a16:colId xmlns:a16="http://schemas.microsoft.com/office/drawing/2014/main" val="20001"/>
                    </a:ext>
                  </a:extLst>
                </a:gridCol>
                <a:gridCol w="4368862">
                  <a:extLst>
                    <a:ext uri="{9D8B030D-6E8A-4147-A177-3AD203B41FA5}">
                      <a16:colId xmlns:a16="http://schemas.microsoft.com/office/drawing/2014/main" val="20002"/>
                    </a:ext>
                  </a:extLst>
                </a:gridCol>
              </a:tblGrid>
              <a:tr h="466140">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300" dirty="0">
                          <a:solidFill>
                            <a:schemeClr val="tx1"/>
                          </a:solidFill>
                        </a:rPr>
                        <a:t>Row description</a:t>
                      </a:r>
                    </a:p>
                  </a:txBody>
                  <a:tcPr marL="91980" marR="91980">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300">
                          <a:solidFill>
                            <a:schemeClr val="tx1"/>
                          </a:solidFill>
                        </a:rPr>
                        <a:t>Row description</a:t>
                      </a:r>
                      <a:endParaRPr lang="en-GB" sz="1300" dirty="0">
                        <a:solidFill>
                          <a:schemeClr val="tx1"/>
                        </a:solidFill>
                      </a:endParaRPr>
                    </a:p>
                  </a:txBody>
                  <a:tcPr marL="91980" marR="91980">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r>
                        <a:rPr lang="en-GB" sz="1300" dirty="0">
                          <a:solidFill>
                            <a:schemeClr val="tx1"/>
                          </a:solidFill>
                        </a:rPr>
                        <a:t>Row description</a:t>
                      </a:r>
                    </a:p>
                  </a:txBody>
                  <a:tcPr marL="91980" marR="91980">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2" name="Text Placeholder 11"/>
          <p:cNvSpPr>
            <a:spLocks noGrp="1"/>
          </p:cNvSpPr>
          <p:nvPr>
            <p:ph type="body" sz="quarter" idx="18"/>
          </p:nvPr>
        </p:nvSpPr>
        <p:spPr/>
        <p:txBody>
          <a:bodyPr/>
          <a:lstStyle/>
          <a:p>
            <a:r>
              <a:rPr lang="en-US" dirty="0"/>
              <a:t>Table title runs here</a:t>
            </a:r>
          </a:p>
        </p:txBody>
      </p:sp>
      <p:sp>
        <p:nvSpPr>
          <p:cNvPr id="5" name="Text Placeholder 4"/>
          <p:cNvSpPr>
            <a:spLocks noGrp="1"/>
          </p:cNvSpPr>
          <p:nvPr>
            <p:ph type="body" sz="quarter" idx="23"/>
          </p:nvPr>
        </p:nvSpPr>
        <p:spPr/>
        <p:txBody>
          <a:bodyPr>
            <a:normAutofit lnSpcReduction="10000"/>
          </a:bodyPr>
          <a:lstStyle/>
          <a:p>
            <a:r>
              <a:rPr lang="en-GB"/>
              <a:t>Source:</a:t>
            </a:r>
          </a:p>
          <a:p>
            <a:r>
              <a:rPr lang="en-GB"/>
              <a:t>Note:</a:t>
            </a:r>
            <a:endParaRPr lang="en-GB"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3109458456"/>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25"/>
          <p:cNvSpPr>
            <a:spLocks noGrp="1"/>
          </p:cNvSpPr>
          <p:nvPr>
            <p:ph type="body" sz="quarter" idx="13"/>
          </p:nvPr>
        </p:nvSpPr>
        <p:spPr/>
        <p:txBody>
          <a:bodyPr/>
          <a:lstStyle/>
          <a:p>
            <a:r>
              <a:rPr lang="en-GB"/>
              <a:t>Page subtitle</a:t>
            </a:r>
            <a:endParaRPr lang="en-GB" dirty="0"/>
          </a:p>
        </p:txBody>
      </p:sp>
      <p:sp>
        <p:nvSpPr>
          <p:cNvPr id="2" name="Title 1"/>
          <p:cNvSpPr>
            <a:spLocks noGrp="1"/>
          </p:cNvSpPr>
          <p:nvPr>
            <p:ph type="title"/>
          </p:nvPr>
        </p:nvSpPr>
        <p:spPr/>
        <p:txBody>
          <a:bodyPr/>
          <a:lstStyle/>
          <a:p>
            <a:r>
              <a:rPr lang="en-GB" dirty="0"/>
              <a:t>Driver tree</a:t>
            </a:r>
          </a:p>
        </p:txBody>
      </p:sp>
      <p:grpSp>
        <p:nvGrpSpPr>
          <p:cNvPr id="27" name="Group 26">
            <a:extLst>
              <a:ext uri="{FF2B5EF4-FFF2-40B4-BE49-F238E27FC236}">
                <a16:creationId xmlns:a16="http://schemas.microsoft.com/office/drawing/2014/main" id="{E738A637-78BB-4752-85CA-D206AEFDCC77}"/>
              </a:ext>
            </a:extLst>
          </p:cNvPr>
          <p:cNvGrpSpPr/>
          <p:nvPr/>
        </p:nvGrpSpPr>
        <p:grpSpPr>
          <a:xfrm>
            <a:off x="469900" y="1433087"/>
            <a:ext cx="11252200" cy="4598987"/>
            <a:chOff x="395999" y="1723725"/>
            <a:chExt cx="7884001" cy="4032000"/>
          </a:xfrm>
        </p:grpSpPr>
        <p:sp>
          <p:nvSpPr>
            <p:cNvPr id="29" name="Rectangle 28">
              <a:extLst>
                <a:ext uri="{FF2B5EF4-FFF2-40B4-BE49-F238E27FC236}">
                  <a16:creationId xmlns:a16="http://schemas.microsoft.com/office/drawing/2014/main" id="{A49A3DC2-F4D7-40B9-AA1F-D432A34F3440}"/>
                </a:ext>
              </a:extLst>
            </p:cNvPr>
            <p:cNvSpPr/>
            <p:nvPr/>
          </p:nvSpPr>
          <p:spPr>
            <a:xfrm>
              <a:off x="395999" y="3487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1" name="Rectangle 30">
              <a:extLst>
                <a:ext uri="{FF2B5EF4-FFF2-40B4-BE49-F238E27FC236}">
                  <a16:creationId xmlns:a16="http://schemas.microsoft.com/office/drawing/2014/main" id="{039CFA7C-8EC3-4747-A9EE-014FC81A5DF9}"/>
                </a:ext>
              </a:extLst>
            </p:cNvPr>
            <p:cNvSpPr/>
            <p:nvPr/>
          </p:nvSpPr>
          <p:spPr>
            <a:xfrm>
              <a:off x="3042000" y="3487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2" name="Rectangle 31">
              <a:extLst>
                <a:ext uri="{FF2B5EF4-FFF2-40B4-BE49-F238E27FC236}">
                  <a16:creationId xmlns:a16="http://schemas.microsoft.com/office/drawing/2014/main" id="{86152325-0E3A-4BE9-BFA5-C97BCD5CB616}"/>
                </a:ext>
              </a:extLst>
            </p:cNvPr>
            <p:cNvSpPr/>
            <p:nvPr/>
          </p:nvSpPr>
          <p:spPr>
            <a:xfrm>
              <a:off x="3042000" y="2083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3" name="Rectangle 32">
              <a:extLst>
                <a:ext uri="{FF2B5EF4-FFF2-40B4-BE49-F238E27FC236}">
                  <a16:creationId xmlns:a16="http://schemas.microsoft.com/office/drawing/2014/main" id="{CBB2FB26-F23D-4817-8CEA-25158195C1B3}"/>
                </a:ext>
              </a:extLst>
            </p:cNvPr>
            <p:cNvSpPr/>
            <p:nvPr/>
          </p:nvSpPr>
          <p:spPr>
            <a:xfrm>
              <a:off x="3042000" y="4891725"/>
              <a:ext cx="1494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4" name="Rectangle 33">
              <a:extLst>
                <a:ext uri="{FF2B5EF4-FFF2-40B4-BE49-F238E27FC236}">
                  <a16:creationId xmlns:a16="http://schemas.microsoft.com/office/drawing/2014/main" id="{B4949167-D4FC-4B4D-8DE2-FE12CC9911E9}"/>
                </a:ext>
              </a:extLst>
            </p:cNvPr>
            <p:cNvSpPr/>
            <p:nvPr/>
          </p:nvSpPr>
          <p:spPr>
            <a:xfrm>
              <a:off x="5670000" y="1723725"/>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6" name="Rectangle 35">
              <a:extLst>
                <a:ext uri="{FF2B5EF4-FFF2-40B4-BE49-F238E27FC236}">
                  <a16:creationId xmlns:a16="http://schemas.microsoft.com/office/drawing/2014/main" id="{E3AE89DF-23F9-4BFA-958B-975264A66233}"/>
                </a:ext>
              </a:extLst>
            </p:cNvPr>
            <p:cNvSpPr/>
            <p:nvPr/>
          </p:nvSpPr>
          <p:spPr>
            <a:xfrm>
              <a:off x="5670000" y="2389725"/>
              <a:ext cx="2610000" cy="522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8" name="Rectangle 37">
              <a:extLst>
                <a:ext uri="{FF2B5EF4-FFF2-40B4-BE49-F238E27FC236}">
                  <a16:creationId xmlns:a16="http://schemas.microsoft.com/office/drawing/2014/main" id="{C3BD49B7-8F8A-49BE-BAC7-9171041C89D4}"/>
                </a:ext>
              </a:extLst>
            </p:cNvPr>
            <p:cNvSpPr/>
            <p:nvPr/>
          </p:nvSpPr>
          <p:spPr>
            <a:xfrm>
              <a:off x="5670000" y="3145153"/>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39" name="Rectangle 38">
              <a:extLst>
                <a:ext uri="{FF2B5EF4-FFF2-40B4-BE49-F238E27FC236}">
                  <a16:creationId xmlns:a16="http://schemas.microsoft.com/office/drawing/2014/main" id="{C31316E3-CF0E-48A2-B86F-F972D0C9715E}"/>
                </a:ext>
              </a:extLst>
            </p:cNvPr>
            <p:cNvSpPr/>
            <p:nvPr/>
          </p:nvSpPr>
          <p:spPr>
            <a:xfrm>
              <a:off x="5670000" y="3811153"/>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grpSp>
          <p:nvGrpSpPr>
            <p:cNvPr id="40" name="Group 39">
              <a:extLst>
                <a:ext uri="{FF2B5EF4-FFF2-40B4-BE49-F238E27FC236}">
                  <a16:creationId xmlns:a16="http://schemas.microsoft.com/office/drawing/2014/main" id="{8EF252DC-B0E8-4A97-BF0E-FCBBF091A142}"/>
                </a:ext>
              </a:extLst>
            </p:cNvPr>
            <p:cNvGrpSpPr/>
            <p:nvPr/>
          </p:nvGrpSpPr>
          <p:grpSpPr>
            <a:xfrm>
              <a:off x="5670000" y="4567725"/>
              <a:ext cx="2610000" cy="1188000"/>
              <a:chOff x="5670000" y="4471284"/>
              <a:chExt cx="2610000" cy="1188000"/>
            </a:xfrm>
          </p:grpSpPr>
          <p:sp>
            <p:nvSpPr>
              <p:cNvPr id="50" name="Rectangle 49">
                <a:extLst>
                  <a:ext uri="{FF2B5EF4-FFF2-40B4-BE49-F238E27FC236}">
                    <a16:creationId xmlns:a16="http://schemas.microsoft.com/office/drawing/2014/main" id="{52A31027-B2D3-43FA-B613-AA778E40C8D4}"/>
                  </a:ext>
                </a:extLst>
              </p:cNvPr>
              <p:cNvSpPr/>
              <p:nvPr/>
            </p:nvSpPr>
            <p:spPr>
              <a:xfrm>
                <a:off x="5670000" y="4471284"/>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sp>
            <p:nvSpPr>
              <p:cNvPr id="51" name="Rectangle 50">
                <a:extLst>
                  <a:ext uri="{FF2B5EF4-FFF2-40B4-BE49-F238E27FC236}">
                    <a16:creationId xmlns:a16="http://schemas.microsoft.com/office/drawing/2014/main" id="{9839F8F1-684F-4A1A-9DA3-0A3D21FEF358}"/>
                  </a:ext>
                </a:extLst>
              </p:cNvPr>
              <p:cNvSpPr/>
              <p:nvPr/>
            </p:nvSpPr>
            <p:spPr>
              <a:xfrm>
                <a:off x="5670000" y="5137284"/>
                <a:ext cx="2610000" cy="522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300" dirty="0">
                    <a:solidFill>
                      <a:schemeClr val="tx1"/>
                    </a:solidFill>
                  </a:rPr>
                  <a:t>Text runs here</a:t>
                </a:r>
              </a:p>
            </p:txBody>
          </p:sp>
        </p:grpSp>
        <p:cxnSp>
          <p:nvCxnSpPr>
            <p:cNvPr id="41" name="Elbow Connector 18">
              <a:extLst>
                <a:ext uri="{FF2B5EF4-FFF2-40B4-BE49-F238E27FC236}">
                  <a16:creationId xmlns:a16="http://schemas.microsoft.com/office/drawing/2014/main" id="{AC04980F-74D5-4A51-B1FB-3496558FEF02}"/>
                </a:ext>
              </a:extLst>
            </p:cNvPr>
            <p:cNvCxnSpPr>
              <a:stCxn id="29" idx="3"/>
              <a:endCxn id="32" idx="1"/>
            </p:cNvCxnSpPr>
            <p:nvPr/>
          </p:nvCxnSpPr>
          <p:spPr>
            <a:xfrm flipV="1">
              <a:off x="1889999" y="2344725"/>
              <a:ext cx="1152001" cy="1404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Elbow Connector 19">
              <a:extLst>
                <a:ext uri="{FF2B5EF4-FFF2-40B4-BE49-F238E27FC236}">
                  <a16:creationId xmlns:a16="http://schemas.microsoft.com/office/drawing/2014/main" id="{F9A3ADD2-0F43-4AE3-B69D-772CE4629A63}"/>
                </a:ext>
              </a:extLst>
            </p:cNvPr>
            <p:cNvCxnSpPr>
              <a:stCxn id="32" idx="3"/>
              <a:endCxn id="34" idx="1"/>
            </p:cNvCxnSpPr>
            <p:nvPr/>
          </p:nvCxnSpPr>
          <p:spPr>
            <a:xfrm flipV="1">
              <a:off x="4536000" y="1984725"/>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Elbow Connector 22">
              <a:extLst>
                <a:ext uri="{FF2B5EF4-FFF2-40B4-BE49-F238E27FC236}">
                  <a16:creationId xmlns:a16="http://schemas.microsoft.com/office/drawing/2014/main" id="{3BE488D2-7BB4-445C-9E9A-6CF67A00E2D4}"/>
                </a:ext>
              </a:extLst>
            </p:cNvPr>
            <p:cNvCxnSpPr>
              <a:stCxn id="31" idx="3"/>
            </p:cNvCxnSpPr>
            <p:nvPr/>
          </p:nvCxnSpPr>
          <p:spPr>
            <a:xfrm flipV="1">
              <a:off x="4536000" y="3388725"/>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Elbow Connector 23">
              <a:extLst>
                <a:ext uri="{FF2B5EF4-FFF2-40B4-BE49-F238E27FC236}">
                  <a16:creationId xmlns:a16="http://schemas.microsoft.com/office/drawing/2014/main" id="{064CA4D1-CCE2-4579-8539-6723D8E9B524}"/>
                </a:ext>
              </a:extLst>
            </p:cNvPr>
            <p:cNvCxnSpPr/>
            <p:nvPr/>
          </p:nvCxnSpPr>
          <p:spPr>
            <a:xfrm flipV="1">
              <a:off x="4536000" y="4782009"/>
              <a:ext cx="1134000" cy="360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Elbow Connector 24">
              <a:extLst>
                <a:ext uri="{FF2B5EF4-FFF2-40B4-BE49-F238E27FC236}">
                  <a16:creationId xmlns:a16="http://schemas.microsoft.com/office/drawing/2014/main" id="{E3019C72-4E4F-4F2F-885D-0ACD6F688F81}"/>
                </a:ext>
              </a:extLst>
            </p:cNvPr>
            <p:cNvCxnSpPr>
              <a:stCxn id="29" idx="3"/>
              <a:endCxn id="33" idx="1"/>
            </p:cNvCxnSpPr>
            <p:nvPr/>
          </p:nvCxnSpPr>
          <p:spPr>
            <a:xfrm>
              <a:off x="1889999" y="3748725"/>
              <a:ext cx="1152001" cy="1404000"/>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Elbow Connector 27">
              <a:extLst>
                <a:ext uri="{FF2B5EF4-FFF2-40B4-BE49-F238E27FC236}">
                  <a16:creationId xmlns:a16="http://schemas.microsoft.com/office/drawing/2014/main" id="{DA81B8CA-C8F8-4B66-BA28-B40216C0E459}"/>
                </a:ext>
              </a:extLst>
            </p:cNvPr>
            <p:cNvCxnSpPr>
              <a:endCxn id="51" idx="1"/>
            </p:cNvCxnSpPr>
            <p:nvPr/>
          </p:nvCxnSpPr>
          <p:spPr>
            <a:xfrm>
              <a:off x="4536000" y="5140020"/>
              <a:ext cx="1134000" cy="354705"/>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Elbow Connector 29">
              <a:extLst>
                <a:ext uri="{FF2B5EF4-FFF2-40B4-BE49-F238E27FC236}">
                  <a16:creationId xmlns:a16="http://schemas.microsoft.com/office/drawing/2014/main" id="{55B53368-AB7B-45B3-A3B9-1A1110F16AEC}"/>
                </a:ext>
              </a:extLst>
            </p:cNvPr>
            <p:cNvCxnSpPr>
              <a:stCxn id="31" idx="3"/>
              <a:endCxn id="39" idx="1"/>
            </p:cNvCxnSpPr>
            <p:nvPr/>
          </p:nvCxnSpPr>
          <p:spPr>
            <a:xfrm>
              <a:off x="4536000" y="3748725"/>
              <a:ext cx="1134000" cy="323428"/>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Elbow Connector 34">
              <a:extLst>
                <a:ext uri="{FF2B5EF4-FFF2-40B4-BE49-F238E27FC236}">
                  <a16:creationId xmlns:a16="http://schemas.microsoft.com/office/drawing/2014/main" id="{F5DAA2FA-FD9C-4060-82C9-5B2254CCB221}"/>
                </a:ext>
              </a:extLst>
            </p:cNvPr>
            <p:cNvCxnSpPr/>
            <p:nvPr/>
          </p:nvCxnSpPr>
          <p:spPr>
            <a:xfrm>
              <a:off x="4536000" y="2343631"/>
              <a:ext cx="1134000" cy="354705"/>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A318F11-4917-4C71-9C50-61A629F9A61A}"/>
                </a:ext>
              </a:extLst>
            </p:cNvPr>
            <p:cNvCxnSpPr>
              <a:stCxn id="29" idx="3"/>
              <a:endCxn id="31" idx="1"/>
            </p:cNvCxnSpPr>
            <p:nvPr/>
          </p:nvCxnSpPr>
          <p:spPr>
            <a:xfrm>
              <a:off x="1889999" y="3748725"/>
              <a:ext cx="1152001"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43926804"/>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p:cNvSpPr>
            <a:spLocks noGrp="1"/>
          </p:cNvSpPr>
          <p:nvPr>
            <p:ph type="body" sz="quarter" idx="13"/>
          </p:nvPr>
        </p:nvSpPr>
        <p:spPr>
          <a:prstGeom prst="rect">
            <a:avLst/>
          </a:prstGeom>
        </p:spPr>
        <p:txBody>
          <a:bodyPr/>
          <a:lstStyle/>
          <a:p>
            <a:r>
              <a:rPr lang="en-GB" dirty="0"/>
              <a:t>Simple</a:t>
            </a:r>
          </a:p>
        </p:txBody>
      </p:sp>
      <p:sp>
        <p:nvSpPr>
          <p:cNvPr id="2" name="Title 1"/>
          <p:cNvSpPr>
            <a:spLocks noGrp="1"/>
          </p:cNvSpPr>
          <p:nvPr>
            <p:ph type="title"/>
          </p:nvPr>
        </p:nvSpPr>
        <p:spPr/>
        <p:txBody>
          <a:bodyPr/>
          <a:lstStyle/>
          <a:p>
            <a:r>
              <a:rPr lang="en-GB" dirty="0"/>
              <a:t>Organization chart</a:t>
            </a:r>
          </a:p>
        </p:txBody>
      </p:sp>
      <p:grpSp>
        <p:nvGrpSpPr>
          <p:cNvPr id="20" name="Group 19">
            <a:extLst>
              <a:ext uri="{FF2B5EF4-FFF2-40B4-BE49-F238E27FC236}">
                <a16:creationId xmlns:a16="http://schemas.microsoft.com/office/drawing/2014/main" id="{574FAC25-E20A-4DD4-BCC6-839E970A9506}"/>
              </a:ext>
            </a:extLst>
          </p:cNvPr>
          <p:cNvGrpSpPr/>
          <p:nvPr/>
        </p:nvGrpSpPr>
        <p:grpSpPr>
          <a:xfrm>
            <a:off x="469900" y="1422813"/>
            <a:ext cx="11252199" cy="4598987"/>
            <a:chOff x="396000" y="1638000"/>
            <a:chExt cx="8361000" cy="4248000"/>
          </a:xfrm>
        </p:grpSpPr>
        <p:cxnSp>
          <p:nvCxnSpPr>
            <p:cNvPr id="21" name="Straight Connector 20">
              <a:extLst>
                <a:ext uri="{FF2B5EF4-FFF2-40B4-BE49-F238E27FC236}">
                  <a16:creationId xmlns:a16="http://schemas.microsoft.com/office/drawing/2014/main" id="{E06778D5-AF3D-4511-ADE8-6FD6DF4C44BF}"/>
                </a:ext>
              </a:extLst>
            </p:cNvPr>
            <p:cNvCxnSpPr>
              <a:stCxn id="34" idx="3"/>
              <a:endCxn id="33" idx="1"/>
            </p:cNvCxnSpPr>
            <p:nvPr/>
          </p:nvCxnSpPr>
          <p:spPr>
            <a:xfrm>
              <a:off x="3649500" y="4311000"/>
              <a:ext cx="18405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0B55E71-6D44-4D50-B6DB-CE16243412CE}"/>
                </a:ext>
              </a:extLst>
            </p:cNvPr>
            <p:cNvCxnSpPr>
              <a:stCxn id="38" idx="3"/>
              <a:endCxn id="37" idx="1"/>
            </p:cNvCxnSpPr>
            <p:nvPr/>
          </p:nvCxnSpPr>
          <p:spPr>
            <a:xfrm>
              <a:off x="1962000" y="5409000"/>
              <a:ext cx="5229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0B9E77-A161-4F79-A184-6FD5962A16B7}"/>
                </a:ext>
              </a:extLst>
            </p:cNvPr>
            <p:cNvCxnSpPr>
              <a:stCxn id="28" idx="2"/>
              <a:endCxn id="31" idx="0"/>
            </p:cNvCxnSpPr>
            <p:nvPr/>
          </p:nvCxnSpPr>
          <p:spPr>
            <a:xfrm>
              <a:off x="4563000" y="2592000"/>
              <a:ext cx="9000" cy="234000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69EAFA4-D37E-431D-A965-07806714C78E}"/>
                </a:ext>
              </a:extLst>
            </p:cNvPr>
            <p:cNvCxnSpPr>
              <a:stCxn id="29" idx="3"/>
              <a:endCxn id="32" idx="1"/>
            </p:cNvCxnSpPr>
            <p:nvPr/>
          </p:nvCxnSpPr>
          <p:spPr>
            <a:xfrm>
              <a:off x="5346000" y="3213000"/>
              <a:ext cx="144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52B29B76-73D5-4FC0-AABE-A093503FB1B4}"/>
                </a:ext>
              </a:extLst>
            </p:cNvPr>
            <p:cNvSpPr/>
            <p:nvPr/>
          </p:nvSpPr>
          <p:spPr>
            <a:xfrm>
              <a:off x="3780000" y="1638000"/>
              <a:ext cx="1566000" cy="95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Sponsor</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29" name="Rectangle 28">
              <a:extLst>
                <a:ext uri="{FF2B5EF4-FFF2-40B4-BE49-F238E27FC236}">
                  <a16:creationId xmlns:a16="http://schemas.microsoft.com/office/drawing/2014/main" id="{ED8DF0C1-DA83-4953-9463-80382953FCFC}"/>
                </a:ext>
              </a:extLst>
            </p:cNvPr>
            <p:cNvSpPr/>
            <p:nvPr/>
          </p:nvSpPr>
          <p:spPr>
            <a:xfrm>
              <a:off x="3780000" y="2736000"/>
              <a:ext cx="1566000" cy="95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Management</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0" name="Rectangle 29">
              <a:extLst>
                <a:ext uri="{FF2B5EF4-FFF2-40B4-BE49-F238E27FC236}">
                  <a16:creationId xmlns:a16="http://schemas.microsoft.com/office/drawing/2014/main" id="{2974C7FE-CF51-47C8-B944-53FDFC038601}"/>
                </a:ext>
              </a:extLst>
            </p:cNvPr>
            <p:cNvSpPr/>
            <p:nvPr/>
          </p:nvSpPr>
          <p:spPr>
            <a:xfrm>
              <a:off x="3780000" y="3834000"/>
              <a:ext cx="1566000" cy="9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Management</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1" name="Rectangle 30">
              <a:extLst>
                <a:ext uri="{FF2B5EF4-FFF2-40B4-BE49-F238E27FC236}">
                  <a16:creationId xmlns:a16="http://schemas.microsoft.com/office/drawing/2014/main" id="{F28B93D3-1364-4137-B038-FDDFA9FA9F74}"/>
                </a:ext>
              </a:extLst>
            </p:cNvPr>
            <p:cNvSpPr/>
            <p:nvPr/>
          </p:nvSpPr>
          <p:spPr>
            <a:xfrm>
              <a:off x="3789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2" name="Rectangle 31">
              <a:extLst>
                <a:ext uri="{FF2B5EF4-FFF2-40B4-BE49-F238E27FC236}">
                  <a16:creationId xmlns:a16="http://schemas.microsoft.com/office/drawing/2014/main" id="{C243DA9B-5453-4E5B-AA76-D620784B54DD}"/>
                </a:ext>
              </a:extLst>
            </p:cNvPr>
            <p:cNvSpPr/>
            <p:nvPr/>
          </p:nvSpPr>
          <p:spPr>
            <a:xfrm>
              <a:off x="5490000" y="2736000"/>
              <a:ext cx="1566000" cy="95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QA</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3" name="Rectangle 32">
              <a:extLst>
                <a:ext uri="{FF2B5EF4-FFF2-40B4-BE49-F238E27FC236}">
                  <a16:creationId xmlns:a16="http://schemas.microsoft.com/office/drawing/2014/main" id="{8199E468-F168-43A3-91B1-4EB241D27E07}"/>
                </a:ext>
              </a:extLst>
            </p:cNvPr>
            <p:cNvSpPr/>
            <p:nvPr/>
          </p:nvSpPr>
          <p:spPr>
            <a:xfrm>
              <a:off x="5490000" y="3834000"/>
              <a:ext cx="1566000" cy="9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PMO</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4" name="Rectangle 33">
              <a:extLst>
                <a:ext uri="{FF2B5EF4-FFF2-40B4-BE49-F238E27FC236}">
                  <a16:creationId xmlns:a16="http://schemas.microsoft.com/office/drawing/2014/main" id="{E562ABD5-08F5-433A-90F9-EC1E10617C95}"/>
                </a:ext>
              </a:extLst>
            </p:cNvPr>
            <p:cNvSpPr/>
            <p:nvPr/>
          </p:nvSpPr>
          <p:spPr>
            <a:xfrm>
              <a:off x="2083500" y="3834000"/>
              <a:ext cx="1566000" cy="9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a:solidFill>
                    <a:schemeClr val="bg1"/>
                  </a:solidFill>
                  <a:latin typeface="+mj-lt"/>
                </a:rPr>
                <a:t>Subject experts</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5" name="Rectangle 34">
              <a:extLst>
                <a:ext uri="{FF2B5EF4-FFF2-40B4-BE49-F238E27FC236}">
                  <a16:creationId xmlns:a16="http://schemas.microsoft.com/office/drawing/2014/main" id="{2B8B3D62-AE18-42F7-A83D-C022586DE0E6}"/>
                </a:ext>
              </a:extLst>
            </p:cNvPr>
            <p:cNvSpPr/>
            <p:nvPr/>
          </p:nvSpPr>
          <p:spPr>
            <a:xfrm>
              <a:off x="20835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6" name="Rectangle 35">
              <a:extLst>
                <a:ext uri="{FF2B5EF4-FFF2-40B4-BE49-F238E27FC236}">
                  <a16:creationId xmlns:a16="http://schemas.microsoft.com/office/drawing/2014/main" id="{133EB626-47AA-47DE-A4F8-BC73C0963979}"/>
                </a:ext>
              </a:extLst>
            </p:cNvPr>
            <p:cNvSpPr/>
            <p:nvPr/>
          </p:nvSpPr>
          <p:spPr>
            <a:xfrm>
              <a:off x="5490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7" name="Rectangle 36">
              <a:extLst>
                <a:ext uri="{FF2B5EF4-FFF2-40B4-BE49-F238E27FC236}">
                  <a16:creationId xmlns:a16="http://schemas.microsoft.com/office/drawing/2014/main" id="{E8DBF802-AC7F-47F8-8E42-055ADA4D8AEB}"/>
                </a:ext>
              </a:extLst>
            </p:cNvPr>
            <p:cNvSpPr/>
            <p:nvPr/>
          </p:nvSpPr>
          <p:spPr>
            <a:xfrm>
              <a:off x="7191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sp>
          <p:nvSpPr>
            <p:cNvPr id="38" name="Rectangle 37">
              <a:extLst>
                <a:ext uri="{FF2B5EF4-FFF2-40B4-BE49-F238E27FC236}">
                  <a16:creationId xmlns:a16="http://schemas.microsoft.com/office/drawing/2014/main" id="{D581065C-3B4E-4A70-B43F-9592E23CEA1E}"/>
                </a:ext>
              </a:extLst>
            </p:cNvPr>
            <p:cNvSpPr/>
            <p:nvPr/>
          </p:nvSpPr>
          <p:spPr>
            <a:xfrm>
              <a:off x="396000" y="4932000"/>
              <a:ext cx="1566000" cy="9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a:lnSpc>
                  <a:spcPct val="110000"/>
                </a:lnSpc>
              </a:pPr>
              <a:r>
                <a:rPr lang="en-GB" sz="1300" b="1" dirty="0" err="1">
                  <a:solidFill>
                    <a:schemeClr val="bg1"/>
                  </a:solidFill>
                  <a:latin typeface="+mj-lt"/>
                </a:rPr>
                <a:t>Workstream</a:t>
              </a:r>
              <a:endParaRPr lang="en-GB" sz="1300" b="1" dirty="0">
                <a:solidFill>
                  <a:schemeClr val="bg1"/>
                </a:solidFill>
                <a:latin typeface="+mj-lt"/>
              </a:endParaRP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a:p>
              <a:pPr>
                <a:lnSpc>
                  <a:spcPct val="110000"/>
                </a:lnSpc>
              </a:pPr>
              <a:r>
                <a:rPr lang="en-GB" sz="1300" dirty="0">
                  <a:solidFill>
                    <a:schemeClr val="bg1"/>
                  </a:solidFill>
                </a:rPr>
                <a:t>Name Surname</a:t>
              </a:r>
            </a:p>
          </p:txBody>
        </p:sp>
      </p:grpSp>
    </p:spTree>
    <p:extLst>
      <p:ext uri="{BB962C8B-B14F-4D97-AF65-F5344CB8AC3E}">
        <p14:creationId xmlns:p14="http://schemas.microsoft.com/office/powerpoint/2010/main" val="1331588484"/>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a:t>Example</a:t>
            </a:r>
            <a:endParaRPr lang="en-US" dirty="0"/>
          </a:p>
        </p:txBody>
      </p:sp>
      <p:sp>
        <p:nvSpPr>
          <p:cNvPr id="8" name="Title 7"/>
          <p:cNvSpPr>
            <a:spLocks noGrp="1"/>
          </p:cNvSpPr>
          <p:nvPr>
            <p:ph type="title"/>
          </p:nvPr>
        </p:nvSpPr>
        <p:spPr/>
        <p:txBody>
          <a:bodyPr/>
          <a:lstStyle/>
          <a:p>
            <a:r>
              <a:rPr lang="en-US"/>
              <a:t>Proposed team structure and responsibilities</a:t>
            </a:r>
            <a:endParaRPr lang="en-US" dirty="0"/>
          </a:p>
        </p:txBody>
      </p:sp>
      <p:grpSp>
        <p:nvGrpSpPr>
          <p:cNvPr id="21" name="Group 20">
            <a:extLst>
              <a:ext uri="{FF2B5EF4-FFF2-40B4-BE49-F238E27FC236}">
                <a16:creationId xmlns:a16="http://schemas.microsoft.com/office/drawing/2014/main" id="{EE266C59-9AAB-4906-9B4A-AB085FF510C8}"/>
              </a:ext>
            </a:extLst>
          </p:cNvPr>
          <p:cNvGrpSpPr/>
          <p:nvPr/>
        </p:nvGrpSpPr>
        <p:grpSpPr>
          <a:xfrm>
            <a:off x="6005513" y="1998617"/>
            <a:ext cx="5703524" cy="4300583"/>
            <a:chOff x="5837920" y="1483605"/>
            <a:chExt cx="5958237" cy="5831127"/>
          </a:xfrm>
        </p:grpSpPr>
        <p:sp>
          <p:nvSpPr>
            <p:cNvPr id="22" name="Text Placeholder 65">
              <a:extLst>
                <a:ext uri="{FF2B5EF4-FFF2-40B4-BE49-F238E27FC236}">
                  <a16:creationId xmlns:a16="http://schemas.microsoft.com/office/drawing/2014/main" id="{E5D5DD80-390B-4E30-B99C-5D7DF5E16339}"/>
                </a:ext>
              </a:extLst>
            </p:cNvPr>
            <p:cNvSpPr txBox="1">
              <a:spLocks/>
            </p:cNvSpPr>
            <p:nvPr/>
          </p:nvSpPr>
          <p:spPr bwMode="gray">
            <a:xfrm>
              <a:off x="7605759" y="1483605"/>
              <a:ext cx="4190397" cy="1341120"/>
            </a:xfrm>
            <a:prstGeom prst="rect">
              <a:avLst/>
            </a:prstGeom>
          </p:spPr>
          <p:txBody>
            <a:bodyPr vert="horz" lIns="0" tIns="0" rIns="0" bIns="0" rtlCol="0">
              <a:noAutofit/>
            </a:bodyPr>
            <a:lstStyle/>
            <a:p>
              <a:pPr marL="135463" lvl="1" indent="-135463">
                <a:spcBef>
                  <a:spcPts val="400"/>
                </a:spcBef>
                <a:buSzPct val="100000"/>
                <a:buFont typeface="Arial"/>
                <a:buChar char="•"/>
              </a:pPr>
              <a:r>
                <a:rPr lang="en-US" sz="1300" dirty="0"/>
                <a:t>Make key decisions, sign-off on major deliverables and act on recommendations</a:t>
              </a:r>
            </a:p>
            <a:p>
              <a:pPr marL="135463" lvl="1" indent="-135463">
                <a:spcBef>
                  <a:spcPts val="400"/>
                </a:spcBef>
                <a:buSzPct val="100000"/>
                <a:buFont typeface="Arial"/>
                <a:buChar char="•"/>
              </a:pPr>
              <a:r>
                <a:rPr lang="en-US" sz="1300" dirty="0"/>
                <a:t>Identify and assign appropriate resources to the project</a:t>
              </a:r>
            </a:p>
          </p:txBody>
        </p:sp>
        <p:sp>
          <p:nvSpPr>
            <p:cNvPr id="23" name="Text Placeholder 65">
              <a:extLst>
                <a:ext uri="{FF2B5EF4-FFF2-40B4-BE49-F238E27FC236}">
                  <a16:creationId xmlns:a16="http://schemas.microsoft.com/office/drawing/2014/main" id="{119C87C7-C3B5-48F4-AFD8-B3A8EA0A453B}"/>
                </a:ext>
              </a:extLst>
            </p:cNvPr>
            <p:cNvSpPr txBox="1">
              <a:spLocks/>
            </p:cNvSpPr>
            <p:nvPr/>
          </p:nvSpPr>
          <p:spPr bwMode="gray">
            <a:xfrm>
              <a:off x="7605761" y="2980275"/>
              <a:ext cx="4190396" cy="1341120"/>
            </a:xfrm>
            <a:prstGeom prst="rect">
              <a:avLst/>
            </a:prstGeom>
          </p:spPr>
          <p:txBody>
            <a:bodyPr vert="horz" lIns="0" tIns="0" rIns="0" bIns="0" rtlCol="0">
              <a:noAutofit/>
            </a:bodyPr>
            <a:lstStyle/>
            <a:p>
              <a:pPr marL="135463" lvl="1" indent="-135463">
                <a:spcBef>
                  <a:spcPts val="400"/>
                </a:spcBef>
                <a:buSzPct val="100000"/>
                <a:buFont typeface="Arial"/>
                <a:buChar char="•"/>
              </a:pPr>
              <a:r>
                <a:rPr lang="en-US" sz="1300" dirty="0"/>
                <a:t>Ensure objectives are met within timing and scope outlined by the Steering Committee</a:t>
              </a:r>
            </a:p>
            <a:p>
              <a:pPr marL="135463" lvl="1" indent="-135463">
                <a:spcBef>
                  <a:spcPts val="400"/>
                </a:spcBef>
                <a:buSzPct val="100000"/>
                <a:buFont typeface="Arial"/>
                <a:buChar char="•"/>
              </a:pPr>
              <a:r>
                <a:rPr lang="en-US" sz="1300" dirty="0"/>
                <a:t>Manage day-to-day activities — project committee</a:t>
              </a:r>
            </a:p>
          </p:txBody>
        </p:sp>
        <p:sp>
          <p:nvSpPr>
            <p:cNvPr id="24" name="Text Placeholder 65">
              <a:extLst>
                <a:ext uri="{FF2B5EF4-FFF2-40B4-BE49-F238E27FC236}">
                  <a16:creationId xmlns:a16="http://schemas.microsoft.com/office/drawing/2014/main" id="{123355CD-7AF3-4BB6-9BB4-E2F8AF116347}"/>
                </a:ext>
              </a:extLst>
            </p:cNvPr>
            <p:cNvSpPr txBox="1">
              <a:spLocks/>
            </p:cNvSpPr>
            <p:nvPr/>
          </p:nvSpPr>
          <p:spPr bwMode="gray">
            <a:xfrm>
              <a:off x="7605760" y="4476944"/>
              <a:ext cx="3718560" cy="1341120"/>
            </a:xfrm>
            <a:prstGeom prst="rect">
              <a:avLst/>
            </a:prstGeom>
          </p:spPr>
          <p:txBody>
            <a:bodyPr vert="horz" lIns="0" tIns="0" rIns="0" bIns="0" rtlCol="0">
              <a:noAutofit/>
            </a:bodyPr>
            <a:lstStyle/>
            <a:p>
              <a:pPr marL="135463" lvl="1" indent="-135463">
                <a:spcBef>
                  <a:spcPts val="400"/>
                </a:spcBef>
                <a:buSzPct val="100000"/>
                <a:buFont typeface="Arial"/>
                <a:buChar char="•"/>
              </a:pPr>
              <a:r>
                <a:rPr lang="en-US" sz="1300" dirty="0"/>
                <a:t>Provide insight into ...</a:t>
              </a:r>
            </a:p>
            <a:p>
              <a:pPr marL="135463" lvl="1" indent="-135463">
                <a:spcBef>
                  <a:spcPts val="400"/>
                </a:spcBef>
                <a:buSzPct val="100000"/>
                <a:buFont typeface="Arial"/>
                <a:buChar char="•"/>
              </a:pPr>
              <a:r>
                <a:rPr lang="en-US" sz="1300" dirty="0"/>
                <a:t>Support team on ...</a:t>
              </a:r>
            </a:p>
          </p:txBody>
        </p:sp>
        <p:sp>
          <p:nvSpPr>
            <p:cNvPr id="25" name="Rectangle 24">
              <a:extLst>
                <a:ext uri="{FF2B5EF4-FFF2-40B4-BE49-F238E27FC236}">
                  <a16:creationId xmlns:a16="http://schemas.microsoft.com/office/drawing/2014/main" id="{AE9DC48A-A9FF-4AE4-A4D3-2345BC61A16B}"/>
                </a:ext>
              </a:extLst>
            </p:cNvPr>
            <p:cNvSpPr/>
            <p:nvPr/>
          </p:nvSpPr>
          <p:spPr bwMode="gray">
            <a:xfrm>
              <a:off x="5837920" y="1483605"/>
              <a:ext cx="1584960" cy="1341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solidFill>
                    <a:schemeClr val="bg1"/>
                  </a:solidFill>
                </a:rPr>
                <a:t>Steering committee</a:t>
              </a:r>
            </a:p>
          </p:txBody>
        </p:sp>
        <p:sp>
          <p:nvSpPr>
            <p:cNvPr id="26" name="Rectangle 25">
              <a:extLst>
                <a:ext uri="{FF2B5EF4-FFF2-40B4-BE49-F238E27FC236}">
                  <a16:creationId xmlns:a16="http://schemas.microsoft.com/office/drawing/2014/main" id="{079F0BEC-CBB1-4549-A342-30B02E6FCE36}"/>
                </a:ext>
              </a:extLst>
            </p:cNvPr>
            <p:cNvSpPr/>
            <p:nvPr/>
          </p:nvSpPr>
          <p:spPr bwMode="gray">
            <a:xfrm>
              <a:off x="5837920" y="2980275"/>
              <a:ext cx="1584960" cy="13411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solidFill>
                    <a:schemeClr val="bg1"/>
                  </a:solidFill>
                </a:rPr>
                <a:t>Project management</a:t>
              </a:r>
            </a:p>
          </p:txBody>
        </p:sp>
        <p:sp>
          <p:nvSpPr>
            <p:cNvPr id="27" name="Rectangle 26">
              <a:extLst>
                <a:ext uri="{FF2B5EF4-FFF2-40B4-BE49-F238E27FC236}">
                  <a16:creationId xmlns:a16="http://schemas.microsoft.com/office/drawing/2014/main" id="{472FFBA1-AE74-4BB3-B2C4-EFBDBD47602A}"/>
                </a:ext>
              </a:extLst>
            </p:cNvPr>
            <p:cNvSpPr/>
            <p:nvPr/>
          </p:nvSpPr>
          <p:spPr bwMode="gray">
            <a:xfrm>
              <a:off x="5837920" y="4476944"/>
              <a:ext cx="1584960" cy="13411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solidFill>
                    <a:schemeClr val="bg1"/>
                  </a:solidFill>
                </a:rPr>
                <a:t>Subject experts</a:t>
              </a:r>
            </a:p>
          </p:txBody>
        </p:sp>
        <p:sp>
          <p:nvSpPr>
            <p:cNvPr id="28" name="Rectangle 27">
              <a:extLst>
                <a:ext uri="{FF2B5EF4-FFF2-40B4-BE49-F238E27FC236}">
                  <a16:creationId xmlns:a16="http://schemas.microsoft.com/office/drawing/2014/main" id="{053E4F82-52AD-4861-8468-9BCB31DA3EB6}"/>
                </a:ext>
              </a:extLst>
            </p:cNvPr>
            <p:cNvSpPr/>
            <p:nvPr/>
          </p:nvSpPr>
          <p:spPr bwMode="gray">
            <a:xfrm>
              <a:off x="5837920" y="5973612"/>
              <a:ext cx="1584960" cy="13411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solidFill>
                    <a:schemeClr val="bg1"/>
                  </a:solidFill>
                </a:rPr>
                <a:t>Project team</a:t>
              </a:r>
            </a:p>
          </p:txBody>
        </p:sp>
        <p:sp>
          <p:nvSpPr>
            <p:cNvPr id="29" name="Text Placeholder 65">
              <a:extLst>
                <a:ext uri="{FF2B5EF4-FFF2-40B4-BE49-F238E27FC236}">
                  <a16:creationId xmlns:a16="http://schemas.microsoft.com/office/drawing/2014/main" id="{E50AFB20-D968-45DC-B090-1192606AF821}"/>
                </a:ext>
              </a:extLst>
            </p:cNvPr>
            <p:cNvSpPr txBox="1">
              <a:spLocks/>
            </p:cNvSpPr>
            <p:nvPr/>
          </p:nvSpPr>
          <p:spPr bwMode="gray">
            <a:xfrm>
              <a:off x="7605760" y="5973612"/>
              <a:ext cx="3718560" cy="1341120"/>
            </a:xfrm>
            <a:prstGeom prst="rect">
              <a:avLst/>
            </a:prstGeom>
          </p:spPr>
          <p:txBody>
            <a:bodyPr vert="horz" lIns="0" tIns="0" rIns="0" bIns="0" rtlCol="0">
              <a:noAutofit/>
            </a:bodyPr>
            <a:lstStyle/>
            <a:p>
              <a:pPr marL="135463" lvl="1" indent="-135463">
                <a:spcBef>
                  <a:spcPts val="400"/>
                </a:spcBef>
                <a:buSzPct val="100000"/>
                <a:buFont typeface="Arial"/>
                <a:buChar char="•"/>
              </a:pPr>
              <a:r>
                <a:rPr lang="en-US" sz="1300" dirty="0"/>
                <a:t>Interface with ...</a:t>
              </a:r>
            </a:p>
            <a:p>
              <a:pPr marL="135463" lvl="1" indent="-135463">
                <a:spcBef>
                  <a:spcPts val="400"/>
                </a:spcBef>
                <a:buSzPct val="100000"/>
                <a:buFont typeface="Arial"/>
                <a:buChar char="•"/>
              </a:pPr>
              <a:r>
                <a:rPr lang="en-US" sz="1300" dirty="0"/>
                <a:t>Analyze ...</a:t>
              </a:r>
            </a:p>
            <a:p>
              <a:pPr marL="135463" lvl="1" indent="-135463">
                <a:spcBef>
                  <a:spcPts val="400"/>
                </a:spcBef>
                <a:buSzPct val="100000"/>
                <a:buFont typeface="Arial"/>
                <a:buChar char="•"/>
              </a:pPr>
              <a:r>
                <a:rPr lang="en-US" sz="1300" dirty="0"/>
                <a:t>Prepare deliverables draft recommendations</a:t>
              </a:r>
            </a:p>
          </p:txBody>
        </p:sp>
      </p:grpSp>
      <p:sp>
        <p:nvSpPr>
          <p:cNvPr id="32" name="Rectangle 2">
            <a:extLst>
              <a:ext uri="{FF2B5EF4-FFF2-40B4-BE49-F238E27FC236}">
                <a16:creationId xmlns:a16="http://schemas.microsoft.com/office/drawing/2014/main" id="{7EF48C0A-DA93-42FE-94AA-BC6D66EF96E2}"/>
              </a:ext>
            </a:extLst>
          </p:cNvPr>
          <p:cNvSpPr txBox="1">
            <a:spLocks noChangeArrowheads="1"/>
          </p:cNvSpPr>
          <p:nvPr/>
        </p:nvSpPr>
        <p:spPr bwMode="gray">
          <a:xfrm>
            <a:off x="6005513" y="1677466"/>
            <a:ext cx="5486400" cy="200055"/>
          </a:xfrm>
          <a:prstGeom prst="rect">
            <a:avLst/>
          </a:prstGeom>
          <a:noFill/>
          <a:ln w="9525">
            <a:noFill/>
            <a:miter lim="800000"/>
            <a:headEnd/>
            <a:tailEnd/>
          </a:ln>
        </p:spPr>
        <p:txBody>
          <a:bodyPr wrap="square" lIns="0" tIns="0" rIns="0" bIns="0">
            <a:spAutoFit/>
          </a:bodyPr>
          <a:lstStyle/>
          <a:p>
            <a:pPr defTabSz="1358866"/>
            <a:r>
              <a:rPr lang="en-US" sz="1300" dirty="0"/>
              <a:t>Responsibilities</a:t>
            </a:r>
          </a:p>
        </p:txBody>
      </p:sp>
      <p:sp>
        <p:nvSpPr>
          <p:cNvPr id="35" name="Rectangle 2">
            <a:extLst>
              <a:ext uri="{FF2B5EF4-FFF2-40B4-BE49-F238E27FC236}">
                <a16:creationId xmlns:a16="http://schemas.microsoft.com/office/drawing/2014/main" id="{F049F2A9-0570-4531-9967-B32F308AA02D}"/>
              </a:ext>
            </a:extLst>
          </p:cNvPr>
          <p:cNvSpPr txBox="1">
            <a:spLocks noChangeArrowheads="1"/>
          </p:cNvSpPr>
          <p:nvPr/>
        </p:nvSpPr>
        <p:spPr bwMode="gray">
          <a:xfrm>
            <a:off x="469900" y="1677466"/>
            <a:ext cx="5486400" cy="200055"/>
          </a:xfrm>
          <a:prstGeom prst="rect">
            <a:avLst/>
          </a:prstGeom>
          <a:noFill/>
          <a:ln w="9525">
            <a:noFill/>
            <a:miter lim="800000"/>
            <a:headEnd/>
            <a:tailEnd/>
          </a:ln>
        </p:spPr>
        <p:txBody>
          <a:bodyPr wrap="square" lIns="0" tIns="0" rIns="0" bIns="0">
            <a:spAutoFit/>
          </a:bodyPr>
          <a:lstStyle/>
          <a:p>
            <a:pPr defTabSz="1358866"/>
            <a:r>
              <a:rPr lang="en-US" sz="1300" dirty="0"/>
              <a:t>Role</a:t>
            </a:r>
          </a:p>
        </p:txBody>
      </p:sp>
      <p:grpSp>
        <p:nvGrpSpPr>
          <p:cNvPr id="36" name="Group 35">
            <a:extLst>
              <a:ext uri="{FF2B5EF4-FFF2-40B4-BE49-F238E27FC236}">
                <a16:creationId xmlns:a16="http://schemas.microsoft.com/office/drawing/2014/main" id="{052C90C0-19F1-447A-854D-EE9DF951B61A}"/>
              </a:ext>
            </a:extLst>
          </p:cNvPr>
          <p:cNvGrpSpPr/>
          <p:nvPr/>
        </p:nvGrpSpPr>
        <p:grpSpPr>
          <a:xfrm>
            <a:off x="511957" y="1998616"/>
            <a:ext cx="4673997" cy="4300583"/>
            <a:chOff x="511957" y="1490133"/>
            <a:chExt cx="4576987" cy="5822679"/>
          </a:xfrm>
        </p:grpSpPr>
        <p:cxnSp>
          <p:nvCxnSpPr>
            <p:cNvPr id="37" name="Straight Connector 36">
              <a:extLst>
                <a:ext uri="{FF2B5EF4-FFF2-40B4-BE49-F238E27FC236}">
                  <a16:creationId xmlns:a16="http://schemas.microsoft.com/office/drawing/2014/main" id="{093116FC-53B1-4A3E-A809-C03A52FE5780}"/>
                </a:ext>
              </a:extLst>
            </p:cNvPr>
            <p:cNvCxnSpPr/>
            <p:nvPr/>
          </p:nvCxnSpPr>
          <p:spPr>
            <a:xfrm flipV="1">
              <a:off x="2565716" y="5144959"/>
              <a:ext cx="1488000" cy="3168"/>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EA5D629-B568-48D3-BD98-D1F481008BE8}"/>
                </a:ext>
              </a:extLst>
            </p:cNvPr>
            <p:cNvCxnSpPr/>
            <p:nvPr/>
          </p:nvCxnSpPr>
          <p:spPr bwMode="gray">
            <a:xfrm>
              <a:off x="4044353" y="2818306"/>
              <a:ext cx="0" cy="431385"/>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60139C2-E4F9-4053-B038-F240CA1F9575}"/>
                </a:ext>
              </a:extLst>
            </p:cNvPr>
            <p:cNvCxnSpPr>
              <a:stCxn id="43" idx="2"/>
              <a:endCxn id="41" idx="0"/>
            </p:cNvCxnSpPr>
            <p:nvPr/>
          </p:nvCxnSpPr>
          <p:spPr bwMode="gray">
            <a:xfrm>
              <a:off x="4052624" y="4319477"/>
              <a:ext cx="0" cy="1654137"/>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D644CAC4-5A4B-40A5-8CEF-1F67AA3D8FF6}"/>
                </a:ext>
              </a:extLst>
            </p:cNvPr>
            <p:cNvSpPr/>
            <p:nvPr/>
          </p:nvSpPr>
          <p:spPr bwMode="gray">
            <a:xfrm>
              <a:off x="3016304" y="5973612"/>
              <a:ext cx="2072640" cy="1339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latin typeface="+mj-lt"/>
                </a:rPr>
                <a:t>Project team</a:t>
              </a:r>
            </a:p>
            <a:p>
              <a:endParaRPr lang="en-US" sz="1300" b="1" dirty="0"/>
            </a:p>
            <a:p>
              <a:r>
                <a:rPr lang="en-US" sz="1300" dirty="0">
                  <a:solidFill>
                    <a:schemeClr val="bg1"/>
                  </a:solidFill>
                </a:rPr>
                <a:t>Name Surname</a:t>
              </a:r>
            </a:p>
            <a:p>
              <a:r>
                <a:rPr lang="en-US" sz="1300" dirty="0">
                  <a:solidFill>
                    <a:schemeClr val="bg1"/>
                  </a:solidFill>
                </a:rPr>
                <a:t>Name Surname</a:t>
              </a:r>
            </a:p>
          </p:txBody>
        </p:sp>
        <p:sp>
          <p:nvSpPr>
            <p:cNvPr id="42" name="Rectangle 41">
              <a:extLst>
                <a:ext uri="{FF2B5EF4-FFF2-40B4-BE49-F238E27FC236}">
                  <a16:creationId xmlns:a16="http://schemas.microsoft.com/office/drawing/2014/main" id="{C4B7B984-7CB0-4DD5-84FC-FC193368C011}"/>
                </a:ext>
              </a:extLst>
            </p:cNvPr>
            <p:cNvSpPr/>
            <p:nvPr/>
          </p:nvSpPr>
          <p:spPr bwMode="gray">
            <a:xfrm>
              <a:off x="3008033" y="1490133"/>
              <a:ext cx="2072640" cy="133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latin typeface="+mj-lt"/>
                </a:rPr>
                <a:t>Steering committee</a:t>
              </a:r>
            </a:p>
            <a:p>
              <a:endParaRPr lang="en-US" sz="1300" b="1" dirty="0"/>
            </a:p>
            <a:p>
              <a:r>
                <a:rPr lang="en-US" sz="1300" dirty="0">
                  <a:solidFill>
                    <a:schemeClr val="bg1"/>
                  </a:solidFill>
                </a:rPr>
                <a:t>Name Surname</a:t>
              </a:r>
            </a:p>
            <a:p>
              <a:r>
                <a:rPr lang="en-US" sz="1300" dirty="0">
                  <a:solidFill>
                    <a:schemeClr val="bg1"/>
                  </a:solidFill>
                </a:rPr>
                <a:t>Name Surname</a:t>
              </a:r>
            </a:p>
          </p:txBody>
        </p:sp>
        <p:sp>
          <p:nvSpPr>
            <p:cNvPr id="43" name="Rectangle 42">
              <a:extLst>
                <a:ext uri="{FF2B5EF4-FFF2-40B4-BE49-F238E27FC236}">
                  <a16:creationId xmlns:a16="http://schemas.microsoft.com/office/drawing/2014/main" id="{5B36FB47-76AC-4C96-96DC-819383554496}"/>
                </a:ext>
              </a:extLst>
            </p:cNvPr>
            <p:cNvSpPr/>
            <p:nvPr/>
          </p:nvSpPr>
          <p:spPr bwMode="gray">
            <a:xfrm>
              <a:off x="3016304" y="2980275"/>
              <a:ext cx="2072640" cy="1339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latin typeface="+mj-lt"/>
                </a:rPr>
                <a:t>Project management</a:t>
              </a:r>
            </a:p>
            <a:p>
              <a:endParaRPr lang="en-US" sz="1300" b="1" dirty="0"/>
            </a:p>
            <a:p>
              <a:r>
                <a:rPr lang="en-US" sz="1300" dirty="0">
                  <a:solidFill>
                    <a:schemeClr val="bg1"/>
                  </a:solidFill>
                </a:rPr>
                <a:t>Name Surname</a:t>
              </a:r>
            </a:p>
            <a:p>
              <a:r>
                <a:rPr lang="en-US" sz="1300" dirty="0">
                  <a:solidFill>
                    <a:schemeClr val="bg1"/>
                  </a:solidFill>
                </a:rPr>
                <a:t>Name Surname</a:t>
              </a:r>
            </a:p>
          </p:txBody>
        </p:sp>
        <p:sp>
          <p:nvSpPr>
            <p:cNvPr id="44" name="Rectangle 43">
              <a:extLst>
                <a:ext uri="{FF2B5EF4-FFF2-40B4-BE49-F238E27FC236}">
                  <a16:creationId xmlns:a16="http://schemas.microsoft.com/office/drawing/2014/main" id="{5BA96750-F4E1-49F4-9EB8-991F4FAE0DC3}"/>
                </a:ext>
              </a:extLst>
            </p:cNvPr>
            <p:cNvSpPr/>
            <p:nvPr/>
          </p:nvSpPr>
          <p:spPr bwMode="gray">
            <a:xfrm>
              <a:off x="511957" y="4478864"/>
              <a:ext cx="2072640" cy="1339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r>
                <a:rPr lang="en-US" sz="1300" b="1" dirty="0">
                  <a:latin typeface="+mj-lt"/>
                </a:rPr>
                <a:t>Subject experts</a:t>
              </a:r>
            </a:p>
            <a:p>
              <a:endParaRPr lang="en-US" sz="1300" b="1" dirty="0"/>
            </a:p>
            <a:p>
              <a:r>
                <a:rPr lang="en-US" sz="1300" dirty="0">
                  <a:solidFill>
                    <a:schemeClr val="bg1"/>
                  </a:solidFill>
                </a:rPr>
                <a:t>Name Surname</a:t>
              </a:r>
            </a:p>
            <a:p>
              <a:r>
                <a:rPr lang="en-US" sz="1300" dirty="0">
                  <a:solidFill>
                    <a:schemeClr val="bg1"/>
                  </a:solidFill>
                </a:rPr>
                <a:t>Name Surname</a:t>
              </a:r>
            </a:p>
          </p:txBody>
        </p:sp>
      </p:grpSp>
    </p:spTree>
    <p:extLst>
      <p:ext uri="{BB962C8B-B14F-4D97-AF65-F5344CB8AC3E}">
        <p14:creationId xmlns:p14="http://schemas.microsoft.com/office/powerpoint/2010/main" val="1313359829"/>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Solid and outline only</a:t>
            </a:r>
          </a:p>
        </p:txBody>
      </p:sp>
      <p:sp>
        <p:nvSpPr>
          <p:cNvPr id="3" name="Title 2"/>
          <p:cNvSpPr>
            <a:spLocks noGrp="1"/>
          </p:cNvSpPr>
          <p:nvPr>
            <p:ph type="title"/>
          </p:nvPr>
        </p:nvSpPr>
        <p:spPr/>
        <p:txBody>
          <a:bodyPr/>
          <a:lstStyle/>
          <a:p>
            <a:r>
              <a:rPr lang="en-GB" dirty="0"/>
              <a:t>Chevrons</a:t>
            </a:r>
          </a:p>
        </p:txBody>
      </p:sp>
      <p:sp>
        <p:nvSpPr>
          <p:cNvPr id="5" name="Pentagon 4"/>
          <p:cNvSpPr/>
          <p:nvPr/>
        </p:nvSpPr>
        <p:spPr>
          <a:xfrm>
            <a:off x="501650" y="1904062"/>
            <a:ext cx="3011687" cy="705659"/>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tx1"/>
                </a:solidFill>
              </a:rPr>
              <a:t>Name of phase</a:t>
            </a:r>
          </a:p>
        </p:txBody>
      </p:sp>
      <p:sp>
        <p:nvSpPr>
          <p:cNvPr id="6" name="Chevron 5"/>
          <p:cNvSpPr/>
          <p:nvPr/>
        </p:nvSpPr>
        <p:spPr>
          <a:xfrm>
            <a:off x="3227321" y="1904062"/>
            <a:ext cx="3011687" cy="705659"/>
          </a:xfrm>
          <a:prstGeom prst="chevron">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bg1"/>
                </a:solidFill>
              </a:rPr>
              <a:t>Name of phase</a:t>
            </a:r>
          </a:p>
        </p:txBody>
      </p:sp>
      <p:sp>
        <p:nvSpPr>
          <p:cNvPr id="7" name="Chevron 6"/>
          <p:cNvSpPr/>
          <p:nvPr/>
        </p:nvSpPr>
        <p:spPr>
          <a:xfrm>
            <a:off x="5952992" y="1904062"/>
            <a:ext cx="3011687" cy="705659"/>
          </a:xfrm>
          <a:prstGeom prst="chevron">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bg1"/>
                </a:solidFill>
              </a:rPr>
              <a:t>Name of phase</a:t>
            </a:r>
          </a:p>
        </p:txBody>
      </p:sp>
      <p:sp>
        <p:nvSpPr>
          <p:cNvPr id="8" name="Chevron 7"/>
          <p:cNvSpPr/>
          <p:nvPr/>
        </p:nvSpPr>
        <p:spPr>
          <a:xfrm>
            <a:off x="8678663" y="1904062"/>
            <a:ext cx="3011687" cy="705659"/>
          </a:xfrm>
          <a:prstGeom prst="chevron">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bg1"/>
                </a:solidFill>
              </a:rPr>
              <a:t>Name of phase</a:t>
            </a:r>
          </a:p>
        </p:txBody>
      </p:sp>
      <p:sp>
        <p:nvSpPr>
          <p:cNvPr id="14" name="Pentagon 13"/>
          <p:cNvSpPr/>
          <p:nvPr/>
        </p:nvSpPr>
        <p:spPr>
          <a:xfrm>
            <a:off x="501650" y="4482791"/>
            <a:ext cx="3011687" cy="705659"/>
          </a:xfrm>
          <a:prstGeom prst="homePlate">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tx1"/>
                </a:solidFill>
              </a:rPr>
              <a:t>Name of phase</a:t>
            </a:r>
          </a:p>
        </p:txBody>
      </p:sp>
      <p:sp>
        <p:nvSpPr>
          <p:cNvPr id="15" name="Chevron 14"/>
          <p:cNvSpPr/>
          <p:nvPr/>
        </p:nvSpPr>
        <p:spPr>
          <a:xfrm>
            <a:off x="3227321" y="4482791"/>
            <a:ext cx="3011687" cy="705659"/>
          </a:xfrm>
          <a:prstGeom prst="chevron">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b="1" dirty="0">
                <a:solidFill>
                  <a:schemeClr val="accent2"/>
                </a:solidFill>
                <a:latin typeface="+mj-lt"/>
              </a:rPr>
              <a:t>Name of phase</a:t>
            </a:r>
          </a:p>
        </p:txBody>
      </p:sp>
      <p:sp>
        <p:nvSpPr>
          <p:cNvPr id="16" name="Chevron 15"/>
          <p:cNvSpPr/>
          <p:nvPr/>
        </p:nvSpPr>
        <p:spPr>
          <a:xfrm>
            <a:off x="5952992" y="4482791"/>
            <a:ext cx="3011687" cy="705659"/>
          </a:xfrm>
          <a:prstGeom prst="chevron">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tx1"/>
                </a:solidFill>
              </a:rPr>
              <a:t>Name of phase</a:t>
            </a:r>
          </a:p>
        </p:txBody>
      </p:sp>
      <p:sp>
        <p:nvSpPr>
          <p:cNvPr id="17" name="Chevron 16"/>
          <p:cNvSpPr/>
          <p:nvPr/>
        </p:nvSpPr>
        <p:spPr>
          <a:xfrm>
            <a:off x="8678663" y="4482791"/>
            <a:ext cx="3011687" cy="705659"/>
          </a:xfrm>
          <a:prstGeom prst="chevron">
            <a:avLst/>
          </a:prstGeom>
          <a:noFill/>
          <a:ln w="1905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solidFill>
                  <a:schemeClr val="tx1"/>
                </a:solidFill>
              </a:rPr>
              <a:t>Name of phase</a:t>
            </a:r>
          </a:p>
        </p:txBody>
      </p:sp>
    </p:spTree>
    <p:extLst>
      <p:ext uri="{BB962C8B-B14F-4D97-AF65-F5344CB8AC3E}">
        <p14:creationId xmlns:p14="http://schemas.microsoft.com/office/powerpoint/2010/main" val="2790336000"/>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GB"/>
              <a:t>Basic</a:t>
            </a:r>
            <a:endParaRPr lang="en-GB" dirty="0"/>
          </a:p>
        </p:txBody>
      </p:sp>
      <p:sp>
        <p:nvSpPr>
          <p:cNvPr id="2" name="Title 1"/>
          <p:cNvSpPr>
            <a:spLocks noGrp="1"/>
          </p:cNvSpPr>
          <p:nvPr>
            <p:ph type="title"/>
          </p:nvPr>
        </p:nvSpPr>
        <p:spPr/>
        <p:txBody>
          <a:bodyPr/>
          <a:lstStyle/>
          <a:p>
            <a:r>
              <a:rPr lang="en-US"/>
              <a:t>Pyramid diagrams</a:t>
            </a:r>
            <a:endParaRPr lang="en-US" dirty="0"/>
          </a:p>
        </p:txBody>
      </p:sp>
      <p:grpSp>
        <p:nvGrpSpPr>
          <p:cNvPr id="25" name="Group 24">
            <a:extLst>
              <a:ext uri="{FF2B5EF4-FFF2-40B4-BE49-F238E27FC236}">
                <a16:creationId xmlns:a16="http://schemas.microsoft.com/office/drawing/2014/main" id="{D9599929-AF5D-45F4-9C02-CBC3A16784B5}"/>
              </a:ext>
            </a:extLst>
          </p:cNvPr>
          <p:cNvGrpSpPr/>
          <p:nvPr/>
        </p:nvGrpSpPr>
        <p:grpSpPr>
          <a:xfrm>
            <a:off x="495301" y="1807574"/>
            <a:ext cx="5501216" cy="4175215"/>
            <a:chOff x="374650" y="1971398"/>
            <a:chExt cx="4125912" cy="3461027"/>
          </a:xfrm>
        </p:grpSpPr>
        <p:sp>
          <p:nvSpPr>
            <p:cNvPr id="26" name="Freeform 6">
              <a:extLst>
                <a:ext uri="{FF2B5EF4-FFF2-40B4-BE49-F238E27FC236}">
                  <a16:creationId xmlns:a16="http://schemas.microsoft.com/office/drawing/2014/main" id="{08606A0A-F0D8-4627-AB85-5F8167E79A5B}"/>
                </a:ext>
              </a:extLst>
            </p:cNvPr>
            <p:cNvSpPr>
              <a:spLocks/>
            </p:cNvSpPr>
            <p:nvPr/>
          </p:nvSpPr>
          <p:spPr bwMode="gray">
            <a:xfrm>
              <a:off x="1920207" y="1971398"/>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300" dirty="0"/>
            </a:p>
          </p:txBody>
        </p:sp>
        <p:sp>
          <p:nvSpPr>
            <p:cNvPr id="27" name="Freeform 7">
              <a:extLst>
                <a:ext uri="{FF2B5EF4-FFF2-40B4-BE49-F238E27FC236}">
                  <a16:creationId xmlns:a16="http://schemas.microsoft.com/office/drawing/2014/main" id="{F128D462-F4CD-487C-9F27-2AB45317238F}"/>
                </a:ext>
              </a:extLst>
            </p:cNvPr>
            <p:cNvSpPr>
              <a:spLocks/>
            </p:cNvSpPr>
            <p:nvPr/>
          </p:nvSpPr>
          <p:spPr bwMode="gray">
            <a:xfrm>
              <a:off x="1406497" y="2825537"/>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2"/>
            </a:solidFill>
            <a:ln w="12700">
              <a:noFill/>
              <a:round/>
              <a:headEnd/>
              <a:tailEnd/>
            </a:ln>
          </p:spPr>
          <p:txBody>
            <a:bodyPr lIns="0" tIns="0" rIns="0" bIns="0" anchor="ctr"/>
            <a:lstStyle/>
            <a:p>
              <a:pPr algn="ctr" eaLnBrk="0" hangingPunct="0"/>
              <a:endParaRPr lang="en-US" sz="1300" dirty="0"/>
            </a:p>
          </p:txBody>
        </p:sp>
        <p:sp>
          <p:nvSpPr>
            <p:cNvPr id="34" name="Freeform 8">
              <a:extLst>
                <a:ext uri="{FF2B5EF4-FFF2-40B4-BE49-F238E27FC236}">
                  <a16:creationId xmlns:a16="http://schemas.microsoft.com/office/drawing/2014/main" id="{2E86DCEF-0525-4C92-937D-7F069DA390ED}"/>
                </a:ext>
              </a:extLst>
            </p:cNvPr>
            <p:cNvSpPr>
              <a:spLocks/>
            </p:cNvSpPr>
            <p:nvPr/>
          </p:nvSpPr>
          <p:spPr bwMode="gray">
            <a:xfrm>
              <a:off x="374650" y="4554355"/>
              <a:ext cx="4125912" cy="878070"/>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chemeClr val="accent4"/>
            </a:solidFill>
            <a:ln w="12700">
              <a:noFill/>
              <a:round/>
              <a:headEnd/>
              <a:tailEnd/>
            </a:ln>
          </p:spPr>
          <p:txBody>
            <a:bodyPr lIns="0" tIns="0" rIns="0" bIns="0" anchor="ctr"/>
            <a:lstStyle/>
            <a:p>
              <a:pPr algn="ctr" eaLnBrk="0" hangingPunct="0"/>
              <a:endParaRPr lang="en-US" sz="1300" dirty="0"/>
            </a:p>
          </p:txBody>
        </p:sp>
        <p:sp>
          <p:nvSpPr>
            <p:cNvPr id="35" name="Freeform 9">
              <a:extLst>
                <a:ext uri="{FF2B5EF4-FFF2-40B4-BE49-F238E27FC236}">
                  <a16:creationId xmlns:a16="http://schemas.microsoft.com/office/drawing/2014/main" id="{88059AC3-86B4-4E99-9B8B-3730258C5675}"/>
                </a:ext>
              </a:extLst>
            </p:cNvPr>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3"/>
            </a:solidFill>
            <a:ln w="12700">
              <a:noFill/>
              <a:round/>
              <a:headEnd/>
              <a:tailEnd/>
            </a:ln>
          </p:spPr>
          <p:txBody>
            <a:bodyPr lIns="0" tIns="0" rIns="0" bIns="0" anchor="ctr"/>
            <a:lstStyle/>
            <a:p>
              <a:pPr algn="ctr" eaLnBrk="0" hangingPunct="0"/>
              <a:endParaRPr lang="en-US" sz="1300" dirty="0"/>
            </a:p>
          </p:txBody>
        </p:sp>
        <p:sp>
          <p:nvSpPr>
            <p:cNvPr id="36" name="Text Box 11">
              <a:extLst>
                <a:ext uri="{FF2B5EF4-FFF2-40B4-BE49-F238E27FC236}">
                  <a16:creationId xmlns:a16="http://schemas.microsoft.com/office/drawing/2014/main" id="{EDEF23FE-93B1-4F56-899A-E92D86A080E4}"/>
                </a:ext>
              </a:extLst>
            </p:cNvPr>
            <p:cNvSpPr txBox="1">
              <a:spLocks noChangeArrowheads="1"/>
            </p:cNvSpPr>
            <p:nvPr/>
          </p:nvSpPr>
          <p:spPr bwMode="gray">
            <a:xfrm>
              <a:off x="630029" y="4627294"/>
              <a:ext cx="3619583"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37" name="Text Box 15">
              <a:extLst>
                <a:ext uri="{FF2B5EF4-FFF2-40B4-BE49-F238E27FC236}">
                  <a16:creationId xmlns:a16="http://schemas.microsoft.com/office/drawing/2014/main" id="{E5DA18E3-CFAB-4BD1-A315-AF36221D544A}"/>
                </a:ext>
              </a:extLst>
            </p:cNvPr>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38" name="Text Box 16">
              <a:extLst>
                <a:ext uri="{FF2B5EF4-FFF2-40B4-BE49-F238E27FC236}">
                  <a16:creationId xmlns:a16="http://schemas.microsoft.com/office/drawing/2014/main" id="{9BDCE2BA-D076-49E1-9603-53558C782E51}"/>
                </a:ext>
              </a:extLst>
            </p:cNvPr>
            <p:cNvSpPr txBox="1">
              <a:spLocks noChangeArrowheads="1"/>
            </p:cNvSpPr>
            <p:nvPr/>
          </p:nvSpPr>
          <p:spPr bwMode="gray">
            <a:xfrm>
              <a:off x="1738636" y="2880736"/>
              <a:ext cx="1402367"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39" name="Text Box 17">
              <a:extLst>
                <a:ext uri="{FF2B5EF4-FFF2-40B4-BE49-F238E27FC236}">
                  <a16:creationId xmlns:a16="http://schemas.microsoft.com/office/drawing/2014/main" id="{F80F66A6-1CF9-48A0-9154-95DC2C523FF4}"/>
                </a:ext>
              </a:extLst>
            </p:cNvPr>
            <p:cNvSpPr txBox="1">
              <a:spLocks noChangeArrowheads="1"/>
            </p:cNvSpPr>
            <p:nvPr/>
          </p:nvSpPr>
          <p:spPr bwMode="gray">
            <a:xfrm>
              <a:off x="1905445" y="2245911"/>
              <a:ext cx="1068751" cy="475504"/>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grpSp>
      <p:sp>
        <p:nvSpPr>
          <p:cNvPr id="40" name="TextBox 39">
            <a:extLst>
              <a:ext uri="{FF2B5EF4-FFF2-40B4-BE49-F238E27FC236}">
                <a16:creationId xmlns:a16="http://schemas.microsoft.com/office/drawing/2014/main" id="{64D381E5-AEC3-4C4F-8EE4-582A9E011B5A}"/>
              </a:ext>
            </a:extLst>
          </p:cNvPr>
          <p:cNvSpPr txBox="1"/>
          <p:nvPr/>
        </p:nvSpPr>
        <p:spPr bwMode="gray">
          <a:xfrm>
            <a:off x="502920" y="1671036"/>
            <a:ext cx="5486400" cy="200055"/>
          </a:xfrm>
          <a:prstGeom prst="rect">
            <a:avLst/>
          </a:prstGeom>
          <a:noFill/>
        </p:spPr>
        <p:txBody>
          <a:bodyPr wrap="square" lIns="0" tIns="0" rIns="0" bIns="0" rtlCol="0">
            <a:spAutoFit/>
          </a:bodyPr>
          <a:lstStyle/>
          <a:p>
            <a:r>
              <a:rPr lang="en-US" sz="1300" dirty="0">
                <a:latin typeface="+mj-lt"/>
              </a:rPr>
              <a:t>Title runs here</a:t>
            </a:r>
          </a:p>
        </p:txBody>
      </p:sp>
      <p:sp>
        <p:nvSpPr>
          <p:cNvPr id="41" name="TextBox 40">
            <a:extLst>
              <a:ext uri="{FF2B5EF4-FFF2-40B4-BE49-F238E27FC236}">
                <a16:creationId xmlns:a16="http://schemas.microsoft.com/office/drawing/2014/main" id="{419F7236-B6FF-41D6-8046-9F431DE08C62}"/>
              </a:ext>
            </a:extLst>
          </p:cNvPr>
          <p:cNvSpPr txBox="1"/>
          <p:nvPr/>
        </p:nvSpPr>
        <p:spPr bwMode="gray">
          <a:xfrm>
            <a:off x="6184900" y="1671036"/>
            <a:ext cx="5486400" cy="200055"/>
          </a:xfrm>
          <a:prstGeom prst="rect">
            <a:avLst/>
          </a:prstGeom>
          <a:noFill/>
        </p:spPr>
        <p:txBody>
          <a:bodyPr wrap="square" lIns="0" tIns="0" rIns="0" bIns="0" rtlCol="0">
            <a:spAutoFit/>
          </a:bodyPr>
          <a:lstStyle/>
          <a:p>
            <a:r>
              <a:rPr lang="en-US" sz="1300" dirty="0">
                <a:latin typeface="+mj-lt"/>
              </a:rPr>
              <a:t>Title runs here</a:t>
            </a:r>
          </a:p>
        </p:txBody>
      </p:sp>
      <p:grpSp>
        <p:nvGrpSpPr>
          <p:cNvPr id="42" name="Group 41">
            <a:extLst>
              <a:ext uri="{FF2B5EF4-FFF2-40B4-BE49-F238E27FC236}">
                <a16:creationId xmlns:a16="http://schemas.microsoft.com/office/drawing/2014/main" id="{96202A06-DD8D-44B2-BDB0-389E5B67C1F4}"/>
              </a:ext>
            </a:extLst>
          </p:cNvPr>
          <p:cNvGrpSpPr/>
          <p:nvPr/>
        </p:nvGrpSpPr>
        <p:grpSpPr>
          <a:xfrm>
            <a:off x="6305282" y="1876377"/>
            <a:ext cx="5350911" cy="4104000"/>
            <a:chOff x="4701964" y="2002368"/>
            <a:chExt cx="4013183" cy="3399668"/>
          </a:xfrm>
        </p:grpSpPr>
        <p:sp>
          <p:nvSpPr>
            <p:cNvPr id="43" name="AutoShape 3">
              <a:extLst>
                <a:ext uri="{FF2B5EF4-FFF2-40B4-BE49-F238E27FC236}">
                  <a16:creationId xmlns:a16="http://schemas.microsoft.com/office/drawing/2014/main" id="{CE42F63A-24C5-45A2-975B-31009409F0F4}"/>
                </a:ext>
              </a:extLst>
            </p:cNvPr>
            <p:cNvSpPr>
              <a:spLocks noChangeArrowheads="1"/>
            </p:cNvSpPr>
            <p:nvPr/>
          </p:nvSpPr>
          <p:spPr bwMode="gray">
            <a:xfrm>
              <a:off x="4701964" y="3694186"/>
              <a:ext cx="2015944" cy="1707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44" name="AutoShape 4">
              <a:extLst>
                <a:ext uri="{FF2B5EF4-FFF2-40B4-BE49-F238E27FC236}">
                  <a16:creationId xmlns:a16="http://schemas.microsoft.com/office/drawing/2014/main" id="{DEE748CE-781F-4CA5-BFAE-0101A632F139}"/>
                </a:ext>
              </a:extLst>
            </p:cNvPr>
            <p:cNvSpPr>
              <a:spLocks noChangeArrowheads="1"/>
            </p:cNvSpPr>
            <p:nvPr/>
          </p:nvSpPr>
          <p:spPr bwMode="gray">
            <a:xfrm>
              <a:off x="6699203" y="3708333"/>
              <a:ext cx="2015944" cy="1693703"/>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45" name="AutoShape 5">
              <a:extLst>
                <a:ext uri="{FF2B5EF4-FFF2-40B4-BE49-F238E27FC236}">
                  <a16:creationId xmlns:a16="http://schemas.microsoft.com/office/drawing/2014/main" id="{6D268DA0-9438-4A1D-B128-7CF563E16D7F}"/>
                </a:ext>
              </a:extLst>
            </p:cNvPr>
            <p:cNvSpPr>
              <a:spLocks noChangeArrowheads="1"/>
            </p:cNvSpPr>
            <p:nvPr/>
          </p:nvSpPr>
          <p:spPr bwMode="gray">
            <a:xfrm>
              <a:off x="5697625" y="2002368"/>
              <a:ext cx="2017537" cy="1703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46" name="AutoShape 6">
              <a:extLst>
                <a:ext uri="{FF2B5EF4-FFF2-40B4-BE49-F238E27FC236}">
                  <a16:creationId xmlns:a16="http://schemas.microsoft.com/office/drawing/2014/main" id="{0220727D-6976-4B25-B7C0-2B5FE1CF02BB}"/>
                </a:ext>
              </a:extLst>
            </p:cNvPr>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121920" tIns="121920" rIns="121920" bIns="121920" anchor="ctr"/>
            <a:lstStyle/>
            <a:p>
              <a:pPr algn="ctr"/>
              <a:r>
                <a:rPr lang="en-US" sz="1300" dirty="0">
                  <a:solidFill>
                    <a:schemeClr val="bg1"/>
                  </a:solidFill>
                </a:rPr>
                <a:t>Text</a:t>
              </a:r>
            </a:p>
          </p:txBody>
        </p:sp>
      </p:grpSp>
      <p:sp>
        <p:nvSpPr>
          <p:cNvPr id="47" name="Text Placeholder 4">
            <a:extLst>
              <a:ext uri="{FF2B5EF4-FFF2-40B4-BE49-F238E27FC236}">
                <a16:creationId xmlns:a16="http://schemas.microsoft.com/office/drawing/2014/main" id="{AA4FCE91-9F46-4554-8D14-CEDD1A4FC233}"/>
              </a:ext>
            </a:extLst>
          </p:cNvPr>
          <p:cNvSpPr txBox="1">
            <a:spLocks/>
          </p:cNvSpPr>
          <p:nvPr/>
        </p:nvSpPr>
        <p:spPr>
          <a:xfrm>
            <a:off x="468000" y="6058587"/>
            <a:ext cx="11252201" cy="240614"/>
          </a:xfrm>
          <a:prstGeom prst="rect">
            <a:avLst/>
          </a:prstGeom>
        </p:spPr>
        <p:txBody>
          <a:bodyPr lIns="0" tIns="0" rIns="0" bIns="0"/>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900" dirty="0"/>
              <a:t>Source:</a:t>
            </a:r>
          </a:p>
          <a:p>
            <a:pPr>
              <a:spcAft>
                <a:spcPts val="0"/>
              </a:spcAft>
            </a:pPr>
            <a:r>
              <a:rPr lang="en-US" sz="900" dirty="0"/>
              <a:t>Note:</a:t>
            </a:r>
          </a:p>
        </p:txBody>
      </p:sp>
    </p:spTree>
    <p:extLst>
      <p:ext uri="{BB962C8B-B14F-4D97-AF65-F5344CB8AC3E}">
        <p14:creationId xmlns:p14="http://schemas.microsoft.com/office/powerpoint/2010/main" val="3835652937"/>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GB" dirty="0"/>
              <a:t>Basic</a:t>
            </a:r>
          </a:p>
        </p:txBody>
      </p:sp>
      <p:sp>
        <p:nvSpPr>
          <p:cNvPr id="2" name="Title 1"/>
          <p:cNvSpPr>
            <a:spLocks noGrp="1"/>
          </p:cNvSpPr>
          <p:nvPr>
            <p:ph type="title"/>
          </p:nvPr>
        </p:nvSpPr>
        <p:spPr/>
        <p:txBody>
          <a:bodyPr/>
          <a:lstStyle/>
          <a:p>
            <a:r>
              <a:rPr lang="en-US"/>
              <a:t>Pyramid diagrams on solid background</a:t>
            </a:r>
            <a:endParaRPr lang="en-US" dirty="0"/>
          </a:p>
        </p:txBody>
      </p:sp>
      <p:grpSp>
        <p:nvGrpSpPr>
          <p:cNvPr id="22" name="Group 21">
            <a:extLst>
              <a:ext uri="{FF2B5EF4-FFF2-40B4-BE49-F238E27FC236}">
                <a16:creationId xmlns:a16="http://schemas.microsoft.com/office/drawing/2014/main" id="{832942F4-AFF7-4BB2-9D57-E39DFC088920}"/>
              </a:ext>
            </a:extLst>
          </p:cNvPr>
          <p:cNvGrpSpPr/>
          <p:nvPr/>
        </p:nvGrpSpPr>
        <p:grpSpPr>
          <a:xfrm>
            <a:off x="495301" y="1807574"/>
            <a:ext cx="5501216" cy="4175215"/>
            <a:chOff x="374650" y="1971398"/>
            <a:chExt cx="4125912" cy="3461027"/>
          </a:xfrm>
        </p:grpSpPr>
        <p:sp>
          <p:nvSpPr>
            <p:cNvPr id="23" name="Freeform 6">
              <a:extLst>
                <a:ext uri="{FF2B5EF4-FFF2-40B4-BE49-F238E27FC236}">
                  <a16:creationId xmlns:a16="http://schemas.microsoft.com/office/drawing/2014/main" id="{F10FF05B-3DE2-42EA-8B5F-83418125A279}"/>
                </a:ext>
              </a:extLst>
            </p:cNvPr>
            <p:cNvSpPr>
              <a:spLocks/>
            </p:cNvSpPr>
            <p:nvPr/>
          </p:nvSpPr>
          <p:spPr bwMode="gray">
            <a:xfrm>
              <a:off x="1920207" y="1971398"/>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300" dirty="0">
                <a:solidFill>
                  <a:schemeClr val="bg1"/>
                </a:solidFill>
              </a:endParaRPr>
            </a:p>
          </p:txBody>
        </p:sp>
        <p:sp>
          <p:nvSpPr>
            <p:cNvPr id="24" name="Freeform 7">
              <a:extLst>
                <a:ext uri="{FF2B5EF4-FFF2-40B4-BE49-F238E27FC236}">
                  <a16:creationId xmlns:a16="http://schemas.microsoft.com/office/drawing/2014/main" id="{D66C90E7-623D-47BC-AD09-D3638FCE26F7}"/>
                </a:ext>
              </a:extLst>
            </p:cNvPr>
            <p:cNvSpPr>
              <a:spLocks/>
            </p:cNvSpPr>
            <p:nvPr/>
          </p:nvSpPr>
          <p:spPr bwMode="gray">
            <a:xfrm>
              <a:off x="1406497" y="2825537"/>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2"/>
            </a:solidFill>
            <a:ln w="12700">
              <a:noFill/>
              <a:round/>
              <a:headEnd/>
              <a:tailEnd/>
            </a:ln>
          </p:spPr>
          <p:txBody>
            <a:bodyPr lIns="0" tIns="0" rIns="0" bIns="0" anchor="ctr"/>
            <a:lstStyle/>
            <a:p>
              <a:pPr algn="ctr" eaLnBrk="0" hangingPunct="0"/>
              <a:endParaRPr lang="en-US" sz="1300" dirty="0"/>
            </a:p>
          </p:txBody>
        </p:sp>
        <p:sp>
          <p:nvSpPr>
            <p:cNvPr id="25" name="Freeform 8">
              <a:extLst>
                <a:ext uri="{FF2B5EF4-FFF2-40B4-BE49-F238E27FC236}">
                  <a16:creationId xmlns:a16="http://schemas.microsoft.com/office/drawing/2014/main" id="{B7BB2A4A-CBEC-43F9-A2C3-57421D438211}"/>
                </a:ext>
              </a:extLst>
            </p:cNvPr>
            <p:cNvSpPr>
              <a:spLocks/>
            </p:cNvSpPr>
            <p:nvPr/>
          </p:nvSpPr>
          <p:spPr bwMode="gray">
            <a:xfrm>
              <a:off x="374650" y="4554355"/>
              <a:ext cx="4125912" cy="878070"/>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chemeClr val="accent4"/>
            </a:solidFill>
            <a:ln w="12700">
              <a:noFill/>
              <a:round/>
              <a:headEnd/>
              <a:tailEnd/>
            </a:ln>
          </p:spPr>
          <p:txBody>
            <a:bodyPr lIns="0" tIns="0" rIns="0" bIns="0" anchor="ctr"/>
            <a:lstStyle/>
            <a:p>
              <a:pPr algn="ctr" eaLnBrk="0" hangingPunct="0"/>
              <a:endParaRPr lang="en-US" sz="1300" dirty="0"/>
            </a:p>
          </p:txBody>
        </p:sp>
        <p:sp>
          <p:nvSpPr>
            <p:cNvPr id="26" name="Freeform 9">
              <a:extLst>
                <a:ext uri="{FF2B5EF4-FFF2-40B4-BE49-F238E27FC236}">
                  <a16:creationId xmlns:a16="http://schemas.microsoft.com/office/drawing/2014/main" id="{4063AB47-A458-4E1C-9819-F56556DA2A02}"/>
                </a:ext>
              </a:extLst>
            </p:cNvPr>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3"/>
            </a:solidFill>
            <a:ln w="12700">
              <a:noFill/>
              <a:round/>
              <a:headEnd/>
              <a:tailEnd/>
            </a:ln>
          </p:spPr>
          <p:txBody>
            <a:bodyPr lIns="0" tIns="0" rIns="0" bIns="0" anchor="ctr"/>
            <a:lstStyle/>
            <a:p>
              <a:pPr algn="ctr" eaLnBrk="0" hangingPunct="0"/>
              <a:endParaRPr lang="en-US" sz="1300" dirty="0"/>
            </a:p>
          </p:txBody>
        </p:sp>
        <p:sp>
          <p:nvSpPr>
            <p:cNvPr id="27" name="Text Box 11">
              <a:extLst>
                <a:ext uri="{FF2B5EF4-FFF2-40B4-BE49-F238E27FC236}">
                  <a16:creationId xmlns:a16="http://schemas.microsoft.com/office/drawing/2014/main" id="{BDBDF84E-EA99-47EE-8177-EB6991237676}"/>
                </a:ext>
              </a:extLst>
            </p:cNvPr>
            <p:cNvSpPr txBox="1">
              <a:spLocks noChangeArrowheads="1"/>
            </p:cNvSpPr>
            <p:nvPr/>
          </p:nvSpPr>
          <p:spPr bwMode="gray">
            <a:xfrm>
              <a:off x="630029" y="4627294"/>
              <a:ext cx="3619583"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28" name="Text Box 15">
              <a:extLst>
                <a:ext uri="{FF2B5EF4-FFF2-40B4-BE49-F238E27FC236}">
                  <a16:creationId xmlns:a16="http://schemas.microsoft.com/office/drawing/2014/main" id="{D9B7E505-0A90-4327-AFA5-B84E8BDA1E1C}"/>
                </a:ext>
              </a:extLst>
            </p:cNvPr>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29" name="Text Box 16">
              <a:extLst>
                <a:ext uri="{FF2B5EF4-FFF2-40B4-BE49-F238E27FC236}">
                  <a16:creationId xmlns:a16="http://schemas.microsoft.com/office/drawing/2014/main" id="{582C82A8-DA3A-47C9-9E7B-00CA7D6F9594}"/>
                </a:ext>
              </a:extLst>
            </p:cNvPr>
            <p:cNvSpPr txBox="1">
              <a:spLocks noChangeArrowheads="1"/>
            </p:cNvSpPr>
            <p:nvPr/>
          </p:nvSpPr>
          <p:spPr bwMode="gray">
            <a:xfrm>
              <a:off x="1738636" y="2880736"/>
              <a:ext cx="1402367" cy="720971"/>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sp>
          <p:nvSpPr>
            <p:cNvPr id="30" name="Text Box 17">
              <a:extLst>
                <a:ext uri="{FF2B5EF4-FFF2-40B4-BE49-F238E27FC236}">
                  <a16:creationId xmlns:a16="http://schemas.microsoft.com/office/drawing/2014/main" id="{1F3FCA29-BD4F-4D33-96BC-5CB398D0A1F0}"/>
                </a:ext>
              </a:extLst>
            </p:cNvPr>
            <p:cNvSpPr txBox="1">
              <a:spLocks noChangeArrowheads="1"/>
            </p:cNvSpPr>
            <p:nvPr/>
          </p:nvSpPr>
          <p:spPr bwMode="gray">
            <a:xfrm>
              <a:off x="1905445" y="2245911"/>
              <a:ext cx="1068751" cy="475504"/>
            </a:xfrm>
            <a:prstGeom prst="rect">
              <a:avLst/>
            </a:prstGeom>
            <a:noFill/>
            <a:ln w="9525">
              <a:noFill/>
              <a:miter lim="800000"/>
              <a:headEnd/>
              <a:tailEnd/>
            </a:ln>
          </p:spPr>
          <p:txBody>
            <a:bodyPr lIns="0" tIns="0" rIns="0" bIns="0" anchor="ctr"/>
            <a:lstStyle/>
            <a:p>
              <a:pPr algn="ctr" eaLnBrk="0" hangingPunct="0"/>
              <a:r>
                <a:rPr lang="en-US" sz="1300" dirty="0">
                  <a:solidFill>
                    <a:schemeClr val="bg1"/>
                  </a:solidFill>
                </a:rPr>
                <a:t>Text</a:t>
              </a:r>
            </a:p>
          </p:txBody>
        </p:sp>
      </p:grpSp>
      <p:sp>
        <p:nvSpPr>
          <p:cNvPr id="31" name="TextBox 30">
            <a:extLst>
              <a:ext uri="{FF2B5EF4-FFF2-40B4-BE49-F238E27FC236}">
                <a16:creationId xmlns:a16="http://schemas.microsoft.com/office/drawing/2014/main" id="{E62DB10B-140D-41CD-A734-3DF0686EC297}"/>
              </a:ext>
            </a:extLst>
          </p:cNvPr>
          <p:cNvSpPr txBox="1"/>
          <p:nvPr/>
        </p:nvSpPr>
        <p:spPr bwMode="gray">
          <a:xfrm>
            <a:off x="502920" y="1671036"/>
            <a:ext cx="5486400" cy="200055"/>
          </a:xfrm>
          <a:prstGeom prst="rect">
            <a:avLst/>
          </a:prstGeom>
          <a:noFill/>
        </p:spPr>
        <p:txBody>
          <a:bodyPr wrap="square" lIns="0" tIns="0" rIns="0" bIns="0" rtlCol="0">
            <a:spAutoFit/>
          </a:bodyPr>
          <a:lstStyle/>
          <a:p>
            <a:r>
              <a:rPr lang="en-US" sz="1300" dirty="0">
                <a:latin typeface="+mj-lt"/>
              </a:rPr>
              <a:t>Title runs here</a:t>
            </a:r>
          </a:p>
        </p:txBody>
      </p:sp>
      <p:sp>
        <p:nvSpPr>
          <p:cNvPr id="32" name="TextBox 31">
            <a:extLst>
              <a:ext uri="{FF2B5EF4-FFF2-40B4-BE49-F238E27FC236}">
                <a16:creationId xmlns:a16="http://schemas.microsoft.com/office/drawing/2014/main" id="{9C0593C2-3262-4646-844E-F36EC96EDA07}"/>
              </a:ext>
            </a:extLst>
          </p:cNvPr>
          <p:cNvSpPr txBox="1"/>
          <p:nvPr/>
        </p:nvSpPr>
        <p:spPr bwMode="gray">
          <a:xfrm>
            <a:off x="6184900" y="1671036"/>
            <a:ext cx="5486400" cy="200055"/>
          </a:xfrm>
          <a:prstGeom prst="rect">
            <a:avLst/>
          </a:prstGeom>
          <a:noFill/>
        </p:spPr>
        <p:txBody>
          <a:bodyPr wrap="square" lIns="0" tIns="0" rIns="0" bIns="0" rtlCol="0">
            <a:spAutoFit/>
          </a:bodyPr>
          <a:lstStyle/>
          <a:p>
            <a:r>
              <a:rPr lang="en-US" sz="1300" dirty="0">
                <a:latin typeface="+mj-lt"/>
              </a:rPr>
              <a:t>Title runs here</a:t>
            </a:r>
          </a:p>
        </p:txBody>
      </p:sp>
      <p:grpSp>
        <p:nvGrpSpPr>
          <p:cNvPr id="33" name="Group 32">
            <a:extLst>
              <a:ext uri="{FF2B5EF4-FFF2-40B4-BE49-F238E27FC236}">
                <a16:creationId xmlns:a16="http://schemas.microsoft.com/office/drawing/2014/main" id="{63196E46-4C86-4B8E-9D98-1970EB796D9C}"/>
              </a:ext>
            </a:extLst>
          </p:cNvPr>
          <p:cNvGrpSpPr/>
          <p:nvPr/>
        </p:nvGrpSpPr>
        <p:grpSpPr>
          <a:xfrm>
            <a:off x="6305282" y="1876377"/>
            <a:ext cx="5350911" cy="4104000"/>
            <a:chOff x="4701964" y="2002368"/>
            <a:chExt cx="4013183" cy="3399668"/>
          </a:xfrm>
        </p:grpSpPr>
        <p:sp>
          <p:nvSpPr>
            <p:cNvPr id="34" name="AutoShape 3">
              <a:extLst>
                <a:ext uri="{FF2B5EF4-FFF2-40B4-BE49-F238E27FC236}">
                  <a16:creationId xmlns:a16="http://schemas.microsoft.com/office/drawing/2014/main" id="{C0B0CDD5-9523-4B02-B35C-4497A70C4472}"/>
                </a:ext>
              </a:extLst>
            </p:cNvPr>
            <p:cNvSpPr>
              <a:spLocks noChangeArrowheads="1"/>
            </p:cNvSpPr>
            <p:nvPr/>
          </p:nvSpPr>
          <p:spPr bwMode="gray">
            <a:xfrm>
              <a:off x="4701964" y="3694186"/>
              <a:ext cx="2015944" cy="1707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35" name="AutoShape 4">
              <a:extLst>
                <a:ext uri="{FF2B5EF4-FFF2-40B4-BE49-F238E27FC236}">
                  <a16:creationId xmlns:a16="http://schemas.microsoft.com/office/drawing/2014/main" id="{788B4FC7-586E-4AF2-9E5C-75D324C7F9D3}"/>
                </a:ext>
              </a:extLst>
            </p:cNvPr>
            <p:cNvSpPr>
              <a:spLocks noChangeArrowheads="1"/>
            </p:cNvSpPr>
            <p:nvPr/>
          </p:nvSpPr>
          <p:spPr bwMode="gray">
            <a:xfrm>
              <a:off x="6699203" y="3708333"/>
              <a:ext cx="2015944" cy="1693703"/>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36" name="AutoShape 5">
              <a:extLst>
                <a:ext uri="{FF2B5EF4-FFF2-40B4-BE49-F238E27FC236}">
                  <a16:creationId xmlns:a16="http://schemas.microsoft.com/office/drawing/2014/main" id="{E65C3DDD-08FC-412E-B5D0-91718DA1D459}"/>
                </a:ext>
              </a:extLst>
            </p:cNvPr>
            <p:cNvSpPr>
              <a:spLocks noChangeArrowheads="1"/>
            </p:cNvSpPr>
            <p:nvPr/>
          </p:nvSpPr>
          <p:spPr bwMode="gray">
            <a:xfrm>
              <a:off x="5697625" y="2002368"/>
              <a:ext cx="2017537" cy="1703850"/>
            </a:xfrm>
            <a:prstGeom prst="triangle">
              <a:avLst>
                <a:gd name="adj" fmla="val 50000"/>
              </a:avLst>
            </a:prstGeom>
            <a:solidFill>
              <a:schemeClr val="accent2"/>
            </a:solidFill>
            <a:ln w="28575">
              <a:noFill/>
              <a:miter lim="800000"/>
              <a:headEnd/>
              <a:tailEnd/>
            </a:ln>
            <a:effectLst/>
          </p:spPr>
          <p:txBody>
            <a:bodyPr wrap="square" lIns="121920" tIns="121920" rIns="121920" bIns="121920" anchor="ctr"/>
            <a:lstStyle/>
            <a:p>
              <a:pPr algn="ctr"/>
              <a:r>
                <a:rPr lang="en-US" sz="1300" dirty="0">
                  <a:solidFill>
                    <a:schemeClr val="bg1"/>
                  </a:solidFill>
                </a:rPr>
                <a:t>Text</a:t>
              </a:r>
            </a:p>
          </p:txBody>
        </p:sp>
        <p:sp>
          <p:nvSpPr>
            <p:cNvPr id="37" name="AutoShape 6">
              <a:extLst>
                <a:ext uri="{FF2B5EF4-FFF2-40B4-BE49-F238E27FC236}">
                  <a16:creationId xmlns:a16="http://schemas.microsoft.com/office/drawing/2014/main" id="{D35BEFBA-FBBF-471D-9B79-270B90640D6A}"/>
                </a:ext>
              </a:extLst>
            </p:cNvPr>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121920" tIns="121920" rIns="121920" bIns="121920" anchor="ctr"/>
            <a:lstStyle/>
            <a:p>
              <a:pPr algn="ctr"/>
              <a:r>
                <a:rPr lang="en-US" sz="1300" dirty="0">
                  <a:solidFill>
                    <a:schemeClr val="bg1"/>
                  </a:solidFill>
                </a:rPr>
                <a:t>Text</a:t>
              </a:r>
            </a:p>
          </p:txBody>
        </p:sp>
      </p:grpSp>
      <p:sp>
        <p:nvSpPr>
          <p:cNvPr id="38" name="Text Placeholder 4">
            <a:extLst>
              <a:ext uri="{FF2B5EF4-FFF2-40B4-BE49-F238E27FC236}">
                <a16:creationId xmlns:a16="http://schemas.microsoft.com/office/drawing/2014/main" id="{71E042DC-586D-49E1-B0CC-7F48EAAF2BB4}"/>
              </a:ext>
            </a:extLst>
          </p:cNvPr>
          <p:cNvSpPr txBox="1">
            <a:spLocks/>
          </p:cNvSpPr>
          <p:nvPr/>
        </p:nvSpPr>
        <p:spPr>
          <a:xfrm>
            <a:off x="468000" y="6058587"/>
            <a:ext cx="11252201" cy="240614"/>
          </a:xfrm>
          <a:prstGeom prst="rect">
            <a:avLst/>
          </a:prstGeom>
        </p:spPr>
        <p:txBody>
          <a:bodyPr lIns="0" tIns="0" rIns="0" bIns="0"/>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900" dirty="0"/>
              <a:t>Source:</a:t>
            </a:r>
          </a:p>
          <a:p>
            <a:pPr>
              <a:spcAft>
                <a:spcPts val="0"/>
              </a:spcAft>
            </a:pPr>
            <a:r>
              <a:rPr lang="en-US" sz="900" dirty="0"/>
              <a:t>Note:</a:t>
            </a:r>
          </a:p>
        </p:txBody>
      </p:sp>
    </p:spTree>
    <p:extLst>
      <p:ext uri="{BB962C8B-B14F-4D97-AF65-F5344CB8AC3E}">
        <p14:creationId xmlns:p14="http://schemas.microsoft.com/office/powerpoint/2010/main" val="182350129"/>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ubtitle runs here</a:t>
            </a:r>
          </a:p>
        </p:txBody>
      </p:sp>
      <p:sp>
        <p:nvSpPr>
          <p:cNvPr id="798721" name="Title 1"/>
          <p:cNvSpPr>
            <a:spLocks noGrp="1"/>
          </p:cNvSpPr>
          <p:nvPr>
            <p:ph type="title"/>
          </p:nvPr>
        </p:nvSpPr>
        <p:spPr/>
        <p:txBody>
          <a:bodyPr/>
          <a:lstStyle/>
          <a:p>
            <a:r>
              <a:rPr lang="en-US" dirty="0"/>
              <a:t>Levels of maturity</a:t>
            </a:r>
          </a:p>
        </p:txBody>
      </p:sp>
      <p:grpSp>
        <p:nvGrpSpPr>
          <p:cNvPr id="2" name="Group 1">
            <a:extLst>
              <a:ext uri="{FF2B5EF4-FFF2-40B4-BE49-F238E27FC236}">
                <a16:creationId xmlns:a16="http://schemas.microsoft.com/office/drawing/2014/main" id="{E811CF5C-B3FE-47B7-83DE-82B2A1609BFB}"/>
              </a:ext>
            </a:extLst>
          </p:cNvPr>
          <p:cNvGrpSpPr/>
          <p:nvPr/>
        </p:nvGrpSpPr>
        <p:grpSpPr>
          <a:xfrm>
            <a:off x="1270304" y="1952182"/>
            <a:ext cx="9505380" cy="3940175"/>
            <a:chOff x="2478088" y="1952182"/>
            <a:chExt cx="7162801" cy="3940175"/>
          </a:xfrm>
        </p:grpSpPr>
        <p:sp>
          <p:nvSpPr>
            <p:cNvPr id="25" name="Freeform 5"/>
            <p:cNvSpPr>
              <a:spLocks/>
            </p:cNvSpPr>
            <p:nvPr/>
          </p:nvSpPr>
          <p:spPr bwMode="blackWhite">
            <a:xfrm>
              <a:off x="2478088" y="4760468"/>
              <a:ext cx="1820862" cy="1131888"/>
            </a:xfrm>
            <a:custGeom>
              <a:avLst/>
              <a:gdLst>
                <a:gd name="T0" fmla="*/ 0 w 647"/>
                <a:gd name="T1" fmla="*/ 2147483647 h 548"/>
                <a:gd name="T2" fmla="*/ 0 w 647"/>
                <a:gd name="T3" fmla="*/ 2147483647 h 548"/>
                <a:gd name="T4" fmla="*/ 2147483647 w 647"/>
                <a:gd name="T5" fmla="*/ 2147483647 h 548"/>
                <a:gd name="T6" fmla="*/ 2147483647 w 647"/>
                <a:gd name="T7" fmla="*/ 0 h 548"/>
                <a:gd name="T8" fmla="*/ 2147483647 w 647"/>
                <a:gd name="T9" fmla="*/ 2147483647 h 548"/>
                <a:gd name="T10" fmla="*/ 2147483647 w 647"/>
                <a:gd name="T11" fmla="*/ 2147483647 h 548"/>
                <a:gd name="T12" fmla="*/ 2147483647 w 647"/>
                <a:gd name="T13" fmla="*/ 2147483647 h 548"/>
                <a:gd name="T14" fmla="*/ 2147483647 w 647"/>
                <a:gd name="T15" fmla="*/ 2147483647 h 548"/>
                <a:gd name="T16" fmla="*/ 2147483647 w 647"/>
                <a:gd name="T17" fmla="*/ 2147483647 h 548"/>
                <a:gd name="T18" fmla="*/ 2147483647 w 647"/>
                <a:gd name="T19" fmla="*/ 2147483647 h 548"/>
                <a:gd name="T20" fmla="*/ 2147483647 w 647"/>
                <a:gd name="T21" fmla="*/ 2147483647 h 548"/>
                <a:gd name="T22" fmla="*/ 0 w 647"/>
                <a:gd name="T23" fmla="*/ 2147483647 h 5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7"/>
                <a:gd name="T37" fmla="*/ 0 h 548"/>
                <a:gd name="T38" fmla="*/ 647 w 647"/>
                <a:gd name="T39" fmla="*/ 548 h 5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7" h="548">
                  <a:moveTo>
                    <a:pt x="0" y="78"/>
                  </a:moveTo>
                  <a:lnTo>
                    <a:pt x="0" y="547"/>
                  </a:lnTo>
                  <a:lnTo>
                    <a:pt x="646" y="546"/>
                  </a:lnTo>
                  <a:lnTo>
                    <a:pt x="646" y="0"/>
                  </a:lnTo>
                  <a:lnTo>
                    <a:pt x="582" y="10"/>
                  </a:lnTo>
                  <a:lnTo>
                    <a:pt x="490" y="24"/>
                  </a:lnTo>
                  <a:lnTo>
                    <a:pt x="414" y="34"/>
                  </a:lnTo>
                  <a:lnTo>
                    <a:pt x="348" y="42"/>
                  </a:lnTo>
                  <a:lnTo>
                    <a:pt x="278" y="50"/>
                  </a:lnTo>
                  <a:lnTo>
                    <a:pt x="192" y="58"/>
                  </a:lnTo>
                  <a:lnTo>
                    <a:pt x="82" y="70"/>
                  </a:lnTo>
                  <a:lnTo>
                    <a:pt x="0" y="78"/>
                  </a:lnTo>
                </a:path>
              </a:pathLst>
            </a:custGeom>
            <a:solidFill>
              <a:schemeClr val="accent1"/>
            </a:solidFill>
            <a:ln w="9525" cap="rnd">
              <a:noFill/>
              <a:round/>
              <a:headEnd/>
              <a:tailEnd/>
            </a:ln>
          </p:spPr>
          <p:txBody>
            <a:bodyPr lIns="0" tIns="0" rIns="0" bIns="0">
              <a:noAutofit/>
            </a:bodyPr>
            <a:lstStyle/>
            <a:p>
              <a:endParaRPr lang="en-US" dirty="0"/>
            </a:p>
          </p:txBody>
        </p:sp>
        <p:sp>
          <p:nvSpPr>
            <p:cNvPr id="24" name="Freeform 4"/>
            <p:cNvSpPr>
              <a:spLocks/>
            </p:cNvSpPr>
            <p:nvPr/>
          </p:nvSpPr>
          <p:spPr bwMode="blackWhite">
            <a:xfrm>
              <a:off x="4281489" y="4184206"/>
              <a:ext cx="1800225" cy="1708150"/>
            </a:xfrm>
            <a:custGeom>
              <a:avLst/>
              <a:gdLst>
                <a:gd name="T0" fmla="*/ 0 w 640"/>
                <a:gd name="T1" fmla="*/ 2147483647 h 705"/>
                <a:gd name="T2" fmla="*/ 0 w 640"/>
                <a:gd name="T3" fmla="*/ 2147483647 h 705"/>
                <a:gd name="T4" fmla="*/ 2147483647 w 640"/>
                <a:gd name="T5" fmla="*/ 2147483647 h 705"/>
                <a:gd name="T6" fmla="*/ 2147483647 w 640"/>
                <a:gd name="T7" fmla="*/ 0 h 705"/>
                <a:gd name="T8" fmla="*/ 2147483647 w 640"/>
                <a:gd name="T9" fmla="*/ 2147483647 h 705"/>
                <a:gd name="T10" fmla="*/ 2147483647 w 640"/>
                <a:gd name="T11" fmla="*/ 2147483647 h 705"/>
                <a:gd name="T12" fmla="*/ 2147483647 w 640"/>
                <a:gd name="T13" fmla="*/ 2147483647 h 705"/>
                <a:gd name="T14" fmla="*/ 2147483647 w 640"/>
                <a:gd name="T15" fmla="*/ 2147483647 h 705"/>
                <a:gd name="T16" fmla="*/ 2147483647 w 640"/>
                <a:gd name="T17" fmla="*/ 2147483647 h 705"/>
                <a:gd name="T18" fmla="*/ 2147483647 w 640"/>
                <a:gd name="T19" fmla="*/ 2147483647 h 705"/>
                <a:gd name="T20" fmla="*/ 2147483647 w 640"/>
                <a:gd name="T21" fmla="*/ 2147483647 h 705"/>
                <a:gd name="T22" fmla="*/ 0 w 640"/>
                <a:gd name="T23" fmla="*/ 2147483647 h 70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0"/>
                <a:gd name="T37" fmla="*/ 0 h 705"/>
                <a:gd name="T38" fmla="*/ 640 w 640"/>
                <a:gd name="T39" fmla="*/ 705 h 70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0" h="705">
                  <a:moveTo>
                    <a:pt x="0" y="159"/>
                  </a:moveTo>
                  <a:lnTo>
                    <a:pt x="0" y="704"/>
                  </a:lnTo>
                  <a:lnTo>
                    <a:pt x="639" y="704"/>
                  </a:lnTo>
                  <a:lnTo>
                    <a:pt x="639" y="0"/>
                  </a:lnTo>
                  <a:lnTo>
                    <a:pt x="599" y="16"/>
                  </a:lnTo>
                  <a:lnTo>
                    <a:pt x="556" y="33"/>
                  </a:lnTo>
                  <a:lnTo>
                    <a:pt x="493" y="54"/>
                  </a:lnTo>
                  <a:lnTo>
                    <a:pt x="403" y="78"/>
                  </a:lnTo>
                  <a:lnTo>
                    <a:pt x="308" y="101"/>
                  </a:lnTo>
                  <a:lnTo>
                    <a:pt x="218" y="119"/>
                  </a:lnTo>
                  <a:lnTo>
                    <a:pt x="112" y="138"/>
                  </a:lnTo>
                  <a:lnTo>
                    <a:pt x="0" y="159"/>
                  </a:lnTo>
                </a:path>
              </a:pathLst>
            </a:custGeom>
            <a:solidFill>
              <a:schemeClr val="accent2"/>
            </a:solidFill>
            <a:ln w="9525" cap="rnd">
              <a:noFill/>
              <a:round/>
              <a:headEnd/>
              <a:tailEnd/>
            </a:ln>
          </p:spPr>
          <p:txBody>
            <a:bodyPr lIns="0" tIns="0" rIns="0" bIns="0">
              <a:noAutofit/>
            </a:bodyPr>
            <a:lstStyle/>
            <a:p>
              <a:endParaRPr lang="en-US" dirty="0"/>
            </a:p>
          </p:txBody>
        </p:sp>
        <p:sp>
          <p:nvSpPr>
            <p:cNvPr id="23" name="Freeform 3"/>
            <p:cNvSpPr>
              <a:spLocks/>
            </p:cNvSpPr>
            <p:nvPr/>
          </p:nvSpPr>
          <p:spPr bwMode="blackWhite">
            <a:xfrm>
              <a:off x="6080125" y="3320606"/>
              <a:ext cx="1784350" cy="2571750"/>
            </a:xfrm>
            <a:custGeom>
              <a:avLst/>
              <a:gdLst>
                <a:gd name="T0" fmla="*/ 0 w 634"/>
                <a:gd name="T1" fmla="*/ 555217 h 1246"/>
                <a:gd name="T2" fmla="*/ 0 w 634"/>
                <a:gd name="T3" fmla="*/ 2569686 h 1246"/>
                <a:gd name="T4" fmla="*/ 1778721 w 634"/>
                <a:gd name="T5" fmla="*/ 2569686 h 1246"/>
                <a:gd name="T6" fmla="*/ 1781536 w 634"/>
                <a:gd name="T7" fmla="*/ 0 h 1246"/>
                <a:gd name="T8" fmla="*/ 1607041 w 634"/>
                <a:gd name="T9" fmla="*/ 70176 h 1246"/>
                <a:gd name="T10" fmla="*/ 1432546 w 634"/>
                <a:gd name="T11" fmla="*/ 136224 h 1246"/>
                <a:gd name="T12" fmla="*/ 1224278 w 634"/>
                <a:gd name="T13" fmla="*/ 206400 h 1246"/>
                <a:gd name="T14" fmla="*/ 1010381 w 634"/>
                <a:gd name="T15" fmla="*/ 276577 h 1246"/>
                <a:gd name="T16" fmla="*/ 723309 w 634"/>
                <a:gd name="T17" fmla="*/ 363265 h 1246"/>
                <a:gd name="T18" fmla="*/ 470010 w 634"/>
                <a:gd name="T19" fmla="*/ 437569 h 1246"/>
                <a:gd name="T20" fmla="*/ 194196 w 634"/>
                <a:gd name="T21" fmla="*/ 507745 h 1246"/>
                <a:gd name="T22" fmla="*/ 0 w 634"/>
                <a:gd name="T23" fmla="*/ 555217 h 1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4"/>
                <a:gd name="T37" fmla="*/ 0 h 1246"/>
                <a:gd name="T38" fmla="*/ 634 w 634"/>
                <a:gd name="T39" fmla="*/ 1246 h 1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4" h="1246">
                  <a:moveTo>
                    <a:pt x="0" y="269"/>
                  </a:moveTo>
                  <a:lnTo>
                    <a:pt x="0" y="1245"/>
                  </a:lnTo>
                  <a:lnTo>
                    <a:pt x="632" y="1245"/>
                  </a:lnTo>
                  <a:lnTo>
                    <a:pt x="633" y="0"/>
                  </a:lnTo>
                  <a:lnTo>
                    <a:pt x="571" y="34"/>
                  </a:lnTo>
                  <a:lnTo>
                    <a:pt x="509" y="66"/>
                  </a:lnTo>
                  <a:lnTo>
                    <a:pt x="435" y="100"/>
                  </a:lnTo>
                  <a:lnTo>
                    <a:pt x="359" y="134"/>
                  </a:lnTo>
                  <a:lnTo>
                    <a:pt x="257" y="176"/>
                  </a:lnTo>
                  <a:lnTo>
                    <a:pt x="167" y="212"/>
                  </a:lnTo>
                  <a:lnTo>
                    <a:pt x="69" y="246"/>
                  </a:lnTo>
                  <a:lnTo>
                    <a:pt x="0" y="269"/>
                  </a:lnTo>
                </a:path>
              </a:pathLst>
            </a:custGeom>
            <a:solidFill>
              <a:schemeClr val="accent3"/>
            </a:solidFill>
            <a:ln w="9525" cap="rnd">
              <a:noFill/>
              <a:round/>
              <a:headEnd/>
              <a:tailEnd/>
            </a:ln>
          </p:spPr>
          <p:txBody>
            <a:bodyPr lIns="0" tIns="0" rIns="0" bIns="0">
              <a:noAutofit/>
            </a:bodyPr>
            <a:lstStyle/>
            <a:p>
              <a:pPr>
                <a:defRPr/>
              </a:pPr>
              <a:endParaRPr lang="en-US" dirty="0">
                <a:latin typeface="Arial" charset="0"/>
                <a:cs typeface="Arial" charset="0"/>
              </a:endParaRPr>
            </a:p>
          </p:txBody>
        </p:sp>
        <p:sp>
          <p:nvSpPr>
            <p:cNvPr id="22" name="Freeform 2"/>
            <p:cNvSpPr>
              <a:spLocks/>
            </p:cNvSpPr>
            <p:nvPr/>
          </p:nvSpPr>
          <p:spPr bwMode="blackWhite">
            <a:xfrm>
              <a:off x="7858126" y="1952182"/>
              <a:ext cx="1782763" cy="3940175"/>
            </a:xfrm>
            <a:custGeom>
              <a:avLst/>
              <a:gdLst>
                <a:gd name="T0" fmla="*/ 0 w 633"/>
                <a:gd name="T1" fmla="*/ 1127378 h 1744"/>
                <a:gd name="T2" fmla="*/ 2816 w 633"/>
                <a:gd name="T3" fmla="*/ 3937916 h 1744"/>
                <a:gd name="T4" fmla="*/ 1779947 w 633"/>
                <a:gd name="T5" fmla="*/ 3937916 h 1744"/>
                <a:gd name="T6" fmla="*/ 1779947 w 633"/>
                <a:gd name="T7" fmla="*/ 0 h 1744"/>
                <a:gd name="T8" fmla="*/ 1664475 w 633"/>
                <a:gd name="T9" fmla="*/ 124260 h 1744"/>
                <a:gd name="T10" fmla="*/ 1512391 w 633"/>
                <a:gd name="T11" fmla="*/ 246261 h 1744"/>
                <a:gd name="T12" fmla="*/ 1318062 w 633"/>
                <a:gd name="T13" fmla="*/ 388595 h 1744"/>
                <a:gd name="T14" fmla="*/ 1064588 w 633"/>
                <a:gd name="T15" fmla="*/ 551263 h 1744"/>
                <a:gd name="T16" fmla="*/ 811115 w 633"/>
                <a:gd name="T17" fmla="*/ 707153 h 1744"/>
                <a:gd name="T18" fmla="*/ 582989 w 633"/>
                <a:gd name="T19" fmla="*/ 829154 h 1744"/>
                <a:gd name="T20" fmla="*/ 253473 w 633"/>
                <a:gd name="T21" fmla="*/ 998599 h 1744"/>
                <a:gd name="T22" fmla="*/ 0 w 633"/>
                <a:gd name="T23" fmla="*/ 1127378 h 17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3"/>
                <a:gd name="T37" fmla="*/ 0 h 1744"/>
                <a:gd name="T38" fmla="*/ 633 w 633"/>
                <a:gd name="T39" fmla="*/ 1744 h 17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3" h="1744">
                  <a:moveTo>
                    <a:pt x="0" y="499"/>
                  </a:moveTo>
                  <a:lnTo>
                    <a:pt x="1" y="1743"/>
                  </a:lnTo>
                  <a:lnTo>
                    <a:pt x="632" y="1743"/>
                  </a:lnTo>
                  <a:lnTo>
                    <a:pt x="632" y="0"/>
                  </a:lnTo>
                  <a:lnTo>
                    <a:pt x="591" y="55"/>
                  </a:lnTo>
                  <a:lnTo>
                    <a:pt x="537" y="109"/>
                  </a:lnTo>
                  <a:lnTo>
                    <a:pt x="468" y="172"/>
                  </a:lnTo>
                  <a:lnTo>
                    <a:pt x="378" y="244"/>
                  </a:lnTo>
                  <a:lnTo>
                    <a:pt x="288" y="313"/>
                  </a:lnTo>
                  <a:lnTo>
                    <a:pt x="207" y="367"/>
                  </a:lnTo>
                  <a:lnTo>
                    <a:pt x="90" y="442"/>
                  </a:lnTo>
                  <a:lnTo>
                    <a:pt x="0" y="499"/>
                  </a:lnTo>
                </a:path>
              </a:pathLst>
            </a:custGeom>
            <a:solidFill>
              <a:schemeClr val="tx2"/>
            </a:solidFill>
            <a:ln w="9525" cap="rnd">
              <a:noFill/>
              <a:round/>
              <a:headEnd/>
              <a:tailEnd/>
            </a:ln>
          </p:spPr>
          <p:txBody>
            <a:bodyPr lIns="0" tIns="0" rIns="0" bIns="0">
              <a:noAutofit/>
            </a:bodyPr>
            <a:lstStyle/>
            <a:p>
              <a:pPr>
                <a:defRPr/>
              </a:pPr>
              <a:endParaRPr lang="en-US" dirty="0">
                <a:latin typeface="Arial" charset="0"/>
                <a:cs typeface="Arial" charset="0"/>
              </a:endParaRPr>
            </a:p>
          </p:txBody>
        </p:sp>
        <p:sp>
          <p:nvSpPr>
            <p:cNvPr id="26" name="Rectangle 6"/>
            <p:cNvSpPr>
              <a:spLocks noChangeArrowheads="1"/>
            </p:cNvSpPr>
            <p:nvPr/>
          </p:nvSpPr>
          <p:spPr bwMode="blackWhite">
            <a:xfrm>
              <a:off x="2794000" y="4508057"/>
              <a:ext cx="1149350" cy="19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300" dirty="0">
                  <a:solidFill>
                    <a:srgbClr val="53565A"/>
                  </a:solidFill>
                  <a:ea typeface="MS PGothic" pitchFamily="34" charset="-128"/>
                </a:rPr>
                <a:t>Stage 1 </a:t>
              </a:r>
            </a:p>
          </p:txBody>
        </p:sp>
        <p:sp>
          <p:nvSpPr>
            <p:cNvPr id="27" name="Rectangle 7"/>
            <p:cNvSpPr>
              <a:spLocks noChangeArrowheads="1"/>
            </p:cNvSpPr>
            <p:nvPr/>
          </p:nvSpPr>
          <p:spPr bwMode="blackWhite">
            <a:xfrm>
              <a:off x="4606925" y="3976244"/>
              <a:ext cx="1149350" cy="19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300" dirty="0">
                  <a:solidFill>
                    <a:srgbClr val="53565A"/>
                  </a:solidFill>
                  <a:ea typeface="MS PGothic" pitchFamily="34" charset="-128"/>
                </a:rPr>
                <a:t>Stage 2 </a:t>
              </a:r>
            </a:p>
          </p:txBody>
        </p:sp>
        <p:sp>
          <p:nvSpPr>
            <p:cNvPr id="28" name="Rectangle 8"/>
            <p:cNvSpPr>
              <a:spLocks noChangeArrowheads="1"/>
            </p:cNvSpPr>
            <p:nvPr/>
          </p:nvSpPr>
          <p:spPr bwMode="blackWhite">
            <a:xfrm>
              <a:off x="6396039" y="3114232"/>
              <a:ext cx="1150937" cy="19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300" dirty="0">
                  <a:solidFill>
                    <a:srgbClr val="53565A"/>
                  </a:solidFill>
                  <a:ea typeface="MS PGothic" pitchFamily="34" charset="-128"/>
                </a:rPr>
                <a:t>Stage 3 </a:t>
              </a:r>
            </a:p>
          </p:txBody>
        </p:sp>
        <p:sp>
          <p:nvSpPr>
            <p:cNvPr id="29" name="Rectangle 9"/>
            <p:cNvSpPr>
              <a:spLocks noChangeArrowheads="1"/>
            </p:cNvSpPr>
            <p:nvPr/>
          </p:nvSpPr>
          <p:spPr bwMode="blackWhite">
            <a:xfrm>
              <a:off x="8174039" y="2023619"/>
              <a:ext cx="1150937" cy="19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20738">
                <a:lnSpc>
                  <a:spcPct val="95000"/>
                </a:lnSpc>
              </a:pPr>
              <a:r>
                <a:rPr lang="en-US" sz="1300" dirty="0">
                  <a:solidFill>
                    <a:srgbClr val="53565A"/>
                  </a:solidFill>
                  <a:ea typeface="MS PGothic" pitchFamily="34" charset="-128"/>
                </a:rPr>
                <a:t>Stage 4 </a:t>
              </a:r>
            </a:p>
          </p:txBody>
        </p:sp>
      </p:grpSp>
      <p:sp>
        <p:nvSpPr>
          <p:cNvPr id="14" name="TextBox 13"/>
          <p:cNvSpPr txBox="1"/>
          <p:nvPr/>
        </p:nvSpPr>
        <p:spPr bwMode="gray">
          <a:xfrm>
            <a:off x="596705"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691783543"/>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Subtitle runs here</a:t>
            </a:r>
            <a:endParaRPr lang="en-US" dirty="0"/>
          </a:p>
        </p:txBody>
      </p:sp>
      <p:sp>
        <p:nvSpPr>
          <p:cNvPr id="797697" name="Title 1"/>
          <p:cNvSpPr>
            <a:spLocks noGrp="1"/>
          </p:cNvSpPr>
          <p:nvPr>
            <p:ph type="title"/>
          </p:nvPr>
        </p:nvSpPr>
        <p:spPr/>
        <p:txBody>
          <a:bodyPr/>
          <a:lstStyle/>
          <a:p>
            <a:r>
              <a:rPr lang="en-US" altLang="ja-JP"/>
              <a:t>Heat map</a:t>
            </a:r>
            <a:endParaRPr lang="en-US" dirty="0"/>
          </a:p>
        </p:txBody>
      </p:sp>
      <p:graphicFrame>
        <p:nvGraphicFramePr>
          <p:cNvPr id="13" name="Group 8"/>
          <p:cNvGraphicFramePr>
            <a:graphicFrameLocks noGrp="1"/>
          </p:cNvGraphicFramePr>
          <p:nvPr>
            <p:extLst>
              <p:ext uri="{D42A27DB-BD31-4B8C-83A1-F6EECF244321}">
                <p14:modId xmlns:p14="http://schemas.microsoft.com/office/powerpoint/2010/main" val="237665971"/>
              </p:ext>
            </p:extLst>
          </p:nvPr>
        </p:nvGraphicFramePr>
        <p:xfrm>
          <a:off x="501650" y="2011063"/>
          <a:ext cx="11188704" cy="3560067"/>
        </p:xfrm>
        <a:graphic>
          <a:graphicData uri="http://schemas.openxmlformats.org/drawingml/2006/table">
            <a:tbl>
              <a:tblPr/>
              <a:tblGrid>
                <a:gridCol w="2134608">
                  <a:extLst>
                    <a:ext uri="{9D8B030D-6E8A-4147-A177-3AD203B41FA5}">
                      <a16:colId xmlns:a16="http://schemas.microsoft.com/office/drawing/2014/main" val="20000"/>
                    </a:ext>
                  </a:extLst>
                </a:gridCol>
                <a:gridCol w="1131762">
                  <a:extLst>
                    <a:ext uri="{9D8B030D-6E8A-4147-A177-3AD203B41FA5}">
                      <a16:colId xmlns:a16="http://schemas.microsoft.com/office/drawing/2014/main" val="20001"/>
                    </a:ext>
                  </a:extLst>
                </a:gridCol>
                <a:gridCol w="1131762">
                  <a:extLst>
                    <a:ext uri="{9D8B030D-6E8A-4147-A177-3AD203B41FA5}">
                      <a16:colId xmlns:a16="http://schemas.microsoft.com/office/drawing/2014/main" val="20002"/>
                    </a:ext>
                  </a:extLst>
                </a:gridCol>
                <a:gridCol w="1131762">
                  <a:extLst>
                    <a:ext uri="{9D8B030D-6E8A-4147-A177-3AD203B41FA5}">
                      <a16:colId xmlns:a16="http://schemas.microsoft.com/office/drawing/2014/main" val="20003"/>
                    </a:ext>
                  </a:extLst>
                </a:gridCol>
                <a:gridCol w="1131762">
                  <a:extLst>
                    <a:ext uri="{9D8B030D-6E8A-4147-A177-3AD203B41FA5}">
                      <a16:colId xmlns:a16="http://schemas.microsoft.com/office/drawing/2014/main" val="20004"/>
                    </a:ext>
                  </a:extLst>
                </a:gridCol>
                <a:gridCol w="1131762">
                  <a:extLst>
                    <a:ext uri="{9D8B030D-6E8A-4147-A177-3AD203B41FA5}">
                      <a16:colId xmlns:a16="http://schemas.microsoft.com/office/drawing/2014/main" val="20005"/>
                    </a:ext>
                  </a:extLst>
                </a:gridCol>
                <a:gridCol w="1131762">
                  <a:extLst>
                    <a:ext uri="{9D8B030D-6E8A-4147-A177-3AD203B41FA5}">
                      <a16:colId xmlns:a16="http://schemas.microsoft.com/office/drawing/2014/main" val="20006"/>
                    </a:ext>
                  </a:extLst>
                </a:gridCol>
                <a:gridCol w="1131762">
                  <a:extLst>
                    <a:ext uri="{9D8B030D-6E8A-4147-A177-3AD203B41FA5}">
                      <a16:colId xmlns:a16="http://schemas.microsoft.com/office/drawing/2014/main" val="20007"/>
                    </a:ext>
                  </a:extLst>
                </a:gridCol>
                <a:gridCol w="1131762">
                  <a:extLst>
                    <a:ext uri="{9D8B030D-6E8A-4147-A177-3AD203B41FA5}">
                      <a16:colId xmlns:a16="http://schemas.microsoft.com/office/drawing/2014/main" val="20008"/>
                    </a:ext>
                  </a:extLst>
                </a:gridCol>
              </a:tblGrid>
              <a:tr h="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1" i="0" u="none" strike="noStrike" cap="none" normalizeH="0" baseline="0" dirty="0">
                        <a:ln>
                          <a:noFill/>
                        </a:ln>
                        <a:solidFill>
                          <a:schemeClr val="bg1"/>
                        </a:solidFill>
                        <a:effectLst/>
                        <a:latin typeface="+mn-lt"/>
                      </a:endParaRPr>
                    </a:p>
                  </a:txBody>
                  <a:tcPr marT="91440" marB="91440" anchor="ctr" horzOverflow="overflow">
                    <a:lnL cap="flat">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Column</a:t>
                      </a:r>
                    </a:p>
                  </a:txBody>
                  <a:tcPr marT="91440" marB="91440" anchor="b"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1"/>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2"/>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3"/>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4"/>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5"/>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6"/>
                  </a:ext>
                </a:extLst>
              </a:tr>
              <a:tr h="45372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A44"/>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DA291C"/>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cap="flat">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D8B00"/>
                    </a:solidFill>
                  </a:tcPr>
                </a:tc>
                <a:extLst>
                  <a:ext uri="{0D108BD9-81ED-4DB2-BD59-A6C34878D82A}">
                    <a16:rowId xmlns:a16="http://schemas.microsoft.com/office/drawing/2014/main" val="10007"/>
                  </a:ext>
                </a:extLst>
              </a:tr>
            </a:tbl>
          </a:graphicData>
        </a:graphic>
      </p:graphicFrame>
      <p:grpSp>
        <p:nvGrpSpPr>
          <p:cNvPr id="2" name="Group 1"/>
          <p:cNvGrpSpPr/>
          <p:nvPr/>
        </p:nvGrpSpPr>
        <p:grpSpPr>
          <a:xfrm>
            <a:off x="4607147" y="6163945"/>
            <a:ext cx="2932825" cy="182880"/>
            <a:chOff x="4660695" y="5767570"/>
            <a:chExt cx="2932825" cy="182880"/>
          </a:xfrm>
        </p:grpSpPr>
        <p:sp>
          <p:nvSpPr>
            <p:cNvPr id="30" name="Text Box 32"/>
            <p:cNvSpPr txBox="1">
              <a:spLocks noChangeArrowheads="1"/>
            </p:cNvSpPr>
            <p:nvPr/>
          </p:nvSpPr>
          <p:spPr bwMode="auto">
            <a:xfrm>
              <a:off x="6020773" y="5782066"/>
              <a:ext cx="389530"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ea typeface="ＭＳ Ｐゴシック" charset="-128"/>
                </a:rPr>
                <a:t>Neutral</a:t>
              </a:r>
            </a:p>
          </p:txBody>
        </p:sp>
        <p:sp>
          <p:nvSpPr>
            <p:cNvPr id="31" name="Rectangle 30"/>
            <p:cNvSpPr>
              <a:spLocks noChangeArrowheads="1"/>
            </p:cNvSpPr>
            <p:nvPr/>
          </p:nvSpPr>
          <p:spPr bwMode="auto">
            <a:xfrm>
              <a:off x="5785271" y="5767570"/>
              <a:ext cx="182880" cy="182880"/>
            </a:xfrm>
            <a:prstGeom prst="rect">
              <a:avLst/>
            </a:prstGeom>
            <a:solidFill>
              <a:srgbClr val="ED8B00"/>
            </a:solidFill>
            <a:ln w="6350">
              <a:noFill/>
              <a:round/>
              <a:headEnd/>
              <a:tailEnd/>
            </a:ln>
          </p:spPr>
          <p:txBody>
            <a:bodyPr wrap="none" anchor="ctr"/>
            <a:lstStyle/>
            <a:p>
              <a:pPr algn="ctr">
                <a:defRPr/>
              </a:pPr>
              <a:endParaRPr lang="en-US" sz="1000" dirty="0"/>
            </a:p>
          </p:txBody>
        </p:sp>
        <p:sp>
          <p:nvSpPr>
            <p:cNvPr id="33" name="Text Box 34"/>
            <p:cNvSpPr txBox="1">
              <a:spLocks noChangeArrowheads="1"/>
            </p:cNvSpPr>
            <p:nvPr/>
          </p:nvSpPr>
          <p:spPr bwMode="auto">
            <a:xfrm>
              <a:off x="7135061" y="5782066"/>
              <a:ext cx="458459"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ea typeface="ＭＳ Ｐゴシック" charset="-128"/>
                </a:rPr>
                <a:t>Negative</a:t>
              </a:r>
            </a:p>
          </p:txBody>
        </p:sp>
        <p:sp>
          <p:nvSpPr>
            <p:cNvPr id="34" name="Rectangle 33"/>
            <p:cNvSpPr>
              <a:spLocks noChangeArrowheads="1"/>
            </p:cNvSpPr>
            <p:nvPr/>
          </p:nvSpPr>
          <p:spPr bwMode="auto">
            <a:xfrm>
              <a:off x="6909847" y="5767570"/>
              <a:ext cx="182880" cy="182880"/>
            </a:xfrm>
            <a:prstGeom prst="rect">
              <a:avLst/>
            </a:prstGeom>
            <a:solidFill>
              <a:srgbClr val="DA291C"/>
            </a:solidFill>
            <a:ln w="6350">
              <a:noFill/>
              <a:round/>
              <a:headEnd/>
              <a:tailEnd/>
            </a:ln>
          </p:spPr>
          <p:txBody>
            <a:bodyPr wrap="none" anchor="ctr"/>
            <a:lstStyle/>
            <a:p>
              <a:pPr algn="ctr">
                <a:defRPr/>
              </a:pPr>
              <a:endParaRPr lang="en-US" sz="1000" dirty="0"/>
            </a:p>
          </p:txBody>
        </p:sp>
        <p:sp>
          <p:nvSpPr>
            <p:cNvPr id="37" name="Text Box 32"/>
            <p:cNvSpPr txBox="1">
              <a:spLocks noChangeArrowheads="1"/>
            </p:cNvSpPr>
            <p:nvPr/>
          </p:nvSpPr>
          <p:spPr bwMode="auto">
            <a:xfrm>
              <a:off x="4896197" y="5782066"/>
              <a:ext cx="402354" cy="153888"/>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ea typeface="ＭＳ Ｐゴシック" charset="-128"/>
                </a:rPr>
                <a:t>Positive</a:t>
              </a:r>
            </a:p>
          </p:txBody>
        </p:sp>
        <p:sp>
          <p:nvSpPr>
            <p:cNvPr id="38" name="Rectangle 37"/>
            <p:cNvSpPr>
              <a:spLocks noChangeArrowheads="1"/>
            </p:cNvSpPr>
            <p:nvPr/>
          </p:nvSpPr>
          <p:spPr bwMode="auto">
            <a:xfrm>
              <a:off x="4660695" y="5767570"/>
              <a:ext cx="182880" cy="182880"/>
            </a:xfrm>
            <a:prstGeom prst="rect">
              <a:avLst/>
            </a:prstGeom>
            <a:solidFill>
              <a:srgbClr val="009A44"/>
            </a:solidFill>
            <a:ln w="6350">
              <a:noFill/>
              <a:round/>
              <a:headEnd/>
              <a:tailEnd/>
            </a:ln>
          </p:spPr>
          <p:txBody>
            <a:bodyPr wrap="none" anchor="ctr"/>
            <a:lstStyle/>
            <a:p>
              <a:pPr algn="ctr">
                <a:defRPr/>
              </a:pPr>
              <a:endParaRPr lang="en-US" sz="1000" dirty="0"/>
            </a:p>
          </p:txBody>
        </p:sp>
      </p:grpSp>
      <p:sp>
        <p:nvSpPr>
          <p:cNvPr id="15" name="TextBox 14"/>
          <p:cNvSpPr txBox="1"/>
          <p:nvPr/>
        </p:nvSpPr>
        <p:spPr bwMode="gray">
          <a:xfrm>
            <a:off x="501650" y="1710507"/>
            <a:ext cx="8348472" cy="200055"/>
          </a:xfrm>
          <a:prstGeom prst="rect">
            <a:avLst/>
          </a:prstGeom>
          <a:noFill/>
        </p:spPr>
        <p:txBody>
          <a:bodyPr wrap="square" lIns="0" tIns="0" rIns="0" bIns="0" rtlCol="0">
            <a:spAutoFit/>
          </a:bodyPr>
          <a:lstStyle/>
          <a:p>
            <a:r>
              <a:rPr lang="en-US" sz="1300" dirty="0"/>
              <a:t>Table title runs here</a:t>
            </a:r>
          </a:p>
        </p:txBody>
      </p:sp>
    </p:spTree>
    <p:extLst>
      <p:ext uri="{BB962C8B-B14F-4D97-AF65-F5344CB8AC3E}">
        <p14:creationId xmlns:p14="http://schemas.microsoft.com/office/powerpoint/2010/main" val="3216154351"/>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ubtitle runs here</a:t>
            </a:r>
            <a:endParaRPr lang="en-US" dirty="0"/>
          </a:p>
        </p:txBody>
      </p:sp>
      <p:sp>
        <p:nvSpPr>
          <p:cNvPr id="3" name="Title 2"/>
          <p:cNvSpPr>
            <a:spLocks noGrp="1"/>
          </p:cNvSpPr>
          <p:nvPr>
            <p:ph type="title"/>
          </p:nvPr>
        </p:nvSpPr>
        <p:spPr/>
        <p:txBody>
          <a:bodyPr/>
          <a:lstStyle/>
          <a:p>
            <a:r>
              <a:rPr lang="en-US"/>
              <a:t>Generic strategy development framework </a:t>
            </a:r>
            <a:endParaRPr lang="en-US" dirty="0"/>
          </a:p>
        </p:txBody>
      </p:sp>
      <p:grpSp>
        <p:nvGrpSpPr>
          <p:cNvPr id="4" name="Group 3">
            <a:extLst>
              <a:ext uri="{FF2B5EF4-FFF2-40B4-BE49-F238E27FC236}">
                <a16:creationId xmlns:a16="http://schemas.microsoft.com/office/drawing/2014/main" id="{1BF02C50-3337-44B4-99F4-970C008A3243}"/>
              </a:ext>
            </a:extLst>
          </p:cNvPr>
          <p:cNvGrpSpPr/>
          <p:nvPr/>
        </p:nvGrpSpPr>
        <p:grpSpPr>
          <a:xfrm>
            <a:off x="501650" y="1978024"/>
            <a:ext cx="11188699" cy="3983039"/>
            <a:chOff x="1885633" y="1978024"/>
            <a:chExt cx="8396691" cy="3983039"/>
          </a:xfrm>
        </p:grpSpPr>
        <p:sp>
          <p:nvSpPr>
            <p:cNvPr id="43" name="Oval 42"/>
            <p:cNvSpPr/>
            <p:nvPr/>
          </p:nvSpPr>
          <p:spPr>
            <a:xfrm>
              <a:off x="5256228" y="2790799"/>
              <a:ext cx="1410227" cy="564558"/>
            </a:xfrm>
            <a:prstGeom prst="ellipse">
              <a:avLst/>
            </a:prstGeom>
            <a:solidFill>
              <a:srgbClr val="81BC00"/>
            </a:solidFill>
            <a:ln w="25400" cap="flat" cmpd="sng" algn="ctr">
              <a:noFill/>
              <a:prstDash val="solid"/>
            </a:ln>
            <a:effectLst/>
          </p:spPr>
          <p:txBody>
            <a:bodyPr lIns="88900" tIns="88900" rIns="88900" bIns="88900" anchor="ctr"/>
            <a:lstStyle/>
            <a:p>
              <a:pPr algn="ctr">
                <a:spcBef>
                  <a:spcPct val="20000"/>
                </a:spcBef>
                <a:defRPr/>
              </a:pPr>
              <a:r>
                <a:rPr lang="en-US" sz="1100" kern="0" dirty="0">
                  <a:latin typeface="+mj-lt"/>
                </a:rPr>
                <a:t>Creativity</a:t>
              </a:r>
            </a:p>
          </p:txBody>
        </p:sp>
        <p:sp>
          <p:nvSpPr>
            <p:cNvPr id="44" name="AutoShape 9"/>
            <p:cNvSpPr>
              <a:spLocks noChangeArrowheads="1"/>
            </p:cNvSpPr>
            <p:nvPr/>
          </p:nvSpPr>
          <p:spPr bwMode="auto">
            <a:xfrm>
              <a:off x="8306791"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45" name="AutoShape 10"/>
            <p:cNvSpPr>
              <a:spLocks noChangeArrowheads="1"/>
            </p:cNvSpPr>
            <p:nvPr/>
          </p:nvSpPr>
          <p:spPr bwMode="auto">
            <a:xfrm>
              <a:off x="3571919" y="1978024"/>
              <a:ext cx="1929066" cy="548640"/>
            </a:xfrm>
            <a:prstGeom prst="chevron">
              <a:avLst>
                <a:gd name="adj" fmla="val 32490"/>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200" kern="0" dirty="0">
                  <a:solidFill>
                    <a:prstClr val="white"/>
                  </a:solidFill>
                  <a:latin typeface="+mj-lt"/>
                  <a:cs typeface="Arial" pitchFamily="34" charset="0"/>
                </a:rPr>
                <a:t>2. Conduct analysis</a:t>
              </a:r>
              <a:endParaRPr lang="en-GB" altLang="ja-JP" sz="1200" kern="0" dirty="0">
                <a:solidFill>
                  <a:prstClr val="white"/>
                </a:solidFill>
                <a:latin typeface="+mj-lt"/>
                <a:ea typeface="ＭＳ Ｐゴシック" panose="020B0600070205080204" pitchFamily="34" charset="-128"/>
                <a:cs typeface="Arial" pitchFamily="34" charset="0"/>
              </a:endParaRPr>
            </a:p>
          </p:txBody>
        </p:sp>
        <p:sp>
          <p:nvSpPr>
            <p:cNvPr id="46" name="AutoShape 11"/>
            <p:cNvSpPr>
              <a:spLocks noChangeArrowheads="1"/>
            </p:cNvSpPr>
            <p:nvPr/>
          </p:nvSpPr>
          <p:spPr bwMode="auto">
            <a:xfrm>
              <a:off x="1885633" y="1978024"/>
              <a:ext cx="1791276" cy="548640"/>
            </a:xfrm>
            <a:prstGeom prst="homePlate">
              <a:avLst>
                <a:gd name="adj" fmla="val 31290"/>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200" kern="0" dirty="0">
                  <a:solidFill>
                    <a:prstClr val="white"/>
                  </a:solidFill>
                  <a:latin typeface="+mj-lt"/>
                  <a:cs typeface="Arial" pitchFamily="34" charset="0"/>
                </a:rPr>
                <a:t>1. Evaluate</a:t>
              </a:r>
              <a:br>
                <a:rPr lang="en-GB" sz="1200" kern="0" dirty="0">
                  <a:solidFill>
                    <a:prstClr val="white"/>
                  </a:solidFill>
                  <a:latin typeface="+mj-lt"/>
                  <a:cs typeface="Arial" pitchFamily="34" charset="0"/>
                </a:rPr>
              </a:br>
              <a:r>
                <a:rPr lang="en-GB" sz="1200" kern="0" dirty="0">
                  <a:solidFill>
                    <a:prstClr val="white"/>
                  </a:solidFill>
                  <a:latin typeface="+mj-lt"/>
                  <a:cs typeface="Arial" pitchFamily="34" charset="0"/>
                </a:rPr>
                <a:t>situation</a:t>
              </a:r>
              <a:endParaRPr lang="en-GB" altLang="ja-JP" sz="1200" kern="0" dirty="0">
                <a:solidFill>
                  <a:prstClr val="white"/>
                </a:solidFill>
                <a:latin typeface="+mj-lt"/>
                <a:ea typeface="ＭＳ Ｐゴシック" pitchFamily="50" charset="-128"/>
                <a:cs typeface="Arial" pitchFamily="34" charset="0"/>
              </a:endParaRPr>
            </a:p>
          </p:txBody>
        </p:sp>
        <p:sp>
          <p:nvSpPr>
            <p:cNvPr id="47" name="Rectangle 12"/>
            <p:cNvSpPr>
              <a:spLocks noChangeArrowheads="1"/>
            </p:cNvSpPr>
            <p:nvPr/>
          </p:nvSpPr>
          <p:spPr bwMode="auto">
            <a:xfrm>
              <a:off x="1885634" y="2643664"/>
              <a:ext cx="137105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sz="1100" kern="0" dirty="0">
                <a:solidFill>
                  <a:srgbClr val="313131"/>
                </a:solidFill>
                <a:latin typeface="+mj-lt"/>
                <a:ea typeface="ＭＳ Ｐゴシック" charset="-128"/>
                <a:cs typeface="Arial" pitchFamily="34" charset="0"/>
              </a:endParaRPr>
            </a:p>
          </p:txBody>
        </p:sp>
        <p:sp>
          <p:nvSpPr>
            <p:cNvPr id="48" name="AutoShape 13"/>
            <p:cNvSpPr>
              <a:spLocks noChangeArrowheads="1"/>
            </p:cNvSpPr>
            <p:nvPr/>
          </p:nvSpPr>
          <p:spPr bwMode="auto">
            <a:xfrm flipV="1">
              <a:off x="2312975" y="3486455"/>
              <a:ext cx="516372"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49" name="AutoShape 14"/>
            <p:cNvSpPr>
              <a:spLocks noChangeArrowheads="1"/>
            </p:cNvSpPr>
            <p:nvPr/>
          </p:nvSpPr>
          <p:spPr bwMode="auto">
            <a:xfrm>
              <a:off x="2312975" y="4327559"/>
              <a:ext cx="516372"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50" name="Rectangle 16"/>
            <p:cNvSpPr>
              <a:spLocks noChangeArrowheads="1"/>
            </p:cNvSpPr>
            <p:nvPr/>
          </p:nvSpPr>
          <p:spPr bwMode="auto">
            <a:xfrm>
              <a:off x="1976801"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Business</a:t>
              </a:r>
            </a:p>
            <a:p>
              <a:pPr algn="ctr">
                <a:defRPr/>
              </a:pPr>
              <a:r>
                <a:rPr lang="en-GB" altLang="ja-JP" sz="1100" kern="0" dirty="0">
                  <a:latin typeface="+mj-lt"/>
                  <a:ea typeface="ＭＳ Ｐゴシック" charset="-128"/>
                  <a:cs typeface="Arial" pitchFamily="34" charset="0"/>
                </a:rPr>
                <a:t>constraints</a:t>
              </a:r>
            </a:p>
          </p:txBody>
        </p:sp>
        <p:sp>
          <p:nvSpPr>
            <p:cNvPr id="51" name="Oval 17"/>
            <p:cNvSpPr>
              <a:spLocks noChangeArrowheads="1"/>
            </p:cNvSpPr>
            <p:nvPr/>
          </p:nvSpPr>
          <p:spPr bwMode="auto">
            <a:xfrm>
              <a:off x="1970245" y="3716770"/>
              <a:ext cx="1201832" cy="505551"/>
            </a:xfrm>
            <a:prstGeom prst="ellipse">
              <a:avLst/>
            </a:prstGeom>
            <a:solidFill>
              <a:schemeClr val="tx2"/>
            </a:solidFill>
            <a:ln w="6350" algn="ctr">
              <a:noFill/>
              <a:round/>
              <a:headEnd type="none" w="sm" len="sm"/>
              <a:tailEnd type="none" w="sm" len="sm"/>
            </a:ln>
          </p:spPr>
          <p:txBody>
            <a:bodyPr lIns="0" tIns="0" rIns="0" bIns="0" anchor="ctr"/>
            <a:lstStyle/>
            <a:p>
              <a:pPr algn="ctr">
                <a:defRPr/>
              </a:pPr>
              <a:r>
                <a:rPr lang="en-GB" altLang="ja-JP" sz="1100" kern="0" dirty="0">
                  <a:solidFill>
                    <a:schemeClr val="bg1"/>
                  </a:solidFill>
                  <a:latin typeface="+mj-lt"/>
                  <a:ea typeface="ＭＳ Ｐゴシック" charset="-128"/>
                  <a:cs typeface="Arial" pitchFamily="34" charset="0"/>
                </a:rPr>
                <a:t>Business</a:t>
              </a:r>
            </a:p>
            <a:p>
              <a:pPr algn="ctr">
                <a:defRPr/>
              </a:pPr>
              <a:r>
                <a:rPr lang="en-GB" altLang="ja-JP" sz="1100" kern="0" dirty="0">
                  <a:solidFill>
                    <a:schemeClr val="bg1"/>
                  </a:solidFill>
                  <a:latin typeface="+mj-lt"/>
                  <a:ea typeface="ＭＳ Ｐゴシック" charset="-128"/>
                  <a:cs typeface="Arial" pitchFamily="34" charset="0"/>
                </a:rPr>
                <a:t>imperatives</a:t>
              </a:r>
            </a:p>
          </p:txBody>
        </p:sp>
        <p:sp>
          <p:nvSpPr>
            <p:cNvPr id="52" name="Rectangle 18"/>
            <p:cNvSpPr>
              <a:spLocks noChangeArrowheads="1"/>
            </p:cNvSpPr>
            <p:nvPr/>
          </p:nvSpPr>
          <p:spPr bwMode="auto">
            <a:xfrm>
              <a:off x="3733816" y="2643664"/>
              <a:ext cx="136749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sz="1100" kern="0" dirty="0">
                <a:solidFill>
                  <a:srgbClr val="313131"/>
                </a:solidFill>
                <a:latin typeface="+mj-lt"/>
                <a:ea typeface="ＭＳ Ｐゴシック" charset="-128"/>
                <a:cs typeface="Arial" pitchFamily="34" charset="0"/>
              </a:endParaRPr>
            </a:p>
          </p:txBody>
        </p:sp>
        <p:sp>
          <p:nvSpPr>
            <p:cNvPr id="53" name="AutoShape 19"/>
            <p:cNvSpPr>
              <a:spLocks noChangeArrowheads="1"/>
            </p:cNvSpPr>
            <p:nvPr/>
          </p:nvSpPr>
          <p:spPr bwMode="auto">
            <a:xfrm flipV="1">
              <a:off x="4161158" y="3486455"/>
              <a:ext cx="512810"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54" name="AutoShape 20"/>
            <p:cNvSpPr>
              <a:spLocks noChangeArrowheads="1"/>
            </p:cNvSpPr>
            <p:nvPr/>
          </p:nvSpPr>
          <p:spPr bwMode="auto">
            <a:xfrm>
              <a:off x="4161158" y="4327559"/>
              <a:ext cx="512810"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55" name="Rectangle 22"/>
            <p:cNvSpPr>
              <a:spLocks noChangeArrowheads="1"/>
            </p:cNvSpPr>
            <p:nvPr/>
          </p:nvSpPr>
          <p:spPr bwMode="auto">
            <a:xfrm>
              <a:off x="3823203"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Internal analysis</a:t>
              </a:r>
            </a:p>
          </p:txBody>
        </p:sp>
        <p:sp>
          <p:nvSpPr>
            <p:cNvPr id="56" name="Oval 23"/>
            <p:cNvSpPr>
              <a:spLocks noChangeArrowheads="1"/>
            </p:cNvSpPr>
            <p:nvPr/>
          </p:nvSpPr>
          <p:spPr bwMode="auto">
            <a:xfrm>
              <a:off x="3791687" y="3716770"/>
              <a:ext cx="1251755" cy="505551"/>
            </a:xfrm>
            <a:prstGeom prst="ellipse">
              <a:avLst/>
            </a:prstGeom>
            <a:solidFill>
              <a:schemeClr val="tx2"/>
            </a:solidFill>
            <a:ln w="6350" algn="ctr">
              <a:noFill/>
              <a:round/>
              <a:headEnd type="none" w="sm" len="sm"/>
              <a:tailEnd type="none" w="sm" len="sm"/>
            </a:ln>
          </p:spPr>
          <p:txBody>
            <a:bodyPr lIns="88900" tIns="88900" rIns="88900" bIns="88900" anchor="ctr"/>
            <a:lstStyle/>
            <a:p>
              <a:pPr algn="ctr">
                <a:defRPr/>
              </a:pPr>
              <a:r>
                <a:rPr lang="en-GB" altLang="ja-JP" sz="1100" kern="0" dirty="0">
                  <a:solidFill>
                    <a:schemeClr val="bg1"/>
                  </a:solidFill>
                  <a:latin typeface="+mj-lt"/>
                  <a:ea typeface="ＭＳ Ｐゴシック" charset="-128"/>
                  <a:cs typeface="Arial" pitchFamily="34" charset="0"/>
                </a:rPr>
                <a:t>Key insights</a:t>
              </a:r>
            </a:p>
          </p:txBody>
        </p:sp>
        <p:sp>
          <p:nvSpPr>
            <p:cNvPr id="57" name="Rectangle 26"/>
            <p:cNvSpPr>
              <a:spLocks noChangeArrowheads="1"/>
            </p:cNvSpPr>
            <p:nvPr/>
          </p:nvSpPr>
          <p:spPr bwMode="auto">
            <a:xfrm>
              <a:off x="5696374" y="3715629"/>
              <a:ext cx="535403" cy="507831"/>
            </a:xfrm>
            <a:prstGeom prst="rect">
              <a:avLst/>
            </a:prstGeom>
            <a:noFill/>
            <a:ln w="6350" algn="ctr">
              <a:noFill/>
              <a:miter lim="800000"/>
              <a:headEnd type="none" w="sm" len="sm"/>
              <a:tailEnd type="none" w="sm" len="sm"/>
            </a:ln>
          </p:spPr>
          <p:txBody>
            <a:bodyPr wrap="none" lIns="0" tIns="0" rIns="0" bIns="0" anchor="ctr">
              <a:spAutoFit/>
            </a:bodyPr>
            <a:lstStyle/>
            <a:p>
              <a:pPr algn="ctr"/>
              <a:r>
                <a:rPr lang="en-GB" altLang="ja-JP" sz="1100" dirty="0">
                  <a:latin typeface="+mj-lt"/>
                  <a:ea typeface="ＭＳ Ｐゴシック" charset="-128"/>
                  <a:cs typeface="Arial" pitchFamily="34" charset="0"/>
                </a:rPr>
                <a:t>Future</a:t>
              </a:r>
            </a:p>
            <a:p>
              <a:pPr algn="ctr"/>
              <a:r>
                <a:rPr lang="en-GB" altLang="ja-JP" sz="1100" dirty="0">
                  <a:latin typeface="+mj-lt"/>
                  <a:ea typeface="ＭＳ Ｐゴシック" charset="-128"/>
                  <a:cs typeface="Arial" pitchFamily="34" charset="0"/>
                </a:rPr>
                <a:t>industry</a:t>
              </a:r>
            </a:p>
            <a:p>
              <a:pPr algn="ctr"/>
              <a:r>
                <a:rPr lang="en-GB" altLang="ja-JP" sz="1100" dirty="0">
                  <a:latin typeface="+mj-lt"/>
                  <a:ea typeface="ＭＳ Ｐゴシック" charset="-128"/>
                  <a:cs typeface="Arial" pitchFamily="34" charset="0"/>
                </a:rPr>
                <a:t>scenarios</a:t>
              </a:r>
            </a:p>
          </p:txBody>
        </p:sp>
        <p:sp>
          <p:nvSpPr>
            <p:cNvPr id="58" name="AutoShape 28"/>
            <p:cNvSpPr>
              <a:spLocks noChangeArrowheads="1"/>
            </p:cNvSpPr>
            <p:nvPr/>
          </p:nvSpPr>
          <p:spPr bwMode="auto">
            <a:xfrm>
              <a:off x="5395997" y="1978024"/>
              <a:ext cx="2924461" cy="548640"/>
            </a:xfrm>
            <a:prstGeom prst="chevron">
              <a:avLst>
                <a:gd name="adj" fmla="val 32358"/>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200" kern="0" dirty="0">
                  <a:solidFill>
                    <a:prstClr val="white"/>
                  </a:solidFill>
                  <a:latin typeface="+mj-lt"/>
                  <a:cs typeface="Arial" pitchFamily="34" charset="0"/>
                </a:rPr>
                <a:t>3. Formulate</a:t>
              </a:r>
              <a:br>
                <a:rPr lang="en-GB" sz="1200" kern="0" dirty="0">
                  <a:solidFill>
                    <a:prstClr val="white"/>
                  </a:solidFill>
                  <a:latin typeface="+mj-lt"/>
                  <a:cs typeface="Arial" pitchFamily="34" charset="0"/>
                </a:rPr>
              </a:br>
              <a:r>
                <a:rPr lang="en-GB" sz="1200" kern="0" dirty="0">
                  <a:solidFill>
                    <a:prstClr val="white"/>
                  </a:solidFill>
                  <a:latin typeface="+mj-lt"/>
                  <a:cs typeface="Arial" pitchFamily="34" charset="0"/>
                </a:rPr>
                <a:t>strategy</a:t>
              </a:r>
              <a:endParaRPr lang="en-GB" altLang="ja-JP" sz="1200" kern="0" dirty="0">
                <a:solidFill>
                  <a:prstClr val="white"/>
                </a:solidFill>
                <a:latin typeface="+mj-lt"/>
                <a:ea typeface="ＭＳ Ｐゴシック" panose="020B0600070205080204" pitchFamily="34" charset="-128"/>
                <a:cs typeface="Arial" pitchFamily="34" charset="0"/>
              </a:endParaRPr>
            </a:p>
          </p:txBody>
        </p:sp>
        <p:sp>
          <p:nvSpPr>
            <p:cNvPr id="59" name="AutoShape 29"/>
            <p:cNvSpPr>
              <a:spLocks noChangeArrowheads="1"/>
            </p:cNvSpPr>
            <p:nvPr/>
          </p:nvSpPr>
          <p:spPr bwMode="auto">
            <a:xfrm>
              <a:off x="8215467" y="1978024"/>
              <a:ext cx="2066856" cy="548640"/>
            </a:xfrm>
            <a:prstGeom prst="chevron">
              <a:avLst>
                <a:gd name="adj" fmla="val 30967"/>
              </a:avLst>
            </a:prstGeom>
            <a:solidFill>
              <a:srgbClr val="43B02A"/>
            </a:solidFill>
            <a:ln w="6350" algn="ctr">
              <a:noFill/>
              <a:miter lim="800000"/>
              <a:headEnd type="none" w="sm" len="sm"/>
              <a:tailEnd type="none" w="sm" len="sm"/>
            </a:ln>
          </p:spPr>
          <p:txBody>
            <a:bodyPr lIns="88900" tIns="88900" rIns="88900" bIns="88900" anchor="ctr"/>
            <a:lstStyle/>
            <a:p>
              <a:pPr marL="171450" indent="-171450">
                <a:defRPr/>
              </a:pPr>
              <a:r>
                <a:rPr lang="en-GB" sz="1200" kern="0" dirty="0">
                  <a:solidFill>
                    <a:prstClr val="white"/>
                  </a:solidFill>
                  <a:latin typeface="+mj-lt"/>
                  <a:cs typeface="Arial" pitchFamily="34" charset="0"/>
                </a:rPr>
                <a:t>4. Plan</a:t>
              </a:r>
              <a:br>
                <a:rPr lang="en-GB" sz="1200" kern="0" dirty="0">
                  <a:solidFill>
                    <a:prstClr val="white"/>
                  </a:solidFill>
                  <a:latin typeface="+mj-lt"/>
                  <a:cs typeface="Arial" pitchFamily="34" charset="0"/>
                </a:rPr>
              </a:br>
              <a:r>
                <a:rPr lang="en-GB" sz="1200" kern="0" dirty="0">
                  <a:solidFill>
                    <a:prstClr val="white"/>
                  </a:solidFill>
                  <a:latin typeface="+mj-lt"/>
                  <a:cs typeface="Arial" pitchFamily="34" charset="0"/>
                </a:rPr>
                <a:t>implementation</a:t>
              </a:r>
              <a:endParaRPr lang="en-GB" altLang="ja-JP" sz="1200" kern="0" dirty="0">
                <a:solidFill>
                  <a:prstClr val="white"/>
                </a:solidFill>
                <a:latin typeface="+mj-lt"/>
                <a:ea typeface="ＭＳ Ｐゴシック" panose="020B0600070205080204" pitchFamily="34" charset="-128"/>
                <a:cs typeface="Arial" pitchFamily="34" charset="0"/>
              </a:endParaRPr>
            </a:p>
          </p:txBody>
        </p:sp>
        <p:sp>
          <p:nvSpPr>
            <p:cNvPr id="60" name="Rectangle 30"/>
            <p:cNvSpPr>
              <a:spLocks noChangeArrowheads="1"/>
            </p:cNvSpPr>
            <p:nvPr/>
          </p:nvSpPr>
          <p:spPr bwMode="auto">
            <a:xfrm>
              <a:off x="8694027" y="2643664"/>
              <a:ext cx="137105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sz="1100" kern="0" dirty="0">
                <a:solidFill>
                  <a:srgbClr val="313131"/>
                </a:solidFill>
                <a:latin typeface="+mj-lt"/>
                <a:ea typeface="ＭＳ Ｐゴシック" charset="-128"/>
                <a:cs typeface="Arial" pitchFamily="34" charset="0"/>
              </a:endParaRPr>
            </a:p>
          </p:txBody>
        </p:sp>
        <p:sp>
          <p:nvSpPr>
            <p:cNvPr id="61" name="AutoShape 31"/>
            <p:cNvSpPr>
              <a:spLocks noChangeArrowheads="1"/>
            </p:cNvSpPr>
            <p:nvPr/>
          </p:nvSpPr>
          <p:spPr bwMode="auto">
            <a:xfrm>
              <a:off x="9121368" y="3486455"/>
              <a:ext cx="516372" cy="130773"/>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62" name="AutoShape 32"/>
            <p:cNvSpPr>
              <a:spLocks noChangeArrowheads="1"/>
            </p:cNvSpPr>
            <p:nvPr/>
          </p:nvSpPr>
          <p:spPr bwMode="auto">
            <a:xfrm flipV="1">
              <a:off x="9121368" y="4327559"/>
              <a:ext cx="516372" cy="132369"/>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63" name="Rectangle 34"/>
            <p:cNvSpPr>
              <a:spLocks noChangeArrowheads="1"/>
            </p:cNvSpPr>
            <p:nvPr/>
          </p:nvSpPr>
          <p:spPr bwMode="auto">
            <a:xfrm>
              <a:off x="8785194"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Financial </a:t>
              </a:r>
              <a:br>
                <a:rPr lang="en-GB" altLang="ja-JP" sz="1100" kern="0" dirty="0">
                  <a:latin typeface="+mj-lt"/>
                  <a:ea typeface="ＭＳ Ｐゴシック" charset="-128"/>
                  <a:cs typeface="Arial" pitchFamily="34" charset="0"/>
                </a:rPr>
              </a:br>
              <a:r>
                <a:rPr lang="en-GB" altLang="ja-JP" sz="1100" kern="0" dirty="0">
                  <a:latin typeface="+mj-lt"/>
                  <a:ea typeface="ＭＳ Ｐゴシック" charset="-128"/>
                  <a:cs typeface="Arial" pitchFamily="34" charset="0"/>
                </a:rPr>
                <a:t>plan</a:t>
              </a:r>
            </a:p>
          </p:txBody>
        </p:sp>
        <p:sp>
          <p:nvSpPr>
            <p:cNvPr id="64" name="Oval 35"/>
            <p:cNvSpPr>
              <a:spLocks noChangeArrowheads="1"/>
            </p:cNvSpPr>
            <p:nvPr/>
          </p:nvSpPr>
          <p:spPr bwMode="auto">
            <a:xfrm>
              <a:off x="8753678" y="3716770"/>
              <a:ext cx="1251755" cy="505551"/>
            </a:xfrm>
            <a:prstGeom prst="ellipse">
              <a:avLst/>
            </a:prstGeom>
            <a:solidFill>
              <a:schemeClr val="tx2"/>
            </a:solidFill>
            <a:ln w="6350" algn="ctr">
              <a:noFill/>
              <a:round/>
              <a:headEnd type="none" w="sm" len="sm"/>
              <a:tailEnd type="none" w="sm" len="sm"/>
            </a:ln>
          </p:spPr>
          <p:txBody>
            <a:bodyPr lIns="88900" tIns="88900" rIns="88900" bIns="88900" anchor="ctr"/>
            <a:lstStyle/>
            <a:p>
              <a:pPr algn="ctr">
                <a:defRPr/>
              </a:pPr>
              <a:r>
                <a:rPr lang="en-GB" altLang="ja-JP" sz="1100" kern="0" dirty="0">
                  <a:solidFill>
                    <a:schemeClr val="bg1"/>
                  </a:solidFill>
                  <a:latin typeface="+mj-lt"/>
                  <a:ea typeface="ＭＳ Ｐゴシック" charset="-128"/>
                  <a:cs typeface="Arial" pitchFamily="34" charset="0"/>
                </a:rPr>
                <a:t>Plans</a:t>
              </a:r>
            </a:p>
          </p:txBody>
        </p:sp>
        <p:sp>
          <p:nvSpPr>
            <p:cNvPr id="65" name="Rectangle 36"/>
            <p:cNvSpPr>
              <a:spLocks noChangeArrowheads="1"/>
            </p:cNvSpPr>
            <p:nvPr/>
          </p:nvSpPr>
          <p:spPr bwMode="auto">
            <a:xfrm>
              <a:off x="6871358" y="2643664"/>
              <a:ext cx="1367494"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defRPr/>
              </a:pPr>
              <a:endParaRPr lang="en-GB" altLang="ja-JP" sz="1100" kern="0" dirty="0">
                <a:solidFill>
                  <a:srgbClr val="313131"/>
                </a:solidFill>
                <a:latin typeface="+mj-lt"/>
                <a:ea typeface="ＭＳ Ｐゴシック" charset="-128"/>
                <a:cs typeface="Arial" pitchFamily="34" charset="0"/>
              </a:endParaRPr>
            </a:p>
          </p:txBody>
        </p:sp>
        <p:sp>
          <p:nvSpPr>
            <p:cNvPr id="66" name="AutoShape 37"/>
            <p:cNvSpPr>
              <a:spLocks noChangeArrowheads="1"/>
            </p:cNvSpPr>
            <p:nvPr/>
          </p:nvSpPr>
          <p:spPr bwMode="auto">
            <a:xfrm flipV="1">
              <a:off x="7298700" y="3486455"/>
              <a:ext cx="512810" cy="13077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67" name="AutoShape 38"/>
            <p:cNvSpPr>
              <a:spLocks noChangeArrowheads="1"/>
            </p:cNvSpPr>
            <p:nvPr/>
          </p:nvSpPr>
          <p:spPr bwMode="auto">
            <a:xfrm>
              <a:off x="7298700" y="4327559"/>
              <a:ext cx="512810" cy="132369"/>
            </a:xfrm>
            <a:prstGeom prst="triangle">
              <a:avLst>
                <a:gd name="adj" fmla="val 50000"/>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68" name="Rectangle 40"/>
            <p:cNvSpPr>
              <a:spLocks noChangeArrowheads="1"/>
            </p:cNvSpPr>
            <p:nvPr/>
          </p:nvSpPr>
          <p:spPr bwMode="auto">
            <a:xfrm>
              <a:off x="6960745" y="4562319"/>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Risk and reward</a:t>
              </a:r>
            </a:p>
          </p:txBody>
        </p:sp>
        <p:sp>
          <p:nvSpPr>
            <p:cNvPr id="69" name="Oval 41"/>
            <p:cNvSpPr>
              <a:spLocks noChangeArrowheads="1"/>
            </p:cNvSpPr>
            <p:nvPr/>
          </p:nvSpPr>
          <p:spPr bwMode="auto">
            <a:xfrm>
              <a:off x="6929228" y="3716770"/>
              <a:ext cx="1251754" cy="505551"/>
            </a:xfrm>
            <a:prstGeom prst="ellipse">
              <a:avLst/>
            </a:prstGeom>
            <a:solidFill>
              <a:schemeClr val="tx2"/>
            </a:solidFill>
            <a:ln w="6350" algn="ctr">
              <a:noFill/>
              <a:round/>
              <a:headEnd type="none" w="sm" len="sm"/>
              <a:tailEnd type="none" w="sm" len="sm"/>
            </a:ln>
          </p:spPr>
          <p:txBody>
            <a:bodyPr lIns="88900" tIns="88900" rIns="88900" bIns="88900" anchor="ctr"/>
            <a:lstStyle/>
            <a:p>
              <a:pPr algn="ctr">
                <a:defRPr/>
              </a:pPr>
              <a:r>
                <a:rPr lang="en-GB" altLang="ja-JP" sz="1100" kern="0" dirty="0">
                  <a:solidFill>
                    <a:schemeClr val="bg1"/>
                  </a:solidFill>
                  <a:latin typeface="+mj-lt"/>
                  <a:ea typeface="ＭＳ Ｐゴシック" charset="-128"/>
                  <a:cs typeface="Arial" pitchFamily="34" charset="0"/>
                </a:rPr>
                <a:t>Strategic direction</a:t>
              </a:r>
            </a:p>
          </p:txBody>
        </p:sp>
        <p:sp>
          <p:nvSpPr>
            <p:cNvPr id="70" name="AutoShape 42"/>
            <p:cNvSpPr>
              <a:spLocks noChangeArrowheads="1"/>
            </p:cNvSpPr>
            <p:nvPr/>
          </p:nvSpPr>
          <p:spPr bwMode="auto">
            <a:xfrm>
              <a:off x="3490165" y="5412423"/>
              <a:ext cx="2020926" cy="548640"/>
            </a:xfrm>
            <a:prstGeom prst="chevron">
              <a:avLst>
                <a:gd name="adj" fmla="val 31969"/>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200" kern="0" dirty="0">
                  <a:solidFill>
                    <a:prstClr val="white"/>
                  </a:solidFill>
                  <a:latin typeface="+mj-lt"/>
                  <a:ea typeface="ＭＳ Ｐゴシック" pitchFamily="50" charset="-128"/>
                  <a:cs typeface="Arial" pitchFamily="34" charset="0"/>
                </a:rPr>
                <a:t>Desk research and interviews</a:t>
              </a:r>
            </a:p>
          </p:txBody>
        </p:sp>
        <p:sp>
          <p:nvSpPr>
            <p:cNvPr id="71" name="AutoShape 43"/>
            <p:cNvSpPr>
              <a:spLocks noChangeArrowheads="1"/>
            </p:cNvSpPr>
            <p:nvPr/>
          </p:nvSpPr>
          <p:spPr bwMode="auto">
            <a:xfrm>
              <a:off x="1885635" y="5412423"/>
              <a:ext cx="1699415" cy="548640"/>
            </a:xfrm>
            <a:prstGeom prst="homePlate">
              <a:avLst>
                <a:gd name="adj" fmla="val 31290"/>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200" kern="0" dirty="0">
                  <a:solidFill>
                    <a:prstClr val="white"/>
                  </a:solidFill>
                  <a:latin typeface="+mj-lt"/>
                  <a:ea typeface="ＭＳ Ｐゴシック" pitchFamily="50" charset="-128"/>
                  <a:cs typeface="Arial" pitchFamily="34" charset="0"/>
                </a:rPr>
                <a:t>Interviews and workshops</a:t>
              </a:r>
            </a:p>
          </p:txBody>
        </p:sp>
        <p:sp>
          <p:nvSpPr>
            <p:cNvPr id="72" name="AutoShape 44"/>
            <p:cNvSpPr>
              <a:spLocks noChangeArrowheads="1"/>
            </p:cNvSpPr>
            <p:nvPr/>
          </p:nvSpPr>
          <p:spPr bwMode="auto">
            <a:xfrm>
              <a:off x="5416208" y="5412423"/>
              <a:ext cx="2756353" cy="548640"/>
            </a:xfrm>
            <a:prstGeom prst="chevron">
              <a:avLst>
                <a:gd name="adj" fmla="val 31316"/>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200" kern="0" dirty="0">
                  <a:solidFill>
                    <a:prstClr val="white"/>
                  </a:solidFill>
                  <a:latin typeface="+mj-lt"/>
                  <a:ea typeface="ＭＳ Ｐゴシック" pitchFamily="50" charset="-128"/>
                  <a:cs typeface="Arial" pitchFamily="34" charset="0"/>
                </a:rPr>
                <a:t>Workshops and analyses</a:t>
              </a:r>
            </a:p>
          </p:txBody>
        </p:sp>
        <p:sp>
          <p:nvSpPr>
            <p:cNvPr id="73" name="AutoShape 45"/>
            <p:cNvSpPr>
              <a:spLocks noChangeArrowheads="1"/>
            </p:cNvSpPr>
            <p:nvPr/>
          </p:nvSpPr>
          <p:spPr bwMode="auto">
            <a:xfrm>
              <a:off x="8077677" y="5412423"/>
              <a:ext cx="2204647" cy="548640"/>
            </a:xfrm>
            <a:prstGeom prst="chevron">
              <a:avLst>
                <a:gd name="adj" fmla="val 30967"/>
              </a:avLst>
            </a:prstGeom>
            <a:solidFill>
              <a:schemeClr val="accent2"/>
            </a:solidFill>
            <a:ln w="6350" algn="ctr">
              <a:noFill/>
              <a:miter lim="800000"/>
              <a:headEnd type="none" w="sm" len="sm"/>
              <a:tailEnd type="none" w="sm" len="sm"/>
            </a:ln>
          </p:spPr>
          <p:txBody>
            <a:bodyPr lIns="88900" tIns="88900" rIns="88900" bIns="88900" anchor="ctr"/>
            <a:lstStyle/>
            <a:p>
              <a:pPr>
                <a:spcBef>
                  <a:spcPct val="20000"/>
                </a:spcBef>
                <a:defRPr/>
              </a:pPr>
              <a:r>
                <a:rPr lang="en-GB" altLang="ja-JP" sz="1200" kern="0" dirty="0">
                  <a:solidFill>
                    <a:prstClr val="white"/>
                  </a:solidFill>
                  <a:latin typeface="+mj-lt"/>
                  <a:ea typeface="ＭＳ Ｐゴシック" pitchFamily="50" charset="-128"/>
                  <a:cs typeface="Arial" pitchFamily="34" charset="0"/>
                </a:rPr>
                <a:t>Business plan writing</a:t>
              </a:r>
            </a:p>
          </p:txBody>
        </p:sp>
        <p:sp>
          <p:nvSpPr>
            <p:cNvPr id="74" name="AutoShape 9"/>
            <p:cNvSpPr>
              <a:spLocks noChangeArrowheads="1"/>
            </p:cNvSpPr>
            <p:nvPr/>
          </p:nvSpPr>
          <p:spPr bwMode="auto">
            <a:xfrm>
              <a:off x="5160675"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75" name="AutoShape 9"/>
            <p:cNvSpPr>
              <a:spLocks noChangeArrowheads="1"/>
            </p:cNvSpPr>
            <p:nvPr/>
          </p:nvSpPr>
          <p:spPr bwMode="auto">
            <a:xfrm>
              <a:off x="6492690"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76" name="AutoShape 9"/>
            <p:cNvSpPr>
              <a:spLocks noChangeArrowheads="1"/>
            </p:cNvSpPr>
            <p:nvPr/>
          </p:nvSpPr>
          <p:spPr bwMode="auto">
            <a:xfrm>
              <a:off x="3336682" y="3798103"/>
              <a:ext cx="319297" cy="342882"/>
            </a:xfrm>
            <a:prstGeom prst="rightArrow">
              <a:avLst>
                <a:gd name="adj1" fmla="val 50000"/>
                <a:gd name="adj2" fmla="val 49002"/>
              </a:avLst>
            </a:prstGeom>
            <a:solidFill>
              <a:schemeClr val="tx2"/>
            </a:solidFill>
            <a:ln w="6350" algn="ctr">
              <a:noFill/>
              <a:miter lim="800000"/>
              <a:headEnd type="none" w="sm" len="sm"/>
              <a:tailEnd type="none" w="sm" len="sm"/>
            </a:ln>
          </p:spPr>
          <p:txBody>
            <a:bodyPr lIns="44450" tIns="44450" rIns="44450" bIns="44450" anchor="ctr"/>
            <a:lstStyle/>
            <a:p>
              <a:pPr>
                <a:spcBef>
                  <a:spcPct val="20000"/>
                </a:spcBef>
                <a:defRPr/>
              </a:pPr>
              <a:endParaRPr lang="en-GB" sz="1100" kern="0" dirty="0">
                <a:solidFill>
                  <a:srgbClr val="002776"/>
                </a:solidFill>
                <a:latin typeface="+mj-lt"/>
                <a:cs typeface="Arial" pitchFamily="34" charset="0"/>
              </a:endParaRPr>
            </a:p>
          </p:txBody>
        </p:sp>
        <p:sp>
          <p:nvSpPr>
            <p:cNvPr id="77" name="Rectangle 16"/>
            <p:cNvSpPr>
              <a:spLocks noChangeArrowheads="1"/>
            </p:cNvSpPr>
            <p:nvPr/>
          </p:nvSpPr>
          <p:spPr bwMode="auto">
            <a:xfrm>
              <a:off x="1976801"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Business</a:t>
              </a:r>
            </a:p>
            <a:p>
              <a:pPr algn="ctr">
                <a:defRPr/>
              </a:pPr>
              <a:r>
                <a:rPr lang="en-GB" altLang="ja-JP" sz="1100" kern="0" dirty="0">
                  <a:latin typeface="+mj-lt"/>
                  <a:ea typeface="ＭＳ Ｐゴシック" charset="-128"/>
                  <a:cs typeface="Arial" pitchFamily="34" charset="0"/>
                </a:rPr>
                <a:t>definition</a:t>
              </a:r>
              <a:endParaRPr lang="en-GB" sz="1100" kern="0" dirty="0">
                <a:latin typeface="+mj-lt"/>
                <a:ea typeface="ＭＳ Ｐゴシック" charset="-128"/>
                <a:cs typeface="Arial" pitchFamily="34" charset="0"/>
              </a:endParaRPr>
            </a:p>
          </p:txBody>
        </p:sp>
        <p:sp>
          <p:nvSpPr>
            <p:cNvPr id="78" name="Rectangle 22"/>
            <p:cNvSpPr>
              <a:spLocks noChangeArrowheads="1"/>
            </p:cNvSpPr>
            <p:nvPr/>
          </p:nvSpPr>
          <p:spPr bwMode="auto">
            <a:xfrm>
              <a:off x="3823203"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External </a:t>
              </a:r>
              <a:br>
                <a:rPr lang="en-GB" altLang="ja-JP" sz="1100" kern="0" dirty="0">
                  <a:latin typeface="+mj-lt"/>
                  <a:ea typeface="ＭＳ Ｐゴシック" charset="-128"/>
                  <a:cs typeface="Arial" pitchFamily="34" charset="0"/>
                </a:rPr>
              </a:br>
              <a:r>
                <a:rPr lang="en-GB" altLang="ja-JP" sz="1100" kern="0" dirty="0">
                  <a:latin typeface="+mj-lt"/>
                  <a:ea typeface="ＭＳ Ｐゴシック" charset="-128"/>
                  <a:cs typeface="Arial" pitchFamily="34" charset="0"/>
                </a:rPr>
                <a:t>analysis</a:t>
              </a:r>
            </a:p>
          </p:txBody>
        </p:sp>
        <p:sp>
          <p:nvSpPr>
            <p:cNvPr id="79" name="Rectangle 34"/>
            <p:cNvSpPr>
              <a:spLocks noChangeArrowheads="1"/>
            </p:cNvSpPr>
            <p:nvPr/>
          </p:nvSpPr>
          <p:spPr bwMode="auto">
            <a:xfrm>
              <a:off x="8785194"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Action </a:t>
              </a:r>
              <a:br>
                <a:rPr lang="en-GB" altLang="ja-JP" sz="1100" kern="0" dirty="0">
                  <a:latin typeface="+mj-lt"/>
                  <a:ea typeface="ＭＳ Ｐゴシック" charset="-128"/>
                  <a:cs typeface="Arial" pitchFamily="34" charset="0"/>
                </a:rPr>
              </a:br>
              <a:r>
                <a:rPr lang="en-GB" altLang="ja-JP" sz="1100" kern="0" dirty="0">
                  <a:latin typeface="+mj-lt"/>
                  <a:ea typeface="ＭＳ Ｐゴシック" charset="-128"/>
                  <a:cs typeface="Arial" pitchFamily="34" charset="0"/>
                </a:rPr>
                <a:t>plan</a:t>
              </a:r>
            </a:p>
          </p:txBody>
        </p:sp>
        <p:sp>
          <p:nvSpPr>
            <p:cNvPr id="80" name="Rectangle 40"/>
            <p:cNvSpPr>
              <a:spLocks noChangeArrowheads="1"/>
            </p:cNvSpPr>
            <p:nvPr/>
          </p:nvSpPr>
          <p:spPr bwMode="auto">
            <a:xfrm>
              <a:off x="6960745" y="2762094"/>
              <a:ext cx="1188720" cy="621971"/>
            </a:xfrm>
            <a:prstGeom prst="rect">
              <a:avLst/>
            </a:prstGeom>
            <a:solidFill>
              <a:sysClr val="window" lastClr="FFFFFF"/>
            </a:solidFill>
            <a:ln w="12700">
              <a:noFill/>
              <a:miter lim="800000"/>
              <a:headEnd type="none" w="sm" len="sm"/>
              <a:tailEnd type="none" w="sm" len="sm"/>
            </a:ln>
          </p:spPr>
          <p:txBody>
            <a:bodyPr lIns="88900" tIns="88900" rIns="88900" bIns="88900" anchor="ctr"/>
            <a:lstStyle/>
            <a:p>
              <a:pPr algn="ctr">
                <a:defRPr/>
              </a:pPr>
              <a:r>
                <a:rPr lang="en-GB" altLang="ja-JP" sz="1100" kern="0" dirty="0">
                  <a:latin typeface="+mj-lt"/>
                  <a:ea typeface="ＭＳ Ｐゴシック" charset="-128"/>
                  <a:cs typeface="Arial" pitchFamily="34" charset="0"/>
                </a:rPr>
                <a:t>Strategic </a:t>
              </a:r>
              <a:br>
                <a:rPr lang="en-GB" altLang="ja-JP" sz="1100" kern="0" dirty="0">
                  <a:latin typeface="+mj-lt"/>
                  <a:ea typeface="ＭＳ Ｐゴシック" charset="-128"/>
                  <a:cs typeface="Arial" pitchFamily="34" charset="0"/>
                </a:rPr>
              </a:br>
              <a:r>
                <a:rPr lang="en-GB" altLang="ja-JP" sz="1100" kern="0" dirty="0">
                  <a:latin typeface="+mj-lt"/>
                  <a:ea typeface="ＭＳ Ｐゴシック" charset="-128"/>
                  <a:cs typeface="Arial" pitchFamily="34" charset="0"/>
                </a:rPr>
                <a:t>options</a:t>
              </a:r>
            </a:p>
          </p:txBody>
        </p:sp>
      </p:grpSp>
      <p:sp>
        <p:nvSpPr>
          <p:cNvPr id="82" name="TextBox 81">
            <a:extLst>
              <a:ext uri="{FF2B5EF4-FFF2-40B4-BE49-F238E27FC236}">
                <a16:creationId xmlns:a16="http://schemas.microsoft.com/office/drawing/2014/main" id="{0DD3944F-B016-4575-84A6-6BE9ADDE3F6E}"/>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729719215"/>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ubtitle runs here</a:t>
            </a:r>
          </a:p>
        </p:txBody>
      </p:sp>
      <p:sp>
        <p:nvSpPr>
          <p:cNvPr id="782337" name="Title 1"/>
          <p:cNvSpPr>
            <a:spLocks noGrp="1"/>
          </p:cNvSpPr>
          <p:nvPr>
            <p:ph type="title"/>
          </p:nvPr>
        </p:nvSpPr>
        <p:spPr/>
        <p:txBody>
          <a:bodyPr/>
          <a:lstStyle/>
          <a:p>
            <a:r>
              <a:rPr lang="en-US"/>
              <a:t>Restructuring framework</a:t>
            </a:r>
            <a:endParaRPr lang="en-US" dirty="0"/>
          </a:p>
        </p:txBody>
      </p:sp>
      <p:grpSp>
        <p:nvGrpSpPr>
          <p:cNvPr id="2" name="Group 1">
            <a:extLst>
              <a:ext uri="{FF2B5EF4-FFF2-40B4-BE49-F238E27FC236}">
                <a16:creationId xmlns:a16="http://schemas.microsoft.com/office/drawing/2014/main" id="{93A85781-B9A3-4558-9345-A8D0CD95CCBD}"/>
              </a:ext>
            </a:extLst>
          </p:cNvPr>
          <p:cNvGrpSpPr/>
          <p:nvPr/>
        </p:nvGrpSpPr>
        <p:grpSpPr>
          <a:xfrm>
            <a:off x="501650" y="1620838"/>
            <a:ext cx="11188700" cy="4340225"/>
            <a:chOff x="1889760" y="1620838"/>
            <a:chExt cx="8412481" cy="4340225"/>
          </a:xfrm>
        </p:grpSpPr>
        <p:sp>
          <p:nvSpPr>
            <p:cNvPr id="43" name="Rectangle 14"/>
            <p:cNvSpPr>
              <a:spLocks noChangeArrowheads="1"/>
            </p:cNvSpPr>
            <p:nvPr/>
          </p:nvSpPr>
          <p:spPr bwMode="auto">
            <a:xfrm>
              <a:off x="7156885" y="3884906"/>
              <a:ext cx="1104341" cy="169277"/>
            </a:xfrm>
            <a:prstGeom prst="rect">
              <a:avLst/>
            </a:prstGeom>
            <a:noFill/>
            <a:ln w="6350" algn="ctr">
              <a:noFill/>
              <a:miter lim="800000"/>
              <a:headEnd type="none" w="sm" len="sm"/>
              <a:tailEnd type="none" w="sm" len="sm"/>
            </a:ln>
          </p:spPr>
          <p:txBody>
            <a:bodyPr lIns="0" tIns="0" rIns="0" bIns="0" anchor="ctr">
              <a:spAutoFit/>
            </a:bodyPr>
            <a:lstStyle/>
            <a:p>
              <a:pPr algn="ctr" eaLnBrk="1" hangingPunct="1">
                <a:spcBef>
                  <a:spcPct val="20000"/>
                </a:spcBef>
                <a:defRPr/>
              </a:pPr>
              <a:r>
                <a:rPr lang="en-GB" altLang="ja-JP" sz="1100" dirty="0">
                  <a:latin typeface="+mj-lt"/>
                  <a:ea typeface="ＭＳ Ｐゴシック" pitchFamily="50" charset="-128"/>
                  <a:cs typeface="Arial" pitchFamily="34" charset="0"/>
                </a:rPr>
                <a:t>Restructuring plan</a:t>
              </a:r>
            </a:p>
          </p:txBody>
        </p:sp>
        <p:sp>
          <p:nvSpPr>
            <p:cNvPr id="44" name="AutoShape 15"/>
            <p:cNvSpPr>
              <a:spLocks noChangeArrowheads="1"/>
            </p:cNvSpPr>
            <p:nvPr/>
          </p:nvSpPr>
          <p:spPr bwMode="auto">
            <a:xfrm>
              <a:off x="1889760" y="5412423"/>
              <a:ext cx="8412480" cy="548640"/>
            </a:xfrm>
            <a:prstGeom prst="homePlate">
              <a:avLst>
                <a:gd name="adj" fmla="val 50010"/>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altLang="ja-JP" sz="1200" dirty="0">
                  <a:solidFill>
                    <a:schemeClr val="bg1"/>
                  </a:solidFill>
                  <a:latin typeface="+mj-lt"/>
                  <a:ea typeface="ＭＳ Ｐゴシック" pitchFamily="50" charset="-128"/>
                  <a:cs typeface="Arial" pitchFamily="34" charset="0"/>
                </a:rPr>
                <a:t>Project management stakeholder communication</a:t>
              </a:r>
            </a:p>
          </p:txBody>
        </p:sp>
        <p:sp>
          <p:nvSpPr>
            <p:cNvPr id="45" name="Rectangle 16"/>
            <p:cNvSpPr>
              <a:spLocks noChangeArrowheads="1"/>
            </p:cNvSpPr>
            <p:nvPr/>
          </p:nvSpPr>
          <p:spPr bwMode="auto">
            <a:xfrm>
              <a:off x="1889760"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en-GB" sz="1100" dirty="0">
                <a:solidFill>
                  <a:schemeClr val="tx2"/>
                </a:solidFill>
                <a:latin typeface="+mj-lt"/>
                <a:ea typeface="ＭＳ Ｐゴシック" charset="-128"/>
                <a:cs typeface="Arial" pitchFamily="34" charset="0"/>
              </a:endParaRPr>
            </a:p>
          </p:txBody>
        </p:sp>
        <p:sp>
          <p:nvSpPr>
            <p:cNvPr id="46" name="AutoShape 17"/>
            <p:cNvSpPr>
              <a:spLocks noChangeArrowheads="1"/>
            </p:cNvSpPr>
            <p:nvPr/>
          </p:nvSpPr>
          <p:spPr bwMode="auto">
            <a:xfrm flipV="1">
              <a:off x="2315169" y="3492504"/>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47" name="AutoShape 18"/>
            <p:cNvSpPr>
              <a:spLocks noChangeArrowheads="1"/>
            </p:cNvSpPr>
            <p:nvPr/>
          </p:nvSpPr>
          <p:spPr bwMode="auto">
            <a:xfrm>
              <a:off x="2315169" y="4328865"/>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48" name="Rectangle 20"/>
            <p:cNvSpPr>
              <a:spLocks noChangeArrowheads="1"/>
            </p:cNvSpPr>
            <p:nvPr/>
          </p:nvSpPr>
          <p:spPr bwMode="auto">
            <a:xfrm>
              <a:off x="1958340"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Strategic</a:t>
              </a:r>
            </a:p>
            <a:p>
              <a:pPr algn="ctr"/>
              <a:r>
                <a:rPr lang="en-GB" altLang="ja-JP" sz="1100" dirty="0">
                  <a:latin typeface="+mj-lt"/>
                  <a:ea typeface="ＭＳ Ｐゴシック" charset="-128"/>
                  <a:cs typeface="Arial" pitchFamily="34" charset="0"/>
                </a:rPr>
                <a:t>review</a:t>
              </a:r>
            </a:p>
          </p:txBody>
        </p:sp>
        <p:sp>
          <p:nvSpPr>
            <p:cNvPr id="49" name="Oval 21"/>
            <p:cNvSpPr>
              <a:spLocks noChangeArrowheads="1"/>
            </p:cNvSpPr>
            <p:nvPr/>
          </p:nvSpPr>
          <p:spPr bwMode="auto">
            <a:xfrm>
              <a:off x="1976599" y="3718084"/>
              <a:ext cx="1152202" cy="502920"/>
            </a:xfrm>
            <a:prstGeom prst="ellipse">
              <a:avLst/>
            </a:prstGeom>
            <a:solidFill>
              <a:schemeClr val="tx2"/>
            </a:solidFill>
            <a:ln w="6350" algn="ctr">
              <a:noFill/>
              <a:round/>
              <a:headEnd type="none" w="sm" len="sm"/>
              <a:tailEnd type="none" w="sm" len="sm"/>
            </a:ln>
          </p:spPr>
          <p:txBody>
            <a:bodyPr wrap="none" lIns="44450" tIns="44450" rIns="44450" bIns="44450" anchor="ctr"/>
            <a:lstStyle/>
            <a:p>
              <a:pPr algn="ctr"/>
              <a:r>
                <a:rPr lang="en-GB" altLang="ja-JP" sz="1100" dirty="0">
                  <a:solidFill>
                    <a:schemeClr val="bg1"/>
                  </a:solidFill>
                  <a:latin typeface="+mj-lt"/>
                  <a:ea typeface="ＭＳ Ｐゴシック" charset="-128"/>
                  <a:cs typeface="Arial" pitchFamily="34" charset="0"/>
                </a:rPr>
                <a:t>Change </a:t>
              </a:r>
              <a:br>
                <a:rPr lang="en-GB" altLang="ja-JP" sz="1100" dirty="0">
                  <a:solidFill>
                    <a:schemeClr val="bg1"/>
                  </a:solidFill>
                  <a:latin typeface="+mj-lt"/>
                  <a:ea typeface="ＭＳ Ｐゴシック" charset="-128"/>
                  <a:cs typeface="Arial" pitchFamily="34" charset="0"/>
                </a:rPr>
              </a:br>
              <a:r>
                <a:rPr lang="en-GB" altLang="ja-JP" sz="1100" dirty="0">
                  <a:solidFill>
                    <a:schemeClr val="bg1"/>
                  </a:solidFill>
                  <a:latin typeface="+mj-lt"/>
                  <a:ea typeface="ＭＳ Ｐゴシック" charset="-128"/>
                  <a:cs typeface="Arial" pitchFamily="34" charset="0"/>
                </a:rPr>
                <a:t>imperative</a:t>
              </a:r>
            </a:p>
          </p:txBody>
        </p:sp>
        <p:sp>
          <p:nvSpPr>
            <p:cNvPr id="50" name="Rectangle 23"/>
            <p:cNvSpPr>
              <a:spLocks noChangeArrowheads="1"/>
            </p:cNvSpPr>
            <p:nvPr/>
          </p:nvSpPr>
          <p:spPr bwMode="auto">
            <a:xfrm>
              <a:off x="3645468"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en-GB" sz="1100" dirty="0">
                <a:solidFill>
                  <a:schemeClr val="tx2"/>
                </a:solidFill>
                <a:latin typeface="+mj-lt"/>
                <a:ea typeface="ＭＳ Ｐゴシック" charset="-128"/>
                <a:cs typeface="Arial" pitchFamily="34" charset="0"/>
              </a:endParaRPr>
            </a:p>
          </p:txBody>
        </p:sp>
        <p:sp>
          <p:nvSpPr>
            <p:cNvPr id="51" name="AutoShape 24"/>
            <p:cNvSpPr>
              <a:spLocks noChangeArrowheads="1"/>
            </p:cNvSpPr>
            <p:nvPr/>
          </p:nvSpPr>
          <p:spPr bwMode="auto">
            <a:xfrm flipV="1">
              <a:off x="4069992" y="3492504"/>
              <a:ext cx="476835"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52" name="AutoShape 25"/>
            <p:cNvSpPr>
              <a:spLocks noChangeArrowheads="1"/>
            </p:cNvSpPr>
            <p:nvPr/>
          </p:nvSpPr>
          <p:spPr bwMode="auto">
            <a:xfrm>
              <a:off x="4069992" y="4328865"/>
              <a:ext cx="476835"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53" name="Rectangle 27"/>
            <p:cNvSpPr>
              <a:spLocks noChangeArrowheads="1"/>
            </p:cNvSpPr>
            <p:nvPr/>
          </p:nvSpPr>
          <p:spPr bwMode="auto">
            <a:xfrm>
              <a:off x="3714048"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Benchmarking</a:t>
              </a:r>
            </a:p>
          </p:txBody>
        </p:sp>
        <p:sp>
          <p:nvSpPr>
            <p:cNvPr id="54" name="Oval 28"/>
            <p:cNvSpPr>
              <a:spLocks noChangeArrowheads="1"/>
            </p:cNvSpPr>
            <p:nvPr/>
          </p:nvSpPr>
          <p:spPr bwMode="auto">
            <a:xfrm>
              <a:off x="3731421" y="3718084"/>
              <a:ext cx="1153974" cy="502920"/>
            </a:xfrm>
            <a:prstGeom prst="ellipse">
              <a:avLst/>
            </a:prstGeom>
            <a:solidFill>
              <a:schemeClr val="tx2"/>
            </a:solidFill>
            <a:ln w="6350" algn="ctr">
              <a:noFill/>
              <a:round/>
              <a:headEnd type="none" w="sm" len="sm"/>
              <a:tailEnd type="none" w="sm" len="sm"/>
            </a:ln>
          </p:spPr>
          <p:txBody>
            <a:bodyPr wrap="none" lIns="88900" tIns="88900" rIns="88900" bIns="88900" anchor="ctr"/>
            <a:lstStyle/>
            <a:p>
              <a:pPr algn="ctr"/>
              <a:r>
                <a:rPr lang="en-GB" altLang="ja-JP" sz="1100" dirty="0">
                  <a:solidFill>
                    <a:schemeClr val="bg1"/>
                  </a:solidFill>
                  <a:latin typeface="+mj-lt"/>
                  <a:ea typeface="ＭＳ Ｐゴシック" charset="-128"/>
                  <a:cs typeface="Arial" pitchFamily="34" charset="0"/>
                </a:rPr>
                <a:t>Targets</a:t>
              </a:r>
            </a:p>
          </p:txBody>
        </p:sp>
        <p:sp>
          <p:nvSpPr>
            <p:cNvPr id="55" name="Text Box 37"/>
            <p:cNvSpPr txBox="1">
              <a:spLocks noChangeArrowheads="1"/>
            </p:cNvSpPr>
            <p:nvPr/>
          </p:nvSpPr>
          <p:spPr bwMode="auto">
            <a:xfrm>
              <a:off x="1920001" y="1620838"/>
              <a:ext cx="363987" cy="200055"/>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300" dirty="0">
                  <a:latin typeface="+mj-lt"/>
                  <a:ea typeface="ＭＳ Ｐゴシック" charset="-128"/>
                  <a:cs typeface="Arial" pitchFamily="34" charset="0"/>
                </a:rPr>
                <a:t>Phase I</a:t>
              </a:r>
            </a:p>
          </p:txBody>
        </p:sp>
        <p:sp>
          <p:nvSpPr>
            <p:cNvPr id="56" name="Text Box 38"/>
            <p:cNvSpPr txBox="1">
              <a:spLocks noChangeArrowheads="1"/>
            </p:cNvSpPr>
            <p:nvPr/>
          </p:nvSpPr>
          <p:spPr bwMode="auto">
            <a:xfrm>
              <a:off x="3584931" y="1620838"/>
              <a:ext cx="395324" cy="200055"/>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300" dirty="0">
                  <a:latin typeface="+mj-lt"/>
                  <a:ea typeface="ＭＳ Ｐゴシック" charset="-128"/>
                  <a:cs typeface="Arial" pitchFamily="34" charset="0"/>
                </a:rPr>
                <a:t>Phase II</a:t>
              </a:r>
            </a:p>
          </p:txBody>
        </p:sp>
        <p:sp>
          <p:nvSpPr>
            <p:cNvPr id="57" name="Text Box 39"/>
            <p:cNvSpPr txBox="1">
              <a:spLocks noChangeArrowheads="1"/>
            </p:cNvSpPr>
            <p:nvPr/>
          </p:nvSpPr>
          <p:spPr bwMode="auto">
            <a:xfrm>
              <a:off x="5412438" y="1620838"/>
              <a:ext cx="426660" cy="200055"/>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300" dirty="0">
                  <a:latin typeface="+mj-lt"/>
                  <a:ea typeface="ＭＳ Ｐゴシック" charset="-128"/>
                  <a:cs typeface="Arial" pitchFamily="34" charset="0"/>
                </a:rPr>
                <a:t>Phase III</a:t>
              </a:r>
            </a:p>
          </p:txBody>
        </p:sp>
        <p:sp>
          <p:nvSpPr>
            <p:cNvPr id="58" name="Text Box 40"/>
            <p:cNvSpPr txBox="1">
              <a:spLocks noChangeArrowheads="1"/>
            </p:cNvSpPr>
            <p:nvPr/>
          </p:nvSpPr>
          <p:spPr bwMode="auto">
            <a:xfrm>
              <a:off x="8231498" y="1620838"/>
              <a:ext cx="424250" cy="200055"/>
            </a:xfrm>
            <a:prstGeom prst="rect">
              <a:avLst/>
            </a:prstGeom>
            <a:noFill/>
            <a:ln w="9525">
              <a:noFill/>
              <a:miter lim="800000"/>
              <a:headEnd type="none" w="sm" len="sm"/>
              <a:tailEnd type="none" w="med" len="lg"/>
            </a:ln>
          </p:spPr>
          <p:txBody>
            <a:bodyPr wrap="none" lIns="0" tIns="0" rIns="0" bIns="0">
              <a:spAutoFit/>
            </a:bodyPr>
            <a:lstStyle/>
            <a:p>
              <a:pPr eaLnBrk="1" hangingPunct="1">
                <a:spcBef>
                  <a:spcPct val="20000"/>
                </a:spcBef>
              </a:pPr>
              <a:r>
                <a:rPr lang="en-GB" altLang="ja-JP" sz="1300" dirty="0">
                  <a:latin typeface="+mj-lt"/>
                  <a:ea typeface="ＭＳ Ｐゴシック" charset="-128"/>
                  <a:cs typeface="Arial" pitchFamily="34" charset="0"/>
                </a:rPr>
                <a:t>Phase</a:t>
              </a:r>
              <a:r>
                <a:rPr lang="en-GB" altLang="ja-JP" sz="1200" dirty="0">
                  <a:latin typeface="+mj-lt"/>
                  <a:ea typeface="ＭＳ Ｐゴシック" charset="-128"/>
                  <a:cs typeface="Arial" pitchFamily="34" charset="0"/>
                </a:rPr>
                <a:t> IV</a:t>
              </a:r>
            </a:p>
          </p:txBody>
        </p:sp>
        <p:sp>
          <p:nvSpPr>
            <p:cNvPr id="59" name="AutoShape 9"/>
            <p:cNvSpPr>
              <a:spLocks noChangeArrowheads="1"/>
            </p:cNvSpPr>
            <p:nvPr/>
          </p:nvSpPr>
          <p:spPr bwMode="auto">
            <a:xfrm>
              <a:off x="8317205"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cs typeface="Arial" pitchFamily="34" charset="0"/>
              </a:endParaRPr>
            </a:p>
          </p:txBody>
        </p:sp>
        <p:sp>
          <p:nvSpPr>
            <p:cNvPr id="60" name="AutoShape 9"/>
            <p:cNvSpPr>
              <a:spLocks noChangeArrowheads="1"/>
            </p:cNvSpPr>
            <p:nvPr/>
          </p:nvSpPr>
          <p:spPr bwMode="auto">
            <a:xfrm>
              <a:off x="6783036"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cs typeface="Arial" pitchFamily="34" charset="0"/>
              </a:endParaRPr>
            </a:p>
          </p:txBody>
        </p:sp>
        <p:sp>
          <p:nvSpPr>
            <p:cNvPr id="61" name="AutoShape 9"/>
            <p:cNvSpPr>
              <a:spLocks noChangeArrowheads="1"/>
            </p:cNvSpPr>
            <p:nvPr/>
          </p:nvSpPr>
          <p:spPr bwMode="auto">
            <a:xfrm>
              <a:off x="5027328"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cs typeface="Arial" pitchFamily="34" charset="0"/>
              </a:endParaRPr>
            </a:p>
          </p:txBody>
        </p:sp>
        <p:sp>
          <p:nvSpPr>
            <p:cNvPr id="62" name="AutoShape 9"/>
            <p:cNvSpPr>
              <a:spLocks noChangeArrowheads="1"/>
            </p:cNvSpPr>
            <p:nvPr/>
          </p:nvSpPr>
          <p:spPr bwMode="auto">
            <a:xfrm>
              <a:off x="3271620" y="3798889"/>
              <a:ext cx="317868" cy="341313"/>
            </a:xfrm>
            <a:prstGeom prst="rightArrow">
              <a:avLst>
                <a:gd name="adj1" fmla="val 50000"/>
                <a:gd name="adj2" fmla="val 49002"/>
              </a:avLst>
            </a:prstGeom>
            <a:solidFill>
              <a:schemeClr val="tx2"/>
            </a:solidFill>
            <a:ln w="6350" algn="ctr">
              <a:noFill/>
              <a:miter lim="800000"/>
              <a:headEnd type="none" w="sm" len="sm"/>
              <a:tailEnd type="none" w="sm" len="sm"/>
            </a:ln>
          </p:spPr>
          <p:txBody>
            <a:bodyPr tIns="91440" bIns="91440" anchor="ctr"/>
            <a:lstStyle/>
            <a:p>
              <a:pPr algn="ctr" eaLnBrk="1" hangingPunct="1">
                <a:spcBef>
                  <a:spcPct val="20000"/>
                </a:spcBef>
              </a:pPr>
              <a:endParaRPr lang="en-GB" sz="1100" dirty="0">
                <a:solidFill>
                  <a:schemeClr val="tx2"/>
                </a:solidFill>
                <a:latin typeface="+mj-lt"/>
                <a:cs typeface="Arial" pitchFamily="34" charset="0"/>
              </a:endParaRPr>
            </a:p>
          </p:txBody>
        </p:sp>
        <p:sp>
          <p:nvSpPr>
            <p:cNvPr id="63" name="Rectangle 7"/>
            <p:cNvSpPr>
              <a:spLocks noChangeArrowheads="1"/>
            </p:cNvSpPr>
            <p:nvPr/>
          </p:nvSpPr>
          <p:spPr bwMode="auto">
            <a:xfrm>
              <a:off x="5401176"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ja-JP" altLang="en-GB" sz="1100" dirty="0">
                <a:solidFill>
                  <a:schemeClr val="tx2"/>
                </a:solidFill>
                <a:latin typeface="+mj-lt"/>
                <a:ea typeface="ＭＳ Ｐゴシック" charset="-128"/>
                <a:cs typeface="Arial" pitchFamily="34" charset="0"/>
              </a:endParaRPr>
            </a:p>
          </p:txBody>
        </p:sp>
        <p:sp>
          <p:nvSpPr>
            <p:cNvPr id="64" name="AutoShape 9"/>
            <p:cNvSpPr>
              <a:spLocks noChangeArrowheads="1"/>
            </p:cNvSpPr>
            <p:nvPr/>
          </p:nvSpPr>
          <p:spPr bwMode="auto">
            <a:xfrm flipV="1">
              <a:off x="5826585" y="3492107"/>
              <a:ext cx="475062"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65" name="AutoShape 10"/>
            <p:cNvSpPr>
              <a:spLocks noChangeArrowheads="1"/>
            </p:cNvSpPr>
            <p:nvPr/>
          </p:nvSpPr>
          <p:spPr bwMode="auto">
            <a:xfrm>
              <a:off x="5826585" y="4327674"/>
              <a:ext cx="475062" cy="12541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66" name="Rectangle 12"/>
            <p:cNvSpPr>
              <a:spLocks noChangeArrowheads="1"/>
            </p:cNvSpPr>
            <p:nvPr/>
          </p:nvSpPr>
          <p:spPr bwMode="auto">
            <a:xfrm>
              <a:off x="5469756"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Portfolio adjustment</a:t>
              </a:r>
            </a:p>
          </p:txBody>
        </p:sp>
        <p:sp>
          <p:nvSpPr>
            <p:cNvPr id="67" name="Oval 13"/>
            <p:cNvSpPr>
              <a:spLocks noChangeArrowheads="1"/>
            </p:cNvSpPr>
            <p:nvPr/>
          </p:nvSpPr>
          <p:spPr bwMode="auto">
            <a:xfrm>
              <a:off x="5482113" y="3718084"/>
              <a:ext cx="1164009" cy="502920"/>
            </a:xfrm>
            <a:prstGeom prst="ellipse">
              <a:avLst/>
            </a:prstGeom>
            <a:solidFill>
              <a:schemeClr val="tx2"/>
            </a:solidFill>
            <a:ln w="6350" algn="ctr">
              <a:noFill/>
              <a:round/>
              <a:headEnd type="none" w="sm" len="sm"/>
              <a:tailEnd type="none" w="sm" len="sm"/>
            </a:ln>
          </p:spPr>
          <p:txBody>
            <a:bodyPr wrap="none" lIns="88900" tIns="88900" rIns="88900" bIns="88900" anchor="ctr"/>
            <a:lstStyle/>
            <a:p>
              <a:pPr algn="ctr"/>
              <a:r>
                <a:rPr lang="en-GB" altLang="ja-JP" sz="1100" dirty="0">
                  <a:solidFill>
                    <a:schemeClr val="bg1"/>
                  </a:solidFill>
                  <a:latin typeface="+mj-lt"/>
                  <a:ea typeface="ＭＳ Ｐゴシック" charset="-128"/>
                  <a:cs typeface="Arial" pitchFamily="34" charset="0"/>
                </a:rPr>
                <a:t>Opportunities</a:t>
              </a:r>
            </a:p>
          </p:txBody>
        </p:sp>
        <p:sp>
          <p:nvSpPr>
            <p:cNvPr id="68" name="Rectangle 31"/>
            <p:cNvSpPr>
              <a:spLocks noChangeArrowheads="1"/>
            </p:cNvSpPr>
            <p:nvPr/>
          </p:nvSpPr>
          <p:spPr bwMode="auto">
            <a:xfrm>
              <a:off x="8691055" y="2643664"/>
              <a:ext cx="1325880" cy="2651760"/>
            </a:xfrm>
            <a:prstGeom prst="rect">
              <a:avLst/>
            </a:prstGeom>
            <a:solidFill>
              <a:schemeClr val="tx1"/>
            </a:solidFill>
            <a:ln w="6350" algn="ctr">
              <a:noFill/>
              <a:miter lim="800000"/>
              <a:headEnd type="none" w="sm" len="sm"/>
              <a:tailEnd type="none" w="sm" len="sm"/>
            </a:ln>
          </p:spPr>
          <p:txBody>
            <a:bodyPr wrap="square" lIns="88900" tIns="88900" rIns="88900" bIns="88900" anchor="t"/>
            <a:lstStyle/>
            <a:p>
              <a:pPr algn="ctr"/>
              <a:endParaRPr lang="en-GB" altLang="ja-JP" sz="1100" dirty="0">
                <a:solidFill>
                  <a:schemeClr val="tx2"/>
                </a:solidFill>
                <a:latin typeface="+mj-lt"/>
                <a:ea typeface="ＭＳ Ｐゴシック" charset="-128"/>
                <a:cs typeface="Arial" pitchFamily="34" charset="0"/>
              </a:endParaRPr>
            </a:p>
          </p:txBody>
        </p:sp>
        <p:sp>
          <p:nvSpPr>
            <p:cNvPr id="69" name="AutoShape 32"/>
            <p:cNvSpPr>
              <a:spLocks noChangeArrowheads="1"/>
            </p:cNvSpPr>
            <p:nvPr/>
          </p:nvSpPr>
          <p:spPr bwMode="auto">
            <a:xfrm>
              <a:off x="9115578" y="3492107"/>
              <a:ext cx="476834" cy="123825"/>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70" name="AutoShape 33"/>
            <p:cNvSpPr>
              <a:spLocks noChangeArrowheads="1"/>
            </p:cNvSpPr>
            <p:nvPr/>
          </p:nvSpPr>
          <p:spPr bwMode="auto">
            <a:xfrm flipV="1">
              <a:off x="9115578" y="4327674"/>
              <a:ext cx="476834" cy="125413"/>
            </a:xfrm>
            <a:prstGeom prst="triangle">
              <a:avLst>
                <a:gd name="adj" fmla="val 50000"/>
              </a:avLst>
            </a:prstGeom>
            <a:solidFill>
              <a:schemeClr val="tx2"/>
            </a:solidFill>
            <a:ln w="6350" algn="ctr">
              <a:noFill/>
              <a:miter lim="800000"/>
              <a:headEnd type="none" w="sm" len="sm"/>
              <a:tailEnd type="none" w="sm" len="sm"/>
            </a:ln>
          </p:spPr>
          <p:txBody>
            <a:bodyPr rot="10800000" lIns="44450" tIns="44450" rIns="44450" bIns="44450" anchor="ctr"/>
            <a:lstStyle/>
            <a:p>
              <a:pPr>
                <a:spcBef>
                  <a:spcPct val="20000"/>
                </a:spcBef>
              </a:pPr>
              <a:endParaRPr lang="en-GB" sz="1100" dirty="0">
                <a:solidFill>
                  <a:srgbClr val="002776"/>
                </a:solidFill>
                <a:latin typeface="+mj-lt"/>
                <a:cs typeface="Arial" pitchFamily="34" charset="0"/>
              </a:endParaRPr>
            </a:p>
          </p:txBody>
        </p:sp>
        <p:sp>
          <p:nvSpPr>
            <p:cNvPr id="71" name="Rectangle 35"/>
            <p:cNvSpPr>
              <a:spLocks noChangeArrowheads="1"/>
            </p:cNvSpPr>
            <p:nvPr/>
          </p:nvSpPr>
          <p:spPr bwMode="auto">
            <a:xfrm>
              <a:off x="8759635" y="4570831"/>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Performance management</a:t>
              </a:r>
            </a:p>
          </p:txBody>
        </p:sp>
        <p:sp>
          <p:nvSpPr>
            <p:cNvPr id="72" name="Oval 36"/>
            <p:cNvSpPr>
              <a:spLocks noChangeArrowheads="1"/>
            </p:cNvSpPr>
            <p:nvPr/>
          </p:nvSpPr>
          <p:spPr bwMode="auto">
            <a:xfrm>
              <a:off x="8776123" y="3718084"/>
              <a:ext cx="1155747" cy="502920"/>
            </a:xfrm>
            <a:prstGeom prst="ellipse">
              <a:avLst/>
            </a:prstGeom>
            <a:solidFill>
              <a:schemeClr val="accent1"/>
            </a:solidFill>
            <a:ln w="6350" algn="ctr">
              <a:noFill/>
              <a:round/>
              <a:headEnd type="none" w="sm" len="sm"/>
              <a:tailEnd type="none" w="sm" len="sm"/>
            </a:ln>
          </p:spPr>
          <p:txBody>
            <a:bodyPr wrap="none" lIns="88900" tIns="88900" rIns="88900" bIns="88900" anchor="ctr"/>
            <a:lstStyle/>
            <a:p>
              <a:pPr algn="ctr"/>
              <a:r>
                <a:rPr lang="en-GB" altLang="ja-JP" sz="1100" dirty="0">
                  <a:solidFill>
                    <a:schemeClr val="bg1"/>
                  </a:solidFill>
                  <a:latin typeface="+mj-lt"/>
                  <a:ea typeface="ＭＳ Ｐゴシック" charset="-128"/>
                  <a:cs typeface="Arial" pitchFamily="34" charset="0"/>
                </a:rPr>
                <a:t>Actions</a:t>
              </a:r>
            </a:p>
          </p:txBody>
        </p:sp>
        <p:sp>
          <p:nvSpPr>
            <p:cNvPr id="73" name="AutoShape 10"/>
            <p:cNvSpPr>
              <a:spLocks noChangeArrowheads="1"/>
            </p:cNvSpPr>
            <p:nvPr/>
          </p:nvSpPr>
          <p:spPr bwMode="auto">
            <a:xfrm>
              <a:off x="3584930" y="1978025"/>
              <a:ext cx="1932694" cy="548640"/>
            </a:xfrm>
            <a:prstGeom prst="chevron">
              <a:avLst>
                <a:gd name="adj" fmla="val 32490"/>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solidFill>
                    <a:schemeClr val="bg1"/>
                  </a:solidFill>
                  <a:latin typeface="+mj-lt"/>
                  <a:cs typeface="Arial" pitchFamily="34" charset="0"/>
                </a:rPr>
                <a:t>Conduct analysis</a:t>
              </a:r>
              <a:endParaRPr lang="en-GB" altLang="ja-JP" sz="1200" dirty="0">
                <a:solidFill>
                  <a:schemeClr val="bg1"/>
                </a:solidFill>
                <a:latin typeface="+mj-lt"/>
                <a:ea typeface="ＭＳ Ｐゴシック" pitchFamily="50" charset="-128"/>
                <a:cs typeface="Arial" pitchFamily="34" charset="0"/>
              </a:endParaRPr>
            </a:p>
          </p:txBody>
        </p:sp>
        <p:sp>
          <p:nvSpPr>
            <p:cNvPr id="74" name="AutoShape 11"/>
            <p:cNvSpPr>
              <a:spLocks noChangeArrowheads="1"/>
            </p:cNvSpPr>
            <p:nvPr/>
          </p:nvSpPr>
          <p:spPr bwMode="auto">
            <a:xfrm>
              <a:off x="1889760" y="1978025"/>
              <a:ext cx="1794644" cy="548640"/>
            </a:xfrm>
            <a:prstGeom prst="homePlate">
              <a:avLst>
                <a:gd name="adj" fmla="val 31290"/>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solidFill>
                    <a:schemeClr val="bg1"/>
                  </a:solidFill>
                  <a:latin typeface="+mj-lt"/>
                  <a:cs typeface="Arial" pitchFamily="34" charset="0"/>
                </a:rPr>
                <a:t>Evaluate situation</a:t>
              </a:r>
              <a:endParaRPr lang="en-GB" altLang="ja-JP" sz="1200" dirty="0">
                <a:solidFill>
                  <a:schemeClr val="bg1"/>
                </a:solidFill>
                <a:latin typeface="+mj-lt"/>
                <a:ea typeface="ＭＳ Ｐゴシック" pitchFamily="50" charset="-128"/>
                <a:cs typeface="Arial" pitchFamily="34" charset="0"/>
              </a:endParaRPr>
            </a:p>
          </p:txBody>
        </p:sp>
        <p:sp>
          <p:nvSpPr>
            <p:cNvPr id="75" name="AutoShape 28"/>
            <p:cNvSpPr>
              <a:spLocks noChangeArrowheads="1"/>
            </p:cNvSpPr>
            <p:nvPr/>
          </p:nvSpPr>
          <p:spPr bwMode="auto">
            <a:xfrm>
              <a:off x="5412438" y="1978025"/>
              <a:ext cx="2929961" cy="548640"/>
            </a:xfrm>
            <a:prstGeom prst="chevron">
              <a:avLst>
                <a:gd name="adj" fmla="val 32358"/>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solidFill>
                    <a:schemeClr val="bg1"/>
                  </a:solidFill>
                  <a:latin typeface="+mj-lt"/>
                  <a:cs typeface="Arial" pitchFamily="34" charset="0"/>
                </a:rPr>
                <a:t>Formulate strategy</a:t>
              </a:r>
              <a:endParaRPr lang="en-GB" altLang="ja-JP" sz="1200" dirty="0">
                <a:solidFill>
                  <a:schemeClr val="bg1"/>
                </a:solidFill>
                <a:latin typeface="+mj-lt"/>
                <a:ea typeface="ＭＳ Ｐゴシック" pitchFamily="50" charset="-128"/>
                <a:cs typeface="Arial" pitchFamily="34" charset="0"/>
              </a:endParaRPr>
            </a:p>
          </p:txBody>
        </p:sp>
        <p:sp>
          <p:nvSpPr>
            <p:cNvPr id="76" name="AutoShape 29"/>
            <p:cNvSpPr>
              <a:spLocks noChangeArrowheads="1"/>
            </p:cNvSpPr>
            <p:nvPr/>
          </p:nvSpPr>
          <p:spPr bwMode="auto">
            <a:xfrm>
              <a:off x="8231498" y="1978025"/>
              <a:ext cx="2070743" cy="548640"/>
            </a:xfrm>
            <a:prstGeom prst="chevron">
              <a:avLst>
                <a:gd name="adj" fmla="val 30967"/>
              </a:avLst>
            </a:prstGeom>
            <a:solidFill>
              <a:schemeClr val="tx2">
                <a:lumMod val="50000"/>
              </a:schemeClr>
            </a:solidFill>
            <a:ln w="6350" algn="ctr">
              <a:noFill/>
              <a:miter lim="800000"/>
              <a:headEnd type="none" w="sm" len="sm"/>
              <a:tailEnd type="none" w="sm" len="sm"/>
            </a:ln>
          </p:spPr>
          <p:txBody>
            <a:bodyPr lIns="88900" tIns="88900" rIns="88900" bIns="88900" anchor="ctr"/>
            <a:lstStyle/>
            <a:p>
              <a:pPr>
                <a:buClr>
                  <a:schemeClr val="bg1"/>
                </a:buClr>
                <a:defRPr/>
              </a:pPr>
              <a:r>
                <a:rPr lang="en-GB" sz="1200" dirty="0">
                  <a:solidFill>
                    <a:schemeClr val="bg1"/>
                  </a:solidFill>
                  <a:latin typeface="+mj-lt"/>
                  <a:ea typeface="ＭＳ Ｐゴシック" pitchFamily="50" charset="-128"/>
                  <a:cs typeface="Arial" pitchFamily="34" charset="0"/>
                </a:rPr>
                <a:t>Plan implementation</a:t>
              </a:r>
              <a:endParaRPr lang="en-GB" altLang="ja-JP" sz="1200" dirty="0">
                <a:solidFill>
                  <a:schemeClr val="bg1"/>
                </a:solidFill>
                <a:latin typeface="+mj-lt"/>
                <a:ea typeface="ＭＳ Ｐゴシック" pitchFamily="50" charset="-128"/>
                <a:cs typeface="Arial" pitchFamily="34" charset="0"/>
              </a:endParaRPr>
            </a:p>
          </p:txBody>
        </p:sp>
        <p:sp>
          <p:nvSpPr>
            <p:cNvPr id="78" name="Rectangle 35"/>
            <p:cNvSpPr>
              <a:spLocks noChangeArrowheads="1"/>
            </p:cNvSpPr>
            <p:nvPr/>
          </p:nvSpPr>
          <p:spPr bwMode="auto">
            <a:xfrm>
              <a:off x="8759635"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Detailed </a:t>
              </a:r>
              <a:br>
                <a:rPr lang="en-GB" altLang="ja-JP" sz="1100" dirty="0">
                  <a:latin typeface="+mj-lt"/>
                  <a:ea typeface="ＭＳ Ｐゴシック" charset="-128"/>
                  <a:cs typeface="Arial" pitchFamily="34" charset="0"/>
                </a:rPr>
              </a:br>
              <a:r>
                <a:rPr lang="en-GB" altLang="ja-JP" sz="1100" dirty="0">
                  <a:latin typeface="+mj-lt"/>
                  <a:ea typeface="ＭＳ Ｐゴシック" charset="-128"/>
                  <a:cs typeface="Arial" pitchFamily="34" charset="0"/>
                </a:rPr>
                <a:t>planning</a:t>
              </a:r>
            </a:p>
          </p:txBody>
        </p:sp>
        <p:sp>
          <p:nvSpPr>
            <p:cNvPr id="79" name="Rectangle 20"/>
            <p:cNvSpPr>
              <a:spLocks noChangeArrowheads="1"/>
            </p:cNvSpPr>
            <p:nvPr/>
          </p:nvSpPr>
          <p:spPr bwMode="auto">
            <a:xfrm>
              <a:off x="1958340"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Financial</a:t>
              </a:r>
            </a:p>
            <a:p>
              <a:pPr algn="ctr"/>
              <a:r>
                <a:rPr lang="en-GB" altLang="ja-JP" sz="1100" dirty="0">
                  <a:latin typeface="+mj-lt"/>
                  <a:ea typeface="ＭＳ Ｐゴシック" charset="-128"/>
                  <a:cs typeface="Arial" pitchFamily="34" charset="0"/>
                </a:rPr>
                <a:t>review</a:t>
              </a:r>
            </a:p>
          </p:txBody>
        </p:sp>
        <p:sp>
          <p:nvSpPr>
            <p:cNvPr id="80" name="Rectangle 27"/>
            <p:cNvSpPr>
              <a:spLocks noChangeArrowheads="1"/>
            </p:cNvSpPr>
            <p:nvPr/>
          </p:nvSpPr>
          <p:spPr bwMode="auto">
            <a:xfrm>
              <a:off x="3714048"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Financial needs</a:t>
              </a:r>
            </a:p>
          </p:txBody>
        </p:sp>
        <p:sp>
          <p:nvSpPr>
            <p:cNvPr id="81" name="Rectangle 12"/>
            <p:cNvSpPr>
              <a:spLocks noChangeArrowheads="1"/>
            </p:cNvSpPr>
            <p:nvPr/>
          </p:nvSpPr>
          <p:spPr bwMode="auto">
            <a:xfrm>
              <a:off x="5469756" y="2752568"/>
              <a:ext cx="1188720" cy="621792"/>
            </a:xfrm>
            <a:prstGeom prst="rect">
              <a:avLst/>
            </a:prstGeom>
            <a:solidFill>
              <a:schemeClr val="bg1"/>
            </a:solidFill>
            <a:ln w="12700">
              <a:noFill/>
              <a:miter lim="800000"/>
              <a:headEnd type="none" w="sm" len="sm"/>
              <a:tailEnd type="none" w="sm" len="sm"/>
            </a:ln>
          </p:spPr>
          <p:txBody>
            <a:bodyPr lIns="88900" tIns="88900" rIns="88900" bIns="88900" anchor="ctr"/>
            <a:lstStyle/>
            <a:p>
              <a:pPr algn="ctr"/>
              <a:r>
                <a:rPr lang="en-GB" altLang="ja-JP" sz="1100" dirty="0">
                  <a:latin typeface="+mj-lt"/>
                  <a:ea typeface="ＭＳ Ｐゴシック" charset="-128"/>
                  <a:cs typeface="Arial" pitchFamily="34" charset="0"/>
                </a:rPr>
                <a:t>Cost and asset reduction</a:t>
              </a:r>
              <a:endParaRPr lang="ja-JP" altLang="en-GB" sz="1100" dirty="0">
                <a:latin typeface="+mj-lt"/>
                <a:ea typeface="ＭＳ Ｐゴシック" charset="-128"/>
                <a:cs typeface="Arial" pitchFamily="34" charset="0"/>
              </a:endParaRPr>
            </a:p>
          </p:txBody>
        </p:sp>
      </p:grpSp>
    </p:spTree>
    <p:extLst>
      <p:ext uri="{BB962C8B-B14F-4D97-AF65-F5344CB8AC3E}">
        <p14:creationId xmlns:p14="http://schemas.microsoft.com/office/powerpoint/2010/main" val="349680662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dirty="0"/>
              <a:t>Table with full column of bullets and dashes</a:t>
            </a:r>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1607565600"/>
              </p:ext>
            </p:extLst>
          </p:nvPr>
        </p:nvGraphicFramePr>
        <p:xfrm>
          <a:off x="501650" y="2052638"/>
          <a:ext cx="11188700" cy="3803700"/>
        </p:xfrm>
        <a:graphic>
          <a:graphicData uri="http://schemas.openxmlformats.org/drawingml/2006/table">
            <a:tbl>
              <a:tblPr firstRow="1" bandRow="1">
                <a:tableStyleId>{5C22544A-7EE6-4342-B048-85BDC9FD1C3A}</a:tableStyleId>
              </a:tblPr>
              <a:tblGrid>
                <a:gridCol w="2797175">
                  <a:extLst>
                    <a:ext uri="{9D8B030D-6E8A-4147-A177-3AD203B41FA5}">
                      <a16:colId xmlns:a16="http://schemas.microsoft.com/office/drawing/2014/main" val="20000"/>
                    </a:ext>
                  </a:extLst>
                </a:gridCol>
                <a:gridCol w="2797175">
                  <a:extLst>
                    <a:ext uri="{9D8B030D-6E8A-4147-A177-3AD203B41FA5}">
                      <a16:colId xmlns:a16="http://schemas.microsoft.com/office/drawing/2014/main" val="20001"/>
                    </a:ext>
                  </a:extLst>
                </a:gridCol>
                <a:gridCol w="2797175">
                  <a:extLst>
                    <a:ext uri="{9D8B030D-6E8A-4147-A177-3AD203B41FA5}">
                      <a16:colId xmlns:a16="http://schemas.microsoft.com/office/drawing/2014/main" val="20003"/>
                    </a:ext>
                  </a:extLst>
                </a:gridCol>
                <a:gridCol w="2797175">
                  <a:extLst>
                    <a:ext uri="{9D8B030D-6E8A-4147-A177-3AD203B41FA5}">
                      <a16:colId xmlns:a16="http://schemas.microsoft.com/office/drawing/2014/main" val="20002"/>
                    </a:ext>
                  </a:extLst>
                </a:gridCol>
              </a:tblGrid>
              <a:tr h="466140">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300" b="1" dirty="0">
                          <a:solidFill>
                            <a:schemeClr val="accent1"/>
                          </a:solidFill>
                          <a:latin typeface="+mj-lt"/>
                        </a:rPr>
                        <a:t>Column heading</a:t>
                      </a:r>
                    </a:p>
                  </a:txBody>
                  <a:tcPr marL="91980" marR="9198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ext level</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j-ea"/>
                          <a:cs typeface="+mj-cs"/>
                        </a:rPr>
                        <a:t>Level 1 bullet</a:t>
                      </a:r>
                    </a:p>
                    <a:p>
                      <a:pPr marL="254000" marR="0" lvl="2"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GB" sz="1300" b="0" i="0" u="none" strike="noStrike" kern="1200" cap="none" spc="0" normalizeH="0" baseline="0" noProof="0" dirty="0">
                          <a:ln>
                            <a:noFill/>
                          </a:ln>
                          <a:solidFill>
                            <a:schemeClr val="tx1"/>
                          </a:solidFill>
                          <a:effectLst/>
                          <a:uLnTx/>
                          <a:uFillTx/>
                          <a:latin typeface="+mn-lt"/>
                        </a:rPr>
                        <a:t>Level 2 bullet</a:t>
                      </a:r>
                    </a:p>
                    <a:p>
                      <a:pPr marL="450850" marR="0" lvl="3" indent="-171450" algn="l" defTabSz="957263" rtl="0" eaLnBrk="1" fontAlgn="base" latinLnBrk="0" hangingPunct="1">
                        <a:lnSpc>
                          <a:spcPct val="100000"/>
                        </a:lnSpc>
                        <a:spcBef>
                          <a:spcPts val="600"/>
                        </a:spcBef>
                        <a:spcAft>
                          <a:spcPts val="0"/>
                        </a:spcAft>
                        <a:buClrTx/>
                        <a:buSzPct val="100000"/>
                        <a:buFont typeface="Verdana" panose="020B0604030504040204" pitchFamily="34" charset="0"/>
                        <a:buChar char="–"/>
                        <a:tabLst/>
                        <a:defRPr/>
                      </a:pPr>
                      <a:r>
                        <a:rPr kumimoji="0" lang="en-GB" sz="1300" b="0" i="0" u="none" strike="noStrike" kern="1200" cap="none" spc="0" normalizeH="0" baseline="0" noProof="0" dirty="0">
                          <a:ln>
                            <a:noFill/>
                          </a:ln>
                          <a:solidFill>
                            <a:schemeClr val="tx1"/>
                          </a:solidFill>
                          <a:effectLst/>
                          <a:uLnTx/>
                          <a:uFillTx/>
                          <a:latin typeface="+mn-lt"/>
                        </a:rPr>
                        <a:t>Level 3 bullet</a:t>
                      </a:r>
                      <a:endParaRPr lang="en-GB" sz="1300" dirty="0">
                        <a:solidFill>
                          <a:schemeClr val="tx1"/>
                        </a:solidFill>
                      </a:endParaRPr>
                    </a:p>
                  </a:txBody>
                  <a:tcPr marL="91980" marR="91980"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2" name="Text Placeholder 11"/>
          <p:cNvSpPr>
            <a:spLocks noGrp="1"/>
          </p:cNvSpPr>
          <p:nvPr>
            <p:ph type="body" sz="quarter" idx="18"/>
          </p:nvPr>
        </p:nvSpPr>
        <p:spPr/>
        <p:txBody>
          <a:bodyPr/>
          <a:lstStyle/>
          <a:p>
            <a:r>
              <a:rPr lang="en-US" dirty="0"/>
              <a:t>Table title runs here</a:t>
            </a:r>
          </a:p>
        </p:txBody>
      </p:sp>
      <p:sp>
        <p:nvSpPr>
          <p:cNvPr id="5" name="Text Placeholder 4"/>
          <p:cNvSpPr>
            <a:spLocks noGrp="1"/>
          </p:cNvSpPr>
          <p:nvPr>
            <p:ph type="body" sz="quarter" idx="23"/>
          </p:nvPr>
        </p:nvSpPr>
        <p:spPr/>
        <p:txBody>
          <a:bodyPr>
            <a:normAutofit lnSpcReduction="10000"/>
          </a:bodyPr>
          <a:lstStyle/>
          <a:p>
            <a:r>
              <a:rPr lang="en-GB"/>
              <a:t>Source:</a:t>
            </a:r>
          </a:p>
          <a:p>
            <a:r>
              <a:rPr lang="en-GB"/>
              <a:t>Note:</a:t>
            </a:r>
            <a:endParaRPr lang="en-GB"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3899595252"/>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763905" name="Title 1"/>
          <p:cNvSpPr>
            <a:spLocks noGrp="1"/>
          </p:cNvSpPr>
          <p:nvPr>
            <p:ph type="title"/>
          </p:nvPr>
        </p:nvSpPr>
        <p:spPr/>
        <p:txBody>
          <a:bodyPr/>
          <a:lstStyle/>
          <a:p>
            <a:r>
              <a:rPr lang="en-US"/>
              <a:t>Competitive strategy 3.0 </a:t>
            </a:r>
            <a:r>
              <a:rPr lang="en-US" altLang="ja-JP"/>
              <a:t>framework </a:t>
            </a:r>
            <a:endParaRPr lang="en-US" dirty="0"/>
          </a:p>
        </p:txBody>
      </p:sp>
      <p:grpSp>
        <p:nvGrpSpPr>
          <p:cNvPr id="2" name="Group 1">
            <a:extLst>
              <a:ext uri="{FF2B5EF4-FFF2-40B4-BE49-F238E27FC236}">
                <a16:creationId xmlns:a16="http://schemas.microsoft.com/office/drawing/2014/main" id="{FCA860F8-7437-4B9F-87E7-CEC05CFE36C7}"/>
              </a:ext>
            </a:extLst>
          </p:cNvPr>
          <p:cNvGrpSpPr/>
          <p:nvPr/>
        </p:nvGrpSpPr>
        <p:grpSpPr>
          <a:xfrm>
            <a:off x="501650" y="1394809"/>
            <a:ext cx="11188700" cy="4722812"/>
            <a:chOff x="1893570" y="1394809"/>
            <a:chExt cx="8412480" cy="4722812"/>
          </a:xfrm>
        </p:grpSpPr>
        <p:sp>
          <p:nvSpPr>
            <p:cNvPr id="763907" name="Text Box 3"/>
            <p:cNvSpPr txBox="1">
              <a:spLocks noChangeArrowheads="1"/>
            </p:cNvSpPr>
            <p:nvPr/>
          </p:nvSpPr>
          <p:spPr bwMode="auto">
            <a:xfrm>
              <a:off x="1908803" y="5706141"/>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Project</a:t>
              </a:r>
              <a:br>
                <a:rPr lang="en-US" altLang="ja-JP" sz="1100" dirty="0">
                  <a:ea typeface="ＭＳ Ｐゴシック" charset="-128"/>
                </a:rPr>
              </a:br>
              <a:r>
                <a:rPr lang="en-US" altLang="ja-JP" sz="1100" dirty="0">
                  <a:ea typeface="ＭＳ Ｐゴシック" charset="-128"/>
                </a:rPr>
                <a:t>management</a:t>
              </a:r>
            </a:p>
          </p:txBody>
        </p:sp>
        <p:sp>
          <p:nvSpPr>
            <p:cNvPr id="5" name="AutoShape 4"/>
            <p:cNvSpPr>
              <a:spLocks noChangeArrowheads="1"/>
            </p:cNvSpPr>
            <p:nvPr/>
          </p:nvSpPr>
          <p:spPr bwMode="auto">
            <a:xfrm>
              <a:off x="66031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solidFill>
                    <a:schemeClr val="bg1"/>
                  </a:solidFill>
                  <a:cs typeface="Arial" pitchFamily="34" charset="0"/>
                </a:rPr>
                <a:t>3. Formulate</a:t>
              </a:r>
              <a:br>
                <a:rPr lang="en-US" sz="1200" dirty="0">
                  <a:solidFill>
                    <a:schemeClr val="bg1"/>
                  </a:solidFill>
                  <a:cs typeface="Arial" pitchFamily="34" charset="0"/>
                </a:rPr>
              </a:br>
              <a:r>
                <a:rPr lang="en-US" sz="1200" dirty="0">
                  <a:solidFill>
                    <a:schemeClr val="bg1"/>
                  </a:solidFill>
                  <a:cs typeface="Arial" pitchFamily="34" charset="0"/>
                </a:rPr>
                <a:t>strategy</a:t>
              </a:r>
            </a:p>
          </p:txBody>
        </p:sp>
        <p:sp>
          <p:nvSpPr>
            <p:cNvPr id="6" name="AutoShape 5"/>
            <p:cNvSpPr>
              <a:spLocks noChangeArrowheads="1"/>
            </p:cNvSpPr>
            <p:nvPr/>
          </p:nvSpPr>
          <p:spPr bwMode="auto">
            <a:xfrm>
              <a:off x="83858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solidFill>
                    <a:schemeClr val="bg1"/>
                  </a:solidFill>
                  <a:cs typeface="Arial" pitchFamily="34" charset="0"/>
                </a:rPr>
                <a:t>4. Plan</a:t>
              </a:r>
              <a:br>
                <a:rPr lang="en-US" sz="1200" dirty="0">
                  <a:solidFill>
                    <a:schemeClr val="bg1"/>
                  </a:solidFill>
                  <a:cs typeface="Arial" pitchFamily="34" charset="0"/>
                </a:rPr>
              </a:br>
              <a:r>
                <a:rPr lang="en-US" sz="1200" dirty="0">
                  <a:solidFill>
                    <a:schemeClr val="bg1"/>
                  </a:solidFill>
                  <a:cs typeface="Arial" pitchFamily="34" charset="0"/>
                </a:rPr>
                <a:t>transformation</a:t>
              </a:r>
            </a:p>
          </p:txBody>
        </p:sp>
        <p:sp>
          <p:nvSpPr>
            <p:cNvPr id="7" name="AutoShape 6"/>
            <p:cNvSpPr>
              <a:spLocks noChangeArrowheads="1"/>
            </p:cNvSpPr>
            <p:nvPr/>
          </p:nvSpPr>
          <p:spPr bwMode="auto">
            <a:xfrm>
              <a:off x="3037710" y="1394809"/>
              <a:ext cx="1920240" cy="548640"/>
            </a:xfrm>
            <a:prstGeom prst="homePlate">
              <a:avLst>
                <a:gd name="adj" fmla="val 38784"/>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solidFill>
                    <a:schemeClr val="bg1"/>
                  </a:solidFill>
                  <a:cs typeface="Arial" pitchFamily="34" charset="0"/>
                </a:rPr>
                <a:t>1. Evaluate</a:t>
              </a:r>
              <a:br>
                <a:rPr lang="en-US" sz="1200" dirty="0">
                  <a:solidFill>
                    <a:schemeClr val="bg1"/>
                  </a:solidFill>
                  <a:cs typeface="Arial" pitchFamily="34" charset="0"/>
                </a:rPr>
              </a:br>
              <a:r>
                <a:rPr lang="en-US" sz="1200" dirty="0">
                  <a:solidFill>
                    <a:schemeClr val="bg1"/>
                  </a:solidFill>
                  <a:cs typeface="Arial" pitchFamily="34" charset="0"/>
                </a:rPr>
                <a:t>situation</a:t>
              </a:r>
            </a:p>
          </p:txBody>
        </p:sp>
        <p:sp>
          <p:nvSpPr>
            <p:cNvPr id="8" name="AutoShape 7"/>
            <p:cNvSpPr>
              <a:spLocks noChangeArrowheads="1"/>
            </p:cNvSpPr>
            <p:nvPr/>
          </p:nvSpPr>
          <p:spPr bwMode="auto">
            <a:xfrm>
              <a:off x="48204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200" dirty="0">
                  <a:solidFill>
                    <a:schemeClr val="bg1"/>
                  </a:solidFill>
                  <a:cs typeface="Arial" pitchFamily="34" charset="0"/>
                </a:rPr>
                <a:t>2.	Conduct </a:t>
              </a:r>
              <a:br>
                <a:rPr lang="en-US" sz="1200" dirty="0">
                  <a:solidFill>
                    <a:schemeClr val="bg1"/>
                  </a:solidFill>
                  <a:cs typeface="Arial" pitchFamily="34" charset="0"/>
                </a:rPr>
              </a:br>
              <a:r>
                <a:rPr lang="en-US" sz="1200" dirty="0">
                  <a:solidFill>
                    <a:schemeClr val="bg1"/>
                  </a:solidFill>
                  <a:cs typeface="Arial" pitchFamily="34" charset="0"/>
                </a:rPr>
                <a:t>analysis</a:t>
              </a:r>
            </a:p>
          </p:txBody>
        </p:sp>
        <p:sp>
          <p:nvSpPr>
            <p:cNvPr id="9" name="Rectangle 8"/>
            <p:cNvSpPr>
              <a:spLocks noChangeArrowheads="1"/>
            </p:cNvSpPr>
            <p:nvPr/>
          </p:nvSpPr>
          <p:spPr bwMode="auto">
            <a:xfrm>
              <a:off x="3037710" y="2011549"/>
              <a:ext cx="1737360" cy="411480"/>
            </a:xfrm>
            <a:prstGeom prst="rect">
              <a:avLst/>
            </a:prstGeom>
            <a:solidFill>
              <a:schemeClr val="accent6"/>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Document strategic </a:t>
              </a:r>
              <a:br>
                <a:rPr lang="en-US" altLang="ja-JP" sz="1000" dirty="0">
                  <a:solidFill>
                    <a:schemeClr val="bg1"/>
                  </a:solidFill>
                  <a:ea typeface="ＭＳ Ｐゴシック" pitchFamily="50" charset="-128"/>
                </a:rPr>
              </a:br>
              <a:r>
                <a:rPr lang="en-US" altLang="ja-JP" sz="1000" dirty="0">
                  <a:solidFill>
                    <a:schemeClr val="bg1"/>
                  </a:solidFill>
                  <a:ea typeface="ＭＳ Ｐゴシック" pitchFamily="50" charset="-128"/>
                </a:rPr>
                <a:t>direction and objectives</a:t>
              </a:r>
            </a:p>
          </p:txBody>
        </p:sp>
        <p:sp>
          <p:nvSpPr>
            <p:cNvPr id="10" name="Rectangle 9"/>
            <p:cNvSpPr>
              <a:spLocks noChangeArrowheads="1"/>
            </p:cNvSpPr>
            <p:nvPr/>
          </p:nvSpPr>
          <p:spPr bwMode="auto">
            <a:xfrm>
              <a:off x="3037710" y="2486979"/>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Conduct preliminary</a:t>
              </a:r>
              <a:br>
                <a:rPr lang="en-US" altLang="ja-JP" sz="1000" dirty="0">
                  <a:ea typeface="ＭＳ Ｐゴシック" pitchFamily="50" charset="-128"/>
                </a:rPr>
              </a:br>
              <a:r>
                <a:rPr lang="en-US" altLang="ja-JP" sz="1000" dirty="0">
                  <a:ea typeface="ＭＳ Ｐゴシック" pitchFamily="50" charset="-128"/>
                </a:rPr>
                <a:t>situation assessment</a:t>
              </a:r>
            </a:p>
          </p:txBody>
        </p:sp>
        <p:sp>
          <p:nvSpPr>
            <p:cNvPr id="11" name="Rectangle 10"/>
            <p:cNvSpPr>
              <a:spLocks noChangeArrowheads="1"/>
            </p:cNvSpPr>
            <p:nvPr/>
          </p:nvSpPr>
          <p:spPr bwMode="auto">
            <a:xfrm>
              <a:off x="3037710" y="4768204"/>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Develop and test</a:t>
              </a:r>
              <a:br>
                <a:rPr lang="en-US" altLang="ja-JP" sz="1000" dirty="0">
                  <a:ea typeface="ＭＳ Ｐゴシック" pitchFamily="50" charset="-128"/>
                </a:rPr>
              </a:br>
              <a:r>
                <a:rPr lang="en-US" altLang="ja-JP" sz="1000" dirty="0">
                  <a:ea typeface="ＭＳ Ｐゴシック" pitchFamily="50" charset="-128"/>
                </a:rPr>
                <a:t>strategic hypotheses</a:t>
              </a:r>
            </a:p>
          </p:txBody>
        </p:sp>
        <p:sp>
          <p:nvSpPr>
            <p:cNvPr id="12" name="Rectangle 11"/>
            <p:cNvSpPr>
              <a:spLocks noChangeArrowheads="1"/>
            </p:cNvSpPr>
            <p:nvPr/>
          </p:nvSpPr>
          <p:spPr bwMode="auto">
            <a:xfrm>
              <a:off x="4820411" y="2486979"/>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Analyze market</a:t>
              </a:r>
              <a:br>
                <a:rPr lang="en-US" altLang="ja-JP" sz="1000" dirty="0">
                  <a:ea typeface="ＭＳ Ｐゴシック" pitchFamily="50" charset="-128"/>
                </a:rPr>
              </a:br>
              <a:r>
                <a:rPr lang="en-US" altLang="ja-JP" sz="1000" dirty="0">
                  <a:ea typeface="ＭＳ Ｐゴシック" pitchFamily="50" charset="-128"/>
                </a:rPr>
                <a:t>and industry</a:t>
              </a:r>
            </a:p>
          </p:txBody>
        </p:sp>
        <p:sp>
          <p:nvSpPr>
            <p:cNvPr id="13" name="Rectangle 12"/>
            <p:cNvSpPr>
              <a:spLocks noChangeArrowheads="1"/>
            </p:cNvSpPr>
            <p:nvPr/>
          </p:nvSpPr>
          <p:spPr bwMode="auto">
            <a:xfrm>
              <a:off x="4820411" y="4292774"/>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Conduct value, profiling and benchmarking</a:t>
              </a:r>
            </a:p>
          </p:txBody>
        </p:sp>
        <p:sp>
          <p:nvSpPr>
            <p:cNvPr id="14" name="Rectangle 13"/>
            <p:cNvSpPr>
              <a:spLocks noChangeArrowheads="1"/>
            </p:cNvSpPr>
            <p:nvPr/>
          </p:nvSpPr>
          <p:spPr bwMode="auto">
            <a:xfrm>
              <a:off x="4820411" y="2930434"/>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Conduct customer</a:t>
              </a:r>
              <a:br>
                <a:rPr lang="en-US" altLang="ja-JP" sz="1000" dirty="0">
                  <a:ea typeface="ＭＳ Ｐゴシック" pitchFamily="50" charset="-128"/>
                </a:rPr>
              </a:br>
              <a:r>
                <a:rPr lang="en-US" altLang="ja-JP" sz="1000" dirty="0">
                  <a:ea typeface="ＭＳ Ｐゴシック" pitchFamily="50" charset="-128"/>
                </a:rPr>
                <a:t>analysis</a:t>
              </a:r>
            </a:p>
          </p:txBody>
        </p:sp>
        <p:sp>
          <p:nvSpPr>
            <p:cNvPr id="15" name="Rectangle 14"/>
            <p:cNvSpPr>
              <a:spLocks noChangeArrowheads="1"/>
            </p:cNvSpPr>
            <p:nvPr/>
          </p:nvSpPr>
          <p:spPr bwMode="auto">
            <a:xfrm>
              <a:off x="4820411" y="3373889"/>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Analyze competition</a:t>
              </a:r>
              <a:br>
                <a:rPr lang="en-US" altLang="ja-JP" sz="1000" dirty="0">
                  <a:ea typeface="ＭＳ Ｐゴシック" pitchFamily="50" charset="-128"/>
                </a:rPr>
              </a:br>
              <a:r>
                <a:rPr lang="en-US" altLang="ja-JP" sz="1000" dirty="0">
                  <a:ea typeface="ＭＳ Ｐゴシック" pitchFamily="50" charset="-128"/>
                </a:rPr>
                <a:t>and positioning</a:t>
              </a:r>
            </a:p>
          </p:txBody>
        </p:sp>
        <p:sp>
          <p:nvSpPr>
            <p:cNvPr id="16" name="Rectangle 15"/>
            <p:cNvSpPr>
              <a:spLocks noChangeArrowheads="1"/>
            </p:cNvSpPr>
            <p:nvPr/>
          </p:nvSpPr>
          <p:spPr bwMode="auto">
            <a:xfrm>
              <a:off x="4820411" y="4768204"/>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Build strategic</a:t>
              </a:r>
              <a:br>
                <a:rPr lang="en-US" altLang="ja-JP" sz="1000" dirty="0">
                  <a:ea typeface="ＭＳ Ｐゴシック" pitchFamily="50" charset="-128"/>
                </a:rPr>
              </a:br>
              <a:r>
                <a:rPr lang="en-US" altLang="ja-JP" sz="1000" dirty="0">
                  <a:ea typeface="ＭＳ Ｐゴシック" pitchFamily="50" charset="-128"/>
                </a:rPr>
                <a:t>synthesis</a:t>
              </a:r>
            </a:p>
          </p:txBody>
        </p:sp>
        <p:sp>
          <p:nvSpPr>
            <p:cNvPr id="17" name="Rectangle 16"/>
            <p:cNvSpPr>
              <a:spLocks noChangeArrowheads="1"/>
            </p:cNvSpPr>
            <p:nvPr/>
          </p:nvSpPr>
          <p:spPr bwMode="auto">
            <a:xfrm>
              <a:off x="6603111" y="4768204"/>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Evaluate strategic </a:t>
              </a:r>
              <a:br>
                <a:rPr lang="en-US" altLang="ja-JP" sz="1000" dirty="0">
                  <a:ea typeface="ＭＳ Ｐゴシック" pitchFamily="50" charset="-128"/>
                </a:rPr>
              </a:br>
              <a:r>
                <a:rPr lang="en-US" altLang="ja-JP" sz="1000" dirty="0">
                  <a:ea typeface="ＭＳ Ｐゴシック" pitchFamily="50" charset="-128"/>
                </a:rPr>
                <a:t>options</a:t>
              </a:r>
            </a:p>
          </p:txBody>
        </p:sp>
        <p:sp>
          <p:nvSpPr>
            <p:cNvPr id="18" name="Rectangle 17"/>
            <p:cNvSpPr>
              <a:spLocks noChangeArrowheads="1"/>
            </p:cNvSpPr>
            <p:nvPr/>
          </p:nvSpPr>
          <p:spPr bwMode="auto">
            <a:xfrm>
              <a:off x="6603111" y="5211659"/>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Develop strategic</a:t>
              </a:r>
              <a:br>
                <a:rPr lang="en-US" altLang="ja-JP" sz="1000" dirty="0">
                  <a:ea typeface="ＭＳ Ｐゴシック" pitchFamily="50" charset="-128"/>
                </a:rPr>
              </a:br>
              <a:r>
                <a:rPr lang="en-US" altLang="ja-JP" sz="1000" dirty="0">
                  <a:ea typeface="ＭＳ Ｐゴシック" pitchFamily="50" charset="-128"/>
                </a:rPr>
                <a:t>recommendations</a:t>
              </a:r>
            </a:p>
          </p:txBody>
        </p:sp>
        <p:sp>
          <p:nvSpPr>
            <p:cNvPr id="19" name="Rectangle 18"/>
            <p:cNvSpPr>
              <a:spLocks noChangeArrowheads="1"/>
            </p:cNvSpPr>
            <p:nvPr/>
          </p:nvSpPr>
          <p:spPr bwMode="auto">
            <a:xfrm>
              <a:off x="8378456" y="2011549"/>
              <a:ext cx="1737360" cy="411480"/>
            </a:xfrm>
            <a:prstGeom prst="rect">
              <a:avLst/>
            </a:prstGeom>
            <a:solidFill>
              <a:schemeClr val="accent6"/>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Develop preliminary</a:t>
              </a:r>
              <a:br>
                <a:rPr lang="en-US" altLang="ja-JP" sz="1000" dirty="0">
                  <a:solidFill>
                    <a:schemeClr val="bg1"/>
                  </a:solidFill>
                  <a:ea typeface="ＭＳ Ｐゴシック" pitchFamily="50" charset="-128"/>
                </a:rPr>
              </a:br>
              <a:r>
                <a:rPr lang="en-US" altLang="ja-JP" sz="1000" dirty="0">
                  <a:solidFill>
                    <a:schemeClr val="bg1"/>
                  </a:solidFill>
                  <a:ea typeface="ＭＳ Ｐゴシック" pitchFamily="50" charset="-128"/>
                </a:rPr>
                <a:t>action plan</a:t>
              </a:r>
            </a:p>
          </p:txBody>
        </p:sp>
        <p:sp>
          <p:nvSpPr>
            <p:cNvPr id="20" name="Rectangle 19"/>
            <p:cNvSpPr>
              <a:spLocks noChangeArrowheads="1"/>
            </p:cNvSpPr>
            <p:nvPr/>
          </p:nvSpPr>
          <p:spPr bwMode="auto">
            <a:xfrm>
              <a:off x="4820411" y="3817344"/>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Analyze internal operations</a:t>
              </a:r>
            </a:p>
          </p:txBody>
        </p:sp>
        <p:sp>
          <p:nvSpPr>
            <p:cNvPr id="763924" name="Text Box 20"/>
            <p:cNvSpPr txBox="1">
              <a:spLocks noChangeArrowheads="1"/>
            </p:cNvSpPr>
            <p:nvPr/>
          </p:nvSpPr>
          <p:spPr bwMode="auto">
            <a:xfrm>
              <a:off x="1908803" y="2011549"/>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Strategic</a:t>
              </a:r>
            </a:p>
            <a:p>
              <a:r>
                <a:rPr lang="en-US" altLang="ja-JP" sz="1100" dirty="0">
                  <a:ea typeface="ＭＳ Ｐゴシック" charset="-128"/>
                </a:rPr>
                <a:t>objectives</a:t>
              </a:r>
            </a:p>
          </p:txBody>
        </p:sp>
        <p:sp>
          <p:nvSpPr>
            <p:cNvPr id="763925" name="Text Box 21"/>
            <p:cNvSpPr txBox="1">
              <a:spLocks noChangeArrowheads="1"/>
            </p:cNvSpPr>
            <p:nvPr/>
          </p:nvSpPr>
          <p:spPr bwMode="auto">
            <a:xfrm>
              <a:off x="1908803" y="2486979"/>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Strategic</a:t>
              </a:r>
            </a:p>
            <a:p>
              <a:r>
                <a:rPr lang="en-US" altLang="ja-JP" sz="1100" dirty="0">
                  <a:ea typeface="ＭＳ Ｐゴシック" charset="-128"/>
                </a:rPr>
                <a:t>analysis</a:t>
              </a:r>
            </a:p>
          </p:txBody>
        </p:sp>
        <p:sp>
          <p:nvSpPr>
            <p:cNvPr id="763926" name="Text Box 22"/>
            <p:cNvSpPr txBox="1">
              <a:spLocks noChangeArrowheads="1"/>
            </p:cNvSpPr>
            <p:nvPr/>
          </p:nvSpPr>
          <p:spPr bwMode="auto">
            <a:xfrm>
              <a:off x="1908803" y="4768204"/>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Solution</a:t>
              </a:r>
            </a:p>
            <a:p>
              <a:r>
                <a:rPr lang="en-US" altLang="ja-JP" sz="1100" dirty="0">
                  <a:ea typeface="ＭＳ Ｐゴシック" charset="-128"/>
                </a:rPr>
                <a:t>development</a:t>
              </a:r>
            </a:p>
          </p:txBody>
        </p:sp>
        <p:sp>
          <p:nvSpPr>
            <p:cNvPr id="24" name="Line 23"/>
            <p:cNvSpPr>
              <a:spLocks noChangeShapeType="1"/>
            </p:cNvSpPr>
            <p:nvPr/>
          </p:nvSpPr>
          <p:spPr bwMode="auto">
            <a:xfrm>
              <a:off x="1893570" y="2455004"/>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25" name="Line 24"/>
            <p:cNvSpPr>
              <a:spLocks noChangeShapeType="1"/>
            </p:cNvSpPr>
            <p:nvPr/>
          </p:nvSpPr>
          <p:spPr bwMode="auto">
            <a:xfrm>
              <a:off x="1893570" y="4736229"/>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26" name="Line 25"/>
            <p:cNvSpPr>
              <a:spLocks noChangeShapeType="1"/>
            </p:cNvSpPr>
            <p:nvPr/>
          </p:nvSpPr>
          <p:spPr bwMode="auto">
            <a:xfrm>
              <a:off x="1893570" y="4260799"/>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27" name="Rectangle 26"/>
            <p:cNvSpPr>
              <a:spLocks noChangeArrowheads="1"/>
            </p:cNvSpPr>
            <p:nvPr/>
          </p:nvSpPr>
          <p:spPr bwMode="auto">
            <a:xfrm>
              <a:off x="6603111" y="4292774"/>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Conduct financial modeling</a:t>
              </a:r>
            </a:p>
          </p:txBody>
        </p:sp>
        <p:sp>
          <p:nvSpPr>
            <p:cNvPr id="763931" name="Text Box 27"/>
            <p:cNvSpPr txBox="1">
              <a:spLocks noChangeArrowheads="1"/>
            </p:cNvSpPr>
            <p:nvPr/>
          </p:nvSpPr>
          <p:spPr bwMode="auto">
            <a:xfrm>
              <a:off x="1908803" y="4292774"/>
              <a:ext cx="1005840" cy="338554"/>
            </a:xfrm>
            <a:prstGeom prst="rect">
              <a:avLst/>
            </a:prstGeom>
            <a:noFill/>
            <a:ln w="9525" algn="ctr">
              <a:noFill/>
              <a:miter lim="800000"/>
              <a:headEnd/>
              <a:tailEnd/>
            </a:ln>
          </p:spPr>
          <p:txBody>
            <a:bodyPr wrap="square" lIns="0" tIns="0" rIns="0" bIns="0">
              <a:spAutoFit/>
            </a:bodyPr>
            <a:lstStyle/>
            <a:p>
              <a:r>
                <a:rPr lang="en-US" altLang="ja-JP" sz="1100" dirty="0">
                  <a:ea typeface="ＭＳ Ｐゴシック" charset="-128"/>
                </a:rPr>
                <a:t>Financial</a:t>
              </a:r>
            </a:p>
            <a:p>
              <a:r>
                <a:rPr lang="en-US" altLang="ja-JP" sz="1100" dirty="0">
                  <a:ea typeface="ＭＳ Ｐゴシック" charset="-128"/>
                </a:rPr>
                <a:t>analysis</a:t>
              </a:r>
            </a:p>
          </p:txBody>
        </p:sp>
        <p:sp>
          <p:nvSpPr>
            <p:cNvPr id="29" name="Line 28"/>
            <p:cNvSpPr>
              <a:spLocks noChangeShapeType="1"/>
            </p:cNvSpPr>
            <p:nvPr/>
          </p:nvSpPr>
          <p:spPr bwMode="auto">
            <a:xfrm>
              <a:off x="1893570" y="5674164"/>
              <a:ext cx="8229600" cy="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sp>
          <p:nvSpPr>
            <p:cNvPr id="30" name="Rectangle 29"/>
            <p:cNvSpPr>
              <a:spLocks noChangeArrowheads="1"/>
            </p:cNvSpPr>
            <p:nvPr/>
          </p:nvSpPr>
          <p:spPr bwMode="auto">
            <a:xfrm>
              <a:off x="3037710" y="5706141"/>
              <a:ext cx="7078106" cy="411480"/>
            </a:xfrm>
            <a:prstGeom prst="rect">
              <a:avLst/>
            </a:prstGeom>
            <a:solidFill>
              <a:schemeClr val="accent1"/>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Manage project and communications</a:t>
              </a:r>
            </a:p>
          </p:txBody>
        </p:sp>
        <p:sp>
          <p:nvSpPr>
            <p:cNvPr id="31" name="Rectangle 30"/>
            <p:cNvSpPr>
              <a:spLocks noChangeArrowheads="1"/>
            </p:cNvSpPr>
            <p:nvPr/>
          </p:nvSpPr>
          <p:spPr bwMode="auto">
            <a:xfrm>
              <a:off x="3037710" y="4292774"/>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Conduct value, profiling and benchmarking</a:t>
              </a:r>
            </a:p>
          </p:txBody>
        </p:sp>
        <p:sp>
          <p:nvSpPr>
            <p:cNvPr id="32" name="Rectangle 31"/>
            <p:cNvSpPr>
              <a:spLocks noChangeArrowheads="1"/>
            </p:cNvSpPr>
            <p:nvPr/>
          </p:nvSpPr>
          <p:spPr bwMode="auto">
            <a:xfrm>
              <a:off x="8385810" y="4292774"/>
              <a:ext cx="1737360" cy="411480"/>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Develop financial plan</a:t>
              </a:r>
            </a:p>
          </p:txBody>
        </p:sp>
      </p:grpSp>
    </p:spTree>
    <p:extLst>
      <p:ext uri="{BB962C8B-B14F-4D97-AF65-F5344CB8AC3E}">
        <p14:creationId xmlns:p14="http://schemas.microsoft.com/office/powerpoint/2010/main" val="3855198705"/>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The fish</a:t>
            </a:r>
            <a:endParaRPr lang="en-US" dirty="0"/>
          </a:p>
        </p:txBody>
      </p:sp>
      <p:sp>
        <p:nvSpPr>
          <p:cNvPr id="764929" name="Title 1"/>
          <p:cNvSpPr>
            <a:spLocks noGrp="1"/>
          </p:cNvSpPr>
          <p:nvPr>
            <p:ph type="title"/>
          </p:nvPr>
        </p:nvSpPr>
        <p:spPr/>
        <p:txBody>
          <a:bodyPr/>
          <a:lstStyle/>
          <a:p>
            <a:r>
              <a:rPr lang="en-US" altLang="ja-JP"/>
              <a:t>Strategy development</a:t>
            </a:r>
            <a:endParaRPr lang="en-US" dirty="0"/>
          </a:p>
        </p:txBody>
      </p:sp>
      <p:sp>
        <p:nvSpPr>
          <p:cNvPr id="34" name="Freeform 33"/>
          <p:cNvSpPr>
            <a:spLocks noChangeAspect="1"/>
          </p:cNvSpPr>
          <p:nvPr/>
        </p:nvSpPr>
        <p:spPr bwMode="auto">
          <a:xfrm>
            <a:off x="2103016" y="1303074"/>
            <a:ext cx="7985125" cy="4556125"/>
          </a:xfrm>
          <a:custGeom>
            <a:avLst/>
            <a:gdLst>
              <a:gd name="T0" fmla="*/ 0 w 5311"/>
              <a:gd name="T1" fmla="*/ 2147483647 h 3067"/>
              <a:gd name="T2" fmla="*/ 2147483647 w 5311"/>
              <a:gd name="T3" fmla="*/ 0 h 3067"/>
              <a:gd name="T4" fmla="*/ 2147483647 w 5311"/>
              <a:gd name="T5" fmla="*/ 0 h 3067"/>
              <a:gd name="T6" fmla="*/ 2147483647 w 5311"/>
              <a:gd name="T7" fmla="*/ 2147483647 h 3067"/>
              <a:gd name="T8" fmla="*/ 2147483647 w 5311"/>
              <a:gd name="T9" fmla="*/ 2147483647 h 3067"/>
              <a:gd name="T10" fmla="*/ 2147483647 w 5311"/>
              <a:gd name="T11" fmla="*/ 2147483647 h 3067"/>
              <a:gd name="T12" fmla="*/ 2147483647 w 5311"/>
              <a:gd name="T13" fmla="*/ 2147483647 h 3067"/>
              <a:gd name="T14" fmla="*/ 2147483647 w 5311"/>
              <a:gd name="T15" fmla="*/ 2147483647 h 3067"/>
              <a:gd name="T16" fmla="*/ 2147483647 w 5311"/>
              <a:gd name="T17" fmla="*/ 2147483647 h 3067"/>
              <a:gd name="T18" fmla="*/ 2147483647 w 5311"/>
              <a:gd name="T19" fmla="*/ 2147483647 h 3067"/>
              <a:gd name="T20" fmla="*/ 2147483647 w 5311"/>
              <a:gd name="T21" fmla="*/ 2147483647 h 3067"/>
              <a:gd name="T22" fmla="*/ 0 w 5311"/>
              <a:gd name="T23" fmla="*/ 2147483647 h 3067"/>
              <a:gd name="T24" fmla="*/ 0 w 5311"/>
              <a:gd name="T25" fmla="*/ 2147483647 h 30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11"/>
              <a:gd name="T40" fmla="*/ 0 h 3067"/>
              <a:gd name="T41" fmla="*/ 5311 w 5311"/>
              <a:gd name="T42" fmla="*/ 3067 h 30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11" h="3067">
                <a:moveTo>
                  <a:pt x="0" y="1062"/>
                </a:moveTo>
                <a:lnTo>
                  <a:pt x="792" y="0"/>
                </a:lnTo>
                <a:lnTo>
                  <a:pt x="2406" y="0"/>
                </a:lnTo>
                <a:lnTo>
                  <a:pt x="3114" y="972"/>
                </a:lnTo>
                <a:lnTo>
                  <a:pt x="4314" y="972"/>
                </a:lnTo>
                <a:lnTo>
                  <a:pt x="5310" y="300"/>
                </a:lnTo>
                <a:lnTo>
                  <a:pt x="5310" y="2760"/>
                </a:lnTo>
                <a:lnTo>
                  <a:pt x="4332" y="2094"/>
                </a:lnTo>
                <a:lnTo>
                  <a:pt x="3126" y="2094"/>
                </a:lnTo>
                <a:lnTo>
                  <a:pt x="2400" y="3066"/>
                </a:lnTo>
                <a:lnTo>
                  <a:pt x="786" y="3066"/>
                </a:lnTo>
                <a:lnTo>
                  <a:pt x="0" y="2004"/>
                </a:lnTo>
                <a:lnTo>
                  <a:pt x="0" y="1062"/>
                </a:lnTo>
              </a:path>
            </a:pathLst>
          </a:custGeom>
          <a:solidFill>
            <a:schemeClr val="bg1"/>
          </a:solidFill>
          <a:ln w="6350">
            <a:solidFill>
              <a:schemeClr val="tx1"/>
            </a:solidFill>
            <a:round/>
            <a:headEnd/>
            <a:tailEnd/>
          </a:ln>
          <a:effectLst/>
        </p:spPr>
        <p:txBody>
          <a:bodyPr wrap="square" lIns="36000" tIns="36000" rIns="36000" bIns="36000" anchor="ctr"/>
          <a:lstStyle/>
          <a:p>
            <a:endParaRPr lang="en-US" sz="1100" dirty="0">
              <a:solidFill>
                <a:schemeClr val="tx2"/>
              </a:solidFill>
            </a:endParaRPr>
          </a:p>
        </p:txBody>
      </p:sp>
      <p:sp>
        <p:nvSpPr>
          <p:cNvPr id="35" name="Rectangle 34"/>
          <p:cNvSpPr>
            <a:spLocks noChangeArrowheads="1"/>
          </p:cNvSpPr>
          <p:nvPr/>
        </p:nvSpPr>
        <p:spPr bwMode="auto">
          <a:xfrm>
            <a:off x="7400467" y="3331104"/>
            <a:ext cx="914400" cy="457200"/>
          </a:xfrm>
          <a:prstGeom prst="rect">
            <a:avLst/>
          </a:prstGeom>
          <a:solidFill>
            <a:schemeClr val="accent4"/>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Chosen</a:t>
            </a:r>
          </a:p>
          <a:p>
            <a:pPr algn="ctr">
              <a:spcBef>
                <a:spcPct val="0"/>
              </a:spcBef>
              <a:defRPr/>
            </a:pPr>
            <a:r>
              <a:rPr lang="en-US" altLang="ja-JP" sz="1100" dirty="0">
                <a:ea typeface="ＭＳ Ｐゴシック" pitchFamily="50" charset="-128"/>
              </a:rPr>
              <a:t>strategy</a:t>
            </a:r>
          </a:p>
        </p:txBody>
      </p:sp>
      <p:sp>
        <p:nvSpPr>
          <p:cNvPr id="38" name="Rectangle 37"/>
          <p:cNvSpPr>
            <a:spLocks noChangeArrowheads="1"/>
          </p:cNvSpPr>
          <p:nvPr/>
        </p:nvSpPr>
        <p:spPr bwMode="auto">
          <a:xfrm>
            <a:off x="3636404" y="4254235"/>
            <a:ext cx="173736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Financial position</a:t>
            </a:r>
          </a:p>
        </p:txBody>
      </p:sp>
      <p:sp>
        <p:nvSpPr>
          <p:cNvPr id="39" name="Rectangle 38"/>
          <p:cNvSpPr>
            <a:spLocks noChangeArrowheads="1"/>
          </p:cNvSpPr>
          <p:nvPr/>
        </p:nvSpPr>
        <p:spPr bwMode="auto">
          <a:xfrm>
            <a:off x="3636404" y="2638159"/>
            <a:ext cx="173736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Strategic position</a:t>
            </a:r>
          </a:p>
        </p:txBody>
      </p:sp>
      <p:sp>
        <p:nvSpPr>
          <p:cNvPr id="40" name="Rectangle 39"/>
          <p:cNvSpPr>
            <a:spLocks noChangeArrowheads="1"/>
          </p:cNvSpPr>
          <p:nvPr/>
        </p:nvSpPr>
        <p:spPr bwMode="auto">
          <a:xfrm>
            <a:off x="3362084" y="5487723"/>
            <a:ext cx="228600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Capital market</a:t>
            </a:r>
          </a:p>
        </p:txBody>
      </p:sp>
      <p:sp>
        <p:nvSpPr>
          <p:cNvPr id="41" name="Rectangle 40"/>
          <p:cNvSpPr>
            <a:spLocks noChangeArrowheads="1"/>
          </p:cNvSpPr>
          <p:nvPr/>
        </p:nvSpPr>
        <p:spPr bwMode="auto">
          <a:xfrm>
            <a:off x="3362084" y="4955910"/>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Economic profitability</a:t>
            </a:r>
          </a:p>
        </p:txBody>
      </p:sp>
      <p:sp>
        <p:nvSpPr>
          <p:cNvPr id="42" name="Rectangle 41"/>
          <p:cNvSpPr>
            <a:spLocks noChangeArrowheads="1"/>
          </p:cNvSpPr>
          <p:nvPr/>
        </p:nvSpPr>
        <p:spPr bwMode="auto">
          <a:xfrm>
            <a:off x="4596524" y="4955910"/>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Growth</a:t>
            </a:r>
          </a:p>
        </p:txBody>
      </p:sp>
      <p:sp>
        <p:nvSpPr>
          <p:cNvPr id="43" name="Rectangle 42"/>
          <p:cNvSpPr>
            <a:spLocks noChangeArrowheads="1"/>
          </p:cNvSpPr>
          <p:nvPr/>
        </p:nvSpPr>
        <p:spPr bwMode="auto">
          <a:xfrm>
            <a:off x="3362084" y="1388798"/>
            <a:ext cx="2286000" cy="274320"/>
          </a:xfrm>
          <a:prstGeom prst="rect">
            <a:avLst/>
          </a:prstGeom>
          <a:solidFill>
            <a:schemeClr val="accent3"/>
          </a:solidFill>
          <a:ln w="12700" algn="ctr">
            <a:noFill/>
            <a:miter lim="800000"/>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Commercial market</a:t>
            </a:r>
          </a:p>
        </p:txBody>
      </p:sp>
      <p:sp>
        <p:nvSpPr>
          <p:cNvPr id="44" name="Rectangle 43"/>
          <p:cNvSpPr>
            <a:spLocks noChangeArrowheads="1"/>
          </p:cNvSpPr>
          <p:nvPr/>
        </p:nvSpPr>
        <p:spPr bwMode="auto">
          <a:xfrm>
            <a:off x="3362084" y="1795198"/>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Market</a:t>
            </a:r>
            <a:br>
              <a:rPr lang="en-US" altLang="ja-JP" sz="900" dirty="0">
                <a:ea typeface="ＭＳ Ｐゴシック" pitchFamily="50" charset="-128"/>
              </a:rPr>
            </a:br>
            <a:r>
              <a:rPr lang="en-US" altLang="ja-JP" sz="900" dirty="0">
                <a:ea typeface="ＭＳ Ｐゴシック" pitchFamily="50" charset="-128"/>
              </a:rPr>
              <a:t>attractiveness</a:t>
            </a:r>
          </a:p>
        </p:txBody>
      </p:sp>
      <p:sp>
        <p:nvSpPr>
          <p:cNvPr id="45" name="Rectangle 44"/>
          <p:cNvSpPr>
            <a:spLocks noChangeArrowheads="1"/>
          </p:cNvSpPr>
          <p:nvPr/>
        </p:nvSpPr>
        <p:spPr bwMode="auto">
          <a:xfrm>
            <a:off x="4596524" y="1795197"/>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Competitive position</a:t>
            </a:r>
          </a:p>
        </p:txBody>
      </p:sp>
      <p:sp>
        <p:nvSpPr>
          <p:cNvPr id="46" name="Oval 45"/>
          <p:cNvSpPr>
            <a:spLocks noChangeAspect="1" noChangeArrowheads="1"/>
          </p:cNvSpPr>
          <p:nvPr/>
        </p:nvSpPr>
        <p:spPr bwMode="auto">
          <a:xfrm>
            <a:off x="3894955" y="3352535"/>
            <a:ext cx="1220261" cy="457200"/>
          </a:xfrm>
          <a:prstGeom prst="ellipse">
            <a:avLst/>
          </a:prstGeom>
          <a:solidFill>
            <a:schemeClr val="accent4"/>
          </a:solidFill>
          <a:ln w="12700" algn="ctr">
            <a:noFill/>
            <a:round/>
            <a:headEnd/>
            <a:tailEnd/>
          </a:ln>
          <a:effectLst/>
        </p:spPr>
        <p:txBody>
          <a:bodyPr wrap="square" lIns="88900" tIns="88900" rIns="88900" bIns="88900" anchor="ctr"/>
          <a:lstStyle/>
          <a:p>
            <a:pPr algn="ctr">
              <a:spcBef>
                <a:spcPct val="0"/>
              </a:spcBef>
              <a:defRPr/>
            </a:pPr>
            <a:r>
              <a:rPr lang="en-US" altLang="ja-JP" sz="1100" dirty="0">
                <a:ea typeface="ＭＳ Ｐゴシック" pitchFamily="50" charset="-128"/>
              </a:rPr>
              <a:t>Insight</a:t>
            </a:r>
          </a:p>
        </p:txBody>
      </p:sp>
      <p:sp>
        <p:nvSpPr>
          <p:cNvPr id="47" name="AutoShape 16"/>
          <p:cNvSpPr>
            <a:spLocks noChangeAspect="1" noChangeArrowheads="1"/>
          </p:cNvSpPr>
          <p:nvPr/>
        </p:nvSpPr>
        <p:spPr bwMode="auto">
          <a:xfrm rot="16200000">
            <a:off x="4392372" y="4485217"/>
            <a:ext cx="225425"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36" name="Rectangle 35"/>
          <p:cNvSpPr>
            <a:spLocks noChangeArrowheads="1"/>
          </p:cNvSpPr>
          <p:nvPr/>
        </p:nvSpPr>
        <p:spPr bwMode="auto">
          <a:xfrm>
            <a:off x="8917357" y="2723885"/>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Projects and resources</a:t>
            </a:r>
          </a:p>
        </p:txBody>
      </p:sp>
      <p:sp>
        <p:nvSpPr>
          <p:cNvPr id="37" name="Rectangle 36"/>
          <p:cNvSpPr>
            <a:spLocks noChangeArrowheads="1"/>
          </p:cNvSpPr>
          <p:nvPr/>
        </p:nvSpPr>
        <p:spPr bwMode="auto">
          <a:xfrm>
            <a:off x="8917359" y="3981185"/>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Monitoring</a:t>
            </a:r>
          </a:p>
        </p:txBody>
      </p:sp>
      <p:sp>
        <p:nvSpPr>
          <p:cNvPr id="48" name="Rectangle 47"/>
          <p:cNvSpPr>
            <a:spLocks noChangeArrowheads="1"/>
          </p:cNvSpPr>
          <p:nvPr/>
        </p:nvSpPr>
        <p:spPr bwMode="auto">
          <a:xfrm>
            <a:off x="8917357" y="3352535"/>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CSFs </a:t>
            </a:r>
          </a:p>
          <a:p>
            <a:pPr algn="ctr">
              <a:spcBef>
                <a:spcPct val="0"/>
              </a:spcBef>
            </a:pPr>
            <a:r>
              <a:rPr lang="en-US" altLang="ja-JP" sz="900" dirty="0">
                <a:ea typeface="ＭＳ Ｐゴシック" pitchFamily="50" charset="-128"/>
              </a:rPr>
              <a:t>and KPIs</a:t>
            </a:r>
          </a:p>
        </p:txBody>
      </p:sp>
      <p:sp>
        <p:nvSpPr>
          <p:cNvPr id="49" name="Rectangle 48"/>
          <p:cNvSpPr>
            <a:spLocks noChangeArrowheads="1"/>
          </p:cNvSpPr>
          <p:nvPr/>
        </p:nvSpPr>
        <p:spPr bwMode="auto">
          <a:xfrm>
            <a:off x="2205573" y="3671623"/>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Strategic </a:t>
            </a:r>
          </a:p>
          <a:p>
            <a:pPr algn="ctr">
              <a:spcBef>
                <a:spcPct val="0"/>
              </a:spcBef>
            </a:pPr>
            <a:r>
              <a:rPr lang="en-US" altLang="ja-JP" sz="900" dirty="0">
                <a:ea typeface="ＭＳ Ｐゴシック" pitchFamily="50" charset="-128"/>
              </a:rPr>
              <a:t>issues</a:t>
            </a:r>
          </a:p>
        </p:txBody>
      </p:sp>
      <p:sp>
        <p:nvSpPr>
          <p:cNvPr id="50" name="Rectangle 49"/>
          <p:cNvSpPr>
            <a:spLocks noChangeArrowheads="1"/>
          </p:cNvSpPr>
          <p:nvPr/>
        </p:nvSpPr>
        <p:spPr bwMode="auto">
          <a:xfrm>
            <a:off x="2205573" y="2988998"/>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Scope </a:t>
            </a:r>
            <a:br>
              <a:rPr lang="en-US" altLang="ja-JP" sz="900" dirty="0">
                <a:ea typeface="ＭＳ Ｐゴシック" pitchFamily="50" charset="-128"/>
              </a:rPr>
            </a:br>
            <a:r>
              <a:rPr lang="en-US" altLang="ja-JP" sz="900" dirty="0">
                <a:ea typeface="ＭＳ Ｐゴシック" pitchFamily="50" charset="-128"/>
              </a:rPr>
              <a:t>and context</a:t>
            </a:r>
          </a:p>
        </p:txBody>
      </p:sp>
      <p:sp>
        <p:nvSpPr>
          <p:cNvPr id="51" name="AutoShape 20"/>
          <p:cNvSpPr>
            <a:spLocks noChangeAspect="1" noChangeArrowheads="1"/>
          </p:cNvSpPr>
          <p:nvPr/>
        </p:nvSpPr>
        <p:spPr bwMode="auto">
          <a:xfrm rot="16200000">
            <a:off x="4392372" y="3815292"/>
            <a:ext cx="225425"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52" name="AutoShape 21"/>
          <p:cNvSpPr>
            <a:spLocks noChangeAspect="1" noChangeArrowheads="1"/>
          </p:cNvSpPr>
          <p:nvPr/>
        </p:nvSpPr>
        <p:spPr bwMode="auto">
          <a:xfrm rot="16200000" flipH="1">
            <a:off x="4391578" y="2874698"/>
            <a:ext cx="227012"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53" name="AutoShape 22"/>
          <p:cNvSpPr>
            <a:spLocks noChangeAspect="1" noChangeArrowheads="1"/>
          </p:cNvSpPr>
          <p:nvPr/>
        </p:nvSpPr>
        <p:spPr bwMode="auto">
          <a:xfrm rot="16200000" flipH="1">
            <a:off x="4392373" y="2186517"/>
            <a:ext cx="225425" cy="506413"/>
          </a:xfrm>
          <a:prstGeom prst="rightArrow">
            <a:avLst>
              <a:gd name="adj1" fmla="val 50000"/>
              <a:gd name="adj2" fmla="val 50032"/>
            </a:avLst>
          </a:prstGeom>
          <a:solidFill>
            <a:schemeClr val="bg2">
              <a:lumMod val="90000"/>
            </a:schemeClr>
          </a:solidFill>
          <a:ln w="12700" algn="ctr">
            <a:noFill/>
            <a:miter lim="800000"/>
            <a:headEnd/>
            <a:tailEnd/>
          </a:ln>
          <a:effectLst/>
        </p:spPr>
        <p:txBody>
          <a:bodyPr wrap="square" lIns="36000" tIns="36000" rIns="36000" bIns="36000" anchor="ctr"/>
          <a:lstStyle/>
          <a:p>
            <a:pPr algn="ctr">
              <a:spcBef>
                <a:spcPct val="0"/>
              </a:spcBef>
              <a:defRPr/>
            </a:pPr>
            <a:endParaRPr lang="en-US" sz="1100" dirty="0">
              <a:solidFill>
                <a:schemeClr val="bg1"/>
              </a:solidFill>
            </a:endParaRPr>
          </a:p>
        </p:txBody>
      </p:sp>
      <p:sp>
        <p:nvSpPr>
          <p:cNvPr id="54" name="Rectangle 53"/>
          <p:cNvSpPr>
            <a:spLocks noChangeArrowheads="1"/>
          </p:cNvSpPr>
          <p:nvPr/>
        </p:nvSpPr>
        <p:spPr bwMode="auto">
          <a:xfrm>
            <a:off x="5746417" y="3671623"/>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Creativity</a:t>
            </a:r>
          </a:p>
        </p:txBody>
      </p:sp>
      <p:sp>
        <p:nvSpPr>
          <p:cNvPr id="55" name="Rectangle 54"/>
          <p:cNvSpPr>
            <a:spLocks noChangeArrowheads="1"/>
          </p:cNvSpPr>
          <p:nvPr/>
        </p:nvSpPr>
        <p:spPr bwMode="auto">
          <a:xfrm>
            <a:off x="5746417" y="2988998"/>
            <a:ext cx="1051560" cy="457200"/>
          </a:xfrm>
          <a:prstGeom prst="rect">
            <a:avLst/>
          </a:prstGeom>
          <a:solidFill>
            <a:schemeClr val="bg1"/>
          </a:solidFill>
          <a:ln w="6350" algn="ctr">
            <a:solidFill>
              <a:schemeClr val="tx1"/>
            </a:solidFill>
            <a:miter lim="800000"/>
            <a:headEnd/>
            <a:tailEnd/>
          </a:ln>
          <a:effectLst/>
        </p:spPr>
        <p:txBody>
          <a:bodyPr wrap="square" lIns="88900" tIns="88900" rIns="88900" bIns="88900" anchor="ctr"/>
          <a:lstStyle/>
          <a:p>
            <a:pPr algn="ctr">
              <a:spcBef>
                <a:spcPct val="0"/>
              </a:spcBef>
            </a:pPr>
            <a:r>
              <a:rPr lang="en-US" altLang="ja-JP" sz="900" dirty="0">
                <a:ea typeface="ＭＳ Ｐゴシック" pitchFamily="50" charset="-128"/>
              </a:rPr>
              <a:t>Scenarios</a:t>
            </a:r>
            <a:br>
              <a:rPr lang="en-US" altLang="ja-JP" sz="900" dirty="0">
                <a:ea typeface="ＭＳ Ｐゴシック" pitchFamily="50" charset="-128"/>
              </a:rPr>
            </a:br>
            <a:r>
              <a:rPr lang="en-US" altLang="ja-JP" sz="900" dirty="0">
                <a:ea typeface="ＭＳ Ｐゴシック" pitchFamily="50" charset="-128"/>
              </a:rPr>
              <a:t>and options</a:t>
            </a:r>
          </a:p>
        </p:txBody>
      </p:sp>
      <p:sp>
        <p:nvSpPr>
          <p:cNvPr id="56" name="Freeform 55"/>
          <p:cNvSpPr>
            <a:spLocks noChangeAspect="1"/>
          </p:cNvSpPr>
          <p:nvPr/>
        </p:nvSpPr>
        <p:spPr bwMode="auto">
          <a:xfrm>
            <a:off x="3333950" y="335809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
        <p:nvSpPr>
          <p:cNvPr id="57" name="Freeform 56"/>
          <p:cNvSpPr>
            <a:spLocks noChangeAspect="1"/>
          </p:cNvSpPr>
          <p:nvPr/>
        </p:nvSpPr>
        <p:spPr bwMode="auto">
          <a:xfrm>
            <a:off x="5200629" y="335809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
        <p:nvSpPr>
          <p:cNvPr id="58" name="Freeform 57"/>
          <p:cNvSpPr>
            <a:spLocks noChangeAspect="1"/>
          </p:cNvSpPr>
          <p:nvPr/>
        </p:nvSpPr>
        <p:spPr bwMode="auto">
          <a:xfrm>
            <a:off x="6854747" y="335809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
        <p:nvSpPr>
          <p:cNvPr id="59" name="Freeform 58"/>
          <p:cNvSpPr>
            <a:spLocks noChangeAspect="1"/>
          </p:cNvSpPr>
          <p:nvPr/>
        </p:nvSpPr>
        <p:spPr bwMode="auto">
          <a:xfrm>
            <a:off x="8371637" y="335809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bg2">
              <a:lumMod val="90000"/>
            </a:schemeClr>
          </a:solidFill>
          <a:ln w="12700" cap="flat" cmpd="sng">
            <a:noFill/>
            <a:prstDash val="solid"/>
            <a:round/>
            <a:headEnd type="none" w="med" len="med"/>
            <a:tailEnd type="none" w="med" len="med"/>
          </a:ln>
          <a:effectLst/>
        </p:spPr>
        <p:txBody>
          <a:bodyPr wrap="square" lIns="36000" tIns="36000" rIns="36000" bIns="36000" anchor="ctr"/>
          <a:lstStyle/>
          <a:p>
            <a:pPr>
              <a:defRPr/>
            </a:pPr>
            <a:endParaRPr lang="en-US" sz="1100" dirty="0">
              <a:solidFill>
                <a:schemeClr val="bg1"/>
              </a:solidFill>
            </a:endParaRPr>
          </a:p>
        </p:txBody>
      </p:sp>
    </p:spTree>
    <p:extLst>
      <p:ext uri="{BB962C8B-B14F-4D97-AF65-F5344CB8AC3E}">
        <p14:creationId xmlns:p14="http://schemas.microsoft.com/office/powerpoint/2010/main" val="1212397107"/>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The loop</a:t>
            </a:r>
            <a:endParaRPr lang="en-US" dirty="0"/>
          </a:p>
        </p:txBody>
      </p:sp>
      <p:sp>
        <p:nvSpPr>
          <p:cNvPr id="765955" name="Title 1"/>
          <p:cNvSpPr>
            <a:spLocks noGrp="1"/>
          </p:cNvSpPr>
          <p:nvPr>
            <p:ph type="title"/>
          </p:nvPr>
        </p:nvSpPr>
        <p:spPr/>
        <p:txBody>
          <a:bodyPr/>
          <a:lstStyle/>
          <a:p>
            <a:r>
              <a:rPr lang="en-US" altLang="ja-JP"/>
              <a:t>Strategy development</a:t>
            </a:r>
            <a:endParaRPr lang="en-US" dirty="0"/>
          </a:p>
        </p:txBody>
      </p:sp>
      <p:grpSp>
        <p:nvGrpSpPr>
          <p:cNvPr id="2" name="Group 1">
            <a:extLst>
              <a:ext uri="{FF2B5EF4-FFF2-40B4-BE49-F238E27FC236}">
                <a16:creationId xmlns:a16="http://schemas.microsoft.com/office/drawing/2014/main" id="{1A82D788-02F5-4A9B-A78B-9D90136F0C65}"/>
              </a:ext>
            </a:extLst>
          </p:cNvPr>
          <p:cNvGrpSpPr/>
          <p:nvPr/>
        </p:nvGrpSpPr>
        <p:grpSpPr>
          <a:xfrm>
            <a:off x="1674684" y="1583782"/>
            <a:ext cx="8937161" cy="4411350"/>
            <a:chOff x="1895475" y="1978270"/>
            <a:chExt cx="8397875" cy="4016862"/>
          </a:xfrm>
        </p:grpSpPr>
        <p:sp>
          <p:nvSpPr>
            <p:cNvPr id="388" name="Donut 387"/>
            <p:cNvSpPr/>
            <p:nvPr/>
          </p:nvSpPr>
          <p:spPr>
            <a:xfrm>
              <a:off x="6096000" y="2748329"/>
              <a:ext cx="4197350" cy="2457450"/>
            </a:xfrm>
            <a:prstGeom prst="donu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87" name="Donut 386"/>
            <p:cNvSpPr/>
            <p:nvPr/>
          </p:nvSpPr>
          <p:spPr>
            <a:xfrm>
              <a:off x="1895475" y="2748329"/>
              <a:ext cx="4197350" cy="2457450"/>
            </a:xfrm>
            <a:prstGeom prst="donu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64" name="Oval 10"/>
            <p:cNvSpPr>
              <a:spLocks noChangeArrowheads="1"/>
            </p:cNvSpPr>
            <p:nvPr/>
          </p:nvSpPr>
          <p:spPr bwMode="auto">
            <a:xfrm>
              <a:off x="2485390" y="1978270"/>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b="1" dirty="0">
                  <a:solidFill>
                    <a:schemeClr val="bg1"/>
                  </a:solidFill>
                  <a:ea typeface="ＭＳ Ｐゴシック" pitchFamily="50" charset="-128"/>
                </a:rPr>
                <a:t>Commercial market</a:t>
              </a:r>
            </a:p>
          </p:txBody>
        </p:sp>
        <p:sp>
          <p:nvSpPr>
            <p:cNvPr id="305" name="Oval 51"/>
            <p:cNvSpPr>
              <a:spLocks noChangeArrowheads="1"/>
            </p:cNvSpPr>
            <p:nvPr/>
          </p:nvSpPr>
          <p:spPr bwMode="auto">
            <a:xfrm>
              <a:off x="3555207" y="3553193"/>
              <a:ext cx="887413" cy="885825"/>
            </a:xfrm>
            <a:prstGeom prst="ellipse">
              <a:avLst/>
            </a:prstGeom>
            <a:solidFill>
              <a:schemeClr val="bg1"/>
            </a:solidFill>
            <a:ln w="57150">
              <a:solidFill>
                <a:schemeClr val="accent2"/>
              </a:solidFill>
              <a:round/>
              <a:headEnd type="none" w="sm" len="sm"/>
              <a:tailEnd type="none" w="sm" len="sm"/>
            </a:ln>
            <a:effectLst/>
          </p:spPr>
          <p:txBody>
            <a:bodyPr wrap="none" lIns="88900" tIns="88900" rIns="88900" bIns="88900" anchor="ctr"/>
            <a:lstStyle/>
            <a:p>
              <a:pPr algn="ctr">
                <a:defRPr/>
              </a:pPr>
              <a:r>
                <a:rPr kumimoji="1" lang="en-US" altLang="ja-JP" sz="1000" b="1" dirty="0">
                  <a:ea typeface="ＭＳ Ｐゴシック" pitchFamily="50" charset="-128"/>
                </a:rPr>
                <a:t>Insight</a:t>
              </a:r>
            </a:p>
          </p:txBody>
        </p:sp>
        <p:sp>
          <p:nvSpPr>
            <p:cNvPr id="306" name="Oval 52"/>
            <p:cNvSpPr>
              <a:spLocks noChangeArrowheads="1"/>
            </p:cNvSpPr>
            <p:nvPr/>
          </p:nvSpPr>
          <p:spPr bwMode="auto">
            <a:xfrm>
              <a:off x="7752558" y="3553193"/>
              <a:ext cx="884237" cy="885825"/>
            </a:xfrm>
            <a:prstGeom prst="ellipse">
              <a:avLst/>
            </a:prstGeom>
            <a:solidFill>
              <a:schemeClr val="bg1"/>
            </a:solidFill>
            <a:ln w="57150">
              <a:solidFill>
                <a:schemeClr val="accent2"/>
              </a:solidFill>
              <a:round/>
              <a:headEnd type="none" w="sm" len="sm"/>
              <a:tailEnd type="none" w="sm" len="sm"/>
            </a:ln>
            <a:effectLst/>
          </p:spPr>
          <p:txBody>
            <a:bodyPr wrap="none" lIns="88900" tIns="88900" rIns="88900" bIns="88900" anchor="ctr"/>
            <a:lstStyle/>
            <a:p>
              <a:pPr algn="ctr">
                <a:defRPr/>
              </a:pPr>
              <a:r>
                <a:rPr kumimoji="1" lang="en-US" sz="1000" b="1" dirty="0">
                  <a:ea typeface="ＭＳ Ｐゴシック" pitchFamily="50" charset="-128"/>
                </a:rPr>
                <a:t>Value </a:t>
              </a:r>
              <a:br>
                <a:rPr kumimoji="1" lang="en-US" sz="1000" b="1" dirty="0">
                  <a:ea typeface="ＭＳ Ｐゴシック" pitchFamily="50" charset="-128"/>
                </a:rPr>
              </a:br>
              <a:r>
                <a:rPr kumimoji="1" lang="en-US" sz="1000" b="1" dirty="0">
                  <a:ea typeface="ＭＳ Ｐゴシック" pitchFamily="50" charset="-128"/>
                </a:rPr>
                <a:t>creation</a:t>
              </a:r>
            </a:p>
          </p:txBody>
        </p:sp>
        <p:grpSp>
          <p:nvGrpSpPr>
            <p:cNvPr id="765976" name="Group 61"/>
            <p:cNvGrpSpPr>
              <a:grpSpLocks/>
            </p:cNvGrpSpPr>
            <p:nvPr/>
          </p:nvGrpSpPr>
          <p:grpSpPr bwMode="auto">
            <a:xfrm>
              <a:off x="5640389" y="3354755"/>
              <a:ext cx="885825" cy="1084263"/>
              <a:chOff x="2650" y="1670"/>
              <a:chExt cx="558" cy="683"/>
            </a:xfrm>
          </p:grpSpPr>
          <p:sp>
            <p:nvSpPr>
              <p:cNvPr id="316" name="Oval 62"/>
              <p:cNvSpPr>
                <a:spLocks noChangeArrowheads="1"/>
              </p:cNvSpPr>
              <p:nvPr/>
            </p:nvSpPr>
            <p:spPr bwMode="auto">
              <a:xfrm>
                <a:off x="2650" y="1795"/>
                <a:ext cx="558" cy="558"/>
              </a:xfrm>
              <a:prstGeom prst="ellipse">
                <a:avLst/>
              </a:prstGeom>
              <a:noFill/>
              <a:ln w="57150">
                <a:solidFill>
                  <a:schemeClr val="accent2"/>
                </a:solidFill>
                <a:round/>
                <a:headEnd type="none" w="sm" len="sm"/>
                <a:tailEnd type="none" w="sm" len="sm"/>
              </a:ln>
            </p:spPr>
            <p:txBody>
              <a:bodyPr wrap="none" anchor="ctr"/>
              <a:lstStyle/>
              <a:p>
                <a:pPr algn="ctr">
                  <a:defRPr/>
                </a:pPr>
                <a:endParaRPr kumimoji="1" lang="en-US" sz="1100" dirty="0">
                  <a:solidFill>
                    <a:schemeClr val="tx2"/>
                  </a:solidFill>
                  <a:ea typeface="ＭＳ Ｐゴシック" pitchFamily="50" charset="-128"/>
                </a:endParaRPr>
              </a:p>
            </p:txBody>
          </p:sp>
          <p:grpSp>
            <p:nvGrpSpPr>
              <p:cNvPr id="765998" name="Group 63"/>
              <p:cNvGrpSpPr>
                <a:grpSpLocks/>
              </p:cNvGrpSpPr>
              <p:nvPr/>
            </p:nvGrpSpPr>
            <p:grpSpPr bwMode="auto">
              <a:xfrm>
                <a:off x="2745" y="1670"/>
                <a:ext cx="375" cy="120"/>
                <a:chOff x="2745" y="1670"/>
                <a:chExt cx="375" cy="120"/>
              </a:xfrm>
            </p:grpSpPr>
            <p:sp>
              <p:nvSpPr>
                <p:cNvPr id="318" name="Line 64"/>
                <p:cNvSpPr>
                  <a:spLocks noChangeShapeType="1"/>
                </p:cNvSpPr>
                <p:nvPr/>
              </p:nvSpPr>
              <p:spPr bwMode="auto">
                <a:xfrm>
                  <a:off x="2745" y="1670"/>
                  <a:ext cx="375" cy="0"/>
                </a:xfrm>
                <a:prstGeom prst="line">
                  <a:avLst/>
                </a:prstGeom>
                <a:noFill/>
                <a:ln w="57150">
                  <a:solidFill>
                    <a:schemeClr val="accent2"/>
                  </a:solidFill>
                  <a:round/>
                  <a:headEnd type="none" w="sm" len="sm"/>
                  <a:tailEnd type="none" w="sm" len="sm"/>
                </a:ln>
              </p:spPr>
              <p:txBody>
                <a:bodyPr wrap="none" anchor="ctr"/>
                <a:lstStyle/>
                <a:p>
                  <a:pPr>
                    <a:defRPr/>
                  </a:pPr>
                  <a:endParaRPr lang="en-US" sz="1100" dirty="0">
                    <a:solidFill>
                      <a:schemeClr val="tx2"/>
                    </a:solidFill>
                  </a:endParaRPr>
                </a:p>
              </p:txBody>
            </p:sp>
            <p:sp>
              <p:nvSpPr>
                <p:cNvPr id="319" name="Line 65"/>
                <p:cNvSpPr>
                  <a:spLocks noChangeShapeType="1"/>
                </p:cNvSpPr>
                <p:nvPr/>
              </p:nvSpPr>
              <p:spPr bwMode="auto">
                <a:xfrm rot="5400000">
                  <a:off x="2873" y="1730"/>
                  <a:ext cx="120" cy="0"/>
                </a:xfrm>
                <a:prstGeom prst="line">
                  <a:avLst/>
                </a:prstGeom>
                <a:noFill/>
                <a:ln w="57150">
                  <a:solidFill>
                    <a:schemeClr val="accent2"/>
                  </a:solidFill>
                  <a:round/>
                  <a:headEnd type="none" w="sm" len="sm"/>
                  <a:tailEnd type="none" w="sm" len="sm"/>
                </a:ln>
              </p:spPr>
              <p:txBody>
                <a:bodyPr wrap="none" anchor="ctr"/>
                <a:lstStyle/>
                <a:p>
                  <a:pPr>
                    <a:defRPr/>
                  </a:pPr>
                  <a:endParaRPr lang="en-US" sz="1100" dirty="0">
                    <a:solidFill>
                      <a:schemeClr val="tx2"/>
                    </a:solidFill>
                  </a:endParaRPr>
                </a:p>
              </p:txBody>
            </p:sp>
          </p:grpSp>
        </p:grpSp>
        <p:sp>
          <p:nvSpPr>
            <p:cNvPr id="765977" name="Text Box 66"/>
            <p:cNvSpPr txBox="1">
              <a:spLocks noChangeArrowheads="1"/>
            </p:cNvSpPr>
            <p:nvPr/>
          </p:nvSpPr>
          <p:spPr bwMode="auto">
            <a:xfrm>
              <a:off x="5885473" y="2942897"/>
              <a:ext cx="411971" cy="307777"/>
            </a:xfrm>
            <a:prstGeom prst="rect">
              <a:avLst/>
            </a:prstGeom>
            <a:noFill/>
            <a:ln w="12700">
              <a:noFill/>
              <a:miter lim="800000"/>
              <a:headEnd type="none" w="sm" len="sm"/>
              <a:tailEnd type="none" w="sm" len="sm"/>
            </a:ln>
          </p:spPr>
          <p:txBody>
            <a:bodyPr wrap="none" lIns="0" tIns="0" rIns="0" bIns="0" anchor="ctr">
              <a:spAutoFit/>
            </a:bodyPr>
            <a:lstStyle/>
            <a:p>
              <a:pPr algn="ctr"/>
              <a:r>
                <a:rPr kumimoji="1" lang="en-US" altLang="ja-JP" sz="1000" b="1" dirty="0">
                  <a:ea typeface="ＭＳ Ｐゴシック" charset="-128"/>
                </a:rPr>
                <a:t>Chosen </a:t>
              </a:r>
              <a:br>
                <a:rPr kumimoji="1" lang="en-US" altLang="ja-JP" sz="1000" b="1" dirty="0">
                  <a:ea typeface="ＭＳ Ｐゴシック" charset="-128"/>
                </a:rPr>
              </a:br>
              <a:r>
                <a:rPr kumimoji="1" lang="en-US" altLang="ja-JP" sz="1000" b="1" dirty="0">
                  <a:ea typeface="ＭＳ Ｐゴシック" charset="-128"/>
                </a:rPr>
                <a:t>strategy</a:t>
              </a:r>
            </a:p>
          </p:txBody>
        </p:sp>
        <p:sp>
          <p:nvSpPr>
            <p:cNvPr id="262" name="Oval 261"/>
            <p:cNvSpPr>
              <a:spLocks noChangeArrowheads="1"/>
            </p:cNvSpPr>
            <p:nvPr/>
          </p:nvSpPr>
          <p:spPr bwMode="auto">
            <a:xfrm>
              <a:off x="6685915" y="5601432"/>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b="1" dirty="0">
                  <a:solidFill>
                    <a:schemeClr val="bg1"/>
                  </a:solidFill>
                  <a:ea typeface="ＭＳ Ｐゴシック" pitchFamily="50" charset="-128"/>
                </a:rPr>
                <a:t>Managed performance</a:t>
              </a:r>
            </a:p>
          </p:txBody>
        </p:sp>
        <p:sp>
          <p:nvSpPr>
            <p:cNvPr id="311" name="AutoShape 57"/>
            <p:cNvSpPr>
              <a:spLocks noChangeArrowheads="1"/>
            </p:cNvSpPr>
            <p:nvPr/>
          </p:nvSpPr>
          <p:spPr bwMode="auto">
            <a:xfrm>
              <a:off x="6411595" y="4711669"/>
              <a:ext cx="356616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Critical success factors and key performance indicators</a:t>
              </a:r>
            </a:p>
          </p:txBody>
        </p:sp>
        <p:sp>
          <p:nvSpPr>
            <p:cNvPr id="312" name="AutoShape 58"/>
            <p:cNvSpPr>
              <a:spLocks noChangeArrowheads="1"/>
            </p:cNvSpPr>
            <p:nvPr/>
          </p:nvSpPr>
          <p:spPr bwMode="auto">
            <a:xfrm>
              <a:off x="6411595" y="5289305"/>
              <a:ext cx="356616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Performance monitoring and incentive compensation</a:t>
              </a:r>
            </a:p>
          </p:txBody>
        </p:sp>
        <p:sp>
          <p:nvSpPr>
            <p:cNvPr id="393" name="Isosceles Triangle 392"/>
            <p:cNvSpPr/>
            <p:nvPr/>
          </p:nvSpPr>
          <p:spPr>
            <a:xfrm rot="10800000" flipV="1">
              <a:off x="8091489" y="4985911"/>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95" name="Isosceles Triangle 394"/>
            <p:cNvSpPr/>
            <p:nvPr/>
          </p:nvSpPr>
          <p:spPr>
            <a:xfrm rot="10800000" flipV="1">
              <a:off x="8091489" y="44993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61" name="Oval 260"/>
            <p:cNvSpPr>
              <a:spLocks noChangeArrowheads="1"/>
            </p:cNvSpPr>
            <p:nvPr/>
          </p:nvSpPr>
          <p:spPr bwMode="auto">
            <a:xfrm>
              <a:off x="2485390" y="5601432"/>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b="1" dirty="0">
                  <a:solidFill>
                    <a:schemeClr val="bg1"/>
                  </a:solidFill>
                  <a:ea typeface="ＭＳ Ｐゴシック" pitchFamily="50" charset="-128"/>
                </a:rPr>
                <a:t>Capital market</a:t>
              </a:r>
            </a:p>
          </p:txBody>
        </p:sp>
        <p:sp>
          <p:nvSpPr>
            <p:cNvPr id="308" name="AutoShape 54"/>
            <p:cNvSpPr>
              <a:spLocks noChangeArrowheads="1"/>
            </p:cNvSpPr>
            <p:nvPr/>
          </p:nvSpPr>
          <p:spPr bwMode="auto">
            <a:xfrm>
              <a:off x="3171190" y="4711669"/>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Financial position</a:t>
              </a:r>
            </a:p>
          </p:txBody>
        </p:sp>
        <p:sp>
          <p:nvSpPr>
            <p:cNvPr id="309" name="AutoShape 55"/>
            <p:cNvSpPr>
              <a:spLocks noChangeArrowheads="1"/>
            </p:cNvSpPr>
            <p:nvPr/>
          </p:nvSpPr>
          <p:spPr bwMode="auto">
            <a:xfrm>
              <a:off x="4039870" y="5289305"/>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Growth</a:t>
              </a:r>
            </a:p>
          </p:txBody>
        </p:sp>
        <p:sp>
          <p:nvSpPr>
            <p:cNvPr id="310" name="AutoShape 56"/>
            <p:cNvSpPr>
              <a:spLocks noChangeArrowheads="1"/>
            </p:cNvSpPr>
            <p:nvPr/>
          </p:nvSpPr>
          <p:spPr bwMode="auto">
            <a:xfrm>
              <a:off x="2485390" y="5289305"/>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Economic profitability</a:t>
              </a:r>
            </a:p>
          </p:txBody>
        </p:sp>
        <p:sp>
          <p:nvSpPr>
            <p:cNvPr id="394" name="Isosceles Triangle 393"/>
            <p:cNvSpPr/>
            <p:nvPr/>
          </p:nvSpPr>
          <p:spPr>
            <a:xfrm rot="10800000" flipV="1">
              <a:off x="3895726" y="4985911"/>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96" name="Isosceles Triangle 395"/>
            <p:cNvSpPr/>
            <p:nvPr/>
          </p:nvSpPr>
          <p:spPr>
            <a:xfrm rot="10800000" flipV="1">
              <a:off x="3895726" y="4499343"/>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65" name="Oval 11"/>
            <p:cNvSpPr>
              <a:spLocks noChangeArrowheads="1"/>
            </p:cNvSpPr>
            <p:nvPr/>
          </p:nvSpPr>
          <p:spPr bwMode="auto">
            <a:xfrm>
              <a:off x="6685915" y="1978270"/>
              <a:ext cx="3017520" cy="393700"/>
            </a:xfrm>
            <a:prstGeom prst="ellipse">
              <a:avLst/>
            </a:prstGeom>
            <a:solidFill>
              <a:schemeClr val="accent1"/>
            </a:solidFill>
            <a:ln w="12700" algn="ctr">
              <a:noFill/>
              <a:round/>
              <a:headEnd type="none" w="sm" len="sm"/>
              <a:tailEnd type="none" w="sm" len="sm"/>
            </a:ln>
            <a:effectLst/>
          </p:spPr>
          <p:txBody>
            <a:bodyPr tIns="91440" bIns="91440" anchor="ctr"/>
            <a:lstStyle/>
            <a:p>
              <a:pPr algn="ctr">
                <a:defRPr/>
              </a:pPr>
              <a:r>
                <a:rPr lang="en-US" altLang="ja-JP" sz="1100" b="1" dirty="0">
                  <a:solidFill>
                    <a:schemeClr val="bg1"/>
                  </a:solidFill>
                  <a:ea typeface="ＭＳ Ｐゴシック" pitchFamily="50" charset="-128"/>
                </a:rPr>
                <a:t>Structure and resources</a:t>
              </a:r>
            </a:p>
          </p:txBody>
        </p:sp>
        <p:sp>
          <p:nvSpPr>
            <p:cNvPr id="313" name="AutoShape 59"/>
            <p:cNvSpPr>
              <a:spLocks noChangeArrowheads="1"/>
            </p:cNvSpPr>
            <p:nvPr/>
          </p:nvSpPr>
          <p:spPr bwMode="auto">
            <a:xfrm>
              <a:off x="7039770" y="2445850"/>
              <a:ext cx="2309813"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Organizational architecture</a:t>
              </a:r>
            </a:p>
          </p:txBody>
        </p:sp>
        <p:sp>
          <p:nvSpPr>
            <p:cNvPr id="314" name="AutoShape 60"/>
            <p:cNvSpPr>
              <a:spLocks noChangeArrowheads="1"/>
            </p:cNvSpPr>
            <p:nvPr/>
          </p:nvSpPr>
          <p:spPr bwMode="auto">
            <a:xfrm>
              <a:off x="7371715" y="3000742"/>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Projects and resources</a:t>
              </a:r>
            </a:p>
          </p:txBody>
        </p:sp>
        <p:sp>
          <p:nvSpPr>
            <p:cNvPr id="397" name="Isosceles Triangle 396"/>
            <p:cNvSpPr/>
            <p:nvPr/>
          </p:nvSpPr>
          <p:spPr>
            <a:xfrm rot="10800000">
              <a:off x="8091489" y="32801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99" name="Isosceles Triangle 398"/>
            <p:cNvSpPr/>
            <p:nvPr/>
          </p:nvSpPr>
          <p:spPr>
            <a:xfrm rot="10800000">
              <a:off x="8091489" y="2792780"/>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90" name="AutoShape 36"/>
            <p:cNvSpPr>
              <a:spLocks noChangeArrowheads="1"/>
            </p:cNvSpPr>
            <p:nvPr/>
          </p:nvSpPr>
          <p:spPr bwMode="auto">
            <a:xfrm>
              <a:off x="3171190" y="3000742"/>
              <a:ext cx="164592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trategic position</a:t>
              </a:r>
            </a:p>
          </p:txBody>
        </p:sp>
        <p:sp>
          <p:nvSpPr>
            <p:cNvPr id="291" name="AutoShape 37"/>
            <p:cNvSpPr>
              <a:spLocks noChangeArrowheads="1"/>
            </p:cNvSpPr>
            <p:nvPr/>
          </p:nvSpPr>
          <p:spPr bwMode="auto">
            <a:xfrm>
              <a:off x="4039870" y="2445850"/>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Competitive position</a:t>
              </a:r>
            </a:p>
          </p:txBody>
        </p:sp>
        <p:sp>
          <p:nvSpPr>
            <p:cNvPr id="292" name="AutoShape 38"/>
            <p:cNvSpPr>
              <a:spLocks noChangeArrowheads="1"/>
            </p:cNvSpPr>
            <p:nvPr/>
          </p:nvSpPr>
          <p:spPr bwMode="auto">
            <a:xfrm>
              <a:off x="2485390" y="2445850"/>
              <a:ext cx="146304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100" dirty="0">
                  <a:ea typeface="ＭＳ Ｐゴシック" pitchFamily="50" charset="-128"/>
                </a:rPr>
                <a:t>Market attractiveness</a:t>
              </a:r>
            </a:p>
          </p:txBody>
        </p:sp>
        <p:sp>
          <p:nvSpPr>
            <p:cNvPr id="398" name="Isosceles Triangle 397"/>
            <p:cNvSpPr/>
            <p:nvPr/>
          </p:nvSpPr>
          <p:spPr>
            <a:xfrm rot="10800000">
              <a:off x="3895726" y="3280142"/>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400" name="Isosceles Triangle 399"/>
            <p:cNvSpPr/>
            <p:nvPr/>
          </p:nvSpPr>
          <p:spPr>
            <a:xfrm rot="10800000">
              <a:off x="3895726" y="2795954"/>
              <a:ext cx="206375" cy="17780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321" name="AutoShape 67"/>
            <p:cNvSpPr>
              <a:spLocks noChangeArrowheads="1"/>
            </p:cNvSpPr>
            <p:nvPr/>
          </p:nvSpPr>
          <p:spPr bwMode="auto">
            <a:xfrm>
              <a:off x="4704209" y="3697653"/>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cenarios</a:t>
              </a:r>
            </a:p>
          </p:txBody>
        </p:sp>
        <p:sp>
          <p:nvSpPr>
            <p:cNvPr id="322" name="AutoShape 68"/>
            <p:cNvSpPr>
              <a:spLocks noChangeArrowheads="1"/>
            </p:cNvSpPr>
            <p:nvPr/>
          </p:nvSpPr>
          <p:spPr bwMode="auto">
            <a:xfrm>
              <a:off x="4704208" y="4045316"/>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Creativity</a:t>
              </a:r>
              <a:endParaRPr lang="en-US" altLang="ja-JP" sz="1100" dirty="0">
                <a:ea typeface="ＭＳ Ｐゴシック" pitchFamily="50" charset="-128"/>
              </a:endParaRPr>
            </a:p>
          </p:txBody>
        </p:sp>
        <p:sp>
          <p:nvSpPr>
            <p:cNvPr id="68" name="Isosceles Triangle 67"/>
            <p:cNvSpPr/>
            <p:nvPr/>
          </p:nvSpPr>
          <p:spPr>
            <a:xfrm rot="5400000">
              <a:off x="4545617" y="3883394"/>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69" name="Isosceles Triangle 68"/>
            <p:cNvSpPr/>
            <p:nvPr/>
          </p:nvSpPr>
          <p:spPr>
            <a:xfrm rot="16200000" flipH="1">
              <a:off x="4269392" y="3883394"/>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293" name="AutoShape 39"/>
            <p:cNvSpPr>
              <a:spLocks noChangeArrowheads="1"/>
            </p:cNvSpPr>
            <p:nvPr/>
          </p:nvSpPr>
          <p:spPr bwMode="auto">
            <a:xfrm>
              <a:off x="2021797" y="3707178"/>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cope and context</a:t>
              </a:r>
            </a:p>
          </p:txBody>
        </p:sp>
        <p:sp>
          <p:nvSpPr>
            <p:cNvPr id="294" name="AutoShape 40"/>
            <p:cNvSpPr>
              <a:spLocks noChangeArrowheads="1"/>
            </p:cNvSpPr>
            <p:nvPr/>
          </p:nvSpPr>
          <p:spPr bwMode="auto">
            <a:xfrm>
              <a:off x="2021797" y="4045316"/>
              <a:ext cx="1243080" cy="228600"/>
            </a:xfrm>
            <a:prstGeom prst="roundRect">
              <a:avLst>
                <a:gd name="adj" fmla="val 50000"/>
              </a:avLst>
            </a:prstGeom>
            <a:solidFill>
              <a:schemeClr val="bg1"/>
            </a:solidFill>
            <a:ln w="6350" algn="ctr">
              <a:solidFill>
                <a:srgbClr val="BBBCBC"/>
              </a:solidFill>
              <a:round/>
              <a:headEnd type="none" w="sm" len="sm"/>
              <a:tailEnd type="none" w="sm" len="sm"/>
            </a:ln>
            <a:effectLst/>
          </p:spPr>
          <p:txBody>
            <a:bodyPr wrap="none" tIns="91440" bIns="91440" anchor="ctr"/>
            <a:lstStyle/>
            <a:p>
              <a:pPr algn="ctr">
                <a:defRPr/>
              </a:pPr>
              <a:r>
                <a:rPr lang="en-US" altLang="ja-JP" sz="1000" dirty="0">
                  <a:ea typeface="ＭＳ Ｐゴシック" pitchFamily="50" charset="-128"/>
                </a:rPr>
                <a:t>Strategic issues</a:t>
              </a:r>
            </a:p>
          </p:txBody>
        </p:sp>
        <p:sp>
          <p:nvSpPr>
            <p:cNvPr id="70" name="Isosceles Triangle 69"/>
            <p:cNvSpPr/>
            <p:nvPr/>
          </p:nvSpPr>
          <p:spPr>
            <a:xfrm rot="5400000">
              <a:off x="3479156"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71" name="Isosceles Triangle 70"/>
            <p:cNvSpPr/>
            <p:nvPr/>
          </p:nvSpPr>
          <p:spPr>
            <a:xfrm rot="16200000" flipH="1">
              <a:off x="3202931"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55" name="Isosceles Triangle 54"/>
            <p:cNvSpPr/>
            <p:nvPr/>
          </p:nvSpPr>
          <p:spPr>
            <a:xfrm rot="5400000">
              <a:off x="6099009"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sp>
          <p:nvSpPr>
            <p:cNvPr id="56" name="Isosceles Triangle 55"/>
            <p:cNvSpPr/>
            <p:nvPr/>
          </p:nvSpPr>
          <p:spPr>
            <a:xfrm rot="16200000" flipH="1">
              <a:off x="5822784" y="3883393"/>
              <a:ext cx="261938" cy="225425"/>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2"/>
                </a:solidFill>
              </a:endParaRPr>
            </a:p>
          </p:txBody>
        </p:sp>
      </p:grpSp>
    </p:spTree>
    <p:extLst>
      <p:ext uri="{BB962C8B-B14F-4D97-AF65-F5344CB8AC3E}">
        <p14:creationId xmlns:p14="http://schemas.microsoft.com/office/powerpoint/2010/main" val="217210301"/>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68001" name="Title 1"/>
          <p:cNvSpPr>
            <a:spLocks noGrp="1"/>
          </p:cNvSpPr>
          <p:nvPr>
            <p:ph type="title"/>
          </p:nvPr>
        </p:nvSpPr>
        <p:spPr/>
        <p:txBody>
          <a:bodyPr/>
          <a:lstStyle/>
          <a:p>
            <a:r>
              <a:rPr lang="en-US" altLang="ja-JP" dirty="0"/>
              <a:t>Incremental versus backward strategic planning</a:t>
            </a:r>
            <a:endParaRPr lang="en-US" dirty="0"/>
          </a:p>
        </p:txBody>
      </p:sp>
      <p:sp>
        <p:nvSpPr>
          <p:cNvPr id="768003" name="Rectangle 3"/>
          <p:cNvSpPr>
            <a:spLocks noChangeArrowheads="1"/>
          </p:cNvSpPr>
          <p:nvPr/>
        </p:nvSpPr>
        <p:spPr bwMode="auto">
          <a:xfrm>
            <a:off x="5838136" y="3320550"/>
            <a:ext cx="371897" cy="169277"/>
          </a:xfrm>
          <a:prstGeom prst="rect">
            <a:avLst/>
          </a:prstGeom>
          <a:noFill/>
          <a:ln w="12700">
            <a:noFill/>
            <a:miter lim="800000"/>
            <a:headEnd/>
            <a:tailEnd/>
          </a:ln>
        </p:spPr>
        <p:txBody>
          <a:bodyPr wrap="none" lIns="0" tIns="0" rIns="0" bIns="0">
            <a:spAutoFit/>
          </a:bodyPr>
          <a:lstStyle/>
          <a:p>
            <a:pPr algn="ctr" defTabSz="903288"/>
            <a:r>
              <a:rPr lang="en-US" altLang="ja-JP" sz="1100" b="1" dirty="0">
                <a:ea typeface="ＭＳ Ｐゴシック" charset="-128"/>
              </a:rPr>
              <a:t>Versus</a:t>
            </a:r>
          </a:p>
        </p:txBody>
      </p:sp>
      <p:sp>
        <p:nvSpPr>
          <p:cNvPr id="6" name="Rectangle 5"/>
          <p:cNvSpPr>
            <a:spLocks noChangeArrowheads="1"/>
          </p:cNvSpPr>
          <p:nvPr/>
        </p:nvSpPr>
        <p:spPr bwMode="auto">
          <a:xfrm>
            <a:off x="1107822" y="5063516"/>
            <a:ext cx="4114800" cy="768350"/>
          </a:xfrm>
          <a:prstGeom prst="rect">
            <a:avLst/>
          </a:prstGeom>
          <a:solidFill>
            <a:schemeClr val="tx1"/>
          </a:solidFill>
          <a:ln w="12700" algn="ctr">
            <a:noFill/>
            <a:miter lim="800000"/>
            <a:headEnd/>
            <a:tailEnd/>
          </a:ln>
          <a:effectLst/>
        </p:spPr>
        <p:txBody>
          <a:bodyPr wrap="square" lIns="88900" tIns="88900" rIns="88900" bIns="88900" anchor="ctr">
            <a:noAutofit/>
          </a:bodyPr>
          <a:lstStyle/>
          <a:p>
            <a:pPr algn="ctr">
              <a:defRPr/>
            </a:pPr>
            <a:r>
              <a:rPr lang="en-US" altLang="ja-JP" sz="1200" b="1" dirty="0">
                <a:solidFill>
                  <a:schemeClr val="bg1"/>
                </a:solidFill>
                <a:ea typeface="ＭＳ Ｐゴシック" pitchFamily="50" charset="-128"/>
              </a:rPr>
              <a:t>Incrementalism</a:t>
            </a:r>
          </a:p>
          <a:p>
            <a:pPr algn="ctr">
              <a:defRPr/>
            </a:pPr>
            <a:r>
              <a:rPr lang="en-US" altLang="ja-JP" sz="1200" b="1" dirty="0">
                <a:solidFill>
                  <a:schemeClr val="bg1"/>
                </a:solidFill>
                <a:ea typeface="ＭＳ Ｐゴシック" pitchFamily="50" charset="-128"/>
              </a:rPr>
              <a:t>[One reason why companies stagnate]</a:t>
            </a:r>
          </a:p>
        </p:txBody>
      </p:sp>
      <p:sp>
        <p:nvSpPr>
          <p:cNvPr id="768006" name="Rectangle 9"/>
          <p:cNvSpPr>
            <a:spLocks noChangeArrowheads="1"/>
          </p:cNvSpPr>
          <p:nvPr/>
        </p:nvSpPr>
        <p:spPr bwMode="auto">
          <a:xfrm>
            <a:off x="3002778" y="4631913"/>
            <a:ext cx="280525"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Time</a:t>
            </a:r>
          </a:p>
        </p:txBody>
      </p:sp>
      <p:sp>
        <p:nvSpPr>
          <p:cNvPr id="768007" name="Rectangle 10"/>
          <p:cNvSpPr>
            <a:spLocks noChangeArrowheads="1"/>
          </p:cNvSpPr>
          <p:nvPr/>
        </p:nvSpPr>
        <p:spPr bwMode="auto">
          <a:xfrm>
            <a:off x="1157051" y="3320550"/>
            <a:ext cx="258083"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Goal</a:t>
            </a:r>
          </a:p>
        </p:txBody>
      </p:sp>
      <p:sp>
        <p:nvSpPr>
          <p:cNvPr id="768008" name="Oval 11"/>
          <p:cNvSpPr>
            <a:spLocks noChangeArrowheads="1"/>
          </p:cNvSpPr>
          <p:nvPr/>
        </p:nvSpPr>
        <p:spPr bwMode="auto">
          <a:xfrm>
            <a:off x="1918711" y="3890353"/>
            <a:ext cx="164592" cy="164592"/>
          </a:xfrm>
          <a:prstGeom prst="ellipse">
            <a:avLst/>
          </a:prstGeom>
          <a:solidFill>
            <a:schemeClr val="accent3"/>
          </a:solidFill>
          <a:ln w="12700" algn="ctr">
            <a:solidFill>
              <a:schemeClr val="accent3"/>
            </a:solidFill>
            <a:round/>
            <a:headEnd/>
            <a:tailEnd/>
          </a:ln>
        </p:spPr>
        <p:txBody>
          <a:bodyPr wrap="square" lIns="0" tIns="0" rIns="0" bIns="0" anchor="ctr">
            <a:noAutofit/>
          </a:bodyPr>
          <a:lstStyle/>
          <a:p>
            <a:pPr algn="ctr"/>
            <a:endParaRPr lang="en-US" sz="1100" dirty="0">
              <a:solidFill>
                <a:schemeClr val="tx2"/>
              </a:solidFill>
            </a:endParaRPr>
          </a:p>
        </p:txBody>
      </p:sp>
      <p:sp>
        <p:nvSpPr>
          <p:cNvPr id="768009" name="Rectangle 12"/>
          <p:cNvSpPr>
            <a:spLocks noChangeArrowheads="1"/>
          </p:cNvSpPr>
          <p:nvPr/>
        </p:nvSpPr>
        <p:spPr bwMode="auto">
          <a:xfrm>
            <a:off x="1692852" y="4114006"/>
            <a:ext cx="583493" cy="338554"/>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Where we</a:t>
            </a:r>
            <a:br>
              <a:rPr lang="en-US" altLang="ja-JP" sz="1100" dirty="0">
                <a:ea typeface="ＭＳ Ｐゴシック" charset="-128"/>
              </a:rPr>
            </a:br>
            <a:r>
              <a:rPr lang="en-US" altLang="ja-JP" sz="1100" dirty="0">
                <a:ea typeface="ＭＳ Ｐゴシック" charset="-128"/>
              </a:rPr>
              <a:t>are now?</a:t>
            </a:r>
          </a:p>
        </p:txBody>
      </p:sp>
      <p:sp>
        <p:nvSpPr>
          <p:cNvPr id="768010" name="Rectangle 13"/>
          <p:cNvSpPr>
            <a:spLocks noChangeArrowheads="1"/>
          </p:cNvSpPr>
          <p:nvPr/>
        </p:nvSpPr>
        <p:spPr bwMode="auto">
          <a:xfrm>
            <a:off x="3625399" y="3899879"/>
            <a:ext cx="958596" cy="507831"/>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Actions taken </a:t>
            </a:r>
            <a:br>
              <a:rPr lang="en-US" altLang="ja-JP" sz="1100" dirty="0">
                <a:ea typeface="ＭＳ Ｐゴシック" charset="-128"/>
              </a:rPr>
            </a:br>
            <a:r>
              <a:rPr lang="en-US" altLang="ja-JP" sz="1100" dirty="0">
                <a:ea typeface="ＭＳ Ｐゴシック" charset="-128"/>
              </a:rPr>
              <a:t>in response </a:t>
            </a:r>
            <a:br>
              <a:rPr lang="en-US" altLang="ja-JP" sz="1100" dirty="0">
                <a:ea typeface="ＭＳ Ｐゴシック" charset="-128"/>
              </a:rPr>
            </a:br>
            <a:r>
              <a:rPr lang="en-US" altLang="ja-JP" sz="1100" dirty="0">
                <a:ea typeface="ＭＳ Ｐゴシック" charset="-128"/>
              </a:rPr>
              <a:t>to circumstances</a:t>
            </a:r>
          </a:p>
        </p:txBody>
      </p:sp>
      <p:sp>
        <p:nvSpPr>
          <p:cNvPr id="15" name="Oval 14"/>
          <p:cNvSpPr>
            <a:spLocks noChangeArrowheads="1"/>
          </p:cNvSpPr>
          <p:nvPr/>
        </p:nvSpPr>
        <p:spPr bwMode="auto">
          <a:xfrm>
            <a:off x="2532544" y="3759649"/>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16" name="Oval 15"/>
          <p:cNvSpPr>
            <a:spLocks noChangeArrowheads="1"/>
          </p:cNvSpPr>
          <p:nvPr/>
        </p:nvSpPr>
        <p:spPr bwMode="auto">
          <a:xfrm>
            <a:off x="3146377" y="3628945"/>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17" name="Oval 16"/>
          <p:cNvSpPr>
            <a:spLocks noChangeArrowheads="1"/>
          </p:cNvSpPr>
          <p:nvPr/>
        </p:nvSpPr>
        <p:spPr bwMode="auto">
          <a:xfrm>
            <a:off x="3760211" y="3498241"/>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28" name="Arc 27"/>
          <p:cNvSpPr>
            <a:spLocks/>
          </p:cNvSpPr>
          <p:nvPr/>
        </p:nvSpPr>
        <p:spPr bwMode="auto">
          <a:xfrm>
            <a:off x="2725746" y="3838766"/>
            <a:ext cx="457200" cy="145409"/>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33" name="Arc 32"/>
          <p:cNvSpPr>
            <a:spLocks/>
          </p:cNvSpPr>
          <p:nvPr/>
        </p:nvSpPr>
        <p:spPr bwMode="auto">
          <a:xfrm>
            <a:off x="3347460" y="3709548"/>
            <a:ext cx="457200" cy="145880"/>
          </a:xfrm>
          <a:custGeom>
            <a:avLst/>
            <a:gdLst>
              <a:gd name="T0" fmla="*/ 0 w 39738"/>
              <a:gd name="T1" fmla="*/ 0 h 21600"/>
              <a:gd name="T2" fmla="*/ 0 w 39738"/>
              <a:gd name="T3" fmla="*/ 0 h 21600"/>
              <a:gd name="T4" fmla="*/ 0 w 39738"/>
              <a:gd name="T5" fmla="*/ 0 h 21600"/>
              <a:gd name="T6" fmla="*/ 0 60000 65536"/>
              <a:gd name="T7" fmla="*/ 0 60000 65536"/>
              <a:gd name="T8" fmla="*/ 0 60000 65536"/>
              <a:gd name="T9" fmla="*/ 0 w 39738"/>
              <a:gd name="T10" fmla="*/ 0 h 21600"/>
              <a:gd name="T11" fmla="*/ 39738 w 39738"/>
              <a:gd name="T12" fmla="*/ 21600 h 21600"/>
            </a:gdLst>
            <a:ahLst/>
            <a:cxnLst>
              <a:cxn ang="T6">
                <a:pos x="T0" y="T1"/>
              </a:cxn>
              <a:cxn ang="T7">
                <a:pos x="T2" y="T3"/>
              </a:cxn>
              <a:cxn ang="T8">
                <a:pos x="T4" y="T5"/>
              </a:cxn>
            </a:cxnLst>
            <a:rect l="T9" t="T10" r="T11" b="T12"/>
            <a:pathLst>
              <a:path w="39738" h="21600" fill="none" extrusionOk="0">
                <a:moveTo>
                  <a:pt x="39738" y="0"/>
                </a:moveTo>
                <a:cubicBezTo>
                  <a:pt x="39738" y="11929"/>
                  <a:pt x="30067" y="21600"/>
                  <a:pt x="18138" y="21600"/>
                </a:cubicBezTo>
                <a:cubicBezTo>
                  <a:pt x="10808" y="21600"/>
                  <a:pt x="3979" y="17883"/>
                  <a:pt x="-1" y="11729"/>
                </a:cubicBezTo>
              </a:path>
              <a:path w="39738" h="21600" stroke="0" extrusionOk="0">
                <a:moveTo>
                  <a:pt x="39738" y="0"/>
                </a:moveTo>
                <a:cubicBezTo>
                  <a:pt x="39738" y="11929"/>
                  <a:pt x="30067" y="21600"/>
                  <a:pt x="18138" y="21600"/>
                </a:cubicBezTo>
                <a:cubicBezTo>
                  <a:pt x="10808" y="21600"/>
                  <a:pt x="3979" y="17883"/>
                  <a:pt x="-1" y="11729"/>
                </a:cubicBezTo>
                <a:lnTo>
                  <a:pt x="18138"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768025" name="Rectangle 36"/>
          <p:cNvSpPr>
            <a:spLocks noChangeArrowheads="1"/>
          </p:cNvSpPr>
          <p:nvPr/>
        </p:nvSpPr>
        <p:spPr bwMode="auto">
          <a:xfrm>
            <a:off x="2226781" y="3158294"/>
            <a:ext cx="965008" cy="338554"/>
          </a:xfrm>
          <a:prstGeom prst="rect">
            <a:avLst/>
          </a:prstGeom>
          <a:noFill/>
          <a:ln w="12700" algn="ctr">
            <a:noFill/>
            <a:miter lim="800000"/>
            <a:headEnd/>
            <a:tailEnd/>
          </a:ln>
        </p:spPr>
        <p:txBody>
          <a:bodyPr wrap="none" lIns="0" tIns="0" rIns="0" bIns="0">
            <a:spAutoFit/>
          </a:bodyPr>
          <a:lstStyle/>
          <a:p>
            <a:pPr algn="ctr" defTabSz="903288"/>
            <a:r>
              <a:rPr lang="en-US" altLang="ja-JP" sz="1100" dirty="0">
                <a:ea typeface="ＭＳ Ｐゴシック" charset="-128"/>
              </a:rPr>
              <a:t>Where can </a:t>
            </a:r>
            <a:br>
              <a:rPr lang="en-US" altLang="ja-JP" sz="1100" dirty="0">
                <a:ea typeface="ＭＳ Ｐゴシック" charset="-128"/>
              </a:rPr>
            </a:br>
            <a:r>
              <a:rPr lang="en-US" altLang="ja-JP" sz="1100" dirty="0">
                <a:ea typeface="ＭＳ Ｐゴシック" charset="-128"/>
              </a:rPr>
              <a:t>we be next year?</a:t>
            </a:r>
          </a:p>
        </p:txBody>
      </p:sp>
      <p:sp>
        <p:nvSpPr>
          <p:cNvPr id="39" name="Rectangle 38"/>
          <p:cNvSpPr>
            <a:spLocks noChangeArrowheads="1"/>
          </p:cNvSpPr>
          <p:nvPr/>
        </p:nvSpPr>
        <p:spPr bwMode="auto">
          <a:xfrm>
            <a:off x="6349904" y="5055346"/>
            <a:ext cx="4114800" cy="773113"/>
          </a:xfrm>
          <a:prstGeom prst="rect">
            <a:avLst/>
          </a:prstGeom>
          <a:solidFill>
            <a:schemeClr val="tx1"/>
          </a:solidFill>
          <a:ln w="12700" algn="ctr">
            <a:noFill/>
            <a:miter lim="800000"/>
            <a:headEnd/>
            <a:tailEnd/>
          </a:ln>
          <a:effectLst/>
        </p:spPr>
        <p:txBody>
          <a:bodyPr wrap="square" lIns="88900" tIns="88900" rIns="88900" bIns="88900" anchor="ctr">
            <a:noAutofit/>
          </a:bodyPr>
          <a:lstStyle/>
          <a:p>
            <a:pPr algn="ctr">
              <a:defRPr/>
            </a:pPr>
            <a:r>
              <a:rPr lang="en-US" altLang="ja-JP" sz="1200" b="1" dirty="0">
                <a:solidFill>
                  <a:schemeClr val="bg1"/>
                </a:solidFill>
                <a:ea typeface="ＭＳ Ｐゴシック" pitchFamily="50" charset="-128"/>
              </a:rPr>
              <a:t>Focus</a:t>
            </a:r>
          </a:p>
          <a:p>
            <a:pPr algn="ctr">
              <a:defRPr/>
            </a:pPr>
            <a:r>
              <a:rPr lang="en-US" altLang="ja-JP" sz="1200" b="1" dirty="0">
                <a:solidFill>
                  <a:schemeClr val="bg1"/>
                </a:solidFill>
                <a:ea typeface="ＭＳ Ｐゴシック" pitchFamily="50" charset="-128"/>
              </a:rPr>
              <a:t>[One reason why companies grow]</a:t>
            </a:r>
          </a:p>
        </p:txBody>
      </p:sp>
      <p:sp>
        <p:nvSpPr>
          <p:cNvPr id="768029" name="Rectangle 41"/>
          <p:cNvSpPr>
            <a:spLocks noChangeArrowheads="1"/>
          </p:cNvSpPr>
          <p:nvPr/>
        </p:nvSpPr>
        <p:spPr bwMode="auto">
          <a:xfrm>
            <a:off x="8790169" y="3781193"/>
            <a:ext cx="839974" cy="338554"/>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Actions driven </a:t>
            </a:r>
            <a:br>
              <a:rPr lang="en-US" altLang="ja-JP" sz="1100" dirty="0">
                <a:ea typeface="ＭＳ Ｐゴシック" charset="-128"/>
              </a:rPr>
            </a:br>
            <a:r>
              <a:rPr lang="en-US" altLang="ja-JP" sz="1100" dirty="0">
                <a:ea typeface="ＭＳ Ｐゴシック" charset="-128"/>
              </a:rPr>
              <a:t>by strategy</a:t>
            </a:r>
          </a:p>
        </p:txBody>
      </p:sp>
      <p:sp>
        <p:nvSpPr>
          <p:cNvPr id="43" name="Arc 42"/>
          <p:cNvSpPr>
            <a:spLocks/>
          </p:cNvSpPr>
          <p:nvPr/>
        </p:nvSpPr>
        <p:spPr bwMode="auto">
          <a:xfrm>
            <a:off x="7624635" y="2458804"/>
            <a:ext cx="1989169" cy="1385889"/>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6"/>
                  <a:pt x="9661" y="8"/>
                  <a:pt x="21585" y="0"/>
                </a:cubicBezTo>
              </a:path>
              <a:path w="21600" h="21600" stroke="0" extrusionOk="0">
                <a:moveTo>
                  <a:pt x="0" y="21600"/>
                </a:moveTo>
                <a:cubicBezTo>
                  <a:pt x="0" y="9676"/>
                  <a:pt x="9661" y="8"/>
                  <a:pt x="21585" y="0"/>
                </a:cubicBezTo>
                <a:lnTo>
                  <a:pt x="21600" y="21600"/>
                </a:lnTo>
                <a:close/>
              </a:path>
            </a:pathLst>
          </a:custGeom>
          <a:noFill/>
          <a:ln w="19050" cap="rnd">
            <a:solidFill>
              <a:schemeClr val="bg2">
                <a:lumMod val="90000"/>
              </a:schemeClr>
            </a:solidFill>
            <a:round/>
            <a:headEnd/>
            <a:tailEnd type="triangle" w="lg" len="lg"/>
          </a:ln>
          <a:effectLst/>
        </p:spPr>
        <p:txBody>
          <a:bodyPr wrap="square" lIns="0" tIns="0" rIns="0" bIns="0" anchor="ctr">
            <a:noAutofit/>
          </a:bodyPr>
          <a:lstStyle/>
          <a:p>
            <a:pPr algn="ctr">
              <a:defRPr/>
            </a:pPr>
            <a:endParaRPr lang="en-US" sz="1100" dirty="0">
              <a:solidFill>
                <a:schemeClr val="tx2"/>
              </a:solidFill>
            </a:endParaRPr>
          </a:p>
        </p:txBody>
      </p:sp>
      <p:sp>
        <p:nvSpPr>
          <p:cNvPr id="768032" name="Rectangle 46"/>
          <p:cNvSpPr>
            <a:spLocks noChangeArrowheads="1"/>
          </p:cNvSpPr>
          <p:nvPr/>
        </p:nvSpPr>
        <p:spPr bwMode="auto">
          <a:xfrm>
            <a:off x="7187684" y="4057418"/>
            <a:ext cx="599523" cy="338554"/>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Where are</a:t>
            </a:r>
            <a:br>
              <a:rPr lang="en-US" altLang="ja-JP" sz="1100" dirty="0">
                <a:ea typeface="ＭＳ Ｐゴシック" charset="-128"/>
              </a:rPr>
            </a:br>
            <a:r>
              <a:rPr lang="en-US" altLang="ja-JP" sz="1100" dirty="0">
                <a:ea typeface="ＭＳ Ｐゴシック" charset="-128"/>
              </a:rPr>
              <a:t> we now? </a:t>
            </a:r>
          </a:p>
        </p:txBody>
      </p:sp>
      <p:sp>
        <p:nvSpPr>
          <p:cNvPr id="768033" name="Oval 47"/>
          <p:cNvSpPr>
            <a:spLocks noChangeArrowheads="1"/>
          </p:cNvSpPr>
          <p:nvPr/>
        </p:nvSpPr>
        <p:spPr bwMode="auto">
          <a:xfrm>
            <a:off x="7534146" y="3897079"/>
            <a:ext cx="164592" cy="164592"/>
          </a:xfrm>
          <a:prstGeom prst="ellipse">
            <a:avLst/>
          </a:prstGeom>
          <a:solidFill>
            <a:schemeClr val="accent3"/>
          </a:solidFill>
          <a:ln w="12700" algn="ctr">
            <a:solidFill>
              <a:schemeClr val="accent3"/>
            </a:solidFill>
            <a:round/>
            <a:headEnd/>
            <a:tailEnd/>
          </a:ln>
        </p:spPr>
        <p:txBody>
          <a:bodyPr wrap="square" lIns="88900" tIns="88900" rIns="88900" bIns="88900" anchor="ctr">
            <a:noAutofit/>
          </a:bodyPr>
          <a:lstStyle/>
          <a:p>
            <a:pPr algn="ctr"/>
            <a:endParaRPr lang="en-US" sz="1100" dirty="0">
              <a:solidFill>
                <a:schemeClr val="tx2"/>
              </a:solidFill>
            </a:endParaRPr>
          </a:p>
        </p:txBody>
      </p:sp>
      <p:sp>
        <p:nvSpPr>
          <p:cNvPr id="49" name="Oval 48"/>
          <p:cNvSpPr>
            <a:spLocks noChangeArrowheads="1"/>
          </p:cNvSpPr>
          <p:nvPr/>
        </p:nvSpPr>
        <p:spPr bwMode="auto">
          <a:xfrm>
            <a:off x="8237938" y="3395430"/>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50" name="Oval 49"/>
          <p:cNvSpPr>
            <a:spLocks noChangeArrowheads="1"/>
          </p:cNvSpPr>
          <p:nvPr/>
        </p:nvSpPr>
        <p:spPr bwMode="auto">
          <a:xfrm>
            <a:off x="8941730" y="2893780"/>
            <a:ext cx="164592" cy="164592"/>
          </a:xfrm>
          <a:prstGeom prst="ellipse">
            <a:avLst/>
          </a:prstGeom>
          <a:solidFill>
            <a:schemeClr val="bg1"/>
          </a:solidFill>
          <a:ln w="12700">
            <a:solidFill>
              <a:schemeClr val="accent3"/>
            </a:solidFill>
            <a:round/>
            <a:headEnd/>
            <a:tailEnd/>
          </a:ln>
          <a:effectLst/>
        </p:spPr>
        <p:txBody>
          <a:bodyPr wrap="square" lIns="0" tIns="0" rIns="0" bIns="0" anchor="ctr"/>
          <a:lstStyle/>
          <a:p>
            <a:pPr algn="ctr"/>
            <a:endParaRPr lang="en-US" sz="1100" dirty="0">
              <a:solidFill>
                <a:schemeClr val="tx2"/>
              </a:solidFill>
            </a:endParaRPr>
          </a:p>
        </p:txBody>
      </p:sp>
      <p:sp>
        <p:nvSpPr>
          <p:cNvPr id="768036" name="Oval 50"/>
          <p:cNvSpPr>
            <a:spLocks noChangeArrowheads="1"/>
          </p:cNvSpPr>
          <p:nvPr/>
        </p:nvSpPr>
        <p:spPr bwMode="auto">
          <a:xfrm>
            <a:off x="9645521" y="2392130"/>
            <a:ext cx="164592" cy="164592"/>
          </a:xfrm>
          <a:prstGeom prst="ellipse">
            <a:avLst/>
          </a:prstGeom>
          <a:solidFill>
            <a:schemeClr val="accent1"/>
          </a:solidFill>
          <a:ln w="12700" algn="ctr">
            <a:solidFill>
              <a:schemeClr val="accent1"/>
            </a:solidFill>
            <a:round/>
            <a:headEnd/>
            <a:tailEnd/>
          </a:ln>
        </p:spPr>
        <p:txBody>
          <a:bodyPr wrap="square" lIns="0" tIns="0" rIns="0" bIns="0" anchor="ctr">
            <a:noAutofit/>
          </a:bodyPr>
          <a:lstStyle/>
          <a:p>
            <a:pPr algn="ctr"/>
            <a:endParaRPr lang="en-US" sz="1100" dirty="0">
              <a:solidFill>
                <a:schemeClr val="tx2"/>
              </a:solidFill>
            </a:endParaRPr>
          </a:p>
        </p:txBody>
      </p:sp>
      <p:sp>
        <p:nvSpPr>
          <p:cNvPr id="768047" name="Rectangle 61"/>
          <p:cNvSpPr>
            <a:spLocks noChangeArrowheads="1"/>
          </p:cNvSpPr>
          <p:nvPr/>
        </p:nvSpPr>
        <p:spPr bwMode="auto">
          <a:xfrm>
            <a:off x="7244616" y="2274655"/>
            <a:ext cx="1199813" cy="507831"/>
          </a:xfrm>
          <a:prstGeom prst="rect">
            <a:avLst/>
          </a:prstGeom>
          <a:noFill/>
          <a:ln w="12700" algn="ctr">
            <a:noFill/>
            <a:miter lim="800000"/>
            <a:headEnd/>
            <a:tailEnd/>
          </a:ln>
        </p:spPr>
        <p:txBody>
          <a:bodyPr wrap="square" lIns="0" tIns="0" rIns="0" bIns="0">
            <a:spAutoFit/>
          </a:bodyPr>
          <a:lstStyle/>
          <a:p>
            <a:pPr defTabSz="903288"/>
            <a:r>
              <a:rPr lang="en-US" altLang="ja-JP" sz="1100" dirty="0">
                <a:ea typeface="ＭＳ Ｐゴシック" charset="-128"/>
              </a:rPr>
              <a:t>Vision of where we need to be five years from now</a:t>
            </a:r>
          </a:p>
        </p:txBody>
      </p:sp>
      <p:sp>
        <p:nvSpPr>
          <p:cNvPr id="75" name="Arc 76"/>
          <p:cNvSpPr>
            <a:spLocks/>
          </p:cNvSpPr>
          <p:nvPr/>
        </p:nvSpPr>
        <p:spPr bwMode="auto">
          <a:xfrm>
            <a:off x="9166129" y="2600094"/>
            <a:ext cx="571500"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768051" name="Text Placeholder 12"/>
          <p:cNvSpPr>
            <a:spLocks/>
          </p:cNvSpPr>
          <p:nvPr>
            <p:custDataLst>
              <p:tags r:id="rId1"/>
            </p:custDataLst>
          </p:nvPr>
        </p:nvSpPr>
        <p:spPr bwMode="auto">
          <a:xfrm>
            <a:off x="1107822" y="1611313"/>
            <a:ext cx="4114800" cy="184666"/>
          </a:xfrm>
          <a:prstGeom prst="rect">
            <a:avLst/>
          </a:prstGeom>
          <a:noFill/>
          <a:ln w="9525">
            <a:noFill/>
            <a:miter lim="800000"/>
            <a:headEnd/>
            <a:tailEnd/>
          </a:ln>
        </p:spPr>
        <p:txBody>
          <a:bodyPr wrap="square" lIns="0" tIns="0" rIns="0" bIns="0">
            <a:noAutofit/>
          </a:bodyPr>
          <a:lstStyle/>
          <a:p>
            <a:pPr defTabSz="1019175">
              <a:spcAft>
                <a:spcPts val="300"/>
              </a:spcAft>
            </a:pPr>
            <a:r>
              <a:rPr lang="en-US" sz="1300" dirty="0"/>
              <a:t>Incremental planning process</a:t>
            </a:r>
          </a:p>
        </p:txBody>
      </p:sp>
      <p:sp>
        <p:nvSpPr>
          <p:cNvPr id="768052" name="Text Placeholder 12"/>
          <p:cNvSpPr>
            <a:spLocks/>
          </p:cNvSpPr>
          <p:nvPr>
            <p:custDataLst>
              <p:tags r:id="rId2"/>
            </p:custDataLst>
          </p:nvPr>
        </p:nvSpPr>
        <p:spPr bwMode="auto">
          <a:xfrm>
            <a:off x="6349903" y="1603141"/>
            <a:ext cx="4114800" cy="184666"/>
          </a:xfrm>
          <a:prstGeom prst="rect">
            <a:avLst/>
          </a:prstGeom>
          <a:noFill/>
          <a:ln w="9525">
            <a:noFill/>
            <a:miter lim="800000"/>
            <a:headEnd/>
            <a:tailEnd/>
          </a:ln>
        </p:spPr>
        <p:txBody>
          <a:bodyPr wrap="square" lIns="0" tIns="0" rIns="0" bIns="0">
            <a:noAutofit/>
          </a:bodyPr>
          <a:lstStyle/>
          <a:p>
            <a:pPr defTabSz="903288"/>
            <a:r>
              <a:rPr lang="en-US" altLang="ja-JP" sz="1300" dirty="0">
                <a:ea typeface="ＭＳ Ｐゴシック" charset="-128"/>
              </a:rPr>
              <a:t>Backward strategic planning process</a:t>
            </a:r>
          </a:p>
        </p:txBody>
      </p:sp>
      <p:sp>
        <p:nvSpPr>
          <p:cNvPr id="79" name="Arc 27"/>
          <p:cNvSpPr>
            <a:spLocks/>
          </p:cNvSpPr>
          <p:nvPr/>
        </p:nvSpPr>
        <p:spPr bwMode="auto">
          <a:xfrm>
            <a:off x="2104032" y="3967512"/>
            <a:ext cx="457200" cy="145409"/>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83" name="Rectangle 9"/>
          <p:cNvSpPr>
            <a:spLocks noChangeArrowheads="1"/>
          </p:cNvSpPr>
          <p:nvPr/>
        </p:nvSpPr>
        <p:spPr bwMode="auto">
          <a:xfrm>
            <a:off x="8525176" y="4623742"/>
            <a:ext cx="280525"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Time</a:t>
            </a:r>
          </a:p>
        </p:txBody>
      </p:sp>
      <p:sp>
        <p:nvSpPr>
          <p:cNvPr id="84" name="Rectangle 10"/>
          <p:cNvSpPr>
            <a:spLocks noChangeArrowheads="1"/>
          </p:cNvSpPr>
          <p:nvPr/>
        </p:nvSpPr>
        <p:spPr bwMode="auto">
          <a:xfrm>
            <a:off x="6678856" y="3312379"/>
            <a:ext cx="258083" cy="169277"/>
          </a:xfrm>
          <a:prstGeom prst="rect">
            <a:avLst/>
          </a:prstGeom>
          <a:noFill/>
          <a:ln w="12700">
            <a:noFill/>
            <a:miter lim="800000"/>
            <a:headEnd/>
            <a:tailEnd/>
          </a:ln>
        </p:spPr>
        <p:txBody>
          <a:bodyPr wrap="none" lIns="0" tIns="0" rIns="0" bIns="0">
            <a:spAutoFit/>
          </a:bodyPr>
          <a:lstStyle/>
          <a:p>
            <a:pPr algn="ctr" defTabSz="903288"/>
            <a:r>
              <a:rPr lang="en-US" altLang="ja-JP" sz="1100" dirty="0">
                <a:ea typeface="ＭＳ Ｐゴシック" charset="-128"/>
              </a:rPr>
              <a:t>Goal</a:t>
            </a:r>
          </a:p>
        </p:txBody>
      </p:sp>
      <p:sp>
        <p:nvSpPr>
          <p:cNvPr id="53" name="Freeform 52"/>
          <p:cNvSpPr/>
          <p:nvPr/>
        </p:nvSpPr>
        <p:spPr bwMode="gray">
          <a:xfrm>
            <a:off x="1542839" y="2305051"/>
            <a:ext cx="3200400" cy="2200275"/>
          </a:xfrm>
          <a:custGeom>
            <a:avLst/>
            <a:gdLst>
              <a:gd name="connsiteX0" fmla="*/ 0 w 4819650"/>
              <a:gd name="connsiteY0" fmla="*/ 0 h 3028950"/>
              <a:gd name="connsiteX1" fmla="*/ 0 w 4819650"/>
              <a:gd name="connsiteY1" fmla="*/ 3028950 h 3028950"/>
              <a:gd name="connsiteX2" fmla="*/ 4819650 w 4819650"/>
              <a:gd name="connsiteY2" fmla="*/ 3028950 h 3028950"/>
            </a:gdLst>
            <a:ahLst/>
            <a:cxnLst>
              <a:cxn ang="0">
                <a:pos x="connsiteX0" y="connsiteY0"/>
              </a:cxn>
              <a:cxn ang="0">
                <a:pos x="connsiteX1" y="connsiteY1"/>
              </a:cxn>
              <a:cxn ang="0">
                <a:pos x="connsiteX2" y="connsiteY2"/>
              </a:cxn>
            </a:cxnLst>
            <a:rect l="l" t="t" r="r" b="b"/>
            <a:pathLst>
              <a:path w="4819650" h="3028950">
                <a:moveTo>
                  <a:pt x="0" y="0"/>
                </a:moveTo>
                <a:lnTo>
                  <a:pt x="0" y="3028950"/>
                </a:lnTo>
                <a:lnTo>
                  <a:pt x="4819650" y="3028950"/>
                </a:lnTo>
              </a:path>
            </a:pathLst>
          </a:custGeom>
          <a:noFill/>
          <a:ln w="6350" algn="ctr">
            <a:solidFill>
              <a:schemeClr val="bg2">
                <a:lumMod val="90000"/>
              </a:schemeClr>
            </a:solidFill>
            <a:miter lim="800000"/>
            <a:headEnd/>
            <a:tailEnd/>
          </a:ln>
        </p:spPr>
        <p:txBody>
          <a:bodyPr lIns="0" tIns="0" rIns="0" bIns="0" rtlCol="0" anchor="ctr"/>
          <a:lstStyle/>
          <a:p>
            <a:pPr algn="ctr"/>
            <a:endParaRPr lang="en-US" sz="1100" dirty="0">
              <a:solidFill>
                <a:schemeClr val="tx2"/>
              </a:solidFill>
            </a:endParaRPr>
          </a:p>
        </p:txBody>
      </p:sp>
      <p:sp>
        <p:nvSpPr>
          <p:cNvPr id="54" name="Freeform 53"/>
          <p:cNvSpPr/>
          <p:nvPr/>
        </p:nvSpPr>
        <p:spPr bwMode="gray">
          <a:xfrm>
            <a:off x="7065237" y="2296880"/>
            <a:ext cx="3200400" cy="2200275"/>
          </a:xfrm>
          <a:custGeom>
            <a:avLst/>
            <a:gdLst>
              <a:gd name="connsiteX0" fmla="*/ 0 w 4819650"/>
              <a:gd name="connsiteY0" fmla="*/ 0 h 3028950"/>
              <a:gd name="connsiteX1" fmla="*/ 0 w 4819650"/>
              <a:gd name="connsiteY1" fmla="*/ 3028950 h 3028950"/>
              <a:gd name="connsiteX2" fmla="*/ 4819650 w 4819650"/>
              <a:gd name="connsiteY2" fmla="*/ 3028950 h 3028950"/>
            </a:gdLst>
            <a:ahLst/>
            <a:cxnLst>
              <a:cxn ang="0">
                <a:pos x="connsiteX0" y="connsiteY0"/>
              </a:cxn>
              <a:cxn ang="0">
                <a:pos x="connsiteX1" y="connsiteY1"/>
              </a:cxn>
              <a:cxn ang="0">
                <a:pos x="connsiteX2" y="connsiteY2"/>
              </a:cxn>
            </a:cxnLst>
            <a:rect l="l" t="t" r="r" b="b"/>
            <a:pathLst>
              <a:path w="4819650" h="3028950">
                <a:moveTo>
                  <a:pt x="0" y="0"/>
                </a:moveTo>
                <a:lnTo>
                  <a:pt x="0" y="3028950"/>
                </a:lnTo>
                <a:lnTo>
                  <a:pt x="4819650" y="3028950"/>
                </a:lnTo>
              </a:path>
            </a:pathLst>
          </a:custGeom>
          <a:noFill/>
          <a:ln w="6350" algn="ctr">
            <a:solidFill>
              <a:schemeClr val="bg2"/>
            </a:solidFill>
            <a:miter lim="800000"/>
            <a:headEnd/>
            <a:tailEnd/>
          </a:ln>
        </p:spPr>
        <p:txBody>
          <a:bodyPr lIns="0" tIns="0" rIns="0" bIns="0" rtlCol="0" anchor="ctr"/>
          <a:lstStyle/>
          <a:p>
            <a:pPr algn="ctr"/>
            <a:endParaRPr lang="en-US" sz="1100" dirty="0">
              <a:solidFill>
                <a:schemeClr val="tx2"/>
              </a:solidFill>
            </a:endParaRPr>
          </a:p>
        </p:txBody>
      </p:sp>
      <p:sp>
        <p:nvSpPr>
          <p:cNvPr id="55" name="Arc 76"/>
          <p:cNvSpPr>
            <a:spLocks/>
          </p:cNvSpPr>
          <p:nvPr/>
        </p:nvSpPr>
        <p:spPr bwMode="auto">
          <a:xfrm>
            <a:off x="8451754" y="3095394"/>
            <a:ext cx="571500"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56" name="Arc 76"/>
          <p:cNvSpPr>
            <a:spLocks/>
          </p:cNvSpPr>
          <p:nvPr/>
        </p:nvSpPr>
        <p:spPr bwMode="auto">
          <a:xfrm>
            <a:off x="7756429" y="3600219"/>
            <a:ext cx="571500" cy="37306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chemeClr val="bg2">
                <a:lumMod val="90000"/>
              </a:schemeClr>
            </a:solidFill>
            <a:round/>
            <a:headEnd/>
            <a:tailEnd type="triangle" w="lg" len="lg"/>
          </a:ln>
        </p:spPr>
        <p:txBody>
          <a:bodyPr wrap="square" lIns="0" tIns="0" rIns="0" bIns="0" anchor="ctr">
            <a:noAutofit/>
          </a:bodyPr>
          <a:lstStyle/>
          <a:p>
            <a:pPr algn="ctr">
              <a:defRPr/>
            </a:pPr>
            <a:endParaRPr lang="en-US" sz="1100" dirty="0">
              <a:solidFill>
                <a:schemeClr val="tx2"/>
              </a:solidFill>
            </a:endParaRPr>
          </a:p>
        </p:txBody>
      </p:sp>
      <p:sp>
        <p:nvSpPr>
          <p:cNvPr id="36" name="Oval 35">
            <a:extLst>
              <a:ext uri="{FF2B5EF4-FFF2-40B4-BE49-F238E27FC236}">
                <a16:creationId xmlns:a16="http://schemas.microsoft.com/office/drawing/2014/main" id="{68995E91-7643-4B0F-A422-F4D6079720D2}"/>
              </a:ext>
            </a:extLst>
          </p:cNvPr>
          <p:cNvSpPr>
            <a:spLocks noChangeArrowheads="1"/>
          </p:cNvSpPr>
          <p:nvPr/>
        </p:nvSpPr>
        <p:spPr bwMode="auto">
          <a:xfrm>
            <a:off x="9371291" y="1046010"/>
            <a:ext cx="2061006" cy="843439"/>
          </a:xfrm>
          <a:prstGeom prst="ellipse">
            <a:avLst/>
          </a:prstGeom>
          <a:solidFill>
            <a:schemeClr val="tx1"/>
          </a:solidFill>
          <a:ln w="12700" algn="ctr">
            <a:noFill/>
            <a:round/>
            <a:headEnd/>
            <a:tailEnd/>
          </a:ln>
        </p:spPr>
        <p:txBody>
          <a:bodyPr wrap="square" lIns="88900" tIns="88900" rIns="88900" bIns="88900" anchor="ctr"/>
          <a:lstStyle/>
          <a:p>
            <a:pPr algn="ctr">
              <a:spcBef>
                <a:spcPts val="600"/>
              </a:spcBef>
              <a:tabLst>
                <a:tab pos="1079500" algn="l"/>
              </a:tabLst>
              <a:defRPr/>
            </a:pPr>
            <a:r>
              <a:rPr lang="en-US" altLang="ja-JP" sz="1200" dirty="0">
                <a:solidFill>
                  <a:schemeClr val="bg1"/>
                </a:solidFill>
                <a:ea typeface="ＭＳ Ｐゴシック" pitchFamily="50" charset="-128"/>
              </a:rPr>
              <a:t>Vision: Where do we want to be in 2010?</a:t>
            </a:r>
          </a:p>
        </p:txBody>
      </p:sp>
      <p:sp>
        <p:nvSpPr>
          <p:cNvPr id="37" name="Oval 36">
            <a:extLst>
              <a:ext uri="{FF2B5EF4-FFF2-40B4-BE49-F238E27FC236}">
                <a16:creationId xmlns:a16="http://schemas.microsoft.com/office/drawing/2014/main" id="{EAF92C35-4437-4F33-BDA0-D6E4406A0ADE}"/>
              </a:ext>
            </a:extLst>
          </p:cNvPr>
          <p:cNvSpPr>
            <a:spLocks noChangeArrowheads="1"/>
          </p:cNvSpPr>
          <p:nvPr/>
        </p:nvSpPr>
        <p:spPr bwMode="auto">
          <a:xfrm>
            <a:off x="7310285" y="616341"/>
            <a:ext cx="2061006" cy="766763"/>
          </a:xfrm>
          <a:prstGeom prst="ellipse">
            <a:avLst/>
          </a:prstGeom>
          <a:solidFill>
            <a:schemeClr val="tx1"/>
          </a:solidFill>
          <a:ln w="12700" algn="ctr">
            <a:noFill/>
            <a:round/>
            <a:headEnd/>
            <a:tailEnd/>
          </a:ln>
        </p:spPr>
        <p:txBody>
          <a:bodyPr wrap="square" lIns="88900" tIns="88900" rIns="88900" bIns="88900" anchor="ctr"/>
          <a:lstStyle/>
          <a:p>
            <a:pPr algn="ctr">
              <a:spcBef>
                <a:spcPts val="600"/>
              </a:spcBef>
              <a:tabLst>
                <a:tab pos="1079500" algn="l"/>
              </a:tabLst>
              <a:defRPr/>
            </a:pPr>
            <a:r>
              <a:rPr lang="en-US" altLang="ja-JP" sz="1200" dirty="0">
                <a:solidFill>
                  <a:schemeClr val="bg1"/>
                </a:solidFill>
                <a:ea typeface="ＭＳ Ｐゴシック" pitchFamily="50" charset="-128"/>
              </a:rPr>
              <a:t>Strategy: How do we get there?</a:t>
            </a:r>
          </a:p>
        </p:txBody>
      </p:sp>
    </p:spTree>
    <p:extLst>
      <p:ext uri="{BB962C8B-B14F-4D97-AF65-F5344CB8AC3E}">
        <p14:creationId xmlns:p14="http://schemas.microsoft.com/office/powerpoint/2010/main" val="3124465539"/>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5"/>
          <p:cNvSpPr>
            <a:spLocks/>
          </p:cNvSpPr>
          <p:nvPr/>
        </p:nvSpPr>
        <p:spPr bwMode="blackWhite">
          <a:xfrm>
            <a:off x="4505278" y="2264380"/>
            <a:ext cx="3140012" cy="2664277"/>
          </a:xfrm>
          <a:custGeom>
            <a:avLst/>
            <a:gdLst>
              <a:gd name="T0" fmla="*/ 3827 w 1009"/>
              <a:gd name="T1" fmla="*/ 16313 h 881"/>
              <a:gd name="T2" fmla="*/ 17479 w 1009"/>
              <a:gd name="T3" fmla="*/ 16313 h 881"/>
              <a:gd name="T4" fmla="*/ 20973 w 1009"/>
              <a:gd name="T5" fmla="*/ 6673 h 881"/>
              <a:gd name="T6" fmla="*/ 10482 w 1009"/>
              <a:gd name="T7" fmla="*/ 0 h 881"/>
              <a:gd name="T8" fmla="*/ 0 w 1009"/>
              <a:gd name="T9" fmla="*/ 6673 h 881"/>
              <a:gd name="T10" fmla="*/ 3827 w 1009"/>
              <a:gd name="T11" fmla="*/ 16313 h 881"/>
              <a:gd name="T12" fmla="*/ 0 60000 65536"/>
              <a:gd name="T13" fmla="*/ 0 60000 65536"/>
              <a:gd name="T14" fmla="*/ 0 60000 65536"/>
              <a:gd name="T15" fmla="*/ 0 60000 65536"/>
              <a:gd name="T16" fmla="*/ 0 60000 65536"/>
              <a:gd name="T17" fmla="*/ 0 60000 65536"/>
              <a:gd name="T18" fmla="*/ 0 w 1009"/>
              <a:gd name="T19" fmla="*/ 0 h 881"/>
              <a:gd name="T20" fmla="*/ 1009 w 1009"/>
              <a:gd name="T21" fmla="*/ 881 h 881"/>
            </a:gdLst>
            <a:ahLst/>
            <a:cxnLst>
              <a:cxn ang="T12">
                <a:pos x="T0" y="T1"/>
              </a:cxn>
              <a:cxn ang="T13">
                <a:pos x="T2" y="T3"/>
              </a:cxn>
              <a:cxn ang="T14">
                <a:pos x="T4" y="T5"/>
              </a:cxn>
              <a:cxn ang="T15">
                <a:pos x="T6" y="T7"/>
              </a:cxn>
              <a:cxn ang="T16">
                <a:pos x="T8" y="T9"/>
              </a:cxn>
              <a:cxn ang="T17">
                <a:pos x="T10" y="T11"/>
              </a:cxn>
            </a:cxnLst>
            <a:rect l="T18" t="T19" r="T20" b="T21"/>
            <a:pathLst>
              <a:path w="1009" h="881">
                <a:moveTo>
                  <a:pt x="184" y="880"/>
                </a:moveTo>
                <a:lnTo>
                  <a:pt x="840" y="880"/>
                </a:lnTo>
                <a:lnTo>
                  <a:pt x="1008" y="360"/>
                </a:lnTo>
                <a:lnTo>
                  <a:pt x="504" y="0"/>
                </a:lnTo>
                <a:lnTo>
                  <a:pt x="0" y="360"/>
                </a:lnTo>
                <a:lnTo>
                  <a:pt x="184" y="880"/>
                </a:lnTo>
              </a:path>
            </a:pathLst>
          </a:custGeom>
          <a:solidFill>
            <a:schemeClr val="bg1"/>
          </a:solidFill>
          <a:ln w="6350" cap="rnd">
            <a:solidFill>
              <a:schemeClr val="tx1"/>
            </a:solidFill>
            <a:round/>
            <a:headEnd/>
            <a:tailEnd/>
          </a:ln>
        </p:spPr>
        <p:txBody>
          <a:bodyPr lIns="0" tIns="0" rIns="0" bIns="0">
            <a:noAutofit/>
          </a:bodyPr>
          <a:lstStyle/>
          <a:p>
            <a:pPr>
              <a:defRPr/>
            </a:pPr>
            <a:endParaRPr lang="en-GB" dirty="0">
              <a:latin typeface="Arial" charset="0"/>
              <a:cs typeface="Arial" charset="0"/>
            </a:endParaRPr>
          </a:p>
        </p:txBody>
      </p:sp>
      <p:sp>
        <p:nvSpPr>
          <p:cNvPr id="26" name="Arc 6"/>
          <p:cNvSpPr>
            <a:spLocks/>
          </p:cNvSpPr>
          <p:nvPr/>
        </p:nvSpPr>
        <p:spPr bwMode="blackWhite">
          <a:xfrm>
            <a:off x="3754881" y="1613241"/>
            <a:ext cx="4629150" cy="4437062"/>
          </a:xfrm>
          <a:custGeom>
            <a:avLst/>
            <a:gdLst>
              <a:gd name="T0" fmla="*/ 0 w 43200"/>
              <a:gd name="T1" fmla="*/ 0 h 40309"/>
              <a:gd name="T2" fmla="*/ 0 w 43200"/>
              <a:gd name="T3" fmla="*/ 0 h 40309"/>
              <a:gd name="T4" fmla="*/ 0 w 43200"/>
              <a:gd name="T5" fmla="*/ 0 h 40309"/>
              <a:gd name="T6" fmla="*/ 0 60000 65536"/>
              <a:gd name="T7" fmla="*/ 0 60000 65536"/>
              <a:gd name="T8" fmla="*/ 0 60000 65536"/>
              <a:gd name="T9" fmla="*/ 0 w 43200"/>
              <a:gd name="T10" fmla="*/ 0 h 40309"/>
              <a:gd name="T11" fmla="*/ 43200 w 43200"/>
              <a:gd name="T12" fmla="*/ 40309 h 40309"/>
            </a:gdLst>
            <a:ahLst/>
            <a:cxnLst>
              <a:cxn ang="T6">
                <a:pos x="T0" y="T1"/>
              </a:cxn>
              <a:cxn ang="T7">
                <a:pos x="T2" y="T3"/>
              </a:cxn>
              <a:cxn ang="T8">
                <a:pos x="T4" y="T5"/>
              </a:cxn>
            </a:cxnLst>
            <a:rect l="T9" t="T10" r="T11" b="T12"/>
            <a:pathLst>
              <a:path w="43200" h="40309" fill="none"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path>
              <a:path w="43200" h="40309" stroke="0"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lnTo>
                  <a:pt x="21600" y="18709"/>
                </a:lnTo>
                <a:close/>
              </a:path>
            </a:pathLst>
          </a:custGeom>
          <a:noFill/>
          <a:ln w="76200" cap="rnd">
            <a:solidFill>
              <a:schemeClr val="bg1">
                <a:lumMod val="85000"/>
              </a:schemeClr>
            </a:solidFill>
            <a:round/>
            <a:headEnd type="triangle" w="lg" len="lg"/>
            <a:tailEnd type="none" w="sm" len="sm"/>
          </a:ln>
        </p:spPr>
        <p:txBody>
          <a:bodyPr lIns="0" tIns="0" rIns="0" bIns="0">
            <a:noAutofit/>
          </a:bodyPr>
          <a:lstStyle/>
          <a:p>
            <a:pPr algn="ctr">
              <a:defRPr/>
            </a:pPr>
            <a:endParaRPr lang="en-GB" dirty="0">
              <a:latin typeface="Arial" charset="0"/>
              <a:cs typeface="Arial" charset="0"/>
            </a:endParaRPr>
          </a:p>
        </p:txBody>
      </p:sp>
      <p:sp>
        <p:nvSpPr>
          <p:cNvPr id="3" name="Text Placeholder 2"/>
          <p:cNvSpPr>
            <a:spLocks noGrp="1"/>
          </p:cNvSpPr>
          <p:nvPr>
            <p:ph type="body" sz="quarter" idx="13"/>
          </p:nvPr>
        </p:nvSpPr>
        <p:spPr/>
        <p:txBody>
          <a:bodyPr/>
          <a:lstStyle/>
          <a:p>
            <a:r>
              <a:rPr lang="en-US"/>
              <a:t>Subtitle runs here</a:t>
            </a:r>
            <a:endParaRPr lang="en-US" dirty="0"/>
          </a:p>
        </p:txBody>
      </p:sp>
      <p:sp>
        <p:nvSpPr>
          <p:cNvPr id="760836" name="Title 1"/>
          <p:cNvSpPr>
            <a:spLocks noGrp="1"/>
          </p:cNvSpPr>
          <p:nvPr>
            <p:ph type="title"/>
          </p:nvPr>
        </p:nvSpPr>
        <p:spPr/>
        <p:txBody>
          <a:bodyPr/>
          <a:lstStyle/>
          <a:p>
            <a:r>
              <a:rPr lang="en-US"/>
              <a:t>Pentagon</a:t>
            </a:r>
            <a:r>
              <a:rPr lang="en-US" altLang="ja-JP"/>
              <a:t> </a:t>
            </a:r>
            <a:endParaRPr lang="en-US" dirty="0"/>
          </a:p>
        </p:txBody>
      </p:sp>
      <p:sp>
        <p:nvSpPr>
          <p:cNvPr id="15" name="Oval 8"/>
          <p:cNvSpPr>
            <a:spLocks noChangeArrowheads="1"/>
          </p:cNvSpPr>
          <p:nvPr/>
        </p:nvSpPr>
        <p:spPr bwMode="blackWhite">
          <a:xfrm>
            <a:off x="4789117" y="4718510"/>
            <a:ext cx="457200" cy="457200"/>
          </a:xfrm>
          <a:prstGeom prst="ellipse">
            <a:avLst/>
          </a:prstGeom>
          <a:solidFill>
            <a:schemeClr val="accent6">
              <a:lumMod val="40000"/>
              <a:lumOff val="60000"/>
            </a:schemeClr>
          </a:solidFill>
          <a:ln w="12700">
            <a:noFill/>
            <a:round/>
            <a:headEnd/>
            <a:tailEnd/>
          </a:ln>
        </p:spPr>
        <p:txBody>
          <a:bodyPr lIns="88900" tIns="88900" rIns="88900" bIns="88900" anchor="ctr" anchorCtr="0"/>
          <a:lstStyle/>
          <a:p>
            <a:pPr algn="ctr">
              <a:defRPr/>
            </a:pPr>
            <a:r>
              <a:rPr lang="en-US" sz="1400" dirty="0">
                <a:cs typeface="Arial" charset="0"/>
              </a:rPr>
              <a:t>3</a:t>
            </a:r>
          </a:p>
        </p:txBody>
      </p:sp>
      <p:sp>
        <p:nvSpPr>
          <p:cNvPr id="19" name="Rectangle 7"/>
          <p:cNvSpPr>
            <a:spLocks noChangeArrowheads="1"/>
          </p:cNvSpPr>
          <p:nvPr/>
        </p:nvSpPr>
        <p:spPr bwMode="blackWhite">
          <a:xfrm>
            <a:off x="5151256" y="3724051"/>
            <a:ext cx="1836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spAutoFit/>
          </a:bodyPr>
          <a:lstStyle/>
          <a:p>
            <a:pPr algn="ctr" defTabSz="820738">
              <a:spcAft>
                <a:spcPct val="37000"/>
              </a:spcAft>
            </a:pPr>
            <a:r>
              <a:rPr lang="en-US" sz="1400" dirty="0">
                <a:ea typeface="MS PGothic" pitchFamily="34" charset="-128"/>
              </a:rPr>
              <a:t>Restructuring framework </a:t>
            </a:r>
          </a:p>
        </p:txBody>
      </p:sp>
      <p:sp>
        <p:nvSpPr>
          <p:cNvPr id="20" name="Oval 8"/>
          <p:cNvSpPr>
            <a:spLocks noChangeArrowheads="1"/>
          </p:cNvSpPr>
          <p:nvPr/>
        </p:nvSpPr>
        <p:spPr bwMode="blackWhite">
          <a:xfrm>
            <a:off x="5851968" y="2052026"/>
            <a:ext cx="457200" cy="457200"/>
          </a:xfrm>
          <a:prstGeom prst="ellipse">
            <a:avLst/>
          </a:prstGeom>
          <a:solidFill>
            <a:schemeClr val="accent1"/>
          </a:solidFill>
          <a:ln w="12700">
            <a:noFill/>
            <a:round/>
            <a:headEnd/>
            <a:tailEnd/>
          </a:ln>
        </p:spPr>
        <p:txBody>
          <a:bodyPr lIns="88900" tIns="88900" rIns="88900" bIns="88900" anchor="ctr" anchorCtr="0"/>
          <a:lstStyle/>
          <a:p>
            <a:pPr algn="ctr">
              <a:defRPr/>
            </a:pPr>
            <a:r>
              <a:rPr lang="en-US" sz="1400" dirty="0">
                <a:cs typeface="Arial" charset="0"/>
              </a:rPr>
              <a:t>1</a:t>
            </a:r>
          </a:p>
        </p:txBody>
      </p:sp>
      <p:sp>
        <p:nvSpPr>
          <p:cNvPr id="21" name="Oval 8"/>
          <p:cNvSpPr>
            <a:spLocks noChangeArrowheads="1"/>
          </p:cNvSpPr>
          <p:nvPr/>
        </p:nvSpPr>
        <p:spPr bwMode="blackWhite">
          <a:xfrm>
            <a:off x="4299393" y="3072789"/>
            <a:ext cx="457200" cy="457200"/>
          </a:xfrm>
          <a:prstGeom prst="ellipse">
            <a:avLst/>
          </a:prstGeom>
          <a:solidFill>
            <a:schemeClr val="accent6"/>
          </a:solidFill>
          <a:ln w="12700">
            <a:noFill/>
            <a:round/>
            <a:headEnd/>
            <a:tailEnd/>
          </a:ln>
        </p:spPr>
        <p:txBody>
          <a:bodyPr lIns="88900" tIns="88900" rIns="88900" bIns="88900" anchor="ctr" anchorCtr="0"/>
          <a:lstStyle/>
          <a:p>
            <a:pPr algn="ctr">
              <a:defRPr/>
            </a:pPr>
            <a:r>
              <a:rPr lang="en-US" sz="1400" dirty="0">
                <a:solidFill>
                  <a:schemeClr val="bg1"/>
                </a:solidFill>
                <a:cs typeface="Arial" charset="0"/>
              </a:rPr>
              <a:t>2</a:t>
            </a:r>
          </a:p>
        </p:txBody>
      </p:sp>
      <p:sp>
        <p:nvSpPr>
          <p:cNvPr id="22" name="Oval 8"/>
          <p:cNvSpPr>
            <a:spLocks noChangeArrowheads="1"/>
          </p:cNvSpPr>
          <p:nvPr/>
        </p:nvSpPr>
        <p:spPr bwMode="blackWhite">
          <a:xfrm>
            <a:off x="6978795" y="4718510"/>
            <a:ext cx="457200" cy="457200"/>
          </a:xfrm>
          <a:prstGeom prst="ellipse">
            <a:avLst/>
          </a:prstGeom>
          <a:solidFill>
            <a:schemeClr val="tx1">
              <a:lumMod val="65000"/>
              <a:lumOff val="35000"/>
            </a:schemeClr>
          </a:solidFill>
          <a:ln w="12700">
            <a:noFill/>
            <a:round/>
            <a:headEnd/>
            <a:tailEnd/>
          </a:ln>
        </p:spPr>
        <p:txBody>
          <a:bodyPr lIns="88900" tIns="88900" rIns="88900" bIns="88900" anchor="ctr" anchorCtr="0"/>
          <a:lstStyle/>
          <a:p>
            <a:pPr algn="ctr">
              <a:defRPr/>
            </a:pPr>
            <a:r>
              <a:rPr lang="en-US" sz="1400" dirty="0">
                <a:solidFill>
                  <a:schemeClr val="bg1"/>
                </a:solidFill>
                <a:cs typeface="Arial" charset="0"/>
              </a:rPr>
              <a:t>4</a:t>
            </a:r>
          </a:p>
        </p:txBody>
      </p:sp>
      <p:sp>
        <p:nvSpPr>
          <p:cNvPr id="23" name="Oval 8"/>
          <p:cNvSpPr>
            <a:spLocks noChangeArrowheads="1"/>
          </p:cNvSpPr>
          <p:nvPr/>
        </p:nvSpPr>
        <p:spPr bwMode="blackWhite">
          <a:xfrm>
            <a:off x="7458518" y="3072789"/>
            <a:ext cx="457200" cy="457200"/>
          </a:xfrm>
          <a:prstGeom prst="ellipse">
            <a:avLst/>
          </a:prstGeom>
          <a:solidFill>
            <a:schemeClr val="bg2">
              <a:lumMod val="75000"/>
            </a:schemeClr>
          </a:solidFill>
          <a:ln w="12700">
            <a:noFill/>
            <a:round/>
            <a:headEnd/>
            <a:tailEnd/>
          </a:ln>
        </p:spPr>
        <p:txBody>
          <a:bodyPr lIns="88900" tIns="88900" rIns="88900" bIns="88900" anchor="ctr" anchorCtr="0"/>
          <a:lstStyle/>
          <a:p>
            <a:pPr algn="ctr">
              <a:defRPr/>
            </a:pPr>
            <a:r>
              <a:rPr lang="en-US" sz="1400" dirty="0">
                <a:solidFill>
                  <a:schemeClr val="bg1"/>
                </a:solidFill>
                <a:cs typeface="Arial" charset="0"/>
              </a:rPr>
              <a:t>5</a:t>
            </a:r>
          </a:p>
        </p:txBody>
      </p:sp>
    </p:spTree>
    <p:extLst>
      <p:ext uri="{BB962C8B-B14F-4D97-AF65-F5344CB8AC3E}">
        <p14:creationId xmlns:p14="http://schemas.microsoft.com/office/powerpoint/2010/main" val="1803785118"/>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771073" name="Title 1"/>
          <p:cNvSpPr>
            <a:spLocks noGrp="1"/>
          </p:cNvSpPr>
          <p:nvPr>
            <p:ph type="title"/>
          </p:nvPr>
        </p:nvSpPr>
        <p:spPr/>
        <p:txBody>
          <a:bodyPr/>
          <a:lstStyle/>
          <a:p>
            <a:r>
              <a:rPr lang="en-US" altLang="ja-JP"/>
              <a:t>Strategic disciplines</a:t>
            </a:r>
            <a:endParaRPr lang="en-US" dirty="0"/>
          </a:p>
        </p:txBody>
      </p:sp>
      <p:sp>
        <p:nvSpPr>
          <p:cNvPr id="15" name="Oval 3"/>
          <p:cNvSpPr>
            <a:spLocks noChangeArrowheads="1"/>
          </p:cNvSpPr>
          <p:nvPr/>
        </p:nvSpPr>
        <p:spPr bwMode="auto">
          <a:xfrm>
            <a:off x="4175760" y="2020303"/>
            <a:ext cx="3840480" cy="3840480"/>
          </a:xfrm>
          <a:prstGeom prst="ellipse">
            <a:avLst/>
          </a:prstGeom>
          <a:solidFill>
            <a:schemeClr val="bg1"/>
          </a:solidFill>
          <a:ln w="6350">
            <a:solidFill>
              <a:srgbClr val="BBBCBC"/>
            </a:solidFill>
            <a:round/>
            <a:headEnd/>
            <a:tailEnd/>
          </a:ln>
        </p:spPr>
        <p:txBody>
          <a:bodyPr wrap="square" lIns="36000" tIns="36000" rIns="36000" bIns="36000" anchor="ctr"/>
          <a:lstStyle/>
          <a:p>
            <a:pPr algn="ctr">
              <a:spcBef>
                <a:spcPct val="0"/>
              </a:spcBef>
            </a:pPr>
            <a:endParaRPr lang="en-US" sz="1400" dirty="0">
              <a:solidFill>
                <a:schemeClr val="tx2"/>
              </a:solidFill>
            </a:endParaRPr>
          </a:p>
        </p:txBody>
      </p:sp>
      <p:sp>
        <p:nvSpPr>
          <p:cNvPr id="16" name="Rectangle 4"/>
          <p:cNvSpPr>
            <a:spLocks noChangeArrowheads="1"/>
          </p:cNvSpPr>
          <p:nvPr/>
        </p:nvSpPr>
        <p:spPr bwMode="auto">
          <a:xfrm>
            <a:off x="3161379" y="5243513"/>
            <a:ext cx="2377440" cy="365760"/>
          </a:xfrm>
          <a:prstGeom prst="rect">
            <a:avLst/>
          </a:prstGeom>
          <a:solidFill>
            <a:schemeClr val="bg2">
              <a:lumMod val="75000"/>
            </a:schemeClr>
          </a:solidFill>
          <a:ln w="12700" algn="ctr">
            <a:noFill/>
            <a:miter lim="800000"/>
            <a:headEnd/>
            <a:tailEnd/>
          </a:ln>
        </p:spPr>
        <p:txBody>
          <a:bodyPr wrap="square" lIns="88900" tIns="88900" rIns="88900" bIns="88900" anchor="ctr"/>
          <a:lstStyle/>
          <a:p>
            <a:pPr algn="ctr">
              <a:spcBef>
                <a:spcPct val="0"/>
              </a:spcBef>
            </a:pPr>
            <a:r>
              <a:rPr lang="en-US" altLang="ja-JP" sz="1400" dirty="0">
                <a:solidFill>
                  <a:schemeClr val="bg1"/>
                </a:solidFill>
                <a:ea typeface="ＭＳ Ｐゴシック" pitchFamily="50" charset="-128"/>
              </a:rPr>
              <a:t>Text</a:t>
            </a:r>
          </a:p>
        </p:txBody>
      </p:sp>
      <p:sp>
        <p:nvSpPr>
          <p:cNvPr id="17" name="Rectangle 5"/>
          <p:cNvSpPr>
            <a:spLocks noChangeArrowheads="1"/>
          </p:cNvSpPr>
          <p:nvPr/>
        </p:nvSpPr>
        <p:spPr bwMode="auto">
          <a:xfrm>
            <a:off x="6612604" y="5243513"/>
            <a:ext cx="2377440" cy="365760"/>
          </a:xfrm>
          <a:prstGeom prst="rect">
            <a:avLst/>
          </a:prstGeom>
          <a:solidFill>
            <a:schemeClr val="bg2"/>
          </a:solidFill>
          <a:ln w="12700" algn="ctr">
            <a:noFill/>
            <a:miter lim="800000"/>
            <a:headEnd/>
            <a:tailEnd/>
          </a:ln>
        </p:spPr>
        <p:txBody>
          <a:bodyPr wrap="square" lIns="88900" tIns="88900" rIns="88900" bIns="88900" anchor="ctr"/>
          <a:lstStyle/>
          <a:p>
            <a:pPr algn="ctr">
              <a:spcBef>
                <a:spcPct val="0"/>
              </a:spcBef>
            </a:pPr>
            <a:r>
              <a:rPr lang="en-US" altLang="ja-JP" sz="1400" dirty="0">
                <a:ea typeface="ＭＳ Ｐゴシック" pitchFamily="50" charset="-128"/>
              </a:rPr>
              <a:t>Text</a:t>
            </a:r>
          </a:p>
        </p:txBody>
      </p:sp>
      <p:sp>
        <p:nvSpPr>
          <p:cNvPr id="18" name="Line 6"/>
          <p:cNvSpPr>
            <a:spLocks noChangeAspect="1" noChangeShapeType="1"/>
          </p:cNvSpPr>
          <p:nvPr/>
        </p:nvSpPr>
        <p:spPr bwMode="auto">
          <a:xfrm>
            <a:off x="6096000" y="2038022"/>
            <a:ext cx="0" cy="1801813"/>
          </a:xfrm>
          <a:prstGeom prst="line">
            <a:avLst/>
          </a:prstGeom>
          <a:noFill/>
          <a:ln w="28575">
            <a:solidFill>
              <a:schemeClr val="bg2">
                <a:lumMod val="90000"/>
              </a:schemeClr>
            </a:solidFill>
            <a:round/>
            <a:headEnd type="triangle" w="med" len="med"/>
            <a:tailEnd/>
          </a:ln>
        </p:spPr>
        <p:txBody>
          <a:bodyPr wrap="square" lIns="36000" tIns="36000" rIns="36000" bIns="36000" anchor="ctr"/>
          <a:lstStyle/>
          <a:p>
            <a:endParaRPr lang="en-US" dirty="0">
              <a:solidFill>
                <a:schemeClr val="tx2"/>
              </a:solidFill>
            </a:endParaRPr>
          </a:p>
        </p:txBody>
      </p:sp>
      <p:sp>
        <p:nvSpPr>
          <p:cNvPr id="19" name="Line 7"/>
          <p:cNvSpPr>
            <a:spLocks noChangeShapeType="1"/>
          </p:cNvSpPr>
          <p:nvPr/>
        </p:nvSpPr>
        <p:spPr bwMode="auto">
          <a:xfrm flipH="1">
            <a:off x="4714584" y="3962700"/>
            <a:ext cx="1263650" cy="1263650"/>
          </a:xfrm>
          <a:prstGeom prst="line">
            <a:avLst/>
          </a:prstGeom>
          <a:noFill/>
          <a:ln w="28575">
            <a:solidFill>
              <a:schemeClr val="bg2">
                <a:lumMod val="90000"/>
              </a:schemeClr>
            </a:solidFill>
            <a:round/>
            <a:headEnd/>
            <a:tailEnd type="triangle" w="med" len="med"/>
          </a:ln>
        </p:spPr>
        <p:txBody>
          <a:bodyPr wrap="square" lIns="36000" tIns="36000" rIns="36000" bIns="36000" anchor="ctr"/>
          <a:lstStyle/>
          <a:p>
            <a:endParaRPr lang="en-US" dirty="0">
              <a:solidFill>
                <a:schemeClr val="tx2"/>
              </a:solidFill>
            </a:endParaRPr>
          </a:p>
        </p:txBody>
      </p:sp>
      <p:sp>
        <p:nvSpPr>
          <p:cNvPr id="20" name="Line 8"/>
          <p:cNvSpPr>
            <a:spLocks noChangeAspect="1" noChangeShapeType="1"/>
          </p:cNvSpPr>
          <p:nvPr/>
        </p:nvSpPr>
        <p:spPr bwMode="auto">
          <a:xfrm>
            <a:off x="6221750" y="3962700"/>
            <a:ext cx="1263650" cy="1263650"/>
          </a:xfrm>
          <a:prstGeom prst="line">
            <a:avLst/>
          </a:prstGeom>
          <a:noFill/>
          <a:ln w="28575">
            <a:solidFill>
              <a:schemeClr val="bg2">
                <a:lumMod val="90000"/>
              </a:schemeClr>
            </a:solidFill>
            <a:round/>
            <a:headEnd/>
            <a:tailEnd type="triangle" w="med" len="med"/>
          </a:ln>
        </p:spPr>
        <p:txBody>
          <a:bodyPr wrap="square" lIns="36000" tIns="36000" rIns="36000" bIns="36000" anchor="ctr"/>
          <a:lstStyle/>
          <a:p>
            <a:endParaRPr lang="en-US" dirty="0">
              <a:solidFill>
                <a:schemeClr val="tx2"/>
              </a:solidFill>
            </a:endParaRPr>
          </a:p>
        </p:txBody>
      </p:sp>
      <p:sp>
        <p:nvSpPr>
          <p:cNvPr id="21" name="Rectangle 9"/>
          <p:cNvSpPr>
            <a:spLocks noChangeArrowheads="1"/>
          </p:cNvSpPr>
          <p:nvPr/>
        </p:nvSpPr>
        <p:spPr bwMode="auto">
          <a:xfrm>
            <a:off x="4907280" y="1614488"/>
            <a:ext cx="2377440" cy="365760"/>
          </a:xfrm>
          <a:prstGeom prst="rect">
            <a:avLst/>
          </a:prstGeom>
          <a:solidFill>
            <a:schemeClr val="tx2"/>
          </a:solidFill>
          <a:ln w="12700" algn="ctr">
            <a:noFill/>
            <a:miter lim="800000"/>
            <a:headEnd/>
            <a:tailEnd/>
          </a:ln>
        </p:spPr>
        <p:txBody>
          <a:bodyPr wrap="square" lIns="88900" tIns="88900" rIns="88900" bIns="88900" anchor="ctr"/>
          <a:lstStyle/>
          <a:p>
            <a:pPr algn="ctr">
              <a:spcBef>
                <a:spcPct val="0"/>
              </a:spcBef>
            </a:pPr>
            <a:r>
              <a:rPr lang="en-US" altLang="ja-JP" sz="1400" dirty="0">
                <a:solidFill>
                  <a:schemeClr val="bg1"/>
                </a:solidFill>
                <a:ea typeface="ＭＳ Ｐゴシック" pitchFamily="50" charset="-128"/>
              </a:rPr>
              <a:t>Text</a:t>
            </a:r>
          </a:p>
        </p:txBody>
      </p:sp>
      <p:sp>
        <p:nvSpPr>
          <p:cNvPr id="22" name="Oval 10"/>
          <p:cNvSpPr>
            <a:spLocks noChangeAspect="1" noChangeArrowheads="1"/>
          </p:cNvSpPr>
          <p:nvPr/>
        </p:nvSpPr>
        <p:spPr bwMode="auto">
          <a:xfrm>
            <a:off x="6009356" y="3802064"/>
            <a:ext cx="201613" cy="204788"/>
          </a:xfrm>
          <a:prstGeom prst="ellipse">
            <a:avLst/>
          </a:prstGeom>
          <a:solidFill>
            <a:schemeClr val="accent3"/>
          </a:solidFill>
          <a:ln w="12700">
            <a:solidFill>
              <a:schemeClr val="tx1"/>
            </a:solidFill>
            <a:round/>
            <a:headEnd/>
            <a:tailEnd/>
          </a:ln>
        </p:spPr>
        <p:txBody>
          <a:bodyPr wrap="square" lIns="36000" tIns="36000" rIns="36000" bIns="36000" anchor="ctr"/>
          <a:lstStyle/>
          <a:p>
            <a:pPr algn="ctr">
              <a:spcBef>
                <a:spcPct val="0"/>
              </a:spcBef>
            </a:pPr>
            <a:r>
              <a:rPr lang="en-US" altLang="ja-JP" sz="1400" b="1" dirty="0">
                <a:solidFill>
                  <a:schemeClr val="tx2"/>
                </a:solidFill>
                <a:ea typeface="ＭＳ Ｐゴシック" pitchFamily="50" charset="-128"/>
              </a:rPr>
              <a:t>Text</a:t>
            </a:r>
          </a:p>
        </p:txBody>
      </p:sp>
      <p:sp>
        <p:nvSpPr>
          <p:cNvPr id="23" name="Oval 11"/>
          <p:cNvSpPr>
            <a:spLocks noChangeArrowheads="1"/>
          </p:cNvSpPr>
          <p:nvPr/>
        </p:nvSpPr>
        <p:spPr bwMode="auto">
          <a:xfrm>
            <a:off x="5181600" y="3026143"/>
            <a:ext cx="1828800" cy="1828800"/>
          </a:xfrm>
          <a:prstGeom prst="ellipse">
            <a:avLst/>
          </a:prstGeom>
          <a:solidFill>
            <a:schemeClr val="accent3"/>
          </a:solidFill>
          <a:ln w="12700">
            <a:noFill/>
            <a:prstDash val="sysDot"/>
            <a:round/>
            <a:headEnd/>
            <a:tailEnd/>
          </a:ln>
        </p:spPr>
        <p:txBody>
          <a:bodyPr wrap="square" lIns="88900" tIns="88900" rIns="88900" bIns="88900" anchor="ctr"/>
          <a:lstStyle/>
          <a:p>
            <a:pPr algn="ctr">
              <a:spcBef>
                <a:spcPct val="0"/>
              </a:spcBef>
            </a:pPr>
            <a:r>
              <a:rPr lang="en-US" altLang="ja-JP" sz="1400" dirty="0">
                <a:solidFill>
                  <a:schemeClr val="bg1"/>
                </a:solidFill>
                <a:ea typeface="ＭＳ Ｐゴシック" pitchFamily="50" charset="-128"/>
              </a:rPr>
              <a:t>Text</a:t>
            </a:r>
          </a:p>
        </p:txBody>
      </p:sp>
    </p:spTree>
    <p:extLst>
      <p:ext uri="{BB962C8B-B14F-4D97-AF65-F5344CB8AC3E}">
        <p14:creationId xmlns:p14="http://schemas.microsoft.com/office/powerpoint/2010/main" val="32736939"/>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a:t>Subtitle runs here</a:t>
            </a:r>
            <a:endParaRPr lang="en-US" dirty="0"/>
          </a:p>
        </p:txBody>
      </p:sp>
      <p:sp>
        <p:nvSpPr>
          <p:cNvPr id="772097" name="Title 1"/>
          <p:cNvSpPr>
            <a:spLocks noGrp="1"/>
          </p:cNvSpPr>
          <p:nvPr>
            <p:ph type="title"/>
          </p:nvPr>
        </p:nvSpPr>
        <p:spPr/>
        <p:txBody>
          <a:bodyPr/>
          <a:lstStyle/>
          <a:p>
            <a:r>
              <a:rPr lang="en-US"/>
              <a:t>7S</a:t>
            </a:r>
            <a:endParaRPr lang="en-US" dirty="0"/>
          </a:p>
        </p:txBody>
      </p:sp>
      <p:sp>
        <p:nvSpPr>
          <p:cNvPr id="49" name="Line 27"/>
          <p:cNvSpPr>
            <a:spLocks noChangeShapeType="1"/>
          </p:cNvSpPr>
          <p:nvPr/>
        </p:nvSpPr>
        <p:spPr bwMode="blackWhite">
          <a:xfrm>
            <a:off x="6094413" y="1974514"/>
            <a:ext cx="1384300"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0" name="Line 28"/>
          <p:cNvSpPr>
            <a:spLocks noChangeShapeType="1"/>
          </p:cNvSpPr>
          <p:nvPr/>
        </p:nvSpPr>
        <p:spPr bwMode="blackWhite">
          <a:xfrm flipH="1">
            <a:off x="4681538" y="1974514"/>
            <a:ext cx="1385888"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1" name="Line 29"/>
          <p:cNvSpPr>
            <a:spLocks noChangeShapeType="1"/>
          </p:cNvSpPr>
          <p:nvPr/>
        </p:nvSpPr>
        <p:spPr bwMode="blackWhite">
          <a:xfrm>
            <a:off x="4670426" y="2880977"/>
            <a:ext cx="1382712"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2" name="Line 30"/>
          <p:cNvSpPr>
            <a:spLocks noChangeShapeType="1"/>
          </p:cNvSpPr>
          <p:nvPr/>
        </p:nvSpPr>
        <p:spPr bwMode="blackWhite">
          <a:xfrm flipH="1">
            <a:off x="6119813" y="2880977"/>
            <a:ext cx="1385888" cy="247650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3" name="Line 31"/>
          <p:cNvSpPr>
            <a:spLocks noChangeShapeType="1"/>
          </p:cNvSpPr>
          <p:nvPr/>
        </p:nvSpPr>
        <p:spPr bwMode="blackWhite">
          <a:xfrm>
            <a:off x="7539356" y="2847640"/>
            <a:ext cx="0"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4" name="Line 32"/>
          <p:cNvSpPr>
            <a:spLocks noChangeShapeType="1"/>
          </p:cNvSpPr>
          <p:nvPr/>
        </p:nvSpPr>
        <p:spPr bwMode="blackWhite">
          <a:xfrm>
            <a:off x="4670743" y="2847640"/>
            <a:ext cx="0"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5" name="Line 33"/>
          <p:cNvSpPr>
            <a:spLocks noChangeShapeType="1"/>
          </p:cNvSpPr>
          <p:nvPr/>
        </p:nvSpPr>
        <p:spPr bwMode="blackWhite">
          <a:xfrm rot="16200000" flipH="1" flipV="1">
            <a:off x="4934745" y="1691146"/>
            <a:ext cx="865187" cy="1390650"/>
          </a:xfrm>
          <a:prstGeom prst="line">
            <a:avLst/>
          </a:prstGeom>
          <a:noFill/>
          <a:ln w="6350">
            <a:solidFill>
              <a:srgbClr val="BBBCBC"/>
            </a:solidFill>
            <a:round/>
            <a:headEnd/>
            <a:tailEnd/>
          </a:ln>
        </p:spPr>
        <p:txBody>
          <a:bodyPr wrap="square" lIns="36000" tIns="36000" rIns="36000" bIns="36000" anchor="ctr">
            <a:noAutofit/>
          </a:bodyPr>
          <a:lstStyle/>
          <a:p>
            <a:r>
              <a:rPr lang="en-US" sz="1200" dirty="0">
                <a:solidFill>
                  <a:schemeClr val="bg1"/>
                </a:solidFill>
              </a:rPr>
              <a:t>Bullet</a:t>
            </a:r>
          </a:p>
          <a:p>
            <a:r>
              <a:rPr lang="en-US" sz="1200" dirty="0">
                <a:solidFill>
                  <a:schemeClr val="bg1"/>
                </a:solidFill>
              </a:rPr>
              <a:t>Dash</a:t>
            </a:r>
          </a:p>
          <a:p>
            <a:r>
              <a:rPr lang="en-US" sz="1200" dirty="0">
                <a:solidFill>
                  <a:schemeClr val="bg1"/>
                </a:solidFill>
              </a:rPr>
              <a:t>Sub-bullet</a:t>
            </a:r>
          </a:p>
        </p:txBody>
      </p:sp>
      <p:sp>
        <p:nvSpPr>
          <p:cNvPr id="56" name="Line 34"/>
          <p:cNvSpPr>
            <a:spLocks noChangeShapeType="1"/>
          </p:cNvSpPr>
          <p:nvPr/>
        </p:nvSpPr>
        <p:spPr bwMode="blackWhite">
          <a:xfrm rot="5400000" flipV="1">
            <a:off x="6353177" y="1691940"/>
            <a:ext cx="865187"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7" name="Line 35"/>
          <p:cNvSpPr>
            <a:spLocks noChangeShapeType="1"/>
          </p:cNvSpPr>
          <p:nvPr/>
        </p:nvSpPr>
        <p:spPr bwMode="blackWhite">
          <a:xfrm rot="5400000" flipH="1">
            <a:off x="4934745" y="4266071"/>
            <a:ext cx="865187" cy="1390650"/>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8" name="Line 36"/>
          <p:cNvSpPr>
            <a:spLocks noChangeShapeType="1"/>
          </p:cNvSpPr>
          <p:nvPr/>
        </p:nvSpPr>
        <p:spPr bwMode="blackWhite">
          <a:xfrm rot="16200000">
            <a:off x="6353177" y="4266865"/>
            <a:ext cx="865187" cy="138906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59" name="Line 37"/>
          <p:cNvSpPr>
            <a:spLocks noChangeShapeType="1"/>
          </p:cNvSpPr>
          <p:nvPr/>
        </p:nvSpPr>
        <p:spPr bwMode="blackWhite">
          <a:xfrm rot="16200000">
            <a:off x="5245895" y="2264234"/>
            <a:ext cx="1681163" cy="2809875"/>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60" name="Line 38"/>
          <p:cNvSpPr>
            <a:spLocks noChangeShapeType="1"/>
          </p:cNvSpPr>
          <p:nvPr/>
        </p:nvSpPr>
        <p:spPr bwMode="blackWhite">
          <a:xfrm rot="5400000" flipH="1">
            <a:off x="5231607" y="2230896"/>
            <a:ext cx="1690688" cy="2886075"/>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61" name="Line 39"/>
          <p:cNvSpPr>
            <a:spLocks noChangeShapeType="1"/>
          </p:cNvSpPr>
          <p:nvPr/>
        </p:nvSpPr>
        <p:spPr bwMode="blackWhite">
          <a:xfrm>
            <a:off x="6104256" y="2399965"/>
            <a:ext cx="0" cy="2779713"/>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62" name="Oval 40"/>
          <p:cNvSpPr>
            <a:spLocks noChangeArrowheads="1"/>
          </p:cNvSpPr>
          <p:nvPr/>
        </p:nvSpPr>
        <p:spPr bwMode="auto">
          <a:xfrm>
            <a:off x="4030663" y="2212639"/>
            <a:ext cx="1280160" cy="1280160"/>
          </a:xfrm>
          <a:prstGeom prst="ellipse">
            <a:avLst/>
          </a:prstGeom>
          <a:solidFill>
            <a:schemeClr val="bg2">
              <a:lumMod val="75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ea typeface="ＭＳ Ｐゴシック" pitchFamily="50" charset="-128"/>
              </a:rPr>
              <a:t>Strategy</a:t>
            </a:r>
          </a:p>
        </p:txBody>
      </p:sp>
      <p:sp>
        <p:nvSpPr>
          <p:cNvPr id="63" name="Oval 41"/>
          <p:cNvSpPr>
            <a:spLocks noChangeArrowheads="1"/>
          </p:cNvSpPr>
          <p:nvPr/>
        </p:nvSpPr>
        <p:spPr bwMode="auto">
          <a:xfrm>
            <a:off x="6899276" y="2212639"/>
            <a:ext cx="1280160" cy="1280160"/>
          </a:xfrm>
          <a:prstGeom prst="ellipse">
            <a:avLst/>
          </a:prstGeom>
          <a:solidFill>
            <a:schemeClr val="bg1">
              <a:lumMod val="75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t>Systems</a:t>
            </a:r>
            <a:endParaRPr lang="en-US" sz="1200" dirty="0">
              <a:ea typeface="ＭＳ Ｐゴシック" pitchFamily="50" charset="-128"/>
            </a:endParaRPr>
          </a:p>
        </p:txBody>
      </p:sp>
      <p:sp>
        <p:nvSpPr>
          <p:cNvPr id="64" name="Oval 42"/>
          <p:cNvSpPr>
            <a:spLocks noChangeArrowheads="1"/>
          </p:cNvSpPr>
          <p:nvPr/>
        </p:nvSpPr>
        <p:spPr bwMode="auto">
          <a:xfrm>
            <a:off x="6899276" y="3887452"/>
            <a:ext cx="1280160" cy="1280160"/>
          </a:xfrm>
          <a:prstGeom prst="ellipse">
            <a:avLst/>
          </a:prstGeom>
          <a:solidFill>
            <a:schemeClr val="tx1"/>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rPr>
              <a:t>Style</a:t>
            </a:r>
            <a:endParaRPr lang="en-US" sz="1200" dirty="0">
              <a:solidFill>
                <a:schemeClr val="bg1"/>
              </a:solidFill>
              <a:ea typeface="ＭＳ Ｐゴシック" pitchFamily="50" charset="-128"/>
            </a:endParaRPr>
          </a:p>
        </p:txBody>
      </p:sp>
      <p:sp>
        <p:nvSpPr>
          <p:cNvPr id="65" name="Oval 43"/>
          <p:cNvSpPr>
            <a:spLocks noChangeArrowheads="1"/>
          </p:cNvSpPr>
          <p:nvPr/>
        </p:nvSpPr>
        <p:spPr bwMode="auto">
          <a:xfrm>
            <a:off x="4030663" y="3887452"/>
            <a:ext cx="1280160" cy="1280160"/>
          </a:xfrm>
          <a:prstGeom prst="ellipse">
            <a:avLst/>
          </a:prstGeom>
          <a:solidFill>
            <a:schemeClr val="accent2"/>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rPr>
              <a:t>Skills</a:t>
            </a:r>
          </a:p>
        </p:txBody>
      </p:sp>
      <p:sp>
        <p:nvSpPr>
          <p:cNvPr id="66" name="Oval 44"/>
          <p:cNvSpPr>
            <a:spLocks noChangeArrowheads="1"/>
          </p:cNvSpPr>
          <p:nvPr/>
        </p:nvSpPr>
        <p:spPr bwMode="auto">
          <a:xfrm>
            <a:off x="5464176" y="3027027"/>
            <a:ext cx="1280160" cy="1280160"/>
          </a:xfrm>
          <a:prstGeom prst="ellipse">
            <a:avLst/>
          </a:prstGeom>
          <a:solidFill>
            <a:schemeClr val="bg1"/>
          </a:solidFill>
          <a:ln w="12700">
            <a:solidFill>
              <a:schemeClr val="tx1"/>
            </a:solid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ea typeface="ＭＳ Ｐゴシック" pitchFamily="50" charset="-128"/>
              </a:rPr>
              <a:t>Shared values</a:t>
            </a:r>
          </a:p>
        </p:txBody>
      </p:sp>
      <p:sp>
        <p:nvSpPr>
          <p:cNvPr id="67" name="Oval 45"/>
          <p:cNvSpPr>
            <a:spLocks noChangeArrowheads="1"/>
          </p:cNvSpPr>
          <p:nvPr/>
        </p:nvSpPr>
        <p:spPr bwMode="auto">
          <a:xfrm>
            <a:off x="5464176" y="4774864"/>
            <a:ext cx="1280160" cy="1280160"/>
          </a:xfrm>
          <a:prstGeom prst="ellipse">
            <a:avLst/>
          </a:prstGeom>
          <a:solidFill>
            <a:schemeClr val="tx2">
              <a:lumMod val="50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solidFill>
                  <a:schemeClr val="bg1"/>
                </a:solidFill>
              </a:rPr>
              <a:t>Staff</a:t>
            </a:r>
          </a:p>
        </p:txBody>
      </p:sp>
      <p:sp>
        <p:nvSpPr>
          <p:cNvPr id="68" name="Oval 46"/>
          <p:cNvSpPr>
            <a:spLocks noChangeArrowheads="1"/>
          </p:cNvSpPr>
          <p:nvPr/>
        </p:nvSpPr>
        <p:spPr bwMode="auto">
          <a:xfrm>
            <a:off x="5464176" y="1326814"/>
            <a:ext cx="1280160" cy="1280160"/>
          </a:xfrm>
          <a:prstGeom prst="ellipse">
            <a:avLst/>
          </a:prstGeom>
          <a:solidFill>
            <a:schemeClr val="bg2"/>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dirty="0"/>
              <a:t>Structure</a:t>
            </a:r>
            <a:endParaRPr lang="en-US" sz="1200" dirty="0">
              <a:ea typeface="ＭＳ Ｐゴシック" pitchFamily="50" charset="-128"/>
            </a:endParaRPr>
          </a:p>
        </p:txBody>
      </p:sp>
      <p:sp>
        <p:nvSpPr>
          <p:cNvPr id="69" name="Line 47"/>
          <p:cNvSpPr>
            <a:spLocks noChangeShapeType="1"/>
          </p:cNvSpPr>
          <p:nvPr/>
        </p:nvSpPr>
        <p:spPr bwMode="blackWhite">
          <a:xfrm rot="16200000">
            <a:off x="6101557" y="3721558"/>
            <a:ext cx="0" cy="1595438"/>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
        <p:nvSpPr>
          <p:cNvPr id="70" name="Line 48"/>
          <p:cNvSpPr>
            <a:spLocks noChangeShapeType="1"/>
          </p:cNvSpPr>
          <p:nvPr/>
        </p:nvSpPr>
        <p:spPr bwMode="blackWhite">
          <a:xfrm rot="16200000">
            <a:off x="6104732" y="1999120"/>
            <a:ext cx="0" cy="1595438"/>
          </a:xfrm>
          <a:prstGeom prst="line">
            <a:avLst/>
          </a:prstGeom>
          <a:noFill/>
          <a:ln w="6350">
            <a:solidFill>
              <a:srgbClr val="BBBCBC"/>
            </a:solidFill>
            <a:round/>
            <a:headEnd/>
            <a:tailEnd/>
          </a:ln>
        </p:spPr>
        <p:txBody>
          <a:bodyPr wrap="square" lIns="36000" tIns="36000" rIns="36000" bIns="36000" anchor="ctr">
            <a:noAutofit/>
          </a:bodyPr>
          <a:lstStyle/>
          <a:p>
            <a:endParaRPr lang="en-US" dirty="0">
              <a:solidFill>
                <a:schemeClr val="bg1"/>
              </a:solidFill>
            </a:endParaRPr>
          </a:p>
        </p:txBody>
      </p:sp>
    </p:spTree>
    <p:extLst>
      <p:ext uri="{BB962C8B-B14F-4D97-AF65-F5344CB8AC3E}">
        <p14:creationId xmlns:p14="http://schemas.microsoft.com/office/powerpoint/2010/main" val="2583837884"/>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73121" name="Title 1"/>
          <p:cNvSpPr>
            <a:spLocks noGrp="1"/>
          </p:cNvSpPr>
          <p:nvPr>
            <p:ph type="title"/>
          </p:nvPr>
        </p:nvSpPr>
        <p:spPr/>
        <p:txBody>
          <a:bodyPr/>
          <a:lstStyle/>
          <a:p>
            <a:r>
              <a:rPr lang="en-US"/>
              <a:t>3Cs triangle</a:t>
            </a:r>
            <a:r>
              <a:rPr lang="en-US" altLang="ja-JP"/>
              <a:t> </a:t>
            </a:r>
            <a:endParaRPr lang="en-US" dirty="0"/>
          </a:p>
        </p:txBody>
      </p:sp>
      <p:sp>
        <p:nvSpPr>
          <p:cNvPr id="18" name="Oval 17"/>
          <p:cNvSpPr>
            <a:spLocks noChangeArrowheads="1"/>
          </p:cNvSpPr>
          <p:nvPr/>
        </p:nvSpPr>
        <p:spPr bwMode="blackWhite">
          <a:xfrm>
            <a:off x="5456441" y="1290130"/>
            <a:ext cx="1280160" cy="1280160"/>
          </a:xfrm>
          <a:prstGeom prst="ellipse">
            <a:avLst/>
          </a:prstGeom>
          <a:solidFill>
            <a:schemeClr val="bg1">
              <a:lumMod val="85000"/>
            </a:schemeClr>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ea typeface="ＭＳ Ｐゴシック" pitchFamily="50" charset="-128"/>
                <a:cs typeface="Arial" pitchFamily="34" charset="0"/>
              </a:rPr>
              <a:t>Customer</a:t>
            </a:r>
          </a:p>
        </p:txBody>
      </p:sp>
      <p:sp>
        <p:nvSpPr>
          <p:cNvPr id="19" name="Oval 18"/>
          <p:cNvSpPr>
            <a:spLocks noChangeArrowheads="1"/>
          </p:cNvSpPr>
          <p:nvPr/>
        </p:nvSpPr>
        <p:spPr bwMode="blackWhite">
          <a:xfrm>
            <a:off x="3519632" y="3875612"/>
            <a:ext cx="1280160" cy="1280160"/>
          </a:xfrm>
          <a:prstGeom prst="ellipse">
            <a:avLst/>
          </a:prstGeom>
          <a:solidFill>
            <a:schemeClr val="bg2">
              <a:lumMod val="50000"/>
            </a:schemeClr>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solidFill>
                  <a:schemeClr val="bg1"/>
                </a:solidFill>
                <a:ea typeface="ＭＳ Ｐゴシック" pitchFamily="50" charset="-128"/>
                <a:cs typeface="Arial" pitchFamily="34" charset="0"/>
              </a:rPr>
              <a:t>Clients</a:t>
            </a:r>
          </a:p>
        </p:txBody>
      </p:sp>
      <p:sp>
        <p:nvSpPr>
          <p:cNvPr id="20" name="Oval 19"/>
          <p:cNvSpPr>
            <a:spLocks noChangeArrowheads="1"/>
          </p:cNvSpPr>
          <p:nvPr/>
        </p:nvSpPr>
        <p:spPr bwMode="blackWhite">
          <a:xfrm>
            <a:off x="5454792" y="3014013"/>
            <a:ext cx="1280160" cy="1280160"/>
          </a:xfrm>
          <a:prstGeom prst="ellipse">
            <a:avLst/>
          </a:prstGeom>
          <a:solidFill>
            <a:schemeClr val="accent2"/>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solidFill>
                  <a:schemeClr val="bg1"/>
                </a:solidFill>
                <a:ea typeface="ＭＳ Ｐゴシック" pitchFamily="50" charset="-128"/>
                <a:cs typeface="Arial" pitchFamily="34" charset="0"/>
              </a:rPr>
              <a:t>Distributors</a:t>
            </a:r>
          </a:p>
        </p:txBody>
      </p:sp>
      <p:sp>
        <p:nvSpPr>
          <p:cNvPr id="22" name="Oval 21"/>
          <p:cNvSpPr>
            <a:spLocks noChangeArrowheads="1"/>
          </p:cNvSpPr>
          <p:nvPr/>
        </p:nvSpPr>
        <p:spPr bwMode="blackWhite">
          <a:xfrm>
            <a:off x="7429514" y="3875612"/>
            <a:ext cx="1280160" cy="1280160"/>
          </a:xfrm>
          <a:prstGeom prst="ellipse">
            <a:avLst/>
          </a:prstGeom>
          <a:solidFill>
            <a:schemeClr val="tx2">
              <a:lumMod val="50000"/>
              <a:lumOff val="50000"/>
            </a:schemeClr>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ea typeface="ＭＳ Ｐゴシック" pitchFamily="50" charset="-128"/>
                <a:cs typeface="Arial" pitchFamily="34" charset="0"/>
              </a:rPr>
              <a:t>Competitors</a:t>
            </a:r>
          </a:p>
        </p:txBody>
      </p:sp>
      <p:sp>
        <p:nvSpPr>
          <p:cNvPr id="23" name="Oval 22"/>
          <p:cNvSpPr>
            <a:spLocks noChangeArrowheads="1"/>
          </p:cNvSpPr>
          <p:nvPr/>
        </p:nvSpPr>
        <p:spPr bwMode="blackWhite">
          <a:xfrm>
            <a:off x="5454792" y="4737895"/>
            <a:ext cx="1280160" cy="1280160"/>
          </a:xfrm>
          <a:prstGeom prst="ellipse">
            <a:avLst/>
          </a:prstGeom>
          <a:solidFill>
            <a:schemeClr val="bg2">
              <a:lumMod val="75000"/>
            </a:schemeClr>
          </a:solidFill>
          <a:ln w="12700">
            <a:noFill/>
            <a:round/>
            <a:headEnd/>
            <a:tailEnd/>
          </a:ln>
        </p:spPr>
        <p:txBody>
          <a:bodyPr wrap="none" lIns="88900" tIns="88900" rIns="88900" bIns="88900" anchor="ctr"/>
          <a:lstStyle/>
          <a:p>
            <a:pPr algn="ctr" defTabSz="820738">
              <a:spcBef>
                <a:spcPct val="20000"/>
              </a:spcBef>
              <a:spcAft>
                <a:spcPct val="37000"/>
              </a:spcAft>
              <a:defRPr/>
            </a:pPr>
            <a:r>
              <a:rPr lang="en-GB" sz="1400" dirty="0">
                <a:solidFill>
                  <a:schemeClr val="bg1"/>
                </a:solidFill>
                <a:ea typeface="ＭＳ Ｐゴシック" pitchFamily="50" charset="-128"/>
                <a:cs typeface="Arial" pitchFamily="34" charset="0"/>
              </a:rPr>
              <a:t>Suppliers</a:t>
            </a:r>
          </a:p>
        </p:txBody>
      </p:sp>
      <p:cxnSp>
        <p:nvCxnSpPr>
          <p:cNvPr id="25" name="Straight Arrow Connector 24"/>
          <p:cNvCxnSpPr>
            <a:stCxn id="18" idx="5"/>
            <a:endCxn id="22" idx="0"/>
          </p:cNvCxnSpPr>
          <p:nvPr/>
        </p:nvCxnSpPr>
        <p:spPr bwMode="auto">
          <a:xfrm>
            <a:off x="6549126" y="2382816"/>
            <a:ext cx="1520468" cy="1492797"/>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8" idx="3"/>
            <a:endCxn id="19" idx="0"/>
          </p:cNvCxnSpPr>
          <p:nvPr/>
        </p:nvCxnSpPr>
        <p:spPr bwMode="auto">
          <a:xfrm flipH="1">
            <a:off x="4159712" y="2382816"/>
            <a:ext cx="1484204" cy="1492797"/>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18" idx="4"/>
            <a:endCxn id="20" idx="0"/>
          </p:cNvCxnSpPr>
          <p:nvPr/>
        </p:nvCxnSpPr>
        <p:spPr bwMode="auto">
          <a:xfrm flipH="1">
            <a:off x="6094873" y="2570291"/>
            <a:ext cx="1649" cy="443723"/>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0" idx="2"/>
            <a:endCxn id="19" idx="7"/>
          </p:cNvCxnSpPr>
          <p:nvPr/>
        </p:nvCxnSpPr>
        <p:spPr bwMode="auto">
          <a:xfrm flipH="1">
            <a:off x="4612318" y="3654093"/>
            <a:ext cx="842475" cy="408994"/>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20" idx="6"/>
            <a:endCxn id="22" idx="1"/>
          </p:cNvCxnSpPr>
          <p:nvPr/>
        </p:nvCxnSpPr>
        <p:spPr bwMode="auto">
          <a:xfrm>
            <a:off x="6734953" y="3654093"/>
            <a:ext cx="882037" cy="408994"/>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22" idx="2"/>
            <a:endCxn id="19" idx="6"/>
          </p:cNvCxnSpPr>
          <p:nvPr/>
        </p:nvCxnSpPr>
        <p:spPr bwMode="auto">
          <a:xfrm flipH="1">
            <a:off x="4799792" y="4515692"/>
            <a:ext cx="2629722" cy="0"/>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3" idx="2"/>
            <a:endCxn id="19" idx="5"/>
          </p:cNvCxnSpPr>
          <p:nvPr/>
        </p:nvCxnSpPr>
        <p:spPr bwMode="auto">
          <a:xfrm flipH="1" flipV="1">
            <a:off x="4612318" y="4968297"/>
            <a:ext cx="842475" cy="409678"/>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endCxn id="23" idx="6"/>
          </p:cNvCxnSpPr>
          <p:nvPr/>
        </p:nvCxnSpPr>
        <p:spPr bwMode="auto">
          <a:xfrm flipH="1">
            <a:off x="6734952" y="4832079"/>
            <a:ext cx="776980" cy="545896"/>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4091870"/>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Straight Connector 17"/>
          <p:cNvCxnSpPr>
            <a:stCxn id="11" idx="5"/>
            <a:endCxn id="12" idx="1"/>
          </p:cNvCxnSpPr>
          <p:nvPr/>
        </p:nvCxnSpPr>
        <p:spPr>
          <a:xfrm>
            <a:off x="5070960" y="2560233"/>
            <a:ext cx="2025759" cy="161841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3"/>
          </p:nvPr>
        </p:nvSpPr>
        <p:spPr/>
        <p:txBody>
          <a:bodyPr/>
          <a:lstStyle/>
          <a:p>
            <a:r>
              <a:rPr lang="en-US"/>
              <a:t>Subtitle runs here</a:t>
            </a:r>
            <a:endParaRPr lang="en-US" dirty="0"/>
          </a:p>
        </p:txBody>
      </p:sp>
      <p:sp>
        <p:nvSpPr>
          <p:cNvPr id="774145" name="Title 1"/>
          <p:cNvSpPr>
            <a:spLocks noGrp="1"/>
          </p:cNvSpPr>
          <p:nvPr>
            <p:ph type="title"/>
          </p:nvPr>
        </p:nvSpPr>
        <p:spPr/>
        <p:txBody>
          <a:bodyPr/>
          <a:lstStyle/>
          <a:p>
            <a:r>
              <a:rPr lang="en-US"/>
              <a:t>Value creation</a:t>
            </a:r>
            <a:endParaRPr lang="en-US" dirty="0"/>
          </a:p>
        </p:txBody>
      </p:sp>
      <p:sp>
        <p:nvSpPr>
          <p:cNvPr id="9" name="Oval 8"/>
          <p:cNvSpPr>
            <a:spLocks noChangeArrowheads="1"/>
          </p:cNvSpPr>
          <p:nvPr/>
        </p:nvSpPr>
        <p:spPr bwMode="blackWhite">
          <a:xfrm>
            <a:off x="5123718" y="4928821"/>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Grow</a:t>
            </a:r>
          </a:p>
          <a:p>
            <a:pPr algn="ctr" defTabSz="820738">
              <a:defRPr/>
            </a:pPr>
            <a:r>
              <a:rPr lang="en-US" sz="1200" dirty="0">
                <a:solidFill>
                  <a:schemeClr val="bg1"/>
                </a:solidFill>
                <a:ea typeface="ＭＳ Ｐゴシック" pitchFamily="50" charset="-128"/>
              </a:rPr>
              <a:t>through</a:t>
            </a:r>
          </a:p>
          <a:p>
            <a:pPr algn="ctr" defTabSz="820738">
              <a:defRPr/>
            </a:pPr>
            <a:r>
              <a:rPr lang="en-US" sz="1200" dirty="0">
                <a:solidFill>
                  <a:schemeClr val="bg1"/>
                </a:solidFill>
                <a:ea typeface="ＭＳ Ｐゴシック" pitchFamily="50" charset="-128"/>
              </a:rPr>
              <a:t>cultural</a:t>
            </a:r>
          </a:p>
          <a:p>
            <a:pPr algn="ctr" defTabSz="820738">
              <a:defRPr/>
            </a:pPr>
            <a:r>
              <a:rPr lang="en-US" sz="1200" dirty="0">
                <a:solidFill>
                  <a:schemeClr val="bg1"/>
                </a:solidFill>
                <a:ea typeface="ＭＳ Ｐゴシック" pitchFamily="50" charset="-128"/>
              </a:rPr>
              <a:t>initiative</a:t>
            </a:r>
          </a:p>
        </p:txBody>
      </p:sp>
      <p:sp>
        <p:nvSpPr>
          <p:cNvPr id="10" name="Oval 9"/>
          <p:cNvSpPr>
            <a:spLocks noChangeArrowheads="1"/>
          </p:cNvSpPr>
          <p:nvPr/>
        </p:nvSpPr>
        <p:spPr bwMode="blackWhite">
          <a:xfrm>
            <a:off x="6815505" y="1623646"/>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Redeploy</a:t>
            </a:r>
          </a:p>
          <a:p>
            <a:pPr algn="ctr" defTabSz="820738">
              <a:defRPr/>
            </a:pPr>
            <a:r>
              <a:rPr lang="en-US" sz="1200" dirty="0">
                <a:solidFill>
                  <a:schemeClr val="bg1"/>
                </a:solidFill>
                <a:ea typeface="ＭＳ Ｐゴシック" pitchFamily="50" charset="-128"/>
              </a:rPr>
              <a:t>assets</a:t>
            </a:r>
          </a:p>
        </p:txBody>
      </p:sp>
      <p:sp>
        <p:nvSpPr>
          <p:cNvPr id="11" name="Oval 10"/>
          <p:cNvSpPr>
            <a:spLocks noChangeArrowheads="1"/>
          </p:cNvSpPr>
          <p:nvPr/>
        </p:nvSpPr>
        <p:spPr bwMode="blackWhite">
          <a:xfrm>
            <a:off x="3431932" y="1623646"/>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Improve core</a:t>
            </a:r>
          </a:p>
          <a:p>
            <a:pPr algn="ctr" defTabSz="820738">
              <a:defRPr/>
            </a:pPr>
            <a:r>
              <a:rPr lang="en-US" sz="1200" dirty="0">
                <a:solidFill>
                  <a:schemeClr val="bg1"/>
                </a:solidFill>
                <a:ea typeface="ＭＳ Ｐゴシック" pitchFamily="50" charset="-128"/>
              </a:rPr>
              <a:t>business</a:t>
            </a:r>
          </a:p>
          <a:p>
            <a:pPr algn="ctr" defTabSz="820738">
              <a:defRPr/>
            </a:pPr>
            <a:r>
              <a:rPr lang="en-US" sz="1200" dirty="0">
                <a:solidFill>
                  <a:schemeClr val="bg1"/>
                </a:solidFill>
                <a:ea typeface="ＭＳ Ｐゴシック" pitchFamily="50" charset="-128"/>
              </a:rPr>
              <a:t>performance</a:t>
            </a:r>
          </a:p>
        </p:txBody>
      </p:sp>
      <p:sp>
        <p:nvSpPr>
          <p:cNvPr id="12" name="Oval 11"/>
          <p:cNvSpPr>
            <a:spLocks noChangeArrowheads="1"/>
          </p:cNvSpPr>
          <p:nvPr/>
        </p:nvSpPr>
        <p:spPr bwMode="blackWhite">
          <a:xfrm>
            <a:off x="6815505" y="4017958"/>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Grow through</a:t>
            </a:r>
          </a:p>
          <a:p>
            <a:pPr algn="ctr" defTabSz="820738">
              <a:defRPr/>
            </a:pPr>
            <a:r>
              <a:rPr lang="en-US" sz="1200" dirty="0">
                <a:solidFill>
                  <a:schemeClr val="bg1"/>
                </a:solidFill>
                <a:ea typeface="ＭＳ Ｐゴシック" pitchFamily="50" charset="-128"/>
              </a:rPr>
              <a:t>acquisition</a:t>
            </a:r>
          </a:p>
          <a:p>
            <a:pPr algn="ctr" defTabSz="820738">
              <a:defRPr/>
            </a:pPr>
            <a:r>
              <a:rPr lang="en-US" sz="1200" dirty="0">
                <a:solidFill>
                  <a:schemeClr val="bg1"/>
                </a:solidFill>
                <a:ea typeface="ＭＳ Ｐゴシック" pitchFamily="50" charset="-128"/>
              </a:rPr>
              <a:t>and/or merger</a:t>
            </a:r>
          </a:p>
        </p:txBody>
      </p:sp>
      <p:sp>
        <p:nvSpPr>
          <p:cNvPr id="13" name="Oval 12"/>
          <p:cNvSpPr>
            <a:spLocks noChangeArrowheads="1"/>
          </p:cNvSpPr>
          <p:nvPr/>
        </p:nvSpPr>
        <p:spPr bwMode="blackWhite">
          <a:xfrm>
            <a:off x="3431932" y="4017958"/>
            <a:ext cx="1920240" cy="1097280"/>
          </a:xfrm>
          <a:prstGeom prst="ellipse">
            <a:avLst/>
          </a:prstGeom>
          <a:solidFill>
            <a:schemeClr val="tx1"/>
          </a:solidFill>
          <a:ln w="12700">
            <a:noFill/>
            <a:round/>
            <a:headEnd/>
            <a:tailEnd/>
          </a:ln>
        </p:spPr>
        <p:txBody>
          <a:bodyPr lIns="88900" tIns="88900" rIns="88900" bIns="88900" anchor="ctr">
            <a:noAutofit/>
          </a:bodyPr>
          <a:lstStyle/>
          <a:p>
            <a:pPr algn="ctr" defTabSz="820738">
              <a:defRPr/>
            </a:pPr>
            <a:r>
              <a:rPr lang="en-US" sz="1200" dirty="0">
                <a:solidFill>
                  <a:schemeClr val="bg1"/>
                </a:solidFill>
                <a:ea typeface="ＭＳ Ｐゴシック" pitchFamily="50" charset="-128"/>
              </a:rPr>
              <a:t>Adopt sound</a:t>
            </a:r>
          </a:p>
          <a:p>
            <a:pPr algn="ctr" defTabSz="820738">
              <a:defRPr/>
            </a:pPr>
            <a:r>
              <a:rPr lang="en-US" sz="1200" dirty="0">
                <a:solidFill>
                  <a:schemeClr val="bg1"/>
                </a:solidFill>
                <a:ea typeface="ＭＳ Ｐゴシック" pitchFamily="50" charset="-128"/>
              </a:rPr>
              <a:t>financing</a:t>
            </a:r>
          </a:p>
          <a:p>
            <a:pPr algn="ctr" defTabSz="820738">
              <a:defRPr/>
            </a:pPr>
            <a:r>
              <a:rPr lang="en-US" sz="1200" dirty="0">
                <a:solidFill>
                  <a:schemeClr val="bg1"/>
                </a:solidFill>
                <a:ea typeface="ＭＳ Ｐゴシック" pitchFamily="50" charset="-128"/>
              </a:rPr>
              <a:t>approach</a:t>
            </a:r>
          </a:p>
        </p:txBody>
      </p:sp>
      <p:cxnSp>
        <p:nvCxnSpPr>
          <p:cNvPr id="4" name="Straight Connector 3"/>
          <p:cNvCxnSpPr>
            <a:stCxn id="8" idx="4"/>
            <a:endCxn id="9" idx="0"/>
          </p:cNvCxnSpPr>
          <p:nvPr/>
        </p:nvCxnSpPr>
        <p:spPr>
          <a:xfrm>
            <a:off x="6083838" y="3939333"/>
            <a:ext cx="0" cy="989489"/>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3" idx="7"/>
            <a:endCxn id="10" idx="3"/>
          </p:cNvCxnSpPr>
          <p:nvPr/>
        </p:nvCxnSpPr>
        <p:spPr>
          <a:xfrm flipV="1">
            <a:off x="5070960" y="2560233"/>
            <a:ext cx="2025759" cy="1618418"/>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8" name="Oval 7"/>
          <p:cNvSpPr>
            <a:spLocks noChangeArrowheads="1"/>
          </p:cNvSpPr>
          <p:nvPr/>
        </p:nvSpPr>
        <p:spPr bwMode="blackWhite">
          <a:xfrm>
            <a:off x="5123718" y="2842052"/>
            <a:ext cx="1920240" cy="1097280"/>
          </a:xfrm>
          <a:prstGeom prst="ellipse">
            <a:avLst/>
          </a:prstGeom>
          <a:solidFill>
            <a:schemeClr val="accent2"/>
          </a:solidFill>
          <a:ln w="12700">
            <a:noFill/>
            <a:round/>
            <a:headEnd/>
            <a:tailEnd/>
          </a:ln>
        </p:spPr>
        <p:txBody>
          <a:bodyPr lIns="88900" tIns="88900" rIns="88900" bIns="88900" anchor="ctr">
            <a:noAutofit/>
          </a:bodyPr>
          <a:lstStyle/>
          <a:p>
            <a:pPr algn="ctr" defTabSz="820738">
              <a:defRPr/>
            </a:pPr>
            <a:r>
              <a:rPr lang="en-US" sz="1400" dirty="0">
                <a:solidFill>
                  <a:schemeClr val="bg1"/>
                </a:solidFill>
                <a:ea typeface="ＭＳ Ｐゴシック" pitchFamily="50" charset="-128"/>
              </a:rPr>
              <a:t>Maximize</a:t>
            </a:r>
          </a:p>
          <a:p>
            <a:pPr algn="ctr" defTabSz="820738">
              <a:defRPr/>
            </a:pPr>
            <a:r>
              <a:rPr lang="en-US" sz="1400" dirty="0">
                <a:solidFill>
                  <a:schemeClr val="bg1"/>
                </a:solidFill>
                <a:ea typeface="ＭＳ Ｐゴシック" pitchFamily="50" charset="-128"/>
              </a:rPr>
              <a:t>shareholder</a:t>
            </a:r>
          </a:p>
          <a:p>
            <a:pPr algn="ctr" defTabSz="820738">
              <a:defRPr/>
            </a:pPr>
            <a:r>
              <a:rPr lang="en-US" sz="1400" dirty="0">
                <a:solidFill>
                  <a:schemeClr val="bg1"/>
                </a:solidFill>
                <a:ea typeface="ＭＳ Ｐゴシック" pitchFamily="50" charset="-128"/>
              </a:rPr>
              <a:t>value</a:t>
            </a:r>
          </a:p>
        </p:txBody>
      </p:sp>
    </p:spTree>
    <p:extLst>
      <p:ext uri="{BB962C8B-B14F-4D97-AF65-F5344CB8AC3E}">
        <p14:creationId xmlns:p14="http://schemas.microsoft.com/office/powerpoint/2010/main" val="2947922967"/>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7">
            <a:extLst>
              <a:ext uri="{FF2B5EF4-FFF2-40B4-BE49-F238E27FC236}">
                <a16:creationId xmlns:a16="http://schemas.microsoft.com/office/drawing/2014/main" id="{8BD0C3CF-140D-4008-90DE-2BEB3B201675}"/>
              </a:ext>
            </a:extLst>
          </p:cNvPr>
          <p:cNvSpPr>
            <a:spLocks noGrp="1"/>
          </p:cNvSpPr>
          <p:nvPr>
            <p:ph idx="1"/>
          </p:nvPr>
        </p:nvSpPr>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p:txBody>
      </p:sp>
      <p:sp>
        <p:nvSpPr>
          <p:cNvPr id="4" name="Text Placeholder 3">
            <a:extLst>
              <a:ext uri="{FF2B5EF4-FFF2-40B4-BE49-F238E27FC236}">
                <a16:creationId xmlns:a16="http://schemas.microsoft.com/office/drawing/2014/main" id="{4A33F501-75EA-4101-98D8-99886BA8B5E7}"/>
              </a:ext>
            </a:extLst>
          </p:cNvPr>
          <p:cNvSpPr>
            <a:spLocks noGrp="1"/>
          </p:cNvSpPr>
          <p:nvPr>
            <p:ph type="body" sz="quarter" idx="13"/>
          </p:nvPr>
        </p:nvSpPr>
        <p:spPr/>
        <p:txBody>
          <a:bodyPr/>
          <a:lstStyle/>
          <a:p>
            <a:r>
              <a:rPr lang="en-US" dirty="0"/>
              <a:t>Subtitle</a:t>
            </a:r>
          </a:p>
        </p:txBody>
      </p:sp>
      <p:sp>
        <p:nvSpPr>
          <p:cNvPr id="775169" name="Title 1"/>
          <p:cNvSpPr>
            <a:spLocks noGrp="1"/>
          </p:cNvSpPr>
          <p:nvPr>
            <p:ph type="title"/>
          </p:nvPr>
        </p:nvSpPr>
        <p:spPr/>
        <p:txBody>
          <a:bodyPr/>
          <a:lstStyle/>
          <a:p>
            <a:r>
              <a:rPr lang="en-US" altLang="ja-JP"/>
              <a:t>Portfolio matrix</a:t>
            </a:r>
            <a:endParaRPr lang="en-US" dirty="0"/>
          </a:p>
        </p:txBody>
      </p:sp>
      <p:sp>
        <p:nvSpPr>
          <p:cNvPr id="24" name="Text Placeholder 3"/>
          <p:cNvSpPr txBox="1">
            <a:spLocks/>
          </p:cNvSpPr>
          <p:nvPr/>
        </p:nvSpPr>
        <p:spPr>
          <a:xfrm>
            <a:off x="1900238" y="1818422"/>
            <a:ext cx="2969916" cy="3817115"/>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en-GB" dirty="0">
              <a:solidFill>
                <a:srgbClr val="313131"/>
              </a:solidFill>
              <a:latin typeface="Arial"/>
            </a:endParaRPr>
          </a:p>
        </p:txBody>
      </p:sp>
      <p:grpSp>
        <p:nvGrpSpPr>
          <p:cNvPr id="8" name="Group 7">
            <a:extLst>
              <a:ext uri="{FF2B5EF4-FFF2-40B4-BE49-F238E27FC236}">
                <a16:creationId xmlns:a16="http://schemas.microsoft.com/office/drawing/2014/main" id="{63D4B82E-EB24-4060-AEBA-0A864C79BEFC}"/>
              </a:ext>
            </a:extLst>
          </p:cNvPr>
          <p:cNvGrpSpPr/>
          <p:nvPr/>
        </p:nvGrpSpPr>
        <p:grpSpPr>
          <a:xfrm>
            <a:off x="6309927" y="2052266"/>
            <a:ext cx="4621775" cy="4021109"/>
            <a:chOff x="6309928" y="2052266"/>
            <a:chExt cx="3996122" cy="3476769"/>
          </a:xfrm>
        </p:grpSpPr>
        <p:sp>
          <p:nvSpPr>
            <p:cNvPr id="30" name="Rectangle 3"/>
            <p:cNvSpPr>
              <a:spLocks noChangeArrowheads="1"/>
            </p:cNvSpPr>
            <p:nvPr/>
          </p:nvSpPr>
          <p:spPr bwMode="auto">
            <a:xfrm>
              <a:off x="7811445" y="5221258"/>
              <a:ext cx="2043829" cy="307777"/>
            </a:xfrm>
            <a:prstGeom prst="rect">
              <a:avLst/>
            </a:prstGeom>
            <a:noFill/>
            <a:ln w="9525">
              <a:noFill/>
              <a:miter lim="800000"/>
              <a:headEnd/>
              <a:tailEnd/>
            </a:ln>
          </p:spPr>
          <p:txBody>
            <a:bodyPr wrap="none" lIns="0" tIns="0" rIns="0" bIns="0" anchor="ctr">
              <a:spAutoFit/>
            </a:bodyPr>
            <a:lstStyle/>
            <a:p>
              <a:pPr algn="ctr"/>
              <a:r>
                <a:rPr lang="en-GB" altLang="ja-JP" sz="1000" dirty="0">
                  <a:ea typeface="ＭＳ Ｐゴシック" charset="-128"/>
                  <a:cs typeface="Arial" pitchFamily="34" charset="0"/>
                </a:rPr>
                <a:t>Competitive position</a:t>
              </a:r>
            </a:p>
            <a:p>
              <a:pPr algn="ctr"/>
              <a:r>
                <a:rPr lang="en-GB" altLang="ja-JP" sz="1000" dirty="0">
                  <a:ea typeface="ＭＳ Ｐゴシック" charset="-128"/>
                  <a:cs typeface="Arial" pitchFamily="34" charset="0"/>
                </a:rPr>
                <a:t>(returns compared to industry average)</a:t>
              </a:r>
            </a:p>
          </p:txBody>
        </p:sp>
        <p:sp>
          <p:nvSpPr>
            <p:cNvPr id="31" name="Text Box 4"/>
            <p:cNvSpPr txBox="1">
              <a:spLocks noChangeArrowheads="1"/>
            </p:cNvSpPr>
            <p:nvPr/>
          </p:nvSpPr>
          <p:spPr bwMode="auto">
            <a:xfrm>
              <a:off x="7371791" y="5029105"/>
              <a:ext cx="208390" cy="153888"/>
            </a:xfrm>
            <a:prstGeom prst="rect">
              <a:avLst/>
            </a:prstGeom>
            <a:noFill/>
            <a:ln w="9525">
              <a:noFill/>
              <a:miter lim="800000"/>
              <a:headEnd type="none" w="sm" len="sm"/>
              <a:tailEnd type="none" w="med" len="lg"/>
            </a:ln>
          </p:spPr>
          <p:txBody>
            <a:bodyPr wrap="none" lIns="0" tIns="0" rIns="0" bIns="0" anchor="ctr">
              <a:spAutoFit/>
            </a:bodyPr>
            <a:lstStyle/>
            <a:p>
              <a:pPr eaLnBrk="1" hangingPunct="1">
                <a:spcBef>
                  <a:spcPct val="20000"/>
                </a:spcBef>
              </a:pPr>
              <a:r>
                <a:rPr lang="en-GB" altLang="ja-JP" sz="1000" i="1" dirty="0">
                  <a:ea typeface="ＭＳ Ｐゴシック" charset="-128"/>
                  <a:cs typeface="Arial" pitchFamily="34" charset="0"/>
                </a:rPr>
                <a:t>Low</a:t>
              </a:r>
            </a:p>
          </p:txBody>
        </p:sp>
        <p:sp>
          <p:nvSpPr>
            <p:cNvPr id="32" name="Text Box 5"/>
            <p:cNvSpPr txBox="1">
              <a:spLocks noChangeArrowheads="1"/>
            </p:cNvSpPr>
            <p:nvPr/>
          </p:nvSpPr>
          <p:spPr bwMode="auto">
            <a:xfrm>
              <a:off x="10033281" y="5029105"/>
              <a:ext cx="240450" cy="153888"/>
            </a:xfrm>
            <a:prstGeom prst="rect">
              <a:avLst/>
            </a:prstGeom>
            <a:noFill/>
            <a:ln w="9525">
              <a:noFill/>
              <a:miter lim="800000"/>
              <a:headEnd type="none" w="sm" len="sm"/>
              <a:tailEnd type="none" w="med" len="lg"/>
            </a:ln>
          </p:spPr>
          <p:txBody>
            <a:bodyPr wrap="none" lIns="0" tIns="0" rIns="0" bIns="0" anchor="ctr">
              <a:spAutoFit/>
            </a:bodyPr>
            <a:lstStyle/>
            <a:p>
              <a:pPr eaLnBrk="1" hangingPunct="1">
                <a:spcBef>
                  <a:spcPct val="20000"/>
                </a:spcBef>
              </a:pPr>
              <a:r>
                <a:rPr lang="en-GB" altLang="ja-JP" sz="1000" i="1" dirty="0">
                  <a:ea typeface="ＭＳ Ｐゴシック" charset="-128"/>
                  <a:cs typeface="Arial" pitchFamily="34" charset="0"/>
                </a:rPr>
                <a:t>High</a:t>
              </a:r>
            </a:p>
          </p:txBody>
        </p:sp>
        <p:sp>
          <p:nvSpPr>
            <p:cNvPr id="33" name="AutoShape 6"/>
            <p:cNvSpPr>
              <a:spLocks noChangeArrowheads="1"/>
            </p:cNvSpPr>
            <p:nvPr/>
          </p:nvSpPr>
          <p:spPr bwMode="auto">
            <a:xfrm flipH="1" flipV="1">
              <a:off x="7364128" y="2065683"/>
              <a:ext cx="2941922" cy="2932165"/>
            </a:xfrm>
            <a:prstGeom prst="rtTriangle">
              <a:avLst/>
            </a:prstGeom>
            <a:solidFill>
              <a:schemeClr val="accent3"/>
            </a:solidFill>
            <a:ln w="9525" algn="ctr">
              <a:noFill/>
              <a:miter lim="800000"/>
              <a:headEnd/>
              <a:tailEnd/>
            </a:ln>
          </p:spPr>
          <p:txBody>
            <a:bodyPr rot="10800000" wrap="none" lIns="90000" tIns="46800" rIns="90000" bIns="46800" anchor="ctr"/>
            <a:lstStyle/>
            <a:p>
              <a:pPr eaLnBrk="1" hangingPunct="1">
                <a:spcBef>
                  <a:spcPct val="20000"/>
                </a:spcBef>
                <a:defRPr/>
              </a:pPr>
              <a:endParaRPr lang="en-GB" sz="1200" b="1" dirty="0">
                <a:solidFill>
                  <a:srgbClr val="002776"/>
                </a:solidFill>
                <a:cs typeface="Arial" pitchFamily="34" charset="0"/>
              </a:endParaRPr>
            </a:p>
          </p:txBody>
        </p:sp>
        <p:sp>
          <p:nvSpPr>
            <p:cNvPr id="34" name="Rectangle 7"/>
            <p:cNvSpPr>
              <a:spLocks noChangeArrowheads="1"/>
            </p:cNvSpPr>
            <p:nvPr/>
          </p:nvSpPr>
          <p:spPr bwMode="auto">
            <a:xfrm>
              <a:off x="6309928" y="3156597"/>
              <a:ext cx="987204" cy="769441"/>
            </a:xfrm>
            <a:prstGeom prst="rect">
              <a:avLst/>
            </a:prstGeom>
            <a:noFill/>
            <a:ln w="9525">
              <a:noFill/>
              <a:miter lim="800000"/>
              <a:headEnd/>
              <a:tailEnd/>
            </a:ln>
          </p:spPr>
          <p:txBody>
            <a:bodyPr wrap="square" lIns="0" tIns="0" rIns="0" bIns="0" anchor="ctr">
              <a:spAutoFit/>
            </a:bodyPr>
            <a:lstStyle/>
            <a:p>
              <a:pPr algn="ctr"/>
              <a:r>
                <a:rPr lang="en-GB" altLang="ja-JP" sz="1000" dirty="0">
                  <a:ea typeface="ＭＳ Ｐゴシック" charset="-128"/>
                  <a:cs typeface="Arial" pitchFamily="34" charset="0"/>
                </a:rPr>
                <a:t>Market attractiveness</a:t>
              </a:r>
            </a:p>
            <a:p>
              <a:pPr algn="ctr"/>
              <a:r>
                <a:rPr lang="en-GB" altLang="ja-JP" sz="1000" dirty="0">
                  <a:ea typeface="ＭＳ Ｐゴシック" charset="-128"/>
                  <a:cs typeface="Arial" pitchFamily="34" charset="0"/>
                </a:rPr>
                <a:t>(industry average returns above cost of capital)</a:t>
              </a:r>
            </a:p>
          </p:txBody>
        </p:sp>
        <p:sp>
          <p:nvSpPr>
            <p:cNvPr id="35" name="Rectangle 8"/>
            <p:cNvSpPr>
              <a:spLocks noChangeArrowheads="1"/>
            </p:cNvSpPr>
            <p:nvPr/>
          </p:nvSpPr>
          <p:spPr bwMode="auto">
            <a:xfrm>
              <a:off x="7360954" y="2060976"/>
              <a:ext cx="2944813" cy="2941637"/>
            </a:xfrm>
            <a:prstGeom prst="rect">
              <a:avLst/>
            </a:prstGeom>
            <a:noFill/>
            <a:ln w="9525">
              <a:solidFill>
                <a:schemeClr val="tx2"/>
              </a:solidFill>
              <a:miter lim="800000"/>
              <a:headEnd/>
              <a:tailEnd/>
            </a:ln>
          </p:spPr>
          <p:txBody>
            <a:bodyPr/>
            <a:lstStyle/>
            <a:p>
              <a:pPr eaLnBrk="1" hangingPunct="1">
                <a:spcBef>
                  <a:spcPct val="20000"/>
                </a:spcBef>
              </a:pPr>
              <a:endParaRPr lang="en-GB" sz="1200" b="1" dirty="0">
                <a:solidFill>
                  <a:srgbClr val="002776"/>
                </a:solidFill>
                <a:cs typeface="Arial" pitchFamily="34" charset="0"/>
              </a:endParaRPr>
            </a:p>
          </p:txBody>
        </p:sp>
        <p:sp>
          <p:nvSpPr>
            <p:cNvPr id="36" name="Line 10"/>
            <p:cNvSpPr>
              <a:spLocks noChangeShapeType="1"/>
            </p:cNvSpPr>
            <p:nvPr/>
          </p:nvSpPr>
          <p:spPr bwMode="auto">
            <a:xfrm flipV="1">
              <a:off x="7360954" y="3539753"/>
              <a:ext cx="1476375" cy="1588"/>
            </a:xfrm>
            <a:prstGeom prst="line">
              <a:avLst/>
            </a:prstGeom>
            <a:noFill/>
            <a:ln w="9525">
              <a:solidFill>
                <a:schemeClr val="tx2"/>
              </a:solidFill>
              <a:round/>
              <a:headEnd/>
              <a:tailEnd/>
            </a:ln>
          </p:spPr>
          <p:txBody>
            <a:bodyPr/>
            <a:lstStyle/>
            <a:p>
              <a:pPr eaLnBrk="1" hangingPunct="1">
                <a:spcBef>
                  <a:spcPct val="20000"/>
                </a:spcBef>
              </a:pPr>
              <a:endParaRPr lang="en-US" sz="1200" b="1" dirty="0">
                <a:solidFill>
                  <a:srgbClr val="002776"/>
                </a:solidFill>
                <a:cs typeface="Arial" pitchFamily="34" charset="0"/>
              </a:endParaRPr>
            </a:p>
          </p:txBody>
        </p:sp>
        <p:sp>
          <p:nvSpPr>
            <p:cNvPr id="37" name="Text Box 11"/>
            <p:cNvSpPr txBox="1">
              <a:spLocks noChangeArrowheads="1"/>
            </p:cNvSpPr>
            <p:nvPr/>
          </p:nvSpPr>
          <p:spPr bwMode="auto">
            <a:xfrm>
              <a:off x="9692078" y="2132478"/>
              <a:ext cx="528067" cy="133056"/>
            </a:xfrm>
            <a:prstGeom prst="rect">
              <a:avLst/>
            </a:prstGeom>
            <a:noFill/>
            <a:ln w="9525" algn="ctr">
              <a:noFill/>
              <a:miter lim="800000"/>
              <a:headEnd/>
              <a:tailEnd/>
            </a:ln>
          </p:spPr>
          <p:txBody>
            <a:bodyPr wrap="none" lIns="0" tIns="0" rIns="0" bIns="0">
              <a:spAutoFit/>
            </a:bodyPr>
            <a:lstStyle/>
            <a:p>
              <a:pPr algn="r" eaLnBrk="1" hangingPunct="1">
                <a:spcBef>
                  <a:spcPct val="20000"/>
                </a:spcBef>
              </a:pPr>
              <a:r>
                <a:rPr lang="en-GB" altLang="ja-JP" sz="1000" dirty="0">
                  <a:solidFill>
                    <a:schemeClr val="bg1"/>
                  </a:solidFill>
                  <a:ea typeface="ＭＳ Ｐゴシック" charset="-128"/>
                  <a:cs typeface="Arial" pitchFamily="34" charset="0"/>
                </a:rPr>
                <a:t>ROCE &gt; CoC</a:t>
              </a:r>
            </a:p>
          </p:txBody>
        </p:sp>
        <p:sp>
          <p:nvSpPr>
            <p:cNvPr id="38" name="Text Box 12"/>
            <p:cNvSpPr txBox="1">
              <a:spLocks noChangeArrowheads="1"/>
            </p:cNvSpPr>
            <p:nvPr/>
          </p:nvSpPr>
          <p:spPr bwMode="auto">
            <a:xfrm>
              <a:off x="7462529" y="4797150"/>
              <a:ext cx="597921" cy="153888"/>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1000" b="1" dirty="0">
                  <a:ea typeface="ＭＳ Ｐゴシック" charset="-128"/>
                  <a:cs typeface="Arial" pitchFamily="34" charset="0"/>
                </a:rPr>
                <a:t>ROCE &lt; CoC</a:t>
              </a:r>
            </a:p>
          </p:txBody>
        </p:sp>
        <p:sp>
          <p:nvSpPr>
            <p:cNvPr id="39" name="Text Box 13"/>
            <p:cNvSpPr txBox="1">
              <a:spLocks noChangeArrowheads="1"/>
            </p:cNvSpPr>
            <p:nvPr/>
          </p:nvSpPr>
          <p:spPr bwMode="auto">
            <a:xfrm rot="2694527">
              <a:off x="9167641" y="4259097"/>
              <a:ext cx="597920" cy="153888"/>
            </a:xfrm>
            <a:prstGeom prst="rect">
              <a:avLst/>
            </a:prstGeom>
            <a:noFill/>
            <a:ln w="9525" algn="ctr">
              <a:noFill/>
              <a:miter lim="800000"/>
              <a:headEnd/>
              <a:tailEnd/>
            </a:ln>
          </p:spPr>
          <p:txBody>
            <a:bodyPr wrap="none" lIns="0" tIns="0" rIns="0" bIns="0" anchor="ctr">
              <a:spAutoFit/>
            </a:bodyPr>
            <a:lstStyle/>
            <a:p>
              <a:pPr algn="ctr" eaLnBrk="1" hangingPunct="1">
                <a:spcBef>
                  <a:spcPct val="20000"/>
                </a:spcBef>
              </a:pPr>
              <a:r>
                <a:rPr lang="en-GB" altLang="ja-JP" sz="1000" b="1" dirty="0">
                  <a:ea typeface="ＭＳ Ｐゴシック" charset="-128"/>
                  <a:cs typeface="Arial" pitchFamily="34" charset="0"/>
                </a:rPr>
                <a:t>ROCE = CoC</a:t>
              </a:r>
            </a:p>
          </p:txBody>
        </p:sp>
        <p:sp>
          <p:nvSpPr>
            <p:cNvPr id="40" name="Text Box 14"/>
            <p:cNvSpPr txBox="1">
              <a:spLocks noChangeArrowheads="1"/>
            </p:cNvSpPr>
            <p:nvPr/>
          </p:nvSpPr>
          <p:spPr bwMode="auto">
            <a:xfrm>
              <a:off x="7046223" y="2060975"/>
              <a:ext cx="240450" cy="153888"/>
            </a:xfrm>
            <a:prstGeom prst="rect">
              <a:avLst/>
            </a:prstGeom>
            <a:noFill/>
            <a:ln w="9525">
              <a:noFill/>
              <a:miter lim="800000"/>
              <a:headEnd type="none" w="sm" len="sm"/>
              <a:tailEnd type="none" w="med" len="lg"/>
            </a:ln>
          </p:spPr>
          <p:txBody>
            <a:bodyPr wrap="none" lIns="0" tIns="0" rIns="0" bIns="0" anchor="ctr">
              <a:spAutoFit/>
            </a:bodyPr>
            <a:lstStyle/>
            <a:p>
              <a:pPr algn="r" eaLnBrk="1" hangingPunct="1">
                <a:spcBef>
                  <a:spcPct val="20000"/>
                </a:spcBef>
              </a:pPr>
              <a:r>
                <a:rPr lang="en-GB" altLang="ja-JP" sz="1000" i="1" dirty="0">
                  <a:ea typeface="ＭＳ Ｐゴシック" charset="-128"/>
                  <a:cs typeface="Arial" pitchFamily="34" charset="0"/>
                </a:rPr>
                <a:t>High</a:t>
              </a:r>
            </a:p>
          </p:txBody>
        </p:sp>
        <p:sp>
          <p:nvSpPr>
            <p:cNvPr id="41" name="Text Box 15"/>
            <p:cNvSpPr txBox="1">
              <a:spLocks noChangeArrowheads="1"/>
            </p:cNvSpPr>
            <p:nvPr/>
          </p:nvSpPr>
          <p:spPr bwMode="auto">
            <a:xfrm>
              <a:off x="7078283" y="4848724"/>
              <a:ext cx="208390" cy="153888"/>
            </a:xfrm>
            <a:prstGeom prst="rect">
              <a:avLst/>
            </a:prstGeom>
            <a:noFill/>
            <a:ln w="9525">
              <a:noFill/>
              <a:miter lim="800000"/>
              <a:headEnd type="none" w="sm" len="sm"/>
              <a:tailEnd type="none" w="med" len="lg"/>
            </a:ln>
          </p:spPr>
          <p:txBody>
            <a:bodyPr wrap="none" lIns="0" tIns="0" rIns="0" bIns="0" anchor="ctr">
              <a:spAutoFit/>
            </a:bodyPr>
            <a:lstStyle/>
            <a:p>
              <a:pPr algn="r" eaLnBrk="1" hangingPunct="1">
                <a:spcBef>
                  <a:spcPct val="20000"/>
                </a:spcBef>
              </a:pPr>
              <a:r>
                <a:rPr lang="en-GB" altLang="ja-JP" sz="1000" i="1" dirty="0">
                  <a:ea typeface="ＭＳ Ｐゴシック" charset="-128"/>
                  <a:cs typeface="Arial" pitchFamily="34" charset="0"/>
                </a:rPr>
                <a:t>Low</a:t>
              </a:r>
            </a:p>
          </p:txBody>
        </p:sp>
        <p:sp>
          <p:nvSpPr>
            <p:cNvPr id="42" name="Line 10"/>
            <p:cNvSpPr>
              <a:spLocks noChangeShapeType="1"/>
            </p:cNvSpPr>
            <p:nvPr/>
          </p:nvSpPr>
          <p:spPr bwMode="auto">
            <a:xfrm flipV="1">
              <a:off x="8854792" y="3539753"/>
              <a:ext cx="1449387" cy="0"/>
            </a:xfrm>
            <a:prstGeom prst="line">
              <a:avLst/>
            </a:prstGeom>
            <a:noFill/>
            <a:ln w="9525">
              <a:solidFill>
                <a:schemeClr val="bg1"/>
              </a:solidFill>
              <a:round/>
              <a:headEnd/>
              <a:tailEnd/>
            </a:ln>
          </p:spPr>
          <p:txBody>
            <a:bodyPr/>
            <a:lstStyle/>
            <a:p>
              <a:pPr eaLnBrk="1" hangingPunct="1">
                <a:spcBef>
                  <a:spcPct val="20000"/>
                </a:spcBef>
              </a:pPr>
              <a:endParaRPr lang="en-US" sz="1200" b="1" dirty="0">
                <a:solidFill>
                  <a:srgbClr val="002776"/>
                </a:solidFill>
                <a:cs typeface="Arial" pitchFamily="34" charset="0"/>
              </a:endParaRPr>
            </a:p>
          </p:txBody>
        </p:sp>
        <p:sp>
          <p:nvSpPr>
            <p:cNvPr id="43" name="Line 9"/>
            <p:cNvSpPr>
              <a:spLocks noChangeShapeType="1"/>
            </p:cNvSpPr>
            <p:nvPr/>
          </p:nvSpPr>
          <p:spPr bwMode="auto">
            <a:xfrm flipH="1">
              <a:off x="8832566" y="3544517"/>
              <a:ext cx="12700" cy="1449387"/>
            </a:xfrm>
            <a:prstGeom prst="line">
              <a:avLst/>
            </a:prstGeom>
            <a:noFill/>
            <a:ln w="9525">
              <a:solidFill>
                <a:schemeClr val="tx2"/>
              </a:solidFill>
              <a:round/>
              <a:headEnd/>
              <a:tailEnd/>
            </a:ln>
          </p:spPr>
          <p:txBody>
            <a:bodyPr/>
            <a:lstStyle/>
            <a:p>
              <a:pPr eaLnBrk="1" hangingPunct="1">
                <a:spcBef>
                  <a:spcPct val="20000"/>
                </a:spcBef>
              </a:pPr>
              <a:endParaRPr lang="en-US" sz="1200" b="1" dirty="0">
                <a:solidFill>
                  <a:srgbClr val="002776"/>
                </a:solidFill>
                <a:cs typeface="Arial" pitchFamily="34" charset="0"/>
              </a:endParaRPr>
            </a:p>
          </p:txBody>
        </p:sp>
        <p:sp>
          <p:nvSpPr>
            <p:cNvPr id="44" name="Line 9"/>
            <p:cNvSpPr>
              <a:spLocks noChangeShapeType="1"/>
            </p:cNvSpPr>
            <p:nvPr/>
          </p:nvSpPr>
          <p:spPr bwMode="auto">
            <a:xfrm flipH="1">
              <a:off x="8846853" y="2052266"/>
              <a:ext cx="12700" cy="1484312"/>
            </a:xfrm>
            <a:prstGeom prst="line">
              <a:avLst/>
            </a:prstGeom>
            <a:noFill/>
            <a:ln w="9525">
              <a:solidFill>
                <a:schemeClr val="bg1"/>
              </a:solidFill>
              <a:round/>
              <a:headEnd/>
              <a:tailEnd/>
            </a:ln>
          </p:spPr>
          <p:txBody>
            <a:bodyPr/>
            <a:lstStyle/>
            <a:p>
              <a:pPr eaLnBrk="1" hangingPunct="1">
                <a:spcBef>
                  <a:spcPct val="20000"/>
                </a:spcBef>
              </a:pPr>
              <a:endParaRPr lang="en-US" sz="1200" b="1" dirty="0">
                <a:solidFill>
                  <a:srgbClr val="002776"/>
                </a:solidFill>
                <a:cs typeface="Arial" pitchFamily="34" charset="0"/>
              </a:endParaRPr>
            </a:p>
          </p:txBody>
        </p:sp>
      </p:grpSp>
      <p:sp>
        <p:nvSpPr>
          <p:cNvPr id="45" name="TextBox 44"/>
          <p:cNvSpPr txBox="1"/>
          <p:nvPr/>
        </p:nvSpPr>
        <p:spPr bwMode="gray">
          <a:xfrm>
            <a:off x="6187440" y="1696377"/>
            <a:ext cx="4114800" cy="200055"/>
          </a:xfrm>
          <a:prstGeom prst="rect">
            <a:avLst/>
          </a:prstGeom>
          <a:noFill/>
        </p:spPr>
        <p:txBody>
          <a:bodyPr wrap="square" lIns="0" tIns="0" rIns="0" bIns="0" rtlCol="0">
            <a:spAutoFit/>
          </a:bodyPr>
          <a:lstStyle/>
          <a:p>
            <a:r>
              <a:rPr lang="en-US" sz="1300" dirty="0"/>
              <a:t>Chart title runs here (units)</a:t>
            </a:r>
          </a:p>
        </p:txBody>
      </p:sp>
    </p:spTree>
    <p:extLst>
      <p:ext uri="{BB962C8B-B14F-4D97-AF65-F5344CB8AC3E}">
        <p14:creationId xmlns:p14="http://schemas.microsoft.com/office/powerpoint/2010/main" val="213312922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Data table</a:t>
            </a:r>
            <a:endParaRPr lang="en-US" dirty="0"/>
          </a:p>
        </p:txBody>
      </p:sp>
      <p:graphicFrame>
        <p:nvGraphicFramePr>
          <p:cNvPr id="9" name="Group 3"/>
          <p:cNvGraphicFramePr>
            <a:graphicFrameLocks noGrp="1"/>
          </p:cNvGraphicFramePr>
          <p:nvPr>
            <p:ph type="chart" sz="quarter" idx="15"/>
            <p:custDataLst>
              <p:tags r:id="rId1"/>
            </p:custDataLst>
            <p:extLst>
              <p:ext uri="{D42A27DB-BD31-4B8C-83A1-F6EECF244321}">
                <p14:modId xmlns:p14="http://schemas.microsoft.com/office/powerpoint/2010/main" val="726752583"/>
              </p:ext>
            </p:extLst>
          </p:nvPr>
        </p:nvGraphicFramePr>
        <p:xfrm>
          <a:off x="501650" y="2052638"/>
          <a:ext cx="11188700" cy="3809824"/>
        </p:xfrm>
        <a:graphic>
          <a:graphicData uri="http://schemas.openxmlformats.org/drawingml/2006/table">
            <a:tbl>
              <a:tblPr/>
              <a:tblGrid>
                <a:gridCol w="1829524">
                  <a:extLst>
                    <a:ext uri="{9D8B030D-6E8A-4147-A177-3AD203B41FA5}">
                      <a16:colId xmlns:a16="http://schemas.microsoft.com/office/drawing/2014/main" val="20000"/>
                    </a:ext>
                  </a:extLst>
                </a:gridCol>
                <a:gridCol w="1169897">
                  <a:extLst>
                    <a:ext uri="{9D8B030D-6E8A-4147-A177-3AD203B41FA5}">
                      <a16:colId xmlns:a16="http://schemas.microsoft.com/office/drawing/2014/main" val="20001"/>
                    </a:ext>
                  </a:extLst>
                </a:gridCol>
                <a:gridCol w="1169897">
                  <a:extLst>
                    <a:ext uri="{9D8B030D-6E8A-4147-A177-3AD203B41FA5}">
                      <a16:colId xmlns:a16="http://schemas.microsoft.com/office/drawing/2014/main" val="20002"/>
                    </a:ext>
                  </a:extLst>
                </a:gridCol>
                <a:gridCol w="1169897">
                  <a:extLst>
                    <a:ext uri="{9D8B030D-6E8A-4147-A177-3AD203B41FA5}">
                      <a16:colId xmlns:a16="http://schemas.microsoft.com/office/drawing/2014/main" val="20003"/>
                    </a:ext>
                  </a:extLst>
                </a:gridCol>
                <a:gridCol w="1169897">
                  <a:extLst>
                    <a:ext uri="{9D8B030D-6E8A-4147-A177-3AD203B41FA5}">
                      <a16:colId xmlns:a16="http://schemas.microsoft.com/office/drawing/2014/main" val="20004"/>
                    </a:ext>
                  </a:extLst>
                </a:gridCol>
                <a:gridCol w="1169897">
                  <a:extLst>
                    <a:ext uri="{9D8B030D-6E8A-4147-A177-3AD203B41FA5}">
                      <a16:colId xmlns:a16="http://schemas.microsoft.com/office/drawing/2014/main" val="20005"/>
                    </a:ext>
                  </a:extLst>
                </a:gridCol>
                <a:gridCol w="1169897">
                  <a:extLst>
                    <a:ext uri="{9D8B030D-6E8A-4147-A177-3AD203B41FA5}">
                      <a16:colId xmlns:a16="http://schemas.microsoft.com/office/drawing/2014/main" val="20006"/>
                    </a:ext>
                  </a:extLst>
                </a:gridCol>
                <a:gridCol w="1169897">
                  <a:extLst>
                    <a:ext uri="{9D8B030D-6E8A-4147-A177-3AD203B41FA5}">
                      <a16:colId xmlns:a16="http://schemas.microsoft.com/office/drawing/2014/main" val="20007"/>
                    </a:ext>
                  </a:extLst>
                </a:gridCol>
                <a:gridCol w="1169897">
                  <a:extLst>
                    <a:ext uri="{9D8B030D-6E8A-4147-A177-3AD203B41FA5}">
                      <a16:colId xmlns:a16="http://schemas.microsoft.com/office/drawing/2014/main" val="20008"/>
                    </a:ext>
                  </a:extLst>
                </a:gridCol>
              </a:tblGrid>
              <a:tr h="41148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i="0" u="none" strike="noStrike" kern="1200" cap="none" normalizeH="0" baseline="0" dirty="0">
                          <a:ln>
                            <a:noFill/>
                          </a:ln>
                          <a:solidFill>
                            <a:schemeClr val="accent1"/>
                          </a:solidFill>
                          <a:effectLst/>
                          <a:latin typeface="+mj-lt"/>
                          <a:ea typeface="+mn-ea"/>
                          <a:cs typeface="+mn-cs"/>
                        </a:rPr>
                        <a:t>Column</a:t>
                      </a:r>
                    </a:p>
                  </a:txBody>
                  <a:tcPr marL="91909" marR="91909" marT="91440" marB="91440" anchor="ctr" horzOverflow="overflow">
                    <a:lnL w="12700" cmpd="sng">
                      <a:noFill/>
                      <a:prstDash val="soli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12700" cmpd="sng">
                      <a:noFill/>
                      <a:prstDash val="soli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247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u="none" strike="noStrike" cap="none" normalizeH="0" baseline="0" dirty="0">
                          <a:ln>
                            <a:noFill/>
                          </a:ln>
                          <a:solidFill>
                            <a:schemeClr val="tx1"/>
                          </a:solidFill>
                          <a:effectLst/>
                        </a:rPr>
                        <a:t>Row description</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u="none" strike="noStrike" cap="none" normalizeH="0" baseline="0" dirty="0">
                          <a:ln>
                            <a:noFill/>
                          </a:ln>
                          <a:solidFill>
                            <a:schemeClr val="tx1"/>
                          </a:solidFill>
                          <a:effectLst/>
                        </a:rPr>
                        <a:t>xx</a:t>
                      </a:r>
                      <a:endParaRPr kumimoji="0" lang="en-US" sz="1300" b="0" i="0" u="none" strike="noStrike" cap="none" normalizeH="0" baseline="0" dirty="0">
                        <a:ln>
                          <a:noFill/>
                        </a:ln>
                        <a:solidFill>
                          <a:schemeClr val="tx1"/>
                        </a:solidFill>
                        <a:effectLst/>
                        <a:latin typeface="Arial" charset="0"/>
                      </a:endParaRPr>
                    </a:p>
                  </a:txBody>
                  <a:tcPr marL="91909" marR="91909" marT="91440" marB="91440" anchor="ctr" horzOverflow="overflow">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15" name="Text Placeholder 14"/>
          <p:cNvSpPr>
            <a:spLocks noGrp="1"/>
          </p:cNvSpPr>
          <p:nvPr>
            <p:ph type="body" sz="quarter" idx="18"/>
          </p:nvPr>
        </p:nvSpPr>
        <p:spPr/>
        <p:txBody>
          <a:bodyPr/>
          <a:lstStyle/>
          <a:p>
            <a:r>
              <a:rPr lang="en-US" dirty="0"/>
              <a:t>Table title runs here</a:t>
            </a:r>
          </a:p>
        </p:txBody>
      </p:sp>
      <p:sp>
        <p:nvSpPr>
          <p:cNvPr id="34" name="Text Placeholder 33"/>
          <p:cNvSpPr>
            <a:spLocks noGrp="1"/>
          </p:cNvSpPr>
          <p:nvPr>
            <p:ph type="body" sz="quarter" idx="23"/>
          </p:nvPr>
        </p:nvSpPr>
        <p:spPr/>
        <p:txBody>
          <a:bodyPr>
            <a:normAutofit lnSpcReduction="10000"/>
          </a:bodyPr>
          <a:lstStyle/>
          <a:p>
            <a:r>
              <a:rPr lang="en-GB"/>
              <a:t>Source:</a:t>
            </a:r>
          </a:p>
          <a:p>
            <a:r>
              <a:rPr lang="en-GB"/>
              <a:t>Note:</a:t>
            </a:r>
            <a:endParaRPr lang="en-GB" dirty="0"/>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2046624234"/>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7">
            <a:extLst>
              <a:ext uri="{FF2B5EF4-FFF2-40B4-BE49-F238E27FC236}">
                <a16:creationId xmlns:a16="http://schemas.microsoft.com/office/drawing/2014/main" id="{830854C4-DE0A-434D-A3E9-CAB1D26A8A27}"/>
              </a:ext>
            </a:extLst>
          </p:cNvPr>
          <p:cNvSpPr>
            <a:spLocks noGrp="1"/>
          </p:cNvSpPr>
          <p:nvPr>
            <p:ph idx="1"/>
          </p:nvPr>
        </p:nvSpPr>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p:txBody>
      </p:sp>
      <p:sp>
        <p:nvSpPr>
          <p:cNvPr id="4" name="Text Placeholder 3">
            <a:extLst>
              <a:ext uri="{FF2B5EF4-FFF2-40B4-BE49-F238E27FC236}">
                <a16:creationId xmlns:a16="http://schemas.microsoft.com/office/drawing/2014/main" id="{C69FF740-DB16-44AA-ABC4-9AD6953716D9}"/>
              </a:ext>
            </a:extLst>
          </p:cNvPr>
          <p:cNvSpPr>
            <a:spLocks noGrp="1"/>
          </p:cNvSpPr>
          <p:nvPr>
            <p:ph type="body" sz="quarter" idx="13"/>
          </p:nvPr>
        </p:nvSpPr>
        <p:spPr/>
        <p:txBody>
          <a:bodyPr/>
          <a:lstStyle/>
          <a:p>
            <a:r>
              <a:rPr lang="en-US" dirty="0"/>
              <a:t>Subtitle</a:t>
            </a:r>
          </a:p>
        </p:txBody>
      </p:sp>
      <p:sp>
        <p:nvSpPr>
          <p:cNvPr id="776193" name="Title 1"/>
          <p:cNvSpPr>
            <a:spLocks noGrp="1"/>
          </p:cNvSpPr>
          <p:nvPr>
            <p:ph type="title"/>
          </p:nvPr>
        </p:nvSpPr>
        <p:spPr/>
        <p:txBody>
          <a:bodyPr/>
          <a:lstStyle/>
          <a:p>
            <a:r>
              <a:rPr lang="en-US"/>
              <a:t>Business portfolio 3x3</a:t>
            </a:r>
            <a:endParaRPr lang="en-US" dirty="0"/>
          </a:p>
        </p:txBody>
      </p:sp>
      <p:sp>
        <p:nvSpPr>
          <p:cNvPr id="776195" name="Rectangle 3"/>
          <p:cNvSpPr>
            <a:spLocks noChangeArrowheads="1"/>
          </p:cNvSpPr>
          <p:nvPr/>
        </p:nvSpPr>
        <p:spPr bwMode="auto">
          <a:xfrm>
            <a:off x="6499654" y="2061502"/>
            <a:ext cx="818522" cy="292388"/>
          </a:xfrm>
          <a:prstGeom prst="rect">
            <a:avLst/>
          </a:prstGeom>
          <a:noFill/>
          <a:ln w="9525">
            <a:noFill/>
            <a:miter lim="800000"/>
            <a:headEnd/>
            <a:tailEnd/>
          </a:ln>
        </p:spPr>
        <p:txBody>
          <a:bodyPr wrap="square" lIns="0" tIns="0" rIns="0" bIns="0" anchor="ctr" anchorCtr="1">
            <a:spAutoFit/>
          </a:bodyPr>
          <a:lstStyle/>
          <a:p>
            <a:pPr algn="ctr" defTabSz="892175">
              <a:lnSpc>
                <a:spcPct val="95000"/>
              </a:lnSpc>
              <a:spcAft>
                <a:spcPct val="37000"/>
              </a:spcAft>
            </a:pPr>
            <a:r>
              <a:rPr lang="en-US" sz="1000" dirty="0">
                <a:ea typeface="ＭＳ Ｐゴシック" charset="-128"/>
              </a:rPr>
              <a:t>Competitive position</a:t>
            </a:r>
          </a:p>
        </p:txBody>
      </p:sp>
      <p:sp>
        <p:nvSpPr>
          <p:cNvPr id="776196" name="Rectangle 4"/>
          <p:cNvSpPr>
            <a:spLocks noChangeArrowheads="1"/>
          </p:cNvSpPr>
          <p:nvPr/>
        </p:nvSpPr>
        <p:spPr bwMode="auto">
          <a:xfrm>
            <a:off x="7069505" y="4818789"/>
            <a:ext cx="208390" cy="146194"/>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000" i="1" dirty="0">
                <a:ea typeface="ＭＳ Ｐゴシック" charset="-128"/>
              </a:rPr>
              <a:t>Low</a:t>
            </a:r>
          </a:p>
        </p:txBody>
      </p:sp>
      <p:sp>
        <p:nvSpPr>
          <p:cNvPr id="776197" name="Rectangle 5"/>
          <p:cNvSpPr>
            <a:spLocks noChangeArrowheads="1"/>
          </p:cNvSpPr>
          <p:nvPr/>
        </p:nvSpPr>
        <p:spPr bwMode="auto">
          <a:xfrm>
            <a:off x="6846687" y="3722911"/>
            <a:ext cx="431208" cy="146194"/>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000" i="1" dirty="0">
                <a:ea typeface="ＭＳ Ｐゴシック" charset="-128"/>
              </a:rPr>
              <a:t>Medium</a:t>
            </a:r>
          </a:p>
        </p:txBody>
      </p:sp>
      <p:sp>
        <p:nvSpPr>
          <p:cNvPr id="776198" name="Rectangle 6"/>
          <p:cNvSpPr>
            <a:spLocks noChangeArrowheads="1"/>
          </p:cNvSpPr>
          <p:nvPr/>
        </p:nvSpPr>
        <p:spPr bwMode="auto">
          <a:xfrm>
            <a:off x="7037445" y="2521526"/>
            <a:ext cx="240450" cy="146194"/>
          </a:xfrm>
          <a:prstGeom prst="rect">
            <a:avLst/>
          </a:prstGeom>
          <a:noFill/>
          <a:ln w="9525">
            <a:noFill/>
            <a:miter lim="800000"/>
            <a:headEnd/>
            <a:tailEnd/>
          </a:ln>
        </p:spPr>
        <p:txBody>
          <a:bodyPr wrap="none" lIns="0" tIns="0" rIns="0" bIns="0" anchor="ctr" anchorCtr="1">
            <a:spAutoFit/>
          </a:bodyPr>
          <a:lstStyle/>
          <a:p>
            <a:pPr algn="r" defTabSz="892175">
              <a:lnSpc>
                <a:spcPct val="95000"/>
              </a:lnSpc>
              <a:spcAft>
                <a:spcPct val="37000"/>
              </a:spcAft>
            </a:pPr>
            <a:r>
              <a:rPr lang="en-US" sz="1000" i="1" dirty="0">
                <a:ea typeface="ＭＳ Ｐゴシック" charset="-128"/>
              </a:rPr>
              <a:t>High</a:t>
            </a:r>
          </a:p>
        </p:txBody>
      </p:sp>
      <p:sp>
        <p:nvSpPr>
          <p:cNvPr id="776199" name="Rectangle 7"/>
          <p:cNvSpPr>
            <a:spLocks noChangeArrowheads="1"/>
          </p:cNvSpPr>
          <p:nvPr/>
        </p:nvSpPr>
        <p:spPr bwMode="auto">
          <a:xfrm>
            <a:off x="8180947" y="5722461"/>
            <a:ext cx="1578958"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dirty="0">
                <a:ea typeface="ＭＳ Ｐゴシック" charset="-128"/>
              </a:rPr>
              <a:t>Product/market attractiveness</a:t>
            </a:r>
          </a:p>
        </p:txBody>
      </p:sp>
      <p:sp>
        <p:nvSpPr>
          <p:cNvPr id="776200" name="Rectangle 8"/>
          <p:cNvSpPr>
            <a:spLocks noChangeArrowheads="1"/>
          </p:cNvSpPr>
          <p:nvPr/>
        </p:nvSpPr>
        <p:spPr bwMode="auto">
          <a:xfrm>
            <a:off x="7733144" y="5498845"/>
            <a:ext cx="208390"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i="1" dirty="0">
                <a:ea typeface="ＭＳ Ｐゴシック" charset="-128"/>
              </a:rPr>
              <a:t>Low</a:t>
            </a:r>
          </a:p>
        </p:txBody>
      </p:sp>
      <p:sp>
        <p:nvSpPr>
          <p:cNvPr id="776201" name="Rectangle 9"/>
          <p:cNvSpPr>
            <a:spLocks noChangeArrowheads="1"/>
          </p:cNvSpPr>
          <p:nvPr/>
        </p:nvSpPr>
        <p:spPr bwMode="auto">
          <a:xfrm>
            <a:off x="8797302" y="5498845"/>
            <a:ext cx="431208"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i="1" dirty="0">
                <a:ea typeface="ＭＳ Ｐゴシック" charset="-128"/>
              </a:rPr>
              <a:t>Medium</a:t>
            </a:r>
          </a:p>
        </p:txBody>
      </p:sp>
      <p:sp>
        <p:nvSpPr>
          <p:cNvPr id="776202" name="Rectangle 10"/>
          <p:cNvSpPr>
            <a:spLocks noChangeArrowheads="1"/>
          </p:cNvSpPr>
          <p:nvPr/>
        </p:nvSpPr>
        <p:spPr bwMode="auto">
          <a:xfrm>
            <a:off x="10115877" y="5498845"/>
            <a:ext cx="240450"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i="1" dirty="0">
                <a:ea typeface="ＭＳ Ｐゴシック" charset="-128"/>
              </a:rPr>
              <a:t>High</a:t>
            </a:r>
          </a:p>
        </p:txBody>
      </p:sp>
      <p:grpSp>
        <p:nvGrpSpPr>
          <p:cNvPr id="26" name="Group 25"/>
          <p:cNvGrpSpPr>
            <a:grpSpLocks noChangeAspect="1"/>
          </p:cNvGrpSpPr>
          <p:nvPr/>
        </p:nvGrpSpPr>
        <p:grpSpPr>
          <a:xfrm>
            <a:off x="7319392" y="2050545"/>
            <a:ext cx="3411072" cy="3411072"/>
            <a:chOff x="2682000" y="1749098"/>
            <a:chExt cx="3780000" cy="3780000"/>
          </a:xfrm>
          <a:solidFill>
            <a:srgbClr val="00A1DE"/>
          </a:solidFill>
        </p:grpSpPr>
        <p:sp>
          <p:nvSpPr>
            <p:cNvPr id="12" name="Rectangle 11"/>
            <p:cNvSpPr>
              <a:spLocks noChangeArrowheads="1"/>
            </p:cNvSpPr>
            <p:nvPr/>
          </p:nvSpPr>
          <p:spPr bwMode="blackWhite">
            <a:xfrm>
              <a:off x="268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3" name="Rectangle 12"/>
            <p:cNvSpPr>
              <a:spLocks noChangeArrowheads="1"/>
            </p:cNvSpPr>
            <p:nvPr/>
          </p:nvSpPr>
          <p:spPr bwMode="blackWhite">
            <a:xfrm>
              <a:off x="394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4" name="Rectangle 13"/>
            <p:cNvSpPr>
              <a:spLocks noChangeArrowheads="1"/>
            </p:cNvSpPr>
            <p:nvPr/>
          </p:nvSpPr>
          <p:spPr bwMode="blackWhite">
            <a:xfrm>
              <a:off x="5202000" y="174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5" name="Rectangle 14"/>
            <p:cNvSpPr>
              <a:spLocks noChangeArrowheads="1"/>
            </p:cNvSpPr>
            <p:nvPr/>
          </p:nvSpPr>
          <p:spPr bwMode="blackWhite">
            <a:xfrm>
              <a:off x="268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6" name="Rectangle 15"/>
            <p:cNvSpPr>
              <a:spLocks noChangeArrowheads="1"/>
            </p:cNvSpPr>
            <p:nvPr/>
          </p:nvSpPr>
          <p:spPr bwMode="blackWhite">
            <a:xfrm>
              <a:off x="394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7" name="Rectangle 16"/>
            <p:cNvSpPr>
              <a:spLocks noChangeArrowheads="1"/>
            </p:cNvSpPr>
            <p:nvPr/>
          </p:nvSpPr>
          <p:spPr bwMode="blackWhite">
            <a:xfrm>
              <a:off x="5202000" y="300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8" name="Rectangle 17"/>
            <p:cNvSpPr>
              <a:spLocks noChangeArrowheads="1"/>
            </p:cNvSpPr>
            <p:nvPr/>
          </p:nvSpPr>
          <p:spPr bwMode="blackWhite">
            <a:xfrm>
              <a:off x="268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9" name="Rectangle 18"/>
            <p:cNvSpPr>
              <a:spLocks noChangeArrowheads="1"/>
            </p:cNvSpPr>
            <p:nvPr/>
          </p:nvSpPr>
          <p:spPr bwMode="blackWhite">
            <a:xfrm>
              <a:off x="394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20" name="Rectangle 19"/>
            <p:cNvSpPr>
              <a:spLocks noChangeArrowheads="1"/>
            </p:cNvSpPr>
            <p:nvPr/>
          </p:nvSpPr>
          <p:spPr bwMode="blackWhite">
            <a:xfrm>
              <a:off x="5202000" y="4269098"/>
              <a:ext cx="1260000" cy="1260000"/>
            </a:xfrm>
            <a:prstGeom prst="rect">
              <a:avLst/>
            </a:prstGeom>
            <a:solidFill>
              <a:schemeClr val="accent3"/>
            </a:solidFill>
            <a:ln w="9525">
              <a:solidFill>
                <a:schemeClr val="bg1"/>
              </a:solidFill>
              <a:miter lim="800000"/>
              <a:headEnd/>
              <a:tailEnd/>
            </a:ln>
          </p:spPr>
          <p:txBody>
            <a:bodyPr wrap="none" anchor="ctr"/>
            <a:lstStyle/>
            <a:p>
              <a:pPr algn="ctr">
                <a:defRPr/>
              </a:pPr>
              <a:endParaRPr lang="en-US" sz="1200" dirty="0">
                <a:solidFill>
                  <a:schemeClr val="tx2"/>
                </a:solidFill>
              </a:endParaRPr>
            </a:p>
          </p:txBody>
        </p:sp>
      </p:grpSp>
      <p:sp>
        <p:nvSpPr>
          <p:cNvPr id="25" name="TextBox 24"/>
          <p:cNvSpPr txBox="1"/>
          <p:nvPr/>
        </p:nvSpPr>
        <p:spPr bwMode="gray">
          <a:xfrm>
            <a:off x="6187440" y="1696377"/>
            <a:ext cx="4114800" cy="200055"/>
          </a:xfrm>
          <a:prstGeom prst="rect">
            <a:avLst/>
          </a:prstGeom>
          <a:noFill/>
        </p:spPr>
        <p:txBody>
          <a:bodyPr wrap="square" lIns="0" tIns="0" rIns="0" bIns="0" rtlCol="0">
            <a:spAutoFit/>
          </a:bodyPr>
          <a:lstStyle/>
          <a:p>
            <a:r>
              <a:rPr lang="en-US" sz="1300" dirty="0"/>
              <a:t>Chart title runs here (units)</a:t>
            </a:r>
          </a:p>
        </p:txBody>
      </p:sp>
    </p:spTree>
    <p:extLst>
      <p:ext uri="{BB962C8B-B14F-4D97-AF65-F5344CB8AC3E}">
        <p14:creationId xmlns:p14="http://schemas.microsoft.com/office/powerpoint/2010/main" val="1251791800"/>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7">
            <a:extLst>
              <a:ext uri="{FF2B5EF4-FFF2-40B4-BE49-F238E27FC236}">
                <a16:creationId xmlns:a16="http://schemas.microsoft.com/office/drawing/2014/main" id="{199D5C04-8B73-47BF-8DF8-786C5C99525A}"/>
              </a:ext>
            </a:extLst>
          </p:cNvPr>
          <p:cNvSpPr>
            <a:spLocks noGrp="1"/>
          </p:cNvSpPr>
          <p:nvPr>
            <p:ph idx="1"/>
          </p:nvPr>
        </p:nvSpPr>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p:txBody>
      </p:sp>
      <p:sp>
        <p:nvSpPr>
          <p:cNvPr id="4" name="Text Placeholder 3">
            <a:extLst>
              <a:ext uri="{FF2B5EF4-FFF2-40B4-BE49-F238E27FC236}">
                <a16:creationId xmlns:a16="http://schemas.microsoft.com/office/drawing/2014/main" id="{984838EF-32D0-45DC-8A9B-D6EAD6CF29ED}"/>
              </a:ext>
            </a:extLst>
          </p:cNvPr>
          <p:cNvSpPr>
            <a:spLocks noGrp="1"/>
          </p:cNvSpPr>
          <p:nvPr>
            <p:ph type="body" sz="quarter" idx="13"/>
          </p:nvPr>
        </p:nvSpPr>
        <p:spPr/>
        <p:txBody>
          <a:bodyPr/>
          <a:lstStyle/>
          <a:p>
            <a:r>
              <a:rPr lang="en-US" dirty="0"/>
              <a:t>Subtitle</a:t>
            </a:r>
          </a:p>
        </p:txBody>
      </p:sp>
      <p:sp>
        <p:nvSpPr>
          <p:cNvPr id="761859" name="Title 1"/>
          <p:cNvSpPr>
            <a:spLocks noGrp="1"/>
          </p:cNvSpPr>
          <p:nvPr>
            <p:ph type="title"/>
          </p:nvPr>
        </p:nvSpPr>
        <p:spPr/>
        <p:txBody>
          <a:bodyPr/>
          <a:lstStyle/>
          <a:p>
            <a:r>
              <a:rPr lang="en-US"/>
              <a:t>Business portfolio 3x3</a:t>
            </a:r>
            <a:endParaRPr lang="en-US" dirty="0"/>
          </a:p>
        </p:txBody>
      </p:sp>
      <p:sp>
        <p:nvSpPr>
          <p:cNvPr id="17" name="Rectangle 16"/>
          <p:cNvSpPr>
            <a:spLocks noChangeArrowheads="1"/>
          </p:cNvSpPr>
          <p:nvPr/>
        </p:nvSpPr>
        <p:spPr bwMode="blackWhite">
          <a:xfrm>
            <a:off x="7309196" y="2054829"/>
            <a:ext cx="3293239" cy="784822"/>
          </a:xfrm>
          <a:prstGeom prst="rect">
            <a:avLst/>
          </a:prstGeom>
          <a:solidFill>
            <a:schemeClr val="accent1"/>
          </a:solidFill>
          <a:ln w="12700">
            <a:solidFill>
              <a:schemeClr val="bg1"/>
            </a:solidFill>
            <a:miter lim="800000"/>
            <a:headEnd/>
            <a:tailEnd/>
          </a:ln>
        </p:spPr>
        <p:txBody>
          <a:bodyPr wrap="square" lIns="0" tIns="0" rIns="0" bIns="0">
            <a:noAutofit/>
          </a:bodyPr>
          <a:lstStyle/>
          <a:p>
            <a:pPr algn="ctr">
              <a:spcBef>
                <a:spcPct val="0"/>
              </a:spcBef>
            </a:pPr>
            <a:endParaRPr lang="en-US" sz="1000" dirty="0"/>
          </a:p>
        </p:txBody>
      </p:sp>
      <p:sp>
        <p:nvSpPr>
          <p:cNvPr id="19" name="Rectangle 18"/>
          <p:cNvSpPr>
            <a:spLocks noChangeArrowheads="1"/>
          </p:cNvSpPr>
          <p:nvPr/>
        </p:nvSpPr>
        <p:spPr bwMode="blackWhite">
          <a:xfrm>
            <a:off x="6784832" y="3584726"/>
            <a:ext cx="402354" cy="146194"/>
          </a:xfrm>
          <a:prstGeom prst="rect">
            <a:avLst/>
          </a:prstGeom>
          <a:noFill/>
          <a:ln w="9525">
            <a:noFill/>
            <a:miter lim="800000"/>
            <a:headEnd/>
            <a:tailEnd/>
          </a:ln>
        </p:spPr>
        <p:txBody>
          <a:bodyPr wrap="none" lIns="0" tIns="0" rIns="0" bIns="0" anchor="ctr" anchorCtr="1">
            <a:spAutoFit/>
          </a:bodyPr>
          <a:lstStyle/>
          <a:p>
            <a:pPr algn="ctr" defTabSz="820738">
              <a:lnSpc>
                <a:spcPct val="95000"/>
              </a:lnSpc>
              <a:spcBef>
                <a:spcPct val="0"/>
              </a:spcBef>
              <a:spcAft>
                <a:spcPct val="37000"/>
              </a:spcAft>
            </a:pPr>
            <a:r>
              <a:rPr lang="en-US" sz="1000" dirty="0">
                <a:ea typeface="ＭＳ Ｐゴシック" pitchFamily="50" charset="-128"/>
              </a:rPr>
              <a:t>Benefit </a:t>
            </a:r>
          </a:p>
        </p:txBody>
      </p:sp>
      <p:sp>
        <p:nvSpPr>
          <p:cNvPr id="22" name="Rectangle 21"/>
          <p:cNvSpPr>
            <a:spLocks noChangeArrowheads="1"/>
          </p:cNvSpPr>
          <p:nvPr/>
        </p:nvSpPr>
        <p:spPr bwMode="blackWhite">
          <a:xfrm>
            <a:off x="7426008" y="2124973"/>
            <a:ext cx="617157" cy="292388"/>
          </a:xfrm>
          <a:prstGeom prst="rect">
            <a:avLst/>
          </a:prstGeom>
          <a:noFill/>
          <a:ln w="9525">
            <a:noFill/>
            <a:miter lim="800000"/>
            <a:headEnd/>
            <a:tailEnd/>
          </a:ln>
        </p:spPr>
        <p:txBody>
          <a:bodyPr wrap="none" lIns="0" tIns="0" rIns="0" bIns="0" anchor="ctr" anchorCtr="1">
            <a:spAutoFit/>
          </a:bodyPr>
          <a:lstStyle/>
          <a:p>
            <a:pPr defTabSz="820738">
              <a:lnSpc>
                <a:spcPct val="95000"/>
              </a:lnSpc>
              <a:spcBef>
                <a:spcPct val="0"/>
              </a:spcBef>
              <a:spcAft>
                <a:spcPct val="37000"/>
              </a:spcAft>
            </a:pPr>
            <a:r>
              <a:rPr lang="en-US" sz="1000" i="1" dirty="0">
                <a:solidFill>
                  <a:schemeClr val="bg1"/>
                </a:solidFill>
                <a:ea typeface="ＭＳ Ｐゴシック" pitchFamily="50" charset="-128"/>
              </a:rPr>
              <a:t>Competitive</a:t>
            </a:r>
            <a:br>
              <a:rPr lang="en-US" sz="1000" i="1" dirty="0">
                <a:solidFill>
                  <a:schemeClr val="bg1"/>
                </a:solidFill>
                <a:ea typeface="ＭＳ Ｐゴシック" pitchFamily="50" charset="-128"/>
              </a:rPr>
            </a:br>
            <a:r>
              <a:rPr lang="en-US" sz="1000" i="1" dirty="0">
                <a:solidFill>
                  <a:schemeClr val="bg1"/>
                </a:solidFill>
                <a:ea typeface="ＭＳ Ｐゴシック" pitchFamily="50" charset="-128"/>
              </a:rPr>
              <a:t>advantage </a:t>
            </a:r>
          </a:p>
        </p:txBody>
      </p:sp>
      <p:sp>
        <p:nvSpPr>
          <p:cNvPr id="29" name="Text Placeholder 3"/>
          <p:cNvSpPr txBox="1">
            <a:spLocks/>
          </p:cNvSpPr>
          <p:nvPr/>
        </p:nvSpPr>
        <p:spPr>
          <a:xfrm>
            <a:off x="1900238" y="1818422"/>
            <a:ext cx="2969916" cy="3817115"/>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endParaRPr lang="en-GB" dirty="0">
              <a:solidFill>
                <a:srgbClr val="313131"/>
              </a:solidFill>
            </a:endParaRPr>
          </a:p>
        </p:txBody>
      </p:sp>
      <p:sp>
        <p:nvSpPr>
          <p:cNvPr id="23" name="TextBox 22"/>
          <p:cNvSpPr txBox="1"/>
          <p:nvPr/>
        </p:nvSpPr>
        <p:spPr bwMode="gray">
          <a:xfrm>
            <a:off x="6187440" y="1696377"/>
            <a:ext cx="4114800" cy="200055"/>
          </a:xfrm>
          <a:prstGeom prst="rect">
            <a:avLst/>
          </a:prstGeom>
          <a:noFill/>
        </p:spPr>
        <p:txBody>
          <a:bodyPr wrap="square" lIns="0" tIns="0" rIns="0" bIns="0" rtlCol="0">
            <a:spAutoFit/>
          </a:bodyPr>
          <a:lstStyle/>
          <a:p>
            <a:r>
              <a:rPr lang="en-US" sz="1300" dirty="0"/>
              <a:t>Chart title runs here (units)</a:t>
            </a:r>
          </a:p>
        </p:txBody>
      </p:sp>
      <p:sp>
        <p:nvSpPr>
          <p:cNvPr id="18" name="Freeform 17"/>
          <p:cNvSpPr>
            <a:spLocks/>
          </p:cNvSpPr>
          <p:nvPr/>
        </p:nvSpPr>
        <p:spPr bwMode="blackWhite">
          <a:xfrm>
            <a:off x="7310439" y="2058004"/>
            <a:ext cx="3294062" cy="3209925"/>
          </a:xfrm>
          <a:custGeom>
            <a:avLst/>
            <a:gdLst>
              <a:gd name="T0" fmla="*/ 0 w 1812"/>
              <a:gd name="T1" fmla="*/ 2147483647 h 1817"/>
              <a:gd name="T2" fmla="*/ 2147483647 w 1812"/>
              <a:gd name="T3" fmla="*/ 2147483647 h 1817"/>
              <a:gd name="T4" fmla="*/ 2147483647 w 1812"/>
              <a:gd name="T5" fmla="*/ 0 h 1817"/>
              <a:gd name="T6" fmla="*/ 0 w 1812"/>
              <a:gd name="T7" fmla="*/ 2147483647 h 1817"/>
              <a:gd name="T8" fmla="*/ 0 60000 65536"/>
              <a:gd name="T9" fmla="*/ 0 60000 65536"/>
              <a:gd name="T10" fmla="*/ 0 60000 65536"/>
              <a:gd name="T11" fmla="*/ 0 60000 65536"/>
              <a:gd name="T12" fmla="*/ 0 w 1812"/>
              <a:gd name="T13" fmla="*/ 0 h 1817"/>
              <a:gd name="T14" fmla="*/ 1812 w 1812"/>
              <a:gd name="T15" fmla="*/ 1817 h 1817"/>
            </a:gdLst>
            <a:ahLst/>
            <a:cxnLst>
              <a:cxn ang="T8">
                <a:pos x="T0" y="T1"/>
              </a:cxn>
              <a:cxn ang="T9">
                <a:pos x="T2" y="T3"/>
              </a:cxn>
              <a:cxn ang="T10">
                <a:pos x="T4" y="T5"/>
              </a:cxn>
              <a:cxn ang="T11">
                <a:pos x="T6" y="T7"/>
              </a:cxn>
            </a:cxnLst>
            <a:rect l="T12" t="T13" r="T14" b="T15"/>
            <a:pathLst>
              <a:path w="1812" h="1817">
                <a:moveTo>
                  <a:pt x="0" y="1816"/>
                </a:moveTo>
                <a:lnTo>
                  <a:pt x="1811" y="1816"/>
                </a:lnTo>
                <a:lnTo>
                  <a:pt x="1811" y="0"/>
                </a:lnTo>
                <a:lnTo>
                  <a:pt x="0" y="1816"/>
                </a:lnTo>
              </a:path>
            </a:pathLst>
          </a:custGeom>
          <a:solidFill>
            <a:schemeClr val="bg1"/>
          </a:solidFill>
          <a:ln w="6350" cap="rnd">
            <a:solidFill>
              <a:srgbClr val="BBBCBC"/>
            </a:solidFill>
            <a:round/>
            <a:headEnd/>
            <a:tailEnd/>
          </a:ln>
        </p:spPr>
        <p:txBody>
          <a:bodyPr lIns="0" tIns="0" rIns="0" bIns="0">
            <a:noAutofit/>
          </a:bodyPr>
          <a:lstStyle/>
          <a:p>
            <a:endParaRPr lang="en-US" sz="1000" dirty="0"/>
          </a:p>
        </p:txBody>
      </p:sp>
      <p:sp>
        <p:nvSpPr>
          <p:cNvPr id="8" name="Freeform 7"/>
          <p:cNvSpPr/>
          <p:nvPr/>
        </p:nvSpPr>
        <p:spPr bwMode="gray">
          <a:xfrm>
            <a:off x="7313910" y="2050553"/>
            <a:ext cx="3285241" cy="3214540"/>
          </a:xfrm>
          <a:custGeom>
            <a:avLst/>
            <a:gdLst>
              <a:gd name="connsiteX0" fmla="*/ 0 w 3285241"/>
              <a:gd name="connsiteY0" fmla="*/ 0 h 3214540"/>
              <a:gd name="connsiteX1" fmla="*/ 0 w 3285241"/>
              <a:gd name="connsiteY1" fmla="*/ 3214540 h 3214540"/>
              <a:gd name="connsiteX2" fmla="*/ 3285241 w 3285241"/>
              <a:gd name="connsiteY2" fmla="*/ 3214540 h 3214540"/>
            </a:gdLst>
            <a:ahLst/>
            <a:cxnLst>
              <a:cxn ang="0">
                <a:pos x="connsiteX0" y="connsiteY0"/>
              </a:cxn>
              <a:cxn ang="0">
                <a:pos x="connsiteX1" y="connsiteY1"/>
              </a:cxn>
              <a:cxn ang="0">
                <a:pos x="connsiteX2" y="connsiteY2"/>
              </a:cxn>
            </a:cxnLst>
            <a:rect l="l" t="t" r="r" b="b"/>
            <a:pathLst>
              <a:path w="3285241" h="3214540">
                <a:moveTo>
                  <a:pt x="0" y="0"/>
                </a:moveTo>
                <a:lnTo>
                  <a:pt x="0" y="3214540"/>
                </a:lnTo>
                <a:lnTo>
                  <a:pt x="3285241" y="3214540"/>
                </a:lnTo>
              </a:path>
            </a:pathLst>
          </a:custGeom>
          <a:noFill/>
          <a:ln w="9525" algn="ctr">
            <a:solidFill>
              <a:srgbClr val="BBBCBC"/>
            </a:solidFill>
            <a:miter lim="800000"/>
            <a:headEnd type="triangle" w="med" len="med"/>
            <a:tailEnd type="triangle" w="med" len="med"/>
          </a:ln>
        </p:spPr>
        <p:txBody>
          <a:bodyPr rtlCol="0" anchor="ctr"/>
          <a:lstStyle/>
          <a:p>
            <a:pPr algn="ctr"/>
            <a:endParaRPr lang="en-US" dirty="0"/>
          </a:p>
        </p:txBody>
      </p:sp>
      <p:sp>
        <p:nvSpPr>
          <p:cNvPr id="20" name="Rectangle 19"/>
          <p:cNvSpPr>
            <a:spLocks noChangeArrowheads="1"/>
          </p:cNvSpPr>
          <p:nvPr/>
        </p:nvSpPr>
        <p:spPr bwMode="blackWhite">
          <a:xfrm>
            <a:off x="8814002" y="5443340"/>
            <a:ext cx="286938" cy="146194"/>
          </a:xfrm>
          <a:prstGeom prst="rect">
            <a:avLst/>
          </a:prstGeom>
          <a:noFill/>
          <a:ln w="9525">
            <a:noFill/>
            <a:miter lim="800000"/>
            <a:headEnd/>
            <a:tailEnd/>
          </a:ln>
        </p:spPr>
        <p:txBody>
          <a:bodyPr wrap="none" lIns="0" tIns="0" rIns="0" bIns="0" anchor="ctr" anchorCtr="1">
            <a:spAutoFit/>
          </a:bodyPr>
          <a:lstStyle/>
          <a:p>
            <a:pPr algn="ctr" defTabSz="820738">
              <a:lnSpc>
                <a:spcPct val="95000"/>
              </a:lnSpc>
              <a:spcBef>
                <a:spcPct val="0"/>
              </a:spcBef>
              <a:spcAft>
                <a:spcPct val="37000"/>
              </a:spcAft>
            </a:pPr>
            <a:r>
              <a:rPr lang="en-US" sz="1000" dirty="0">
                <a:ea typeface="ＭＳ Ｐゴシック" pitchFamily="50" charset="-128"/>
              </a:rPr>
              <a:t>Price</a:t>
            </a:r>
            <a:r>
              <a:rPr lang="en-US" sz="1000" b="1" dirty="0">
                <a:ea typeface="ＭＳ Ｐゴシック" pitchFamily="50" charset="-128"/>
              </a:rPr>
              <a:t> </a:t>
            </a:r>
          </a:p>
        </p:txBody>
      </p:sp>
      <p:sp>
        <p:nvSpPr>
          <p:cNvPr id="21" name="Rectangle 20"/>
          <p:cNvSpPr>
            <a:spLocks noChangeArrowheads="1"/>
          </p:cNvSpPr>
          <p:nvPr/>
        </p:nvSpPr>
        <p:spPr bwMode="blackWhite">
          <a:xfrm>
            <a:off x="9781014" y="4932428"/>
            <a:ext cx="697307" cy="292388"/>
          </a:xfrm>
          <a:prstGeom prst="rect">
            <a:avLst/>
          </a:prstGeom>
          <a:noFill/>
          <a:ln w="9525">
            <a:noFill/>
            <a:miter lim="800000"/>
            <a:headEnd/>
            <a:tailEnd/>
          </a:ln>
        </p:spPr>
        <p:txBody>
          <a:bodyPr wrap="none" lIns="0" tIns="0" rIns="0" bIns="0" anchor="ctr" anchorCtr="1">
            <a:spAutoFit/>
          </a:bodyPr>
          <a:lstStyle/>
          <a:p>
            <a:pPr algn="r" defTabSz="820738">
              <a:lnSpc>
                <a:spcPct val="95000"/>
              </a:lnSpc>
              <a:spcBef>
                <a:spcPct val="0"/>
              </a:spcBef>
              <a:spcAft>
                <a:spcPct val="37000"/>
              </a:spcAft>
            </a:pPr>
            <a:r>
              <a:rPr lang="en-US" sz="1000" i="1" dirty="0">
                <a:ea typeface="ＭＳ Ｐゴシック" pitchFamily="50" charset="-128"/>
              </a:rPr>
              <a:t>Competitive</a:t>
            </a:r>
            <a:br>
              <a:rPr lang="en-US" sz="1000" i="1" dirty="0">
                <a:ea typeface="ＭＳ Ｐゴシック" pitchFamily="50" charset="-128"/>
              </a:rPr>
            </a:br>
            <a:r>
              <a:rPr lang="en-US" sz="1000" i="1" dirty="0">
                <a:ea typeface="ＭＳ Ｐゴシック" pitchFamily="50" charset="-128"/>
              </a:rPr>
              <a:t>disadvantage</a:t>
            </a:r>
          </a:p>
        </p:txBody>
      </p:sp>
      <p:sp>
        <p:nvSpPr>
          <p:cNvPr id="26" name="Line 9"/>
          <p:cNvSpPr>
            <a:spLocks noChangeShapeType="1"/>
          </p:cNvSpPr>
          <p:nvPr/>
        </p:nvSpPr>
        <p:spPr bwMode="blackWhite">
          <a:xfrm>
            <a:off x="8545515" y="3140680"/>
            <a:ext cx="898525" cy="938213"/>
          </a:xfrm>
          <a:prstGeom prst="line">
            <a:avLst/>
          </a:prstGeom>
          <a:noFill/>
          <a:ln w="57150">
            <a:solidFill>
              <a:schemeClr val="accent1"/>
            </a:solidFill>
            <a:round/>
            <a:headEnd type="triangle" w="med" len="med"/>
            <a:tailEnd type="triangle" w="med" len="med"/>
          </a:ln>
        </p:spPr>
        <p:txBody>
          <a:bodyPr lIns="0" tIns="0" rIns="0" bIns="0">
            <a:spAutoFit/>
          </a:bodyPr>
          <a:lstStyle/>
          <a:p>
            <a:endParaRPr lang="en-US" sz="1000" dirty="0"/>
          </a:p>
        </p:txBody>
      </p:sp>
    </p:spTree>
    <p:extLst>
      <p:ext uri="{BB962C8B-B14F-4D97-AF65-F5344CB8AC3E}">
        <p14:creationId xmlns:p14="http://schemas.microsoft.com/office/powerpoint/2010/main" val="4091659939"/>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3390A76-3680-46CF-A9B0-CA8DEAFC806B}"/>
              </a:ext>
            </a:extLst>
          </p:cNvPr>
          <p:cNvSpPr>
            <a:spLocks noGrp="1"/>
          </p:cNvSpPr>
          <p:nvPr>
            <p:ph type="body" sz="quarter" idx="13"/>
          </p:nvPr>
        </p:nvSpPr>
        <p:spPr/>
        <p:txBody>
          <a:bodyPr/>
          <a:lstStyle/>
          <a:p>
            <a:r>
              <a:rPr lang="en-US" dirty="0"/>
              <a:t>Subtitle </a:t>
            </a:r>
          </a:p>
        </p:txBody>
      </p:sp>
      <p:sp>
        <p:nvSpPr>
          <p:cNvPr id="779265" name="Title 1"/>
          <p:cNvSpPr>
            <a:spLocks noGrp="1"/>
          </p:cNvSpPr>
          <p:nvPr>
            <p:ph type="title"/>
          </p:nvPr>
        </p:nvSpPr>
        <p:spPr/>
        <p:txBody>
          <a:bodyPr/>
          <a:lstStyle/>
          <a:p>
            <a:r>
              <a:rPr lang="en-US" altLang="ja-JP"/>
              <a:t>Five forces</a:t>
            </a:r>
            <a:endParaRPr lang="en-US" dirty="0"/>
          </a:p>
        </p:txBody>
      </p:sp>
      <p:sp>
        <p:nvSpPr>
          <p:cNvPr id="4" name="AutoShape 3"/>
          <p:cNvSpPr>
            <a:spLocks noChangeArrowheads="1"/>
          </p:cNvSpPr>
          <p:nvPr/>
        </p:nvSpPr>
        <p:spPr bwMode="auto">
          <a:xfrm>
            <a:off x="8132482" y="3367328"/>
            <a:ext cx="1181721" cy="682977"/>
          </a:xfrm>
          <a:prstGeom prst="rect">
            <a:avLst/>
          </a:prstGeom>
          <a:solidFill>
            <a:schemeClr val="accent3"/>
          </a:solidFill>
          <a:ln w="12700" cap="sq">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Competitors</a:t>
            </a:r>
          </a:p>
          <a:p>
            <a:pPr algn="ctr">
              <a:defRPr/>
            </a:pPr>
            <a:endParaRPr lang="en-US" sz="1200" dirty="0">
              <a:solidFill>
                <a:schemeClr val="bg1"/>
              </a:solidFill>
              <a:ea typeface="ＭＳ Ｐゴシック" pitchFamily="50" charset="-128"/>
            </a:endParaRPr>
          </a:p>
          <a:p>
            <a:pPr algn="ctr">
              <a:defRPr/>
            </a:pPr>
            <a:endParaRPr lang="en-US" sz="1200" dirty="0">
              <a:solidFill>
                <a:schemeClr val="bg1"/>
              </a:solidFill>
              <a:ea typeface="ＭＳ Ｐゴシック" pitchFamily="50" charset="-128"/>
            </a:endParaRPr>
          </a:p>
        </p:txBody>
      </p:sp>
      <p:sp>
        <p:nvSpPr>
          <p:cNvPr id="5" name="AutoShape 4"/>
          <p:cNvSpPr>
            <a:spLocks noChangeArrowheads="1"/>
          </p:cNvSpPr>
          <p:nvPr/>
        </p:nvSpPr>
        <p:spPr bwMode="auto">
          <a:xfrm>
            <a:off x="9751098" y="3365354"/>
            <a:ext cx="1047495" cy="682977"/>
          </a:xfrm>
          <a:prstGeom prst="rect">
            <a:avLst/>
          </a:prstGeom>
          <a:solidFill>
            <a:schemeClr val="accent3"/>
          </a:solidFill>
          <a:ln w="12700" cap="sq" algn="ctr">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Customers</a:t>
            </a:r>
          </a:p>
        </p:txBody>
      </p:sp>
      <p:sp>
        <p:nvSpPr>
          <p:cNvPr id="6" name="AutoShape 5"/>
          <p:cNvSpPr>
            <a:spLocks noChangeArrowheads="1"/>
          </p:cNvSpPr>
          <p:nvPr/>
        </p:nvSpPr>
        <p:spPr bwMode="auto">
          <a:xfrm>
            <a:off x="6683623" y="3365354"/>
            <a:ext cx="1048810" cy="682977"/>
          </a:xfrm>
          <a:prstGeom prst="rect">
            <a:avLst/>
          </a:prstGeom>
          <a:solidFill>
            <a:schemeClr val="accent3"/>
          </a:solidFill>
          <a:ln w="12700" cap="sq">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Suppliers</a:t>
            </a:r>
          </a:p>
        </p:txBody>
      </p:sp>
      <p:sp>
        <p:nvSpPr>
          <p:cNvPr id="7" name="AutoShape 6"/>
          <p:cNvSpPr>
            <a:spLocks noChangeArrowheads="1"/>
          </p:cNvSpPr>
          <p:nvPr/>
        </p:nvSpPr>
        <p:spPr bwMode="auto">
          <a:xfrm>
            <a:off x="8132482" y="4478646"/>
            <a:ext cx="1181721" cy="682977"/>
          </a:xfrm>
          <a:prstGeom prst="rect">
            <a:avLst/>
          </a:prstGeom>
          <a:solidFill>
            <a:schemeClr val="accent3"/>
          </a:solidFill>
          <a:ln w="12700" cap="sq" algn="ctr">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Substitutes</a:t>
            </a:r>
          </a:p>
        </p:txBody>
      </p:sp>
      <p:sp>
        <p:nvSpPr>
          <p:cNvPr id="8" name="AutoShape 7"/>
          <p:cNvSpPr>
            <a:spLocks noChangeArrowheads="1"/>
          </p:cNvSpPr>
          <p:nvPr/>
        </p:nvSpPr>
        <p:spPr bwMode="auto">
          <a:xfrm>
            <a:off x="8132482" y="2256010"/>
            <a:ext cx="1181721" cy="682977"/>
          </a:xfrm>
          <a:prstGeom prst="rect">
            <a:avLst/>
          </a:prstGeom>
          <a:solidFill>
            <a:schemeClr val="accent3"/>
          </a:solidFill>
          <a:ln w="12700" cap="sq" algn="ctr">
            <a:noFill/>
            <a:round/>
            <a:headEnd type="none" w="sm" len="sm"/>
            <a:tailEnd type="none" w="sm" len="sm"/>
          </a:ln>
        </p:spPr>
        <p:txBody>
          <a:bodyPr wrap="square" lIns="36000" tIns="36000" rIns="36000" bIns="36000" anchor="ctr">
            <a:noAutofit/>
          </a:bodyPr>
          <a:lstStyle/>
          <a:p>
            <a:pPr algn="ctr">
              <a:defRPr/>
            </a:pPr>
            <a:r>
              <a:rPr lang="en-US" sz="1200" dirty="0">
                <a:solidFill>
                  <a:schemeClr val="bg1"/>
                </a:solidFill>
                <a:ea typeface="ＭＳ Ｐゴシック" pitchFamily="50" charset="-128"/>
              </a:rPr>
              <a:t>New entrants</a:t>
            </a:r>
          </a:p>
        </p:txBody>
      </p:sp>
      <p:sp>
        <p:nvSpPr>
          <p:cNvPr id="33" name="Text Placeholder 3"/>
          <p:cNvSpPr txBox="1">
            <a:spLocks/>
          </p:cNvSpPr>
          <p:nvPr/>
        </p:nvSpPr>
        <p:spPr>
          <a:xfrm>
            <a:off x="1900238" y="1818421"/>
            <a:ext cx="2969916" cy="4536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endParaRPr lang="en-GB" dirty="0">
              <a:solidFill>
                <a:srgbClr val="313131"/>
              </a:solidFill>
            </a:endParaRPr>
          </a:p>
        </p:txBody>
      </p:sp>
      <p:sp>
        <p:nvSpPr>
          <p:cNvPr id="37" name="TextBox 36"/>
          <p:cNvSpPr txBox="1"/>
          <p:nvPr/>
        </p:nvSpPr>
        <p:spPr bwMode="gray">
          <a:xfrm>
            <a:off x="6187440" y="1696377"/>
            <a:ext cx="4114800" cy="200055"/>
          </a:xfrm>
          <a:prstGeom prst="rect">
            <a:avLst/>
          </a:prstGeom>
          <a:noFill/>
        </p:spPr>
        <p:txBody>
          <a:bodyPr wrap="square" lIns="0" tIns="0" rIns="0" bIns="0" rtlCol="0">
            <a:spAutoFit/>
          </a:bodyPr>
          <a:lstStyle/>
          <a:p>
            <a:r>
              <a:rPr lang="en-US" sz="1300" dirty="0"/>
              <a:t>Chart title runs here</a:t>
            </a:r>
          </a:p>
        </p:txBody>
      </p:sp>
      <p:sp>
        <p:nvSpPr>
          <p:cNvPr id="38" name="AutoShape 11"/>
          <p:cNvSpPr>
            <a:spLocks noChangeArrowheads="1"/>
          </p:cNvSpPr>
          <p:nvPr/>
        </p:nvSpPr>
        <p:spPr bwMode="gray">
          <a:xfrm rot="5400000">
            <a:off x="9370456" y="3574138"/>
            <a:ext cx="324388" cy="265409"/>
          </a:xfrm>
          <a:prstGeom prst="downArrow">
            <a:avLst>
              <a:gd name="adj1" fmla="val 49815"/>
              <a:gd name="adj2" fmla="val 54667"/>
            </a:avLst>
          </a:prstGeom>
          <a:solidFill>
            <a:schemeClr val="bg2">
              <a:lumMod val="90000"/>
            </a:schemeClr>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39" name="AutoShape 11"/>
          <p:cNvSpPr>
            <a:spLocks noChangeArrowheads="1"/>
          </p:cNvSpPr>
          <p:nvPr/>
        </p:nvSpPr>
        <p:spPr bwMode="gray">
          <a:xfrm>
            <a:off x="8561147" y="3020453"/>
            <a:ext cx="324388" cy="265409"/>
          </a:xfrm>
          <a:prstGeom prst="downArrow">
            <a:avLst>
              <a:gd name="adj1" fmla="val 49815"/>
              <a:gd name="adj2" fmla="val 54667"/>
            </a:avLst>
          </a:prstGeom>
          <a:solidFill>
            <a:schemeClr val="bg2"/>
          </a:solidFill>
          <a:ln w="28575" algn="ctr">
            <a:noFill/>
            <a:miter lim="800000"/>
            <a:headEnd type="none" w="sm" len="sm"/>
            <a:tailEnd type="none" w="sm" len="sm"/>
          </a:ln>
        </p:spPr>
        <p:txBody>
          <a:bodyPr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40" name="AutoShape 11"/>
          <p:cNvSpPr>
            <a:spLocks noChangeArrowheads="1"/>
          </p:cNvSpPr>
          <p:nvPr/>
        </p:nvSpPr>
        <p:spPr bwMode="gray">
          <a:xfrm rot="16200000">
            <a:off x="7770263" y="3574138"/>
            <a:ext cx="324388"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41" name="AutoShape 11"/>
          <p:cNvSpPr>
            <a:spLocks noChangeArrowheads="1"/>
          </p:cNvSpPr>
          <p:nvPr/>
        </p:nvSpPr>
        <p:spPr bwMode="gray">
          <a:xfrm rot="10800000">
            <a:off x="8561148" y="4131771"/>
            <a:ext cx="324388"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200" b="1" dirty="0">
              <a:solidFill>
                <a:schemeClr val="tx2"/>
              </a:solidFill>
              <a:cs typeface="Arial" pitchFamily="34" charset="0"/>
            </a:endParaRPr>
          </a:p>
        </p:txBody>
      </p:sp>
      <p:sp>
        <p:nvSpPr>
          <p:cNvPr id="42" name="Freeform 12"/>
          <p:cNvSpPr>
            <a:spLocks/>
          </p:cNvSpPr>
          <p:nvPr/>
        </p:nvSpPr>
        <p:spPr bwMode="gray">
          <a:xfrm rot="6101577">
            <a:off x="8552799" y="3576915"/>
            <a:ext cx="341084" cy="536620"/>
          </a:xfrm>
          <a:custGeom>
            <a:avLst/>
            <a:gdLst>
              <a:gd name="T0" fmla="*/ 2147483647 w 679"/>
              <a:gd name="T1" fmla="*/ 2147483647 h 1274"/>
              <a:gd name="T2" fmla="*/ 2147483647 w 679"/>
              <a:gd name="T3" fmla="*/ 2147483647 h 1274"/>
              <a:gd name="T4" fmla="*/ 2147483647 w 679"/>
              <a:gd name="T5" fmla="*/ 2147483647 h 1274"/>
              <a:gd name="T6" fmla="*/ 2147483647 w 679"/>
              <a:gd name="T7" fmla="*/ 2147483647 h 1274"/>
              <a:gd name="T8" fmla="*/ 2147483647 w 679"/>
              <a:gd name="T9" fmla="*/ 2147483647 h 1274"/>
              <a:gd name="T10" fmla="*/ 2147483647 w 679"/>
              <a:gd name="T11" fmla="*/ 2147483647 h 1274"/>
              <a:gd name="T12" fmla="*/ 2147483647 w 679"/>
              <a:gd name="T13" fmla="*/ 2147483647 h 1274"/>
              <a:gd name="T14" fmla="*/ 2147483647 w 679"/>
              <a:gd name="T15" fmla="*/ 2147483647 h 1274"/>
              <a:gd name="T16" fmla="*/ 2147483647 w 679"/>
              <a:gd name="T17" fmla="*/ 2147483647 h 1274"/>
              <a:gd name="T18" fmla="*/ 2147483647 w 679"/>
              <a:gd name="T19" fmla="*/ 2147483647 h 1274"/>
              <a:gd name="T20" fmla="*/ 2147483647 w 679"/>
              <a:gd name="T21" fmla="*/ 2147483647 h 1274"/>
              <a:gd name="T22" fmla="*/ 2147483647 w 679"/>
              <a:gd name="T23" fmla="*/ 2147483647 h 1274"/>
              <a:gd name="T24" fmla="*/ 2147483647 w 679"/>
              <a:gd name="T25" fmla="*/ 2147483647 h 1274"/>
              <a:gd name="T26" fmla="*/ 2147483647 w 679"/>
              <a:gd name="T27" fmla="*/ 2147483647 h 1274"/>
              <a:gd name="T28" fmla="*/ 2147483647 w 679"/>
              <a:gd name="T29" fmla="*/ 2147483647 h 1274"/>
              <a:gd name="T30" fmla="*/ 2147483647 w 679"/>
              <a:gd name="T31" fmla="*/ 2147483647 h 1274"/>
              <a:gd name="T32" fmla="*/ 2147483647 w 679"/>
              <a:gd name="T33" fmla="*/ 2147483647 h 1274"/>
              <a:gd name="T34" fmla="*/ 2147483647 w 679"/>
              <a:gd name="T35" fmla="*/ 2147483647 h 1274"/>
              <a:gd name="T36" fmla="*/ 2147483647 w 679"/>
              <a:gd name="T37" fmla="*/ 2147483647 h 1274"/>
              <a:gd name="T38" fmla="*/ 2147483647 w 679"/>
              <a:gd name="T39" fmla="*/ 2147483647 h 1274"/>
              <a:gd name="T40" fmla="*/ 2147483647 w 679"/>
              <a:gd name="T41" fmla="*/ 2147483647 h 1274"/>
              <a:gd name="T42" fmla="*/ 2147483647 w 679"/>
              <a:gd name="T43" fmla="*/ 2147483647 h 1274"/>
              <a:gd name="T44" fmla="*/ 2147483647 w 679"/>
              <a:gd name="T45" fmla="*/ 2147483647 h 1274"/>
              <a:gd name="T46" fmla="*/ 2147483647 w 679"/>
              <a:gd name="T47" fmla="*/ 2147483647 h 1274"/>
              <a:gd name="T48" fmla="*/ 2147483647 w 679"/>
              <a:gd name="T49" fmla="*/ 2147483647 h 1274"/>
              <a:gd name="T50" fmla="*/ 2147483647 w 679"/>
              <a:gd name="T51" fmla="*/ 2147483647 h 1274"/>
              <a:gd name="T52" fmla="*/ 2147483647 w 679"/>
              <a:gd name="T53" fmla="*/ 2147483647 h 1274"/>
              <a:gd name="T54" fmla="*/ 2147483647 w 679"/>
              <a:gd name="T55" fmla="*/ 2147483647 h 1274"/>
              <a:gd name="T56" fmla="*/ 2147483647 w 679"/>
              <a:gd name="T57" fmla="*/ 2147483647 h 1274"/>
              <a:gd name="T58" fmla="*/ 2147483647 w 679"/>
              <a:gd name="T59" fmla="*/ 2147483647 h 1274"/>
              <a:gd name="T60" fmla="*/ 2147483647 w 679"/>
              <a:gd name="T61" fmla="*/ 2147483647 h 1274"/>
              <a:gd name="T62" fmla="*/ 2147483647 w 679"/>
              <a:gd name="T63" fmla="*/ 2147483647 h 1274"/>
              <a:gd name="T64" fmla="*/ 2147483647 w 679"/>
              <a:gd name="T65" fmla="*/ 2147483647 h 1274"/>
              <a:gd name="T66" fmla="*/ 2147483647 w 679"/>
              <a:gd name="T67" fmla="*/ 2147483647 h 1274"/>
              <a:gd name="T68" fmla="*/ 2147483647 w 679"/>
              <a:gd name="T69" fmla="*/ 2147483647 h 1274"/>
              <a:gd name="T70" fmla="*/ 2147483647 w 679"/>
              <a:gd name="T71" fmla="*/ 2147483647 h 1274"/>
              <a:gd name="T72" fmla="*/ 2147483647 w 679"/>
              <a:gd name="T73" fmla="*/ 2147483647 h 1274"/>
              <a:gd name="T74" fmla="*/ 2147483647 w 679"/>
              <a:gd name="T75" fmla="*/ 2147483647 h 1274"/>
              <a:gd name="T76" fmla="*/ 2147483647 w 679"/>
              <a:gd name="T77" fmla="*/ 2147483647 h 1274"/>
              <a:gd name="T78" fmla="*/ 2147483647 w 679"/>
              <a:gd name="T79" fmla="*/ 2147483647 h 1274"/>
              <a:gd name="T80" fmla="*/ 2147483647 w 679"/>
              <a:gd name="T81" fmla="*/ 2147483647 h 1274"/>
              <a:gd name="T82" fmla="*/ 2147483647 w 679"/>
              <a:gd name="T83" fmla="*/ 2147483647 h 1274"/>
              <a:gd name="T84" fmla="*/ 2147483647 w 679"/>
              <a:gd name="T85" fmla="*/ 2147483647 h 1274"/>
              <a:gd name="T86" fmla="*/ 2147483647 w 679"/>
              <a:gd name="T87" fmla="*/ 2147483647 h 1274"/>
              <a:gd name="T88" fmla="*/ 2147483647 w 679"/>
              <a:gd name="T89" fmla="*/ 2147483647 h 1274"/>
              <a:gd name="T90" fmla="*/ 0 w 679"/>
              <a:gd name="T91" fmla="*/ 2147483647 h 1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79"/>
              <a:gd name="T139" fmla="*/ 0 h 1274"/>
              <a:gd name="T140" fmla="*/ 679 w 679"/>
              <a:gd name="T141" fmla="*/ 1274 h 1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79" h="1274">
                <a:moveTo>
                  <a:pt x="0" y="0"/>
                </a:moveTo>
                <a:lnTo>
                  <a:pt x="13" y="2"/>
                </a:lnTo>
                <a:lnTo>
                  <a:pt x="29" y="4"/>
                </a:lnTo>
                <a:lnTo>
                  <a:pt x="48" y="9"/>
                </a:lnTo>
                <a:lnTo>
                  <a:pt x="64" y="13"/>
                </a:lnTo>
                <a:lnTo>
                  <a:pt x="79" y="18"/>
                </a:lnTo>
                <a:lnTo>
                  <a:pt x="92" y="22"/>
                </a:lnTo>
                <a:lnTo>
                  <a:pt x="108" y="27"/>
                </a:lnTo>
                <a:lnTo>
                  <a:pt x="123" y="31"/>
                </a:lnTo>
                <a:lnTo>
                  <a:pt x="138" y="38"/>
                </a:lnTo>
                <a:lnTo>
                  <a:pt x="156" y="44"/>
                </a:lnTo>
                <a:lnTo>
                  <a:pt x="171" y="51"/>
                </a:lnTo>
                <a:lnTo>
                  <a:pt x="189" y="58"/>
                </a:lnTo>
                <a:lnTo>
                  <a:pt x="206" y="67"/>
                </a:lnTo>
                <a:lnTo>
                  <a:pt x="222" y="73"/>
                </a:lnTo>
                <a:lnTo>
                  <a:pt x="237" y="82"/>
                </a:lnTo>
                <a:lnTo>
                  <a:pt x="252" y="91"/>
                </a:lnTo>
                <a:lnTo>
                  <a:pt x="265" y="100"/>
                </a:lnTo>
                <a:lnTo>
                  <a:pt x="279" y="109"/>
                </a:lnTo>
                <a:lnTo>
                  <a:pt x="292" y="118"/>
                </a:lnTo>
                <a:lnTo>
                  <a:pt x="309" y="129"/>
                </a:lnTo>
                <a:lnTo>
                  <a:pt x="323" y="140"/>
                </a:lnTo>
                <a:lnTo>
                  <a:pt x="338" y="151"/>
                </a:lnTo>
                <a:lnTo>
                  <a:pt x="351" y="160"/>
                </a:lnTo>
                <a:lnTo>
                  <a:pt x="371" y="177"/>
                </a:lnTo>
                <a:lnTo>
                  <a:pt x="393" y="200"/>
                </a:lnTo>
                <a:lnTo>
                  <a:pt x="410" y="215"/>
                </a:lnTo>
                <a:lnTo>
                  <a:pt x="430" y="237"/>
                </a:lnTo>
                <a:lnTo>
                  <a:pt x="443" y="253"/>
                </a:lnTo>
                <a:lnTo>
                  <a:pt x="459" y="273"/>
                </a:lnTo>
                <a:lnTo>
                  <a:pt x="476" y="293"/>
                </a:lnTo>
                <a:lnTo>
                  <a:pt x="489" y="313"/>
                </a:lnTo>
                <a:lnTo>
                  <a:pt x="505" y="335"/>
                </a:lnTo>
                <a:lnTo>
                  <a:pt x="518" y="357"/>
                </a:lnTo>
                <a:lnTo>
                  <a:pt x="531" y="379"/>
                </a:lnTo>
                <a:lnTo>
                  <a:pt x="542" y="399"/>
                </a:lnTo>
                <a:lnTo>
                  <a:pt x="553" y="426"/>
                </a:lnTo>
                <a:lnTo>
                  <a:pt x="564" y="448"/>
                </a:lnTo>
                <a:lnTo>
                  <a:pt x="573" y="475"/>
                </a:lnTo>
                <a:lnTo>
                  <a:pt x="584" y="501"/>
                </a:lnTo>
                <a:lnTo>
                  <a:pt x="595" y="534"/>
                </a:lnTo>
                <a:lnTo>
                  <a:pt x="601" y="566"/>
                </a:lnTo>
                <a:lnTo>
                  <a:pt x="610" y="597"/>
                </a:lnTo>
                <a:lnTo>
                  <a:pt x="614" y="628"/>
                </a:lnTo>
                <a:lnTo>
                  <a:pt x="619" y="665"/>
                </a:lnTo>
                <a:lnTo>
                  <a:pt x="623" y="710"/>
                </a:lnTo>
                <a:lnTo>
                  <a:pt x="623" y="745"/>
                </a:lnTo>
                <a:lnTo>
                  <a:pt x="623" y="781"/>
                </a:lnTo>
                <a:lnTo>
                  <a:pt x="619" y="814"/>
                </a:lnTo>
                <a:lnTo>
                  <a:pt x="617" y="845"/>
                </a:lnTo>
                <a:lnTo>
                  <a:pt x="612" y="878"/>
                </a:lnTo>
                <a:lnTo>
                  <a:pt x="606" y="912"/>
                </a:lnTo>
                <a:lnTo>
                  <a:pt x="597" y="947"/>
                </a:lnTo>
                <a:lnTo>
                  <a:pt x="584" y="985"/>
                </a:lnTo>
                <a:lnTo>
                  <a:pt x="573" y="1018"/>
                </a:lnTo>
                <a:lnTo>
                  <a:pt x="560" y="1051"/>
                </a:lnTo>
                <a:lnTo>
                  <a:pt x="544" y="1084"/>
                </a:lnTo>
                <a:lnTo>
                  <a:pt x="527" y="1116"/>
                </a:lnTo>
                <a:lnTo>
                  <a:pt x="678" y="1204"/>
                </a:lnTo>
                <a:lnTo>
                  <a:pt x="213" y="1273"/>
                </a:lnTo>
                <a:lnTo>
                  <a:pt x="42" y="841"/>
                </a:lnTo>
                <a:lnTo>
                  <a:pt x="222" y="936"/>
                </a:lnTo>
                <a:lnTo>
                  <a:pt x="239" y="909"/>
                </a:lnTo>
                <a:lnTo>
                  <a:pt x="248" y="883"/>
                </a:lnTo>
                <a:lnTo>
                  <a:pt x="259" y="858"/>
                </a:lnTo>
                <a:lnTo>
                  <a:pt x="265" y="832"/>
                </a:lnTo>
                <a:lnTo>
                  <a:pt x="270" y="807"/>
                </a:lnTo>
                <a:lnTo>
                  <a:pt x="272" y="783"/>
                </a:lnTo>
                <a:lnTo>
                  <a:pt x="274" y="758"/>
                </a:lnTo>
                <a:lnTo>
                  <a:pt x="274" y="736"/>
                </a:lnTo>
                <a:lnTo>
                  <a:pt x="272" y="707"/>
                </a:lnTo>
                <a:lnTo>
                  <a:pt x="270" y="679"/>
                </a:lnTo>
                <a:lnTo>
                  <a:pt x="263" y="648"/>
                </a:lnTo>
                <a:lnTo>
                  <a:pt x="257" y="623"/>
                </a:lnTo>
                <a:lnTo>
                  <a:pt x="246" y="594"/>
                </a:lnTo>
                <a:lnTo>
                  <a:pt x="237" y="570"/>
                </a:lnTo>
                <a:lnTo>
                  <a:pt x="224" y="548"/>
                </a:lnTo>
                <a:lnTo>
                  <a:pt x="213" y="530"/>
                </a:lnTo>
                <a:lnTo>
                  <a:pt x="202" y="515"/>
                </a:lnTo>
                <a:lnTo>
                  <a:pt x="191" y="499"/>
                </a:lnTo>
                <a:lnTo>
                  <a:pt x="180" y="486"/>
                </a:lnTo>
                <a:lnTo>
                  <a:pt x="167" y="470"/>
                </a:lnTo>
                <a:lnTo>
                  <a:pt x="154" y="459"/>
                </a:lnTo>
                <a:lnTo>
                  <a:pt x="140" y="444"/>
                </a:lnTo>
                <a:lnTo>
                  <a:pt x="129" y="432"/>
                </a:lnTo>
                <a:lnTo>
                  <a:pt x="114" y="421"/>
                </a:lnTo>
                <a:lnTo>
                  <a:pt x="94" y="410"/>
                </a:lnTo>
                <a:lnTo>
                  <a:pt x="79" y="399"/>
                </a:lnTo>
                <a:lnTo>
                  <a:pt x="66" y="393"/>
                </a:lnTo>
                <a:lnTo>
                  <a:pt x="46" y="381"/>
                </a:lnTo>
                <a:lnTo>
                  <a:pt x="29" y="373"/>
                </a:lnTo>
                <a:lnTo>
                  <a:pt x="0" y="364"/>
                </a:lnTo>
                <a:lnTo>
                  <a:pt x="0" y="0"/>
                </a:lnTo>
              </a:path>
            </a:pathLst>
          </a:custGeom>
          <a:solidFill>
            <a:schemeClr val="tx1"/>
          </a:solidFill>
          <a:ln w="12700">
            <a:noFill/>
            <a:round/>
            <a:headEnd/>
            <a:tailEnd/>
          </a:ln>
        </p:spPr>
        <p:txBody>
          <a:bodyPr wrap="square" lIns="36000" tIns="36000" rIns="36000" bIns="36000" anchor="ctr">
            <a:noAutofit/>
          </a:bodyPr>
          <a:lstStyle/>
          <a:p>
            <a:endParaRPr lang="en-US" sz="1200" dirty="0">
              <a:solidFill>
                <a:schemeClr val="bg1"/>
              </a:solidFill>
            </a:endParaRPr>
          </a:p>
        </p:txBody>
      </p:sp>
      <p:grpSp>
        <p:nvGrpSpPr>
          <p:cNvPr id="26" name="Group 25"/>
          <p:cNvGrpSpPr/>
          <p:nvPr/>
        </p:nvGrpSpPr>
        <p:grpSpPr>
          <a:xfrm>
            <a:off x="7733659" y="5598743"/>
            <a:ext cx="2164286" cy="226386"/>
            <a:chOff x="5831034" y="6058564"/>
            <a:chExt cx="3101203" cy="324388"/>
          </a:xfrm>
        </p:grpSpPr>
        <p:sp>
          <p:nvSpPr>
            <p:cNvPr id="27" name="AutoShape 11"/>
            <p:cNvSpPr>
              <a:spLocks noChangeArrowheads="1"/>
            </p:cNvSpPr>
            <p:nvPr/>
          </p:nvSpPr>
          <p:spPr bwMode="gray">
            <a:xfrm>
              <a:off x="8158132" y="6088054"/>
              <a:ext cx="324388" cy="265408"/>
            </a:xfrm>
            <a:prstGeom prst="downArrow">
              <a:avLst>
                <a:gd name="adj1" fmla="val 49815"/>
                <a:gd name="adj2" fmla="val 54667"/>
              </a:avLst>
            </a:prstGeom>
            <a:solidFill>
              <a:schemeClr val="bg2">
                <a:lumMod val="90000"/>
              </a:schemeClr>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dirty="0">
                <a:cs typeface="Arial" pitchFamily="34" charset="0"/>
              </a:endParaRPr>
            </a:p>
          </p:txBody>
        </p:sp>
        <p:sp>
          <p:nvSpPr>
            <p:cNvPr id="28" name="AutoShape 11"/>
            <p:cNvSpPr>
              <a:spLocks noChangeArrowheads="1"/>
            </p:cNvSpPr>
            <p:nvPr/>
          </p:nvSpPr>
          <p:spPr bwMode="gray">
            <a:xfrm rot="16200000">
              <a:off x="6907704" y="6088053"/>
              <a:ext cx="324388" cy="265409"/>
            </a:xfrm>
            <a:prstGeom prst="downArrow">
              <a:avLst>
                <a:gd name="adj1" fmla="val 49815"/>
                <a:gd name="adj2" fmla="val 54667"/>
              </a:avLst>
            </a:prstGeom>
            <a:solidFill>
              <a:schemeClr val="bg2"/>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dirty="0">
                <a:cs typeface="Arial" pitchFamily="34" charset="0"/>
              </a:endParaRPr>
            </a:p>
          </p:txBody>
        </p:sp>
        <p:sp>
          <p:nvSpPr>
            <p:cNvPr id="29" name="AutoShape 11"/>
            <p:cNvSpPr>
              <a:spLocks noChangeArrowheads="1"/>
            </p:cNvSpPr>
            <p:nvPr/>
          </p:nvSpPr>
          <p:spPr bwMode="gray">
            <a:xfrm rot="10800000">
              <a:off x="5831034" y="6088045"/>
              <a:ext cx="324388" cy="265409"/>
            </a:xfrm>
            <a:prstGeom prst="downArrow">
              <a:avLst>
                <a:gd name="adj1" fmla="val 49815"/>
                <a:gd name="adj2" fmla="val 54667"/>
              </a:avLst>
            </a:prstGeom>
            <a:solidFill>
              <a:schemeClr val="bg2">
                <a:lumMod val="75000"/>
              </a:schemeClr>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dirty="0">
                <a:cs typeface="Arial" pitchFamily="34" charset="0"/>
              </a:endParaRPr>
            </a:p>
          </p:txBody>
        </p:sp>
        <p:sp>
          <p:nvSpPr>
            <p:cNvPr id="30" name="Text Box 26"/>
            <p:cNvSpPr txBox="1">
              <a:spLocks noChangeArrowheads="1"/>
            </p:cNvSpPr>
            <p:nvPr/>
          </p:nvSpPr>
          <p:spPr bwMode="auto">
            <a:xfrm>
              <a:off x="6220002" y="6128416"/>
              <a:ext cx="486952"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Strong</a:t>
              </a:r>
            </a:p>
          </p:txBody>
        </p:sp>
        <p:sp>
          <p:nvSpPr>
            <p:cNvPr id="44" name="Text Box 26"/>
            <p:cNvSpPr txBox="1">
              <a:spLocks noChangeArrowheads="1"/>
            </p:cNvSpPr>
            <p:nvPr/>
          </p:nvSpPr>
          <p:spPr bwMode="auto">
            <a:xfrm>
              <a:off x="7251371" y="6128421"/>
              <a:ext cx="744209"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Moderate</a:t>
              </a:r>
            </a:p>
          </p:txBody>
        </p:sp>
        <p:sp>
          <p:nvSpPr>
            <p:cNvPr id="45" name="Text Box 26"/>
            <p:cNvSpPr txBox="1">
              <a:spLocks noChangeArrowheads="1"/>
            </p:cNvSpPr>
            <p:nvPr/>
          </p:nvSpPr>
          <p:spPr bwMode="auto">
            <a:xfrm>
              <a:off x="8511896" y="6128421"/>
              <a:ext cx="420341"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Weak</a:t>
              </a:r>
            </a:p>
          </p:txBody>
        </p:sp>
      </p:grpSp>
      <p:sp>
        <p:nvSpPr>
          <p:cNvPr id="24" name="Text Placeholder 7">
            <a:extLst>
              <a:ext uri="{FF2B5EF4-FFF2-40B4-BE49-F238E27FC236}">
                <a16:creationId xmlns:a16="http://schemas.microsoft.com/office/drawing/2014/main" id="{418EBF09-DD33-4F8B-AC54-32B260EC9C82}"/>
              </a:ext>
            </a:extLst>
          </p:cNvPr>
          <p:cNvSpPr>
            <a:spLocks noGrp="1"/>
          </p:cNvSpPr>
          <p:nvPr>
            <p:ph idx="1"/>
          </p:nvPr>
        </p:nvSpPr>
        <p:spPr>
          <a:xfrm>
            <a:off x="501650" y="1665289"/>
            <a:ext cx="5594351" cy="4716463"/>
          </a:xfrm>
        </p:spPr>
        <p:txBody>
          <a:bodyPr/>
          <a:lstStyle/>
          <a:p>
            <a:pPr lvl="1"/>
            <a:r>
              <a:rPr lang="en-GB" dirty="0"/>
              <a:t>This is a level 1 bullet. This is dummy text it is not here to be read</a:t>
            </a:r>
          </a:p>
          <a:p>
            <a:pPr lvl="1"/>
            <a:r>
              <a:rPr lang="en-GB" dirty="0"/>
              <a:t>This is a level 1 bullet. This is dummy text it is not here to be read</a:t>
            </a:r>
          </a:p>
          <a:p>
            <a:pPr lvl="1"/>
            <a:r>
              <a:rPr lang="en-GB" dirty="0"/>
              <a:t>This is a level 1 bullet. This is dummy text it is not here to be read</a:t>
            </a:r>
          </a:p>
          <a:p>
            <a:pPr lvl="2"/>
            <a:r>
              <a:rPr lang="en-GB" dirty="0"/>
              <a:t>This is a level 2 bullet</a:t>
            </a:r>
          </a:p>
          <a:p>
            <a:pPr lvl="2"/>
            <a:r>
              <a:rPr lang="en-GB" dirty="0"/>
              <a:t>This is a level 2 bullet</a:t>
            </a:r>
          </a:p>
          <a:p>
            <a:pPr lvl="2"/>
            <a:r>
              <a:rPr lang="en-GB" dirty="0"/>
              <a:t>This is a level 2 bullet</a:t>
            </a:r>
          </a:p>
        </p:txBody>
      </p:sp>
    </p:spTree>
    <p:extLst>
      <p:ext uri="{BB962C8B-B14F-4D97-AF65-F5344CB8AC3E}">
        <p14:creationId xmlns:p14="http://schemas.microsoft.com/office/powerpoint/2010/main" val="1006070848"/>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Subtitle runs here</a:t>
            </a:r>
            <a:endParaRPr lang="en-US" dirty="0"/>
          </a:p>
        </p:txBody>
      </p:sp>
      <p:sp>
        <p:nvSpPr>
          <p:cNvPr id="780289" name="Title 1"/>
          <p:cNvSpPr>
            <a:spLocks noGrp="1"/>
          </p:cNvSpPr>
          <p:nvPr>
            <p:ph type="title"/>
          </p:nvPr>
        </p:nvSpPr>
        <p:spPr/>
        <p:txBody>
          <a:bodyPr/>
          <a:lstStyle/>
          <a:p>
            <a:r>
              <a:rPr lang="en-US" altLang="ja-JP"/>
              <a:t>Activity map – generic</a:t>
            </a:r>
            <a:endParaRPr lang="en-US" dirty="0"/>
          </a:p>
        </p:txBody>
      </p:sp>
      <p:sp>
        <p:nvSpPr>
          <p:cNvPr id="151" name="Rectangle 52"/>
          <p:cNvSpPr>
            <a:spLocks noChangeArrowheads="1"/>
          </p:cNvSpPr>
          <p:nvPr/>
        </p:nvSpPr>
        <p:spPr bwMode="auto">
          <a:xfrm>
            <a:off x="6235176" y="6057680"/>
            <a:ext cx="325391" cy="148719"/>
          </a:xfrm>
          <a:prstGeom prst="rect">
            <a:avLst/>
          </a:prstGeom>
          <a:solidFill>
            <a:schemeClr val="accent3"/>
          </a:solidFill>
          <a:ln w="6350">
            <a:noFill/>
            <a:miter lim="800000"/>
            <a:headEnd/>
            <a:tailEnd/>
          </a:ln>
        </p:spPr>
        <p:txBody>
          <a:bodyPr wrap="none" anchor="ctr"/>
          <a:lstStyle/>
          <a:p>
            <a:pPr eaLnBrk="1" hangingPunct="1">
              <a:spcBef>
                <a:spcPct val="20000"/>
              </a:spcBef>
            </a:pPr>
            <a:endParaRPr lang="en-GB" sz="900" b="1" dirty="0">
              <a:cs typeface="Arial" pitchFamily="34" charset="0"/>
            </a:endParaRPr>
          </a:p>
        </p:txBody>
      </p:sp>
      <p:sp>
        <p:nvSpPr>
          <p:cNvPr id="152" name="Text Box 54"/>
          <p:cNvSpPr txBox="1">
            <a:spLocks noChangeArrowheads="1"/>
          </p:cNvSpPr>
          <p:nvPr/>
        </p:nvSpPr>
        <p:spPr bwMode="auto">
          <a:xfrm>
            <a:off x="6632335" y="6062789"/>
            <a:ext cx="554639"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Advantaged</a:t>
            </a:r>
          </a:p>
        </p:txBody>
      </p:sp>
      <p:sp>
        <p:nvSpPr>
          <p:cNvPr id="153" name="Rectangle 152"/>
          <p:cNvSpPr>
            <a:spLocks noChangeArrowheads="1"/>
          </p:cNvSpPr>
          <p:nvPr/>
        </p:nvSpPr>
        <p:spPr bwMode="auto">
          <a:xfrm>
            <a:off x="7743481" y="6057680"/>
            <a:ext cx="325391" cy="148719"/>
          </a:xfrm>
          <a:prstGeom prst="rect">
            <a:avLst/>
          </a:prstGeom>
          <a:solidFill>
            <a:schemeClr val="bg2"/>
          </a:solidFill>
          <a:ln w="6350" algn="ctr">
            <a:noFill/>
            <a:miter lim="800000"/>
            <a:headEnd/>
            <a:tailEnd/>
          </a:ln>
        </p:spPr>
        <p:txBody>
          <a:bodyPr wrap="none" anchor="ctr"/>
          <a:lstStyle/>
          <a:p>
            <a:pPr eaLnBrk="1" hangingPunct="1">
              <a:spcBef>
                <a:spcPct val="20000"/>
              </a:spcBef>
              <a:defRPr/>
            </a:pPr>
            <a:endParaRPr lang="en-GB" sz="900" b="1" dirty="0">
              <a:cs typeface="Arial" pitchFamily="34" charset="0"/>
            </a:endParaRPr>
          </a:p>
        </p:txBody>
      </p:sp>
      <p:sp>
        <p:nvSpPr>
          <p:cNvPr id="154" name="Text Box 55"/>
          <p:cNvSpPr txBox="1">
            <a:spLocks noChangeArrowheads="1"/>
          </p:cNvSpPr>
          <p:nvPr/>
        </p:nvSpPr>
        <p:spPr bwMode="auto">
          <a:xfrm>
            <a:off x="8140640" y="6062789"/>
            <a:ext cx="349455"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Neutral</a:t>
            </a:r>
          </a:p>
        </p:txBody>
      </p:sp>
      <p:sp>
        <p:nvSpPr>
          <p:cNvPr id="155" name="Rectangle 154"/>
          <p:cNvSpPr>
            <a:spLocks noChangeArrowheads="1"/>
          </p:cNvSpPr>
          <p:nvPr/>
        </p:nvSpPr>
        <p:spPr bwMode="auto">
          <a:xfrm>
            <a:off x="8985687" y="6057680"/>
            <a:ext cx="325391" cy="148719"/>
          </a:xfrm>
          <a:prstGeom prst="rect">
            <a:avLst/>
          </a:prstGeom>
          <a:solidFill>
            <a:schemeClr val="bg2">
              <a:lumMod val="75000"/>
            </a:schemeClr>
          </a:solidFill>
          <a:ln w="6350">
            <a:noFill/>
            <a:miter lim="800000"/>
            <a:headEnd/>
            <a:tailEnd/>
          </a:ln>
        </p:spPr>
        <p:txBody>
          <a:bodyPr wrap="none" anchor="ctr"/>
          <a:lstStyle/>
          <a:p>
            <a:pPr eaLnBrk="1" hangingPunct="1">
              <a:spcBef>
                <a:spcPct val="20000"/>
              </a:spcBef>
              <a:defRPr/>
            </a:pPr>
            <a:endParaRPr lang="en-GB" sz="900" b="1" dirty="0">
              <a:cs typeface="Arial" pitchFamily="34" charset="0"/>
            </a:endParaRPr>
          </a:p>
        </p:txBody>
      </p:sp>
      <p:sp>
        <p:nvSpPr>
          <p:cNvPr id="156" name="Text Box 57"/>
          <p:cNvSpPr txBox="1">
            <a:spLocks noChangeArrowheads="1"/>
          </p:cNvSpPr>
          <p:nvPr/>
        </p:nvSpPr>
        <p:spPr bwMode="auto">
          <a:xfrm>
            <a:off x="9382846" y="6062789"/>
            <a:ext cx="684483"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Disadvantaged</a:t>
            </a:r>
          </a:p>
        </p:txBody>
      </p:sp>
      <p:grpSp>
        <p:nvGrpSpPr>
          <p:cNvPr id="3" name="Group 2">
            <a:extLst>
              <a:ext uri="{FF2B5EF4-FFF2-40B4-BE49-F238E27FC236}">
                <a16:creationId xmlns:a16="http://schemas.microsoft.com/office/drawing/2014/main" id="{8F895A8B-20C5-40C6-9019-C88A5CCEBE01}"/>
              </a:ext>
            </a:extLst>
          </p:cNvPr>
          <p:cNvGrpSpPr/>
          <p:nvPr/>
        </p:nvGrpSpPr>
        <p:grpSpPr>
          <a:xfrm>
            <a:off x="157657" y="2128789"/>
            <a:ext cx="11056882" cy="3690167"/>
            <a:chOff x="2554014" y="1851722"/>
            <a:chExt cx="7428821" cy="3690167"/>
          </a:xfrm>
        </p:grpSpPr>
        <p:sp>
          <p:nvSpPr>
            <p:cNvPr id="103" name="Rectangle 102"/>
            <p:cNvSpPr>
              <a:spLocks noChangeArrowheads="1"/>
            </p:cNvSpPr>
            <p:nvPr/>
          </p:nvSpPr>
          <p:spPr bwMode="auto">
            <a:xfrm>
              <a:off x="3601028" y="185172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04" name="Rectangle 5"/>
            <p:cNvSpPr>
              <a:spLocks noChangeArrowheads="1"/>
            </p:cNvSpPr>
            <p:nvPr/>
          </p:nvSpPr>
          <p:spPr bwMode="auto">
            <a:xfrm>
              <a:off x="4731085" y="1851722"/>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05" name="Rectangle 104"/>
            <p:cNvSpPr>
              <a:spLocks noChangeArrowheads="1"/>
            </p:cNvSpPr>
            <p:nvPr/>
          </p:nvSpPr>
          <p:spPr bwMode="auto">
            <a:xfrm>
              <a:off x="5861142" y="185172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06" name="Rectangle 105"/>
            <p:cNvSpPr>
              <a:spLocks noChangeArrowheads="1"/>
            </p:cNvSpPr>
            <p:nvPr/>
          </p:nvSpPr>
          <p:spPr bwMode="auto">
            <a:xfrm>
              <a:off x="6991199" y="1851722"/>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07" name="Rectangle 106"/>
            <p:cNvSpPr>
              <a:spLocks noChangeArrowheads="1"/>
            </p:cNvSpPr>
            <p:nvPr/>
          </p:nvSpPr>
          <p:spPr bwMode="auto">
            <a:xfrm>
              <a:off x="8121256" y="1851722"/>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08" name="Rectangle 107"/>
            <p:cNvSpPr>
              <a:spLocks noChangeArrowheads="1"/>
            </p:cNvSpPr>
            <p:nvPr/>
          </p:nvSpPr>
          <p:spPr bwMode="auto">
            <a:xfrm>
              <a:off x="9251315" y="1851722"/>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0" name="Rectangle 109"/>
            <p:cNvSpPr>
              <a:spLocks noChangeArrowheads="1"/>
            </p:cNvSpPr>
            <p:nvPr/>
          </p:nvSpPr>
          <p:spPr bwMode="auto">
            <a:xfrm>
              <a:off x="3601028" y="2394198"/>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1" name="Rectangle 110"/>
            <p:cNvSpPr>
              <a:spLocks noChangeArrowheads="1"/>
            </p:cNvSpPr>
            <p:nvPr/>
          </p:nvSpPr>
          <p:spPr bwMode="auto">
            <a:xfrm>
              <a:off x="4731085"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2" name="Rectangle 13"/>
            <p:cNvSpPr>
              <a:spLocks noChangeArrowheads="1"/>
            </p:cNvSpPr>
            <p:nvPr/>
          </p:nvSpPr>
          <p:spPr bwMode="auto">
            <a:xfrm>
              <a:off x="5861142" y="239419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13" name="Rectangle 112"/>
            <p:cNvSpPr>
              <a:spLocks noChangeArrowheads="1"/>
            </p:cNvSpPr>
            <p:nvPr/>
          </p:nvSpPr>
          <p:spPr bwMode="auto">
            <a:xfrm>
              <a:off x="6991199"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4" name="Rectangle 113"/>
            <p:cNvSpPr>
              <a:spLocks noChangeArrowheads="1"/>
            </p:cNvSpPr>
            <p:nvPr/>
          </p:nvSpPr>
          <p:spPr bwMode="auto">
            <a:xfrm>
              <a:off x="8121256"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5" name="Rectangle 114"/>
            <p:cNvSpPr>
              <a:spLocks noChangeArrowheads="1"/>
            </p:cNvSpPr>
            <p:nvPr/>
          </p:nvSpPr>
          <p:spPr bwMode="auto">
            <a:xfrm>
              <a:off x="9251315" y="239419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7" name="Rectangle 116"/>
            <p:cNvSpPr>
              <a:spLocks noChangeArrowheads="1"/>
            </p:cNvSpPr>
            <p:nvPr/>
          </p:nvSpPr>
          <p:spPr bwMode="auto">
            <a:xfrm>
              <a:off x="3601028" y="2936674"/>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18" name="Rectangle 19"/>
            <p:cNvSpPr>
              <a:spLocks noChangeArrowheads="1"/>
            </p:cNvSpPr>
            <p:nvPr/>
          </p:nvSpPr>
          <p:spPr bwMode="auto">
            <a:xfrm>
              <a:off x="4731085" y="293667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19" name="Rectangle 20"/>
            <p:cNvSpPr>
              <a:spLocks noChangeArrowheads="1"/>
            </p:cNvSpPr>
            <p:nvPr/>
          </p:nvSpPr>
          <p:spPr bwMode="auto">
            <a:xfrm>
              <a:off x="5861142" y="2936674"/>
              <a:ext cx="731520" cy="215900"/>
            </a:xfrm>
            <a:prstGeom prst="rect">
              <a:avLst/>
            </a:prstGeom>
            <a:solidFill>
              <a:schemeClr val="accent3"/>
            </a:solidFill>
            <a:ln w="6350">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20" name="Rectangle 21"/>
            <p:cNvSpPr>
              <a:spLocks noChangeArrowheads="1"/>
            </p:cNvSpPr>
            <p:nvPr/>
          </p:nvSpPr>
          <p:spPr bwMode="auto">
            <a:xfrm>
              <a:off x="6991199" y="293667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21" name="Rectangle 22"/>
            <p:cNvSpPr>
              <a:spLocks noChangeArrowheads="1"/>
            </p:cNvSpPr>
            <p:nvPr/>
          </p:nvSpPr>
          <p:spPr bwMode="auto">
            <a:xfrm>
              <a:off x="8121256" y="2936674"/>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22" name="Rectangle 121"/>
            <p:cNvSpPr>
              <a:spLocks noChangeArrowheads="1"/>
            </p:cNvSpPr>
            <p:nvPr/>
          </p:nvSpPr>
          <p:spPr bwMode="auto">
            <a:xfrm>
              <a:off x="9251315" y="2936674"/>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4" name="Rectangle 123"/>
            <p:cNvSpPr>
              <a:spLocks noChangeArrowheads="1"/>
            </p:cNvSpPr>
            <p:nvPr/>
          </p:nvSpPr>
          <p:spPr bwMode="auto">
            <a:xfrm>
              <a:off x="3601028"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5" name="Rectangle 124"/>
            <p:cNvSpPr>
              <a:spLocks noChangeArrowheads="1"/>
            </p:cNvSpPr>
            <p:nvPr/>
          </p:nvSpPr>
          <p:spPr bwMode="auto">
            <a:xfrm>
              <a:off x="4731085" y="3479150"/>
              <a:ext cx="731520" cy="215900"/>
            </a:xfrm>
            <a:prstGeom prst="rect">
              <a:avLst/>
            </a:prstGeom>
            <a:solidFill>
              <a:schemeClr val="bg1">
                <a:lumMod val="65000"/>
              </a:schemeClr>
            </a:solidFill>
            <a:ln w="6350" algn="ctr">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6" name="Rectangle 125"/>
            <p:cNvSpPr>
              <a:spLocks noChangeArrowheads="1"/>
            </p:cNvSpPr>
            <p:nvPr/>
          </p:nvSpPr>
          <p:spPr bwMode="auto">
            <a:xfrm>
              <a:off x="5861142"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7" name="Rectangle 28"/>
            <p:cNvSpPr>
              <a:spLocks noChangeArrowheads="1"/>
            </p:cNvSpPr>
            <p:nvPr/>
          </p:nvSpPr>
          <p:spPr bwMode="auto">
            <a:xfrm>
              <a:off x="6991199" y="3479150"/>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28" name="Rectangle 127"/>
            <p:cNvSpPr>
              <a:spLocks noChangeArrowheads="1"/>
            </p:cNvSpPr>
            <p:nvPr/>
          </p:nvSpPr>
          <p:spPr bwMode="auto">
            <a:xfrm>
              <a:off x="8121256"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29" name="Rectangle 128"/>
            <p:cNvSpPr>
              <a:spLocks noChangeArrowheads="1"/>
            </p:cNvSpPr>
            <p:nvPr/>
          </p:nvSpPr>
          <p:spPr bwMode="auto">
            <a:xfrm>
              <a:off x="9251315" y="3479150"/>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1" name="Rectangle 130"/>
            <p:cNvSpPr>
              <a:spLocks noChangeArrowheads="1"/>
            </p:cNvSpPr>
            <p:nvPr/>
          </p:nvSpPr>
          <p:spPr bwMode="auto">
            <a:xfrm>
              <a:off x="3601028" y="4021626"/>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2" name="Rectangle 131"/>
            <p:cNvSpPr>
              <a:spLocks noChangeArrowheads="1"/>
            </p:cNvSpPr>
            <p:nvPr/>
          </p:nvSpPr>
          <p:spPr bwMode="auto">
            <a:xfrm>
              <a:off x="4731085" y="4021626"/>
              <a:ext cx="731520" cy="215900"/>
            </a:xfrm>
            <a:prstGeom prst="rect">
              <a:avLst/>
            </a:prstGeom>
            <a:solidFill>
              <a:schemeClr val="bg2">
                <a:lumMod val="7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3" name="Rectangle 132"/>
            <p:cNvSpPr>
              <a:spLocks noChangeArrowheads="1"/>
            </p:cNvSpPr>
            <p:nvPr/>
          </p:nvSpPr>
          <p:spPr bwMode="auto">
            <a:xfrm>
              <a:off x="5861142" y="4021626"/>
              <a:ext cx="731520" cy="215900"/>
            </a:xfrm>
            <a:prstGeom prst="rect">
              <a:avLst/>
            </a:prstGeom>
            <a:solidFill>
              <a:schemeClr val="bg2"/>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4" name="Rectangle 35"/>
            <p:cNvSpPr>
              <a:spLocks noChangeArrowheads="1"/>
            </p:cNvSpPr>
            <p:nvPr/>
          </p:nvSpPr>
          <p:spPr bwMode="auto">
            <a:xfrm>
              <a:off x="6991199" y="4021626"/>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35" name="Rectangle 36"/>
            <p:cNvSpPr>
              <a:spLocks noChangeArrowheads="1"/>
            </p:cNvSpPr>
            <p:nvPr/>
          </p:nvSpPr>
          <p:spPr bwMode="auto">
            <a:xfrm>
              <a:off x="8121256" y="4021626"/>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36" name="Rectangle 135"/>
            <p:cNvSpPr>
              <a:spLocks noChangeArrowheads="1"/>
            </p:cNvSpPr>
            <p:nvPr/>
          </p:nvSpPr>
          <p:spPr bwMode="auto">
            <a:xfrm>
              <a:off x="9251315" y="4021626"/>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8" name="Rectangle 137"/>
            <p:cNvSpPr>
              <a:spLocks noChangeArrowheads="1"/>
            </p:cNvSpPr>
            <p:nvPr/>
          </p:nvSpPr>
          <p:spPr bwMode="auto">
            <a:xfrm>
              <a:off x="3601028"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39" name="Rectangle 138"/>
            <p:cNvSpPr>
              <a:spLocks noChangeArrowheads="1"/>
            </p:cNvSpPr>
            <p:nvPr/>
          </p:nvSpPr>
          <p:spPr bwMode="auto">
            <a:xfrm>
              <a:off x="4731085"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0" name="Rectangle 139"/>
            <p:cNvSpPr>
              <a:spLocks noChangeArrowheads="1"/>
            </p:cNvSpPr>
            <p:nvPr/>
          </p:nvSpPr>
          <p:spPr bwMode="auto">
            <a:xfrm>
              <a:off x="5861142"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1" name="Rectangle 42"/>
            <p:cNvSpPr>
              <a:spLocks noChangeArrowheads="1"/>
            </p:cNvSpPr>
            <p:nvPr/>
          </p:nvSpPr>
          <p:spPr bwMode="auto">
            <a:xfrm>
              <a:off x="6991199" y="4564102"/>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42" name="Rectangle 141"/>
            <p:cNvSpPr>
              <a:spLocks noChangeArrowheads="1"/>
            </p:cNvSpPr>
            <p:nvPr/>
          </p:nvSpPr>
          <p:spPr bwMode="auto">
            <a:xfrm>
              <a:off x="8121256"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3" name="Rectangle 142"/>
            <p:cNvSpPr>
              <a:spLocks noChangeArrowheads="1"/>
            </p:cNvSpPr>
            <p:nvPr/>
          </p:nvSpPr>
          <p:spPr bwMode="auto">
            <a:xfrm>
              <a:off x="9251315" y="4564102"/>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grpSp>
          <p:nvGrpSpPr>
            <p:cNvPr id="2" name="Group 1">
              <a:extLst>
                <a:ext uri="{FF2B5EF4-FFF2-40B4-BE49-F238E27FC236}">
                  <a16:creationId xmlns:a16="http://schemas.microsoft.com/office/drawing/2014/main" id="{50CDF906-56D1-4338-B033-0CB716B67C9D}"/>
                </a:ext>
              </a:extLst>
            </p:cNvPr>
            <p:cNvGrpSpPr/>
            <p:nvPr/>
          </p:nvGrpSpPr>
          <p:grpSpPr>
            <a:xfrm>
              <a:off x="2554014" y="1867339"/>
              <a:ext cx="981666" cy="3439522"/>
              <a:chOff x="1889760" y="1867339"/>
              <a:chExt cx="1645920" cy="3439522"/>
            </a:xfrm>
          </p:grpSpPr>
          <p:sp>
            <p:nvSpPr>
              <p:cNvPr id="102" name="Text Box 3"/>
              <p:cNvSpPr txBox="1">
                <a:spLocks noChangeArrowheads="1"/>
              </p:cNvSpPr>
              <p:nvPr/>
            </p:nvSpPr>
            <p:spPr bwMode="auto">
              <a:xfrm>
                <a:off x="1889760" y="1867339"/>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09" name="Text Box 10"/>
              <p:cNvSpPr txBox="1">
                <a:spLocks noChangeArrowheads="1"/>
              </p:cNvSpPr>
              <p:nvPr/>
            </p:nvSpPr>
            <p:spPr bwMode="auto">
              <a:xfrm>
                <a:off x="1889760" y="240981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16" name="Text Box 17"/>
              <p:cNvSpPr txBox="1">
                <a:spLocks noChangeArrowheads="1"/>
              </p:cNvSpPr>
              <p:nvPr/>
            </p:nvSpPr>
            <p:spPr bwMode="auto">
              <a:xfrm>
                <a:off x="1889760" y="2952291"/>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23" name="Text Box 24"/>
              <p:cNvSpPr txBox="1">
                <a:spLocks noChangeArrowheads="1"/>
              </p:cNvSpPr>
              <p:nvPr/>
            </p:nvSpPr>
            <p:spPr bwMode="auto">
              <a:xfrm>
                <a:off x="1889760" y="3494767"/>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30" name="Text Box 31"/>
              <p:cNvSpPr txBox="1">
                <a:spLocks noChangeArrowheads="1"/>
              </p:cNvSpPr>
              <p:nvPr/>
            </p:nvSpPr>
            <p:spPr bwMode="auto">
              <a:xfrm>
                <a:off x="1889760" y="4037243"/>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37" name="Text Box 38"/>
              <p:cNvSpPr txBox="1">
                <a:spLocks noChangeArrowheads="1"/>
              </p:cNvSpPr>
              <p:nvPr/>
            </p:nvSpPr>
            <p:spPr bwMode="auto">
              <a:xfrm>
                <a:off x="1889760" y="4579719"/>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sp>
            <p:nvSpPr>
              <p:cNvPr id="144" name="Text Box 45"/>
              <p:cNvSpPr txBox="1">
                <a:spLocks noChangeArrowheads="1"/>
              </p:cNvSpPr>
              <p:nvPr/>
            </p:nvSpPr>
            <p:spPr bwMode="auto">
              <a:xfrm>
                <a:off x="1889760" y="5122195"/>
                <a:ext cx="1645920"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200" dirty="0">
                    <a:ea typeface="ＭＳ Ｐゴシック" charset="-128"/>
                    <a:cs typeface="Arial" pitchFamily="34" charset="0"/>
                  </a:rPr>
                  <a:t>Row header</a:t>
                </a:r>
              </a:p>
            </p:txBody>
          </p:sp>
        </p:grpSp>
        <p:sp>
          <p:nvSpPr>
            <p:cNvPr id="145" name="Rectangle 144"/>
            <p:cNvSpPr>
              <a:spLocks noChangeArrowheads="1"/>
            </p:cNvSpPr>
            <p:nvPr/>
          </p:nvSpPr>
          <p:spPr bwMode="auto">
            <a:xfrm>
              <a:off x="3601028"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6" name="Rectangle 145"/>
            <p:cNvSpPr>
              <a:spLocks noChangeArrowheads="1"/>
            </p:cNvSpPr>
            <p:nvPr/>
          </p:nvSpPr>
          <p:spPr bwMode="auto">
            <a:xfrm>
              <a:off x="4731085"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47" name="Rectangle 48"/>
            <p:cNvSpPr>
              <a:spLocks noChangeArrowheads="1"/>
            </p:cNvSpPr>
            <p:nvPr/>
          </p:nvSpPr>
          <p:spPr bwMode="auto">
            <a:xfrm>
              <a:off x="5861142" y="510657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48" name="Rectangle 49"/>
            <p:cNvSpPr>
              <a:spLocks noChangeArrowheads="1"/>
            </p:cNvSpPr>
            <p:nvPr/>
          </p:nvSpPr>
          <p:spPr bwMode="auto">
            <a:xfrm>
              <a:off x="6991199" y="5106578"/>
              <a:ext cx="731520" cy="215900"/>
            </a:xfrm>
            <a:prstGeom prst="rect">
              <a:avLst/>
            </a:prstGeom>
            <a:solidFill>
              <a:schemeClr val="accent3"/>
            </a:solidFill>
            <a:ln w="6350" algn="ctr">
              <a:noFill/>
              <a:miter lim="800000"/>
              <a:headEnd type="none" w="sm" len="sm"/>
              <a:tailEnd type="none" w="med" len="lg"/>
            </a:ln>
          </p:spPr>
          <p:txBody>
            <a:bodyPr wrap="none" lIns="0" tIns="0" rIns="0" bIns="0" anchor="ctr"/>
            <a:lstStyle/>
            <a:p>
              <a:pPr algn="ctr" eaLnBrk="1" hangingPunct="1">
                <a:spcBef>
                  <a:spcPct val="20000"/>
                </a:spcBef>
              </a:pPr>
              <a:endParaRPr lang="en-GB" sz="1000" dirty="0">
                <a:cs typeface="Arial" pitchFamily="34" charset="0"/>
              </a:endParaRPr>
            </a:p>
          </p:txBody>
        </p:sp>
        <p:sp>
          <p:nvSpPr>
            <p:cNvPr id="149" name="Rectangle 148"/>
            <p:cNvSpPr>
              <a:spLocks noChangeArrowheads="1"/>
            </p:cNvSpPr>
            <p:nvPr/>
          </p:nvSpPr>
          <p:spPr bwMode="auto">
            <a:xfrm>
              <a:off x="8121256"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50" name="Rectangle 149"/>
            <p:cNvSpPr>
              <a:spLocks noChangeArrowheads="1"/>
            </p:cNvSpPr>
            <p:nvPr/>
          </p:nvSpPr>
          <p:spPr bwMode="auto">
            <a:xfrm>
              <a:off x="9251315" y="5106578"/>
              <a:ext cx="731520" cy="215900"/>
            </a:xfrm>
            <a:prstGeom prst="rect">
              <a:avLst/>
            </a:prstGeom>
            <a:solidFill>
              <a:schemeClr val="bg1">
                <a:lumMod val="65000"/>
              </a:schemeClr>
            </a:solidFill>
            <a:ln w="6350">
              <a:noFill/>
              <a:miter lim="800000"/>
              <a:headEnd type="none" w="sm" len="sm"/>
              <a:tailEnd type="none" w="med" len="lg"/>
            </a:ln>
          </p:spPr>
          <p:txBody>
            <a:bodyPr wrap="none" lIns="0" tIns="0" rIns="0" bIns="0" anchor="ctr"/>
            <a:lstStyle/>
            <a:p>
              <a:pPr algn="ctr" eaLnBrk="1" hangingPunct="1">
                <a:spcBef>
                  <a:spcPct val="20000"/>
                </a:spcBef>
                <a:defRPr/>
              </a:pPr>
              <a:endParaRPr lang="en-GB" sz="1000" dirty="0">
                <a:cs typeface="Arial" pitchFamily="34" charset="0"/>
              </a:endParaRPr>
            </a:p>
          </p:txBody>
        </p:sp>
        <p:sp>
          <p:nvSpPr>
            <p:cNvPr id="157" name="Text Box 58"/>
            <p:cNvSpPr txBox="1">
              <a:spLocks noChangeArrowheads="1"/>
            </p:cNvSpPr>
            <p:nvPr/>
          </p:nvSpPr>
          <p:spPr bwMode="auto">
            <a:xfrm>
              <a:off x="3692468"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58" name="Text Box 59"/>
            <p:cNvSpPr txBox="1">
              <a:spLocks noChangeArrowheads="1"/>
            </p:cNvSpPr>
            <p:nvPr/>
          </p:nvSpPr>
          <p:spPr bwMode="auto">
            <a:xfrm>
              <a:off x="3692468"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59" name="Text Box 60"/>
            <p:cNvSpPr txBox="1">
              <a:spLocks noChangeArrowheads="1"/>
            </p:cNvSpPr>
            <p:nvPr/>
          </p:nvSpPr>
          <p:spPr bwMode="auto">
            <a:xfrm>
              <a:off x="3692468"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0" name="Text Box 61"/>
            <p:cNvSpPr txBox="1">
              <a:spLocks noChangeArrowheads="1"/>
            </p:cNvSpPr>
            <p:nvPr/>
          </p:nvSpPr>
          <p:spPr bwMode="auto">
            <a:xfrm>
              <a:off x="3692468"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1" name="Text Box 62"/>
            <p:cNvSpPr txBox="1">
              <a:spLocks noChangeArrowheads="1"/>
            </p:cNvSpPr>
            <p:nvPr/>
          </p:nvSpPr>
          <p:spPr bwMode="auto">
            <a:xfrm>
              <a:off x="3692468"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2" name="Text Box 63"/>
            <p:cNvSpPr txBox="1">
              <a:spLocks noChangeArrowheads="1"/>
            </p:cNvSpPr>
            <p:nvPr/>
          </p:nvSpPr>
          <p:spPr bwMode="auto">
            <a:xfrm>
              <a:off x="3692468"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3" name="Text Box 64"/>
            <p:cNvSpPr txBox="1">
              <a:spLocks noChangeArrowheads="1"/>
            </p:cNvSpPr>
            <p:nvPr/>
          </p:nvSpPr>
          <p:spPr bwMode="auto">
            <a:xfrm>
              <a:off x="3692468"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4" name="Text Box 65"/>
            <p:cNvSpPr txBox="1">
              <a:spLocks noChangeArrowheads="1"/>
            </p:cNvSpPr>
            <p:nvPr/>
          </p:nvSpPr>
          <p:spPr bwMode="auto">
            <a:xfrm>
              <a:off x="4822525"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5" name="Text Box 66"/>
            <p:cNvSpPr txBox="1">
              <a:spLocks noChangeArrowheads="1"/>
            </p:cNvSpPr>
            <p:nvPr/>
          </p:nvSpPr>
          <p:spPr bwMode="auto">
            <a:xfrm>
              <a:off x="4822525"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6" name="Text Box 67"/>
            <p:cNvSpPr txBox="1">
              <a:spLocks noChangeArrowheads="1"/>
            </p:cNvSpPr>
            <p:nvPr/>
          </p:nvSpPr>
          <p:spPr bwMode="auto">
            <a:xfrm>
              <a:off x="4822525"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7" name="Text Box 68"/>
            <p:cNvSpPr txBox="1">
              <a:spLocks noChangeArrowheads="1"/>
            </p:cNvSpPr>
            <p:nvPr/>
          </p:nvSpPr>
          <p:spPr bwMode="auto">
            <a:xfrm>
              <a:off x="4822525"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8" name="Text Box 69"/>
            <p:cNvSpPr txBox="1">
              <a:spLocks noChangeArrowheads="1"/>
            </p:cNvSpPr>
            <p:nvPr/>
          </p:nvSpPr>
          <p:spPr bwMode="auto">
            <a:xfrm>
              <a:off x="4822525"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69" name="Text Box 70"/>
            <p:cNvSpPr txBox="1">
              <a:spLocks noChangeArrowheads="1"/>
            </p:cNvSpPr>
            <p:nvPr/>
          </p:nvSpPr>
          <p:spPr bwMode="auto">
            <a:xfrm>
              <a:off x="4822525"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0" name="Text Box 71"/>
            <p:cNvSpPr txBox="1">
              <a:spLocks noChangeArrowheads="1"/>
            </p:cNvSpPr>
            <p:nvPr/>
          </p:nvSpPr>
          <p:spPr bwMode="auto">
            <a:xfrm>
              <a:off x="4822525"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1" name="Text Box 72"/>
            <p:cNvSpPr txBox="1">
              <a:spLocks noChangeArrowheads="1"/>
            </p:cNvSpPr>
            <p:nvPr/>
          </p:nvSpPr>
          <p:spPr bwMode="auto">
            <a:xfrm>
              <a:off x="5952582"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2" name="Text Box 73"/>
            <p:cNvSpPr txBox="1">
              <a:spLocks noChangeArrowheads="1"/>
            </p:cNvSpPr>
            <p:nvPr/>
          </p:nvSpPr>
          <p:spPr bwMode="auto">
            <a:xfrm>
              <a:off x="5952582"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3" name="Text Box 74"/>
            <p:cNvSpPr txBox="1">
              <a:spLocks noChangeArrowheads="1"/>
            </p:cNvSpPr>
            <p:nvPr/>
          </p:nvSpPr>
          <p:spPr bwMode="auto">
            <a:xfrm>
              <a:off x="5952582"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4" name="Text Box 75"/>
            <p:cNvSpPr txBox="1">
              <a:spLocks noChangeArrowheads="1"/>
            </p:cNvSpPr>
            <p:nvPr/>
          </p:nvSpPr>
          <p:spPr bwMode="auto">
            <a:xfrm>
              <a:off x="5952582"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5" name="Text Box 76"/>
            <p:cNvSpPr txBox="1">
              <a:spLocks noChangeArrowheads="1"/>
            </p:cNvSpPr>
            <p:nvPr/>
          </p:nvSpPr>
          <p:spPr bwMode="auto">
            <a:xfrm>
              <a:off x="5952582"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6" name="Text Box 77"/>
            <p:cNvSpPr txBox="1">
              <a:spLocks noChangeArrowheads="1"/>
            </p:cNvSpPr>
            <p:nvPr/>
          </p:nvSpPr>
          <p:spPr bwMode="auto">
            <a:xfrm>
              <a:off x="5952582"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7" name="Text Box 78"/>
            <p:cNvSpPr txBox="1">
              <a:spLocks noChangeArrowheads="1"/>
            </p:cNvSpPr>
            <p:nvPr/>
          </p:nvSpPr>
          <p:spPr bwMode="auto">
            <a:xfrm>
              <a:off x="5952582"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8" name="Text Box 79"/>
            <p:cNvSpPr txBox="1">
              <a:spLocks noChangeArrowheads="1"/>
            </p:cNvSpPr>
            <p:nvPr/>
          </p:nvSpPr>
          <p:spPr bwMode="auto">
            <a:xfrm>
              <a:off x="7082639"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79" name="Text Box 80"/>
            <p:cNvSpPr txBox="1">
              <a:spLocks noChangeArrowheads="1"/>
            </p:cNvSpPr>
            <p:nvPr/>
          </p:nvSpPr>
          <p:spPr bwMode="auto">
            <a:xfrm>
              <a:off x="7082639"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0" name="Text Box 81"/>
            <p:cNvSpPr txBox="1">
              <a:spLocks noChangeArrowheads="1"/>
            </p:cNvSpPr>
            <p:nvPr/>
          </p:nvSpPr>
          <p:spPr bwMode="auto">
            <a:xfrm>
              <a:off x="7082639"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1" name="Text Box 82"/>
            <p:cNvSpPr txBox="1">
              <a:spLocks noChangeArrowheads="1"/>
            </p:cNvSpPr>
            <p:nvPr/>
          </p:nvSpPr>
          <p:spPr bwMode="auto">
            <a:xfrm>
              <a:off x="7082639"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2" name="Text Box 83"/>
            <p:cNvSpPr txBox="1">
              <a:spLocks noChangeArrowheads="1"/>
            </p:cNvSpPr>
            <p:nvPr/>
          </p:nvSpPr>
          <p:spPr bwMode="auto">
            <a:xfrm>
              <a:off x="7082639"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3" name="Text Box 84"/>
            <p:cNvSpPr txBox="1">
              <a:spLocks noChangeArrowheads="1"/>
            </p:cNvSpPr>
            <p:nvPr/>
          </p:nvSpPr>
          <p:spPr bwMode="auto">
            <a:xfrm>
              <a:off x="7082639"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4" name="Text Box 85"/>
            <p:cNvSpPr txBox="1">
              <a:spLocks noChangeArrowheads="1"/>
            </p:cNvSpPr>
            <p:nvPr/>
          </p:nvSpPr>
          <p:spPr bwMode="auto">
            <a:xfrm>
              <a:off x="7082639"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5" name="Text Box 86"/>
            <p:cNvSpPr txBox="1">
              <a:spLocks noChangeArrowheads="1"/>
            </p:cNvSpPr>
            <p:nvPr/>
          </p:nvSpPr>
          <p:spPr bwMode="auto">
            <a:xfrm>
              <a:off x="8212696"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6" name="Text Box 87"/>
            <p:cNvSpPr txBox="1">
              <a:spLocks noChangeArrowheads="1"/>
            </p:cNvSpPr>
            <p:nvPr/>
          </p:nvSpPr>
          <p:spPr bwMode="auto">
            <a:xfrm>
              <a:off x="8212696"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7" name="Text Box 88"/>
            <p:cNvSpPr txBox="1">
              <a:spLocks noChangeArrowheads="1"/>
            </p:cNvSpPr>
            <p:nvPr/>
          </p:nvSpPr>
          <p:spPr bwMode="auto">
            <a:xfrm>
              <a:off x="8212696"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8" name="Text Box 89"/>
            <p:cNvSpPr txBox="1">
              <a:spLocks noChangeArrowheads="1"/>
            </p:cNvSpPr>
            <p:nvPr/>
          </p:nvSpPr>
          <p:spPr bwMode="auto">
            <a:xfrm>
              <a:off x="8212696"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89" name="Text Box 90"/>
            <p:cNvSpPr txBox="1">
              <a:spLocks noChangeArrowheads="1"/>
            </p:cNvSpPr>
            <p:nvPr/>
          </p:nvSpPr>
          <p:spPr bwMode="auto">
            <a:xfrm>
              <a:off x="8212696"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0" name="Text Box 91"/>
            <p:cNvSpPr txBox="1">
              <a:spLocks noChangeArrowheads="1"/>
            </p:cNvSpPr>
            <p:nvPr/>
          </p:nvSpPr>
          <p:spPr bwMode="auto">
            <a:xfrm>
              <a:off x="8212696"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1" name="Text Box 92"/>
            <p:cNvSpPr txBox="1">
              <a:spLocks noChangeArrowheads="1"/>
            </p:cNvSpPr>
            <p:nvPr/>
          </p:nvSpPr>
          <p:spPr bwMode="auto">
            <a:xfrm>
              <a:off x="8212696"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2" name="Text Box 93"/>
            <p:cNvSpPr txBox="1">
              <a:spLocks noChangeArrowheads="1"/>
            </p:cNvSpPr>
            <p:nvPr/>
          </p:nvSpPr>
          <p:spPr bwMode="auto">
            <a:xfrm>
              <a:off x="9342755" y="210236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3" name="Text Box 94"/>
            <p:cNvSpPr txBox="1">
              <a:spLocks noChangeArrowheads="1"/>
            </p:cNvSpPr>
            <p:nvPr/>
          </p:nvSpPr>
          <p:spPr bwMode="auto">
            <a:xfrm>
              <a:off x="9342755" y="2644841"/>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4" name="Text Box 95"/>
            <p:cNvSpPr txBox="1">
              <a:spLocks noChangeArrowheads="1"/>
            </p:cNvSpPr>
            <p:nvPr/>
          </p:nvSpPr>
          <p:spPr bwMode="auto">
            <a:xfrm>
              <a:off x="9342755" y="3187317"/>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5" name="Text Box 96"/>
            <p:cNvSpPr txBox="1">
              <a:spLocks noChangeArrowheads="1"/>
            </p:cNvSpPr>
            <p:nvPr/>
          </p:nvSpPr>
          <p:spPr bwMode="auto">
            <a:xfrm>
              <a:off x="9342755" y="372979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6" name="Text Box 97"/>
            <p:cNvSpPr txBox="1">
              <a:spLocks noChangeArrowheads="1"/>
            </p:cNvSpPr>
            <p:nvPr/>
          </p:nvSpPr>
          <p:spPr bwMode="auto">
            <a:xfrm>
              <a:off x="9342755" y="4272269"/>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7" name="Text Box 98"/>
            <p:cNvSpPr txBox="1">
              <a:spLocks noChangeArrowheads="1"/>
            </p:cNvSpPr>
            <p:nvPr/>
          </p:nvSpPr>
          <p:spPr bwMode="auto">
            <a:xfrm>
              <a:off x="9342755" y="4814745"/>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sp>
          <p:nvSpPr>
            <p:cNvPr id="198" name="Text Box 99"/>
            <p:cNvSpPr txBox="1">
              <a:spLocks noChangeArrowheads="1"/>
            </p:cNvSpPr>
            <p:nvPr/>
          </p:nvSpPr>
          <p:spPr bwMode="auto">
            <a:xfrm>
              <a:off x="9342755" y="5357223"/>
              <a:ext cx="548640" cy="184666"/>
            </a:xfrm>
            <a:prstGeom prst="rect">
              <a:avLst/>
            </a:prstGeom>
            <a:noFill/>
            <a:ln w="9525">
              <a:noFill/>
              <a:miter lim="800000"/>
              <a:headEnd type="none" w="sm" len="sm"/>
              <a:tailEnd type="none" w="med" len="lg"/>
            </a:ln>
          </p:spPr>
          <p:txBody>
            <a:bodyPr wrap="none" lIns="0" tIns="0" rIns="0" bIns="0">
              <a:noAutofit/>
            </a:bodyPr>
            <a:lstStyle/>
            <a:p>
              <a:pPr algn="ctr" eaLnBrk="1" hangingPunct="1">
                <a:spcBef>
                  <a:spcPct val="20000"/>
                </a:spcBef>
              </a:pPr>
              <a:r>
                <a:rPr lang="en-GB" altLang="ja-JP" sz="1000" dirty="0">
                  <a:ea typeface="ＭＳ Ｐゴシック" charset="-128"/>
                  <a:cs typeface="Arial" pitchFamily="34" charset="0"/>
                </a:rPr>
                <a:t>Text</a:t>
              </a:r>
            </a:p>
          </p:txBody>
        </p:sp>
      </p:grpSp>
      <p:sp>
        <p:nvSpPr>
          <p:cNvPr id="199" name="TextBox 198">
            <a:extLst>
              <a:ext uri="{FF2B5EF4-FFF2-40B4-BE49-F238E27FC236}">
                <a16:creationId xmlns:a16="http://schemas.microsoft.com/office/drawing/2014/main" id="{CC4160EF-D295-49A7-B067-68F9F2881A2E}"/>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3755609673"/>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Very detailed</a:t>
            </a:r>
            <a:endParaRPr lang="en-US" dirty="0"/>
          </a:p>
        </p:txBody>
      </p:sp>
      <p:sp>
        <p:nvSpPr>
          <p:cNvPr id="762884" name="Title 1"/>
          <p:cNvSpPr>
            <a:spLocks noGrp="1"/>
          </p:cNvSpPr>
          <p:nvPr>
            <p:ph type="title"/>
          </p:nvPr>
        </p:nvSpPr>
        <p:spPr/>
        <p:txBody>
          <a:bodyPr/>
          <a:lstStyle/>
          <a:p>
            <a:r>
              <a:rPr lang="en-US" altLang="ja-JP"/>
              <a:t>Activity map</a:t>
            </a:r>
            <a:endParaRPr lang="en-US" dirty="0"/>
          </a:p>
        </p:txBody>
      </p:sp>
      <p:grpSp>
        <p:nvGrpSpPr>
          <p:cNvPr id="2" name="Group 1">
            <a:extLst>
              <a:ext uri="{FF2B5EF4-FFF2-40B4-BE49-F238E27FC236}">
                <a16:creationId xmlns:a16="http://schemas.microsoft.com/office/drawing/2014/main" id="{294FFDB2-F802-4A18-8EB0-469A42D9F92C}"/>
              </a:ext>
            </a:extLst>
          </p:cNvPr>
          <p:cNvGrpSpPr/>
          <p:nvPr/>
        </p:nvGrpSpPr>
        <p:grpSpPr>
          <a:xfrm>
            <a:off x="501650" y="1393509"/>
            <a:ext cx="11117253" cy="4719283"/>
            <a:chOff x="2890850" y="1619538"/>
            <a:chExt cx="7461380" cy="4719283"/>
          </a:xfrm>
        </p:grpSpPr>
        <p:sp>
          <p:nvSpPr>
            <p:cNvPr id="269" name="Rectangle 238"/>
            <p:cNvSpPr>
              <a:spLocks noChangeArrowheads="1"/>
            </p:cNvSpPr>
            <p:nvPr/>
          </p:nvSpPr>
          <p:spPr bwMode="auto">
            <a:xfrm>
              <a:off x="6525254" y="6218171"/>
              <a:ext cx="274320" cy="120650"/>
            </a:xfrm>
            <a:prstGeom prst="rect">
              <a:avLst/>
            </a:prstGeom>
            <a:solidFill>
              <a:schemeClr val="accent3"/>
            </a:solidFill>
            <a:ln w="9525">
              <a:solidFill>
                <a:schemeClr val="accent3"/>
              </a:solidFill>
              <a:miter lim="800000"/>
              <a:headEnd/>
              <a:tailEnd/>
            </a:ln>
          </p:spPr>
          <p:txBody>
            <a:bodyPr wrap="none" anchor="ctr"/>
            <a:lstStyle/>
            <a:p>
              <a:pPr eaLnBrk="1" hangingPunct="1">
                <a:spcBef>
                  <a:spcPct val="20000"/>
                </a:spcBef>
              </a:pPr>
              <a:endParaRPr lang="en-GB" sz="700" dirty="0">
                <a:cs typeface="Arial" pitchFamily="34" charset="0"/>
              </a:endParaRPr>
            </a:p>
          </p:txBody>
        </p:sp>
        <p:sp>
          <p:nvSpPr>
            <p:cNvPr id="270" name="Rectangle 239"/>
            <p:cNvSpPr>
              <a:spLocks noChangeArrowheads="1"/>
            </p:cNvSpPr>
            <p:nvPr/>
          </p:nvSpPr>
          <p:spPr bwMode="auto">
            <a:xfrm>
              <a:off x="7520572" y="6218171"/>
              <a:ext cx="274320" cy="120650"/>
            </a:xfrm>
            <a:prstGeom prst="rect">
              <a:avLst/>
            </a:prstGeom>
            <a:solidFill>
              <a:schemeClr val="bg2"/>
            </a:solidFill>
            <a:ln w="9525">
              <a:solidFill>
                <a:schemeClr val="bg2"/>
              </a:solidFill>
              <a:miter lim="800000"/>
              <a:headEnd/>
              <a:tailEnd/>
            </a:ln>
          </p:spPr>
          <p:txBody>
            <a:bodyPr wrap="none" anchor="ctr"/>
            <a:lstStyle/>
            <a:p>
              <a:pPr eaLnBrk="1" hangingPunct="1">
                <a:spcBef>
                  <a:spcPct val="20000"/>
                </a:spcBef>
              </a:pPr>
              <a:endParaRPr lang="en-GB" sz="700" dirty="0">
                <a:cs typeface="Arial" pitchFamily="34" charset="0"/>
              </a:endParaRPr>
            </a:p>
          </p:txBody>
        </p:sp>
        <p:sp>
          <p:nvSpPr>
            <p:cNvPr id="271" name="Rectangle 240"/>
            <p:cNvSpPr>
              <a:spLocks noChangeArrowheads="1"/>
            </p:cNvSpPr>
            <p:nvPr/>
          </p:nvSpPr>
          <p:spPr bwMode="auto">
            <a:xfrm>
              <a:off x="8287290" y="6218171"/>
              <a:ext cx="274320" cy="120650"/>
            </a:xfrm>
            <a:prstGeom prst="rect">
              <a:avLst/>
            </a:prstGeom>
            <a:solidFill>
              <a:schemeClr val="bg2">
                <a:lumMod val="75000"/>
              </a:schemeClr>
            </a:solidFill>
            <a:ln w="9525">
              <a:solidFill>
                <a:schemeClr val="bg2">
                  <a:lumMod val="75000"/>
                </a:schemeClr>
              </a:solidFill>
              <a:miter lim="800000"/>
              <a:headEnd/>
              <a:tailEnd/>
            </a:ln>
          </p:spPr>
          <p:txBody>
            <a:bodyPr wrap="none" anchor="ctr"/>
            <a:lstStyle/>
            <a:p>
              <a:pPr eaLnBrk="1" hangingPunct="1">
                <a:spcBef>
                  <a:spcPct val="20000"/>
                </a:spcBef>
                <a:defRPr/>
              </a:pPr>
              <a:endParaRPr lang="en-GB" sz="700" dirty="0">
                <a:cs typeface="Arial" pitchFamily="34" charset="0"/>
              </a:endParaRPr>
            </a:p>
          </p:txBody>
        </p:sp>
        <p:sp>
          <p:nvSpPr>
            <p:cNvPr id="272" name="Rectangle 241"/>
            <p:cNvSpPr>
              <a:spLocks noChangeArrowheads="1"/>
            </p:cNvSpPr>
            <p:nvPr/>
          </p:nvSpPr>
          <p:spPr bwMode="auto">
            <a:xfrm>
              <a:off x="9419768" y="6218171"/>
              <a:ext cx="274320" cy="120650"/>
            </a:xfrm>
            <a:prstGeom prst="rect">
              <a:avLst/>
            </a:prstGeom>
            <a:solidFill>
              <a:schemeClr val="bg1"/>
            </a:solidFill>
            <a:ln w="6350">
              <a:solidFill>
                <a:srgbClr val="BBBCBC"/>
              </a:solidFill>
              <a:miter lim="800000"/>
              <a:headEnd/>
              <a:tailEnd/>
            </a:ln>
          </p:spPr>
          <p:txBody>
            <a:bodyPr wrap="none" anchor="ctr"/>
            <a:lstStyle/>
            <a:p>
              <a:pPr eaLnBrk="1" hangingPunct="1">
                <a:spcBef>
                  <a:spcPct val="20000"/>
                </a:spcBef>
                <a:defRPr/>
              </a:pPr>
              <a:endParaRPr lang="en-GB" sz="700" dirty="0">
                <a:cs typeface="Arial" pitchFamily="34" charset="0"/>
              </a:endParaRPr>
            </a:p>
          </p:txBody>
        </p:sp>
        <p:sp>
          <p:nvSpPr>
            <p:cNvPr id="273" name="Rectangle 242"/>
            <p:cNvSpPr>
              <a:spLocks noChangeArrowheads="1"/>
            </p:cNvSpPr>
            <p:nvPr/>
          </p:nvSpPr>
          <p:spPr bwMode="auto">
            <a:xfrm>
              <a:off x="6862893" y="6223404"/>
              <a:ext cx="59436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Advantaged</a:t>
              </a:r>
            </a:p>
          </p:txBody>
        </p:sp>
        <p:sp>
          <p:nvSpPr>
            <p:cNvPr id="274" name="Rectangle 243"/>
            <p:cNvSpPr>
              <a:spLocks noChangeArrowheads="1"/>
            </p:cNvSpPr>
            <p:nvPr/>
          </p:nvSpPr>
          <p:spPr bwMode="auto">
            <a:xfrm>
              <a:off x="7858211" y="6223404"/>
              <a:ext cx="36576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Neutral</a:t>
              </a:r>
            </a:p>
          </p:txBody>
        </p:sp>
        <p:sp>
          <p:nvSpPr>
            <p:cNvPr id="275" name="Rectangle 244"/>
            <p:cNvSpPr>
              <a:spLocks noChangeArrowheads="1"/>
            </p:cNvSpPr>
            <p:nvPr/>
          </p:nvSpPr>
          <p:spPr bwMode="auto">
            <a:xfrm>
              <a:off x="8624929" y="6223404"/>
              <a:ext cx="73152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Disadvantaged</a:t>
              </a:r>
            </a:p>
          </p:txBody>
        </p:sp>
        <p:sp>
          <p:nvSpPr>
            <p:cNvPr id="276" name="Rectangle 245"/>
            <p:cNvSpPr>
              <a:spLocks noChangeArrowheads="1"/>
            </p:cNvSpPr>
            <p:nvPr/>
          </p:nvSpPr>
          <p:spPr bwMode="auto">
            <a:xfrm>
              <a:off x="9757410" y="6223404"/>
              <a:ext cx="548640" cy="107722"/>
            </a:xfrm>
            <a:prstGeom prst="rect">
              <a:avLst/>
            </a:prstGeom>
            <a:noFill/>
            <a:ln w="9525">
              <a:noFill/>
              <a:miter lim="800000"/>
              <a:headEnd/>
              <a:tailEnd/>
            </a:ln>
          </p:spPr>
          <p:txBody>
            <a:bodyPr wrap="square" lIns="0" tIns="0" rIns="0" bIns="0" anchor="ctr">
              <a:spAutoFit/>
            </a:bodyPr>
            <a:lstStyle/>
            <a:p>
              <a:pPr algn="l" eaLnBrk="1" hangingPunct="1">
                <a:spcBef>
                  <a:spcPct val="20000"/>
                </a:spcBef>
              </a:pPr>
              <a:r>
                <a:rPr lang="en-GB" altLang="ja-JP" sz="700" dirty="0">
                  <a:ea typeface="ＭＳ Ｐゴシック" charset="-128"/>
                  <a:cs typeface="Arial" pitchFamily="34" charset="0"/>
                </a:rPr>
                <a:t>No position</a:t>
              </a:r>
            </a:p>
          </p:txBody>
        </p:sp>
        <p:cxnSp>
          <p:nvCxnSpPr>
            <p:cNvPr id="277" name="iBar:31/270"/>
            <p:cNvCxnSpPr/>
            <p:nvPr/>
          </p:nvCxnSpPr>
          <p:spPr>
            <a:xfrm>
              <a:off x="3606988" y="1799902"/>
              <a:ext cx="336499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78" name="TxtBox:31/270"/>
            <p:cNvSpPr/>
            <p:nvPr/>
          </p:nvSpPr>
          <p:spPr bwMode="gray">
            <a:xfrm>
              <a:off x="3606989" y="1624764"/>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279" name="iBar:31/270"/>
            <p:cNvCxnSpPr/>
            <p:nvPr/>
          </p:nvCxnSpPr>
          <p:spPr>
            <a:xfrm>
              <a:off x="7260787" y="1799902"/>
              <a:ext cx="117043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280" name="TxtBox:31/270"/>
            <p:cNvSpPr/>
            <p:nvPr/>
          </p:nvSpPr>
          <p:spPr bwMode="gray">
            <a:xfrm>
              <a:off x="7260788" y="161953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358" name="iBar:31/270"/>
            <p:cNvCxnSpPr/>
            <p:nvPr/>
          </p:nvCxnSpPr>
          <p:spPr>
            <a:xfrm>
              <a:off x="8707873" y="1799902"/>
              <a:ext cx="16002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359" name="TxtBox:31/270"/>
            <p:cNvSpPr/>
            <p:nvPr/>
          </p:nvSpPr>
          <p:spPr bwMode="gray">
            <a:xfrm>
              <a:off x="8707874" y="1624764"/>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sp>
          <p:nvSpPr>
            <p:cNvPr id="291" name="Rectangle 12"/>
            <p:cNvSpPr>
              <a:spLocks noChangeArrowheads="1"/>
            </p:cNvSpPr>
            <p:nvPr/>
          </p:nvSpPr>
          <p:spPr bwMode="auto">
            <a:xfrm>
              <a:off x="2890850" y="2009890"/>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293" name="Rectangle 73"/>
            <p:cNvSpPr>
              <a:spLocks noChangeArrowheads="1"/>
            </p:cNvSpPr>
            <p:nvPr/>
          </p:nvSpPr>
          <p:spPr bwMode="auto">
            <a:xfrm>
              <a:off x="3606988"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297" name="AutoShape 246"/>
            <p:cNvSpPr>
              <a:spLocks noChangeArrowheads="1"/>
            </p:cNvSpPr>
            <p:nvPr/>
          </p:nvSpPr>
          <p:spPr bwMode="auto">
            <a:xfrm rot="16200000">
              <a:off x="3693265" y="1910112"/>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00" name="Rectangle 67"/>
            <p:cNvSpPr>
              <a:spLocks noChangeArrowheads="1"/>
            </p:cNvSpPr>
            <p:nvPr/>
          </p:nvSpPr>
          <p:spPr bwMode="auto">
            <a:xfrm>
              <a:off x="3561268"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03" name="Rectangle 73"/>
            <p:cNvSpPr>
              <a:spLocks noChangeArrowheads="1"/>
            </p:cNvSpPr>
            <p:nvPr/>
          </p:nvSpPr>
          <p:spPr bwMode="auto">
            <a:xfrm>
              <a:off x="5814178"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06" name="AutoShape 246"/>
            <p:cNvSpPr>
              <a:spLocks noChangeArrowheads="1"/>
            </p:cNvSpPr>
            <p:nvPr/>
          </p:nvSpPr>
          <p:spPr bwMode="auto">
            <a:xfrm rot="16200000">
              <a:off x="5900455" y="1910112"/>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09" name="Rectangle 67"/>
            <p:cNvSpPr>
              <a:spLocks noChangeArrowheads="1"/>
            </p:cNvSpPr>
            <p:nvPr/>
          </p:nvSpPr>
          <p:spPr bwMode="auto">
            <a:xfrm>
              <a:off x="5768458"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12" name="Rectangle 73"/>
            <p:cNvSpPr>
              <a:spLocks noChangeArrowheads="1"/>
            </p:cNvSpPr>
            <p:nvPr/>
          </p:nvSpPr>
          <p:spPr bwMode="auto">
            <a:xfrm>
              <a:off x="4048426"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13" name="AutoShape 246"/>
            <p:cNvSpPr>
              <a:spLocks noChangeArrowheads="1"/>
            </p:cNvSpPr>
            <p:nvPr/>
          </p:nvSpPr>
          <p:spPr bwMode="auto">
            <a:xfrm rot="16200000">
              <a:off x="4125718"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14" name="Rectangle 67"/>
            <p:cNvSpPr>
              <a:spLocks noChangeArrowheads="1"/>
            </p:cNvSpPr>
            <p:nvPr/>
          </p:nvSpPr>
          <p:spPr bwMode="auto">
            <a:xfrm>
              <a:off x="4002706"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15" name="Rectangle 73"/>
            <p:cNvSpPr>
              <a:spLocks noChangeArrowheads="1"/>
            </p:cNvSpPr>
            <p:nvPr/>
          </p:nvSpPr>
          <p:spPr bwMode="auto">
            <a:xfrm>
              <a:off x="6697057"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18" name="AutoShape 246"/>
            <p:cNvSpPr>
              <a:spLocks noChangeArrowheads="1"/>
            </p:cNvSpPr>
            <p:nvPr/>
          </p:nvSpPr>
          <p:spPr bwMode="auto">
            <a:xfrm rot="16200000">
              <a:off x="6774349"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21" name="Rectangle 67"/>
            <p:cNvSpPr>
              <a:spLocks noChangeArrowheads="1"/>
            </p:cNvSpPr>
            <p:nvPr/>
          </p:nvSpPr>
          <p:spPr bwMode="auto">
            <a:xfrm>
              <a:off x="6651337"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24" name="Rectangle 73"/>
            <p:cNvSpPr>
              <a:spLocks noChangeArrowheads="1"/>
            </p:cNvSpPr>
            <p:nvPr/>
          </p:nvSpPr>
          <p:spPr bwMode="auto">
            <a:xfrm>
              <a:off x="6255616"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27" name="AutoShape 246"/>
            <p:cNvSpPr>
              <a:spLocks noChangeArrowheads="1"/>
            </p:cNvSpPr>
            <p:nvPr/>
          </p:nvSpPr>
          <p:spPr bwMode="auto">
            <a:xfrm rot="16200000">
              <a:off x="6332908"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30" name="Rectangle 67"/>
            <p:cNvSpPr>
              <a:spLocks noChangeArrowheads="1"/>
            </p:cNvSpPr>
            <p:nvPr/>
          </p:nvSpPr>
          <p:spPr bwMode="auto">
            <a:xfrm>
              <a:off x="6209896"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33" name="Rectangle 73"/>
            <p:cNvSpPr>
              <a:spLocks noChangeArrowheads="1"/>
            </p:cNvSpPr>
            <p:nvPr/>
          </p:nvSpPr>
          <p:spPr bwMode="auto">
            <a:xfrm>
              <a:off x="4489864"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36" name="AutoShape 246"/>
            <p:cNvSpPr>
              <a:spLocks noChangeArrowheads="1"/>
            </p:cNvSpPr>
            <p:nvPr/>
          </p:nvSpPr>
          <p:spPr bwMode="auto">
            <a:xfrm rot="16200000">
              <a:off x="4567156"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39" name="Rectangle 67"/>
            <p:cNvSpPr>
              <a:spLocks noChangeArrowheads="1"/>
            </p:cNvSpPr>
            <p:nvPr/>
          </p:nvSpPr>
          <p:spPr bwMode="auto">
            <a:xfrm>
              <a:off x="4444144"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43" name="Rectangle 73"/>
            <p:cNvSpPr>
              <a:spLocks noChangeArrowheads="1"/>
            </p:cNvSpPr>
            <p:nvPr/>
          </p:nvSpPr>
          <p:spPr bwMode="auto">
            <a:xfrm>
              <a:off x="4931302" y="1977645"/>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44" name="AutoShape 246"/>
            <p:cNvSpPr>
              <a:spLocks noChangeArrowheads="1"/>
            </p:cNvSpPr>
            <p:nvPr/>
          </p:nvSpPr>
          <p:spPr bwMode="auto">
            <a:xfrm rot="16200000">
              <a:off x="5008594"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45" name="Rectangle 67"/>
            <p:cNvSpPr>
              <a:spLocks noChangeArrowheads="1"/>
            </p:cNvSpPr>
            <p:nvPr/>
          </p:nvSpPr>
          <p:spPr bwMode="auto">
            <a:xfrm>
              <a:off x="4885582"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46" name="Rectangle 73"/>
            <p:cNvSpPr>
              <a:spLocks noChangeArrowheads="1"/>
            </p:cNvSpPr>
            <p:nvPr/>
          </p:nvSpPr>
          <p:spPr bwMode="auto">
            <a:xfrm>
              <a:off x="5372740" y="1977645"/>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47" name="AutoShape 246"/>
            <p:cNvSpPr>
              <a:spLocks noChangeArrowheads="1"/>
            </p:cNvSpPr>
            <p:nvPr/>
          </p:nvSpPr>
          <p:spPr bwMode="auto">
            <a:xfrm rot="16200000">
              <a:off x="5459017" y="1910112"/>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48" name="Rectangle 67"/>
            <p:cNvSpPr>
              <a:spLocks noChangeArrowheads="1"/>
            </p:cNvSpPr>
            <p:nvPr/>
          </p:nvSpPr>
          <p:spPr bwMode="auto">
            <a:xfrm>
              <a:off x="5327020"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49" name="Rectangle 73"/>
            <p:cNvSpPr>
              <a:spLocks noChangeArrowheads="1"/>
            </p:cNvSpPr>
            <p:nvPr/>
          </p:nvSpPr>
          <p:spPr bwMode="auto">
            <a:xfrm>
              <a:off x="7260787"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0" name="AutoShape 246"/>
            <p:cNvSpPr>
              <a:spLocks noChangeArrowheads="1"/>
            </p:cNvSpPr>
            <p:nvPr/>
          </p:nvSpPr>
          <p:spPr bwMode="auto">
            <a:xfrm rot="16200000">
              <a:off x="7347064" y="1910112"/>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1" name="Rectangle 67"/>
            <p:cNvSpPr>
              <a:spLocks noChangeArrowheads="1"/>
            </p:cNvSpPr>
            <p:nvPr/>
          </p:nvSpPr>
          <p:spPr bwMode="auto">
            <a:xfrm>
              <a:off x="7215067"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52" name="Rectangle 73"/>
            <p:cNvSpPr>
              <a:spLocks noChangeArrowheads="1"/>
            </p:cNvSpPr>
            <p:nvPr/>
          </p:nvSpPr>
          <p:spPr bwMode="auto">
            <a:xfrm>
              <a:off x="7702225"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3" name="AutoShape 246"/>
            <p:cNvSpPr>
              <a:spLocks noChangeArrowheads="1"/>
            </p:cNvSpPr>
            <p:nvPr/>
          </p:nvSpPr>
          <p:spPr bwMode="auto">
            <a:xfrm rot="16200000">
              <a:off x="7779517"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4" name="Rectangle 67"/>
            <p:cNvSpPr>
              <a:spLocks noChangeArrowheads="1"/>
            </p:cNvSpPr>
            <p:nvPr/>
          </p:nvSpPr>
          <p:spPr bwMode="auto">
            <a:xfrm>
              <a:off x="7656505"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55" name="Rectangle 73"/>
            <p:cNvSpPr>
              <a:spLocks noChangeArrowheads="1"/>
            </p:cNvSpPr>
            <p:nvPr/>
          </p:nvSpPr>
          <p:spPr bwMode="auto">
            <a:xfrm>
              <a:off x="8143663"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6" name="AutoShape 246"/>
            <p:cNvSpPr>
              <a:spLocks noChangeArrowheads="1"/>
            </p:cNvSpPr>
            <p:nvPr/>
          </p:nvSpPr>
          <p:spPr bwMode="auto">
            <a:xfrm rot="16200000">
              <a:off x="8220955"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57" name="Rectangle 67"/>
            <p:cNvSpPr>
              <a:spLocks noChangeArrowheads="1"/>
            </p:cNvSpPr>
            <p:nvPr/>
          </p:nvSpPr>
          <p:spPr bwMode="auto">
            <a:xfrm>
              <a:off x="8097943"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0" name="Rectangle 73"/>
            <p:cNvSpPr>
              <a:spLocks noChangeArrowheads="1"/>
            </p:cNvSpPr>
            <p:nvPr/>
          </p:nvSpPr>
          <p:spPr bwMode="auto">
            <a:xfrm>
              <a:off x="9149311"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1" name="AutoShape 246"/>
            <p:cNvSpPr>
              <a:spLocks noChangeArrowheads="1"/>
            </p:cNvSpPr>
            <p:nvPr/>
          </p:nvSpPr>
          <p:spPr bwMode="auto">
            <a:xfrm rot="16200000">
              <a:off x="9235588" y="1910112"/>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2" name="Rectangle 67"/>
            <p:cNvSpPr>
              <a:spLocks noChangeArrowheads="1"/>
            </p:cNvSpPr>
            <p:nvPr/>
          </p:nvSpPr>
          <p:spPr bwMode="auto">
            <a:xfrm>
              <a:off x="9103591"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3" name="Rectangle 73"/>
            <p:cNvSpPr>
              <a:spLocks noChangeArrowheads="1"/>
            </p:cNvSpPr>
            <p:nvPr/>
          </p:nvSpPr>
          <p:spPr bwMode="auto">
            <a:xfrm>
              <a:off x="10032190" y="1977645"/>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4" name="AutoShape 246"/>
            <p:cNvSpPr>
              <a:spLocks noChangeArrowheads="1"/>
            </p:cNvSpPr>
            <p:nvPr/>
          </p:nvSpPr>
          <p:spPr bwMode="auto">
            <a:xfrm rot="16200000">
              <a:off x="10109482"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5" name="Rectangle 67"/>
            <p:cNvSpPr>
              <a:spLocks noChangeArrowheads="1"/>
            </p:cNvSpPr>
            <p:nvPr/>
          </p:nvSpPr>
          <p:spPr bwMode="auto">
            <a:xfrm>
              <a:off x="9986470"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6" name="Rectangle 73"/>
            <p:cNvSpPr>
              <a:spLocks noChangeArrowheads="1"/>
            </p:cNvSpPr>
            <p:nvPr/>
          </p:nvSpPr>
          <p:spPr bwMode="auto">
            <a:xfrm>
              <a:off x="9590749" y="1977645"/>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7" name="AutoShape 246"/>
            <p:cNvSpPr>
              <a:spLocks noChangeArrowheads="1"/>
            </p:cNvSpPr>
            <p:nvPr/>
          </p:nvSpPr>
          <p:spPr bwMode="auto">
            <a:xfrm rot="16200000">
              <a:off x="9668041" y="1901127"/>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68" name="Rectangle 67"/>
            <p:cNvSpPr>
              <a:spLocks noChangeArrowheads="1"/>
            </p:cNvSpPr>
            <p:nvPr/>
          </p:nvSpPr>
          <p:spPr bwMode="auto">
            <a:xfrm>
              <a:off x="9545029"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69" name="Rectangle 73"/>
            <p:cNvSpPr>
              <a:spLocks noChangeArrowheads="1"/>
            </p:cNvSpPr>
            <p:nvPr/>
          </p:nvSpPr>
          <p:spPr bwMode="auto">
            <a:xfrm>
              <a:off x="8707873" y="1977645"/>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70" name="AutoShape 246"/>
            <p:cNvSpPr>
              <a:spLocks noChangeArrowheads="1"/>
            </p:cNvSpPr>
            <p:nvPr/>
          </p:nvSpPr>
          <p:spPr bwMode="auto">
            <a:xfrm rot="16200000">
              <a:off x="8794150" y="1910112"/>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71" name="Rectangle 67"/>
            <p:cNvSpPr>
              <a:spLocks noChangeArrowheads="1"/>
            </p:cNvSpPr>
            <p:nvPr/>
          </p:nvSpPr>
          <p:spPr bwMode="auto">
            <a:xfrm>
              <a:off x="8662153" y="2113062"/>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72" name="Rectangle 12"/>
            <p:cNvSpPr>
              <a:spLocks noChangeArrowheads="1"/>
            </p:cNvSpPr>
            <p:nvPr/>
          </p:nvSpPr>
          <p:spPr bwMode="auto">
            <a:xfrm>
              <a:off x="2890850" y="2414834"/>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373" name="Rectangle 73"/>
            <p:cNvSpPr>
              <a:spLocks noChangeArrowheads="1"/>
            </p:cNvSpPr>
            <p:nvPr/>
          </p:nvSpPr>
          <p:spPr bwMode="auto">
            <a:xfrm>
              <a:off x="3606988" y="2420993"/>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74" name="AutoShape 246"/>
            <p:cNvSpPr>
              <a:spLocks noChangeArrowheads="1"/>
            </p:cNvSpPr>
            <p:nvPr/>
          </p:nvSpPr>
          <p:spPr bwMode="auto">
            <a:xfrm rot="16200000">
              <a:off x="3684280"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75" name="Rectangle 67"/>
            <p:cNvSpPr>
              <a:spLocks noChangeArrowheads="1"/>
            </p:cNvSpPr>
            <p:nvPr/>
          </p:nvSpPr>
          <p:spPr bwMode="auto">
            <a:xfrm>
              <a:off x="3561268"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81" name="Rectangle 73"/>
            <p:cNvSpPr>
              <a:spLocks noChangeArrowheads="1"/>
            </p:cNvSpPr>
            <p:nvPr/>
          </p:nvSpPr>
          <p:spPr bwMode="auto">
            <a:xfrm>
              <a:off x="5814178"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82" name="AutoShape 246"/>
            <p:cNvSpPr>
              <a:spLocks noChangeArrowheads="1"/>
            </p:cNvSpPr>
            <p:nvPr/>
          </p:nvSpPr>
          <p:spPr bwMode="auto">
            <a:xfrm rot="16200000">
              <a:off x="5900455"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83" name="Rectangle 67"/>
            <p:cNvSpPr>
              <a:spLocks noChangeArrowheads="1"/>
            </p:cNvSpPr>
            <p:nvPr/>
          </p:nvSpPr>
          <p:spPr bwMode="auto">
            <a:xfrm>
              <a:off x="5768458"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84" name="Rectangle 73"/>
            <p:cNvSpPr>
              <a:spLocks noChangeArrowheads="1"/>
            </p:cNvSpPr>
            <p:nvPr/>
          </p:nvSpPr>
          <p:spPr bwMode="auto">
            <a:xfrm>
              <a:off x="4048426" y="2420993"/>
              <a:ext cx="274320" cy="120510"/>
            </a:xfrm>
            <a:prstGeom prst="rect">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85" name="AutoShape 246"/>
            <p:cNvSpPr>
              <a:spLocks noChangeArrowheads="1"/>
            </p:cNvSpPr>
            <p:nvPr/>
          </p:nvSpPr>
          <p:spPr bwMode="auto">
            <a:xfrm rot="16200000">
              <a:off x="4133946" y="2353459"/>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86" name="Rectangle 67"/>
            <p:cNvSpPr>
              <a:spLocks noChangeArrowheads="1"/>
            </p:cNvSpPr>
            <p:nvPr/>
          </p:nvSpPr>
          <p:spPr bwMode="auto">
            <a:xfrm>
              <a:off x="4002706"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87" name="Rectangle 73"/>
            <p:cNvSpPr>
              <a:spLocks noChangeArrowheads="1"/>
            </p:cNvSpPr>
            <p:nvPr/>
          </p:nvSpPr>
          <p:spPr bwMode="auto">
            <a:xfrm>
              <a:off x="4489864"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88" name="AutoShape 246"/>
            <p:cNvSpPr>
              <a:spLocks noChangeArrowheads="1"/>
            </p:cNvSpPr>
            <p:nvPr/>
          </p:nvSpPr>
          <p:spPr bwMode="auto">
            <a:xfrm rot="16200000">
              <a:off x="4576141" y="2353460"/>
              <a:ext cx="120054" cy="256032"/>
            </a:xfrm>
            <a:prstGeom prst="rtTriangle">
              <a:avLst/>
            </a:prstGeom>
            <a:solidFill>
              <a:schemeClr val="bg2"/>
            </a:solidFill>
            <a:ln w="9525">
              <a:solidFill>
                <a:schemeClr val="bg2"/>
              </a:solidFill>
              <a:miter lim="800000"/>
              <a:headEnd/>
              <a:tailEnd/>
            </a:ln>
          </p:spPr>
          <p:txBody>
            <a:bodyPr wrap="none" anchor="t"/>
            <a:lstStyle/>
            <a:p>
              <a:pPr algn="ctr">
                <a:spcBef>
                  <a:spcPct val="20000"/>
                </a:spcBef>
              </a:pPr>
              <a:endParaRPr lang="en-GB" sz="500" dirty="0">
                <a:cs typeface="Arial" pitchFamily="34" charset="0"/>
              </a:endParaRPr>
            </a:p>
          </p:txBody>
        </p:sp>
        <p:sp>
          <p:nvSpPr>
            <p:cNvPr id="389" name="Rectangle 67"/>
            <p:cNvSpPr>
              <a:spLocks noChangeArrowheads="1"/>
            </p:cNvSpPr>
            <p:nvPr/>
          </p:nvSpPr>
          <p:spPr bwMode="auto">
            <a:xfrm>
              <a:off x="4444144"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0" name="Rectangle 73"/>
            <p:cNvSpPr>
              <a:spLocks noChangeArrowheads="1"/>
            </p:cNvSpPr>
            <p:nvPr/>
          </p:nvSpPr>
          <p:spPr bwMode="auto">
            <a:xfrm>
              <a:off x="4931302" y="2420993"/>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1" name="AutoShape 246"/>
            <p:cNvSpPr>
              <a:spLocks noChangeArrowheads="1"/>
            </p:cNvSpPr>
            <p:nvPr/>
          </p:nvSpPr>
          <p:spPr bwMode="auto">
            <a:xfrm rot="16200000">
              <a:off x="5008594"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2" name="Rectangle 67"/>
            <p:cNvSpPr>
              <a:spLocks noChangeArrowheads="1"/>
            </p:cNvSpPr>
            <p:nvPr/>
          </p:nvSpPr>
          <p:spPr bwMode="auto">
            <a:xfrm>
              <a:off x="4885582"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3" name="Rectangle 73"/>
            <p:cNvSpPr>
              <a:spLocks noChangeArrowheads="1"/>
            </p:cNvSpPr>
            <p:nvPr/>
          </p:nvSpPr>
          <p:spPr bwMode="auto">
            <a:xfrm>
              <a:off x="5372740"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4" name="AutoShape 246"/>
            <p:cNvSpPr>
              <a:spLocks noChangeArrowheads="1"/>
            </p:cNvSpPr>
            <p:nvPr/>
          </p:nvSpPr>
          <p:spPr bwMode="auto">
            <a:xfrm rot="16200000">
              <a:off x="5450032"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5" name="Rectangle 67"/>
            <p:cNvSpPr>
              <a:spLocks noChangeArrowheads="1"/>
            </p:cNvSpPr>
            <p:nvPr/>
          </p:nvSpPr>
          <p:spPr bwMode="auto">
            <a:xfrm>
              <a:off x="5327020"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6" name="Rectangle 73"/>
            <p:cNvSpPr>
              <a:spLocks noChangeArrowheads="1"/>
            </p:cNvSpPr>
            <p:nvPr/>
          </p:nvSpPr>
          <p:spPr bwMode="auto">
            <a:xfrm>
              <a:off x="7260787"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7" name="AutoShape 246"/>
            <p:cNvSpPr>
              <a:spLocks noChangeArrowheads="1"/>
            </p:cNvSpPr>
            <p:nvPr/>
          </p:nvSpPr>
          <p:spPr bwMode="auto">
            <a:xfrm rot="16200000">
              <a:off x="7347064"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398" name="Rectangle 67"/>
            <p:cNvSpPr>
              <a:spLocks noChangeArrowheads="1"/>
            </p:cNvSpPr>
            <p:nvPr/>
          </p:nvSpPr>
          <p:spPr bwMode="auto">
            <a:xfrm>
              <a:off x="7215067"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399" name="Rectangle 73"/>
            <p:cNvSpPr>
              <a:spLocks noChangeArrowheads="1"/>
            </p:cNvSpPr>
            <p:nvPr/>
          </p:nvSpPr>
          <p:spPr bwMode="auto">
            <a:xfrm>
              <a:off x="7702225"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0" name="AutoShape 246"/>
            <p:cNvSpPr>
              <a:spLocks noChangeArrowheads="1"/>
            </p:cNvSpPr>
            <p:nvPr/>
          </p:nvSpPr>
          <p:spPr bwMode="auto">
            <a:xfrm rot="16200000">
              <a:off x="7779517"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1" name="Rectangle 67"/>
            <p:cNvSpPr>
              <a:spLocks noChangeArrowheads="1"/>
            </p:cNvSpPr>
            <p:nvPr/>
          </p:nvSpPr>
          <p:spPr bwMode="auto">
            <a:xfrm>
              <a:off x="7656505"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02" name="Rectangle 73"/>
            <p:cNvSpPr>
              <a:spLocks noChangeArrowheads="1"/>
            </p:cNvSpPr>
            <p:nvPr/>
          </p:nvSpPr>
          <p:spPr bwMode="auto">
            <a:xfrm>
              <a:off x="8143663"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3" name="AutoShape 246"/>
            <p:cNvSpPr>
              <a:spLocks noChangeArrowheads="1"/>
            </p:cNvSpPr>
            <p:nvPr/>
          </p:nvSpPr>
          <p:spPr bwMode="auto">
            <a:xfrm rot="16200000">
              <a:off x="8220955" y="2344475"/>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4" name="Rectangle 67"/>
            <p:cNvSpPr>
              <a:spLocks noChangeArrowheads="1"/>
            </p:cNvSpPr>
            <p:nvPr/>
          </p:nvSpPr>
          <p:spPr bwMode="auto">
            <a:xfrm>
              <a:off x="8097943"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05" name="Rectangle 73"/>
            <p:cNvSpPr>
              <a:spLocks noChangeArrowheads="1"/>
            </p:cNvSpPr>
            <p:nvPr/>
          </p:nvSpPr>
          <p:spPr bwMode="auto">
            <a:xfrm>
              <a:off x="9149311" y="2420993"/>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6" name="AutoShape 246"/>
            <p:cNvSpPr>
              <a:spLocks noChangeArrowheads="1"/>
            </p:cNvSpPr>
            <p:nvPr/>
          </p:nvSpPr>
          <p:spPr bwMode="auto">
            <a:xfrm rot="16200000">
              <a:off x="9235588" y="2353460"/>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7" name="Rectangle 67"/>
            <p:cNvSpPr>
              <a:spLocks noChangeArrowheads="1"/>
            </p:cNvSpPr>
            <p:nvPr/>
          </p:nvSpPr>
          <p:spPr bwMode="auto">
            <a:xfrm>
              <a:off x="9103591"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08" name="Rectangle 73"/>
            <p:cNvSpPr>
              <a:spLocks noChangeArrowheads="1"/>
            </p:cNvSpPr>
            <p:nvPr/>
          </p:nvSpPr>
          <p:spPr bwMode="auto">
            <a:xfrm>
              <a:off x="8707873" y="2420993"/>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09" name="AutoShape 246"/>
            <p:cNvSpPr>
              <a:spLocks noChangeArrowheads="1"/>
            </p:cNvSpPr>
            <p:nvPr/>
          </p:nvSpPr>
          <p:spPr bwMode="auto">
            <a:xfrm rot="16200000">
              <a:off x="8794150" y="2353460"/>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0" name="Rectangle 67"/>
            <p:cNvSpPr>
              <a:spLocks noChangeArrowheads="1"/>
            </p:cNvSpPr>
            <p:nvPr/>
          </p:nvSpPr>
          <p:spPr bwMode="auto">
            <a:xfrm>
              <a:off x="8662153" y="2556410"/>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11" name="Rectangle 12"/>
            <p:cNvSpPr>
              <a:spLocks noChangeArrowheads="1"/>
            </p:cNvSpPr>
            <p:nvPr/>
          </p:nvSpPr>
          <p:spPr bwMode="auto">
            <a:xfrm>
              <a:off x="2890850" y="2858182"/>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12" name="Rectangle 73"/>
            <p:cNvSpPr>
              <a:spLocks noChangeArrowheads="1"/>
            </p:cNvSpPr>
            <p:nvPr/>
          </p:nvSpPr>
          <p:spPr bwMode="auto">
            <a:xfrm>
              <a:off x="3606988"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3" name="AutoShape 246"/>
            <p:cNvSpPr>
              <a:spLocks noChangeArrowheads="1"/>
            </p:cNvSpPr>
            <p:nvPr/>
          </p:nvSpPr>
          <p:spPr bwMode="auto">
            <a:xfrm rot="16200000">
              <a:off x="3693265" y="2796808"/>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4" name="Rectangle 67"/>
            <p:cNvSpPr>
              <a:spLocks noChangeArrowheads="1"/>
            </p:cNvSpPr>
            <p:nvPr/>
          </p:nvSpPr>
          <p:spPr bwMode="auto">
            <a:xfrm>
              <a:off x="3561268"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15" name="Rectangle 73"/>
            <p:cNvSpPr>
              <a:spLocks noChangeArrowheads="1"/>
            </p:cNvSpPr>
            <p:nvPr/>
          </p:nvSpPr>
          <p:spPr bwMode="auto">
            <a:xfrm>
              <a:off x="5814178"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6" name="AutoShape 246"/>
            <p:cNvSpPr>
              <a:spLocks noChangeArrowheads="1"/>
            </p:cNvSpPr>
            <p:nvPr/>
          </p:nvSpPr>
          <p:spPr bwMode="auto">
            <a:xfrm rot="16200000">
              <a:off x="5900455" y="2796808"/>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7" name="Rectangle 67"/>
            <p:cNvSpPr>
              <a:spLocks noChangeArrowheads="1"/>
            </p:cNvSpPr>
            <p:nvPr/>
          </p:nvSpPr>
          <p:spPr bwMode="auto">
            <a:xfrm>
              <a:off x="5768458"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18" name="Rectangle 73"/>
            <p:cNvSpPr>
              <a:spLocks noChangeArrowheads="1"/>
            </p:cNvSpPr>
            <p:nvPr/>
          </p:nvSpPr>
          <p:spPr bwMode="auto">
            <a:xfrm>
              <a:off x="4048426" y="2864341"/>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19" name="AutoShape 246"/>
            <p:cNvSpPr>
              <a:spLocks noChangeArrowheads="1"/>
            </p:cNvSpPr>
            <p:nvPr/>
          </p:nvSpPr>
          <p:spPr bwMode="auto">
            <a:xfrm rot="16200000">
              <a:off x="4125718"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0" name="Rectangle 67"/>
            <p:cNvSpPr>
              <a:spLocks noChangeArrowheads="1"/>
            </p:cNvSpPr>
            <p:nvPr/>
          </p:nvSpPr>
          <p:spPr bwMode="auto">
            <a:xfrm>
              <a:off x="4002706"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21" name="Rectangle 73"/>
            <p:cNvSpPr>
              <a:spLocks noChangeArrowheads="1"/>
            </p:cNvSpPr>
            <p:nvPr/>
          </p:nvSpPr>
          <p:spPr bwMode="auto">
            <a:xfrm>
              <a:off x="6697057"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2" name="AutoShape 246"/>
            <p:cNvSpPr>
              <a:spLocks noChangeArrowheads="1"/>
            </p:cNvSpPr>
            <p:nvPr/>
          </p:nvSpPr>
          <p:spPr bwMode="auto">
            <a:xfrm rot="16200000">
              <a:off x="6774349"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3" name="Rectangle 67"/>
            <p:cNvSpPr>
              <a:spLocks noChangeArrowheads="1"/>
            </p:cNvSpPr>
            <p:nvPr/>
          </p:nvSpPr>
          <p:spPr bwMode="auto">
            <a:xfrm>
              <a:off x="6651337"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24" name="Rectangle 73"/>
            <p:cNvSpPr>
              <a:spLocks noChangeArrowheads="1"/>
            </p:cNvSpPr>
            <p:nvPr/>
          </p:nvSpPr>
          <p:spPr bwMode="auto">
            <a:xfrm>
              <a:off x="6255616" y="2864341"/>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5" name="AutoShape 246"/>
            <p:cNvSpPr>
              <a:spLocks noChangeArrowheads="1"/>
            </p:cNvSpPr>
            <p:nvPr/>
          </p:nvSpPr>
          <p:spPr bwMode="auto">
            <a:xfrm rot="16200000">
              <a:off x="6332908"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6" name="Rectangle 67"/>
            <p:cNvSpPr>
              <a:spLocks noChangeArrowheads="1"/>
            </p:cNvSpPr>
            <p:nvPr/>
          </p:nvSpPr>
          <p:spPr bwMode="auto">
            <a:xfrm>
              <a:off x="6209896"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27" name="Rectangle 73"/>
            <p:cNvSpPr>
              <a:spLocks noChangeArrowheads="1"/>
            </p:cNvSpPr>
            <p:nvPr/>
          </p:nvSpPr>
          <p:spPr bwMode="auto">
            <a:xfrm>
              <a:off x="4489864" y="2864341"/>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8" name="AutoShape 246"/>
            <p:cNvSpPr>
              <a:spLocks noChangeArrowheads="1"/>
            </p:cNvSpPr>
            <p:nvPr/>
          </p:nvSpPr>
          <p:spPr bwMode="auto">
            <a:xfrm rot="16200000">
              <a:off x="4567156"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29" name="Rectangle 67"/>
            <p:cNvSpPr>
              <a:spLocks noChangeArrowheads="1"/>
            </p:cNvSpPr>
            <p:nvPr/>
          </p:nvSpPr>
          <p:spPr bwMode="auto">
            <a:xfrm>
              <a:off x="4444144"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0" name="Rectangle 73"/>
            <p:cNvSpPr>
              <a:spLocks noChangeArrowheads="1"/>
            </p:cNvSpPr>
            <p:nvPr/>
          </p:nvSpPr>
          <p:spPr bwMode="auto">
            <a:xfrm>
              <a:off x="4931302"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1" name="AutoShape 246"/>
            <p:cNvSpPr>
              <a:spLocks noChangeArrowheads="1"/>
            </p:cNvSpPr>
            <p:nvPr/>
          </p:nvSpPr>
          <p:spPr bwMode="auto">
            <a:xfrm rot="16200000">
              <a:off x="5008594"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2" name="Rectangle 67"/>
            <p:cNvSpPr>
              <a:spLocks noChangeArrowheads="1"/>
            </p:cNvSpPr>
            <p:nvPr/>
          </p:nvSpPr>
          <p:spPr bwMode="auto">
            <a:xfrm>
              <a:off x="4885582"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3" name="Rectangle 73"/>
            <p:cNvSpPr>
              <a:spLocks noChangeArrowheads="1"/>
            </p:cNvSpPr>
            <p:nvPr/>
          </p:nvSpPr>
          <p:spPr bwMode="auto">
            <a:xfrm>
              <a:off x="5372740"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4" name="AutoShape 246"/>
            <p:cNvSpPr>
              <a:spLocks noChangeArrowheads="1"/>
            </p:cNvSpPr>
            <p:nvPr/>
          </p:nvSpPr>
          <p:spPr bwMode="auto">
            <a:xfrm rot="16200000">
              <a:off x="5459017" y="2796808"/>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5" name="Rectangle 67"/>
            <p:cNvSpPr>
              <a:spLocks noChangeArrowheads="1"/>
            </p:cNvSpPr>
            <p:nvPr/>
          </p:nvSpPr>
          <p:spPr bwMode="auto">
            <a:xfrm>
              <a:off x="5327020"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6" name="Rectangle 73"/>
            <p:cNvSpPr>
              <a:spLocks noChangeArrowheads="1"/>
            </p:cNvSpPr>
            <p:nvPr/>
          </p:nvSpPr>
          <p:spPr bwMode="auto">
            <a:xfrm>
              <a:off x="7260787" y="2864341"/>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7" name="AutoShape 246"/>
            <p:cNvSpPr>
              <a:spLocks noChangeArrowheads="1"/>
            </p:cNvSpPr>
            <p:nvPr/>
          </p:nvSpPr>
          <p:spPr bwMode="auto">
            <a:xfrm rot="16200000">
              <a:off x="7338079" y="2787823"/>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38" name="Rectangle 67"/>
            <p:cNvSpPr>
              <a:spLocks noChangeArrowheads="1"/>
            </p:cNvSpPr>
            <p:nvPr/>
          </p:nvSpPr>
          <p:spPr bwMode="auto">
            <a:xfrm>
              <a:off x="7215067"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39" name="Rectangle 73"/>
            <p:cNvSpPr>
              <a:spLocks noChangeArrowheads="1"/>
            </p:cNvSpPr>
            <p:nvPr/>
          </p:nvSpPr>
          <p:spPr bwMode="auto">
            <a:xfrm>
              <a:off x="8707873" y="2864341"/>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0" name="AutoShape 246"/>
            <p:cNvSpPr>
              <a:spLocks noChangeArrowheads="1"/>
            </p:cNvSpPr>
            <p:nvPr/>
          </p:nvSpPr>
          <p:spPr bwMode="auto">
            <a:xfrm rot="16200000">
              <a:off x="8794150" y="2796808"/>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1" name="Rectangle 67"/>
            <p:cNvSpPr>
              <a:spLocks noChangeArrowheads="1"/>
            </p:cNvSpPr>
            <p:nvPr/>
          </p:nvSpPr>
          <p:spPr bwMode="auto">
            <a:xfrm>
              <a:off x="8662153" y="2999758"/>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42" name="Rectangle 12"/>
            <p:cNvSpPr>
              <a:spLocks noChangeArrowheads="1"/>
            </p:cNvSpPr>
            <p:nvPr/>
          </p:nvSpPr>
          <p:spPr bwMode="auto">
            <a:xfrm>
              <a:off x="2890850" y="3301530"/>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43" name="Rectangle 73"/>
            <p:cNvSpPr>
              <a:spLocks noChangeArrowheads="1"/>
            </p:cNvSpPr>
            <p:nvPr/>
          </p:nvSpPr>
          <p:spPr bwMode="auto">
            <a:xfrm>
              <a:off x="3606988"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4" name="AutoShape 246"/>
            <p:cNvSpPr>
              <a:spLocks noChangeArrowheads="1"/>
            </p:cNvSpPr>
            <p:nvPr/>
          </p:nvSpPr>
          <p:spPr bwMode="auto">
            <a:xfrm rot="16200000">
              <a:off x="3693265"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5" name="Rectangle 67"/>
            <p:cNvSpPr>
              <a:spLocks noChangeArrowheads="1"/>
            </p:cNvSpPr>
            <p:nvPr/>
          </p:nvSpPr>
          <p:spPr bwMode="auto">
            <a:xfrm>
              <a:off x="3561268"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46" name="Rectangle 73"/>
            <p:cNvSpPr>
              <a:spLocks noChangeArrowheads="1"/>
            </p:cNvSpPr>
            <p:nvPr/>
          </p:nvSpPr>
          <p:spPr bwMode="auto">
            <a:xfrm>
              <a:off x="5814178"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7" name="AutoShape 246"/>
            <p:cNvSpPr>
              <a:spLocks noChangeArrowheads="1"/>
            </p:cNvSpPr>
            <p:nvPr/>
          </p:nvSpPr>
          <p:spPr bwMode="auto">
            <a:xfrm rot="16200000">
              <a:off x="5900455" y="3240156"/>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48" name="Rectangle 67"/>
            <p:cNvSpPr>
              <a:spLocks noChangeArrowheads="1"/>
            </p:cNvSpPr>
            <p:nvPr/>
          </p:nvSpPr>
          <p:spPr bwMode="auto">
            <a:xfrm>
              <a:off x="5768458"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49" name="Rectangle 73"/>
            <p:cNvSpPr>
              <a:spLocks noChangeArrowheads="1"/>
            </p:cNvSpPr>
            <p:nvPr/>
          </p:nvSpPr>
          <p:spPr bwMode="auto">
            <a:xfrm>
              <a:off x="4048426"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0" name="AutoShape 246"/>
            <p:cNvSpPr>
              <a:spLocks noChangeArrowheads="1"/>
            </p:cNvSpPr>
            <p:nvPr/>
          </p:nvSpPr>
          <p:spPr bwMode="auto">
            <a:xfrm rot="16200000">
              <a:off x="4125718"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1" name="Rectangle 67"/>
            <p:cNvSpPr>
              <a:spLocks noChangeArrowheads="1"/>
            </p:cNvSpPr>
            <p:nvPr/>
          </p:nvSpPr>
          <p:spPr bwMode="auto">
            <a:xfrm>
              <a:off x="4002706"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52" name="Rectangle 73"/>
            <p:cNvSpPr>
              <a:spLocks noChangeArrowheads="1"/>
            </p:cNvSpPr>
            <p:nvPr/>
          </p:nvSpPr>
          <p:spPr bwMode="auto">
            <a:xfrm>
              <a:off x="6697057" y="3307689"/>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3" name="AutoShape 246"/>
            <p:cNvSpPr>
              <a:spLocks noChangeArrowheads="1"/>
            </p:cNvSpPr>
            <p:nvPr/>
          </p:nvSpPr>
          <p:spPr bwMode="auto">
            <a:xfrm rot="16200000">
              <a:off x="6774349"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4" name="Rectangle 67"/>
            <p:cNvSpPr>
              <a:spLocks noChangeArrowheads="1"/>
            </p:cNvSpPr>
            <p:nvPr/>
          </p:nvSpPr>
          <p:spPr bwMode="auto">
            <a:xfrm>
              <a:off x="6651337"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55" name="Rectangle 73"/>
            <p:cNvSpPr>
              <a:spLocks noChangeArrowheads="1"/>
            </p:cNvSpPr>
            <p:nvPr/>
          </p:nvSpPr>
          <p:spPr bwMode="auto">
            <a:xfrm>
              <a:off x="6255616"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6" name="AutoShape 246"/>
            <p:cNvSpPr>
              <a:spLocks noChangeArrowheads="1"/>
            </p:cNvSpPr>
            <p:nvPr/>
          </p:nvSpPr>
          <p:spPr bwMode="auto">
            <a:xfrm rot="16200000">
              <a:off x="6332908"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7" name="Rectangle 67"/>
            <p:cNvSpPr>
              <a:spLocks noChangeArrowheads="1"/>
            </p:cNvSpPr>
            <p:nvPr/>
          </p:nvSpPr>
          <p:spPr bwMode="auto">
            <a:xfrm>
              <a:off x="6209896"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58" name="Rectangle 73"/>
            <p:cNvSpPr>
              <a:spLocks noChangeArrowheads="1"/>
            </p:cNvSpPr>
            <p:nvPr/>
          </p:nvSpPr>
          <p:spPr bwMode="auto">
            <a:xfrm>
              <a:off x="4489864" y="3307689"/>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59" name="AutoShape 246"/>
            <p:cNvSpPr>
              <a:spLocks noChangeArrowheads="1"/>
            </p:cNvSpPr>
            <p:nvPr/>
          </p:nvSpPr>
          <p:spPr bwMode="auto">
            <a:xfrm rot="16200000">
              <a:off x="4567156" y="3231171"/>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0" name="Rectangle 67"/>
            <p:cNvSpPr>
              <a:spLocks noChangeArrowheads="1"/>
            </p:cNvSpPr>
            <p:nvPr/>
          </p:nvSpPr>
          <p:spPr bwMode="auto">
            <a:xfrm>
              <a:off x="4444144"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61" name="Rectangle 73"/>
            <p:cNvSpPr>
              <a:spLocks noChangeArrowheads="1"/>
            </p:cNvSpPr>
            <p:nvPr/>
          </p:nvSpPr>
          <p:spPr bwMode="auto">
            <a:xfrm>
              <a:off x="4931302"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2" name="AutoShape 246"/>
            <p:cNvSpPr>
              <a:spLocks noChangeArrowheads="1"/>
            </p:cNvSpPr>
            <p:nvPr/>
          </p:nvSpPr>
          <p:spPr bwMode="auto">
            <a:xfrm rot="16200000">
              <a:off x="5017579"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3" name="Rectangle 67"/>
            <p:cNvSpPr>
              <a:spLocks noChangeArrowheads="1"/>
            </p:cNvSpPr>
            <p:nvPr/>
          </p:nvSpPr>
          <p:spPr bwMode="auto">
            <a:xfrm>
              <a:off x="4885582"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64" name="Rectangle 73"/>
            <p:cNvSpPr>
              <a:spLocks noChangeArrowheads="1"/>
            </p:cNvSpPr>
            <p:nvPr/>
          </p:nvSpPr>
          <p:spPr bwMode="auto">
            <a:xfrm>
              <a:off x="5372740" y="3307689"/>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5" name="AutoShape 246"/>
            <p:cNvSpPr>
              <a:spLocks noChangeArrowheads="1"/>
            </p:cNvSpPr>
            <p:nvPr/>
          </p:nvSpPr>
          <p:spPr bwMode="auto">
            <a:xfrm rot="16200000">
              <a:off x="5459017" y="3240156"/>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6" name="Rectangle 67"/>
            <p:cNvSpPr>
              <a:spLocks noChangeArrowheads="1"/>
            </p:cNvSpPr>
            <p:nvPr/>
          </p:nvSpPr>
          <p:spPr bwMode="auto">
            <a:xfrm>
              <a:off x="5327020" y="3443106"/>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67" name="Rectangle 12"/>
            <p:cNvSpPr>
              <a:spLocks noChangeArrowheads="1"/>
            </p:cNvSpPr>
            <p:nvPr/>
          </p:nvSpPr>
          <p:spPr bwMode="auto">
            <a:xfrm>
              <a:off x="2890850" y="3744878"/>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68" name="Rectangle 73"/>
            <p:cNvSpPr>
              <a:spLocks noChangeArrowheads="1"/>
            </p:cNvSpPr>
            <p:nvPr/>
          </p:nvSpPr>
          <p:spPr bwMode="auto">
            <a:xfrm>
              <a:off x="3606988"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69" name="AutoShape 246"/>
            <p:cNvSpPr>
              <a:spLocks noChangeArrowheads="1"/>
            </p:cNvSpPr>
            <p:nvPr/>
          </p:nvSpPr>
          <p:spPr bwMode="auto">
            <a:xfrm rot="16200000">
              <a:off x="3693265" y="3683504"/>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0" name="Rectangle 67"/>
            <p:cNvSpPr>
              <a:spLocks noChangeArrowheads="1"/>
            </p:cNvSpPr>
            <p:nvPr/>
          </p:nvSpPr>
          <p:spPr bwMode="auto">
            <a:xfrm>
              <a:off x="3561268"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71" name="Rectangle 73"/>
            <p:cNvSpPr>
              <a:spLocks noChangeArrowheads="1"/>
            </p:cNvSpPr>
            <p:nvPr/>
          </p:nvSpPr>
          <p:spPr bwMode="auto">
            <a:xfrm>
              <a:off x="4048426" y="3751037"/>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2" name="AutoShape 246"/>
            <p:cNvSpPr>
              <a:spLocks noChangeArrowheads="1"/>
            </p:cNvSpPr>
            <p:nvPr/>
          </p:nvSpPr>
          <p:spPr bwMode="auto">
            <a:xfrm rot="16200000">
              <a:off x="4125718"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3" name="Rectangle 67"/>
            <p:cNvSpPr>
              <a:spLocks noChangeArrowheads="1"/>
            </p:cNvSpPr>
            <p:nvPr/>
          </p:nvSpPr>
          <p:spPr bwMode="auto">
            <a:xfrm>
              <a:off x="4002706"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74" name="Rectangle 73"/>
            <p:cNvSpPr>
              <a:spLocks noChangeArrowheads="1"/>
            </p:cNvSpPr>
            <p:nvPr/>
          </p:nvSpPr>
          <p:spPr bwMode="auto">
            <a:xfrm>
              <a:off x="4489864"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5" name="AutoShape 246"/>
            <p:cNvSpPr>
              <a:spLocks noChangeArrowheads="1"/>
            </p:cNvSpPr>
            <p:nvPr/>
          </p:nvSpPr>
          <p:spPr bwMode="auto">
            <a:xfrm rot="16200000">
              <a:off x="4567156"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6" name="Rectangle 67"/>
            <p:cNvSpPr>
              <a:spLocks noChangeArrowheads="1"/>
            </p:cNvSpPr>
            <p:nvPr/>
          </p:nvSpPr>
          <p:spPr bwMode="auto">
            <a:xfrm>
              <a:off x="4444144"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77" name="Rectangle 73"/>
            <p:cNvSpPr>
              <a:spLocks noChangeArrowheads="1"/>
            </p:cNvSpPr>
            <p:nvPr/>
          </p:nvSpPr>
          <p:spPr bwMode="auto">
            <a:xfrm>
              <a:off x="4931302" y="3751037"/>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8" name="AutoShape 246"/>
            <p:cNvSpPr>
              <a:spLocks noChangeArrowheads="1"/>
            </p:cNvSpPr>
            <p:nvPr/>
          </p:nvSpPr>
          <p:spPr bwMode="auto">
            <a:xfrm rot="16200000">
              <a:off x="5008594"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79" name="Rectangle 67"/>
            <p:cNvSpPr>
              <a:spLocks noChangeArrowheads="1"/>
            </p:cNvSpPr>
            <p:nvPr/>
          </p:nvSpPr>
          <p:spPr bwMode="auto">
            <a:xfrm>
              <a:off x="4885582"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80" name="Rectangle 73"/>
            <p:cNvSpPr>
              <a:spLocks noChangeArrowheads="1"/>
            </p:cNvSpPr>
            <p:nvPr/>
          </p:nvSpPr>
          <p:spPr bwMode="auto">
            <a:xfrm>
              <a:off x="5372740" y="3751037"/>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1" name="AutoShape 246"/>
            <p:cNvSpPr>
              <a:spLocks noChangeArrowheads="1"/>
            </p:cNvSpPr>
            <p:nvPr/>
          </p:nvSpPr>
          <p:spPr bwMode="auto">
            <a:xfrm rot="16200000">
              <a:off x="5450032" y="3674519"/>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2" name="Rectangle 67"/>
            <p:cNvSpPr>
              <a:spLocks noChangeArrowheads="1"/>
            </p:cNvSpPr>
            <p:nvPr/>
          </p:nvSpPr>
          <p:spPr bwMode="auto">
            <a:xfrm>
              <a:off x="5327020" y="3886454"/>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83" name="Rectangle 12"/>
            <p:cNvSpPr>
              <a:spLocks noChangeArrowheads="1"/>
            </p:cNvSpPr>
            <p:nvPr/>
          </p:nvSpPr>
          <p:spPr bwMode="auto">
            <a:xfrm>
              <a:off x="2890850" y="4188225"/>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484" name="Rectangle 73"/>
            <p:cNvSpPr>
              <a:spLocks noChangeArrowheads="1"/>
            </p:cNvSpPr>
            <p:nvPr/>
          </p:nvSpPr>
          <p:spPr bwMode="auto">
            <a:xfrm>
              <a:off x="3606988" y="4194384"/>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5" name="AutoShape 246"/>
            <p:cNvSpPr>
              <a:spLocks noChangeArrowheads="1"/>
            </p:cNvSpPr>
            <p:nvPr/>
          </p:nvSpPr>
          <p:spPr bwMode="auto">
            <a:xfrm rot="16200000">
              <a:off x="3693265" y="4126851"/>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6" name="Rectangle 67"/>
            <p:cNvSpPr>
              <a:spLocks noChangeArrowheads="1"/>
            </p:cNvSpPr>
            <p:nvPr/>
          </p:nvSpPr>
          <p:spPr bwMode="auto">
            <a:xfrm>
              <a:off x="3561268" y="432980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87" name="Rectangle 73"/>
            <p:cNvSpPr>
              <a:spLocks noChangeArrowheads="1"/>
            </p:cNvSpPr>
            <p:nvPr/>
          </p:nvSpPr>
          <p:spPr bwMode="auto">
            <a:xfrm>
              <a:off x="4048426" y="4194384"/>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8" name="AutoShape 246"/>
            <p:cNvSpPr>
              <a:spLocks noChangeArrowheads="1"/>
            </p:cNvSpPr>
            <p:nvPr/>
          </p:nvSpPr>
          <p:spPr bwMode="auto">
            <a:xfrm rot="16200000">
              <a:off x="4125718" y="4117866"/>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89" name="Rectangle 67"/>
            <p:cNvSpPr>
              <a:spLocks noChangeArrowheads="1"/>
            </p:cNvSpPr>
            <p:nvPr/>
          </p:nvSpPr>
          <p:spPr bwMode="auto">
            <a:xfrm>
              <a:off x="4002706" y="432980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490" name="Rectangle 73"/>
            <p:cNvSpPr>
              <a:spLocks noChangeArrowheads="1"/>
            </p:cNvSpPr>
            <p:nvPr/>
          </p:nvSpPr>
          <p:spPr bwMode="auto">
            <a:xfrm>
              <a:off x="4489864" y="4194384"/>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91" name="AutoShape 246"/>
            <p:cNvSpPr>
              <a:spLocks noChangeArrowheads="1"/>
            </p:cNvSpPr>
            <p:nvPr/>
          </p:nvSpPr>
          <p:spPr bwMode="auto">
            <a:xfrm rot="16200000">
              <a:off x="4576141" y="4126851"/>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492" name="Rectangle 67"/>
            <p:cNvSpPr>
              <a:spLocks noChangeArrowheads="1"/>
            </p:cNvSpPr>
            <p:nvPr/>
          </p:nvSpPr>
          <p:spPr bwMode="auto">
            <a:xfrm>
              <a:off x="4444144" y="4329801"/>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cxnSp>
          <p:nvCxnSpPr>
            <p:cNvPr id="493" name="iBar:31/270"/>
            <p:cNvCxnSpPr/>
            <p:nvPr/>
          </p:nvCxnSpPr>
          <p:spPr>
            <a:xfrm>
              <a:off x="5491780" y="4893662"/>
              <a:ext cx="1161288"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4" name="TxtBox:31/270"/>
            <p:cNvSpPr/>
            <p:nvPr/>
          </p:nvSpPr>
          <p:spPr bwMode="gray">
            <a:xfrm>
              <a:off x="5491781" y="471329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495" name="iBar:31/270"/>
            <p:cNvCxnSpPr/>
            <p:nvPr/>
          </p:nvCxnSpPr>
          <p:spPr>
            <a:xfrm>
              <a:off x="3606988" y="4893662"/>
              <a:ext cx="160020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6" name="TxtBox:31/270"/>
            <p:cNvSpPr/>
            <p:nvPr/>
          </p:nvSpPr>
          <p:spPr bwMode="gray">
            <a:xfrm>
              <a:off x="3606989" y="471329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497" name="iBar:31/270"/>
            <p:cNvCxnSpPr/>
            <p:nvPr/>
          </p:nvCxnSpPr>
          <p:spPr>
            <a:xfrm>
              <a:off x="6936950" y="4893662"/>
              <a:ext cx="1170432"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98" name="TxtBox:31/270"/>
            <p:cNvSpPr/>
            <p:nvPr/>
          </p:nvSpPr>
          <p:spPr bwMode="gray">
            <a:xfrm>
              <a:off x="6936951" y="471329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cxnSp>
          <p:nvCxnSpPr>
            <p:cNvPr id="499" name="iBar:31/270"/>
            <p:cNvCxnSpPr/>
            <p:nvPr/>
          </p:nvCxnSpPr>
          <p:spPr>
            <a:xfrm>
              <a:off x="8383382" y="4893662"/>
              <a:ext cx="731520"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500" name="TxtBox:31/270"/>
            <p:cNvSpPr/>
            <p:nvPr/>
          </p:nvSpPr>
          <p:spPr bwMode="gray">
            <a:xfrm>
              <a:off x="8383383" y="4713298"/>
              <a:ext cx="464871" cy="156197"/>
            </a:xfrm>
            <a:prstGeom prst="rect">
              <a:avLst/>
            </a:prstGeom>
            <a:noFill/>
            <a:ln w="19050" algn="ctr">
              <a:noFill/>
              <a:miter lim="800000"/>
              <a:headEnd/>
              <a:tailEnd/>
            </a:ln>
          </p:spPr>
          <p:txBody>
            <a:bodyPr wrap="none" lIns="0" tIns="0" rIns="0" bIns="0" rtlCol="0" anchor="b">
              <a:spAutoFit/>
            </a:bodyPr>
            <a:lstStyle/>
            <a:p>
              <a:pPr>
                <a:lnSpc>
                  <a:spcPct val="106000"/>
                </a:lnSpc>
              </a:pPr>
              <a:r>
                <a:rPr lang="en-US" sz="1000" dirty="0"/>
                <a:t>Category</a:t>
              </a:r>
            </a:p>
          </p:txBody>
        </p:sp>
        <p:sp>
          <p:nvSpPr>
            <p:cNvPr id="501" name="Rectangle 12"/>
            <p:cNvSpPr>
              <a:spLocks noChangeArrowheads="1"/>
            </p:cNvSpPr>
            <p:nvPr/>
          </p:nvSpPr>
          <p:spPr bwMode="auto">
            <a:xfrm>
              <a:off x="2890850" y="4959461"/>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502" name="Rectangle 73"/>
            <p:cNvSpPr>
              <a:spLocks noChangeArrowheads="1"/>
            </p:cNvSpPr>
            <p:nvPr/>
          </p:nvSpPr>
          <p:spPr bwMode="auto">
            <a:xfrm>
              <a:off x="549178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3" name="AutoShape 246"/>
            <p:cNvSpPr>
              <a:spLocks noChangeArrowheads="1"/>
            </p:cNvSpPr>
            <p:nvPr/>
          </p:nvSpPr>
          <p:spPr bwMode="auto">
            <a:xfrm rot="16200000">
              <a:off x="557805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4" name="Rectangle 67"/>
            <p:cNvSpPr>
              <a:spLocks noChangeArrowheads="1"/>
            </p:cNvSpPr>
            <p:nvPr/>
          </p:nvSpPr>
          <p:spPr bwMode="auto">
            <a:xfrm>
              <a:off x="5446060"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05" name="Rectangle 73"/>
            <p:cNvSpPr>
              <a:spLocks noChangeArrowheads="1"/>
            </p:cNvSpPr>
            <p:nvPr/>
          </p:nvSpPr>
          <p:spPr bwMode="auto">
            <a:xfrm>
              <a:off x="5933218" y="4965620"/>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6" name="AutoShape 246"/>
            <p:cNvSpPr>
              <a:spLocks noChangeArrowheads="1"/>
            </p:cNvSpPr>
            <p:nvPr/>
          </p:nvSpPr>
          <p:spPr bwMode="auto">
            <a:xfrm rot="16200000">
              <a:off x="601051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7" name="Rectangle 67"/>
            <p:cNvSpPr>
              <a:spLocks noChangeArrowheads="1"/>
            </p:cNvSpPr>
            <p:nvPr/>
          </p:nvSpPr>
          <p:spPr bwMode="auto">
            <a:xfrm>
              <a:off x="5887498"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08" name="Rectangle 73"/>
            <p:cNvSpPr>
              <a:spLocks noChangeArrowheads="1"/>
            </p:cNvSpPr>
            <p:nvPr/>
          </p:nvSpPr>
          <p:spPr bwMode="auto">
            <a:xfrm>
              <a:off x="6374656"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09" name="AutoShape 246"/>
            <p:cNvSpPr>
              <a:spLocks noChangeArrowheads="1"/>
            </p:cNvSpPr>
            <p:nvPr/>
          </p:nvSpPr>
          <p:spPr bwMode="auto">
            <a:xfrm rot="16200000">
              <a:off x="6451948"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0" name="Rectangle 67"/>
            <p:cNvSpPr>
              <a:spLocks noChangeArrowheads="1"/>
            </p:cNvSpPr>
            <p:nvPr/>
          </p:nvSpPr>
          <p:spPr bwMode="auto">
            <a:xfrm>
              <a:off x="6328936"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11" name="Rectangle 73"/>
            <p:cNvSpPr>
              <a:spLocks noChangeArrowheads="1"/>
            </p:cNvSpPr>
            <p:nvPr/>
          </p:nvSpPr>
          <p:spPr bwMode="auto">
            <a:xfrm>
              <a:off x="404330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2" name="AutoShape 246"/>
            <p:cNvSpPr>
              <a:spLocks noChangeArrowheads="1"/>
            </p:cNvSpPr>
            <p:nvPr/>
          </p:nvSpPr>
          <p:spPr bwMode="auto">
            <a:xfrm rot="16200000">
              <a:off x="412957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3" name="Rectangle 67"/>
            <p:cNvSpPr>
              <a:spLocks noChangeArrowheads="1"/>
            </p:cNvSpPr>
            <p:nvPr/>
          </p:nvSpPr>
          <p:spPr bwMode="auto">
            <a:xfrm>
              <a:off x="3997580"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14" name="Rectangle 73"/>
            <p:cNvSpPr>
              <a:spLocks noChangeArrowheads="1"/>
            </p:cNvSpPr>
            <p:nvPr/>
          </p:nvSpPr>
          <p:spPr bwMode="auto">
            <a:xfrm>
              <a:off x="4926179"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5" name="AutoShape 246"/>
            <p:cNvSpPr>
              <a:spLocks noChangeArrowheads="1"/>
            </p:cNvSpPr>
            <p:nvPr/>
          </p:nvSpPr>
          <p:spPr bwMode="auto">
            <a:xfrm rot="16200000">
              <a:off x="5003471"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6" name="Rectangle 67"/>
            <p:cNvSpPr>
              <a:spLocks noChangeArrowheads="1"/>
            </p:cNvSpPr>
            <p:nvPr/>
          </p:nvSpPr>
          <p:spPr bwMode="auto">
            <a:xfrm>
              <a:off x="4880459"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17" name="Rectangle 73"/>
            <p:cNvSpPr>
              <a:spLocks noChangeArrowheads="1"/>
            </p:cNvSpPr>
            <p:nvPr/>
          </p:nvSpPr>
          <p:spPr bwMode="auto">
            <a:xfrm>
              <a:off x="4484738"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8" name="AutoShape 246"/>
            <p:cNvSpPr>
              <a:spLocks noChangeArrowheads="1"/>
            </p:cNvSpPr>
            <p:nvPr/>
          </p:nvSpPr>
          <p:spPr bwMode="auto">
            <a:xfrm rot="16200000">
              <a:off x="456203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19" name="Rectangle 67"/>
            <p:cNvSpPr>
              <a:spLocks noChangeArrowheads="1"/>
            </p:cNvSpPr>
            <p:nvPr/>
          </p:nvSpPr>
          <p:spPr bwMode="auto">
            <a:xfrm>
              <a:off x="4439018"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0" name="Rectangle 73"/>
            <p:cNvSpPr>
              <a:spLocks noChangeArrowheads="1"/>
            </p:cNvSpPr>
            <p:nvPr/>
          </p:nvSpPr>
          <p:spPr bwMode="auto">
            <a:xfrm>
              <a:off x="3601862" y="4965620"/>
              <a:ext cx="274320" cy="120510"/>
            </a:xfrm>
            <a:prstGeom prst="rect">
              <a:avLst/>
            </a:prstGeom>
            <a:solidFill>
              <a:schemeClr val="bg2"/>
            </a:solidFill>
            <a:ln w="6350">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1" name="AutoShape 246"/>
            <p:cNvSpPr>
              <a:spLocks noChangeArrowheads="1"/>
            </p:cNvSpPr>
            <p:nvPr/>
          </p:nvSpPr>
          <p:spPr bwMode="auto">
            <a:xfrm rot="16200000">
              <a:off x="3688139" y="4898087"/>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2" name="Rectangle 67"/>
            <p:cNvSpPr>
              <a:spLocks noChangeArrowheads="1"/>
            </p:cNvSpPr>
            <p:nvPr/>
          </p:nvSpPr>
          <p:spPr bwMode="auto">
            <a:xfrm>
              <a:off x="3556142"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3" name="Rectangle 73"/>
            <p:cNvSpPr>
              <a:spLocks noChangeArrowheads="1"/>
            </p:cNvSpPr>
            <p:nvPr/>
          </p:nvSpPr>
          <p:spPr bwMode="auto">
            <a:xfrm>
              <a:off x="6936950"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4" name="AutoShape 246"/>
            <p:cNvSpPr>
              <a:spLocks noChangeArrowheads="1"/>
            </p:cNvSpPr>
            <p:nvPr/>
          </p:nvSpPr>
          <p:spPr bwMode="auto">
            <a:xfrm rot="16200000">
              <a:off x="7023227"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5" name="Rectangle 67"/>
            <p:cNvSpPr>
              <a:spLocks noChangeArrowheads="1"/>
            </p:cNvSpPr>
            <p:nvPr/>
          </p:nvSpPr>
          <p:spPr bwMode="auto">
            <a:xfrm>
              <a:off x="6891230"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6" name="Rectangle 73"/>
            <p:cNvSpPr>
              <a:spLocks noChangeArrowheads="1"/>
            </p:cNvSpPr>
            <p:nvPr/>
          </p:nvSpPr>
          <p:spPr bwMode="auto">
            <a:xfrm>
              <a:off x="7378388"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7" name="AutoShape 246"/>
            <p:cNvSpPr>
              <a:spLocks noChangeArrowheads="1"/>
            </p:cNvSpPr>
            <p:nvPr/>
          </p:nvSpPr>
          <p:spPr bwMode="auto">
            <a:xfrm rot="16200000">
              <a:off x="7455680"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28" name="Rectangle 67"/>
            <p:cNvSpPr>
              <a:spLocks noChangeArrowheads="1"/>
            </p:cNvSpPr>
            <p:nvPr/>
          </p:nvSpPr>
          <p:spPr bwMode="auto">
            <a:xfrm>
              <a:off x="7332668"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29" name="Rectangle 73"/>
            <p:cNvSpPr>
              <a:spLocks noChangeArrowheads="1"/>
            </p:cNvSpPr>
            <p:nvPr/>
          </p:nvSpPr>
          <p:spPr bwMode="auto">
            <a:xfrm>
              <a:off x="7819826"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0" name="AutoShape 246"/>
            <p:cNvSpPr>
              <a:spLocks noChangeArrowheads="1"/>
            </p:cNvSpPr>
            <p:nvPr/>
          </p:nvSpPr>
          <p:spPr bwMode="auto">
            <a:xfrm rot="16200000">
              <a:off x="7897118"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1" name="Rectangle 67"/>
            <p:cNvSpPr>
              <a:spLocks noChangeArrowheads="1"/>
            </p:cNvSpPr>
            <p:nvPr/>
          </p:nvSpPr>
          <p:spPr bwMode="auto">
            <a:xfrm>
              <a:off x="7774106"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32" name="Rectangle 73"/>
            <p:cNvSpPr>
              <a:spLocks noChangeArrowheads="1"/>
            </p:cNvSpPr>
            <p:nvPr/>
          </p:nvSpPr>
          <p:spPr bwMode="auto">
            <a:xfrm>
              <a:off x="8383382" y="4965620"/>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3" name="AutoShape 246"/>
            <p:cNvSpPr>
              <a:spLocks noChangeArrowheads="1"/>
            </p:cNvSpPr>
            <p:nvPr/>
          </p:nvSpPr>
          <p:spPr bwMode="auto">
            <a:xfrm rot="16200000">
              <a:off x="8469659" y="4898087"/>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4" name="Rectangle 67"/>
            <p:cNvSpPr>
              <a:spLocks noChangeArrowheads="1"/>
            </p:cNvSpPr>
            <p:nvPr/>
          </p:nvSpPr>
          <p:spPr bwMode="auto">
            <a:xfrm>
              <a:off x="8337662"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35" name="Rectangle 73"/>
            <p:cNvSpPr>
              <a:spLocks noChangeArrowheads="1"/>
            </p:cNvSpPr>
            <p:nvPr/>
          </p:nvSpPr>
          <p:spPr bwMode="auto">
            <a:xfrm>
              <a:off x="8824820" y="4965620"/>
              <a:ext cx="274320" cy="120510"/>
            </a:xfrm>
            <a:prstGeom prst="rect">
              <a:avLst/>
            </a:prstGeom>
            <a:solidFill>
              <a:schemeClr val="bg1"/>
            </a:solidFill>
            <a:ln w="6350">
              <a:solidFill>
                <a:srgbClr val="BBBCBC"/>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6" name="AutoShape 246"/>
            <p:cNvSpPr>
              <a:spLocks noChangeArrowheads="1"/>
            </p:cNvSpPr>
            <p:nvPr/>
          </p:nvSpPr>
          <p:spPr bwMode="auto">
            <a:xfrm rot="16200000">
              <a:off x="8902112" y="4889102"/>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37" name="Rectangle 67"/>
            <p:cNvSpPr>
              <a:spLocks noChangeArrowheads="1"/>
            </p:cNvSpPr>
            <p:nvPr/>
          </p:nvSpPr>
          <p:spPr bwMode="auto">
            <a:xfrm>
              <a:off x="8779100" y="51010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38" name="Rectangle 12"/>
            <p:cNvSpPr>
              <a:spLocks noChangeArrowheads="1"/>
            </p:cNvSpPr>
            <p:nvPr/>
          </p:nvSpPr>
          <p:spPr bwMode="auto">
            <a:xfrm>
              <a:off x="2890850" y="5398679"/>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539" name="Rectangle 73"/>
            <p:cNvSpPr>
              <a:spLocks noChangeArrowheads="1"/>
            </p:cNvSpPr>
            <p:nvPr/>
          </p:nvSpPr>
          <p:spPr bwMode="auto">
            <a:xfrm>
              <a:off x="5491780"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0" name="AutoShape 246"/>
            <p:cNvSpPr>
              <a:spLocks noChangeArrowheads="1"/>
            </p:cNvSpPr>
            <p:nvPr/>
          </p:nvSpPr>
          <p:spPr bwMode="auto">
            <a:xfrm rot="16200000">
              <a:off x="5578057" y="5337305"/>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1" name="Rectangle 67"/>
            <p:cNvSpPr>
              <a:spLocks noChangeArrowheads="1"/>
            </p:cNvSpPr>
            <p:nvPr/>
          </p:nvSpPr>
          <p:spPr bwMode="auto">
            <a:xfrm>
              <a:off x="5446060"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42" name="Rectangle 73"/>
            <p:cNvSpPr>
              <a:spLocks noChangeArrowheads="1"/>
            </p:cNvSpPr>
            <p:nvPr/>
          </p:nvSpPr>
          <p:spPr bwMode="auto">
            <a:xfrm>
              <a:off x="5933218"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3" name="AutoShape 246"/>
            <p:cNvSpPr>
              <a:spLocks noChangeArrowheads="1"/>
            </p:cNvSpPr>
            <p:nvPr/>
          </p:nvSpPr>
          <p:spPr bwMode="auto">
            <a:xfrm rot="16200000">
              <a:off x="6010510"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4" name="Rectangle 67"/>
            <p:cNvSpPr>
              <a:spLocks noChangeArrowheads="1"/>
            </p:cNvSpPr>
            <p:nvPr/>
          </p:nvSpPr>
          <p:spPr bwMode="auto">
            <a:xfrm>
              <a:off x="5887498"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45" name="Rectangle 73"/>
            <p:cNvSpPr>
              <a:spLocks noChangeArrowheads="1"/>
            </p:cNvSpPr>
            <p:nvPr/>
          </p:nvSpPr>
          <p:spPr bwMode="auto">
            <a:xfrm>
              <a:off x="4043300"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6" name="AutoShape 246"/>
            <p:cNvSpPr>
              <a:spLocks noChangeArrowheads="1"/>
            </p:cNvSpPr>
            <p:nvPr/>
          </p:nvSpPr>
          <p:spPr bwMode="auto">
            <a:xfrm rot="16200000">
              <a:off x="4129577" y="5337305"/>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7" name="Rectangle 67"/>
            <p:cNvSpPr>
              <a:spLocks noChangeArrowheads="1"/>
            </p:cNvSpPr>
            <p:nvPr/>
          </p:nvSpPr>
          <p:spPr bwMode="auto">
            <a:xfrm>
              <a:off x="3997580"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48" name="Rectangle 73"/>
            <p:cNvSpPr>
              <a:spLocks noChangeArrowheads="1"/>
            </p:cNvSpPr>
            <p:nvPr/>
          </p:nvSpPr>
          <p:spPr bwMode="auto">
            <a:xfrm>
              <a:off x="4926179"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49" name="AutoShape 246"/>
            <p:cNvSpPr>
              <a:spLocks noChangeArrowheads="1"/>
            </p:cNvSpPr>
            <p:nvPr/>
          </p:nvSpPr>
          <p:spPr bwMode="auto">
            <a:xfrm rot="16200000">
              <a:off x="5003471"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0" name="Rectangle 67"/>
            <p:cNvSpPr>
              <a:spLocks noChangeArrowheads="1"/>
            </p:cNvSpPr>
            <p:nvPr/>
          </p:nvSpPr>
          <p:spPr bwMode="auto">
            <a:xfrm>
              <a:off x="4880459"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51" name="Rectangle 73"/>
            <p:cNvSpPr>
              <a:spLocks noChangeArrowheads="1"/>
            </p:cNvSpPr>
            <p:nvPr/>
          </p:nvSpPr>
          <p:spPr bwMode="auto">
            <a:xfrm>
              <a:off x="4484738" y="5404838"/>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2" name="AutoShape 246"/>
            <p:cNvSpPr>
              <a:spLocks noChangeArrowheads="1"/>
            </p:cNvSpPr>
            <p:nvPr/>
          </p:nvSpPr>
          <p:spPr bwMode="auto">
            <a:xfrm rot="16200000">
              <a:off x="4562030"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3" name="Rectangle 67"/>
            <p:cNvSpPr>
              <a:spLocks noChangeArrowheads="1"/>
            </p:cNvSpPr>
            <p:nvPr/>
          </p:nvSpPr>
          <p:spPr bwMode="auto">
            <a:xfrm>
              <a:off x="4439018"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54" name="Rectangle 73"/>
            <p:cNvSpPr>
              <a:spLocks noChangeArrowheads="1"/>
            </p:cNvSpPr>
            <p:nvPr/>
          </p:nvSpPr>
          <p:spPr bwMode="auto">
            <a:xfrm>
              <a:off x="3601862" y="5404838"/>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5" name="AutoShape 246"/>
            <p:cNvSpPr>
              <a:spLocks noChangeArrowheads="1"/>
            </p:cNvSpPr>
            <p:nvPr/>
          </p:nvSpPr>
          <p:spPr bwMode="auto">
            <a:xfrm rot="16200000">
              <a:off x="3679154"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6" name="Rectangle 67"/>
            <p:cNvSpPr>
              <a:spLocks noChangeArrowheads="1"/>
            </p:cNvSpPr>
            <p:nvPr/>
          </p:nvSpPr>
          <p:spPr bwMode="auto">
            <a:xfrm>
              <a:off x="3556142"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57" name="Rectangle 73"/>
            <p:cNvSpPr>
              <a:spLocks noChangeArrowheads="1"/>
            </p:cNvSpPr>
            <p:nvPr/>
          </p:nvSpPr>
          <p:spPr bwMode="auto">
            <a:xfrm>
              <a:off x="6936950"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8" name="AutoShape 246"/>
            <p:cNvSpPr>
              <a:spLocks noChangeArrowheads="1"/>
            </p:cNvSpPr>
            <p:nvPr/>
          </p:nvSpPr>
          <p:spPr bwMode="auto">
            <a:xfrm rot="16200000">
              <a:off x="7014242"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59" name="Rectangle 67"/>
            <p:cNvSpPr>
              <a:spLocks noChangeArrowheads="1"/>
            </p:cNvSpPr>
            <p:nvPr/>
          </p:nvSpPr>
          <p:spPr bwMode="auto">
            <a:xfrm>
              <a:off x="6891230"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0" name="Rectangle 73"/>
            <p:cNvSpPr>
              <a:spLocks noChangeArrowheads="1"/>
            </p:cNvSpPr>
            <p:nvPr/>
          </p:nvSpPr>
          <p:spPr bwMode="auto">
            <a:xfrm>
              <a:off x="7378388" y="5404838"/>
              <a:ext cx="274320" cy="120510"/>
            </a:xfrm>
            <a:prstGeom prst="rect">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1" name="AutoShape 246"/>
            <p:cNvSpPr>
              <a:spLocks noChangeArrowheads="1"/>
            </p:cNvSpPr>
            <p:nvPr/>
          </p:nvSpPr>
          <p:spPr bwMode="auto">
            <a:xfrm rot="16200000">
              <a:off x="7464665" y="5337305"/>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2" name="Rectangle 67"/>
            <p:cNvSpPr>
              <a:spLocks noChangeArrowheads="1"/>
            </p:cNvSpPr>
            <p:nvPr/>
          </p:nvSpPr>
          <p:spPr bwMode="auto">
            <a:xfrm>
              <a:off x="7332668"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3" name="Rectangle 73"/>
            <p:cNvSpPr>
              <a:spLocks noChangeArrowheads="1"/>
            </p:cNvSpPr>
            <p:nvPr/>
          </p:nvSpPr>
          <p:spPr bwMode="auto">
            <a:xfrm>
              <a:off x="7819826"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4" name="AutoShape 246"/>
            <p:cNvSpPr>
              <a:spLocks noChangeArrowheads="1"/>
            </p:cNvSpPr>
            <p:nvPr/>
          </p:nvSpPr>
          <p:spPr bwMode="auto">
            <a:xfrm rot="16200000">
              <a:off x="7897118"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5" name="Rectangle 67"/>
            <p:cNvSpPr>
              <a:spLocks noChangeArrowheads="1"/>
            </p:cNvSpPr>
            <p:nvPr/>
          </p:nvSpPr>
          <p:spPr bwMode="auto">
            <a:xfrm>
              <a:off x="7774106"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6" name="Rectangle 73"/>
            <p:cNvSpPr>
              <a:spLocks noChangeArrowheads="1"/>
            </p:cNvSpPr>
            <p:nvPr/>
          </p:nvSpPr>
          <p:spPr bwMode="auto">
            <a:xfrm>
              <a:off x="8383382" y="5404838"/>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7" name="AutoShape 246"/>
            <p:cNvSpPr>
              <a:spLocks noChangeArrowheads="1"/>
            </p:cNvSpPr>
            <p:nvPr/>
          </p:nvSpPr>
          <p:spPr bwMode="auto">
            <a:xfrm rot="16200000">
              <a:off x="8460674" y="5328320"/>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68" name="Rectangle 67"/>
            <p:cNvSpPr>
              <a:spLocks noChangeArrowheads="1"/>
            </p:cNvSpPr>
            <p:nvPr/>
          </p:nvSpPr>
          <p:spPr bwMode="auto">
            <a:xfrm>
              <a:off x="8337662" y="5540255"/>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69" name="Rectangle 12"/>
            <p:cNvSpPr>
              <a:spLocks noChangeArrowheads="1"/>
            </p:cNvSpPr>
            <p:nvPr/>
          </p:nvSpPr>
          <p:spPr bwMode="auto">
            <a:xfrm>
              <a:off x="2890850" y="5837897"/>
              <a:ext cx="644195" cy="153888"/>
            </a:xfrm>
            <a:prstGeom prst="rect">
              <a:avLst/>
            </a:prstGeom>
            <a:noFill/>
            <a:ln w="9525">
              <a:noFill/>
              <a:miter lim="800000"/>
              <a:headEnd/>
              <a:tailEnd/>
            </a:ln>
          </p:spPr>
          <p:txBody>
            <a:bodyPr wrap="square" lIns="0" tIns="0" rIns="0" bIns="0" anchor="ctr">
              <a:spAutoFit/>
            </a:bodyPr>
            <a:lstStyle/>
            <a:p>
              <a:pPr algn="r" eaLnBrk="1" hangingPunct="1">
                <a:spcBef>
                  <a:spcPct val="20000"/>
                </a:spcBef>
              </a:pPr>
              <a:r>
                <a:rPr lang="en-GB" altLang="ja-JP" sz="1000" dirty="0">
                  <a:ea typeface="ＭＳ Ｐゴシック" charset="-128"/>
                  <a:cs typeface="Arial" pitchFamily="34" charset="0"/>
                </a:rPr>
                <a:t>Row header</a:t>
              </a:r>
            </a:p>
          </p:txBody>
        </p:sp>
        <p:sp>
          <p:nvSpPr>
            <p:cNvPr id="570" name="Rectangle 73"/>
            <p:cNvSpPr>
              <a:spLocks noChangeArrowheads="1"/>
            </p:cNvSpPr>
            <p:nvPr/>
          </p:nvSpPr>
          <p:spPr bwMode="auto">
            <a:xfrm>
              <a:off x="5491780" y="5844056"/>
              <a:ext cx="274320" cy="120510"/>
            </a:xfrm>
            <a:prstGeom prst="rect">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1" name="AutoShape 246"/>
            <p:cNvSpPr>
              <a:spLocks noChangeArrowheads="1"/>
            </p:cNvSpPr>
            <p:nvPr/>
          </p:nvSpPr>
          <p:spPr bwMode="auto">
            <a:xfrm rot="16200000">
              <a:off x="5569072" y="5767538"/>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2" name="Rectangle 67"/>
            <p:cNvSpPr>
              <a:spLocks noChangeArrowheads="1"/>
            </p:cNvSpPr>
            <p:nvPr/>
          </p:nvSpPr>
          <p:spPr bwMode="auto">
            <a:xfrm>
              <a:off x="5446060" y="597947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73" name="Rectangle 73"/>
            <p:cNvSpPr>
              <a:spLocks noChangeArrowheads="1"/>
            </p:cNvSpPr>
            <p:nvPr/>
          </p:nvSpPr>
          <p:spPr bwMode="auto">
            <a:xfrm>
              <a:off x="4043300" y="5844056"/>
              <a:ext cx="274320" cy="120510"/>
            </a:xfrm>
            <a:prstGeom prst="rect">
              <a:avLst/>
            </a:prstGeom>
            <a:solidFill>
              <a:schemeClr val="bg2"/>
            </a:solidFill>
            <a:ln w="6350">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4" name="AutoShape 246"/>
            <p:cNvSpPr>
              <a:spLocks noChangeArrowheads="1"/>
            </p:cNvSpPr>
            <p:nvPr/>
          </p:nvSpPr>
          <p:spPr bwMode="auto">
            <a:xfrm rot="16200000">
              <a:off x="4129577" y="5776523"/>
              <a:ext cx="120054" cy="256032"/>
            </a:xfrm>
            <a:prstGeom prst="rtTriangle">
              <a:avLst/>
            </a:prstGeom>
            <a:solidFill>
              <a:schemeClr val="bg2">
                <a:lumMod val="75000"/>
              </a:schemeClr>
            </a:solidFill>
            <a:ln w="9525">
              <a:solidFill>
                <a:schemeClr val="bg2">
                  <a:lumMod val="75000"/>
                </a:schemeClr>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5" name="Rectangle 67"/>
            <p:cNvSpPr>
              <a:spLocks noChangeArrowheads="1"/>
            </p:cNvSpPr>
            <p:nvPr/>
          </p:nvSpPr>
          <p:spPr bwMode="auto">
            <a:xfrm>
              <a:off x="3997580" y="597947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76" name="Rectangle 73"/>
            <p:cNvSpPr>
              <a:spLocks noChangeArrowheads="1"/>
            </p:cNvSpPr>
            <p:nvPr/>
          </p:nvSpPr>
          <p:spPr bwMode="auto">
            <a:xfrm>
              <a:off x="3601862" y="5844056"/>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7" name="AutoShape 246"/>
            <p:cNvSpPr>
              <a:spLocks noChangeArrowheads="1"/>
            </p:cNvSpPr>
            <p:nvPr/>
          </p:nvSpPr>
          <p:spPr bwMode="auto">
            <a:xfrm rot="16200000">
              <a:off x="3679154" y="5767538"/>
              <a:ext cx="120054" cy="274002"/>
            </a:xfrm>
            <a:prstGeom prst="rtTriangle">
              <a:avLst/>
            </a:prstGeom>
            <a:noFill/>
            <a:ln w="12700">
              <a:no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78" name="Rectangle 67"/>
            <p:cNvSpPr>
              <a:spLocks noChangeArrowheads="1"/>
            </p:cNvSpPr>
            <p:nvPr/>
          </p:nvSpPr>
          <p:spPr bwMode="auto">
            <a:xfrm>
              <a:off x="3556142" y="5979473"/>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sp>
          <p:nvSpPr>
            <p:cNvPr id="579" name="Rectangle 73"/>
            <p:cNvSpPr>
              <a:spLocks noChangeArrowheads="1"/>
            </p:cNvSpPr>
            <p:nvPr/>
          </p:nvSpPr>
          <p:spPr bwMode="auto">
            <a:xfrm>
              <a:off x="6936950" y="5844056"/>
              <a:ext cx="274320" cy="120510"/>
            </a:xfrm>
            <a:prstGeom prst="rect">
              <a:avLst/>
            </a:prstGeom>
            <a:solidFill>
              <a:schemeClr val="accent3"/>
            </a:solidFill>
            <a:ln w="9525">
              <a:solidFill>
                <a:schemeClr val="accent3"/>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80" name="AutoShape 246"/>
            <p:cNvSpPr>
              <a:spLocks noChangeArrowheads="1"/>
            </p:cNvSpPr>
            <p:nvPr/>
          </p:nvSpPr>
          <p:spPr bwMode="auto">
            <a:xfrm rot="16200000">
              <a:off x="7023227" y="5776523"/>
              <a:ext cx="120054" cy="256032"/>
            </a:xfrm>
            <a:prstGeom prst="rtTriangle">
              <a:avLst/>
            </a:prstGeom>
            <a:solidFill>
              <a:schemeClr val="bg2"/>
            </a:solidFill>
            <a:ln w="9525">
              <a:solidFill>
                <a:schemeClr val="bg2"/>
              </a:solidFill>
              <a:miter lim="800000"/>
              <a:headEnd/>
              <a:tailEnd/>
            </a:ln>
          </p:spPr>
          <p:txBody>
            <a:bodyPr wrap="none" anchor="t"/>
            <a:lstStyle/>
            <a:p>
              <a:pPr algn="ctr" eaLnBrk="1" hangingPunct="1">
                <a:spcBef>
                  <a:spcPct val="20000"/>
                </a:spcBef>
              </a:pPr>
              <a:endParaRPr lang="en-GB" sz="500" dirty="0">
                <a:cs typeface="Arial" pitchFamily="34" charset="0"/>
              </a:endParaRPr>
            </a:p>
          </p:txBody>
        </p:sp>
        <p:sp>
          <p:nvSpPr>
            <p:cNvPr id="581" name="Rectangle 67"/>
            <p:cNvSpPr>
              <a:spLocks noChangeArrowheads="1"/>
            </p:cNvSpPr>
            <p:nvPr/>
          </p:nvSpPr>
          <p:spPr bwMode="auto">
            <a:xfrm>
              <a:off x="6891230" y="5970237"/>
              <a:ext cx="365760" cy="123111"/>
            </a:xfrm>
            <a:prstGeom prst="rect">
              <a:avLst/>
            </a:prstGeom>
            <a:noFill/>
            <a:ln w="9525">
              <a:noFill/>
              <a:miter lim="800000"/>
              <a:headEnd/>
              <a:tailEnd/>
            </a:ln>
          </p:spPr>
          <p:txBody>
            <a:bodyPr lIns="0" tIns="0" rIns="0" bIns="0" anchor="t" anchorCtr="0">
              <a:spAutoFit/>
            </a:bodyPr>
            <a:lstStyle/>
            <a:p>
              <a:pPr algn="ctr" eaLnBrk="1" hangingPunct="1">
                <a:spcBef>
                  <a:spcPct val="20000"/>
                </a:spcBef>
              </a:pPr>
              <a:r>
                <a:rPr lang="en-GB" altLang="ja-JP" sz="800" dirty="0">
                  <a:ea typeface="ＭＳ Ｐゴシック" charset="-128"/>
                  <a:cs typeface="Arial" pitchFamily="34" charset="0"/>
                </a:rPr>
                <a:t>Item</a:t>
              </a:r>
            </a:p>
          </p:txBody>
        </p:sp>
      </p:grpSp>
    </p:spTree>
    <p:extLst>
      <p:ext uri="{BB962C8B-B14F-4D97-AF65-F5344CB8AC3E}">
        <p14:creationId xmlns:p14="http://schemas.microsoft.com/office/powerpoint/2010/main" val="2549388961"/>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ynergy analysis</a:t>
            </a:r>
            <a:endParaRPr lang="en-US" dirty="0"/>
          </a:p>
        </p:txBody>
      </p:sp>
      <p:sp>
        <p:nvSpPr>
          <p:cNvPr id="784385" name="Title 1"/>
          <p:cNvSpPr>
            <a:spLocks noGrp="1"/>
          </p:cNvSpPr>
          <p:nvPr>
            <p:ph type="title"/>
          </p:nvPr>
        </p:nvSpPr>
        <p:spPr/>
        <p:txBody>
          <a:bodyPr/>
          <a:lstStyle/>
          <a:p>
            <a:r>
              <a:rPr lang="en-US" altLang="ja-JP"/>
              <a:t>Activity map</a:t>
            </a:r>
            <a:endParaRPr lang="en-US" dirty="0"/>
          </a:p>
        </p:txBody>
      </p:sp>
      <p:sp>
        <p:nvSpPr>
          <p:cNvPr id="784390" name="Text Box 6"/>
          <p:cNvSpPr txBox="1">
            <a:spLocks noChangeArrowheads="1"/>
          </p:cNvSpPr>
          <p:nvPr/>
        </p:nvSpPr>
        <p:spPr bwMode="auto">
          <a:xfrm>
            <a:off x="4472459" y="6045653"/>
            <a:ext cx="554639"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Advantaged</a:t>
            </a:r>
          </a:p>
        </p:txBody>
      </p:sp>
      <p:sp>
        <p:nvSpPr>
          <p:cNvPr id="784391" name="Text Box 7"/>
          <p:cNvSpPr txBox="1">
            <a:spLocks noChangeArrowheads="1"/>
          </p:cNvSpPr>
          <p:nvPr/>
        </p:nvSpPr>
        <p:spPr bwMode="auto">
          <a:xfrm>
            <a:off x="6969264" y="6045653"/>
            <a:ext cx="684483"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Disadvantaged</a:t>
            </a:r>
          </a:p>
        </p:txBody>
      </p:sp>
      <p:sp>
        <p:nvSpPr>
          <p:cNvPr id="784484" name="Text Box 100"/>
          <p:cNvSpPr txBox="1">
            <a:spLocks noChangeArrowheads="1"/>
          </p:cNvSpPr>
          <p:nvPr/>
        </p:nvSpPr>
        <p:spPr bwMode="auto">
          <a:xfrm>
            <a:off x="8522239" y="6031557"/>
            <a:ext cx="535403"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No position</a:t>
            </a:r>
          </a:p>
        </p:txBody>
      </p:sp>
      <p:grpSp>
        <p:nvGrpSpPr>
          <p:cNvPr id="7" name="Group 6"/>
          <p:cNvGrpSpPr/>
          <p:nvPr/>
        </p:nvGrpSpPr>
        <p:grpSpPr>
          <a:xfrm>
            <a:off x="6370657" y="6014646"/>
            <a:ext cx="530225" cy="215900"/>
            <a:chOff x="6283737" y="6130925"/>
            <a:chExt cx="530225" cy="215900"/>
          </a:xfrm>
        </p:grpSpPr>
        <p:sp>
          <p:nvSpPr>
            <p:cNvPr id="98" name="Rectangle 97"/>
            <p:cNvSpPr>
              <a:spLocks noChangeArrowheads="1"/>
            </p:cNvSpPr>
            <p:nvPr/>
          </p:nvSpPr>
          <p:spPr bwMode="auto">
            <a:xfrm>
              <a:off x="6550437" y="6130925"/>
              <a:ext cx="263525" cy="215900"/>
            </a:xfrm>
            <a:prstGeom prst="rect">
              <a:avLst/>
            </a:prstGeom>
            <a:solidFill>
              <a:schemeClr val="bg2">
                <a:lumMod val="75000"/>
              </a:schemeClr>
            </a:solidFill>
            <a:ln w="9525">
              <a:solidFill>
                <a:schemeClr val="tx2"/>
              </a:solidFill>
              <a:miter lim="800000"/>
              <a:headEnd type="none" w="sm" len="sm"/>
              <a:tailEnd type="none" w="sm" len="sm"/>
            </a:ln>
          </p:spPr>
          <p:txBody>
            <a:bodyPr wrap="none" anchor="ctr"/>
            <a:lstStyle/>
            <a:p>
              <a:pPr algn="ctr">
                <a:defRPr/>
              </a:pPr>
              <a:r>
                <a:rPr lang="en-US" sz="900" dirty="0"/>
                <a:t>B</a:t>
              </a:r>
            </a:p>
          </p:txBody>
        </p:sp>
        <p:sp>
          <p:nvSpPr>
            <p:cNvPr id="103" name="Rectangle 102"/>
            <p:cNvSpPr>
              <a:spLocks noChangeArrowheads="1"/>
            </p:cNvSpPr>
            <p:nvPr/>
          </p:nvSpPr>
          <p:spPr bwMode="auto">
            <a:xfrm>
              <a:off x="6283737" y="6130925"/>
              <a:ext cx="266700" cy="215900"/>
            </a:xfrm>
            <a:prstGeom prst="rect">
              <a:avLst/>
            </a:prstGeom>
            <a:solidFill>
              <a:schemeClr val="bg2">
                <a:lumMod val="75000"/>
              </a:schemeClr>
            </a:solidFill>
            <a:ln w="9525">
              <a:solidFill>
                <a:schemeClr val="tx2"/>
              </a:solidFill>
              <a:miter lim="800000"/>
              <a:headEnd type="none" w="sm" len="sm"/>
              <a:tailEnd type="none" w="sm" len="sm"/>
            </a:ln>
          </p:spPr>
          <p:txBody>
            <a:bodyPr wrap="none" anchor="ctr"/>
            <a:lstStyle/>
            <a:p>
              <a:pPr algn="ctr">
                <a:defRPr/>
              </a:pPr>
              <a:r>
                <a:rPr lang="en-US" sz="900" dirty="0"/>
                <a:t>A</a:t>
              </a:r>
            </a:p>
          </p:txBody>
        </p:sp>
      </p:grpSp>
      <p:grpSp>
        <p:nvGrpSpPr>
          <p:cNvPr id="8" name="Group 7"/>
          <p:cNvGrpSpPr/>
          <p:nvPr/>
        </p:nvGrpSpPr>
        <p:grpSpPr>
          <a:xfrm>
            <a:off x="7923630" y="6014646"/>
            <a:ext cx="530225" cy="215900"/>
            <a:chOff x="7514168" y="6133511"/>
            <a:chExt cx="530225" cy="215900"/>
          </a:xfrm>
        </p:grpSpPr>
        <p:sp>
          <p:nvSpPr>
            <p:cNvPr id="100" name="Rectangle 99"/>
            <p:cNvSpPr>
              <a:spLocks noChangeArrowheads="1"/>
            </p:cNvSpPr>
            <p:nvPr/>
          </p:nvSpPr>
          <p:spPr bwMode="auto">
            <a:xfrm>
              <a:off x="7780868" y="6133511"/>
              <a:ext cx="263525" cy="215900"/>
            </a:xfrm>
            <a:prstGeom prst="rect">
              <a:avLst/>
            </a:prstGeom>
            <a:solidFill>
              <a:schemeClr val="bg1"/>
            </a:solidFill>
            <a:ln w="9525">
              <a:solidFill>
                <a:schemeClr val="tx2"/>
              </a:solidFill>
              <a:prstDash val="solid"/>
              <a:miter lim="800000"/>
              <a:headEnd type="none" w="sm" len="sm"/>
              <a:tailEnd type="none" w="sm" len="sm"/>
            </a:ln>
          </p:spPr>
          <p:txBody>
            <a:bodyPr wrap="none" anchor="ctr"/>
            <a:lstStyle/>
            <a:p>
              <a:pPr algn="ctr">
                <a:defRPr/>
              </a:pPr>
              <a:r>
                <a:rPr lang="en-US" sz="900" dirty="0"/>
                <a:t>B</a:t>
              </a:r>
            </a:p>
          </p:txBody>
        </p:sp>
        <p:sp>
          <p:nvSpPr>
            <p:cNvPr id="104" name="Rectangle 103"/>
            <p:cNvSpPr>
              <a:spLocks noChangeArrowheads="1"/>
            </p:cNvSpPr>
            <p:nvPr/>
          </p:nvSpPr>
          <p:spPr bwMode="auto">
            <a:xfrm>
              <a:off x="7514168" y="6133511"/>
              <a:ext cx="266700" cy="215900"/>
            </a:xfrm>
            <a:prstGeom prst="rect">
              <a:avLst/>
            </a:prstGeom>
            <a:solidFill>
              <a:schemeClr val="bg1"/>
            </a:solidFill>
            <a:ln w="9525">
              <a:solidFill>
                <a:schemeClr val="tx2"/>
              </a:solidFill>
              <a:prstDash val="solid"/>
              <a:miter lim="800000"/>
              <a:headEnd type="none" w="sm" len="sm"/>
              <a:tailEnd type="none" w="sm" len="sm"/>
            </a:ln>
          </p:spPr>
          <p:txBody>
            <a:bodyPr wrap="none" anchor="ctr"/>
            <a:lstStyle/>
            <a:p>
              <a:pPr algn="ctr">
                <a:defRPr/>
              </a:pPr>
              <a:r>
                <a:rPr lang="en-US" sz="900" dirty="0"/>
                <a:t>A</a:t>
              </a:r>
            </a:p>
          </p:txBody>
        </p:sp>
      </p:grpSp>
      <p:grpSp>
        <p:nvGrpSpPr>
          <p:cNvPr id="6" name="Group 5"/>
          <p:cNvGrpSpPr/>
          <p:nvPr/>
        </p:nvGrpSpPr>
        <p:grpSpPr>
          <a:xfrm>
            <a:off x="5255304" y="6014646"/>
            <a:ext cx="530225" cy="215900"/>
            <a:chOff x="5152521" y="6130925"/>
            <a:chExt cx="530225" cy="215900"/>
          </a:xfrm>
        </p:grpSpPr>
        <p:sp>
          <p:nvSpPr>
            <p:cNvPr id="102" name="Rectangle 101"/>
            <p:cNvSpPr>
              <a:spLocks noChangeArrowheads="1"/>
            </p:cNvSpPr>
            <p:nvPr/>
          </p:nvSpPr>
          <p:spPr bwMode="auto">
            <a:xfrm>
              <a:off x="5419221" y="6130925"/>
              <a:ext cx="263525" cy="215900"/>
            </a:xfrm>
            <a:prstGeom prst="rect">
              <a:avLst/>
            </a:prstGeom>
            <a:solidFill>
              <a:schemeClr val="bg2">
                <a:lumMod val="40000"/>
                <a:lumOff val="60000"/>
              </a:schemeClr>
            </a:solidFill>
            <a:ln w="9525">
              <a:solidFill>
                <a:schemeClr val="tx2"/>
              </a:solidFill>
              <a:miter lim="800000"/>
              <a:headEnd type="none" w="sm" len="sm"/>
              <a:tailEnd type="none" w="sm" len="sm"/>
            </a:ln>
          </p:spPr>
          <p:txBody>
            <a:bodyPr wrap="none" anchor="ctr"/>
            <a:lstStyle/>
            <a:p>
              <a:pPr algn="ctr">
                <a:defRPr/>
              </a:pPr>
              <a:r>
                <a:rPr lang="en-US" sz="900" dirty="0"/>
                <a:t>B</a:t>
              </a:r>
            </a:p>
          </p:txBody>
        </p:sp>
        <p:sp>
          <p:nvSpPr>
            <p:cNvPr id="105" name="Rectangle 104"/>
            <p:cNvSpPr>
              <a:spLocks noChangeArrowheads="1"/>
            </p:cNvSpPr>
            <p:nvPr/>
          </p:nvSpPr>
          <p:spPr bwMode="auto">
            <a:xfrm>
              <a:off x="5152521" y="6130925"/>
              <a:ext cx="266700" cy="215900"/>
            </a:xfrm>
            <a:prstGeom prst="rect">
              <a:avLst/>
            </a:prstGeom>
            <a:solidFill>
              <a:schemeClr val="bg2">
                <a:lumMod val="40000"/>
                <a:lumOff val="60000"/>
              </a:schemeClr>
            </a:solidFill>
            <a:ln w="9525">
              <a:solidFill>
                <a:schemeClr val="tx2"/>
              </a:solidFill>
              <a:miter lim="800000"/>
              <a:headEnd type="none" w="sm" len="sm"/>
              <a:tailEnd type="none" w="sm" len="sm"/>
            </a:ln>
          </p:spPr>
          <p:txBody>
            <a:bodyPr wrap="none" anchor="ctr"/>
            <a:lstStyle/>
            <a:p>
              <a:pPr algn="ctr">
                <a:defRPr/>
              </a:pPr>
              <a:r>
                <a:rPr lang="en-US" sz="900" dirty="0"/>
                <a:t>A</a:t>
              </a:r>
            </a:p>
          </p:txBody>
        </p:sp>
      </p:grpSp>
      <p:sp>
        <p:nvSpPr>
          <p:cNvPr id="784490" name="Text Box 106"/>
          <p:cNvSpPr txBox="1">
            <a:spLocks noChangeArrowheads="1"/>
          </p:cNvSpPr>
          <p:nvPr/>
        </p:nvSpPr>
        <p:spPr bwMode="auto">
          <a:xfrm>
            <a:off x="5853911" y="6045653"/>
            <a:ext cx="349455" cy="138499"/>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900" dirty="0">
                <a:ea typeface="ＭＳ Ｐゴシック" charset="-128"/>
              </a:rPr>
              <a:t>Neutral</a:t>
            </a:r>
          </a:p>
        </p:txBody>
      </p:sp>
      <p:grpSp>
        <p:nvGrpSpPr>
          <p:cNvPr id="4" name="Group 3"/>
          <p:cNvGrpSpPr/>
          <p:nvPr/>
        </p:nvGrpSpPr>
        <p:grpSpPr>
          <a:xfrm>
            <a:off x="3875440" y="6014646"/>
            <a:ext cx="528637" cy="215900"/>
            <a:chOff x="3774762" y="6130925"/>
            <a:chExt cx="528637" cy="215900"/>
          </a:xfrm>
        </p:grpSpPr>
        <p:sp>
          <p:nvSpPr>
            <p:cNvPr id="97" name="Rectangle 96"/>
            <p:cNvSpPr>
              <a:spLocks noChangeArrowheads="1"/>
            </p:cNvSpPr>
            <p:nvPr/>
          </p:nvSpPr>
          <p:spPr bwMode="auto">
            <a:xfrm>
              <a:off x="4039874" y="6130925"/>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r>
                <a:rPr lang="en-US" sz="900" dirty="0"/>
                <a:t>B</a:t>
              </a:r>
            </a:p>
          </p:txBody>
        </p:sp>
        <p:sp>
          <p:nvSpPr>
            <p:cNvPr id="127" name="Rectangle 126"/>
            <p:cNvSpPr>
              <a:spLocks noChangeArrowheads="1"/>
            </p:cNvSpPr>
            <p:nvPr/>
          </p:nvSpPr>
          <p:spPr bwMode="auto">
            <a:xfrm>
              <a:off x="3774762" y="6130925"/>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r>
                <a:rPr lang="en-US" sz="900" dirty="0"/>
                <a:t>A	</a:t>
              </a:r>
            </a:p>
          </p:txBody>
        </p:sp>
      </p:grpSp>
      <p:grpSp>
        <p:nvGrpSpPr>
          <p:cNvPr id="10" name="Group 9">
            <a:extLst>
              <a:ext uri="{FF2B5EF4-FFF2-40B4-BE49-F238E27FC236}">
                <a16:creationId xmlns:a16="http://schemas.microsoft.com/office/drawing/2014/main" id="{2736EEB1-AB7C-4071-923D-4210BB0D0C74}"/>
              </a:ext>
            </a:extLst>
          </p:cNvPr>
          <p:cNvGrpSpPr/>
          <p:nvPr/>
        </p:nvGrpSpPr>
        <p:grpSpPr>
          <a:xfrm>
            <a:off x="501650" y="1976438"/>
            <a:ext cx="10733909" cy="3662391"/>
            <a:chOff x="3251187" y="1976438"/>
            <a:chExt cx="7984372" cy="3662391"/>
          </a:xfrm>
        </p:grpSpPr>
        <p:grpSp>
          <p:nvGrpSpPr>
            <p:cNvPr id="2" name="Group 1">
              <a:extLst>
                <a:ext uri="{FF2B5EF4-FFF2-40B4-BE49-F238E27FC236}">
                  <a16:creationId xmlns:a16="http://schemas.microsoft.com/office/drawing/2014/main" id="{83DFA4E9-F01D-4CDE-A7F3-38BFC6852DBE}"/>
                </a:ext>
              </a:extLst>
            </p:cNvPr>
            <p:cNvGrpSpPr/>
            <p:nvPr/>
          </p:nvGrpSpPr>
          <p:grpSpPr>
            <a:xfrm>
              <a:off x="4083034" y="1976438"/>
              <a:ext cx="7152525" cy="3662391"/>
              <a:chOff x="3553258" y="1976438"/>
              <a:chExt cx="5425362" cy="3662391"/>
            </a:xfrm>
          </p:grpSpPr>
          <p:sp>
            <p:nvSpPr>
              <p:cNvPr id="119" name="Rounded Rectangle 118"/>
              <p:cNvSpPr>
                <a:spLocks noChangeArrowheads="1"/>
              </p:cNvSpPr>
              <p:nvPr/>
            </p:nvSpPr>
            <p:spPr bwMode="auto">
              <a:xfrm>
                <a:off x="5475652" y="246730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28" name="Rounded Rectangle 127"/>
              <p:cNvSpPr>
                <a:spLocks noChangeArrowheads="1"/>
              </p:cNvSpPr>
              <p:nvPr/>
            </p:nvSpPr>
            <p:spPr bwMode="auto">
              <a:xfrm>
                <a:off x="3553258"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29" name="Rounded Rectangle 128"/>
              <p:cNvSpPr>
                <a:spLocks noChangeArrowheads="1"/>
              </p:cNvSpPr>
              <p:nvPr/>
            </p:nvSpPr>
            <p:spPr bwMode="auto">
              <a:xfrm>
                <a:off x="4474541"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30" name="Rounded Rectangle 129"/>
              <p:cNvSpPr>
                <a:spLocks noChangeArrowheads="1"/>
              </p:cNvSpPr>
              <p:nvPr/>
            </p:nvSpPr>
            <p:spPr bwMode="auto">
              <a:xfrm>
                <a:off x="6408836"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32" name="Rounded Rectangle 131"/>
              <p:cNvSpPr>
                <a:spLocks noChangeArrowheads="1"/>
              </p:cNvSpPr>
              <p:nvPr/>
            </p:nvSpPr>
            <p:spPr bwMode="auto">
              <a:xfrm>
                <a:off x="7396108"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33" name="Rounded Rectangle 132"/>
              <p:cNvSpPr>
                <a:spLocks noChangeArrowheads="1"/>
              </p:cNvSpPr>
              <p:nvPr/>
            </p:nvSpPr>
            <p:spPr bwMode="auto">
              <a:xfrm>
                <a:off x="8338540" y="4638164"/>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50" name="Rounded Rectangle 149"/>
              <p:cNvSpPr>
                <a:spLocks noChangeArrowheads="1"/>
              </p:cNvSpPr>
              <p:nvPr/>
            </p:nvSpPr>
            <p:spPr bwMode="auto">
              <a:xfrm>
                <a:off x="6408837"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57" name="Rounded Rectangle 156"/>
              <p:cNvSpPr>
                <a:spLocks noChangeArrowheads="1"/>
              </p:cNvSpPr>
              <p:nvPr/>
            </p:nvSpPr>
            <p:spPr bwMode="auto">
              <a:xfrm>
                <a:off x="7396109"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158" name="Rounded Rectangle 157"/>
              <p:cNvSpPr>
                <a:spLocks noChangeArrowheads="1"/>
              </p:cNvSpPr>
              <p:nvPr/>
            </p:nvSpPr>
            <p:spPr bwMode="auto">
              <a:xfrm>
                <a:off x="5475652"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47" name="Rectangle 46"/>
              <p:cNvSpPr>
                <a:spLocks noChangeArrowheads="1"/>
              </p:cNvSpPr>
              <p:nvPr/>
            </p:nvSpPr>
            <p:spPr bwMode="auto">
              <a:xfrm>
                <a:off x="3593982" y="1976438"/>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8" name="Rectangle 47"/>
              <p:cNvSpPr>
                <a:spLocks noChangeArrowheads="1"/>
              </p:cNvSpPr>
              <p:nvPr/>
            </p:nvSpPr>
            <p:spPr bwMode="auto">
              <a:xfrm>
                <a:off x="4524257" y="1976438"/>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1" name="Rectangle 50"/>
              <p:cNvSpPr>
                <a:spLocks noChangeArrowheads="1"/>
              </p:cNvSpPr>
              <p:nvPr/>
            </p:nvSpPr>
            <p:spPr bwMode="auto">
              <a:xfrm>
                <a:off x="5521207"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2" name="Rectangle 51"/>
              <p:cNvSpPr>
                <a:spLocks noChangeArrowheads="1"/>
              </p:cNvSpPr>
              <p:nvPr/>
            </p:nvSpPr>
            <p:spPr bwMode="auto">
              <a:xfrm>
                <a:off x="6451482" y="1976438"/>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1" name="Rectangle 70"/>
              <p:cNvSpPr>
                <a:spLocks noChangeArrowheads="1"/>
              </p:cNvSpPr>
              <p:nvPr/>
            </p:nvSpPr>
            <p:spPr bwMode="auto">
              <a:xfrm>
                <a:off x="3859095" y="1976438"/>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2" name="Rectangle 71"/>
              <p:cNvSpPr>
                <a:spLocks noChangeArrowheads="1"/>
              </p:cNvSpPr>
              <p:nvPr/>
            </p:nvSpPr>
            <p:spPr bwMode="auto">
              <a:xfrm>
                <a:off x="4789370" y="197643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3" name="Rectangle 72"/>
              <p:cNvSpPr>
                <a:spLocks noChangeArrowheads="1"/>
              </p:cNvSpPr>
              <p:nvPr/>
            </p:nvSpPr>
            <p:spPr bwMode="auto">
              <a:xfrm>
                <a:off x="5787907"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4" name="Rectangle 73"/>
              <p:cNvSpPr>
                <a:spLocks noChangeArrowheads="1"/>
              </p:cNvSpPr>
              <p:nvPr/>
            </p:nvSpPr>
            <p:spPr bwMode="auto">
              <a:xfrm>
                <a:off x="6718182" y="197643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7" name="Rectangle 17"/>
              <p:cNvSpPr>
                <a:spLocks noChangeArrowheads="1"/>
              </p:cNvSpPr>
              <p:nvPr/>
            </p:nvSpPr>
            <p:spPr bwMode="auto">
              <a:xfrm>
                <a:off x="4524257" y="22543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5" name="Rectangle 17"/>
              <p:cNvSpPr>
                <a:spLocks noChangeArrowheads="1"/>
              </p:cNvSpPr>
              <p:nvPr/>
            </p:nvSpPr>
            <p:spPr bwMode="auto">
              <a:xfrm>
                <a:off x="3593982" y="22543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3" name="Rectangle 17"/>
              <p:cNvSpPr>
                <a:spLocks noChangeArrowheads="1"/>
              </p:cNvSpPr>
              <p:nvPr/>
            </p:nvSpPr>
            <p:spPr bwMode="auto">
              <a:xfrm>
                <a:off x="5521207" y="22543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1" name="Rectangle 17"/>
              <p:cNvSpPr>
                <a:spLocks noChangeArrowheads="1"/>
              </p:cNvSpPr>
              <p:nvPr/>
            </p:nvSpPr>
            <p:spPr bwMode="auto">
              <a:xfrm>
                <a:off x="6451482" y="22543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55" name="Rectangle 54"/>
              <p:cNvSpPr>
                <a:spLocks noChangeArrowheads="1"/>
              </p:cNvSpPr>
              <p:nvPr/>
            </p:nvSpPr>
            <p:spPr bwMode="auto">
              <a:xfrm>
                <a:off x="3593982" y="2519052"/>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6" name="Rectangle 55"/>
              <p:cNvSpPr>
                <a:spLocks noChangeArrowheads="1"/>
              </p:cNvSpPr>
              <p:nvPr/>
            </p:nvSpPr>
            <p:spPr bwMode="auto">
              <a:xfrm>
                <a:off x="4524257" y="2519052"/>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59" name="Rectangle 58"/>
              <p:cNvSpPr>
                <a:spLocks noChangeArrowheads="1"/>
              </p:cNvSpPr>
              <p:nvPr/>
            </p:nvSpPr>
            <p:spPr bwMode="auto">
              <a:xfrm>
                <a:off x="5521207" y="2519052"/>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0" name="Rectangle 59"/>
              <p:cNvSpPr>
                <a:spLocks noChangeArrowheads="1"/>
              </p:cNvSpPr>
              <p:nvPr/>
            </p:nvSpPr>
            <p:spPr bwMode="auto">
              <a:xfrm>
                <a:off x="6451482" y="2519052"/>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5" name="Rectangle 74"/>
              <p:cNvSpPr>
                <a:spLocks noChangeArrowheads="1"/>
              </p:cNvSpPr>
              <p:nvPr/>
            </p:nvSpPr>
            <p:spPr bwMode="auto">
              <a:xfrm>
                <a:off x="3859095" y="2519052"/>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6" name="Rectangle 75"/>
              <p:cNvSpPr>
                <a:spLocks noChangeArrowheads="1"/>
              </p:cNvSpPr>
              <p:nvPr/>
            </p:nvSpPr>
            <p:spPr bwMode="auto">
              <a:xfrm>
                <a:off x="4789370" y="2519052"/>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7" name="Rectangle 76"/>
              <p:cNvSpPr>
                <a:spLocks noChangeArrowheads="1"/>
              </p:cNvSpPr>
              <p:nvPr/>
            </p:nvSpPr>
            <p:spPr bwMode="auto">
              <a:xfrm>
                <a:off x="5787907" y="2519052"/>
                <a:ext cx="265112"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78" name="Rectangle 77"/>
              <p:cNvSpPr>
                <a:spLocks noChangeArrowheads="1"/>
              </p:cNvSpPr>
              <p:nvPr/>
            </p:nvSpPr>
            <p:spPr bwMode="auto">
              <a:xfrm>
                <a:off x="6718182" y="2519052"/>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6" name="Rectangle 17"/>
              <p:cNvSpPr>
                <a:spLocks noChangeArrowheads="1"/>
              </p:cNvSpPr>
              <p:nvPr/>
            </p:nvSpPr>
            <p:spPr bwMode="auto">
              <a:xfrm>
                <a:off x="4524257" y="279617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4" name="Rectangle 17"/>
              <p:cNvSpPr>
                <a:spLocks noChangeArrowheads="1"/>
              </p:cNvSpPr>
              <p:nvPr/>
            </p:nvSpPr>
            <p:spPr bwMode="auto">
              <a:xfrm>
                <a:off x="3593982" y="279617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2" name="Rectangle 17"/>
              <p:cNvSpPr>
                <a:spLocks noChangeArrowheads="1"/>
              </p:cNvSpPr>
              <p:nvPr/>
            </p:nvSpPr>
            <p:spPr bwMode="auto">
              <a:xfrm>
                <a:off x="5521207" y="279617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0" name="Rectangle 17"/>
              <p:cNvSpPr>
                <a:spLocks noChangeArrowheads="1"/>
              </p:cNvSpPr>
              <p:nvPr/>
            </p:nvSpPr>
            <p:spPr bwMode="auto">
              <a:xfrm>
                <a:off x="6451482" y="279617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24" name="Rectangle 23"/>
              <p:cNvSpPr>
                <a:spLocks noChangeArrowheads="1"/>
              </p:cNvSpPr>
              <p:nvPr/>
            </p:nvSpPr>
            <p:spPr bwMode="auto">
              <a:xfrm>
                <a:off x="3593982" y="3061666"/>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25" name="Rectangle 24"/>
              <p:cNvSpPr>
                <a:spLocks noChangeArrowheads="1"/>
              </p:cNvSpPr>
              <p:nvPr/>
            </p:nvSpPr>
            <p:spPr bwMode="auto">
              <a:xfrm>
                <a:off x="4524257" y="3061666"/>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37" name="Rectangle 36"/>
              <p:cNvSpPr>
                <a:spLocks noChangeArrowheads="1"/>
              </p:cNvSpPr>
              <p:nvPr/>
            </p:nvSpPr>
            <p:spPr bwMode="auto">
              <a:xfrm>
                <a:off x="5519620" y="3061666"/>
                <a:ext cx="265113" cy="215900"/>
              </a:xfrm>
              <a:prstGeom prst="rect">
                <a:avLst/>
              </a:prstGeom>
              <a:solidFill>
                <a:schemeClr val="accent3"/>
              </a:solidFill>
              <a:ln w="9525">
                <a:solidFill>
                  <a:schemeClr val="tx2"/>
                </a:solidFill>
                <a:miter lim="800000"/>
                <a:headEnd type="none" w="sm" len="sm"/>
                <a:tailEnd type="none" w="sm" len="sm"/>
              </a:ln>
            </p:spPr>
            <p:txBody>
              <a:bodyPr wrap="none" anchor="ctr"/>
              <a:lstStyle/>
              <a:p>
                <a:pPr algn="ctr">
                  <a:defRPr/>
                </a:pPr>
                <a:endParaRPr lang="en-US" sz="900" dirty="0"/>
              </a:p>
            </p:txBody>
          </p:sp>
          <p:sp>
            <p:nvSpPr>
              <p:cNvPr id="61" name="Rectangle 60"/>
              <p:cNvSpPr>
                <a:spLocks noChangeArrowheads="1"/>
              </p:cNvSpPr>
              <p:nvPr/>
            </p:nvSpPr>
            <p:spPr bwMode="auto">
              <a:xfrm>
                <a:off x="3859095" y="3061666"/>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2" name="Rectangle 61"/>
              <p:cNvSpPr>
                <a:spLocks noChangeArrowheads="1"/>
              </p:cNvSpPr>
              <p:nvPr/>
            </p:nvSpPr>
            <p:spPr bwMode="auto">
              <a:xfrm>
                <a:off x="4789370" y="3061666"/>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5" name="Rectangle 64"/>
              <p:cNvSpPr>
                <a:spLocks noChangeArrowheads="1"/>
              </p:cNvSpPr>
              <p:nvPr/>
            </p:nvSpPr>
            <p:spPr bwMode="auto">
              <a:xfrm>
                <a:off x="5786320" y="3061666"/>
                <a:ext cx="265113" cy="215900"/>
              </a:xfrm>
              <a:prstGeom prst="rect">
                <a:avLst/>
              </a:prstGeom>
              <a:solidFill>
                <a:schemeClr val="bg2">
                  <a:lumMod val="40000"/>
                  <a:lumOff val="60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5" name="Rectangle 17"/>
              <p:cNvSpPr>
                <a:spLocks noChangeArrowheads="1"/>
              </p:cNvSpPr>
              <p:nvPr/>
            </p:nvSpPr>
            <p:spPr bwMode="auto">
              <a:xfrm>
                <a:off x="4524257" y="333799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3" name="Rectangle 17"/>
              <p:cNvSpPr>
                <a:spLocks noChangeArrowheads="1"/>
              </p:cNvSpPr>
              <p:nvPr/>
            </p:nvSpPr>
            <p:spPr bwMode="auto">
              <a:xfrm>
                <a:off x="3593982" y="333799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1" name="Rectangle 17"/>
              <p:cNvSpPr>
                <a:spLocks noChangeArrowheads="1"/>
              </p:cNvSpPr>
              <p:nvPr/>
            </p:nvSpPr>
            <p:spPr bwMode="auto">
              <a:xfrm>
                <a:off x="5521207" y="333799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38" name="Rectangle 37"/>
              <p:cNvSpPr>
                <a:spLocks noChangeArrowheads="1"/>
              </p:cNvSpPr>
              <p:nvPr/>
            </p:nvSpPr>
            <p:spPr bwMode="auto">
              <a:xfrm>
                <a:off x="4524257" y="3604280"/>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5" name="Rectangle 44"/>
              <p:cNvSpPr>
                <a:spLocks noChangeArrowheads="1"/>
              </p:cNvSpPr>
              <p:nvPr/>
            </p:nvSpPr>
            <p:spPr bwMode="auto">
              <a:xfrm>
                <a:off x="3593982" y="3604280"/>
                <a:ext cx="265112" cy="215900"/>
              </a:xfrm>
              <a:prstGeom prst="rect">
                <a:avLst/>
              </a:prstGeom>
              <a:solidFill>
                <a:schemeClr val="bg2"/>
              </a:solidFill>
              <a:ln w="9525">
                <a:solidFill>
                  <a:schemeClr val="tx2"/>
                </a:solidFill>
                <a:miter lim="800000"/>
                <a:headEnd type="none" w="sm" len="sm"/>
                <a:tailEnd type="none" w="sm" len="sm"/>
              </a:ln>
            </p:spPr>
            <p:txBody>
              <a:bodyPr wrap="none" anchor="ctr"/>
              <a:lstStyle/>
              <a:p>
                <a:pPr algn="ctr">
                  <a:defRPr/>
                </a:pPr>
                <a:endParaRPr lang="en-US" sz="900" dirty="0"/>
              </a:p>
            </p:txBody>
          </p:sp>
          <p:sp>
            <p:nvSpPr>
              <p:cNvPr id="116" name="Rectangle 115"/>
              <p:cNvSpPr>
                <a:spLocks noChangeArrowheads="1"/>
              </p:cNvSpPr>
              <p:nvPr/>
            </p:nvSpPr>
            <p:spPr bwMode="auto">
              <a:xfrm>
                <a:off x="3859095" y="3604280"/>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7" name="Rectangle 116"/>
              <p:cNvSpPr>
                <a:spLocks noChangeArrowheads="1"/>
              </p:cNvSpPr>
              <p:nvPr/>
            </p:nvSpPr>
            <p:spPr bwMode="auto">
              <a:xfrm>
                <a:off x="4789370" y="3604280"/>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4" name="Rectangle 17"/>
              <p:cNvSpPr>
                <a:spLocks noChangeArrowheads="1"/>
              </p:cNvSpPr>
              <p:nvPr/>
            </p:nvSpPr>
            <p:spPr bwMode="auto">
              <a:xfrm>
                <a:off x="4524257" y="387981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2" name="Rectangle 17"/>
              <p:cNvSpPr>
                <a:spLocks noChangeArrowheads="1"/>
              </p:cNvSpPr>
              <p:nvPr/>
            </p:nvSpPr>
            <p:spPr bwMode="auto">
              <a:xfrm>
                <a:off x="3593982" y="387981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784401" name="Rectangle 17"/>
              <p:cNvSpPr>
                <a:spLocks noChangeArrowheads="1"/>
              </p:cNvSpPr>
              <p:nvPr/>
            </p:nvSpPr>
            <p:spPr bwMode="auto">
              <a:xfrm>
                <a:off x="4524257" y="442163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33" name="Rectangle 32"/>
              <p:cNvSpPr>
                <a:spLocks noChangeArrowheads="1"/>
              </p:cNvSpPr>
              <p:nvPr/>
            </p:nvSpPr>
            <p:spPr bwMode="auto">
              <a:xfrm>
                <a:off x="3593982" y="4146894"/>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39" name="Rectangle 38"/>
              <p:cNvSpPr>
                <a:spLocks noChangeArrowheads="1"/>
              </p:cNvSpPr>
              <p:nvPr/>
            </p:nvSpPr>
            <p:spPr bwMode="auto">
              <a:xfrm>
                <a:off x="4524257" y="4146894"/>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5" name="Rectangle 114"/>
              <p:cNvSpPr>
                <a:spLocks noChangeArrowheads="1"/>
              </p:cNvSpPr>
              <p:nvPr/>
            </p:nvSpPr>
            <p:spPr bwMode="auto">
              <a:xfrm>
                <a:off x="3859095" y="4146894"/>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8" name="Rectangle 117"/>
              <p:cNvSpPr>
                <a:spLocks noChangeArrowheads="1"/>
              </p:cNvSpPr>
              <p:nvPr/>
            </p:nvSpPr>
            <p:spPr bwMode="auto">
              <a:xfrm>
                <a:off x="4789370" y="4146894"/>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41" name="Rectangle 17"/>
              <p:cNvSpPr>
                <a:spLocks noChangeArrowheads="1"/>
              </p:cNvSpPr>
              <p:nvPr/>
            </p:nvSpPr>
            <p:spPr bwMode="auto">
              <a:xfrm>
                <a:off x="3593982" y="442163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84" name="Rectangle 83"/>
              <p:cNvSpPr>
                <a:spLocks noChangeArrowheads="1"/>
              </p:cNvSpPr>
              <p:nvPr/>
            </p:nvSpPr>
            <p:spPr bwMode="auto">
              <a:xfrm>
                <a:off x="3593982" y="4689508"/>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5" name="Rectangle 84"/>
              <p:cNvSpPr>
                <a:spLocks noChangeArrowheads="1"/>
              </p:cNvSpPr>
              <p:nvPr/>
            </p:nvSpPr>
            <p:spPr bwMode="auto">
              <a:xfrm>
                <a:off x="4524257" y="4689508"/>
                <a:ext cx="265112"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6" name="Rectangle 85"/>
              <p:cNvSpPr>
                <a:spLocks noChangeArrowheads="1"/>
              </p:cNvSpPr>
              <p:nvPr/>
            </p:nvSpPr>
            <p:spPr bwMode="auto">
              <a:xfrm>
                <a:off x="5519620"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8" name="Rectangle 87"/>
              <p:cNvSpPr>
                <a:spLocks noChangeArrowheads="1"/>
              </p:cNvSpPr>
              <p:nvPr/>
            </p:nvSpPr>
            <p:spPr bwMode="auto">
              <a:xfrm>
                <a:off x="6449895"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89" name="Rectangle 88"/>
              <p:cNvSpPr>
                <a:spLocks noChangeArrowheads="1"/>
              </p:cNvSpPr>
              <p:nvPr/>
            </p:nvSpPr>
            <p:spPr bwMode="auto">
              <a:xfrm>
                <a:off x="7450019" y="4689508"/>
                <a:ext cx="266700"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0" name="Rectangle 89"/>
              <p:cNvSpPr>
                <a:spLocks noChangeArrowheads="1"/>
              </p:cNvSpPr>
              <p:nvPr/>
            </p:nvSpPr>
            <p:spPr bwMode="auto">
              <a:xfrm>
                <a:off x="8380295" y="4689508"/>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1" name="Rectangle 90"/>
              <p:cNvSpPr>
                <a:spLocks noChangeArrowheads="1"/>
              </p:cNvSpPr>
              <p:nvPr/>
            </p:nvSpPr>
            <p:spPr bwMode="auto">
              <a:xfrm>
                <a:off x="3859095" y="4689508"/>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2" name="Rectangle 91"/>
              <p:cNvSpPr>
                <a:spLocks noChangeArrowheads="1"/>
              </p:cNvSpPr>
              <p:nvPr/>
            </p:nvSpPr>
            <p:spPr bwMode="auto">
              <a:xfrm>
                <a:off x="4789370" y="468950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3" name="Rectangle 92"/>
              <p:cNvSpPr>
                <a:spLocks noChangeArrowheads="1"/>
              </p:cNvSpPr>
              <p:nvPr/>
            </p:nvSpPr>
            <p:spPr bwMode="auto">
              <a:xfrm>
                <a:off x="5786320" y="4689508"/>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4" name="Rectangle 93"/>
              <p:cNvSpPr>
                <a:spLocks noChangeArrowheads="1"/>
              </p:cNvSpPr>
              <p:nvPr/>
            </p:nvSpPr>
            <p:spPr bwMode="auto">
              <a:xfrm>
                <a:off x="6716595" y="4689508"/>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5" name="Rectangle 94"/>
              <p:cNvSpPr>
                <a:spLocks noChangeArrowheads="1"/>
              </p:cNvSpPr>
              <p:nvPr/>
            </p:nvSpPr>
            <p:spPr bwMode="auto">
              <a:xfrm>
                <a:off x="7716720" y="4689508"/>
                <a:ext cx="263525"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96" name="Rectangle 95"/>
              <p:cNvSpPr>
                <a:spLocks noChangeArrowheads="1"/>
              </p:cNvSpPr>
              <p:nvPr/>
            </p:nvSpPr>
            <p:spPr bwMode="auto">
              <a:xfrm>
                <a:off x="8645407" y="4689508"/>
                <a:ext cx="265112"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8" name="Rectangle 17"/>
              <p:cNvSpPr>
                <a:spLocks noChangeArrowheads="1"/>
              </p:cNvSpPr>
              <p:nvPr/>
            </p:nvSpPr>
            <p:spPr bwMode="auto">
              <a:xfrm>
                <a:off x="4524257"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6" name="Rectangle 17"/>
              <p:cNvSpPr>
                <a:spLocks noChangeArrowheads="1"/>
              </p:cNvSpPr>
              <p:nvPr/>
            </p:nvSpPr>
            <p:spPr bwMode="auto">
              <a:xfrm>
                <a:off x="3593982"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4" name="Rectangle 17"/>
              <p:cNvSpPr>
                <a:spLocks noChangeArrowheads="1"/>
              </p:cNvSpPr>
              <p:nvPr/>
            </p:nvSpPr>
            <p:spPr bwMode="auto">
              <a:xfrm>
                <a:off x="5521207"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2" name="Rectangle 17"/>
              <p:cNvSpPr>
                <a:spLocks noChangeArrowheads="1"/>
              </p:cNvSpPr>
              <p:nvPr/>
            </p:nvSpPr>
            <p:spPr bwMode="auto">
              <a:xfrm>
                <a:off x="6451482"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5" name="Rectangle 17"/>
              <p:cNvSpPr>
                <a:spLocks noChangeArrowheads="1"/>
              </p:cNvSpPr>
              <p:nvPr/>
            </p:nvSpPr>
            <p:spPr bwMode="auto">
              <a:xfrm>
                <a:off x="7450019"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7" name="Rectangle 17"/>
              <p:cNvSpPr>
                <a:spLocks noChangeArrowheads="1"/>
              </p:cNvSpPr>
              <p:nvPr/>
            </p:nvSpPr>
            <p:spPr bwMode="auto">
              <a:xfrm>
                <a:off x="8380294" y="4963451"/>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9" name="Rounded Rectangle 148"/>
              <p:cNvSpPr>
                <a:spLocks noChangeArrowheads="1"/>
              </p:cNvSpPr>
              <p:nvPr/>
            </p:nvSpPr>
            <p:spPr bwMode="auto">
              <a:xfrm>
                <a:off x="4474542" y="5181629"/>
                <a:ext cx="640080" cy="457200"/>
              </a:xfrm>
              <a:prstGeom prst="roundRect">
                <a:avLst/>
              </a:prstGeom>
              <a:noFill/>
              <a:ln w="19050">
                <a:solidFill>
                  <a:schemeClr val="accent1"/>
                </a:solidFill>
                <a:round/>
                <a:headEnd type="none" w="sm" len="sm"/>
                <a:tailEnd type="none" w="med" len="lg"/>
              </a:ln>
            </p:spPr>
            <p:txBody>
              <a:bodyPr wrap="none" anchor="ctr"/>
              <a:lstStyle/>
              <a:p>
                <a:pPr algn="ctr">
                  <a:defRPr/>
                </a:pPr>
                <a:endParaRPr lang="en-US" sz="900" dirty="0"/>
              </a:p>
            </p:txBody>
          </p:sp>
          <p:sp>
            <p:nvSpPr>
              <p:cNvPr id="26" name="Rectangle 25"/>
              <p:cNvSpPr>
                <a:spLocks noChangeArrowheads="1"/>
              </p:cNvSpPr>
              <p:nvPr/>
            </p:nvSpPr>
            <p:spPr bwMode="auto">
              <a:xfrm>
                <a:off x="3593982"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0" name="Rectangle 39"/>
              <p:cNvSpPr>
                <a:spLocks noChangeArrowheads="1"/>
              </p:cNvSpPr>
              <p:nvPr/>
            </p:nvSpPr>
            <p:spPr bwMode="auto">
              <a:xfrm>
                <a:off x="4524257"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1" name="Rectangle 40"/>
              <p:cNvSpPr>
                <a:spLocks noChangeArrowheads="1"/>
              </p:cNvSpPr>
              <p:nvPr/>
            </p:nvSpPr>
            <p:spPr bwMode="auto">
              <a:xfrm>
                <a:off x="5519620" y="5232119"/>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42" name="Rectangle 41"/>
              <p:cNvSpPr>
                <a:spLocks noChangeArrowheads="1"/>
              </p:cNvSpPr>
              <p:nvPr/>
            </p:nvSpPr>
            <p:spPr bwMode="auto">
              <a:xfrm>
                <a:off x="6449895" y="5232119"/>
                <a:ext cx="265113"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3" name="Rectangle 62"/>
              <p:cNvSpPr>
                <a:spLocks noChangeArrowheads="1"/>
              </p:cNvSpPr>
              <p:nvPr/>
            </p:nvSpPr>
            <p:spPr bwMode="auto">
              <a:xfrm>
                <a:off x="3859095" y="5232119"/>
                <a:ext cx="265113"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6" name="Rectangle 65"/>
              <p:cNvSpPr>
                <a:spLocks noChangeArrowheads="1"/>
              </p:cNvSpPr>
              <p:nvPr/>
            </p:nvSpPr>
            <p:spPr bwMode="auto">
              <a:xfrm>
                <a:off x="4789370" y="5232119"/>
                <a:ext cx="265113" cy="215900"/>
              </a:xfrm>
              <a:prstGeom prst="rect">
                <a:avLst/>
              </a:prstGeom>
              <a:solidFill>
                <a:schemeClr val="bg2"/>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67" name="Rectangle 66"/>
              <p:cNvSpPr>
                <a:spLocks noChangeArrowheads="1"/>
              </p:cNvSpPr>
              <p:nvPr/>
            </p:nvSpPr>
            <p:spPr bwMode="auto">
              <a:xfrm>
                <a:off x="5786320" y="5232119"/>
                <a:ext cx="265113" cy="215900"/>
              </a:xfrm>
              <a:prstGeom prst="rect">
                <a:avLst/>
              </a:prstGeom>
              <a:solidFill>
                <a:schemeClr val="bg2"/>
              </a:solidFill>
              <a:ln w="9525">
                <a:solidFill>
                  <a:schemeClr val="tx2"/>
                </a:solidFill>
                <a:miter lim="800000"/>
                <a:headEnd type="none" w="sm" len="sm"/>
                <a:tailEnd type="none" w="sm" len="sm"/>
              </a:ln>
            </p:spPr>
            <p:txBody>
              <a:bodyPr wrap="none" anchor="ctr"/>
              <a:lstStyle/>
              <a:p>
                <a:pPr algn="ctr">
                  <a:defRPr/>
                </a:pPr>
                <a:endParaRPr lang="en-US" sz="900" dirty="0"/>
              </a:p>
            </p:txBody>
          </p:sp>
          <p:sp>
            <p:nvSpPr>
              <p:cNvPr id="68" name="Rectangle 67"/>
              <p:cNvSpPr>
                <a:spLocks noChangeArrowheads="1"/>
              </p:cNvSpPr>
              <p:nvPr/>
            </p:nvSpPr>
            <p:spPr bwMode="auto">
              <a:xfrm>
                <a:off x="6716595" y="5232119"/>
                <a:ext cx="265113" cy="215900"/>
              </a:xfrm>
              <a:prstGeom prst="rect">
                <a:avLst/>
              </a:prstGeom>
              <a:solidFill>
                <a:schemeClr val="bg2">
                  <a:lumMod val="75000"/>
                </a:schemeClr>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09" name="Rectangle 108"/>
              <p:cNvSpPr>
                <a:spLocks noChangeArrowheads="1"/>
              </p:cNvSpPr>
              <p:nvPr/>
            </p:nvSpPr>
            <p:spPr bwMode="auto">
              <a:xfrm>
                <a:off x="7450019" y="5232119"/>
                <a:ext cx="266700"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0" name="Rectangle 109"/>
              <p:cNvSpPr>
                <a:spLocks noChangeArrowheads="1"/>
              </p:cNvSpPr>
              <p:nvPr/>
            </p:nvSpPr>
            <p:spPr bwMode="auto">
              <a:xfrm>
                <a:off x="7716719" y="5232119"/>
                <a:ext cx="266700"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2" name="Rectangle 111"/>
              <p:cNvSpPr>
                <a:spLocks noChangeArrowheads="1"/>
              </p:cNvSpPr>
              <p:nvPr/>
            </p:nvSpPr>
            <p:spPr bwMode="auto">
              <a:xfrm>
                <a:off x="8378707" y="5232119"/>
                <a:ext cx="265112" cy="215900"/>
              </a:xfrm>
              <a:prstGeom prst="rect">
                <a:avLst/>
              </a:prstGeom>
              <a:solidFill>
                <a:schemeClr val="bg1"/>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13" name="Rectangle 112"/>
              <p:cNvSpPr>
                <a:spLocks noChangeArrowheads="1"/>
              </p:cNvSpPr>
              <p:nvPr/>
            </p:nvSpPr>
            <p:spPr bwMode="auto">
              <a:xfrm>
                <a:off x="8645407" y="5232119"/>
                <a:ext cx="265112" cy="215900"/>
              </a:xfrm>
              <a:prstGeom prst="rect">
                <a:avLst/>
              </a:prstGeom>
              <a:solidFill>
                <a:schemeClr val="accent3"/>
              </a:solidFill>
              <a:ln w="9525" algn="ctr">
                <a:solidFill>
                  <a:schemeClr val="tx2"/>
                </a:solidFill>
                <a:miter lim="800000"/>
                <a:headEnd type="none" w="sm" len="sm"/>
                <a:tailEnd type="none" w="sm" len="sm"/>
              </a:ln>
            </p:spPr>
            <p:txBody>
              <a:bodyPr wrap="none" anchor="ctr"/>
              <a:lstStyle/>
              <a:p>
                <a:pPr algn="ctr">
                  <a:defRPr/>
                </a:pPr>
                <a:endParaRPr lang="en-US" sz="900" dirty="0"/>
              </a:p>
            </p:txBody>
          </p:sp>
          <p:sp>
            <p:nvSpPr>
              <p:cNvPr id="139" name="Rectangle 17"/>
              <p:cNvSpPr>
                <a:spLocks noChangeArrowheads="1"/>
              </p:cNvSpPr>
              <p:nvPr/>
            </p:nvSpPr>
            <p:spPr bwMode="auto">
              <a:xfrm>
                <a:off x="4524257"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47" name="Rectangle 17"/>
              <p:cNvSpPr>
                <a:spLocks noChangeArrowheads="1"/>
              </p:cNvSpPr>
              <p:nvPr/>
            </p:nvSpPr>
            <p:spPr bwMode="auto">
              <a:xfrm>
                <a:off x="3593982"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55" name="Rectangle 17"/>
              <p:cNvSpPr>
                <a:spLocks noChangeArrowheads="1"/>
              </p:cNvSpPr>
              <p:nvPr/>
            </p:nvSpPr>
            <p:spPr bwMode="auto">
              <a:xfrm>
                <a:off x="5521207"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3" name="Rectangle 17"/>
              <p:cNvSpPr>
                <a:spLocks noChangeArrowheads="1"/>
              </p:cNvSpPr>
              <p:nvPr/>
            </p:nvSpPr>
            <p:spPr bwMode="auto">
              <a:xfrm>
                <a:off x="6451482"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6" name="Rectangle 17"/>
              <p:cNvSpPr>
                <a:spLocks noChangeArrowheads="1"/>
              </p:cNvSpPr>
              <p:nvPr/>
            </p:nvSpPr>
            <p:spPr bwMode="auto">
              <a:xfrm>
                <a:off x="7450019"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sp>
            <p:nvSpPr>
              <p:cNvPr id="168" name="Rectangle 17"/>
              <p:cNvSpPr>
                <a:spLocks noChangeArrowheads="1"/>
              </p:cNvSpPr>
              <p:nvPr/>
            </p:nvSpPr>
            <p:spPr bwMode="auto">
              <a:xfrm>
                <a:off x="8380294" y="5505269"/>
                <a:ext cx="200376" cy="103170"/>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900" dirty="0">
                    <a:ea typeface="ＭＳ Ｐゴシック" charset="-128"/>
                  </a:rPr>
                  <a:t>Text</a:t>
                </a:r>
              </a:p>
            </p:txBody>
          </p:sp>
        </p:grpSp>
        <p:grpSp>
          <p:nvGrpSpPr>
            <p:cNvPr id="9" name="Group 8">
              <a:extLst>
                <a:ext uri="{FF2B5EF4-FFF2-40B4-BE49-F238E27FC236}">
                  <a16:creationId xmlns:a16="http://schemas.microsoft.com/office/drawing/2014/main" id="{51E633EE-76DE-4ABB-8690-8A44ADC0958B}"/>
                </a:ext>
              </a:extLst>
            </p:cNvPr>
            <p:cNvGrpSpPr/>
            <p:nvPr/>
          </p:nvGrpSpPr>
          <p:grpSpPr>
            <a:xfrm>
              <a:off x="3251187" y="1992055"/>
              <a:ext cx="807836" cy="3440347"/>
              <a:chOff x="1889125" y="1992055"/>
              <a:chExt cx="2169898" cy="3440347"/>
            </a:xfrm>
          </p:grpSpPr>
          <p:sp>
            <p:nvSpPr>
              <p:cNvPr id="159" name="Text Box 3"/>
              <p:cNvSpPr txBox="1">
                <a:spLocks noChangeArrowheads="1"/>
              </p:cNvSpPr>
              <p:nvPr/>
            </p:nvSpPr>
            <p:spPr bwMode="auto">
              <a:xfrm>
                <a:off x="1889125" y="1992055"/>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64" name="Text Box 10"/>
              <p:cNvSpPr txBox="1">
                <a:spLocks noChangeArrowheads="1"/>
              </p:cNvSpPr>
              <p:nvPr/>
            </p:nvSpPr>
            <p:spPr bwMode="auto">
              <a:xfrm>
                <a:off x="1889125" y="2534669"/>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69" name="Text Box 17"/>
              <p:cNvSpPr txBox="1">
                <a:spLocks noChangeArrowheads="1"/>
              </p:cNvSpPr>
              <p:nvPr/>
            </p:nvSpPr>
            <p:spPr bwMode="auto">
              <a:xfrm>
                <a:off x="1889125" y="3077283"/>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70" name="Text Box 24"/>
              <p:cNvSpPr txBox="1">
                <a:spLocks noChangeArrowheads="1"/>
              </p:cNvSpPr>
              <p:nvPr/>
            </p:nvSpPr>
            <p:spPr bwMode="auto">
              <a:xfrm>
                <a:off x="1889125" y="3619897"/>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71" name="Text Box 31"/>
              <p:cNvSpPr txBox="1">
                <a:spLocks noChangeArrowheads="1"/>
              </p:cNvSpPr>
              <p:nvPr/>
            </p:nvSpPr>
            <p:spPr bwMode="auto">
              <a:xfrm>
                <a:off x="1889125" y="4162511"/>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72" name="Text Box 38"/>
              <p:cNvSpPr txBox="1">
                <a:spLocks noChangeArrowheads="1"/>
              </p:cNvSpPr>
              <p:nvPr/>
            </p:nvSpPr>
            <p:spPr bwMode="auto">
              <a:xfrm>
                <a:off x="1889125" y="4705125"/>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sp>
            <p:nvSpPr>
              <p:cNvPr id="173" name="Text Box 45"/>
              <p:cNvSpPr txBox="1">
                <a:spLocks noChangeArrowheads="1"/>
              </p:cNvSpPr>
              <p:nvPr/>
            </p:nvSpPr>
            <p:spPr bwMode="auto">
              <a:xfrm>
                <a:off x="1889125" y="5247736"/>
                <a:ext cx="2169898"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100" dirty="0">
                    <a:ea typeface="ＭＳ Ｐゴシック" charset="-128"/>
                    <a:cs typeface="Arial" pitchFamily="34" charset="0"/>
                  </a:rPr>
                  <a:t>Row header</a:t>
                </a:r>
              </a:p>
            </p:txBody>
          </p:sp>
        </p:grpSp>
      </p:grpSp>
      <p:sp>
        <p:nvSpPr>
          <p:cNvPr id="120" name="TextBox 119">
            <a:extLst>
              <a:ext uri="{FF2B5EF4-FFF2-40B4-BE49-F238E27FC236}">
                <a16:creationId xmlns:a16="http://schemas.microsoft.com/office/drawing/2014/main" id="{A502A1AC-4A58-4333-AFB1-272CC44C28B6}"/>
              </a:ext>
            </a:extLst>
          </p:cNvPr>
          <p:cNvSpPr txBox="1"/>
          <p:nvPr/>
        </p:nvSpPr>
        <p:spPr bwMode="gray">
          <a:xfrm>
            <a:off x="541951" y="162922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2551064429"/>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ynergy summary</a:t>
            </a:r>
            <a:endParaRPr lang="en-US" dirty="0"/>
          </a:p>
        </p:txBody>
      </p:sp>
      <p:sp>
        <p:nvSpPr>
          <p:cNvPr id="785409" name="Title 1"/>
          <p:cNvSpPr>
            <a:spLocks noGrp="1"/>
          </p:cNvSpPr>
          <p:nvPr>
            <p:ph type="title"/>
          </p:nvPr>
        </p:nvSpPr>
        <p:spPr/>
        <p:txBody>
          <a:bodyPr/>
          <a:lstStyle/>
          <a:p>
            <a:r>
              <a:rPr lang="en-US" altLang="ja-JP"/>
              <a:t>Activity map</a:t>
            </a:r>
            <a:endParaRPr lang="en-US" dirty="0"/>
          </a:p>
        </p:txBody>
      </p:sp>
      <p:grpSp>
        <p:nvGrpSpPr>
          <p:cNvPr id="2" name="Group 1">
            <a:extLst>
              <a:ext uri="{FF2B5EF4-FFF2-40B4-BE49-F238E27FC236}">
                <a16:creationId xmlns:a16="http://schemas.microsoft.com/office/drawing/2014/main" id="{DBAB3EA1-B97B-49F0-B1A3-6E98A5755464}"/>
              </a:ext>
            </a:extLst>
          </p:cNvPr>
          <p:cNvGrpSpPr/>
          <p:nvPr/>
        </p:nvGrpSpPr>
        <p:grpSpPr>
          <a:xfrm>
            <a:off x="704193" y="1367911"/>
            <a:ext cx="10352690" cy="4178994"/>
            <a:chOff x="2707515" y="1367911"/>
            <a:chExt cx="5490631" cy="3844925"/>
          </a:xfrm>
        </p:grpSpPr>
        <p:sp>
          <p:nvSpPr>
            <p:cNvPr id="5" name="Rectangle 3"/>
            <p:cNvSpPr>
              <a:spLocks noChangeArrowheads="1"/>
            </p:cNvSpPr>
            <p:nvPr/>
          </p:nvSpPr>
          <p:spPr bwMode="auto">
            <a:xfrm>
              <a:off x="4210348" y="1722613"/>
              <a:ext cx="731837" cy="215900"/>
            </a:xfrm>
            <a:prstGeom prst="rect">
              <a:avLst/>
            </a:prstGeom>
            <a:solidFill>
              <a:schemeClr val="bg1">
                <a:lumMod val="65000"/>
              </a:schemeClr>
            </a:solidFill>
            <a:ln w="9525" algn="ctr">
              <a:noFill/>
              <a:miter lim="800000"/>
              <a:headEnd/>
              <a:tailEnd/>
            </a:ln>
          </p:spPr>
          <p:txBody>
            <a:bodyPr wrap="none" anchor="ctr"/>
            <a:lstStyle/>
            <a:p>
              <a:pPr algn="ctr">
                <a:defRPr/>
              </a:pPr>
              <a:endParaRPr lang="en-US" sz="1200" dirty="0"/>
            </a:p>
          </p:txBody>
        </p:sp>
        <p:sp>
          <p:nvSpPr>
            <p:cNvPr id="6" name="Rectangle 4"/>
            <p:cNvSpPr>
              <a:spLocks noChangeArrowheads="1"/>
            </p:cNvSpPr>
            <p:nvPr/>
          </p:nvSpPr>
          <p:spPr bwMode="auto">
            <a:xfrm>
              <a:off x="4210346" y="3905497"/>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7" name="Rectangle 5"/>
            <p:cNvSpPr>
              <a:spLocks noChangeArrowheads="1"/>
            </p:cNvSpPr>
            <p:nvPr/>
          </p:nvSpPr>
          <p:spPr bwMode="auto">
            <a:xfrm>
              <a:off x="4210346" y="4451218"/>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8" name="Rectangle 6"/>
            <p:cNvSpPr>
              <a:spLocks noChangeArrowheads="1"/>
            </p:cNvSpPr>
            <p:nvPr/>
          </p:nvSpPr>
          <p:spPr bwMode="auto">
            <a:xfrm>
              <a:off x="5723236" y="1722613"/>
              <a:ext cx="731837" cy="215900"/>
            </a:xfrm>
            <a:prstGeom prst="rect">
              <a:avLst/>
            </a:prstGeom>
            <a:solidFill>
              <a:schemeClr val="bg1">
                <a:lumMod val="65000"/>
              </a:schemeClr>
            </a:solidFill>
            <a:ln w="9525" algn="ctr">
              <a:noFill/>
              <a:miter lim="800000"/>
              <a:headEnd/>
              <a:tailEnd/>
            </a:ln>
          </p:spPr>
          <p:txBody>
            <a:bodyPr wrap="none" anchor="ctr"/>
            <a:lstStyle/>
            <a:p>
              <a:pPr algn="ctr">
                <a:defRPr/>
              </a:pPr>
              <a:endParaRPr lang="en-US" altLang="ja-JP" sz="1200" dirty="0">
                <a:ea typeface="ＭＳ Ｐゴシック" pitchFamily="50" charset="-128"/>
              </a:endParaRPr>
            </a:p>
          </p:txBody>
        </p:sp>
        <p:sp>
          <p:nvSpPr>
            <p:cNvPr id="785415" name="Rectangle 7"/>
            <p:cNvSpPr>
              <a:spLocks noChangeArrowheads="1"/>
            </p:cNvSpPr>
            <p:nvPr/>
          </p:nvSpPr>
          <p:spPr bwMode="auto">
            <a:xfrm>
              <a:off x="5723236" y="3905497"/>
              <a:ext cx="731837"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10" name="Rectangle 8"/>
            <p:cNvSpPr>
              <a:spLocks noChangeArrowheads="1"/>
            </p:cNvSpPr>
            <p:nvPr/>
          </p:nvSpPr>
          <p:spPr bwMode="auto">
            <a:xfrm>
              <a:off x="5723236" y="4451218"/>
              <a:ext cx="731837"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11" name="Rectangle 9"/>
            <p:cNvSpPr>
              <a:spLocks noChangeArrowheads="1"/>
            </p:cNvSpPr>
            <p:nvPr/>
          </p:nvSpPr>
          <p:spPr bwMode="auto">
            <a:xfrm>
              <a:off x="4210348" y="4996936"/>
              <a:ext cx="731837"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20" name="Rectangle 12"/>
            <p:cNvSpPr>
              <a:spLocks noChangeArrowheads="1"/>
            </p:cNvSpPr>
            <p:nvPr/>
          </p:nvSpPr>
          <p:spPr bwMode="auto">
            <a:xfrm>
              <a:off x="7467896" y="1722613"/>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15" name="Rectangle 13"/>
            <p:cNvSpPr>
              <a:spLocks noChangeArrowheads="1"/>
            </p:cNvSpPr>
            <p:nvPr/>
          </p:nvSpPr>
          <p:spPr bwMode="auto">
            <a:xfrm>
              <a:off x="7467896" y="2268334"/>
              <a:ext cx="730250" cy="215900"/>
            </a:xfrm>
            <a:prstGeom prst="rect">
              <a:avLst/>
            </a:prstGeom>
            <a:solidFill>
              <a:schemeClr val="bg2">
                <a:lumMod val="75000"/>
              </a:schemeClr>
            </a:solidFill>
            <a:ln w="9525">
              <a:noFill/>
              <a:miter lim="800000"/>
              <a:headEnd type="none" w="sm" len="sm"/>
              <a:tailEnd type="none" w="sm" len="sm"/>
            </a:ln>
          </p:spPr>
          <p:txBody>
            <a:bodyPr wrap="none" anchor="ctr"/>
            <a:lstStyle/>
            <a:p>
              <a:pPr algn="ctr">
                <a:defRPr/>
              </a:pPr>
              <a:endParaRPr lang="en-US" sz="1200" dirty="0"/>
            </a:p>
          </p:txBody>
        </p:sp>
        <p:sp>
          <p:nvSpPr>
            <p:cNvPr id="16" name="Rectangle 14"/>
            <p:cNvSpPr>
              <a:spLocks noChangeArrowheads="1"/>
            </p:cNvSpPr>
            <p:nvPr/>
          </p:nvSpPr>
          <p:spPr bwMode="auto">
            <a:xfrm>
              <a:off x="7467896" y="2814055"/>
              <a:ext cx="730250"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23" name="Rectangle 15"/>
            <p:cNvSpPr>
              <a:spLocks noChangeArrowheads="1"/>
            </p:cNvSpPr>
            <p:nvPr/>
          </p:nvSpPr>
          <p:spPr bwMode="auto">
            <a:xfrm>
              <a:off x="7467896" y="3359776"/>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785424" name="Rectangle 16"/>
            <p:cNvSpPr>
              <a:spLocks noChangeArrowheads="1"/>
            </p:cNvSpPr>
            <p:nvPr/>
          </p:nvSpPr>
          <p:spPr bwMode="auto">
            <a:xfrm>
              <a:off x="7467896" y="3905497"/>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785425" name="Rectangle 17"/>
            <p:cNvSpPr>
              <a:spLocks noChangeArrowheads="1"/>
            </p:cNvSpPr>
            <p:nvPr/>
          </p:nvSpPr>
          <p:spPr bwMode="auto">
            <a:xfrm>
              <a:off x="7467896" y="4451218"/>
              <a:ext cx="730250"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20" name="Rectangle 18"/>
            <p:cNvSpPr>
              <a:spLocks noChangeArrowheads="1"/>
            </p:cNvSpPr>
            <p:nvPr/>
          </p:nvSpPr>
          <p:spPr bwMode="auto">
            <a:xfrm>
              <a:off x="7467896" y="4996936"/>
              <a:ext cx="730250"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29" name="Text Box 21"/>
            <p:cNvSpPr txBox="1">
              <a:spLocks noChangeArrowheads="1"/>
            </p:cNvSpPr>
            <p:nvPr/>
          </p:nvSpPr>
          <p:spPr bwMode="auto">
            <a:xfrm>
              <a:off x="4529778" y="1367911"/>
              <a:ext cx="86562" cy="184666"/>
            </a:xfrm>
            <a:prstGeom prst="rect">
              <a:avLst/>
            </a:prstGeom>
            <a:noFill/>
            <a:ln w="9525">
              <a:noFill/>
              <a:miter lim="800000"/>
              <a:headEnd/>
              <a:tailEnd/>
            </a:ln>
          </p:spPr>
          <p:txBody>
            <a:bodyPr wrap="none" lIns="0" tIns="0" rIns="0" bIns="0">
              <a:spAutoFit/>
            </a:bodyPr>
            <a:lstStyle/>
            <a:p>
              <a:r>
                <a:rPr lang="en-US" altLang="ja-JP" sz="1200" dirty="0">
                  <a:ea typeface="ＭＳ Ｐゴシック" charset="-128"/>
                </a:rPr>
                <a:t>A</a:t>
              </a:r>
            </a:p>
          </p:txBody>
        </p:sp>
        <p:sp>
          <p:nvSpPr>
            <p:cNvPr id="785430" name="Text Box 22"/>
            <p:cNvSpPr txBox="1">
              <a:spLocks noChangeArrowheads="1"/>
            </p:cNvSpPr>
            <p:nvPr/>
          </p:nvSpPr>
          <p:spPr bwMode="auto">
            <a:xfrm>
              <a:off x="6042666" y="1367911"/>
              <a:ext cx="81754" cy="184666"/>
            </a:xfrm>
            <a:prstGeom prst="rect">
              <a:avLst/>
            </a:prstGeom>
            <a:noFill/>
            <a:ln w="9525">
              <a:noFill/>
              <a:miter lim="800000"/>
              <a:headEnd/>
              <a:tailEnd/>
            </a:ln>
          </p:spPr>
          <p:txBody>
            <a:bodyPr wrap="none" lIns="0" tIns="0" rIns="0" bIns="0">
              <a:spAutoFit/>
            </a:bodyPr>
            <a:lstStyle/>
            <a:p>
              <a:r>
                <a:rPr lang="en-US" altLang="ja-JP" sz="1200" dirty="0">
                  <a:ea typeface="ＭＳ Ｐゴシック" charset="-128"/>
                </a:rPr>
                <a:t>B</a:t>
              </a:r>
            </a:p>
          </p:txBody>
        </p:sp>
        <p:sp>
          <p:nvSpPr>
            <p:cNvPr id="785431" name="Text Box 23"/>
            <p:cNvSpPr txBox="1">
              <a:spLocks noChangeArrowheads="1"/>
            </p:cNvSpPr>
            <p:nvPr/>
          </p:nvSpPr>
          <p:spPr bwMode="auto">
            <a:xfrm>
              <a:off x="7598182" y="1367911"/>
              <a:ext cx="476925" cy="184666"/>
            </a:xfrm>
            <a:prstGeom prst="rect">
              <a:avLst/>
            </a:prstGeom>
            <a:noFill/>
            <a:ln w="9525">
              <a:noFill/>
              <a:miter lim="800000"/>
              <a:headEnd/>
              <a:tailEnd/>
            </a:ln>
          </p:spPr>
          <p:txBody>
            <a:bodyPr wrap="none" lIns="0" tIns="0" rIns="0" bIns="0">
              <a:spAutoFit/>
            </a:bodyPr>
            <a:lstStyle/>
            <a:p>
              <a:r>
                <a:rPr lang="en-US" altLang="ja-JP" sz="1200" dirty="0">
                  <a:ea typeface="ＭＳ Ｐゴシック" charset="-128"/>
                </a:rPr>
                <a:t>New Co</a:t>
              </a:r>
            </a:p>
          </p:txBody>
        </p:sp>
        <p:sp>
          <p:nvSpPr>
            <p:cNvPr id="785432" name="Text Box 24"/>
            <p:cNvSpPr txBox="1">
              <a:spLocks noChangeArrowheads="1"/>
            </p:cNvSpPr>
            <p:nvPr/>
          </p:nvSpPr>
          <p:spPr bwMode="auto">
            <a:xfrm>
              <a:off x="5265383" y="3881343"/>
              <a:ext cx="115416" cy="276999"/>
            </a:xfrm>
            <a:prstGeom prst="rect">
              <a:avLst/>
            </a:prstGeom>
            <a:noFill/>
            <a:ln w="9525">
              <a:noFill/>
              <a:miter lim="800000"/>
              <a:headEnd/>
              <a:tailEnd/>
            </a:ln>
          </p:spPr>
          <p:txBody>
            <a:bodyPr wrap="none" lIns="0" tIns="0" rIns="0" bIns="0">
              <a:spAutoFit/>
            </a:bodyPr>
            <a:lstStyle/>
            <a:p>
              <a:r>
                <a:rPr lang="en-US" altLang="ja-JP" dirty="0">
                  <a:ea typeface="ＭＳ Ｐゴシック" charset="-128"/>
                </a:rPr>
                <a:t>+</a:t>
              </a:r>
            </a:p>
          </p:txBody>
        </p:sp>
        <p:sp>
          <p:nvSpPr>
            <p:cNvPr id="785433" name="Text Box 25"/>
            <p:cNvSpPr txBox="1">
              <a:spLocks noChangeArrowheads="1"/>
            </p:cNvSpPr>
            <p:nvPr/>
          </p:nvSpPr>
          <p:spPr bwMode="auto">
            <a:xfrm>
              <a:off x="6894158" y="3881343"/>
              <a:ext cx="115416" cy="276999"/>
            </a:xfrm>
            <a:prstGeom prst="rect">
              <a:avLst/>
            </a:prstGeom>
            <a:noFill/>
            <a:ln w="9525">
              <a:noFill/>
              <a:miter lim="800000"/>
              <a:headEnd/>
              <a:tailEnd/>
            </a:ln>
          </p:spPr>
          <p:txBody>
            <a:bodyPr wrap="none" lIns="0" tIns="0" rIns="0" bIns="0">
              <a:spAutoFit/>
            </a:bodyPr>
            <a:lstStyle/>
            <a:p>
              <a:r>
                <a:rPr lang="en-US" altLang="ja-JP" dirty="0">
                  <a:ea typeface="ＭＳ Ｐゴシック" charset="-128"/>
                </a:rPr>
                <a:t>=</a:t>
              </a:r>
            </a:p>
          </p:txBody>
        </p:sp>
        <p:sp>
          <p:nvSpPr>
            <p:cNvPr id="28" name="Rectangle 26"/>
            <p:cNvSpPr>
              <a:spLocks noChangeArrowheads="1"/>
            </p:cNvSpPr>
            <p:nvPr/>
          </p:nvSpPr>
          <p:spPr bwMode="auto">
            <a:xfrm>
              <a:off x="5723234" y="2268334"/>
              <a:ext cx="731838" cy="215900"/>
            </a:xfrm>
            <a:prstGeom prst="rect">
              <a:avLst/>
            </a:prstGeom>
            <a:solidFill>
              <a:schemeClr val="bg2">
                <a:lumMod val="75000"/>
              </a:schemeClr>
            </a:solidFill>
            <a:ln w="9525">
              <a:noFill/>
              <a:miter lim="800000"/>
              <a:headEnd/>
              <a:tailEnd/>
            </a:ln>
          </p:spPr>
          <p:txBody>
            <a:bodyPr wrap="none" anchor="ctr"/>
            <a:lstStyle/>
            <a:p>
              <a:pPr algn="ctr">
                <a:defRPr/>
              </a:pPr>
              <a:endParaRPr lang="en-US" sz="1200" dirty="0"/>
            </a:p>
          </p:txBody>
        </p:sp>
        <p:sp>
          <p:nvSpPr>
            <p:cNvPr id="29" name="Rectangle 27"/>
            <p:cNvSpPr>
              <a:spLocks noChangeArrowheads="1"/>
            </p:cNvSpPr>
            <p:nvPr/>
          </p:nvSpPr>
          <p:spPr bwMode="auto">
            <a:xfrm>
              <a:off x="5723234" y="2814055"/>
              <a:ext cx="731838" cy="215900"/>
            </a:xfrm>
            <a:prstGeom prst="rect">
              <a:avLst/>
            </a:prstGeom>
            <a:solidFill>
              <a:schemeClr val="bg1"/>
            </a:solidFill>
            <a:ln w="6350">
              <a:solidFill>
                <a:srgbClr val="BBBCBC"/>
              </a:solidFill>
              <a:prstDash val="solid"/>
              <a:miter lim="800000"/>
              <a:headEnd type="none" w="sm" len="sm"/>
              <a:tailEnd type="none" w="sm" len="sm"/>
            </a:ln>
          </p:spPr>
          <p:txBody>
            <a:bodyPr wrap="none" anchor="ctr"/>
            <a:lstStyle/>
            <a:p>
              <a:pPr algn="ctr">
                <a:defRPr/>
              </a:pPr>
              <a:endParaRPr lang="en-US" sz="1200" dirty="0"/>
            </a:p>
          </p:txBody>
        </p:sp>
        <p:sp>
          <p:nvSpPr>
            <p:cNvPr id="785436" name="Rectangle 28"/>
            <p:cNvSpPr>
              <a:spLocks noChangeArrowheads="1"/>
            </p:cNvSpPr>
            <p:nvPr/>
          </p:nvSpPr>
          <p:spPr bwMode="auto">
            <a:xfrm>
              <a:off x="5723234" y="3359776"/>
              <a:ext cx="731838" cy="215900"/>
            </a:xfrm>
            <a:prstGeom prst="rect">
              <a:avLst/>
            </a:prstGeom>
            <a:solidFill>
              <a:schemeClr val="accent3"/>
            </a:solidFill>
            <a:ln w="9525" algn="ctr">
              <a:noFill/>
              <a:miter lim="800000"/>
              <a:headEnd/>
              <a:tailEnd/>
            </a:ln>
          </p:spPr>
          <p:txBody>
            <a:bodyPr wrap="none" anchor="ctr"/>
            <a:lstStyle/>
            <a:p>
              <a:pPr algn="ctr"/>
              <a:endParaRPr lang="en-US" sz="1200" dirty="0"/>
            </a:p>
          </p:txBody>
        </p:sp>
        <p:sp>
          <p:nvSpPr>
            <p:cNvPr id="58" name="Text Box 3"/>
            <p:cNvSpPr txBox="1">
              <a:spLocks noChangeArrowheads="1"/>
            </p:cNvSpPr>
            <p:nvPr/>
          </p:nvSpPr>
          <p:spPr bwMode="auto">
            <a:xfrm>
              <a:off x="2707515" y="1745478"/>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59" name="Text Box 10"/>
            <p:cNvSpPr txBox="1">
              <a:spLocks noChangeArrowheads="1"/>
            </p:cNvSpPr>
            <p:nvPr/>
          </p:nvSpPr>
          <p:spPr bwMode="auto">
            <a:xfrm>
              <a:off x="2707515" y="2288092"/>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0" name="Text Box 17"/>
            <p:cNvSpPr txBox="1">
              <a:spLocks noChangeArrowheads="1"/>
            </p:cNvSpPr>
            <p:nvPr/>
          </p:nvSpPr>
          <p:spPr bwMode="auto">
            <a:xfrm>
              <a:off x="2707515" y="2830706"/>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1" name="Text Box 24"/>
            <p:cNvSpPr txBox="1">
              <a:spLocks noChangeArrowheads="1"/>
            </p:cNvSpPr>
            <p:nvPr/>
          </p:nvSpPr>
          <p:spPr bwMode="auto">
            <a:xfrm>
              <a:off x="2707515" y="3373320"/>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2" name="Text Box 31"/>
            <p:cNvSpPr txBox="1">
              <a:spLocks noChangeArrowheads="1"/>
            </p:cNvSpPr>
            <p:nvPr/>
          </p:nvSpPr>
          <p:spPr bwMode="auto">
            <a:xfrm>
              <a:off x="2707515" y="3915934"/>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3" name="Text Box 38"/>
            <p:cNvSpPr txBox="1">
              <a:spLocks noChangeArrowheads="1"/>
            </p:cNvSpPr>
            <p:nvPr/>
          </p:nvSpPr>
          <p:spPr bwMode="auto">
            <a:xfrm>
              <a:off x="2707515" y="4458548"/>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sp>
          <p:nvSpPr>
            <p:cNvPr id="64" name="Text Box 45"/>
            <p:cNvSpPr txBox="1">
              <a:spLocks noChangeArrowheads="1"/>
            </p:cNvSpPr>
            <p:nvPr/>
          </p:nvSpPr>
          <p:spPr bwMode="auto">
            <a:xfrm>
              <a:off x="2707515" y="5001159"/>
              <a:ext cx="827529" cy="184666"/>
            </a:xfrm>
            <a:prstGeom prst="rect">
              <a:avLst/>
            </a:prstGeom>
            <a:noFill/>
            <a:ln w="9525">
              <a:noFill/>
              <a:miter lim="800000"/>
              <a:headEnd type="none" w="sm" len="sm"/>
              <a:tailEnd type="none" w="med" len="lg"/>
            </a:ln>
          </p:spPr>
          <p:txBody>
            <a:bodyPr wrap="square" lIns="0" tIns="0" rIns="0" bIns="0" anchor="ctr" anchorCtr="0">
              <a:noAutofit/>
            </a:bodyPr>
            <a:lstStyle/>
            <a:p>
              <a:pPr algn="r">
                <a:spcBef>
                  <a:spcPct val="20000"/>
                </a:spcBef>
              </a:pPr>
              <a:r>
                <a:rPr lang="en-GB" altLang="ja-JP" sz="1300" dirty="0">
                  <a:ea typeface="ＭＳ Ｐゴシック" charset="-128"/>
                  <a:cs typeface="Arial" pitchFamily="34" charset="0"/>
                </a:rPr>
                <a:t>Row header</a:t>
              </a:r>
            </a:p>
          </p:txBody>
        </p:sp>
      </p:grpSp>
      <p:sp>
        <p:nvSpPr>
          <p:cNvPr id="65" name="Rectangle 52"/>
          <p:cNvSpPr>
            <a:spLocks noChangeArrowheads="1"/>
          </p:cNvSpPr>
          <p:nvPr/>
        </p:nvSpPr>
        <p:spPr bwMode="auto">
          <a:xfrm>
            <a:off x="3977928" y="5938265"/>
            <a:ext cx="325391" cy="148719"/>
          </a:xfrm>
          <a:prstGeom prst="rect">
            <a:avLst/>
          </a:prstGeom>
          <a:solidFill>
            <a:schemeClr val="accent3"/>
          </a:solidFill>
          <a:ln w="9525">
            <a:noFill/>
            <a:miter lim="800000"/>
            <a:headEnd/>
            <a:tailEnd/>
          </a:ln>
        </p:spPr>
        <p:txBody>
          <a:bodyPr wrap="none" anchor="ctr"/>
          <a:lstStyle/>
          <a:p>
            <a:pPr eaLnBrk="1" hangingPunct="1">
              <a:spcBef>
                <a:spcPct val="20000"/>
              </a:spcBef>
            </a:pPr>
            <a:endParaRPr lang="en-GB" sz="900" dirty="0">
              <a:cs typeface="Arial" pitchFamily="34" charset="0"/>
            </a:endParaRPr>
          </a:p>
        </p:txBody>
      </p:sp>
      <p:sp>
        <p:nvSpPr>
          <p:cNvPr id="66" name="Text Box 54"/>
          <p:cNvSpPr txBox="1">
            <a:spLocks noChangeArrowheads="1"/>
          </p:cNvSpPr>
          <p:nvPr/>
        </p:nvSpPr>
        <p:spPr bwMode="auto">
          <a:xfrm>
            <a:off x="4375087" y="5943374"/>
            <a:ext cx="554639"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Advantaged</a:t>
            </a:r>
          </a:p>
        </p:txBody>
      </p:sp>
      <p:sp>
        <p:nvSpPr>
          <p:cNvPr id="67" name="Rectangle 66"/>
          <p:cNvSpPr>
            <a:spLocks noChangeArrowheads="1"/>
          </p:cNvSpPr>
          <p:nvPr/>
        </p:nvSpPr>
        <p:spPr bwMode="auto">
          <a:xfrm>
            <a:off x="5486233" y="5938265"/>
            <a:ext cx="325391" cy="148719"/>
          </a:xfrm>
          <a:prstGeom prst="rect">
            <a:avLst/>
          </a:prstGeom>
          <a:solidFill>
            <a:schemeClr val="bg1">
              <a:lumMod val="65000"/>
            </a:schemeClr>
          </a:solidFill>
          <a:ln w="9525" algn="ctr">
            <a:noFill/>
            <a:miter lim="800000"/>
            <a:headEnd/>
            <a:tailEnd/>
          </a:ln>
        </p:spPr>
        <p:txBody>
          <a:bodyPr wrap="none" anchor="ctr"/>
          <a:lstStyle/>
          <a:p>
            <a:pPr eaLnBrk="1" hangingPunct="1">
              <a:spcBef>
                <a:spcPct val="20000"/>
              </a:spcBef>
              <a:defRPr/>
            </a:pPr>
            <a:endParaRPr lang="en-GB" sz="900" dirty="0">
              <a:cs typeface="Arial" pitchFamily="34" charset="0"/>
            </a:endParaRPr>
          </a:p>
        </p:txBody>
      </p:sp>
      <p:sp>
        <p:nvSpPr>
          <p:cNvPr id="68" name="Text Box 55"/>
          <p:cNvSpPr txBox="1">
            <a:spLocks noChangeArrowheads="1"/>
          </p:cNvSpPr>
          <p:nvPr/>
        </p:nvSpPr>
        <p:spPr bwMode="auto">
          <a:xfrm>
            <a:off x="5883392" y="5943374"/>
            <a:ext cx="349455"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Neutral</a:t>
            </a:r>
          </a:p>
        </p:txBody>
      </p:sp>
      <p:sp>
        <p:nvSpPr>
          <p:cNvPr id="69" name="Rectangle 68"/>
          <p:cNvSpPr>
            <a:spLocks noChangeArrowheads="1"/>
          </p:cNvSpPr>
          <p:nvPr/>
        </p:nvSpPr>
        <p:spPr bwMode="auto">
          <a:xfrm>
            <a:off x="6728439" y="5938265"/>
            <a:ext cx="325391" cy="148719"/>
          </a:xfrm>
          <a:prstGeom prst="rect">
            <a:avLst/>
          </a:prstGeom>
          <a:solidFill>
            <a:schemeClr val="bg2">
              <a:lumMod val="75000"/>
            </a:schemeClr>
          </a:solidFill>
          <a:ln w="9525">
            <a:noFill/>
            <a:miter lim="800000"/>
            <a:headEnd/>
            <a:tailEnd/>
          </a:ln>
        </p:spPr>
        <p:txBody>
          <a:bodyPr wrap="none" anchor="ctr"/>
          <a:lstStyle/>
          <a:p>
            <a:pPr eaLnBrk="1" hangingPunct="1">
              <a:spcBef>
                <a:spcPct val="20000"/>
              </a:spcBef>
              <a:defRPr/>
            </a:pPr>
            <a:endParaRPr lang="en-GB" sz="900" dirty="0">
              <a:cs typeface="Arial" pitchFamily="34" charset="0"/>
            </a:endParaRPr>
          </a:p>
        </p:txBody>
      </p:sp>
      <p:sp>
        <p:nvSpPr>
          <p:cNvPr id="70" name="Text Box 57"/>
          <p:cNvSpPr txBox="1">
            <a:spLocks noChangeArrowheads="1"/>
          </p:cNvSpPr>
          <p:nvPr/>
        </p:nvSpPr>
        <p:spPr bwMode="auto">
          <a:xfrm>
            <a:off x="7125598" y="5943374"/>
            <a:ext cx="684483" cy="138499"/>
          </a:xfrm>
          <a:prstGeom prst="rect">
            <a:avLst/>
          </a:prstGeom>
          <a:noFill/>
          <a:ln w="9525" algn="ctr">
            <a:noFill/>
            <a:miter lim="800000"/>
            <a:headEnd/>
            <a:tailEnd/>
          </a:ln>
        </p:spPr>
        <p:txBody>
          <a:bodyPr wrap="none" lIns="0" tIns="0" rIns="0" bIns="0" anchor="ctr">
            <a:spAutoFit/>
          </a:bodyPr>
          <a:lstStyle/>
          <a:p>
            <a:pPr eaLnBrk="1" hangingPunct="1">
              <a:spcBef>
                <a:spcPct val="20000"/>
              </a:spcBef>
            </a:pPr>
            <a:r>
              <a:rPr lang="en-GB" altLang="ja-JP" sz="900" dirty="0">
                <a:ea typeface="ＭＳ Ｐゴシック" charset="-128"/>
                <a:cs typeface="Arial" pitchFamily="34" charset="0"/>
              </a:rPr>
              <a:t>Disadvantaged</a:t>
            </a:r>
          </a:p>
        </p:txBody>
      </p:sp>
      <p:sp>
        <p:nvSpPr>
          <p:cNvPr id="71" name="Rectangle 70"/>
          <p:cNvSpPr>
            <a:spLocks noChangeArrowheads="1"/>
          </p:cNvSpPr>
          <p:nvPr/>
        </p:nvSpPr>
        <p:spPr bwMode="auto">
          <a:xfrm>
            <a:off x="8411388" y="5938265"/>
            <a:ext cx="325391" cy="148719"/>
          </a:xfrm>
          <a:prstGeom prst="rect">
            <a:avLst/>
          </a:prstGeom>
          <a:solidFill>
            <a:schemeClr val="bg1"/>
          </a:solidFill>
          <a:ln w="6350">
            <a:solidFill>
              <a:srgbClr val="BBBCBC"/>
            </a:solidFill>
            <a:miter lim="800000"/>
            <a:headEnd/>
            <a:tailEnd/>
          </a:ln>
        </p:spPr>
        <p:txBody>
          <a:bodyPr wrap="none" anchor="ctr"/>
          <a:lstStyle/>
          <a:p>
            <a:pPr eaLnBrk="1" hangingPunct="1">
              <a:spcBef>
                <a:spcPct val="20000"/>
              </a:spcBef>
              <a:defRPr/>
            </a:pPr>
            <a:endParaRPr lang="en-GB" sz="900" dirty="0">
              <a:cs typeface="Arial" pitchFamily="34" charset="0"/>
            </a:endParaRPr>
          </a:p>
        </p:txBody>
      </p:sp>
      <p:sp>
        <p:nvSpPr>
          <p:cNvPr id="72" name="Text Box 57"/>
          <p:cNvSpPr txBox="1">
            <a:spLocks noChangeArrowheads="1"/>
          </p:cNvSpPr>
          <p:nvPr/>
        </p:nvSpPr>
        <p:spPr bwMode="auto">
          <a:xfrm>
            <a:off x="8808547" y="5943374"/>
            <a:ext cx="535403" cy="138499"/>
          </a:xfrm>
          <a:prstGeom prst="rect">
            <a:avLst/>
          </a:prstGeom>
          <a:noFill/>
          <a:ln w="9525" algn="ctr">
            <a:noFill/>
            <a:miter lim="800000"/>
            <a:headEnd/>
            <a:tailEnd/>
          </a:ln>
        </p:spPr>
        <p:txBody>
          <a:bodyPr wrap="none" lIns="0" tIns="0" rIns="0" bIns="0" anchor="ctr">
            <a:spAutoFit/>
          </a:bodyPr>
          <a:lstStyle/>
          <a:p>
            <a:pPr>
              <a:spcBef>
                <a:spcPct val="20000"/>
              </a:spcBef>
            </a:pPr>
            <a:r>
              <a:rPr lang="en-US" altLang="ja-JP" sz="900" dirty="0">
                <a:ea typeface="ＭＳ Ｐゴシック" charset="-128"/>
              </a:rPr>
              <a:t>No position</a:t>
            </a:r>
          </a:p>
        </p:txBody>
      </p:sp>
    </p:spTree>
    <p:extLst>
      <p:ext uri="{BB962C8B-B14F-4D97-AF65-F5344CB8AC3E}">
        <p14:creationId xmlns:p14="http://schemas.microsoft.com/office/powerpoint/2010/main" val="3657532122"/>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Competitive groups</a:t>
            </a:r>
            <a:endParaRPr lang="en-US" dirty="0"/>
          </a:p>
        </p:txBody>
      </p:sp>
      <p:sp>
        <p:nvSpPr>
          <p:cNvPr id="786433" name="Title 1"/>
          <p:cNvSpPr>
            <a:spLocks noGrp="1"/>
          </p:cNvSpPr>
          <p:nvPr>
            <p:ph type="title"/>
          </p:nvPr>
        </p:nvSpPr>
        <p:spPr/>
        <p:txBody>
          <a:bodyPr/>
          <a:lstStyle/>
          <a:p>
            <a:r>
              <a:rPr lang="en-US" altLang="ja-JP"/>
              <a:t>Activity map</a:t>
            </a:r>
            <a:endParaRPr lang="en-US" dirty="0"/>
          </a:p>
        </p:txBody>
      </p:sp>
      <p:sp>
        <p:nvSpPr>
          <p:cNvPr id="786435" name="Text Box 3"/>
          <p:cNvSpPr txBox="1">
            <a:spLocks noChangeArrowheads="1"/>
          </p:cNvSpPr>
          <p:nvPr/>
        </p:nvSpPr>
        <p:spPr bwMode="auto">
          <a:xfrm>
            <a:off x="1221568" y="3681110"/>
            <a:ext cx="1199046" cy="153888"/>
          </a:xfrm>
          <a:prstGeom prst="rect">
            <a:avLst/>
          </a:prstGeom>
          <a:noFill/>
          <a:ln w="9525" algn="ctr">
            <a:noFill/>
            <a:miter lim="800000"/>
            <a:headEnd/>
            <a:tailEnd/>
          </a:ln>
        </p:spPr>
        <p:txBody>
          <a:bodyPr wrap="none" lIns="0" tIns="0" rIns="0" bIns="0">
            <a:spAutoFit/>
          </a:bodyPr>
          <a:lstStyle/>
          <a:p>
            <a:pPr algn="ctr"/>
            <a:r>
              <a:rPr lang="en-US" altLang="ja-JP" sz="1000" dirty="0">
                <a:ea typeface="ＭＳ Ｐゴシック" charset="-128"/>
              </a:rPr>
              <a:t>Competitive advantage</a:t>
            </a:r>
          </a:p>
        </p:txBody>
      </p:sp>
      <p:sp>
        <p:nvSpPr>
          <p:cNvPr id="786436" name="Text Box 4"/>
          <p:cNvSpPr txBox="1">
            <a:spLocks noChangeArrowheads="1"/>
          </p:cNvSpPr>
          <p:nvPr/>
        </p:nvSpPr>
        <p:spPr bwMode="auto">
          <a:xfrm>
            <a:off x="3124183" y="5859276"/>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786437" name="Text Box 5"/>
          <p:cNvSpPr txBox="1">
            <a:spLocks noChangeArrowheads="1"/>
          </p:cNvSpPr>
          <p:nvPr/>
        </p:nvSpPr>
        <p:spPr bwMode="auto">
          <a:xfrm>
            <a:off x="1228376" y="5928527"/>
            <a:ext cx="1199046" cy="153888"/>
          </a:xfrm>
          <a:prstGeom prst="rect">
            <a:avLst/>
          </a:prstGeom>
          <a:noFill/>
          <a:ln w="9525" algn="ctr">
            <a:noFill/>
            <a:miter lim="800000"/>
            <a:headEnd/>
            <a:tailEnd/>
          </a:ln>
        </p:spPr>
        <p:txBody>
          <a:bodyPr wrap="none" lIns="0" tIns="0" rIns="0" bIns="0">
            <a:spAutoFit/>
          </a:bodyPr>
          <a:lstStyle/>
          <a:p>
            <a:pPr algn="ctr"/>
            <a:r>
              <a:rPr lang="en-US" altLang="ja-JP" sz="1000" dirty="0">
                <a:ea typeface="ＭＳ Ｐゴシック" charset="-128"/>
              </a:rPr>
              <a:t>Competitive advantage</a:t>
            </a:r>
          </a:p>
        </p:txBody>
      </p:sp>
      <p:sp>
        <p:nvSpPr>
          <p:cNvPr id="786438" name="Text Box 6"/>
          <p:cNvSpPr txBox="1">
            <a:spLocks noChangeArrowheads="1"/>
          </p:cNvSpPr>
          <p:nvPr/>
        </p:nvSpPr>
        <p:spPr bwMode="auto">
          <a:xfrm>
            <a:off x="8029277" y="5859276"/>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786439" name="Rectangle 7"/>
          <p:cNvSpPr>
            <a:spLocks noChangeArrowheads="1"/>
          </p:cNvSpPr>
          <p:nvPr/>
        </p:nvSpPr>
        <p:spPr bwMode="auto">
          <a:xfrm>
            <a:off x="2394365" y="2563137"/>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9" name="Rectangle 8"/>
          <p:cNvSpPr>
            <a:spLocks noChangeArrowheads="1"/>
          </p:cNvSpPr>
          <p:nvPr/>
        </p:nvSpPr>
        <p:spPr bwMode="auto">
          <a:xfrm>
            <a:off x="3151606" y="25622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 name="Rectangle 9"/>
          <p:cNvSpPr>
            <a:spLocks noChangeArrowheads="1"/>
          </p:cNvSpPr>
          <p:nvPr/>
        </p:nvSpPr>
        <p:spPr bwMode="auto">
          <a:xfrm>
            <a:off x="3151606" y="28067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 name="Rectangle 10"/>
          <p:cNvSpPr>
            <a:spLocks noChangeArrowheads="1"/>
          </p:cNvSpPr>
          <p:nvPr/>
        </p:nvSpPr>
        <p:spPr bwMode="auto">
          <a:xfrm>
            <a:off x="3151606" y="3051244"/>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3" name="Rectangle 12"/>
          <p:cNvSpPr>
            <a:spLocks noChangeArrowheads="1"/>
          </p:cNvSpPr>
          <p:nvPr/>
        </p:nvSpPr>
        <p:spPr bwMode="auto">
          <a:xfrm>
            <a:off x="2292769" y="1802817"/>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86445" name="Text Box 13"/>
          <p:cNvSpPr txBox="1">
            <a:spLocks noChangeArrowheads="1"/>
          </p:cNvSpPr>
          <p:nvPr/>
        </p:nvSpPr>
        <p:spPr bwMode="auto">
          <a:xfrm>
            <a:off x="3124183" y="3611859"/>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15" name="Line 14"/>
          <p:cNvSpPr>
            <a:spLocks noChangeShapeType="1"/>
          </p:cNvSpPr>
          <p:nvPr/>
        </p:nvSpPr>
        <p:spPr bwMode="auto">
          <a:xfrm>
            <a:off x="2583603" y="3765748"/>
            <a:ext cx="457200" cy="0"/>
          </a:xfrm>
          <a:prstGeom prst="line">
            <a:avLst/>
          </a:prstGeom>
          <a:noFill/>
          <a:ln w="9525">
            <a:solidFill>
              <a:schemeClr val="bg2"/>
            </a:solidFill>
            <a:round/>
            <a:headEnd/>
            <a:tailEnd type="triangle" w="med" len="med"/>
          </a:ln>
        </p:spPr>
        <p:txBody>
          <a:bodyPr lIns="90000" tIns="46800" rIns="90000" bIns="46800" anchor="ctr"/>
          <a:lstStyle/>
          <a:p>
            <a:pPr>
              <a:defRPr/>
            </a:pPr>
            <a:endParaRPr lang="en-US" sz="3200" dirty="0"/>
          </a:p>
        </p:txBody>
      </p:sp>
      <p:sp>
        <p:nvSpPr>
          <p:cNvPr id="786447" name="Rectangle 15"/>
          <p:cNvSpPr>
            <a:spLocks noChangeArrowheads="1"/>
          </p:cNvSpPr>
          <p:nvPr/>
        </p:nvSpPr>
        <p:spPr bwMode="auto">
          <a:xfrm>
            <a:off x="2394365" y="2807612"/>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48" name="Rectangle 16"/>
          <p:cNvSpPr>
            <a:spLocks noChangeArrowheads="1"/>
          </p:cNvSpPr>
          <p:nvPr/>
        </p:nvSpPr>
        <p:spPr bwMode="auto">
          <a:xfrm>
            <a:off x="2394365" y="3052881"/>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49" name="Rectangle 17"/>
          <p:cNvSpPr>
            <a:spLocks noChangeArrowheads="1"/>
          </p:cNvSpPr>
          <p:nvPr/>
        </p:nvSpPr>
        <p:spPr bwMode="auto">
          <a:xfrm>
            <a:off x="2394365" y="3298944"/>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19" name="Rectangle 18"/>
          <p:cNvSpPr>
            <a:spLocks noChangeArrowheads="1"/>
          </p:cNvSpPr>
          <p:nvPr/>
        </p:nvSpPr>
        <p:spPr bwMode="auto">
          <a:xfrm>
            <a:off x="3151606" y="3297308"/>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51" name="Rectangle 19"/>
          <p:cNvSpPr>
            <a:spLocks noChangeArrowheads="1"/>
          </p:cNvSpPr>
          <p:nvPr/>
        </p:nvSpPr>
        <p:spPr bwMode="auto">
          <a:xfrm>
            <a:off x="2394365" y="2318662"/>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21" name="Rectangle 20"/>
          <p:cNvSpPr>
            <a:spLocks noChangeArrowheads="1"/>
          </p:cNvSpPr>
          <p:nvPr/>
        </p:nvSpPr>
        <p:spPr bwMode="auto">
          <a:xfrm>
            <a:off x="3151606" y="23178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2" name="Rectangle 21"/>
          <p:cNvSpPr>
            <a:spLocks noChangeArrowheads="1"/>
          </p:cNvSpPr>
          <p:nvPr/>
        </p:nvSpPr>
        <p:spPr bwMode="auto">
          <a:xfrm>
            <a:off x="3618332" y="2562295"/>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3" name="Rectangle 22"/>
          <p:cNvSpPr>
            <a:spLocks noChangeArrowheads="1"/>
          </p:cNvSpPr>
          <p:nvPr/>
        </p:nvSpPr>
        <p:spPr bwMode="auto">
          <a:xfrm>
            <a:off x="3618332" y="2806770"/>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4" name="Rectangle 23"/>
          <p:cNvSpPr>
            <a:spLocks noChangeArrowheads="1"/>
          </p:cNvSpPr>
          <p:nvPr/>
        </p:nvSpPr>
        <p:spPr bwMode="auto">
          <a:xfrm>
            <a:off x="3618332" y="3051244"/>
            <a:ext cx="290513"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5" name="Rectangle 24"/>
          <p:cNvSpPr>
            <a:spLocks noChangeArrowheads="1"/>
          </p:cNvSpPr>
          <p:nvPr/>
        </p:nvSpPr>
        <p:spPr bwMode="auto">
          <a:xfrm>
            <a:off x="3618332" y="3297308"/>
            <a:ext cx="290513"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6" name="Rectangle 25"/>
          <p:cNvSpPr>
            <a:spLocks noChangeArrowheads="1"/>
          </p:cNvSpPr>
          <p:nvPr/>
        </p:nvSpPr>
        <p:spPr bwMode="auto">
          <a:xfrm>
            <a:off x="3618332" y="2317820"/>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7" name="Rectangle 26"/>
          <p:cNvSpPr>
            <a:spLocks noChangeArrowheads="1"/>
          </p:cNvSpPr>
          <p:nvPr/>
        </p:nvSpPr>
        <p:spPr bwMode="auto">
          <a:xfrm>
            <a:off x="4081881" y="2562295"/>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8" name="Rectangle 27"/>
          <p:cNvSpPr>
            <a:spLocks noChangeArrowheads="1"/>
          </p:cNvSpPr>
          <p:nvPr/>
        </p:nvSpPr>
        <p:spPr bwMode="auto">
          <a:xfrm>
            <a:off x="4081881" y="280677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29" name="Rectangle 28"/>
          <p:cNvSpPr>
            <a:spLocks noChangeArrowheads="1"/>
          </p:cNvSpPr>
          <p:nvPr/>
        </p:nvSpPr>
        <p:spPr bwMode="auto">
          <a:xfrm>
            <a:off x="4081881" y="3051244"/>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0" name="Rectangle 29"/>
          <p:cNvSpPr>
            <a:spLocks noChangeArrowheads="1"/>
          </p:cNvSpPr>
          <p:nvPr/>
        </p:nvSpPr>
        <p:spPr bwMode="auto">
          <a:xfrm>
            <a:off x="4081881" y="3297308"/>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1" name="Rectangle 30"/>
          <p:cNvSpPr>
            <a:spLocks noChangeArrowheads="1"/>
          </p:cNvSpPr>
          <p:nvPr/>
        </p:nvSpPr>
        <p:spPr bwMode="auto">
          <a:xfrm>
            <a:off x="4081881" y="231782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2" name="Rectangle 31"/>
          <p:cNvSpPr>
            <a:spLocks noChangeArrowheads="1"/>
          </p:cNvSpPr>
          <p:nvPr/>
        </p:nvSpPr>
        <p:spPr bwMode="auto">
          <a:xfrm>
            <a:off x="4548606" y="25622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3" name="Rectangle 32"/>
          <p:cNvSpPr>
            <a:spLocks noChangeArrowheads="1"/>
          </p:cNvSpPr>
          <p:nvPr/>
        </p:nvSpPr>
        <p:spPr bwMode="auto">
          <a:xfrm>
            <a:off x="4548606" y="28067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4" name="Rectangle 33"/>
          <p:cNvSpPr>
            <a:spLocks noChangeArrowheads="1"/>
          </p:cNvSpPr>
          <p:nvPr/>
        </p:nvSpPr>
        <p:spPr bwMode="auto">
          <a:xfrm>
            <a:off x="4548606" y="3051244"/>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5" name="Rectangle 34"/>
          <p:cNvSpPr>
            <a:spLocks noChangeArrowheads="1"/>
          </p:cNvSpPr>
          <p:nvPr/>
        </p:nvSpPr>
        <p:spPr bwMode="auto">
          <a:xfrm>
            <a:off x="4548606" y="3297308"/>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6" name="Rectangle 35"/>
          <p:cNvSpPr>
            <a:spLocks noChangeArrowheads="1"/>
          </p:cNvSpPr>
          <p:nvPr/>
        </p:nvSpPr>
        <p:spPr bwMode="auto">
          <a:xfrm>
            <a:off x="4548606" y="23178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68" name="Rectangle 36"/>
          <p:cNvSpPr>
            <a:spLocks noChangeArrowheads="1"/>
          </p:cNvSpPr>
          <p:nvPr/>
        </p:nvSpPr>
        <p:spPr bwMode="auto">
          <a:xfrm>
            <a:off x="7299459" y="2563137"/>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38" name="Rectangle 37"/>
          <p:cNvSpPr>
            <a:spLocks noChangeArrowheads="1"/>
          </p:cNvSpPr>
          <p:nvPr/>
        </p:nvSpPr>
        <p:spPr bwMode="auto">
          <a:xfrm>
            <a:off x="8058288" y="25622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39" name="Rectangle 38"/>
          <p:cNvSpPr>
            <a:spLocks noChangeArrowheads="1"/>
          </p:cNvSpPr>
          <p:nvPr/>
        </p:nvSpPr>
        <p:spPr bwMode="auto">
          <a:xfrm>
            <a:off x="8058288" y="28067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40" name="Rectangle 39"/>
          <p:cNvSpPr>
            <a:spLocks noChangeArrowheads="1"/>
          </p:cNvSpPr>
          <p:nvPr/>
        </p:nvSpPr>
        <p:spPr bwMode="auto">
          <a:xfrm>
            <a:off x="8058288" y="3051244"/>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42" name="Rectangle 41"/>
          <p:cNvSpPr>
            <a:spLocks noChangeArrowheads="1"/>
          </p:cNvSpPr>
          <p:nvPr/>
        </p:nvSpPr>
        <p:spPr bwMode="auto">
          <a:xfrm>
            <a:off x="7197863" y="1802817"/>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86474" name="Text Box 42"/>
          <p:cNvSpPr txBox="1">
            <a:spLocks noChangeArrowheads="1"/>
          </p:cNvSpPr>
          <p:nvPr/>
        </p:nvSpPr>
        <p:spPr bwMode="auto">
          <a:xfrm>
            <a:off x="8029277" y="3611859"/>
            <a:ext cx="2091104" cy="307777"/>
          </a:xfrm>
          <a:prstGeom prst="rect">
            <a:avLst/>
          </a:prstGeom>
          <a:noFill/>
          <a:ln w="9525" algn="ctr">
            <a:noFill/>
            <a:miter lim="800000"/>
            <a:headEnd/>
            <a:tailEnd/>
          </a:ln>
        </p:spPr>
        <p:txBody>
          <a:bodyPr wrap="square" lIns="0" tIns="0" rIns="0" bIns="0" anchor="ctr">
            <a:spAutoFit/>
          </a:bodyPr>
          <a:lstStyle/>
          <a:p>
            <a:pPr marL="0" lvl="1">
              <a:buSzPct val="100000"/>
            </a:pPr>
            <a:r>
              <a:rPr lang="en-US" altLang="ja-JP" sz="1000" dirty="0">
                <a:ea typeface="ＭＳ Ｐゴシック" charset="-128"/>
              </a:rPr>
              <a:t>Text</a:t>
            </a:r>
          </a:p>
          <a:p>
            <a:pPr marL="0" lvl="1">
              <a:buSzPct val="100000"/>
            </a:pPr>
            <a:r>
              <a:rPr lang="en-US" altLang="ja-JP" sz="1000" dirty="0">
                <a:ea typeface="ＭＳ Ｐゴシック" charset="-128"/>
              </a:rPr>
              <a:t>Text</a:t>
            </a:r>
          </a:p>
        </p:txBody>
      </p:sp>
      <p:sp>
        <p:nvSpPr>
          <p:cNvPr id="786475" name="Rectangle 43"/>
          <p:cNvSpPr>
            <a:spLocks noChangeArrowheads="1"/>
          </p:cNvSpPr>
          <p:nvPr/>
        </p:nvSpPr>
        <p:spPr bwMode="auto">
          <a:xfrm>
            <a:off x="7299459" y="2807612"/>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76" name="Rectangle 44"/>
          <p:cNvSpPr>
            <a:spLocks noChangeArrowheads="1"/>
          </p:cNvSpPr>
          <p:nvPr/>
        </p:nvSpPr>
        <p:spPr bwMode="auto">
          <a:xfrm>
            <a:off x="7299459" y="3052881"/>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477" name="Rectangle 45"/>
          <p:cNvSpPr>
            <a:spLocks noChangeArrowheads="1"/>
          </p:cNvSpPr>
          <p:nvPr/>
        </p:nvSpPr>
        <p:spPr bwMode="auto">
          <a:xfrm>
            <a:off x="7299459" y="3298944"/>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47" name="Rectangle 46"/>
          <p:cNvSpPr>
            <a:spLocks noChangeArrowheads="1"/>
          </p:cNvSpPr>
          <p:nvPr/>
        </p:nvSpPr>
        <p:spPr bwMode="auto">
          <a:xfrm>
            <a:off x="8058288" y="3297308"/>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79" name="Rectangle 47"/>
          <p:cNvSpPr>
            <a:spLocks noChangeArrowheads="1"/>
          </p:cNvSpPr>
          <p:nvPr/>
        </p:nvSpPr>
        <p:spPr bwMode="auto">
          <a:xfrm>
            <a:off x="7299459" y="2318662"/>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49" name="Rectangle 48"/>
          <p:cNvSpPr>
            <a:spLocks noChangeArrowheads="1"/>
          </p:cNvSpPr>
          <p:nvPr/>
        </p:nvSpPr>
        <p:spPr bwMode="auto">
          <a:xfrm>
            <a:off x="8058288" y="23178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0" name="Rectangle 49"/>
          <p:cNvSpPr>
            <a:spLocks noChangeArrowheads="1"/>
          </p:cNvSpPr>
          <p:nvPr/>
        </p:nvSpPr>
        <p:spPr bwMode="auto">
          <a:xfrm>
            <a:off x="8523425" y="2562295"/>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1" name="Rectangle 50"/>
          <p:cNvSpPr>
            <a:spLocks noChangeArrowheads="1"/>
          </p:cNvSpPr>
          <p:nvPr/>
        </p:nvSpPr>
        <p:spPr bwMode="auto">
          <a:xfrm>
            <a:off x="8523425" y="280677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2" name="Rectangle 51"/>
          <p:cNvSpPr>
            <a:spLocks noChangeArrowheads="1"/>
          </p:cNvSpPr>
          <p:nvPr/>
        </p:nvSpPr>
        <p:spPr bwMode="auto">
          <a:xfrm>
            <a:off x="8523425" y="3051244"/>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3" name="Rectangle 52"/>
          <p:cNvSpPr>
            <a:spLocks noChangeArrowheads="1"/>
          </p:cNvSpPr>
          <p:nvPr/>
        </p:nvSpPr>
        <p:spPr bwMode="auto">
          <a:xfrm>
            <a:off x="8523425" y="3297308"/>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4" name="Rectangle 53"/>
          <p:cNvSpPr>
            <a:spLocks noChangeArrowheads="1"/>
          </p:cNvSpPr>
          <p:nvPr/>
        </p:nvSpPr>
        <p:spPr bwMode="auto">
          <a:xfrm>
            <a:off x="8523425" y="2317820"/>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5" name="Rectangle 54"/>
          <p:cNvSpPr>
            <a:spLocks noChangeArrowheads="1"/>
          </p:cNvSpPr>
          <p:nvPr/>
        </p:nvSpPr>
        <p:spPr bwMode="auto">
          <a:xfrm>
            <a:off x="8988563" y="2562295"/>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6" name="Rectangle 55"/>
          <p:cNvSpPr>
            <a:spLocks noChangeArrowheads="1"/>
          </p:cNvSpPr>
          <p:nvPr/>
        </p:nvSpPr>
        <p:spPr bwMode="auto">
          <a:xfrm>
            <a:off x="8988563" y="280677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7" name="Rectangle 56"/>
          <p:cNvSpPr>
            <a:spLocks noChangeArrowheads="1"/>
          </p:cNvSpPr>
          <p:nvPr/>
        </p:nvSpPr>
        <p:spPr bwMode="auto">
          <a:xfrm>
            <a:off x="8988563" y="3051244"/>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8" name="Rectangle 57"/>
          <p:cNvSpPr>
            <a:spLocks noChangeArrowheads="1"/>
          </p:cNvSpPr>
          <p:nvPr/>
        </p:nvSpPr>
        <p:spPr bwMode="auto">
          <a:xfrm>
            <a:off x="8988563" y="3297308"/>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59" name="Rectangle 58"/>
          <p:cNvSpPr>
            <a:spLocks noChangeArrowheads="1"/>
          </p:cNvSpPr>
          <p:nvPr/>
        </p:nvSpPr>
        <p:spPr bwMode="auto">
          <a:xfrm>
            <a:off x="8988563" y="2317820"/>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0" name="Rectangle 59"/>
          <p:cNvSpPr>
            <a:spLocks noChangeArrowheads="1"/>
          </p:cNvSpPr>
          <p:nvPr/>
        </p:nvSpPr>
        <p:spPr bwMode="auto">
          <a:xfrm>
            <a:off x="9455288" y="2562295"/>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1" name="Rectangle 60"/>
          <p:cNvSpPr>
            <a:spLocks noChangeArrowheads="1"/>
          </p:cNvSpPr>
          <p:nvPr/>
        </p:nvSpPr>
        <p:spPr bwMode="auto">
          <a:xfrm>
            <a:off x="9455288" y="2806770"/>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2" name="Rectangle 61"/>
          <p:cNvSpPr>
            <a:spLocks noChangeArrowheads="1"/>
          </p:cNvSpPr>
          <p:nvPr/>
        </p:nvSpPr>
        <p:spPr bwMode="auto">
          <a:xfrm>
            <a:off x="9455288" y="3051244"/>
            <a:ext cx="290512"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3" name="Rectangle 62"/>
          <p:cNvSpPr>
            <a:spLocks noChangeArrowheads="1"/>
          </p:cNvSpPr>
          <p:nvPr/>
        </p:nvSpPr>
        <p:spPr bwMode="auto">
          <a:xfrm>
            <a:off x="9455288" y="3297308"/>
            <a:ext cx="290512"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4" name="Rectangle 63"/>
          <p:cNvSpPr>
            <a:spLocks noChangeArrowheads="1"/>
          </p:cNvSpPr>
          <p:nvPr/>
        </p:nvSpPr>
        <p:spPr bwMode="auto">
          <a:xfrm>
            <a:off x="9455288" y="2317820"/>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496" name="Rectangle 64"/>
          <p:cNvSpPr>
            <a:spLocks noChangeArrowheads="1"/>
          </p:cNvSpPr>
          <p:nvPr/>
        </p:nvSpPr>
        <p:spPr bwMode="auto">
          <a:xfrm>
            <a:off x="2394365" y="4810554"/>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66" name="Rectangle 65"/>
          <p:cNvSpPr>
            <a:spLocks noChangeArrowheads="1"/>
          </p:cNvSpPr>
          <p:nvPr/>
        </p:nvSpPr>
        <p:spPr bwMode="auto">
          <a:xfrm>
            <a:off x="3151606" y="4809712"/>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7" name="Rectangle 66"/>
          <p:cNvSpPr>
            <a:spLocks noChangeArrowheads="1"/>
          </p:cNvSpPr>
          <p:nvPr/>
        </p:nvSpPr>
        <p:spPr bwMode="auto">
          <a:xfrm>
            <a:off x="3151606" y="505418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68" name="Rectangle 67"/>
          <p:cNvSpPr>
            <a:spLocks noChangeArrowheads="1"/>
          </p:cNvSpPr>
          <p:nvPr/>
        </p:nvSpPr>
        <p:spPr bwMode="auto">
          <a:xfrm>
            <a:off x="3151606" y="5298662"/>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0" name="Rectangle 69"/>
          <p:cNvSpPr>
            <a:spLocks noChangeArrowheads="1"/>
          </p:cNvSpPr>
          <p:nvPr/>
        </p:nvSpPr>
        <p:spPr bwMode="auto">
          <a:xfrm>
            <a:off x="2292769" y="4050234"/>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1" name="Line 70"/>
          <p:cNvSpPr>
            <a:spLocks noChangeShapeType="1"/>
          </p:cNvSpPr>
          <p:nvPr/>
        </p:nvSpPr>
        <p:spPr bwMode="auto">
          <a:xfrm>
            <a:off x="2583603" y="6013165"/>
            <a:ext cx="457200" cy="0"/>
          </a:xfrm>
          <a:prstGeom prst="line">
            <a:avLst/>
          </a:prstGeom>
          <a:noFill/>
          <a:ln w="6350">
            <a:solidFill>
              <a:srgbClr val="BBBCBC"/>
            </a:solidFill>
            <a:round/>
            <a:headEnd/>
            <a:tailEnd type="triangle" w="med" len="med"/>
          </a:ln>
        </p:spPr>
        <p:txBody>
          <a:bodyPr lIns="90000" tIns="46800" rIns="90000" bIns="46800" anchor="ctr"/>
          <a:lstStyle/>
          <a:p>
            <a:pPr>
              <a:defRPr/>
            </a:pPr>
            <a:endParaRPr lang="en-US" sz="1050" dirty="0"/>
          </a:p>
        </p:txBody>
      </p:sp>
      <p:sp>
        <p:nvSpPr>
          <p:cNvPr id="786503" name="Rectangle 71"/>
          <p:cNvSpPr>
            <a:spLocks noChangeArrowheads="1"/>
          </p:cNvSpPr>
          <p:nvPr/>
        </p:nvSpPr>
        <p:spPr bwMode="auto">
          <a:xfrm>
            <a:off x="2394365" y="5055029"/>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04" name="Rectangle 72"/>
          <p:cNvSpPr>
            <a:spLocks noChangeArrowheads="1"/>
          </p:cNvSpPr>
          <p:nvPr/>
        </p:nvSpPr>
        <p:spPr bwMode="auto">
          <a:xfrm>
            <a:off x="2394365" y="5300298"/>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05" name="Rectangle 73"/>
          <p:cNvSpPr>
            <a:spLocks noChangeArrowheads="1"/>
          </p:cNvSpPr>
          <p:nvPr/>
        </p:nvSpPr>
        <p:spPr bwMode="auto">
          <a:xfrm>
            <a:off x="2394365" y="5546360"/>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5" name="Rectangle 74"/>
          <p:cNvSpPr>
            <a:spLocks noChangeArrowheads="1"/>
          </p:cNvSpPr>
          <p:nvPr/>
        </p:nvSpPr>
        <p:spPr bwMode="auto">
          <a:xfrm>
            <a:off x="3151606" y="5544723"/>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507" name="Rectangle 75"/>
          <p:cNvSpPr>
            <a:spLocks noChangeArrowheads="1"/>
          </p:cNvSpPr>
          <p:nvPr/>
        </p:nvSpPr>
        <p:spPr bwMode="auto">
          <a:xfrm>
            <a:off x="2394365" y="4566079"/>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7" name="Rectangle 76"/>
          <p:cNvSpPr>
            <a:spLocks noChangeArrowheads="1"/>
          </p:cNvSpPr>
          <p:nvPr/>
        </p:nvSpPr>
        <p:spPr bwMode="auto">
          <a:xfrm>
            <a:off x="3151606" y="456523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 name="Rectangle 77"/>
          <p:cNvSpPr>
            <a:spLocks noChangeArrowheads="1"/>
          </p:cNvSpPr>
          <p:nvPr/>
        </p:nvSpPr>
        <p:spPr bwMode="auto">
          <a:xfrm>
            <a:off x="3618332" y="4809712"/>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9" name="Rectangle 78"/>
          <p:cNvSpPr>
            <a:spLocks noChangeArrowheads="1"/>
          </p:cNvSpPr>
          <p:nvPr/>
        </p:nvSpPr>
        <p:spPr bwMode="auto">
          <a:xfrm>
            <a:off x="3618332" y="5054187"/>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0" name="Rectangle 79"/>
          <p:cNvSpPr>
            <a:spLocks noChangeArrowheads="1"/>
          </p:cNvSpPr>
          <p:nvPr/>
        </p:nvSpPr>
        <p:spPr bwMode="auto">
          <a:xfrm>
            <a:off x="3618332" y="5298662"/>
            <a:ext cx="290513"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1" name="Rectangle 80"/>
          <p:cNvSpPr>
            <a:spLocks noChangeArrowheads="1"/>
          </p:cNvSpPr>
          <p:nvPr/>
        </p:nvSpPr>
        <p:spPr bwMode="auto">
          <a:xfrm>
            <a:off x="3618332" y="5544723"/>
            <a:ext cx="290513"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2" name="Rectangle 81"/>
          <p:cNvSpPr>
            <a:spLocks noChangeArrowheads="1"/>
          </p:cNvSpPr>
          <p:nvPr/>
        </p:nvSpPr>
        <p:spPr bwMode="auto">
          <a:xfrm>
            <a:off x="3618332" y="4565237"/>
            <a:ext cx="290513"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3" name="Rectangle 82"/>
          <p:cNvSpPr>
            <a:spLocks noChangeArrowheads="1"/>
          </p:cNvSpPr>
          <p:nvPr/>
        </p:nvSpPr>
        <p:spPr bwMode="auto">
          <a:xfrm>
            <a:off x="4081881" y="4809712"/>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4" name="Rectangle 83"/>
          <p:cNvSpPr>
            <a:spLocks noChangeArrowheads="1"/>
          </p:cNvSpPr>
          <p:nvPr/>
        </p:nvSpPr>
        <p:spPr bwMode="auto">
          <a:xfrm>
            <a:off x="4081881" y="5054187"/>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5" name="Rectangle 84"/>
          <p:cNvSpPr>
            <a:spLocks noChangeArrowheads="1"/>
          </p:cNvSpPr>
          <p:nvPr/>
        </p:nvSpPr>
        <p:spPr bwMode="auto">
          <a:xfrm>
            <a:off x="4081881" y="5298662"/>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6" name="Rectangle 85"/>
          <p:cNvSpPr>
            <a:spLocks noChangeArrowheads="1"/>
          </p:cNvSpPr>
          <p:nvPr/>
        </p:nvSpPr>
        <p:spPr bwMode="auto">
          <a:xfrm>
            <a:off x="4081881" y="5544723"/>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7" name="Rectangle 86"/>
          <p:cNvSpPr>
            <a:spLocks noChangeArrowheads="1"/>
          </p:cNvSpPr>
          <p:nvPr/>
        </p:nvSpPr>
        <p:spPr bwMode="auto">
          <a:xfrm>
            <a:off x="4081881" y="4565237"/>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8" name="Rectangle 87"/>
          <p:cNvSpPr>
            <a:spLocks noChangeArrowheads="1"/>
          </p:cNvSpPr>
          <p:nvPr/>
        </p:nvSpPr>
        <p:spPr bwMode="auto">
          <a:xfrm>
            <a:off x="4548606" y="4809712"/>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89" name="Rectangle 88"/>
          <p:cNvSpPr>
            <a:spLocks noChangeArrowheads="1"/>
          </p:cNvSpPr>
          <p:nvPr/>
        </p:nvSpPr>
        <p:spPr bwMode="auto">
          <a:xfrm>
            <a:off x="4548606" y="505418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0" name="Rectangle 89"/>
          <p:cNvSpPr>
            <a:spLocks noChangeArrowheads="1"/>
          </p:cNvSpPr>
          <p:nvPr/>
        </p:nvSpPr>
        <p:spPr bwMode="auto">
          <a:xfrm>
            <a:off x="4548606" y="5298662"/>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1" name="Rectangle 90"/>
          <p:cNvSpPr>
            <a:spLocks noChangeArrowheads="1"/>
          </p:cNvSpPr>
          <p:nvPr/>
        </p:nvSpPr>
        <p:spPr bwMode="auto">
          <a:xfrm>
            <a:off x="4548606" y="5544723"/>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2" name="Rectangle 91"/>
          <p:cNvSpPr>
            <a:spLocks noChangeArrowheads="1"/>
          </p:cNvSpPr>
          <p:nvPr/>
        </p:nvSpPr>
        <p:spPr bwMode="auto">
          <a:xfrm>
            <a:off x="4548606" y="456523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524" name="Rectangle 92"/>
          <p:cNvSpPr>
            <a:spLocks noChangeArrowheads="1"/>
          </p:cNvSpPr>
          <p:nvPr/>
        </p:nvSpPr>
        <p:spPr bwMode="auto">
          <a:xfrm>
            <a:off x="7299459" y="4810554"/>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94" name="Rectangle 93"/>
          <p:cNvSpPr>
            <a:spLocks noChangeArrowheads="1"/>
          </p:cNvSpPr>
          <p:nvPr/>
        </p:nvSpPr>
        <p:spPr bwMode="auto">
          <a:xfrm>
            <a:off x="8058288" y="4809712"/>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5" name="Rectangle 94"/>
          <p:cNvSpPr>
            <a:spLocks noChangeArrowheads="1"/>
          </p:cNvSpPr>
          <p:nvPr/>
        </p:nvSpPr>
        <p:spPr bwMode="auto">
          <a:xfrm>
            <a:off x="8058288" y="505418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6" name="Rectangle 95"/>
          <p:cNvSpPr>
            <a:spLocks noChangeArrowheads="1"/>
          </p:cNvSpPr>
          <p:nvPr/>
        </p:nvSpPr>
        <p:spPr bwMode="auto">
          <a:xfrm>
            <a:off x="8058288" y="5298662"/>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98" name="Rectangle 97"/>
          <p:cNvSpPr>
            <a:spLocks noChangeArrowheads="1"/>
          </p:cNvSpPr>
          <p:nvPr/>
        </p:nvSpPr>
        <p:spPr bwMode="auto">
          <a:xfrm>
            <a:off x="7197863" y="4050234"/>
            <a:ext cx="2921000" cy="1737360"/>
          </a:xfrm>
          <a:prstGeom prst="rect">
            <a:avLst/>
          </a:prstGeom>
          <a:noFill/>
          <a:ln w="6350" algn="ctr">
            <a:solidFill>
              <a:srgbClr val="BBBCBC"/>
            </a:solidFill>
            <a:miter lim="800000"/>
            <a:headEnd/>
            <a:tailEnd/>
          </a:ln>
        </p:spPr>
        <p:txBody>
          <a:bodyPr wrap="none" lIns="88900" tIns="88900" rIns="88900" bIns="88900" anchor="t"/>
          <a:lstStyle/>
          <a:p>
            <a:pPr algn="ctr"/>
            <a:r>
              <a:rPr lang="en-US" altLang="ja-JP" sz="1050" dirty="0">
                <a:ea typeface="ＭＳ Ｐゴシック" charset="-128"/>
              </a:rPr>
              <a:t>Competitive group</a:t>
            </a:r>
          </a:p>
          <a:p>
            <a:pPr algn="ctr"/>
            <a:r>
              <a:rPr lang="en-US" altLang="ja-JP" sz="1050" dirty="0">
                <a:ea typeface="ＭＳ Ｐゴシック" charset="-128"/>
              </a:rPr>
              <a:t>(sample companies)</a:t>
            </a:r>
          </a:p>
        </p:txBody>
      </p:sp>
      <p:sp>
        <p:nvSpPr>
          <p:cNvPr id="786530" name="Rectangle 98"/>
          <p:cNvSpPr>
            <a:spLocks noChangeArrowheads="1"/>
          </p:cNvSpPr>
          <p:nvPr/>
        </p:nvSpPr>
        <p:spPr bwMode="auto">
          <a:xfrm>
            <a:off x="7299459" y="5055029"/>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31" name="Rectangle 99"/>
          <p:cNvSpPr>
            <a:spLocks noChangeArrowheads="1"/>
          </p:cNvSpPr>
          <p:nvPr/>
        </p:nvSpPr>
        <p:spPr bwMode="auto">
          <a:xfrm>
            <a:off x="7299459" y="5300298"/>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786532" name="Rectangle 100"/>
          <p:cNvSpPr>
            <a:spLocks noChangeArrowheads="1"/>
          </p:cNvSpPr>
          <p:nvPr/>
        </p:nvSpPr>
        <p:spPr bwMode="auto">
          <a:xfrm>
            <a:off x="7299459" y="5546360"/>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102" name="Rectangle 101"/>
          <p:cNvSpPr>
            <a:spLocks noChangeArrowheads="1"/>
          </p:cNvSpPr>
          <p:nvPr/>
        </p:nvSpPr>
        <p:spPr bwMode="auto">
          <a:xfrm>
            <a:off x="8058288" y="5544723"/>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786534" name="Rectangle 102"/>
          <p:cNvSpPr>
            <a:spLocks noChangeArrowheads="1"/>
          </p:cNvSpPr>
          <p:nvPr/>
        </p:nvSpPr>
        <p:spPr bwMode="auto">
          <a:xfrm>
            <a:off x="7299459" y="4566079"/>
            <a:ext cx="379912" cy="153888"/>
          </a:xfrm>
          <a:prstGeom prst="rect">
            <a:avLst/>
          </a:prstGeom>
          <a:noFill/>
          <a:ln w="9525">
            <a:noFill/>
            <a:miter lim="800000"/>
            <a:headEnd/>
            <a:tailEnd/>
          </a:ln>
        </p:spPr>
        <p:txBody>
          <a:bodyPr wrap="none" lIns="0" tIns="0" rIns="0" bIns="0" anchor="ctr">
            <a:spAutoFit/>
          </a:bodyPr>
          <a:lstStyle/>
          <a:p>
            <a:r>
              <a:rPr lang="en-US" altLang="ja-JP" sz="1000" dirty="0">
                <a:ea typeface="ＭＳ Ｐゴシック" charset="-128"/>
              </a:rPr>
              <a:t>Activity</a:t>
            </a:r>
          </a:p>
        </p:txBody>
      </p:sp>
      <p:sp>
        <p:nvSpPr>
          <p:cNvPr id="104" name="Rectangle 103"/>
          <p:cNvSpPr>
            <a:spLocks noChangeArrowheads="1"/>
          </p:cNvSpPr>
          <p:nvPr/>
        </p:nvSpPr>
        <p:spPr bwMode="auto">
          <a:xfrm>
            <a:off x="8058288" y="456523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5" name="Rectangle 104"/>
          <p:cNvSpPr>
            <a:spLocks noChangeArrowheads="1"/>
          </p:cNvSpPr>
          <p:nvPr/>
        </p:nvSpPr>
        <p:spPr bwMode="auto">
          <a:xfrm>
            <a:off x="8523425" y="4809712"/>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6" name="Rectangle 105"/>
          <p:cNvSpPr>
            <a:spLocks noChangeArrowheads="1"/>
          </p:cNvSpPr>
          <p:nvPr/>
        </p:nvSpPr>
        <p:spPr bwMode="auto">
          <a:xfrm>
            <a:off x="8523425" y="5054187"/>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7" name="Rectangle 106"/>
          <p:cNvSpPr>
            <a:spLocks noChangeArrowheads="1"/>
          </p:cNvSpPr>
          <p:nvPr/>
        </p:nvSpPr>
        <p:spPr bwMode="auto">
          <a:xfrm>
            <a:off x="8523425" y="5298662"/>
            <a:ext cx="293688"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8" name="Rectangle 107"/>
          <p:cNvSpPr>
            <a:spLocks noChangeArrowheads="1"/>
          </p:cNvSpPr>
          <p:nvPr/>
        </p:nvSpPr>
        <p:spPr bwMode="auto">
          <a:xfrm>
            <a:off x="8523425" y="5544723"/>
            <a:ext cx="293688"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09" name="Rectangle 108"/>
          <p:cNvSpPr>
            <a:spLocks noChangeArrowheads="1"/>
          </p:cNvSpPr>
          <p:nvPr/>
        </p:nvSpPr>
        <p:spPr bwMode="auto">
          <a:xfrm>
            <a:off x="8523425" y="4565237"/>
            <a:ext cx="293688"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0" name="Rectangle 109"/>
          <p:cNvSpPr>
            <a:spLocks noChangeArrowheads="1"/>
          </p:cNvSpPr>
          <p:nvPr/>
        </p:nvSpPr>
        <p:spPr bwMode="auto">
          <a:xfrm>
            <a:off x="8988563" y="4809712"/>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1" name="Rectangle 110"/>
          <p:cNvSpPr>
            <a:spLocks noChangeArrowheads="1"/>
          </p:cNvSpPr>
          <p:nvPr/>
        </p:nvSpPr>
        <p:spPr bwMode="auto">
          <a:xfrm>
            <a:off x="8988563" y="505418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2" name="Rectangle 111"/>
          <p:cNvSpPr>
            <a:spLocks noChangeArrowheads="1"/>
          </p:cNvSpPr>
          <p:nvPr/>
        </p:nvSpPr>
        <p:spPr bwMode="auto">
          <a:xfrm>
            <a:off x="8988563" y="5298662"/>
            <a:ext cx="292100"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3" name="Rectangle 112"/>
          <p:cNvSpPr>
            <a:spLocks noChangeArrowheads="1"/>
          </p:cNvSpPr>
          <p:nvPr/>
        </p:nvSpPr>
        <p:spPr bwMode="auto">
          <a:xfrm>
            <a:off x="8988563" y="5544723"/>
            <a:ext cx="292100"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4" name="Rectangle 113"/>
          <p:cNvSpPr>
            <a:spLocks noChangeArrowheads="1"/>
          </p:cNvSpPr>
          <p:nvPr/>
        </p:nvSpPr>
        <p:spPr bwMode="auto">
          <a:xfrm>
            <a:off x="8988563" y="4565237"/>
            <a:ext cx="292100"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5" name="Rectangle 114"/>
          <p:cNvSpPr>
            <a:spLocks noChangeArrowheads="1"/>
          </p:cNvSpPr>
          <p:nvPr/>
        </p:nvSpPr>
        <p:spPr bwMode="auto">
          <a:xfrm>
            <a:off x="9455288" y="4809712"/>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6" name="Rectangle 115"/>
          <p:cNvSpPr>
            <a:spLocks noChangeArrowheads="1"/>
          </p:cNvSpPr>
          <p:nvPr/>
        </p:nvSpPr>
        <p:spPr bwMode="auto">
          <a:xfrm>
            <a:off x="9455288" y="5054187"/>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7" name="Rectangle 116"/>
          <p:cNvSpPr>
            <a:spLocks noChangeArrowheads="1"/>
          </p:cNvSpPr>
          <p:nvPr/>
        </p:nvSpPr>
        <p:spPr bwMode="auto">
          <a:xfrm>
            <a:off x="9455288" y="5298662"/>
            <a:ext cx="290512" cy="157163"/>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8" name="Rectangle 117"/>
          <p:cNvSpPr>
            <a:spLocks noChangeArrowheads="1"/>
          </p:cNvSpPr>
          <p:nvPr/>
        </p:nvSpPr>
        <p:spPr bwMode="auto">
          <a:xfrm>
            <a:off x="9455288" y="5544723"/>
            <a:ext cx="290512" cy="157162"/>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19" name="Rectangle 118"/>
          <p:cNvSpPr>
            <a:spLocks noChangeArrowheads="1"/>
          </p:cNvSpPr>
          <p:nvPr/>
        </p:nvSpPr>
        <p:spPr bwMode="auto">
          <a:xfrm>
            <a:off x="9455288" y="4565237"/>
            <a:ext cx="290512" cy="155575"/>
          </a:xfrm>
          <a:prstGeom prst="rect">
            <a:avLst/>
          </a:prstGeom>
          <a:solidFill>
            <a:schemeClr val="bg1"/>
          </a:solidFill>
          <a:ln w="6350" algn="ctr">
            <a:solidFill>
              <a:srgbClr val="BBBCBC"/>
            </a:solidFill>
            <a:miter lim="800000"/>
            <a:headEnd/>
            <a:tailEnd/>
          </a:ln>
        </p:spPr>
        <p:txBody>
          <a:bodyPr wrap="none" lIns="90000" tIns="46800" rIns="90000" bIns="46800" anchor="ctr"/>
          <a:lstStyle/>
          <a:p>
            <a:pPr algn="ctr">
              <a:defRPr/>
            </a:pPr>
            <a:endParaRPr lang="en-US" sz="1050" dirty="0"/>
          </a:p>
        </p:txBody>
      </p:sp>
      <p:sp>
        <p:nvSpPr>
          <p:cNvPr id="120" name="TextBox 119">
            <a:extLst>
              <a:ext uri="{FF2B5EF4-FFF2-40B4-BE49-F238E27FC236}">
                <a16:creationId xmlns:a16="http://schemas.microsoft.com/office/drawing/2014/main" id="{DCB4204C-F518-4EB9-BB95-4CDDEAEAD38A}"/>
              </a:ext>
            </a:extLst>
          </p:cNvPr>
          <p:cNvSpPr txBox="1"/>
          <p:nvPr/>
        </p:nvSpPr>
        <p:spPr bwMode="gray">
          <a:xfrm>
            <a:off x="541951" y="1501849"/>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2632239365"/>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6"/>
          <p:cNvSpPr>
            <a:spLocks noGrp="1"/>
          </p:cNvSpPr>
          <p:nvPr>
            <p:ph type="body" sz="quarter" idx="13"/>
          </p:nvPr>
        </p:nvSpPr>
        <p:spPr/>
        <p:txBody>
          <a:bodyPr/>
          <a:lstStyle/>
          <a:p>
            <a:r>
              <a:rPr lang="en-US"/>
              <a:t>Ranges of activities across value chain</a:t>
            </a:r>
            <a:endParaRPr lang="en-US" dirty="0"/>
          </a:p>
        </p:txBody>
      </p:sp>
      <p:sp>
        <p:nvSpPr>
          <p:cNvPr id="787457" name="Title 1"/>
          <p:cNvSpPr>
            <a:spLocks noGrp="1"/>
          </p:cNvSpPr>
          <p:nvPr>
            <p:ph type="title"/>
          </p:nvPr>
        </p:nvSpPr>
        <p:spPr/>
        <p:txBody>
          <a:bodyPr/>
          <a:lstStyle/>
          <a:p>
            <a:r>
              <a:rPr lang="en-US" altLang="ja-JP"/>
              <a:t>Activity map </a:t>
            </a:r>
            <a:endParaRPr lang="en-US" dirty="0"/>
          </a:p>
        </p:txBody>
      </p:sp>
      <p:grpSp>
        <p:nvGrpSpPr>
          <p:cNvPr id="2" name="Group 1">
            <a:extLst>
              <a:ext uri="{FF2B5EF4-FFF2-40B4-BE49-F238E27FC236}">
                <a16:creationId xmlns:a16="http://schemas.microsoft.com/office/drawing/2014/main" id="{26408395-8352-41D5-8362-88E7A2D68396}"/>
              </a:ext>
            </a:extLst>
          </p:cNvPr>
          <p:cNvGrpSpPr/>
          <p:nvPr/>
        </p:nvGrpSpPr>
        <p:grpSpPr>
          <a:xfrm>
            <a:off x="546538" y="1976439"/>
            <a:ext cx="11098924" cy="3903662"/>
            <a:chOff x="1889125" y="1976439"/>
            <a:chExt cx="8416926" cy="3903662"/>
          </a:xfrm>
        </p:grpSpPr>
        <p:sp>
          <p:nvSpPr>
            <p:cNvPr id="4" name="Rectangle 3"/>
            <p:cNvSpPr>
              <a:spLocks noChangeArrowheads="1"/>
            </p:cNvSpPr>
            <p:nvPr/>
          </p:nvSpPr>
          <p:spPr bwMode="auto">
            <a:xfrm>
              <a:off x="2825750" y="3369630"/>
              <a:ext cx="1728788"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5" name="Rectangle 4"/>
            <p:cNvSpPr>
              <a:spLocks noChangeArrowheads="1"/>
            </p:cNvSpPr>
            <p:nvPr/>
          </p:nvSpPr>
          <p:spPr bwMode="auto">
            <a:xfrm>
              <a:off x="4742922" y="3369628"/>
              <a:ext cx="1730375"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6" name="Rectangle 5"/>
            <p:cNvSpPr>
              <a:spLocks noChangeArrowheads="1"/>
            </p:cNvSpPr>
            <p:nvPr/>
          </p:nvSpPr>
          <p:spPr bwMode="auto">
            <a:xfrm>
              <a:off x="6661679" y="3369628"/>
              <a:ext cx="1727200"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7" name="Rectangle 6"/>
            <p:cNvSpPr>
              <a:spLocks noChangeArrowheads="1"/>
            </p:cNvSpPr>
            <p:nvPr/>
          </p:nvSpPr>
          <p:spPr bwMode="auto">
            <a:xfrm>
              <a:off x="8577264" y="3369628"/>
              <a:ext cx="1728787"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8" name="Rectangle 7"/>
            <p:cNvSpPr>
              <a:spLocks noChangeArrowheads="1"/>
            </p:cNvSpPr>
            <p:nvPr/>
          </p:nvSpPr>
          <p:spPr bwMode="auto">
            <a:xfrm>
              <a:off x="2825750" y="4066226"/>
              <a:ext cx="2325688"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9" name="Rectangle 8"/>
            <p:cNvSpPr>
              <a:spLocks noChangeArrowheads="1"/>
            </p:cNvSpPr>
            <p:nvPr/>
          </p:nvSpPr>
          <p:spPr bwMode="auto">
            <a:xfrm>
              <a:off x="5401470" y="4066224"/>
              <a:ext cx="2327275"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0" name="Rectangle 9"/>
            <p:cNvSpPr>
              <a:spLocks noChangeArrowheads="1"/>
            </p:cNvSpPr>
            <p:nvPr/>
          </p:nvSpPr>
          <p:spPr bwMode="auto">
            <a:xfrm>
              <a:off x="7978776" y="4066224"/>
              <a:ext cx="2327275"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1" name="Rectangle 10"/>
            <p:cNvSpPr>
              <a:spLocks noChangeArrowheads="1"/>
            </p:cNvSpPr>
            <p:nvPr/>
          </p:nvSpPr>
          <p:spPr bwMode="auto">
            <a:xfrm>
              <a:off x="7438630" y="2673034"/>
              <a:ext cx="1330325"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2" name="Rectangle 11"/>
            <p:cNvSpPr>
              <a:spLocks noChangeArrowheads="1"/>
            </p:cNvSpPr>
            <p:nvPr/>
          </p:nvSpPr>
          <p:spPr bwMode="auto">
            <a:xfrm>
              <a:off x="5901533" y="2673034"/>
              <a:ext cx="1330325"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3" name="Rectangle 12"/>
            <p:cNvSpPr>
              <a:spLocks noChangeArrowheads="1"/>
            </p:cNvSpPr>
            <p:nvPr/>
          </p:nvSpPr>
          <p:spPr bwMode="auto">
            <a:xfrm>
              <a:off x="4364436" y="2673034"/>
              <a:ext cx="1330325"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4" name="Rectangle 13"/>
            <p:cNvSpPr>
              <a:spLocks noChangeArrowheads="1"/>
            </p:cNvSpPr>
            <p:nvPr/>
          </p:nvSpPr>
          <p:spPr bwMode="auto">
            <a:xfrm>
              <a:off x="2825751" y="2673034"/>
              <a:ext cx="1331913"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5" name="Rectangle 14"/>
            <p:cNvSpPr>
              <a:spLocks noChangeArrowheads="1"/>
            </p:cNvSpPr>
            <p:nvPr/>
          </p:nvSpPr>
          <p:spPr bwMode="auto">
            <a:xfrm>
              <a:off x="9309100"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6" name="Rectangle 15"/>
            <p:cNvSpPr>
              <a:spLocks noChangeArrowheads="1"/>
            </p:cNvSpPr>
            <p:nvPr/>
          </p:nvSpPr>
          <p:spPr bwMode="auto">
            <a:xfrm>
              <a:off x="8228278"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7" name="Rectangle 16"/>
            <p:cNvSpPr>
              <a:spLocks noChangeArrowheads="1"/>
            </p:cNvSpPr>
            <p:nvPr/>
          </p:nvSpPr>
          <p:spPr bwMode="auto">
            <a:xfrm>
              <a:off x="3906573"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8" name="Rectangle 17"/>
            <p:cNvSpPr>
              <a:spLocks noChangeArrowheads="1"/>
            </p:cNvSpPr>
            <p:nvPr/>
          </p:nvSpPr>
          <p:spPr bwMode="auto">
            <a:xfrm>
              <a:off x="2825750"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19" name="Rectangle 18"/>
            <p:cNvSpPr>
              <a:spLocks noChangeArrowheads="1"/>
            </p:cNvSpPr>
            <p:nvPr/>
          </p:nvSpPr>
          <p:spPr bwMode="auto">
            <a:xfrm>
              <a:off x="7147455"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20" name="Rectangle 19"/>
            <p:cNvSpPr>
              <a:spLocks noChangeArrowheads="1"/>
            </p:cNvSpPr>
            <p:nvPr/>
          </p:nvSpPr>
          <p:spPr bwMode="auto">
            <a:xfrm>
              <a:off x="2825750" y="4762820"/>
              <a:ext cx="3589338"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21" name="Rectangle 20"/>
            <p:cNvSpPr>
              <a:spLocks noChangeArrowheads="1"/>
            </p:cNvSpPr>
            <p:nvPr/>
          </p:nvSpPr>
          <p:spPr bwMode="auto">
            <a:xfrm>
              <a:off x="6716714" y="4762820"/>
              <a:ext cx="3589337"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787477" name="Text Box 21"/>
            <p:cNvSpPr txBox="1">
              <a:spLocks noChangeArrowheads="1"/>
            </p:cNvSpPr>
            <p:nvPr/>
          </p:nvSpPr>
          <p:spPr bwMode="auto">
            <a:xfrm>
              <a:off x="1889125" y="2102144"/>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23" name="Line 22"/>
            <p:cNvSpPr>
              <a:spLocks noChangeShapeType="1"/>
            </p:cNvSpPr>
            <p:nvPr/>
          </p:nvSpPr>
          <p:spPr bwMode="auto">
            <a:xfrm>
              <a:off x="1908176" y="2535079"/>
              <a:ext cx="836295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4" name="Line 23"/>
            <p:cNvSpPr>
              <a:spLocks noChangeShapeType="1"/>
            </p:cNvSpPr>
            <p:nvPr/>
          </p:nvSpPr>
          <p:spPr bwMode="auto">
            <a:xfrm>
              <a:off x="1908175" y="3231674"/>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5" name="Line 24"/>
            <p:cNvSpPr>
              <a:spLocks noChangeShapeType="1"/>
            </p:cNvSpPr>
            <p:nvPr/>
          </p:nvSpPr>
          <p:spPr bwMode="auto">
            <a:xfrm>
              <a:off x="1908175" y="3928270"/>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6" name="Line 25"/>
            <p:cNvSpPr>
              <a:spLocks noChangeShapeType="1"/>
            </p:cNvSpPr>
            <p:nvPr/>
          </p:nvSpPr>
          <p:spPr bwMode="auto">
            <a:xfrm>
              <a:off x="1908175" y="4624866"/>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28" name="Rectangle 27"/>
            <p:cNvSpPr>
              <a:spLocks noChangeArrowheads="1"/>
            </p:cNvSpPr>
            <p:nvPr/>
          </p:nvSpPr>
          <p:spPr bwMode="auto">
            <a:xfrm>
              <a:off x="4752976" y="5459413"/>
              <a:ext cx="1730375"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29" name="Rectangle 28"/>
            <p:cNvSpPr>
              <a:spLocks noChangeArrowheads="1"/>
            </p:cNvSpPr>
            <p:nvPr/>
          </p:nvSpPr>
          <p:spPr bwMode="auto">
            <a:xfrm>
              <a:off x="6666706" y="5459413"/>
              <a:ext cx="1727200"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30" name="Rectangle 29"/>
            <p:cNvSpPr>
              <a:spLocks noChangeArrowheads="1"/>
            </p:cNvSpPr>
            <p:nvPr/>
          </p:nvSpPr>
          <p:spPr bwMode="auto">
            <a:xfrm>
              <a:off x="8577264" y="5459413"/>
              <a:ext cx="1728787" cy="420688"/>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31" name="Line 30"/>
            <p:cNvSpPr>
              <a:spLocks noChangeShapeType="1"/>
            </p:cNvSpPr>
            <p:nvPr/>
          </p:nvSpPr>
          <p:spPr bwMode="auto">
            <a:xfrm>
              <a:off x="1908175" y="5321462"/>
              <a:ext cx="8362800" cy="0"/>
            </a:xfrm>
            <a:prstGeom prst="line">
              <a:avLst/>
            </a:prstGeom>
            <a:noFill/>
            <a:ln w="6350">
              <a:solidFill>
                <a:schemeClr val="bg2"/>
              </a:solidFill>
              <a:prstDash val="solid"/>
              <a:round/>
              <a:headEnd type="none" w="sm" len="sm"/>
              <a:tailEnd type="none" w="med" len="lg"/>
            </a:ln>
          </p:spPr>
          <p:txBody>
            <a:bodyPr wrap="square" lIns="36000" tIns="36000" rIns="36000" bIns="36000"/>
            <a:lstStyle/>
            <a:p>
              <a:pPr>
                <a:defRPr/>
              </a:pPr>
              <a:endParaRPr lang="en-US" sz="1100" dirty="0"/>
            </a:p>
          </p:txBody>
        </p:sp>
        <p:sp>
          <p:nvSpPr>
            <p:cNvPr id="32" name="Rectangle 31"/>
            <p:cNvSpPr>
              <a:spLocks noChangeArrowheads="1"/>
            </p:cNvSpPr>
            <p:nvPr/>
          </p:nvSpPr>
          <p:spPr bwMode="auto">
            <a:xfrm>
              <a:off x="8975726" y="2673034"/>
              <a:ext cx="1330325"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787487" name="Text Box 32"/>
            <p:cNvSpPr txBox="1">
              <a:spLocks noChangeArrowheads="1"/>
            </p:cNvSpPr>
            <p:nvPr/>
          </p:nvSpPr>
          <p:spPr bwMode="auto">
            <a:xfrm>
              <a:off x="1889125" y="2798739"/>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88" name="Text Box 33"/>
            <p:cNvSpPr txBox="1">
              <a:spLocks noChangeArrowheads="1"/>
            </p:cNvSpPr>
            <p:nvPr/>
          </p:nvSpPr>
          <p:spPr bwMode="auto">
            <a:xfrm>
              <a:off x="1889125" y="3495334"/>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89" name="Text Box 34"/>
            <p:cNvSpPr txBox="1">
              <a:spLocks noChangeArrowheads="1"/>
            </p:cNvSpPr>
            <p:nvPr/>
          </p:nvSpPr>
          <p:spPr bwMode="auto">
            <a:xfrm>
              <a:off x="1889125" y="4191929"/>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90" name="Text Box 35"/>
            <p:cNvSpPr txBox="1">
              <a:spLocks noChangeArrowheads="1"/>
            </p:cNvSpPr>
            <p:nvPr/>
          </p:nvSpPr>
          <p:spPr bwMode="auto">
            <a:xfrm>
              <a:off x="1889125" y="4888524"/>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787491" name="Text Box 36"/>
            <p:cNvSpPr txBox="1">
              <a:spLocks noChangeArrowheads="1"/>
            </p:cNvSpPr>
            <p:nvPr/>
          </p:nvSpPr>
          <p:spPr bwMode="auto">
            <a:xfrm>
              <a:off x="1889125" y="5585120"/>
              <a:ext cx="709096" cy="169277"/>
            </a:xfrm>
            <a:prstGeom prst="rect">
              <a:avLst/>
            </a:prstGeom>
            <a:noFill/>
            <a:ln w="9525">
              <a:noFill/>
              <a:miter lim="800000"/>
              <a:headEnd type="none" w="sm" len="sm"/>
              <a:tailEnd type="none" w="med" len="lg"/>
            </a:ln>
          </p:spPr>
          <p:txBody>
            <a:bodyPr wrap="square" lIns="0" tIns="0" rIns="0" bIns="0">
              <a:spAutoFit/>
            </a:bodyPr>
            <a:lstStyle/>
            <a:p>
              <a:r>
                <a:rPr lang="en-US" altLang="ja-JP" sz="1100" dirty="0">
                  <a:ea typeface="ＭＳ Ｐゴシック" charset="-128"/>
                </a:rPr>
                <a:t>Stage ...</a:t>
              </a:r>
            </a:p>
          </p:txBody>
        </p:sp>
        <p:sp>
          <p:nvSpPr>
            <p:cNvPr id="38" name="Rectangle 37"/>
            <p:cNvSpPr>
              <a:spLocks noChangeArrowheads="1"/>
            </p:cNvSpPr>
            <p:nvPr/>
          </p:nvSpPr>
          <p:spPr bwMode="auto">
            <a:xfrm>
              <a:off x="4987397" y="1976439"/>
              <a:ext cx="995363"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sp>
          <p:nvSpPr>
            <p:cNvPr id="39" name="Rectangle 38"/>
            <p:cNvSpPr>
              <a:spLocks noChangeArrowheads="1"/>
            </p:cNvSpPr>
            <p:nvPr/>
          </p:nvSpPr>
          <p:spPr bwMode="auto">
            <a:xfrm>
              <a:off x="6066632" y="1976439"/>
              <a:ext cx="996950" cy="420687"/>
            </a:xfrm>
            <a:prstGeom prst="rect">
              <a:avLst/>
            </a:prstGeom>
            <a:solidFill>
              <a:schemeClr val="accent1"/>
            </a:solidFill>
            <a:ln w="12700" algn="ctr">
              <a:noFill/>
              <a:miter lim="800000"/>
              <a:headEnd type="none" w="sm" len="sm"/>
              <a:tailEnd type="none" w="med" len="lg"/>
            </a:ln>
          </p:spPr>
          <p:txBody>
            <a:bodyPr wrap="square" lIns="88900" tIns="88900" rIns="88900" bIns="88900" anchor="ctr"/>
            <a:lstStyle/>
            <a:p>
              <a:pPr>
                <a:buClr>
                  <a:schemeClr val="bg1"/>
                </a:buClr>
                <a:buSzPct val="100000"/>
                <a:defRPr/>
              </a:pPr>
              <a:r>
                <a:rPr lang="en-US" altLang="ja-JP" sz="1100" dirty="0">
                  <a:ea typeface="ＭＳ Ｐゴシック" pitchFamily="50" charset="-128"/>
                </a:rPr>
                <a:t>Text</a:t>
              </a:r>
            </a:p>
          </p:txBody>
        </p:sp>
      </p:grpSp>
      <p:sp>
        <p:nvSpPr>
          <p:cNvPr id="41" name="TextBox 40">
            <a:extLst>
              <a:ext uri="{FF2B5EF4-FFF2-40B4-BE49-F238E27FC236}">
                <a16:creationId xmlns:a16="http://schemas.microsoft.com/office/drawing/2014/main" id="{C0A959A1-CD35-49AB-9FB2-93B40D286D49}"/>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3228030010"/>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3"/>
          </p:nvPr>
        </p:nvSpPr>
        <p:spPr/>
        <p:txBody>
          <a:bodyPr/>
          <a:lstStyle/>
          <a:p>
            <a:r>
              <a:rPr lang="en-US"/>
              <a:t>Subtitle runs here</a:t>
            </a:r>
            <a:endParaRPr lang="en-US" dirty="0"/>
          </a:p>
        </p:txBody>
      </p:sp>
      <p:sp>
        <p:nvSpPr>
          <p:cNvPr id="788481" name="Title 1"/>
          <p:cNvSpPr>
            <a:spLocks noGrp="1"/>
          </p:cNvSpPr>
          <p:nvPr>
            <p:ph type="title"/>
          </p:nvPr>
        </p:nvSpPr>
        <p:spPr/>
        <p:txBody>
          <a:bodyPr/>
          <a:lstStyle/>
          <a:p>
            <a:r>
              <a:rPr lang="en-US"/>
              <a:t>Swimlanes</a:t>
            </a:r>
            <a:endParaRPr lang="en-US" dirty="0"/>
          </a:p>
        </p:txBody>
      </p:sp>
      <p:grpSp>
        <p:nvGrpSpPr>
          <p:cNvPr id="2" name="Group 1">
            <a:extLst>
              <a:ext uri="{FF2B5EF4-FFF2-40B4-BE49-F238E27FC236}">
                <a16:creationId xmlns:a16="http://schemas.microsoft.com/office/drawing/2014/main" id="{17A838F3-0E05-48E0-A5AF-DD34A3158125}"/>
              </a:ext>
            </a:extLst>
          </p:cNvPr>
          <p:cNvGrpSpPr/>
          <p:nvPr/>
        </p:nvGrpSpPr>
        <p:grpSpPr>
          <a:xfrm>
            <a:off x="501650" y="1974586"/>
            <a:ext cx="11188699" cy="4128082"/>
            <a:chOff x="1884941" y="1974586"/>
            <a:chExt cx="8417242" cy="4128082"/>
          </a:xfrm>
        </p:grpSpPr>
        <p:sp>
          <p:nvSpPr>
            <p:cNvPr id="4" name="Rectangle 2"/>
            <p:cNvSpPr>
              <a:spLocks noChangeArrowheads="1"/>
            </p:cNvSpPr>
            <p:nvPr/>
          </p:nvSpPr>
          <p:spPr bwMode="auto">
            <a:xfrm>
              <a:off x="1884941" y="1974586"/>
              <a:ext cx="8412480" cy="863600"/>
            </a:xfrm>
            <a:prstGeom prst="rect">
              <a:avLst/>
            </a:prstGeom>
            <a:solidFill>
              <a:schemeClr val="tx1"/>
            </a:solidFill>
            <a:ln w="12700" algn="ctr">
              <a:solidFill>
                <a:schemeClr val="bg1"/>
              </a:solidFill>
              <a:miter lim="800000"/>
              <a:headEnd/>
              <a:tailEnd/>
            </a:ln>
          </p:spPr>
          <p:txBody>
            <a:bodyPr wrap="none" tIns="91440" bIns="91440" anchor="ctr"/>
            <a:lstStyle/>
            <a:p>
              <a:pPr algn="ctr">
                <a:defRPr/>
              </a:pPr>
              <a:endParaRPr lang="en-US" sz="1000" dirty="0"/>
            </a:p>
          </p:txBody>
        </p:sp>
        <p:sp>
          <p:nvSpPr>
            <p:cNvPr id="5" name="Rectangle 3"/>
            <p:cNvSpPr>
              <a:spLocks noChangeArrowheads="1"/>
            </p:cNvSpPr>
            <p:nvPr/>
          </p:nvSpPr>
          <p:spPr bwMode="auto">
            <a:xfrm>
              <a:off x="1884941" y="3606827"/>
              <a:ext cx="8412480" cy="863600"/>
            </a:xfrm>
            <a:prstGeom prst="rect">
              <a:avLst/>
            </a:prstGeom>
            <a:solidFill>
              <a:schemeClr val="tx1"/>
            </a:solidFill>
            <a:ln w="12700" algn="ctr">
              <a:solidFill>
                <a:schemeClr val="bg1"/>
              </a:solidFill>
              <a:miter lim="800000"/>
              <a:headEnd/>
              <a:tailEnd/>
            </a:ln>
          </p:spPr>
          <p:txBody>
            <a:bodyPr wrap="none" tIns="91440" bIns="91440" anchor="ctr"/>
            <a:lstStyle/>
            <a:p>
              <a:pPr algn="ctr">
                <a:defRPr/>
              </a:pPr>
              <a:endParaRPr lang="en-US" sz="1000" dirty="0"/>
            </a:p>
          </p:txBody>
        </p:sp>
        <p:sp>
          <p:nvSpPr>
            <p:cNvPr id="6" name="Rectangle 4"/>
            <p:cNvSpPr>
              <a:spLocks noChangeArrowheads="1"/>
            </p:cNvSpPr>
            <p:nvPr/>
          </p:nvSpPr>
          <p:spPr bwMode="auto">
            <a:xfrm>
              <a:off x="1889703" y="5239068"/>
              <a:ext cx="8412480" cy="863600"/>
            </a:xfrm>
            <a:prstGeom prst="rect">
              <a:avLst/>
            </a:prstGeom>
            <a:solidFill>
              <a:schemeClr val="tx1"/>
            </a:solidFill>
            <a:ln w="12700" algn="ctr">
              <a:solidFill>
                <a:schemeClr val="bg1"/>
              </a:solidFill>
              <a:miter lim="800000"/>
              <a:headEnd/>
              <a:tailEnd/>
            </a:ln>
          </p:spPr>
          <p:txBody>
            <a:bodyPr wrap="none" tIns="91440" bIns="91440" anchor="ctr"/>
            <a:lstStyle/>
            <a:p>
              <a:pPr algn="ctr">
                <a:defRPr/>
              </a:pPr>
              <a:endParaRPr lang="en-US" sz="1000" dirty="0"/>
            </a:p>
          </p:txBody>
        </p:sp>
        <p:sp>
          <p:nvSpPr>
            <p:cNvPr id="788486" name="Text Box 6"/>
            <p:cNvSpPr txBox="1">
              <a:spLocks noChangeArrowheads="1"/>
            </p:cNvSpPr>
            <p:nvPr/>
          </p:nvSpPr>
          <p:spPr bwMode="auto">
            <a:xfrm>
              <a:off x="1884942" y="2239675"/>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solidFill>
                    <a:schemeClr val="bg1"/>
                  </a:solidFill>
                  <a:ea typeface="ＭＳ Ｐゴシック" charset="-128"/>
                </a:rPr>
                <a:t>Department</a:t>
              </a:r>
            </a:p>
          </p:txBody>
        </p:sp>
        <p:sp>
          <p:nvSpPr>
            <p:cNvPr id="8" name="Rectangle 7"/>
            <p:cNvSpPr>
              <a:spLocks noChangeArrowheads="1"/>
            </p:cNvSpPr>
            <p:nvPr/>
          </p:nvSpPr>
          <p:spPr bwMode="auto">
            <a:xfrm>
              <a:off x="3458581"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9" name="Rectangle 8"/>
            <p:cNvSpPr>
              <a:spLocks noChangeArrowheads="1"/>
            </p:cNvSpPr>
            <p:nvPr/>
          </p:nvSpPr>
          <p:spPr bwMode="auto">
            <a:xfrm>
              <a:off x="4615753"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 name="Rectangle 9"/>
            <p:cNvSpPr>
              <a:spLocks noChangeArrowheads="1"/>
            </p:cNvSpPr>
            <p:nvPr/>
          </p:nvSpPr>
          <p:spPr bwMode="auto">
            <a:xfrm>
              <a:off x="5772925"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1" name="Rectangle 10"/>
            <p:cNvSpPr>
              <a:spLocks noChangeArrowheads="1"/>
            </p:cNvSpPr>
            <p:nvPr/>
          </p:nvSpPr>
          <p:spPr bwMode="auto">
            <a:xfrm>
              <a:off x="6930097"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 name="Rectangle 11"/>
            <p:cNvSpPr>
              <a:spLocks noChangeArrowheads="1"/>
            </p:cNvSpPr>
            <p:nvPr/>
          </p:nvSpPr>
          <p:spPr bwMode="auto">
            <a:xfrm>
              <a:off x="8087269"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3" name="Rectangle 12"/>
            <p:cNvSpPr>
              <a:spLocks noChangeArrowheads="1"/>
            </p:cNvSpPr>
            <p:nvPr/>
          </p:nvSpPr>
          <p:spPr bwMode="auto">
            <a:xfrm>
              <a:off x="9244440" y="2155562"/>
              <a:ext cx="914400" cy="503237"/>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14" name="AutoShape 13"/>
            <p:cNvCxnSpPr>
              <a:cxnSpLocks noChangeShapeType="1"/>
              <a:stCxn id="8" idx="3"/>
              <a:endCxn id="9" idx="1"/>
            </p:cNvCxnSpPr>
            <p:nvPr/>
          </p:nvCxnSpPr>
          <p:spPr bwMode="auto">
            <a:xfrm>
              <a:off x="4372981" y="2407180"/>
              <a:ext cx="242772" cy="0"/>
            </a:xfrm>
            <a:prstGeom prst="straightConnector1">
              <a:avLst/>
            </a:prstGeom>
            <a:noFill/>
            <a:ln w="9525">
              <a:solidFill>
                <a:srgbClr val="53565A"/>
              </a:solidFill>
              <a:round/>
              <a:headEnd/>
              <a:tailEnd type="triangle" w="med" len="med"/>
            </a:ln>
          </p:spPr>
        </p:cxnSp>
        <p:cxnSp>
          <p:nvCxnSpPr>
            <p:cNvPr id="15" name="AutoShape 14"/>
            <p:cNvCxnSpPr>
              <a:cxnSpLocks noChangeShapeType="1"/>
              <a:stCxn id="9" idx="3"/>
              <a:endCxn id="10" idx="1"/>
            </p:cNvCxnSpPr>
            <p:nvPr/>
          </p:nvCxnSpPr>
          <p:spPr bwMode="auto">
            <a:xfrm>
              <a:off x="5530153" y="2407180"/>
              <a:ext cx="242772" cy="0"/>
            </a:xfrm>
            <a:prstGeom prst="straightConnector1">
              <a:avLst/>
            </a:prstGeom>
            <a:noFill/>
            <a:ln w="9525">
              <a:solidFill>
                <a:srgbClr val="53565A"/>
              </a:solidFill>
              <a:round/>
              <a:headEnd/>
              <a:tailEnd type="triangle" w="med" len="med"/>
            </a:ln>
          </p:spPr>
        </p:cxnSp>
        <p:cxnSp>
          <p:nvCxnSpPr>
            <p:cNvPr id="16" name="AutoShape 15"/>
            <p:cNvCxnSpPr>
              <a:cxnSpLocks noChangeShapeType="1"/>
              <a:stCxn id="10" idx="3"/>
              <a:endCxn id="11" idx="1"/>
            </p:cNvCxnSpPr>
            <p:nvPr/>
          </p:nvCxnSpPr>
          <p:spPr bwMode="auto">
            <a:xfrm>
              <a:off x="6687325" y="2407180"/>
              <a:ext cx="242772" cy="0"/>
            </a:xfrm>
            <a:prstGeom prst="straightConnector1">
              <a:avLst/>
            </a:prstGeom>
            <a:noFill/>
            <a:ln w="9525">
              <a:solidFill>
                <a:srgbClr val="53565A"/>
              </a:solidFill>
              <a:round/>
              <a:headEnd/>
              <a:tailEnd type="triangle" w="med" len="med"/>
            </a:ln>
          </p:spPr>
        </p:cxnSp>
        <p:cxnSp>
          <p:nvCxnSpPr>
            <p:cNvPr id="17" name="AutoShape 16"/>
            <p:cNvCxnSpPr>
              <a:cxnSpLocks noChangeShapeType="1"/>
              <a:stCxn id="11" idx="3"/>
              <a:endCxn id="12" idx="1"/>
            </p:cNvCxnSpPr>
            <p:nvPr/>
          </p:nvCxnSpPr>
          <p:spPr bwMode="auto">
            <a:xfrm>
              <a:off x="7844497" y="2407180"/>
              <a:ext cx="242772" cy="0"/>
            </a:xfrm>
            <a:prstGeom prst="straightConnector1">
              <a:avLst/>
            </a:prstGeom>
            <a:noFill/>
            <a:ln w="9525">
              <a:solidFill>
                <a:srgbClr val="53565A"/>
              </a:solidFill>
              <a:round/>
              <a:headEnd/>
              <a:tailEnd type="triangle" w="med" len="med"/>
            </a:ln>
          </p:spPr>
        </p:cxnSp>
        <p:cxnSp>
          <p:nvCxnSpPr>
            <p:cNvPr id="18" name="AutoShape 17"/>
            <p:cNvCxnSpPr>
              <a:cxnSpLocks noChangeShapeType="1"/>
              <a:stCxn id="12" idx="3"/>
              <a:endCxn id="13" idx="1"/>
            </p:cNvCxnSpPr>
            <p:nvPr/>
          </p:nvCxnSpPr>
          <p:spPr bwMode="auto">
            <a:xfrm>
              <a:off x="9001670" y="2407180"/>
              <a:ext cx="242771" cy="0"/>
            </a:xfrm>
            <a:prstGeom prst="straightConnector1">
              <a:avLst/>
            </a:prstGeom>
            <a:noFill/>
            <a:ln w="9525">
              <a:solidFill>
                <a:srgbClr val="53565A"/>
              </a:solidFill>
              <a:round/>
              <a:headEnd/>
              <a:tailEnd type="triangle" w="med" len="med"/>
            </a:ln>
          </p:spPr>
        </p:cxnSp>
        <p:sp>
          <p:nvSpPr>
            <p:cNvPr id="788498" name="Text Box 18"/>
            <p:cNvSpPr txBox="1">
              <a:spLocks noChangeArrowheads="1"/>
            </p:cNvSpPr>
            <p:nvPr/>
          </p:nvSpPr>
          <p:spPr bwMode="auto">
            <a:xfrm>
              <a:off x="1884942" y="3055796"/>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ea typeface="ＭＳ Ｐゴシック" charset="-128"/>
                </a:rPr>
                <a:t>Department</a:t>
              </a:r>
            </a:p>
          </p:txBody>
        </p:sp>
        <p:sp>
          <p:nvSpPr>
            <p:cNvPr id="20" name="Rectangle 19"/>
            <p:cNvSpPr>
              <a:spLocks noChangeArrowheads="1"/>
            </p:cNvSpPr>
            <p:nvPr/>
          </p:nvSpPr>
          <p:spPr bwMode="auto">
            <a:xfrm>
              <a:off x="3458581"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1" name="Rectangle 20"/>
            <p:cNvSpPr>
              <a:spLocks noChangeArrowheads="1"/>
            </p:cNvSpPr>
            <p:nvPr/>
          </p:nvSpPr>
          <p:spPr bwMode="auto">
            <a:xfrm>
              <a:off x="4615753"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2" name="Rectangle 21"/>
            <p:cNvSpPr>
              <a:spLocks noChangeArrowheads="1"/>
            </p:cNvSpPr>
            <p:nvPr/>
          </p:nvSpPr>
          <p:spPr bwMode="auto">
            <a:xfrm>
              <a:off x="5772925"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3" name="Rectangle 22"/>
            <p:cNvSpPr>
              <a:spLocks noChangeArrowheads="1"/>
            </p:cNvSpPr>
            <p:nvPr/>
          </p:nvSpPr>
          <p:spPr bwMode="auto">
            <a:xfrm>
              <a:off x="6930097"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4" name="Rectangle 23"/>
            <p:cNvSpPr>
              <a:spLocks noChangeArrowheads="1"/>
            </p:cNvSpPr>
            <p:nvPr/>
          </p:nvSpPr>
          <p:spPr bwMode="auto">
            <a:xfrm>
              <a:off x="8087269"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25" name="Rectangle 24"/>
            <p:cNvSpPr>
              <a:spLocks noChangeArrowheads="1"/>
            </p:cNvSpPr>
            <p:nvPr/>
          </p:nvSpPr>
          <p:spPr bwMode="auto">
            <a:xfrm>
              <a:off x="9244440" y="2974459"/>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cxnSp>
          <p:nvCxnSpPr>
            <p:cNvPr id="26" name="AutoShape 25"/>
            <p:cNvCxnSpPr>
              <a:cxnSpLocks noChangeShapeType="1"/>
              <a:stCxn id="20" idx="3"/>
              <a:endCxn id="21" idx="1"/>
            </p:cNvCxnSpPr>
            <p:nvPr/>
          </p:nvCxnSpPr>
          <p:spPr bwMode="auto">
            <a:xfrm>
              <a:off x="4372981" y="3225919"/>
              <a:ext cx="242772" cy="0"/>
            </a:xfrm>
            <a:prstGeom prst="straightConnector1">
              <a:avLst/>
            </a:prstGeom>
            <a:noFill/>
            <a:ln w="6350">
              <a:solidFill>
                <a:srgbClr val="53565A"/>
              </a:solidFill>
              <a:round/>
              <a:headEnd/>
              <a:tailEnd type="triangle" w="med" len="med"/>
            </a:ln>
          </p:spPr>
        </p:cxnSp>
        <p:cxnSp>
          <p:nvCxnSpPr>
            <p:cNvPr id="27" name="AutoShape 26"/>
            <p:cNvCxnSpPr>
              <a:cxnSpLocks noChangeShapeType="1"/>
              <a:stCxn id="21" idx="3"/>
              <a:endCxn id="22" idx="1"/>
            </p:cNvCxnSpPr>
            <p:nvPr/>
          </p:nvCxnSpPr>
          <p:spPr bwMode="auto">
            <a:xfrm>
              <a:off x="5530153" y="3225919"/>
              <a:ext cx="242772" cy="0"/>
            </a:xfrm>
            <a:prstGeom prst="straightConnector1">
              <a:avLst/>
            </a:prstGeom>
            <a:noFill/>
            <a:ln w="6350">
              <a:solidFill>
                <a:srgbClr val="53565A"/>
              </a:solidFill>
              <a:round/>
              <a:headEnd/>
              <a:tailEnd type="triangle" w="med" len="med"/>
            </a:ln>
          </p:spPr>
        </p:cxnSp>
        <p:cxnSp>
          <p:nvCxnSpPr>
            <p:cNvPr id="28" name="AutoShape 27"/>
            <p:cNvCxnSpPr>
              <a:cxnSpLocks noChangeShapeType="1"/>
              <a:stCxn id="22" idx="3"/>
              <a:endCxn id="23" idx="1"/>
            </p:cNvCxnSpPr>
            <p:nvPr/>
          </p:nvCxnSpPr>
          <p:spPr bwMode="auto">
            <a:xfrm>
              <a:off x="6687325" y="3225919"/>
              <a:ext cx="242772" cy="0"/>
            </a:xfrm>
            <a:prstGeom prst="straightConnector1">
              <a:avLst/>
            </a:prstGeom>
            <a:noFill/>
            <a:ln w="6350">
              <a:solidFill>
                <a:srgbClr val="53565A"/>
              </a:solidFill>
              <a:round/>
              <a:headEnd/>
              <a:tailEnd type="triangle" w="med" len="med"/>
            </a:ln>
          </p:spPr>
        </p:cxnSp>
        <p:cxnSp>
          <p:nvCxnSpPr>
            <p:cNvPr id="29" name="AutoShape 28"/>
            <p:cNvCxnSpPr>
              <a:cxnSpLocks noChangeShapeType="1"/>
              <a:stCxn id="23" idx="3"/>
              <a:endCxn id="24" idx="1"/>
            </p:cNvCxnSpPr>
            <p:nvPr/>
          </p:nvCxnSpPr>
          <p:spPr bwMode="auto">
            <a:xfrm>
              <a:off x="7844497" y="3225919"/>
              <a:ext cx="242772" cy="0"/>
            </a:xfrm>
            <a:prstGeom prst="straightConnector1">
              <a:avLst/>
            </a:prstGeom>
            <a:noFill/>
            <a:ln w="6350">
              <a:solidFill>
                <a:srgbClr val="53565A"/>
              </a:solidFill>
              <a:round/>
              <a:headEnd/>
              <a:tailEnd type="triangle" w="med" len="med"/>
            </a:ln>
          </p:spPr>
        </p:cxnSp>
        <p:cxnSp>
          <p:nvCxnSpPr>
            <p:cNvPr id="30" name="AutoShape 29"/>
            <p:cNvCxnSpPr>
              <a:cxnSpLocks noChangeShapeType="1"/>
              <a:stCxn id="24" idx="3"/>
              <a:endCxn id="25" idx="1"/>
            </p:cNvCxnSpPr>
            <p:nvPr/>
          </p:nvCxnSpPr>
          <p:spPr bwMode="auto">
            <a:xfrm>
              <a:off x="9001670" y="3225919"/>
              <a:ext cx="242771" cy="0"/>
            </a:xfrm>
            <a:prstGeom prst="straightConnector1">
              <a:avLst/>
            </a:prstGeom>
            <a:noFill/>
            <a:ln w="6350">
              <a:solidFill>
                <a:srgbClr val="53565A"/>
              </a:solidFill>
              <a:round/>
              <a:headEnd/>
              <a:tailEnd type="triangle" w="med" len="med"/>
            </a:ln>
          </p:spPr>
        </p:cxnSp>
        <p:sp>
          <p:nvSpPr>
            <p:cNvPr id="788510" name="Text Box 30"/>
            <p:cNvSpPr txBox="1">
              <a:spLocks noChangeArrowheads="1"/>
            </p:cNvSpPr>
            <p:nvPr/>
          </p:nvSpPr>
          <p:spPr bwMode="auto">
            <a:xfrm>
              <a:off x="1884942" y="3871917"/>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solidFill>
                    <a:schemeClr val="bg1"/>
                  </a:solidFill>
                  <a:ea typeface="ＭＳ Ｐゴシック" charset="-128"/>
                </a:rPr>
                <a:t>Department</a:t>
              </a:r>
            </a:p>
          </p:txBody>
        </p:sp>
        <p:sp>
          <p:nvSpPr>
            <p:cNvPr id="788511" name="Text Box 42"/>
            <p:cNvSpPr txBox="1">
              <a:spLocks noChangeArrowheads="1"/>
            </p:cNvSpPr>
            <p:nvPr/>
          </p:nvSpPr>
          <p:spPr bwMode="auto">
            <a:xfrm>
              <a:off x="1884942" y="4688038"/>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ea typeface="ＭＳ Ｐゴシック" charset="-128"/>
                </a:rPr>
                <a:t>Department</a:t>
              </a:r>
            </a:p>
          </p:txBody>
        </p:sp>
        <p:sp>
          <p:nvSpPr>
            <p:cNvPr id="788512" name="Text Box 54"/>
            <p:cNvSpPr txBox="1">
              <a:spLocks noChangeArrowheads="1"/>
            </p:cNvSpPr>
            <p:nvPr/>
          </p:nvSpPr>
          <p:spPr bwMode="auto">
            <a:xfrm>
              <a:off x="1884942" y="5504157"/>
              <a:ext cx="811119" cy="333425"/>
            </a:xfrm>
            <a:prstGeom prst="rect">
              <a:avLst/>
            </a:prstGeom>
            <a:noFill/>
            <a:ln w="9525" algn="ctr">
              <a:noFill/>
              <a:miter lim="800000"/>
              <a:headEnd/>
              <a:tailEnd/>
            </a:ln>
          </p:spPr>
          <p:txBody>
            <a:bodyPr wrap="none" lIns="88900" tIns="88900" rIns="88900" bIns="88900" anchor="ctr">
              <a:spAutoFit/>
            </a:bodyPr>
            <a:lstStyle/>
            <a:p>
              <a:r>
                <a:rPr lang="en-US" sz="1000" dirty="0">
                  <a:solidFill>
                    <a:schemeClr val="bg1"/>
                  </a:solidFill>
                  <a:ea typeface="ＭＳ Ｐゴシック" charset="-128"/>
                </a:rPr>
                <a:t>Department</a:t>
              </a:r>
            </a:p>
          </p:txBody>
        </p:sp>
        <p:cxnSp>
          <p:nvCxnSpPr>
            <p:cNvPr id="67" name="AutoShape 66"/>
            <p:cNvCxnSpPr>
              <a:cxnSpLocks noChangeShapeType="1"/>
              <a:stCxn id="8" idx="2"/>
              <a:endCxn id="21" idx="0"/>
            </p:cNvCxnSpPr>
            <p:nvPr/>
          </p:nvCxnSpPr>
          <p:spPr bwMode="auto">
            <a:xfrm rot="16200000" flipH="1">
              <a:off x="4336538" y="2238042"/>
              <a:ext cx="315661" cy="1157172"/>
            </a:xfrm>
            <a:prstGeom prst="bentConnector3">
              <a:avLst>
                <a:gd name="adj1" fmla="val 50000"/>
              </a:avLst>
            </a:prstGeom>
            <a:noFill/>
            <a:ln w="6350">
              <a:solidFill>
                <a:srgbClr val="53565A"/>
              </a:solidFill>
              <a:miter lim="800000"/>
              <a:headEnd/>
              <a:tailEnd type="triangle" w="med" len="med"/>
            </a:ln>
          </p:spPr>
        </p:cxnSp>
        <p:cxnSp>
          <p:nvCxnSpPr>
            <p:cNvPr id="68" name="AutoShape 67"/>
            <p:cNvCxnSpPr>
              <a:cxnSpLocks noChangeShapeType="1"/>
              <a:stCxn id="22" idx="0"/>
              <a:endCxn id="10" idx="2"/>
            </p:cNvCxnSpPr>
            <p:nvPr/>
          </p:nvCxnSpPr>
          <p:spPr bwMode="auto">
            <a:xfrm flipV="1">
              <a:off x="6230125" y="2658799"/>
              <a:ext cx="0" cy="315661"/>
            </a:xfrm>
            <a:prstGeom prst="straightConnector1">
              <a:avLst/>
            </a:prstGeom>
            <a:noFill/>
            <a:ln w="6350">
              <a:solidFill>
                <a:srgbClr val="53565A"/>
              </a:solidFill>
              <a:round/>
              <a:headEnd/>
              <a:tailEnd type="triangle" w="med" len="med"/>
            </a:ln>
          </p:spPr>
        </p:cxnSp>
        <p:cxnSp>
          <p:nvCxnSpPr>
            <p:cNvPr id="69" name="AutoShape 68"/>
            <p:cNvCxnSpPr>
              <a:cxnSpLocks noChangeShapeType="1"/>
              <a:stCxn id="23" idx="2"/>
              <a:endCxn id="106" idx="0"/>
            </p:cNvCxnSpPr>
            <p:nvPr/>
          </p:nvCxnSpPr>
          <p:spPr bwMode="auto">
            <a:xfrm rot="16200000" flipH="1">
              <a:off x="8386480" y="2478197"/>
              <a:ext cx="315979" cy="2314343"/>
            </a:xfrm>
            <a:prstGeom prst="bentConnector3">
              <a:avLst>
                <a:gd name="adj1" fmla="val 50000"/>
              </a:avLst>
            </a:prstGeom>
            <a:noFill/>
            <a:ln w="6350">
              <a:solidFill>
                <a:srgbClr val="53565A"/>
              </a:solidFill>
              <a:miter lim="800000"/>
              <a:headEnd/>
              <a:tailEnd type="triangle" w="med" len="med"/>
            </a:ln>
          </p:spPr>
        </p:cxnSp>
        <p:sp>
          <p:nvSpPr>
            <p:cNvPr id="101" name="Rectangle 100"/>
            <p:cNvSpPr>
              <a:spLocks noChangeArrowheads="1"/>
            </p:cNvSpPr>
            <p:nvPr/>
          </p:nvSpPr>
          <p:spPr bwMode="auto">
            <a:xfrm>
              <a:off x="3458581"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2" name="Rectangle 101"/>
            <p:cNvSpPr>
              <a:spLocks noChangeArrowheads="1"/>
            </p:cNvSpPr>
            <p:nvPr/>
          </p:nvSpPr>
          <p:spPr bwMode="auto">
            <a:xfrm>
              <a:off x="4615753"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3" name="Rectangle 102"/>
            <p:cNvSpPr>
              <a:spLocks noChangeArrowheads="1"/>
            </p:cNvSpPr>
            <p:nvPr/>
          </p:nvSpPr>
          <p:spPr bwMode="auto">
            <a:xfrm>
              <a:off x="5772925"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4" name="Rectangle 103"/>
            <p:cNvSpPr>
              <a:spLocks noChangeArrowheads="1"/>
            </p:cNvSpPr>
            <p:nvPr/>
          </p:nvSpPr>
          <p:spPr bwMode="auto">
            <a:xfrm>
              <a:off x="6930097"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5" name="Rectangle 104"/>
            <p:cNvSpPr>
              <a:spLocks noChangeArrowheads="1"/>
            </p:cNvSpPr>
            <p:nvPr/>
          </p:nvSpPr>
          <p:spPr bwMode="auto">
            <a:xfrm>
              <a:off x="8087269"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06" name="Rectangle 105"/>
            <p:cNvSpPr>
              <a:spLocks noChangeArrowheads="1"/>
            </p:cNvSpPr>
            <p:nvPr/>
          </p:nvSpPr>
          <p:spPr bwMode="auto">
            <a:xfrm>
              <a:off x="9244440" y="3793358"/>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107" name="AutoShape 13"/>
            <p:cNvCxnSpPr>
              <a:cxnSpLocks noChangeShapeType="1"/>
              <a:stCxn id="101" idx="3"/>
              <a:endCxn id="102" idx="1"/>
            </p:cNvCxnSpPr>
            <p:nvPr/>
          </p:nvCxnSpPr>
          <p:spPr bwMode="auto">
            <a:xfrm>
              <a:off x="4372981" y="4044818"/>
              <a:ext cx="242772" cy="0"/>
            </a:xfrm>
            <a:prstGeom prst="straightConnector1">
              <a:avLst/>
            </a:prstGeom>
            <a:noFill/>
            <a:ln w="9525">
              <a:solidFill>
                <a:srgbClr val="53565A"/>
              </a:solidFill>
              <a:round/>
              <a:headEnd/>
              <a:tailEnd type="triangle" w="med" len="med"/>
            </a:ln>
          </p:spPr>
        </p:cxnSp>
        <p:cxnSp>
          <p:nvCxnSpPr>
            <p:cNvPr id="108" name="AutoShape 14"/>
            <p:cNvCxnSpPr>
              <a:cxnSpLocks noChangeShapeType="1"/>
              <a:stCxn id="102" idx="3"/>
              <a:endCxn id="103" idx="1"/>
            </p:cNvCxnSpPr>
            <p:nvPr/>
          </p:nvCxnSpPr>
          <p:spPr bwMode="auto">
            <a:xfrm>
              <a:off x="5530153" y="4044818"/>
              <a:ext cx="242772" cy="0"/>
            </a:xfrm>
            <a:prstGeom prst="straightConnector1">
              <a:avLst/>
            </a:prstGeom>
            <a:noFill/>
            <a:ln w="9525">
              <a:solidFill>
                <a:srgbClr val="53565A"/>
              </a:solidFill>
              <a:round/>
              <a:headEnd/>
              <a:tailEnd type="triangle" w="med" len="med"/>
            </a:ln>
          </p:spPr>
        </p:cxnSp>
        <p:cxnSp>
          <p:nvCxnSpPr>
            <p:cNvPr id="109" name="AutoShape 15"/>
            <p:cNvCxnSpPr>
              <a:cxnSpLocks noChangeShapeType="1"/>
              <a:stCxn id="103" idx="3"/>
              <a:endCxn id="104" idx="1"/>
            </p:cNvCxnSpPr>
            <p:nvPr/>
          </p:nvCxnSpPr>
          <p:spPr bwMode="auto">
            <a:xfrm>
              <a:off x="6687325" y="4044818"/>
              <a:ext cx="242772" cy="0"/>
            </a:xfrm>
            <a:prstGeom prst="straightConnector1">
              <a:avLst/>
            </a:prstGeom>
            <a:noFill/>
            <a:ln w="9525">
              <a:solidFill>
                <a:srgbClr val="53565A"/>
              </a:solidFill>
              <a:round/>
              <a:headEnd/>
              <a:tailEnd type="triangle" w="med" len="med"/>
            </a:ln>
          </p:spPr>
        </p:cxnSp>
        <p:cxnSp>
          <p:nvCxnSpPr>
            <p:cNvPr id="110" name="AutoShape 16"/>
            <p:cNvCxnSpPr>
              <a:cxnSpLocks noChangeShapeType="1"/>
              <a:stCxn id="104" idx="3"/>
              <a:endCxn id="105" idx="1"/>
            </p:cNvCxnSpPr>
            <p:nvPr/>
          </p:nvCxnSpPr>
          <p:spPr bwMode="auto">
            <a:xfrm>
              <a:off x="7844497" y="4044818"/>
              <a:ext cx="242772" cy="0"/>
            </a:xfrm>
            <a:prstGeom prst="straightConnector1">
              <a:avLst/>
            </a:prstGeom>
            <a:noFill/>
            <a:ln w="9525">
              <a:solidFill>
                <a:srgbClr val="53565A"/>
              </a:solidFill>
              <a:round/>
              <a:headEnd/>
              <a:tailEnd type="triangle" w="med" len="med"/>
            </a:ln>
          </p:spPr>
        </p:cxnSp>
        <p:cxnSp>
          <p:nvCxnSpPr>
            <p:cNvPr id="111" name="AutoShape 17"/>
            <p:cNvCxnSpPr>
              <a:cxnSpLocks noChangeShapeType="1"/>
              <a:stCxn id="105" idx="3"/>
              <a:endCxn id="106" idx="1"/>
            </p:cNvCxnSpPr>
            <p:nvPr/>
          </p:nvCxnSpPr>
          <p:spPr bwMode="auto">
            <a:xfrm>
              <a:off x="9001670" y="4044818"/>
              <a:ext cx="242771" cy="0"/>
            </a:xfrm>
            <a:prstGeom prst="straightConnector1">
              <a:avLst/>
            </a:prstGeom>
            <a:noFill/>
            <a:ln w="9525">
              <a:solidFill>
                <a:srgbClr val="53565A"/>
              </a:solidFill>
              <a:round/>
              <a:headEnd/>
              <a:tailEnd type="triangle" w="med" len="med"/>
            </a:ln>
          </p:spPr>
        </p:cxnSp>
        <p:sp>
          <p:nvSpPr>
            <p:cNvPr id="115" name="Rectangle 114"/>
            <p:cNvSpPr>
              <a:spLocks noChangeArrowheads="1"/>
            </p:cNvSpPr>
            <p:nvPr/>
          </p:nvSpPr>
          <p:spPr bwMode="auto">
            <a:xfrm>
              <a:off x="3458581"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16" name="Rectangle 115"/>
            <p:cNvSpPr>
              <a:spLocks noChangeArrowheads="1"/>
            </p:cNvSpPr>
            <p:nvPr/>
          </p:nvSpPr>
          <p:spPr bwMode="auto">
            <a:xfrm>
              <a:off x="4615753"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17" name="Rectangle 116"/>
            <p:cNvSpPr>
              <a:spLocks noChangeArrowheads="1"/>
            </p:cNvSpPr>
            <p:nvPr/>
          </p:nvSpPr>
          <p:spPr bwMode="auto">
            <a:xfrm>
              <a:off x="5772925"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18" name="Rectangle 117"/>
            <p:cNvSpPr>
              <a:spLocks noChangeArrowheads="1"/>
            </p:cNvSpPr>
            <p:nvPr/>
          </p:nvSpPr>
          <p:spPr bwMode="auto">
            <a:xfrm>
              <a:off x="6930097"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19" name="Rectangle 118"/>
            <p:cNvSpPr>
              <a:spLocks noChangeArrowheads="1"/>
            </p:cNvSpPr>
            <p:nvPr/>
          </p:nvSpPr>
          <p:spPr bwMode="auto">
            <a:xfrm>
              <a:off x="8087269"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sp>
          <p:nvSpPr>
            <p:cNvPr id="120" name="Rectangle 119"/>
            <p:cNvSpPr>
              <a:spLocks noChangeArrowheads="1"/>
            </p:cNvSpPr>
            <p:nvPr/>
          </p:nvSpPr>
          <p:spPr bwMode="auto">
            <a:xfrm>
              <a:off x="9244440" y="4612257"/>
              <a:ext cx="914400" cy="502920"/>
            </a:xfrm>
            <a:prstGeom prst="rect">
              <a:avLst/>
            </a:prstGeom>
            <a:solidFill>
              <a:schemeClr val="accent3"/>
            </a:solidFill>
            <a:ln w="12700" algn="ctr">
              <a:noFill/>
              <a:miter lim="800000"/>
              <a:headEnd/>
              <a:tailEnd/>
            </a:ln>
          </p:spPr>
          <p:txBody>
            <a:bodyPr lIns="90000" tIns="46800" rIns="90000" bIns="46800" anchor="ctr"/>
            <a:lstStyle/>
            <a:p>
              <a:pPr algn="ctr">
                <a:defRPr/>
              </a:pPr>
              <a:r>
                <a:rPr lang="en-US" sz="1000" dirty="0">
                  <a:solidFill>
                    <a:schemeClr val="bg1"/>
                  </a:solidFill>
                  <a:ea typeface="ＭＳ Ｐゴシック" pitchFamily="50" charset="-128"/>
                </a:rPr>
                <a:t>Activity</a:t>
              </a:r>
            </a:p>
          </p:txBody>
        </p:sp>
        <p:cxnSp>
          <p:nvCxnSpPr>
            <p:cNvPr id="121" name="AutoShape 13"/>
            <p:cNvCxnSpPr>
              <a:cxnSpLocks noChangeShapeType="1"/>
              <a:stCxn id="115" idx="3"/>
              <a:endCxn id="116" idx="1"/>
            </p:cNvCxnSpPr>
            <p:nvPr/>
          </p:nvCxnSpPr>
          <p:spPr bwMode="auto">
            <a:xfrm>
              <a:off x="4372981" y="4863717"/>
              <a:ext cx="242772" cy="0"/>
            </a:xfrm>
            <a:prstGeom prst="straightConnector1">
              <a:avLst/>
            </a:prstGeom>
            <a:noFill/>
            <a:ln w="6350">
              <a:solidFill>
                <a:srgbClr val="53565A"/>
              </a:solidFill>
              <a:round/>
              <a:headEnd/>
              <a:tailEnd type="triangle" w="med" len="med"/>
            </a:ln>
          </p:spPr>
        </p:cxnSp>
        <p:cxnSp>
          <p:nvCxnSpPr>
            <p:cNvPr id="122" name="AutoShape 14"/>
            <p:cNvCxnSpPr>
              <a:cxnSpLocks noChangeShapeType="1"/>
              <a:stCxn id="116" idx="3"/>
              <a:endCxn id="117" idx="1"/>
            </p:cNvCxnSpPr>
            <p:nvPr/>
          </p:nvCxnSpPr>
          <p:spPr bwMode="auto">
            <a:xfrm>
              <a:off x="5530153" y="4863717"/>
              <a:ext cx="242772" cy="0"/>
            </a:xfrm>
            <a:prstGeom prst="straightConnector1">
              <a:avLst/>
            </a:prstGeom>
            <a:noFill/>
            <a:ln w="6350">
              <a:solidFill>
                <a:srgbClr val="53565A"/>
              </a:solidFill>
              <a:round/>
              <a:headEnd/>
              <a:tailEnd type="triangle" w="med" len="med"/>
            </a:ln>
          </p:spPr>
        </p:cxnSp>
        <p:cxnSp>
          <p:nvCxnSpPr>
            <p:cNvPr id="123" name="AutoShape 15"/>
            <p:cNvCxnSpPr>
              <a:cxnSpLocks noChangeShapeType="1"/>
              <a:stCxn id="117" idx="3"/>
              <a:endCxn id="118" idx="1"/>
            </p:cNvCxnSpPr>
            <p:nvPr/>
          </p:nvCxnSpPr>
          <p:spPr bwMode="auto">
            <a:xfrm>
              <a:off x="6687325" y="4863717"/>
              <a:ext cx="242772" cy="0"/>
            </a:xfrm>
            <a:prstGeom prst="straightConnector1">
              <a:avLst/>
            </a:prstGeom>
            <a:noFill/>
            <a:ln w="6350">
              <a:solidFill>
                <a:srgbClr val="53565A"/>
              </a:solidFill>
              <a:round/>
              <a:headEnd/>
              <a:tailEnd type="triangle" w="med" len="med"/>
            </a:ln>
          </p:spPr>
        </p:cxnSp>
        <p:cxnSp>
          <p:nvCxnSpPr>
            <p:cNvPr id="124" name="AutoShape 16"/>
            <p:cNvCxnSpPr>
              <a:cxnSpLocks noChangeShapeType="1"/>
              <a:stCxn id="118" idx="3"/>
              <a:endCxn id="119" idx="1"/>
            </p:cNvCxnSpPr>
            <p:nvPr/>
          </p:nvCxnSpPr>
          <p:spPr bwMode="auto">
            <a:xfrm>
              <a:off x="7844497" y="4863717"/>
              <a:ext cx="242772" cy="0"/>
            </a:xfrm>
            <a:prstGeom prst="straightConnector1">
              <a:avLst/>
            </a:prstGeom>
            <a:noFill/>
            <a:ln w="6350">
              <a:solidFill>
                <a:srgbClr val="53565A"/>
              </a:solidFill>
              <a:round/>
              <a:headEnd/>
              <a:tailEnd type="triangle" w="med" len="med"/>
            </a:ln>
          </p:spPr>
        </p:cxnSp>
        <p:cxnSp>
          <p:nvCxnSpPr>
            <p:cNvPr id="125" name="AutoShape 17"/>
            <p:cNvCxnSpPr>
              <a:cxnSpLocks noChangeShapeType="1"/>
              <a:stCxn id="119" idx="3"/>
              <a:endCxn id="120" idx="1"/>
            </p:cNvCxnSpPr>
            <p:nvPr/>
          </p:nvCxnSpPr>
          <p:spPr bwMode="auto">
            <a:xfrm>
              <a:off x="9001670" y="4863717"/>
              <a:ext cx="242771" cy="0"/>
            </a:xfrm>
            <a:prstGeom prst="straightConnector1">
              <a:avLst/>
            </a:prstGeom>
            <a:noFill/>
            <a:ln w="6350">
              <a:solidFill>
                <a:srgbClr val="53565A"/>
              </a:solidFill>
              <a:round/>
              <a:headEnd/>
              <a:tailEnd type="triangle" w="med" len="med"/>
            </a:ln>
          </p:spPr>
        </p:cxnSp>
        <p:sp>
          <p:nvSpPr>
            <p:cNvPr id="126" name="Rectangle 125"/>
            <p:cNvSpPr>
              <a:spLocks noChangeArrowheads="1"/>
            </p:cNvSpPr>
            <p:nvPr/>
          </p:nvSpPr>
          <p:spPr bwMode="auto">
            <a:xfrm>
              <a:off x="3458581"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7" name="Rectangle 126"/>
            <p:cNvSpPr>
              <a:spLocks noChangeArrowheads="1"/>
            </p:cNvSpPr>
            <p:nvPr/>
          </p:nvSpPr>
          <p:spPr bwMode="auto">
            <a:xfrm>
              <a:off x="4615753"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8" name="Rectangle 127"/>
            <p:cNvSpPr>
              <a:spLocks noChangeArrowheads="1"/>
            </p:cNvSpPr>
            <p:nvPr/>
          </p:nvSpPr>
          <p:spPr bwMode="auto">
            <a:xfrm>
              <a:off x="5772925"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29" name="Rectangle 128"/>
            <p:cNvSpPr>
              <a:spLocks noChangeArrowheads="1"/>
            </p:cNvSpPr>
            <p:nvPr/>
          </p:nvSpPr>
          <p:spPr bwMode="auto">
            <a:xfrm>
              <a:off x="6930097"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30" name="Rectangle 129"/>
            <p:cNvSpPr>
              <a:spLocks noChangeArrowheads="1"/>
            </p:cNvSpPr>
            <p:nvPr/>
          </p:nvSpPr>
          <p:spPr bwMode="auto">
            <a:xfrm>
              <a:off x="8087269"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sp>
          <p:nvSpPr>
            <p:cNvPr id="131" name="Rectangle 130"/>
            <p:cNvSpPr>
              <a:spLocks noChangeArrowheads="1"/>
            </p:cNvSpPr>
            <p:nvPr/>
          </p:nvSpPr>
          <p:spPr bwMode="auto">
            <a:xfrm>
              <a:off x="9244440" y="5431155"/>
              <a:ext cx="914400" cy="502920"/>
            </a:xfrm>
            <a:prstGeom prst="rect">
              <a:avLst/>
            </a:prstGeom>
            <a:solidFill>
              <a:schemeClr val="bg1"/>
            </a:solidFill>
            <a:ln w="12700" algn="ctr">
              <a:noFill/>
              <a:miter lim="800000"/>
              <a:headEnd/>
              <a:tailEnd/>
            </a:ln>
          </p:spPr>
          <p:txBody>
            <a:bodyPr lIns="90000" tIns="46800" rIns="90000" bIns="46800" anchor="ctr"/>
            <a:lstStyle/>
            <a:p>
              <a:pPr algn="ctr">
                <a:defRPr/>
              </a:pPr>
              <a:r>
                <a:rPr lang="en-US" sz="1000" dirty="0">
                  <a:ea typeface="ＭＳ Ｐゴシック" pitchFamily="50" charset="-128"/>
                </a:rPr>
                <a:t>Activity</a:t>
              </a:r>
            </a:p>
          </p:txBody>
        </p:sp>
        <p:cxnSp>
          <p:nvCxnSpPr>
            <p:cNvPr id="132" name="AutoShape 13"/>
            <p:cNvCxnSpPr>
              <a:cxnSpLocks noChangeShapeType="1"/>
              <a:stCxn id="126" idx="3"/>
              <a:endCxn id="127" idx="1"/>
            </p:cNvCxnSpPr>
            <p:nvPr/>
          </p:nvCxnSpPr>
          <p:spPr bwMode="auto">
            <a:xfrm>
              <a:off x="4372981" y="5682615"/>
              <a:ext cx="242772" cy="0"/>
            </a:xfrm>
            <a:prstGeom prst="straightConnector1">
              <a:avLst/>
            </a:prstGeom>
            <a:noFill/>
            <a:ln w="9525">
              <a:solidFill>
                <a:srgbClr val="53565A"/>
              </a:solidFill>
              <a:round/>
              <a:headEnd/>
              <a:tailEnd type="triangle" w="med" len="med"/>
            </a:ln>
          </p:spPr>
        </p:cxnSp>
        <p:cxnSp>
          <p:nvCxnSpPr>
            <p:cNvPr id="133" name="AutoShape 14"/>
            <p:cNvCxnSpPr>
              <a:cxnSpLocks noChangeShapeType="1"/>
              <a:stCxn id="127" idx="3"/>
              <a:endCxn id="128" idx="1"/>
            </p:cNvCxnSpPr>
            <p:nvPr/>
          </p:nvCxnSpPr>
          <p:spPr bwMode="auto">
            <a:xfrm>
              <a:off x="5530153" y="5682615"/>
              <a:ext cx="242772" cy="0"/>
            </a:xfrm>
            <a:prstGeom prst="straightConnector1">
              <a:avLst/>
            </a:prstGeom>
            <a:noFill/>
            <a:ln w="9525">
              <a:solidFill>
                <a:srgbClr val="53565A"/>
              </a:solidFill>
              <a:round/>
              <a:headEnd/>
              <a:tailEnd type="triangle" w="med" len="med"/>
            </a:ln>
          </p:spPr>
        </p:cxnSp>
        <p:cxnSp>
          <p:nvCxnSpPr>
            <p:cNvPr id="134" name="AutoShape 15"/>
            <p:cNvCxnSpPr>
              <a:cxnSpLocks noChangeShapeType="1"/>
              <a:stCxn id="128" idx="3"/>
              <a:endCxn id="129" idx="1"/>
            </p:cNvCxnSpPr>
            <p:nvPr/>
          </p:nvCxnSpPr>
          <p:spPr bwMode="auto">
            <a:xfrm>
              <a:off x="6687325" y="5682615"/>
              <a:ext cx="242772" cy="0"/>
            </a:xfrm>
            <a:prstGeom prst="straightConnector1">
              <a:avLst/>
            </a:prstGeom>
            <a:noFill/>
            <a:ln w="9525">
              <a:solidFill>
                <a:srgbClr val="53565A"/>
              </a:solidFill>
              <a:round/>
              <a:headEnd/>
              <a:tailEnd type="triangle" w="med" len="med"/>
            </a:ln>
          </p:spPr>
        </p:cxnSp>
        <p:cxnSp>
          <p:nvCxnSpPr>
            <p:cNvPr id="135" name="AutoShape 16"/>
            <p:cNvCxnSpPr>
              <a:cxnSpLocks noChangeShapeType="1"/>
              <a:stCxn id="129" idx="3"/>
              <a:endCxn id="130" idx="1"/>
            </p:cNvCxnSpPr>
            <p:nvPr/>
          </p:nvCxnSpPr>
          <p:spPr bwMode="auto">
            <a:xfrm>
              <a:off x="7844497" y="5682615"/>
              <a:ext cx="242772" cy="0"/>
            </a:xfrm>
            <a:prstGeom prst="straightConnector1">
              <a:avLst/>
            </a:prstGeom>
            <a:noFill/>
            <a:ln w="9525">
              <a:solidFill>
                <a:srgbClr val="53565A"/>
              </a:solidFill>
              <a:round/>
              <a:headEnd/>
              <a:tailEnd type="triangle" w="med" len="med"/>
            </a:ln>
          </p:spPr>
        </p:cxnSp>
        <p:cxnSp>
          <p:nvCxnSpPr>
            <p:cNvPr id="136" name="AutoShape 17"/>
            <p:cNvCxnSpPr>
              <a:cxnSpLocks noChangeShapeType="1"/>
              <a:stCxn id="130" idx="3"/>
              <a:endCxn id="131" idx="1"/>
            </p:cNvCxnSpPr>
            <p:nvPr/>
          </p:nvCxnSpPr>
          <p:spPr bwMode="auto">
            <a:xfrm>
              <a:off x="9001670" y="5682615"/>
              <a:ext cx="242771" cy="0"/>
            </a:xfrm>
            <a:prstGeom prst="straightConnector1">
              <a:avLst/>
            </a:prstGeom>
            <a:noFill/>
            <a:ln w="9525">
              <a:solidFill>
                <a:srgbClr val="53565A"/>
              </a:solidFill>
              <a:round/>
              <a:headEnd/>
              <a:tailEnd type="triangle" w="med" len="med"/>
            </a:ln>
          </p:spPr>
        </p:cxnSp>
      </p:grpSp>
      <p:sp>
        <p:nvSpPr>
          <p:cNvPr id="72" name="TextBox 71">
            <a:extLst>
              <a:ext uri="{FF2B5EF4-FFF2-40B4-BE49-F238E27FC236}">
                <a16:creationId xmlns:a16="http://schemas.microsoft.com/office/drawing/2014/main" id="{E4754187-7FC4-4631-B3BB-C173E1F01051}"/>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310641457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a:t>Data table</a:t>
            </a:r>
            <a:endParaRPr lang="en-US" dirty="0"/>
          </a:p>
        </p:txBody>
      </p:sp>
      <p:graphicFrame>
        <p:nvGraphicFramePr>
          <p:cNvPr id="8" name="Group 3"/>
          <p:cNvGraphicFramePr>
            <a:graphicFrameLocks noGrp="1"/>
          </p:cNvGraphicFramePr>
          <p:nvPr>
            <p:ph type="chart" sz="quarter" idx="15"/>
            <p:extLst>
              <p:ext uri="{D42A27DB-BD31-4B8C-83A1-F6EECF244321}">
                <p14:modId xmlns:p14="http://schemas.microsoft.com/office/powerpoint/2010/main" val="2301799746"/>
              </p:ext>
            </p:extLst>
          </p:nvPr>
        </p:nvGraphicFramePr>
        <p:xfrm>
          <a:off x="501650" y="2052638"/>
          <a:ext cx="11188697" cy="3799056"/>
        </p:xfrm>
        <a:graphic>
          <a:graphicData uri="http://schemas.openxmlformats.org/drawingml/2006/table">
            <a:tbl>
              <a:tblPr/>
              <a:tblGrid>
                <a:gridCol w="2935649">
                  <a:extLst>
                    <a:ext uri="{9D8B030D-6E8A-4147-A177-3AD203B41FA5}">
                      <a16:colId xmlns:a16="http://schemas.microsoft.com/office/drawing/2014/main" val="20000"/>
                    </a:ext>
                  </a:extLst>
                </a:gridCol>
                <a:gridCol w="2063262">
                  <a:extLst>
                    <a:ext uri="{9D8B030D-6E8A-4147-A177-3AD203B41FA5}">
                      <a16:colId xmlns:a16="http://schemas.microsoft.com/office/drawing/2014/main" val="20001"/>
                    </a:ext>
                  </a:extLst>
                </a:gridCol>
                <a:gridCol w="2063262">
                  <a:extLst>
                    <a:ext uri="{9D8B030D-6E8A-4147-A177-3AD203B41FA5}">
                      <a16:colId xmlns:a16="http://schemas.microsoft.com/office/drawing/2014/main" val="20002"/>
                    </a:ext>
                  </a:extLst>
                </a:gridCol>
                <a:gridCol w="2063262">
                  <a:extLst>
                    <a:ext uri="{9D8B030D-6E8A-4147-A177-3AD203B41FA5}">
                      <a16:colId xmlns:a16="http://schemas.microsoft.com/office/drawing/2014/main" val="20003"/>
                    </a:ext>
                  </a:extLst>
                </a:gridCol>
                <a:gridCol w="2063262">
                  <a:extLst>
                    <a:ext uri="{9D8B030D-6E8A-4147-A177-3AD203B41FA5}">
                      <a16:colId xmlns:a16="http://schemas.microsoft.com/office/drawing/2014/main" val="20004"/>
                    </a:ext>
                  </a:extLst>
                </a:gridCol>
              </a:tblGrid>
              <a:tr h="498717">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endParaRPr lang="en-US" sz="1300" b="1" dirty="0">
                        <a:solidFill>
                          <a:schemeClr val="tx1"/>
                        </a:solidFill>
                        <a:latin typeface="+mj-lt"/>
                      </a:endParaRPr>
                    </a:p>
                  </a:txBody>
                  <a:tcPr marL="91909" marR="91909"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 header</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 header</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 header</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300" b="1" u="none" strike="noStrike" cap="none" normalizeH="0" baseline="0" dirty="0">
                          <a:ln>
                            <a:noFill/>
                          </a:ln>
                          <a:solidFill>
                            <a:schemeClr val="accent1"/>
                          </a:solidFill>
                          <a:effectLst/>
                          <a:latin typeface="+mj-lt"/>
                        </a:rPr>
                        <a:t>Column header</a:t>
                      </a:r>
                      <a:endParaRPr kumimoji="0" lang="en-US" sz="1300" b="1" i="0" u="none" strike="noStrike" cap="none" normalizeH="0" baseline="0" dirty="0">
                        <a:ln>
                          <a:noFill/>
                        </a:ln>
                        <a:solidFill>
                          <a:schemeClr val="accent1"/>
                        </a:solidFill>
                        <a:effectLst/>
                        <a:latin typeface="+mj-lt"/>
                      </a:endParaRPr>
                    </a:p>
                  </a:txBody>
                  <a:tcPr marL="91909" marR="91909" marT="91440" marB="91440" anchor="ctr" horzOverflow="overflow">
                    <a:lnL w="6350" cap="flat" cmpd="sng" algn="ctr">
                      <a:solidFill>
                        <a:schemeClr val="bg1"/>
                      </a:solidFill>
                      <a:prstDash val="solid"/>
                      <a:round/>
                      <a:headEnd type="none" w="med" len="med"/>
                      <a:tailEnd type="none" w="med" len="med"/>
                    </a:lnL>
                    <a:lnR w="12700" cmpd="sng">
                      <a:solidFill>
                        <a:srgbClr val="FFFFFF"/>
                      </a:solidFill>
                      <a:prstDash val="solid"/>
                    </a:lnR>
                    <a:lnT w="3810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71477">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Subtotal</a:t>
                      </a:r>
                      <a:endParaRPr kumimoji="0" lang="en-US" sz="1300" b="0" i="0" u="none" strike="noStrike" cap="none" normalizeH="0" baseline="0" dirty="0">
                        <a:ln>
                          <a:noFill/>
                        </a:ln>
                        <a:solidFill>
                          <a:schemeClr val="tx1"/>
                        </a:solidFill>
                        <a:effectLst/>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71477">
                <a:tc>
                  <a:txBody>
                    <a:bodyPr/>
                    <a:lstStyle/>
                    <a:p>
                      <a:pPr marL="0" indent="0" algn="l">
                        <a:lnSpc>
                          <a:spcPct val="110000"/>
                        </a:lnSpc>
                        <a:spcBef>
                          <a:spcPts val="300"/>
                        </a:spcBef>
                        <a:spcAft>
                          <a:spcPts val="600"/>
                        </a:spcAft>
                        <a:buFont typeface="Arial" panose="020B0604020202020204" pitchFamily="34" charset="0"/>
                        <a:buNone/>
                      </a:pPr>
                      <a:r>
                        <a:rPr lang="en-US" sz="1300" b="0" dirty="0">
                          <a:solidFill>
                            <a:schemeClr val="tx1"/>
                          </a:solidFill>
                          <a:latin typeface="+mn-lt"/>
                        </a:rPr>
                        <a:t>Row</a:t>
                      </a:r>
                      <a:r>
                        <a:rPr lang="en-US" sz="1300" b="0" baseline="0" dirty="0">
                          <a:solidFill>
                            <a:schemeClr val="tx1"/>
                          </a:solidFill>
                          <a:latin typeface="+mn-lt"/>
                        </a:rPr>
                        <a:t> title</a:t>
                      </a:r>
                      <a:endParaRPr lang="en-US" sz="1300" b="0" dirty="0">
                        <a:solidFill>
                          <a:schemeClr val="tx1"/>
                        </a:solidFill>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71477">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Subtotal</a:t>
                      </a:r>
                      <a:endParaRPr kumimoji="0" lang="en-US" sz="1300" b="0" i="0" u="none" strike="noStrike" cap="none" normalizeH="0" baseline="0" dirty="0">
                        <a:ln>
                          <a:noFill/>
                        </a:ln>
                        <a:solidFill>
                          <a:schemeClr val="tx1"/>
                        </a:solidFill>
                        <a:effectLst/>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71477">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Total</a:t>
                      </a:r>
                      <a:endParaRPr kumimoji="0" lang="en-US" sz="1300" b="0" i="0" u="none" strike="noStrike" cap="none" normalizeH="0" baseline="0" dirty="0">
                        <a:ln>
                          <a:noFill/>
                        </a:ln>
                        <a:solidFill>
                          <a:schemeClr val="tx1"/>
                        </a:solidFill>
                        <a:effectLst/>
                        <a:latin typeface="+mn-lt"/>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300" b="0" u="none" strike="noStrike" kern="1200" cap="none" normalizeH="0" baseline="0" dirty="0">
                          <a:ln>
                            <a:noFill/>
                          </a:ln>
                          <a:solidFill>
                            <a:schemeClr val="tx1"/>
                          </a:solidFill>
                          <a:effectLst/>
                          <a:latin typeface="+mn-lt"/>
                        </a:rPr>
                        <a:t>xx</a:t>
                      </a:r>
                      <a:endParaRPr kumimoji="0" lang="en-US" sz="1300" b="0" i="0" u="none" strike="noStrike" kern="1200" cap="none" normalizeH="0" baseline="0" dirty="0">
                        <a:ln>
                          <a:noFill/>
                        </a:ln>
                        <a:solidFill>
                          <a:schemeClr val="tx1"/>
                        </a:solidFill>
                        <a:effectLst/>
                        <a:latin typeface="+mn-lt"/>
                        <a:ea typeface="+mn-ea"/>
                        <a:cs typeface="+mn-cs"/>
                      </a:endParaRPr>
                    </a:p>
                  </a:txBody>
                  <a:tcPr marL="91909" marR="91909"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
        <p:nvSpPr>
          <p:cNvPr id="15" name="Text Placeholder 14"/>
          <p:cNvSpPr>
            <a:spLocks noGrp="1"/>
          </p:cNvSpPr>
          <p:nvPr>
            <p:ph type="body" sz="quarter" idx="18"/>
          </p:nvPr>
        </p:nvSpPr>
        <p:spPr/>
        <p:txBody>
          <a:bodyPr/>
          <a:lstStyle/>
          <a:p>
            <a:r>
              <a:rPr lang="en-US" dirty="0"/>
              <a:t>Table title runs here</a:t>
            </a:r>
          </a:p>
        </p:txBody>
      </p:sp>
      <p:sp>
        <p:nvSpPr>
          <p:cNvPr id="2" name="Title 1"/>
          <p:cNvSpPr>
            <a:spLocks noGrp="1"/>
          </p:cNvSpPr>
          <p:nvPr>
            <p:ph type="title"/>
          </p:nvPr>
        </p:nvSpPr>
        <p:spPr/>
        <p:txBody>
          <a:bodyPr/>
          <a:lstStyle/>
          <a:p>
            <a:r>
              <a:rPr lang="en-US"/>
              <a:t>Tables</a:t>
            </a:r>
            <a:endParaRPr lang="en-GB" dirty="0"/>
          </a:p>
        </p:txBody>
      </p:sp>
    </p:spTree>
    <p:extLst>
      <p:ext uri="{BB962C8B-B14F-4D97-AF65-F5344CB8AC3E}">
        <p14:creationId xmlns:p14="http://schemas.microsoft.com/office/powerpoint/2010/main" val="1267303651"/>
      </p:ext>
    </p:extLst>
  </p:cSld>
  <p:clrMapOvr>
    <a:masterClrMapping/>
  </p:clrMapOvr>
  <p:transition>
    <p:fade/>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 Placeholder 53"/>
          <p:cNvSpPr>
            <a:spLocks noGrp="1"/>
          </p:cNvSpPr>
          <p:nvPr>
            <p:ph type="body" sz="quarter" idx="13"/>
          </p:nvPr>
        </p:nvSpPr>
        <p:spPr/>
        <p:txBody>
          <a:bodyPr/>
          <a:lstStyle/>
          <a:p>
            <a:r>
              <a:rPr lang="en-US"/>
              <a:t>Subtitle runs here</a:t>
            </a:r>
            <a:endParaRPr lang="en-US" dirty="0"/>
          </a:p>
        </p:txBody>
      </p:sp>
      <p:sp>
        <p:nvSpPr>
          <p:cNvPr id="789505" name="Title 1"/>
          <p:cNvSpPr>
            <a:spLocks noGrp="1"/>
          </p:cNvSpPr>
          <p:nvPr>
            <p:ph type="title"/>
          </p:nvPr>
        </p:nvSpPr>
        <p:spPr/>
        <p:txBody>
          <a:bodyPr/>
          <a:lstStyle/>
          <a:p>
            <a:r>
              <a:rPr lang="en-US"/>
              <a:t>Process flow</a:t>
            </a:r>
            <a:endParaRPr lang="en-US" dirty="0"/>
          </a:p>
        </p:txBody>
      </p:sp>
      <p:grpSp>
        <p:nvGrpSpPr>
          <p:cNvPr id="2" name="Group 1">
            <a:extLst>
              <a:ext uri="{FF2B5EF4-FFF2-40B4-BE49-F238E27FC236}">
                <a16:creationId xmlns:a16="http://schemas.microsoft.com/office/drawing/2014/main" id="{41D2041A-3EA9-4EAD-8419-4A4363F0A8D5}"/>
              </a:ext>
            </a:extLst>
          </p:cNvPr>
          <p:cNvGrpSpPr/>
          <p:nvPr/>
        </p:nvGrpSpPr>
        <p:grpSpPr>
          <a:xfrm>
            <a:off x="501650" y="1976437"/>
            <a:ext cx="11188700" cy="3771266"/>
            <a:chOff x="1889124" y="1976437"/>
            <a:chExt cx="8416926" cy="3771266"/>
          </a:xfrm>
        </p:grpSpPr>
        <p:sp>
          <p:nvSpPr>
            <p:cNvPr id="4" name="Rectangle 3"/>
            <p:cNvSpPr>
              <a:spLocks noChangeArrowheads="1"/>
            </p:cNvSpPr>
            <p:nvPr/>
          </p:nvSpPr>
          <p:spPr bwMode="auto">
            <a:xfrm>
              <a:off x="1889124" y="1976438"/>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5" name="Rectangle 4"/>
            <p:cNvSpPr>
              <a:spLocks noChangeArrowheads="1"/>
            </p:cNvSpPr>
            <p:nvPr/>
          </p:nvSpPr>
          <p:spPr bwMode="auto">
            <a:xfrm>
              <a:off x="1889124" y="2624138"/>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6" name="Rectangle 5"/>
            <p:cNvSpPr>
              <a:spLocks noChangeArrowheads="1"/>
            </p:cNvSpPr>
            <p:nvPr/>
          </p:nvSpPr>
          <p:spPr bwMode="auto">
            <a:xfrm>
              <a:off x="1889124" y="3273426"/>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7" name="Rectangle 6"/>
            <p:cNvSpPr>
              <a:spLocks noChangeArrowheads="1"/>
            </p:cNvSpPr>
            <p:nvPr/>
          </p:nvSpPr>
          <p:spPr bwMode="auto">
            <a:xfrm>
              <a:off x="1889124" y="3921126"/>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8" name="Rectangle 7"/>
            <p:cNvSpPr>
              <a:spLocks noChangeArrowheads="1"/>
            </p:cNvSpPr>
            <p:nvPr/>
          </p:nvSpPr>
          <p:spPr bwMode="auto">
            <a:xfrm>
              <a:off x="1889124" y="4568826"/>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9" name="Rectangle 8"/>
            <p:cNvSpPr>
              <a:spLocks noChangeArrowheads="1"/>
            </p:cNvSpPr>
            <p:nvPr/>
          </p:nvSpPr>
          <p:spPr bwMode="auto">
            <a:xfrm>
              <a:off x="1889124" y="5199063"/>
              <a:ext cx="1371600" cy="548640"/>
            </a:xfrm>
            <a:prstGeom prst="rect">
              <a:avLst/>
            </a:prstGeom>
            <a:solidFill>
              <a:schemeClr val="accent1"/>
            </a:solidFill>
            <a:ln w="12700">
              <a:noFill/>
              <a:miter lim="800000"/>
              <a:headEnd/>
              <a:tailEnd/>
            </a:ln>
          </p:spPr>
          <p:txBody>
            <a:bodyPr lIns="45720" rIns="45720" anchor="ctr"/>
            <a:lstStyle/>
            <a:p>
              <a:pPr algn="ctr">
                <a:lnSpc>
                  <a:spcPct val="95000"/>
                </a:lnSpc>
                <a:defRPr/>
              </a:pPr>
              <a:r>
                <a:rPr lang="en-US" sz="1400" b="1" dirty="0">
                  <a:ea typeface="ＭＳ Ｐゴシック" pitchFamily="50" charset="-128"/>
                </a:rPr>
                <a:t>Process</a:t>
              </a:r>
            </a:p>
          </p:txBody>
        </p:sp>
        <p:sp>
          <p:nvSpPr>
            <p:cNvPr id="10" name="Rectangle 9"/>
            <p:cNvSpPr>
              <a:spLocks noChangeArrowheads="1"/>
            </p:cNvSpPr>
            <p:nvPr/>
          </p:nvSpPr>
          <p:spPr bwMode="auto">
            <a:xfrm>
              <a:off x="3520545" y="1976437"/>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1" name="Rectangle 10"/>
            <p:cNvSpPr>
              <a:spLocks noChangeArrowheads="1"/>
            </p:cNvSpPr>
            <p:nvPr/>
          </p:nvSpPr>
          <p:spPr bwMode="auto">
            <a:xfrm>
              <a:off x="3520545" y="2624137"/>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2" name="Rectangle 11"/>
            <p:cNvSpPr>
              <a:spLocks noChangeArrowheads="1"/>
            </p:cNvSpPr>
            <p:nvPr/>
          </p:nvSpPr>
          <p:spPr bwMode="auto">
            <a:xfrm>
              <a:off x="3520545" y="32734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3" name="Rectangle 12"/>
            <p:cNvSpPr>
              <a:spLocks noChangeArrowheads="1"/>
            </p:cNvSpPr>
            <p:nvPr/>
          </p:nvSpPr>
          <p:spPr bwMode="auto">
            <a:xfrm>
              <a:off x="3520545" y="39211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4" name="Rectangle 13"/>
            <p:cNvSpPr>
              <a:spLocks noChangeArrowheads="1"/>
            </p:cNvSpPr>
            <p:nvPr/>
          </p:nvSpPr>
          <p:spPr bwMode="auto">
            <a:xfrm>
              <a:off x="3520545" y="45688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5" name="Rectangle 14"/>
            <p:cNvSpPr>
              <a:spLocks noChangeArrowheads="1"/>
            </p:cNvSpPr>
            <p:nvPr/>
          </p:nvSpPr>
          <p:spPr bwMode="auto">
            <a:xfrm>
              <a:off x="3520545" y="5199062"/>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6" name="Rectangle 15"/>
            <p:cNvSpPr>
              <a:spLocks noChangeArrowheads="1"/>
            </p:cNvSpPr>
            <p:nvPr/>
          </p:nvSpPr>
          <p:spPr bwMode="auto">
            <a:xfrm>
              <a:off x="4694766" y="1976437"/>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7" name="Rectangle 16"/>
            <p:cNvSpPr>
              <a:spLocks noChangeArrowheads="1"/>
            </p:cNvSpPr>
            <p:nvPr/>
          </p:nvSpPr>
          <p:spPr bwMode="auto">
            <a:xfrm>
              <a:off x="4694766" y="2624137"/>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8" name="Rectangle 17"/>
            <p:cNvSpPr>
              <a:spLocks noChangeArrowheads="1"/>
            </p:cNvSpPr>
            <p:nvPr/>
          </p:nvSpPr>
          <p:spPr bwMode="auto">
            <a:xfrm>
              <a:off x="4694766" y="32734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19" name="Rectangle 18"/>
            <p:cNvSpPr>
              <a:spLocks noChangeArrowheads="1"/>
            </p:cNvSpPr>
            <p:nvPr/>
          </p:nvSpPr>
          <p:spPr bwMode="auto">
            <a:xfrm>
              <a:off x="4694766" y="39211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0" name="Rectangle 19"/>
            <p:cNvSpPr>
              <a:spLocks noChangeArrowheads="1"/>
            </p:cNvSpPr>
            <p:nvPr/>
          </p:nvSpPr>
          <p:spPr bwMode="auto">
            <a:xfrm>
              <a:off x="4694766" y="4568825"/>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1" name="Rectangle 20"/>
            <p:cNvSpPr>
              <a:spLocks noChangeArrowheads="1"/>
            </p:cNvSpPr>
            <p:nvPr/>
          </p:nvSpPr>
          <p:spPr bwMode="auto">
            <a:xfrm>
              <a:off x="4694766" y="5199062"/>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2" name="Rectangle 21"/>
            <p:cNvSpPr>
              <a:spLocks noChangeArrowheads="1"/>
            </p:cNvSpPr>
            <p:nvPr/>
          </p:nvSpPr>
          <p:spPr bwMode="auto">
            <a:xfrm>
              <a:off x="5868987" y="19764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3" name="Rectangle 22"/>
            <p:cNvSpPr>
              <a:spLocks noChangeArrowheads="1"/>
            </p:cNvSpPr>
            <p:nvPr/>
          </p:nvSpPr>
          <p:spPr bwMode="auto">
            <a:xfrm>
              <a:off x="5868987" y="26241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4" name="Rectangle 23"/>
            <p:cNvSpPr>
              <a:spLocks noChangeArrowheads="1"/>
            </p:cNvSpPr>
            <p:nvPr/>
          </p:nvSpPr>
          <p:spPr bwMode="auto">
            <a:xfrm>
              <a:off x="5868987" y="32734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5" name="Rectangle 24"/>
            <p:cNvSpPr>
              <a:spLocks noChangeArrowheads="1"/>
            </p:cNvSpPr>
            <p:nvPr/>
          </p:nvSpPr>
          <p:spPr bwMode="auto">
            <a:xfrm>
              <a:off x="5868987" y="39211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6" name="Rectangle 25"/>
            <p:cNvSpPr>
              <a:spLocks noChangeArrowheads="1"/>
            </p:cNvSpPr>
            <p:nvPr/>
          </p:nvSpPr>
          <p:spPr bwMode="auto">
            <a:xfrm>
              <a:off x="5868987" y="45688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7" name="Rectangle 26"/>
            <p:cNvSpPr>
              <a:spLocks noChangeArrowheads="1"/>
            </p:cNvSpPr>
            <p:nvPr/>
          </p:nvSpPr>
          <p:spPr bwMode="auto">
            <a:xfrm>
              <a:off x="5868987" y="5199062"/>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8" name="Rectangle 27"/>
            <p:cNvSpPr>
              <a:spLocks noChangeArrowheads="1"/>
            </p:cNvSpPr>
            <p:nvPr/>
          </p:nvSpPr>
          <p:spPr bwMode="auto">
            <a:xfrm>
              <a:off x="7043208" y="19764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29" name="Rectangle 28"/>
            <p:cNvSpPr>
              <a:spLocks noChangeArrowheads="1"/>
            </p:cNvSpPr>
            <p:nvPr/>
          </p:nvSpPr>
          <p:spPr bwMode="auto">
            <a:xfrm>
              <a:off x="7043208" y="26241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0" name="Rectangle 29"/>
            <p:cNvSpPr>
              <a:spLocks noChangeArrowheads="1"/>
            </p:cNvSpPr>
            <p:nvPr/>
          </p:nvSpPr>
          <p:spPr bwMode="auto">
            <a:xfrm>
              <a:off x="7043208" y="32734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1" name="Rectangle 30"/>
            <p:cNvSpPr>
              <a:spLocks noChangeArrowheads="1"/>
            </p:cNvSpPr>
            <p:nvPr/>
          </p:nvSpPr>
          <p:spPr bwMode="auto">
            <a:xfrm>
              <a:off x="7043208" y="39211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2" name="Rectangle 31"/>
            <p:cNvSpPr>
              <a:spLocks noChangeArrowheads="1"/>
            </p:cNvSpPr>
            <p:nvPr/>
          </p:nvSpPr>
          <p:spPr bwMode="auto">
            <a:xfrm>
              <a:off x="7043208" y="45688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3" name="Rectangle 32"/>
            <p:cNvSpPr>
              <a:spLocks noChangeArrowheads="1"/>
            </p:cNvSpPr>
            <p:nvPr/>
          </p:nvSpPr>
          <p:spPr bwMode="auto">
            <a:xfrm>
              <a:off x="7043208" y="5199063"/>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4" name="Rectangle 33"/>
            <p:cNvSpPr>
              <a:spLocks noChangeArrowheads="1"/>
            </p:cNvSpPr>
            <p:nvPr/>
          </p:nvSpPr>
          <p:spPr bwMode="auto">
            <a:xfrm>
              <a:off x="8217429" y="19764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5" name="Rectangle 34"/>
            <p:cNvSpPr>
              <a:spLocks noChangeArrowheads="1"/>
            </p:cNvSpPr>
            <p:nvPr/>
          </p:nvSpPr>
          <p:spPr bwMode="auto">
            <a:xfrm>
              <a:off x="8217429" y="26241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6" name="Rectangle 35"/>
            <p:cNvSpPr>
              <a:spLocks noChangeArrowheads="1"/>
            </p:cNvSpPr>
            <p:nvPr/>
          </p:nvSpPr>
          <p:spPr bwMode="auto">
            <a:xfrm>
              <a:off x="8217429" y="32734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7" name="Rectangle 36"/>
            <p:cNvSpPr>
              <a:spLocks noChangeArrowheads="1"/>
            </p:cNvSpPr>
            <p:nvPr/>
          </p:nvSpPr>
          <p:spPr bwMode="auto">
            <a:xfrm>
              <a:off x="8217429" y="39211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8" name="Rectangle 37"/>
            <p:cNvSpPr>
              <a:spLocks noChangeArrowheads="1"/>
            </p:cNvSpPr>
            <p:nvPr/>
          </p:nvSpPr>
          <p:spPr bwMode="auto">
            <a:xfrm>
              <a:off x="8217429" y="45688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39" name="Rectangle 38"/>
            <p:cNvSpPr>
              <a:spLocks noChangeArrowheads="1"/>
            </p:cNvSpPr>
            <p:nvPr/>
          </p:nvSpPr>
          <p:spPr bwMode="auto">
            <a:xfrm>
              <a:off x="8217429" y="5199063"/>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0" name="Rectangle 39"/>
            <p:cNvSpPr>
              <a:spLocks noChangeArrowheads="1"/>
            </p:cNvSpPr>
            <p:nvPr/>
          </p:nvSpPr>
          <p:spPr bwMode="auto">
            <a:xfrm>
              <a:off x="9391650" y="19764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1" name="Rectangle 40"/>
            <p:cNvSpPr>
              <a:spLocks noChangeArrowheads="1"/>
            </p:cNvSpPr>
            <p:nvPr/>
          </p:nvSpPr>
          <p:spPr bwMode="auto">
            <a:xfrm>
              <a:off x="9391650" y="2624138"/>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2" name="Rectangle 41"/>
            <p:cNvSpPr>
              <a:spLocks noChangeArrowheads="1"/>
            </p:cNvSpPr>
            <p:nvPr/>
          </p:nvSpPr>
          <p:spPr bwMode="auto">
            <a:xfrm>
              <a:off x="9391650" y="32734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3" name="Rectangle 42"/>
            <p:cNvSpPr>
              <a:spLocks noChangeArrowheads="1"/>
            </p:cNvSpPr>
            <p:nvPr/>
          </p:nvSpPr>
          <p:spPr bwMode="auto">
            <a:xfrm>
              <a:off x="9391650" y="39211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4" name="Rectangle 43"/>
            <p:cNvSpPr>
              <a:spLocks noChangeArrowheads="1"/>
            </p:cNvSpPr>
            <p:nvPr/>
          </p:nvSpPr>
          <p:spPr bwMode="auto">
            <a:xfrm>
              <a:off x="9391650" y="4568826"/>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sp>
          <p:nvSpPr>
            <p:cNvPr id="45" name="Rectangle 44"/>
            <p:cNvSpPr>
              <a:spLocks noChangeArrowheads="1"/>
            </p:cNvSpPr>
            <p:nvPr/>
          </p:nvSpPr>
          <p:spPr bwMode="auto">
            <a:xfrm>
              <a:off x="9391650" y="5199063"/>
              <a:ext cx="914400" cy="548640"/>
            </a:xfrm>
            <a:prstGeom prst="rect">
              <a:avLst/>
            </a:prstGeom>
            <a:noFill/>
            <a:ln w="12700">
              <a:solidFill>
                <a:schemeClr val="tx1"/>
              </a:solidFill>
              <a:miter lim="800000"/>
              <a:headEnd/>
              <a:tailEnd/>
            </a:ln>
          </p:spPr>
          <p:txBody>
            <a:bodyPr lIns="45720" rIns="45720" anchor="ctr"/>
            <a:lstStyle/>
            <a:p>
              <a:pPr algn="ctr">
                <a:lnSpc>
                  <a:spcPct val="95000"/>
                </a:lnSpc>
                <a:defRPr/>
              </a:pPr>
              <a:r>
                <a:rPr lang="en-US" sz="1000" dirty="0">
                  <a:ea typeface="ＭＳ Ｐゴシック" pitchFamily="50" charset="-128"/>
                </a:rPr>
                <a:t>Text</a:t>
              </a:r>
            </a:p>
          </p:txBody>
        </p:sp>
        <p:cxnSp>
          <p:nvCxnSpPr>
            <p:cNvPr id="46" name="AutoShape 45"/>
            <p:cNvCxnSpPr>
              <a:cxnSpLocks noChangeShapeType="1"/>
              <a:stCxn id="10" idx="3"/>
              <a:endCxn id="17" idx="1"/>
            </p:cNvCxnSpPr>
            <p:nvPr/>
          </p:nvCxnSpPr>
          <p:spPr bwMode="auto">
            <a:xfrm>
              <a:off x="4434946" y="2250757"/>
              <a:ext cx="259821" cy="647700"/>
            </a:xfrm>
            <a:prstGeom prst="bentConnector3">
              <a:avLst>
                <a:gd name="adj1" fmla="val 50000"/>
              </a:avLst>
            </a:prstGeom>
            <a:noFill/>
            <a:ln w="9525">
              <a:solidFill>
                <a:srgbClr val="53565A"/>
              </a:solidFill>
              <a:miter lim="800000"/>
              <a:headEnd/>
              <a:tailEnd type="triangle" w="med" len="sm"/>
            </a:ln>
          </p:spPr>
        </p:cxnSp>
        <p:cxnSp>
          <p:nvCxnSpPr>
            <p:cNvPr id="47" name="AutoShape 46"/>
            <p:cNvCxnSpPr>
              <a:cxnSpLocks noChangeShapeType="1"/>
              <a:stCxn id="12" idx="3"/>
              <a:endCxn id="21" idx="1"/>
            </p:cNvCxnSpPr>
            <p:nvPr/>
          </p:nvCxnSpPr>
          <p:spPr bwMode="auto">
            <a:xfrm>
              <a:off x="4434946" y="3547746"/>
              <a:ext cx="259821" cy="1925637"/>
            </a:xfrm>
            <a:prstGeom prst="bentConnector3">
              <a:avLst>
                <a:gd name="adj1" fmla="val 50000"/>
              </a:avLst>
            </a:prstGeom>
            <a:noFill/>
            <a:ln w="9525">
              <a:solidFill>
                <a:srgbClr val="53565A"/>
              </a:solidFill>
              <a:miter lim="800000"/>
              <a:headEnd/>
              <a:tailEnd type="triangle" w="med" len="sm"/>
            </a:ln>
          </p:spPr>
        </p:cxnSp>
        <p:cxnSp>
          <p:nvCxnSpPr>
            <p:cNvPr id="48" name="AutoShape 47"/>
            <p:cNvCxnSpPr>
              <a:cxnSpLocks noChangeShapeType="1"/>
              <a:stCxn id="16" idx="3"/>
              <a:endCxn id="24" idx="1"/>
            </p:cNvCxnSpPr>
            <p:nvPr/>
          </p:nvCxnSpPr>
          <p:spPr bwMode="auto">
            <a:xfrm>
              <a:off x="5609167" y="2250758"/>
              <a:ext cx="259821" cy="1296989"/>
            </a:xfrm>
            <a:prstGeom prst="bentConnector3">
              <a:avLst>
                <a:gd name="adj1" fmla="val 50000"/>
              </a:avLst>
            </a:prstGeom>
            <a:noFill/>
            <a:ln w="9525">
              <a:solidFill>
                <a:srgbClr val="53565A"/>
              </a:solidFill>
              <a:miter lim="800000"/>
              <a:headEnd/>
              <a:tailEnd type="triangle" w="med" len="sm"/>
            </a:ln>
          </p:spPr>
        </p:cxnSp>
        <p:cxnSp>
          <p:nvCxnSpPr>
            <p:cNvPr id="49" name="AutoShape 48"/>
            <p:cNvCxnSpPr>
              <a:cxnSpLocks noChangeShapeType="1"/>
              <a:stCxn id="22" idx="3"/>
              <a:endCxn id="31" idx="1"/>
            </p:cNvCxnSpPr>
            <p:nvPr/>
          </p:nvCxnSpPr>
          <p:spPr bwMode="auto">
            <a:xfrm>
              <a:off x="6783388" y="2250758"/>
              <a:ext cx="259821" cy="1944688"/>
            </a:xfrm>
            <a:prstGeom prst="bentConnector3">
              <a:avLst>
                <a:gd name="adj1" fmla="val 50000"/>
              </a:avLst>
            </a:prstGeom>
            <a:noFill/>
            <a:ln w="9525">
              <a:solidFill>
                <a:srgbClr val="53565A"/>
              </a:solidFill>
              <a:miter lim="800000"/>
              <a:headEnd/>
              <a:tailEnd type="triangle" w="med" len="sm"/>
            </a:ln>
          </p:spPr>
        </p:cxnSp>
        <p:cxnSp>
          <p:nvCxnSpPr>
            <p:cNvPr id="50" name="AutoShape 49"/>
            <p:cNvCxnSpPr>
              <a:cxnSpLocks noChangeShapeType="1"/>
              <a:stCxn id="28" idx="3"/>
              <a:endCxn id="38" idx="1"/>
            </p:cNvCxnSpPr>
            <p:nvPr/>
          </p:nvCxnSpPr>
          <p:spPr bwMode="auto">
            <a:xfrm>
              <a:off x="7957609" y="2250758"/>
              <a:ext cx="259821" cy="2592388"/>
            </a:xfrm>
            <a:prstGeom prst="bentConnector3">
              <a:avLst>
                <a:gd name="adj1" fmla="val 50000"/>
              </a:avLst>
            </a:prstGeom>
            <a:noFill/>
            <a:ln w="9525">
              <a:solidFill>
                <a:srgbClr val="53565A"/>
              </a:solidFill>
              <a:miter lim="800000"/>
              <a:headEnd/>
              <a:tailEnd type="triangle" w="med" len="sm"/>
            </a:ln>
          </p:spPr>
        </p:cxnSp>
        <p:cxnSp>
          <p:nvCxnSpPr>
            <p:cNvPr id="51" name="AutoShape 50"/>
            <p:cNvCxnSpPr>
              <a:cxnSpLocks noChangeShapeType="1"/>
              <a:stCxn id="34" idx="3"/>
              <a:endCxn id="45" idx="1"/>
            </p:cNvCxnSpPr>
            <p:nvPr/>
          </p:nvCxnSpPr>
          <p:spPr bwMode="auto">
            <a:xfrm>
              <a:off x="9131830" y="2250759"/>
              <a:ext cx="259821" cy="3222625"/>
            </a:xfrm>
            <a:prstGeom prst="bentConnector3">
              <a:avLst>
                <a:gd name="adj1" fmla="val 50000"/>
              </a:avLst>
            </a:prstGeom>
            <a:noFill/>
            <a:ln w="9525">
              <a:solidFill>
                <a:srgbClr val="53565A"/>
              </a:solidFill>
              <a:miter lim="800000"/>
              <a:headEnd/>
              <a:tailEnd type="triangle" w="med" len="sm"/>
            </a:ln>
          </p:spPr>
        </p:cxnSp>
      </p:grpSp>
      <p:sp>
        <p:nvSpPr>
          <p:cNvPr id="57" name="TextBox 56">
            <a:extLst>
              <a:ext uri="{FF2B5EF4-FFF2-40B4-BE49-F238E27FC236}">
                <a16:creationId xmlns:a16="http://schemas.microsoft.com/office/drawing/2014/main" id="{8E7FA4C3-0777-4701-BED1-7F17F71CBB9F}"/>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1969103350"/>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Group 58"/>
          <p:cNvGraphicFramePr>
            <a:graphicFrameLocks noGrp="1"/>
          </p:cNvGraphicFramePr>
          <p:nvPr>
            <p:extLst>
              <p:ext uri="{D42A27DB-BD31-4B8C-83A1-F6EECF244321}">
                <p14:modId xmlns:p14="http://schemas.microsoft.com/office/powerpoint/2010/main" val="3854258231"/>
              </p:ext>
            </p:extLst>
          </p:nvPr>
        </p:nvGraphicFramePr>
        <p:xfrm>
          <a:off x="541951" y="1750411"/>
          <a:ext cx="11148399" cy="4370388"/>
        </p:xfrm>
        <a:graphic>
          <a:graphicData uri="http://schemas.openxmlformats.org/drawingml/2006/table">
            <a:tbl>
              <a:tblPr/>
              <a:tblGrid>
                <a:gridCol w="1817673">
                  <a:extLst>
                    <a:ext uri="{9D8B030D-6E8A-4147-A177-3AD203B41FA5}">
                      <a16:colId xmlns:a16="http://schemas.microsoft.com/office/drawing/2014/main" val="20000"/>
                    </a:ext>
                  </a:extLst>
                </a:gridCol>
                <a:gridCol w="9330726">
                  <a:extLst>
                    <a:ext uri="{9D8B030D-6E8A-4147-A177-3AD203B41FA5}">
                      <a16:colId xmlns:a16="http://schemas.microsoft.com/office/drawing/2014/main" val="20001"/>
                    </a:ext>
                  </a:extLst>
                </a:gridCol>
              </a:tblGrid>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728398">
                <a:tc>
                  <a:txBody>
                    <a:bodyPr/>
                    <a:lstStyle/>
                    <a:p>
                      <a:pPr marL="0" marR="0" lvl="0" indent="0" algn="l" defTabSz="914400" rtl="0" eaLnBrk="0" fontAlgn="base" latinLnBrk="0" hangingPunct="0">
                        <a:lnSpc>
                          <a:spcPct val="100000"/>
                        </a:lnSpc>
                        <a:spcBef>
                          <a:spcPts val="400"/>
                        </a:spcBef>
                        <a:spcAft>
                          <a:spcPct val="0"/>
                        </a:spcAft>
                        <a:buClrTx/>
                        <a:buSzTx/>
                        <a:buFont typeface="Arial" panose="020B0604020202020204" pitchFamily="34" charset="0"/>
                        <a:buNone/>
                        <a:tabLst/>
                        <a:defRPr/>
                      </a:pPr>
                      <a:r>
                        <a:rPr kumimoji="0" lang="en-US" sz="1100" b="0" i="0" u="none" strike="noStrike" cap="none" normalizeH="0" baseline="0" dirty="0">
                          <a:ln>
                            <a:noFill/>
                          </a:ln>
                          <a:solidFill>
                            <a:schemeClr val="tx1"/>
                          </a:solidFill>
                          <a:effectLst/>
                          <a:latin typeface="+mn-lt"/>
                          <a:cs typeface="Times New Roman" pitchFamily="18" charset="0"/>
                        </a:rPr>
                        <a:t>Participant</a:t>
                      </a:r>
                      <a:endParaRPr kumimoji="0" lang="en-US" sz="1100" b="0" i="0" u="none" strike="noStrike" cap="none" normalizeH="0" baseline="0" dirty="0">
                        <a:ln>
                          <a:noFill/>
                        </a:ln>
                        <a:solidFill>
                          <a:schemeClr val="tx1"/>
                        </a:solidFill>
                        <a:effectLst/>
                        <a:latin typeface="+mn-lt"/>
                      </a:endParaRPr>
                    </a:p>
                  </a:txBody>
                  <a:tcPr marT="91440" marB="91440" anchor="ctr" horzOverflow="overflow">
                    <a:lnL w="635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400"/>
                        </a:spcBef>
                        <a:spcAft>
                          <a:spcPct val="0"/>
                        </a:spcAft>
                        <a:buClr>
                          <a:schemeClr val="tx1"/>
                        </a:buClr>
                        <a:buSzPct val="80000"/>
                        <a:buFont typeface="Wingdings" pitchFamily="2" charset="2"/>
                        <a:buNone/>
                        <a:tabLst/>
                      </a:pPr>
                      <a:endParaRPr kumimoji="0" lang="en-US" sz="11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7" name="Text Placeholder 6"/>
          <p:cNvSpPr>
            <a:spLocks noGrp="1"/>
          </p:cNvSpPr>
          <p:nvPr>
            <p:ph type="body" sz="quarter" idx="13"/>
          </p:nvPr>
        </p:nvSpPr>
        <p:spPr/>
        <p:txBody>
          <a:bodyPr/>
          <a:lstStyle/>
          <a:p>
            <a:r>
              <a:rPr lang="en-US"/>
              <a:t>Subtitle runs here</a:t>
            </a:r>
            <a:endParaRPr lang="en-US" dirty="0"/>
          </a:p>
        </p:txBody>
      </p:sp>
      <p:sp>
        <p:nvSpPr>
          <p:cNvPr id="790529" name="Title 1"/>
          <p:cNvSpPr>
            <a:spLocks noGrp="1"/>
          </p:cNvSpPr>
          <p:nvPr>
            <p:ph type="title"/>
          </p:nvPr>
        </p:nvSpPr>
        <p:spPr/>
        <p:txBody>
          <a:bodyPr/>
          <a:lstStyle/>
          <a:p>
            <a:r>
              <a:rPr lang="en-US"/>
              <a:t>Process map</a:t>
            </a:r>
            <a:endParaRPr lang="en-US" dirty="0"/>
          </a:p>
        </p:txBody>
      </p:sp>
      <p:cxnSp>
        <p:nvCxnSpPr>
          <p:cNvPr id="59" name="Straight Arrow Connector 58"/>
          <p:cNvCxnSpPr>
            <a:cxnSpLocks/>
          </p:cNvCxnSpPr>
          <p:nvPr/>
        </p:nvCxnSpPr>
        <p:spPr>
          <a:xfrm>
            <a:off x="6809391" y="2115548"/>
            <a:ext cx="873647"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a:spLocks noChangeArrowheads="1"/>
          </p:cNvSpPr>
          <p:nvPr/>
        </p:nvSpPr>
        <p:spPr bwMode="auto">
          <a:xfrm>
            <a:off x="6188002" y="1793127"/>
            <a:ext cx="812692" cy="137160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22" name="Rectangle 21"/>
          <p:cNvSpPr>
            <a:spLocks noChangeArrowheads="1"/>
          </p:cNvSpPr>
          <p:nvPr/>
        </p:nvSpPr>
        <p:spPr bwMode="auto">
          <a:xfrm>
            <a:off x="4573825" y="3329189"/>
            <a:ext cx="1106833" cy="480902"/>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23" name="Rectangle 22"/>
          <p:cNvSpPr>
            <a:spLocks noChangeArrowheads="1"/>
          </p:cNvSpPr>
          <p:nvPr/>
        </p:nvSpPr>
        <p:spPr bwMode="auto">
          <a:xfrm>
            <a:off x="4573825" y="4054142"/>
            <a:ext cx="1106833" cy="480902"/>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25" name="Rectangle 24"/>
          <p:cNvSpPr>
            <a:spLocks noChangeArrowheads="1"/>
          </p:cNvSpPr>
          <p:nvPr/>
        </p:nvSpPr>
        <p:spPr bwMode="auto">
          <a:xfrm>
            <a:off x="7440669" y="2524647"/>
            <a:ext cx="1106833"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26" name="Oval 25"/>
          <p:cNvSpPr>
            <a:spLocks noChangeArrowheads="1"/>
          </p:cNvSpPr>
          <p:nvPr/>
        </p:nvSpPr>
        <p:spPr bwMode="auto">
          <a:xfrm>
            <a:off x="2025916" y="1795508"/>
            <a:ext cx="640080" cy="640080"/>
          </a:xfrm>
          <a:prstGeom prst="ellipse">
            <a:avLst/>
          </a:prstGeom>
          <a:solidFill>
            <a:schemeClr val="accent3"/>
          </a:solidFill>
          <a:ln w="12700">
            <a:noFill/>
            <a:round/>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Start</a:t>
            </a:r>
          </a:p>
        </p:txBody>
      </p:sp>
      <p:sp>
        <p:nvSpPr>
          <p:cNvPr id="29" name="Rectangle 28"/>
          <p:cNvSpPr>
            <a:spLocks noChangeArrowheads="1"/>
          </p:cNvSpPr>
          <p:nvPr/>
        </p:nvSpPr>
        <p:spPr bwMode="auto">
          <a:xfrm>
            <a:off x="8476390" y="5437593"/>
            <a:ext cx="1106833"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33" name="Rectangle 32"/>
          <p:cNvSpPr>
            <a:spLocks noChangeArrowheads="1"/>
          </p:cNvSpPr>
          <p:nvPr/>
        </p:nvSpPr>
        <p:spPr bwMode="auto">
          <a:xfrm>
            <a:off x="3282634" y="1793127"/>
            <a:ext cx="755982"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34" name="AutoShape 33"/>
          <p:cNvSpPr>
            <a:spLocks noChangeArrowheads="1"/>
          </p:cNvSpPr>
          <p:nvPr/>
        </p:nvSpPr>
        <p:spPr bwMode="auto">
          <a:xfrm>
            <a:off x="4251224" y="1895752"/>
            <a:ext cx="1758469" cy="434830"/>
          </a:xfrm>
          <a:prstGeom prst="diamond">
            <a:avLst/>
          </a:prstGeom>
          <a:solidFill>
            <a:schemeClr val="accent3"/>
          </a:solidFill>
          <a:ln w="12700">
            <a:noFill/>
            <a:miter lim="800000"/>
            <a:headEnd/>
            <a:tailEnd/>
          </a:ln>
        </p:spPr>
        <p:txBody>
          <a:bodyPr wrap="square" lIns="36000" tIns="36000" rIns="36000" bIns="36000" anchor="ctr">
            <a:spAutoFit/>
          </a:bodyPr>
          <a:lstStyle/>
          <a:p>
            <a:pPr algn="ctr">
              <a:lnSpc>
                <a:spcPct val="95000"/>
              </a:lnSpc>
              <a:defRPr/>
            </a:pPr>
            <a:r>
              <a:rPr lang="en-US" sz="1000" dirty="0">
                <a:solidFill>
                  <a:schemeClr val="bg1"/>
                </a:solidFill>
                <a:ea typeface="ＭＳ Ｐゴシック" pitchFamily="50" charset="-128"/>
              </a:rPr>
              <a:t>Decision</a:t>
            </a:r>
          </a:p>
        </p:txBody>
      </p:sp>
      <p:sp>
        <p:nvSpPr>
          <p:cNvPr id="41" name="Oval 40"/>
          <p:cNvSpPr>
            <a:spLocks noChangeArrowheads="1"/>
          </p:cNvSpPr>
          <p:nvPr/>
        </p:nvSpPr>
        <p:spPr bwMode="auto">
          <a:xfrm>
            <a:off x="9997378" y="5437593"/>
            <a:ext cx="640080" cy="640080"/>
          </a:xfrm>
          <a:prstGeom prst="ellipse">
            <a:avLst/>
          </a:prstGeom>
          <a:solidFill>
            <a:schemeClr val="accent3"/>
          </a:solidFill>
          <a:ln w="12700">
            <a:noFill/>
            <a:round/>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End</a:t>
            </a:r>
          </a:p>
        </p:txBody>
      </p:sp>
      <p:sp>
        <p:nvSpPr>
          <p:cNvPr id="50" name="Rectangle 49"/>
          <p:cNvSpPr>
            <a:spLocks noChangeArrowheads="1"/>
          </p:cNvSpPr>
          <p:nvPr/>
        </p:nvSpPr>
        <p:spPr bwMode="auto">
          <a:xfrm>
            <a:off x="7440443" y="1795508"/>
            <a:ext cx="1106833" cy="64008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cxnSp>
        <p:nvCxnSpPr>
          <p:cNvPr id="3" name="Straight Arrow Connector 2"/>
          <p:cNvCxnSpPr>
            <a:stCxn id="26" idx="6"/>
            <a:endCxn id="33" idx="1"/>
          </p:cNvCxnSpPr>
          <p:nvPr/>
        </p:nvCxnSpPr>
        <p:spPr>
          <a:xfrm flipV="1">
            <a:off x="2665996" y="2113167"/>
            <a:ext cx="616638" cy="238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33" idx="3"/>
            <a:endCxn id="34" idx="1"/>
          </p:cNvCxnSpPr>
          <p:nvPr/>
        </p:nvCxnSpPr>
        <p:spPr>
          <a:xfrm>
            <a:off x="4038616" y="2113167"/>
            <a:ext cx="212608"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34" idx="3"/>
          </p:cNvCxnSpPr>
          <p:nvPr/>
        </p:nvCxnSpPr>
        <p:spPr>
          <a:xfrm>
            <a:off x="6009694" y="2113167"/>
            <a:ext cx="159315" cy="2"/>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50" idx="2"/>
            <a:endCxn id="25" idx="0"/>
          </p:cNvCxnSpPr>
          <p:nvPr/>
        </p:nvCxnSpPr>
        <p:spPr>
          <a:xfrm>
            <a:off x="7993860" y="2435588"/>
            <a:ext cx="226" cy="89059"/>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34" idx="2"/>
            <a:endCxn id="22" idx="0"/>
          </p:cNvCxnSpPr>
          <p:nvPr/>
        </p:nvCxnSpPr>
        <p:spPr>
          <a:xfrm flipH="1">
            <a:off x="5127242" y="2330582"/>
            <a:ext cx="3217" cy="998607"/>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22" idx="2"/>
            <a:endCxn id="23" idx="0"/>
          </p:cNvCxnSpPr>
          <p:nvPr/>
        </p:nvCxnSpPr>
        <p:spPr>
          <a:xfrm>
            <a:off x="5127242" y="3810091"/>
            <a:ext cx="0" cy="24405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23" idx="3"/>
          </p:cNvCxnSpPr>
          <p:nvPr/>
        </p:nvCxnSpPr>
        <p:spPr>
          <a:xfrm>
            <a:off x="5680658" y="4294593"/>
            <a:ext cx="479029" cy="1"/>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endCxn id="29" idx="1"/>
          </p:cNvCxnSpPr>
          <p:nvPr/>
        </p:nvCxnSpPr>
        <p:spPr>
          <a:xfrm>
            <a:off x="6928573" y="5752713"/>
            <a:ext cx="1547818" cy="492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29" idx="3"/>
            <a:endCxn id="41" idx="2"/>
          </p:cNvCxnSpPr>
          <p:nvPr/>
        </p:nvCxnSpPr>
        <p:spPr>
          <a:xfrm>
            <a:off x="9583223" y="5757633"/>
            <a:ext cx="414155" cy="0"/>
          </a:xfrm>
          <a:prstGeom prst="straightConnector1">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25" idx="3"/>
            <a:endCxn id="29" idx="0"/>
          </p:cNvCxnSpPr>
          <p:nvPr/>
        </p:nvCxnSpPr>
        <p:spPr>
          <a:xfrm>
            <a:off x="8547502" y="2844687"/>
            <a:ext cx="482305" cy="2592906"/>
          </a:xfrm>
          <a:prstGeom prst="bentConnector2">
            <a:avLst/>
          </a:prstGeom>
          <a:ln w="6350">
            <a:solidFill>
              <a:srgbClr val="53565A"/>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a:spLocks noChangeArrowheads="1"/>
          </p:cNvSpPr>
          <p:nvPr/>
        </p:nvSpPr>
        <p:spPr bwMode="auto">
          <a:xfrm>
            <a:off x="6172329" y="3974553"/>
            <a:ext cx="831580" cy="2103120"/>
          </a:xfrm>
          <a:prstGeom prst="rect">
            <a:avLst/>
          </a:prstGeom>
          <a:solidFill>
            <a:schemeClr val="accent3"/>
          </a:solidFill>
          <a:ln w="12700">
            <a:noFill/>
            <a:miter lim="800000"/>
            <a:headEnd/>
            <a:tailEnd/>
          </a:ln>
        </p:spPr>
        <p:txBody>
          <a:bodyPr wrap="square" lIns="36000" tIns="36000" rIns="36000" bIns="36000" anchor="ctr">
            <a:noAutofit/>
          </a:bodyPr>
          <a:lstStyle/>
          <a:p>
            <a:pPr algn="ctr">
              <a:lnSpc>
                <a:spcPct val="95000"/>
              </a:lnSpc>
              <a:defRPr/>
            </a:pPr>
            <a:r>
              <a:rPr lang="en-US" sz="1000" dirty="0">
                <a:solidFill>
                  <a:schemeClr val="bg1"/>
                </a:solidFill>
                <a:ea typeface="ＭＳ Ｐゴシック" pitchFamily="50" charset="-128"/>
              </a:rPr>
              <a:t>Activity</a:t>
            </a:r>
          </a:p>
        </p:txBody>
      </p:sp>
      <p:sp>
        <p:nvSpPr>
          <p:cNvPr id="31" name="TextBox 30">
            <a:extLst>
              <a:ext uri="{FF2B5EF4-FFF2-40B4-BE49-F238E27FC236}">
                <a16:creationId xmlns:a16="http://schemas.microsoft.com/office/drawing/2014/main" id="{6018E3C3-3EE8-4328-BA21-91626AF64A8A}"/>
              </a:ext>
            </a:extLst>
          </p:cNvPr>
          <p:cNvSpPr txBox="1"/>
          <p:nvPr/>
        </p:nvSpPr>
        <p:spPr bwMode="gray">
          <a:xfrm>
            <a:off x="541951" y="1403912"/>
            <a:ext cx="8348472"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96499700"/>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Subtitle runs here</a:t>
            </a:r>
          </a:p>
        </p:txBody>
      </p:sp>
      <p:sp>
        <p:nvSpPr>
          <p:cNvPr id="3" name="Title 2"/>
          <p:cNvSpPr>
            <a:spLocks noGrp="1"/>
          </p:cNvSpPr>
          <p:nvPr>
            <p:ph type="title"/>
          </p:nvPr>
        </p:nvSpPr>
        <p:spPr/>
        <p:txBody>
          <a:bodyPr/>
          <a:lstStyle/>
          <a:p>
            <a:r>
              <a:rPr lang="en-US" dirty="0"/>
              <a:t>Chevrons </a:t>
            </a:r>
          </a:p>
        </p:txBody>
      </p:sp>
      <p:sp>
        <p:nvSpPr>
          <p:cNvPr id="4" name="AutoShape 23"/>
          <p:cNvSpPr>
            <a:spLocks noChangeArrowheads="1"/>
          </p:cNvSpPr>
          <p:nvPr/>
        </p:nvSpPr>
        <p:spPr bwMode="gray">
          <a:xfrm>
            <a:off x="501650" y="4768265"/>
            <a:ext cx="2030303" cy="548640"/>
          </a:xfrm>
          <a:prstGeom prst="chevron">
            <a:avLst>
              <a:gd name="adj" fmla="val 32606"/>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5" name="AutoShape 24"/>
          <p:cNvSpPr>
            <a:spLocks noChangeArrowheads="1"/>
          </p:cNvSpPr>
          <p:nvPr/>
        </p:nvSpPr>
        <p:spPr bwMode="gray">
          <a:xfrm>
            <a:off x="2333329"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6" name="AutoShape 25"/>
          <p:cNvSpPr>
            <a:spLocks noChangeArrowheads="1"/>
          </p:cNvSpPr>
          <p:nvPr/>
        </p:nvSpPr>
        <p:spPr bwMode="gray">
          <a:xfrm>
            <a:off x="4165009"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7" name="AutoShape 26"/>
          <p:cNvSpPr>
            <a:spLocks noChangeArrowheads="1"/>
          </p:cNvSpPr>
          <p:nvPr/>
        </p:nvSpPr>
        <p:spPr bwMode="gray">
          <a:xfrm>
            <a:off x="5996688"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8" name="AutoShape 27"/>
          <p:cNvSpPr>
            <a:spLocks noChangeArrowheads="1"/>
          </p:cNvSpPr>
          <p:nvPr/>
        </p:nvSpPr>
        <p:spPr bwMode="gray">
          <a:xfrm>
            <a:off x="7828368"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9" name="AutoShape 28"/>
          <p:cNvSpPr>
            <a:spLocks noChangeArrowheads="1"/>
          </p:cNvSpPr>
          <p:nvPr/>
        </p:nvSpPr>
        <p:spPr bwMode="gray">
          <a:xfrm>
            <a:off x="9660047" y="4768265"/>
            <a:ext cx="2030303" cy="548640"/>
          </a:xfrm>
          <a:prstGeom prst="chevron">
            <a:avLst>
              <a:gd name="adj" fmla="val 3237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0" name="AutoShape 3"/>
          <p:cNvSpPr>
            <a:spLocks noChangeArrowheads="1"/>
          </p:cNvSpPr>
          <p:nvPr/>
        </p:nvSpPr>
        <p:spPr bwMode="gray">
          <a:xfrm>
            <a:off x="501650" y="1611785"/>
            <a:ext cx="11188700" cy="548640"/>
          </a:xfrm>
          <a:prstGeom prst="chevron">
            <a:avLst>
              <a:gd name="adj" fmla="val 32576"/>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1" name="AutoShape 5"/>
          <p:cNvSpPr>
            <a:spLocks noChangeArrowheads="1"/>
          </p:cNvSpPr>
          <p:nvPr/>
        </p:nvSpPr>
        <p:spPr bwMode="gray">
          <a:xfrm>
            <a:off x="501650" y="2243081"/>
            <a:ext cx="5689710" cy="548640"/>
          </a:xfrm>
          <a:prstGeom prst="chevron">
            <a:avLst>
              <a:gd name="adj" fmla="val 32565"/>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2" name="AutoShape 6"/>
          <p:cNvSpPr>
            <a:spLocks noChangeArrowheads="1"/>
          </p:cNvSpPr>
          <p:nvPr/>
        </p:nvSpPr>
        <p:spPr bwMode="gray">
          <a:xfrm>
            <a:off x="6000640" y="2243081"/>
            <a:ext cx="5689710" cy="548640"/>
          </a:xfrm>
          <a:prstGeom prst="chevron">
            <a:avLst>
              <a:gd name="adj" fmla="val 32435"/>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3" name="AutoShape 8"/>
          <p:cNvSpPr>
            <a:spLocks noChangeArrowheads="1"/>
          </p:cNvSpPr>
          <p:nvPr/>
        </p:nvSpPr>
        <p:spPr bwMode="gray">
          <a:xfrm>
            <a:off x="501650" y="2874377"/>
            <a:ext cx="3853928" cy="548640"/>
          </a:xfrm>
          <a:prstGeom prst="chevron">
            <a:avLst>
              <a:gd name="adj" fmla="val 32411"/>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4" name="AutoShape 9"/>
          <p:cNvSpPr>
            <a:spLocks noChangeArrowheads="1"/>
          </p:cNvSpPr>
          <p:nvPr/>
        </p:nvSpPr>
        <p:spPr bwMode="gray">
          <a:xfrm>
            <a:off x="4169036" y="2874377"/>
            <a:ext cx="3853928" cy="548640"/>
          </a:xfrm>
          <a:prstGeom prst="chevron">
            <a:avLst>
              <a:gd name="adj" fmla="val 3255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5" name="AutoShape 10"/>
          <p:cNvSpPr>
            <a:spLocks noChangeArrowheads="1"/>
          </p:cNvSpPr>
          <p:nvPr/>
        </p:nvSpPr>
        <p:spPr bwMode="gray">
          <a:xfrm>
            <a:off x="7836422" y="2874377"/>
            <a:ext cx="3853928" cy="548640"/>
          </a:xfrm>
          <a:prstGeom prst="chevron">
            <a:avLst>
              <a:gd name="adj" fmla="val 32406"/>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6" name="AutoShape 12"/>
          <p:cNvSpPr>
            <a:spLocks noChangeArrowheads="1"/>
          </p:cNvSpPr>
          <p:nvPr/>
        </p:nvSpPr>
        <p:spPr bwMode="gray">
          <a:xfrm>
            <a:off x="501650" y="3505673"/>
            <a:ext cx="2942115" cy="548640"/>
          </a:xfrm>
          <a:prstGeom prst="chevron">
            <a:avLst>
              <a:gd name="adj" fmla="val 3237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7" name="AutoShape 13"/>
          <p:cNvSpPr>
            <a:spLocks noChangeArrowheads="1"/>
          </p:cNvSpPr>
          <p:nvPr/>
        </p:nvSpPr>
        <p:spPr bwMode="gray">
          <a:xfrm>
            <a:off x="3250512" y="3505673"/>
            <a:ext cx="2942115" cy="548640"/>
          </a:xfrm>
          <a:prstGeom prst="chevron">
            <a:avLst>
              <a:gd name="adj" fmla="val 3237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8" name="AutoShape 14"/>
          <p:cNvSpPr>
            <a:spLocks noChangeArrowheads="1"/>
          </p:cNvSpPr>
          <p:nvPr/>
        </p:nvSpPr>
        <p:spPr bwMode="gray">
          <a:xfrm>
            <a:off x="5999374" y="3505673"/>
            <a:ext cx="2942115" cy="548640"/>
          </a:xfrm>
          <a:prstGeom prst="chevron">
            <a:avLst>
              <a:gd name="adj" fmla="val 3237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19" name="AutoShape 15"/>
          <p:cNvSpPr>
            <a:spLocks noChangeArrowheads="1"/>
          </p:cNvSpPr>
          <p:nvPr/>
        </p:nvSpPr>
        <p:spPr bwMode="gray">
          <a:xfrm>
            <a:off x="8748235" y="3505673"/>
            <a:ext cx="2942115" cy="548640"/>
          </a:xfrm>
          <a:prstGeom prst="chevron">
            <a:avLst>
              <a:gd name="adj" fmla="val 32560"/>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0" name="AutoShape 17"/>
          <p:cNvSpPr>
            <a:spLocks noChangeArrowheads="1"/>
          </p:cNvSpPr>
          <p:nvPr/>
        </p:nvSpPr>
        <p:spPr bwMode="gray">
          <a:xfrm>
            <a:off x="501650" y="4136969"/>
            <a:ext cx="2395028" cy="548640"/>
          </a:xfrm>
          <a:prstGeom prst="chevron">
            <a:avLst>
              <a:gd name="adj" fmla="val 32555"/>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1" name="AutoShape 18"/>
          <p:cNvSpPr>
            <a:spLocks noChangeArrowheads="1"/>
          </p:cNvSpPr>
          <p:nvPr/>
        </p:nvSpPr>
        <p:spPr bwMode="gray">
          <a:xfrm>
            <a:off x="2700069" y="4136969"/>
            <a:ext cx="2395028" cy="548640"/>
          </a:xfrm>
          <a:prstGeom prst="chevron">
            <a:avLst>
              <a:gd name="adj" fmla="val 3238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2" name="AutoShape 19"/>
          <p:cNvSpPr>
            <a:spLocks noChangeArrowheads="1"/>
          </p:cNvSpPr>
          <p:nvPr/>
        </p:nvSpPr>
        <p:spPr bwMode="gray">
          <a:xfrm>
            <a:off x="4898488" y="4136969"/>
            <a:ext cx="2395028" cy="548640"/>
          </a:xfrm>
          <a:prstGeom prst="chevron">
            <a:avLst>
              <a:gd name="adj" fmla="val 32413"/>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3" name="AutoShape 20"/>
          <p:cNvSpPr>
            <a:spLocks noChangeArrowheads="1"/>
          </p:cNvSpPr>
          <p:nvPr/>
        </p:nvSpPr>
        <p:spPr bwMode="gray">
          <a:xfrm>
            <a:off x="7096906" y="4136969"/>
            <a:ext cx="2395028" cy="548640"/>
          </a:xfrm>
          <a:prstGeom prst="chevron">
            <a:avLst>
              <a:gd name="adj" fmla="val 32384"/>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4" name="AutoShape 21"/>
          <p:cNvSpPr>
            <a:spLocks noChangeArrowheads="1"/>
          </p:cNvSpPr>
          <p:nvPr/>
        </p:nvSpPr>
        <p:spPr bwMode="gray">
          <a:xfrm>
            <a:off x="9295322" y="4136969"/>
            <a:ext cx="2395028" cy="548640"/>
          </a:xfrm>
          <a:prstGeom prst="chevron">
            <a:avLst>
              <a:gd name="adj" fmla="val 32299"/>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5" name="AutoShape 30"/>
          <p:cNvSpPr>
            <a:spLocks noChangeArrowheads="1"/>
          </p:cNvSpPr>
          <p:nvPr/>
        </p:nvSpPr>
        <p:spPr bwMode="gray">
          <a:xfrm>
            <a:off x="501650" y="5399560"/>
            <a:ext cx="1762838" cy="548640"/>
          </a:xfrm>
          <a:prstGeom prst="chevron">
            <a:avLst>
              <a:gd name="adj" fmla="val 3260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6" name="AutoShape 31"/>
          <p:cNvSpPr>
            <a:spLocks noChangeArrowheads="1"/>
          </p:cNvSpPr>
          <p:nvPr/>
        </p:nvSpPr>
        <p:spPr bwMode="gray">
          <a:xfrm>
            <a:off x="2072627"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7" name="AutoShape 32"/>
          <p:cNvSpPr>
            <a:spLocks noChangeArrowheads="1"/>
          </p:cNvSpPr>
          <p:nvPr/>
        </p:nvSpPr>
        <p:spPr bwMode="gray">
          <a:xfrm>
            <a:off x="3643603"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8" name="AutoShape 33"/>
          <p:cNvSpPr>
            <a:spLocks noChangeArrowheads="1"/>
          </p:cNvSpPr>
          <p:nvPr/>
        </p:nvSpPr>
        <p:spPr bwMode="gray">
          <a:xfrm>
            <a:off x="5214580"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29" name="AutoShape 34"/>
          <p:cNvSpPr>
            <a:spLocks noChangeArrowheads="1"/>
          </p:cNvSpPr>
          <p:nvPr/>
        </p:nvSpPr>
        <p:spPr bwMode="gray">
          <a:xfrm>
            <a:off x="6785557"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30" name="AutoShape 35"/>
          <p:cNvSpPr>
            <a:spLocks noChangeArrowheads="1"/>
          </p:cNvSpPr>
          <p:nvPr/>
        </p:nvSpPr>
        <p:spPr bwMode="gray">
          <a:xfrm>
            <a:off x="8356533"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
        <p:nvSpPr>
          <p:cNvPr id="31" name="AutoShape 36"/>
          <p:cNvSpPr>
            <a:spLocks noChangeArrowheads="1"/>
          </p:cNvSpPr>
          <p:nvPr/>
        </p:nvSpPr>
        <p:spPr bwMode="gray">
          <a:xfrm>
            <a:off x="9927512" y="5399560"/>
            <a:ext cx="1762838" cy="548640"/>
          </a:xfrm>
          <a:prstGeom prst="chevron">
            <a:avLst>
              <a:gd name="adj" fmla="val 32337"/>
            </a:avLst>
          </a:prstGeom>
          <a:solidFill>
            <a:schemeClr val="accent2"/>
          </a:solidFill>
          <a:ln w="12700" cap="rnd" algn="ctr">
            <a:solidFill>
              <a:schemeClr val="bg1"/>
            </a:solidFill>
            <a:miter lim="800000"/>
            <a:headEnd/>
            <a:tailEnd/>
          </a:ln>
        </p:spPr>
        <p:txBody>
          <a:bodyPr wrap="square" lIns="88900" tIns="88900" rIns="88900" bIns="88900" anchor="ctr"/>
          <a:lstStyle/>
          <a:p>
            <a:pPr eaLnBrk="1" hangingPunct="1">
              <a:lnSpc>
                <a:spcPct val="110000"/>
              </a:lnSpc>
              <a:spcBef>
                <a:spcPct val="20000"/>
              </a:spcBef>
              <a:defRPr/>
            </a:pPr>
            <a:r>
              <a:rPr lang="en-US" sz="1200" dirty="0">
                <a:solidFill>
                  <a:schemeClr val="bg1"/>
                </a:solidFill>
                <a:cs typeface="Arial" pitchFamily="34" charset="0"/>
              </a:rPr>
              <a:t>Text</a:t>
            </a:r>
          </a:p>
        </p:txBody>
      </p:sp>
    </p:spTree>
    <p:extLst>
      <p:ext uri="{BB962C8B-B14F-4D97-AF65-F5344CB8AC3E}">
        <p14:creationId xmlns:p14="http://schemas.microsoft.com/office/powerpoint/2010/main" val="3996344393"/>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Small arrows</a:t>
            </a:r>
          </a:p>
        </p:txBody>
      </p:sp>
      <p:sp>
        <p:nvSpPr>
          <p:cNvPr id="3" name="Title 2"/>
          <p:cNvSpPr>
            <a:spLocks noGrp="1"/>
          </p:cNvSpPr>
          <p:nvPr>
            <p:ph type="title"/>
          </p:nvPr>
        </p:nvSpPr>
        <p:spPr/>
        <p:txBody>
          <a:bodyPr/>
          <a:lstStyle/>
          <a:p>
            <a:r>
              <a:rPr lang="en-US" dirty="0"/>
              <a:t>Circles </a:t>
            </a:r>
          </a:p>
        </p:txBody>
      </p:sp>
      <p:sp>
        <p:nvSpPr>
          <p:cNvPr id="4" name="Text Placeholder 7"/>
          <p:cNvSpPr txBox="1">
            <a:spLocks/>
          </p:cNvSpPr>
          <p:nvPr/>
        </p:nvSpPr>
        <p:spPr>
          <a:xfrm>
            <a:off x="6279917" y="1665289"/>
            <a:ext cx="4011847" cy="4206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300" dirty="0"/>
              <a:t>Chart title runs here</a:t>
            </a:r>
          </a:p>
        </p:txBody>
      </p:sp>
      <p:sp>
        <p:nvSpPr>
          <p:cNvPr id="5" name="Text Placeholder 7"/>
          <p:cNvSpPr txBox="1">
            <a:spLocks/>
          </p:cNvSpPr>
          <p:nvPr/>
        </p:nvSpPr>
        <p:spPr>
          <a:xfrm>
            <a:off x="501651" y="1665289"/>
            <a:ext cx="5430198" cy="4206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300" dirty="0"/>
              <a:t>Chart title runs here</a:t>
            </a:r>
          </a:p>
        </p:txBody>
      </p:sp>
      <p:grpSp>
        <p:nvGrpSpPr>
          <p:cNvPr id="28" name="Group 25"/>
          <p:cNvGrpSpPr>
            <a:grpSpLocks noChangeAspect="1"/>
          </p:cNvGrpSpPr>
          <p:nvPr/>
        </p:nvGrpSpPr>
        <p:grpSpPr bwMode="auto">
          <a:xfrm>
            <a:off x="1307911" y="1976439"/>
            <a:ext cx="3467100" cy="3474323"/>
            <a:chOff x="450850" y="1773238"/>
            <a:chExt cx="4127500" cy="3817937"/>
          </a:xfrm>
        </p:grpSpPr>
        <p:sp>
          <p:nvSpPr>
            <p:cNvPr id="29" name="Arc 3"/>
            <p:cNvSpPr>
              <a:spLocks/>
            </p:cNvSpPr>
            <p:nvPr/>
          </p:nvSpPr>
          <p:spPr bwMode="auto">
            <a:xfrm>
              <a:off x="1451769" y="1773238"/>
              <a:ext cx="1064552" cy="1908175"/>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0" name="Arc 4"/>
            <p:cNvSpPr>
              <a:spLocks/>
            </p:cNvSpPr>
            <p:nvPr/>
          </p:nvSpPr>
          <p:spPr bwMode="auto">
            <a:xfrm>
              <a:off x="2514600" y="1773238"/>
              <a:ext cx="1061112" cy="1908175"/>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1" name="Arc 5"/>
            <p:cNvSpPr>
              <a:spLocks/>
            </p:cNvSpPr>
            <p:nvPr/>
          </p:nvSpPr>
          <p:spPr bwMode="auto">
            <a:xfrm>
              <a:off x="2514600" y="2233613"/>
              <a:ext cx="1898650" cy="1447800"/>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2" name="Arc 6"/>
            <p:cNvSpPr>
              <a:spLocks/>
            </p:cNvSpPr>
            <p:nvPr/>
          </p:nvSpPr>
          <p:spPr bwMode="auto">
            <a:xfrm>
              <a:off x="2514600" y="3249613"/>
              <a:ext cx="2063750" cy="830262"/>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3" name="Arc 7"/>
            <p:cNvSpPr>
              <a:spLocks/>
            </p:cNvSpPr>
            <p:nvPr/>
          </p:nvSpPr>
          <p:spPr bwMode="auto">
            <a:xfrm>
              <a:off x="2514600" y="3679825"/>
              <a:ext cx="1898650" cy="1425575"/>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4" name="Arc 8"/>
            <p:cNvSpPr>
              <a:spLocks/>
            </p:cNvSpPr>
            <p:nvPr/>
          </p:nvSpPr>
          <p:spPr bwMode="auto">
            <a:xfrm>
              <a:off x="2514600" y="3679825"/>
              <a:ext cx="1061112" cy="1911350"/>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5" name="Arc 9"/>
            <p:cNvSpPr>
              <a:spLocks/>
            </p:cNvSpPr>
            <p:nvPr/>
          </p:nvSpPr>
          <p:spPr bwMode="auto">
            <a:xfrm>
              <a:off x="1451769" y="3679825"/>
              <a:ext cx="1064552" cy="1908175"/>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6" name="Arc 10"/>
            <p:cNvSpPr>
              <a:spLocks/>
            </p:cNvSpPr>
            <p:nvPr/>
          </p:nvSpPr>
          <p:spPr bwMode="auto">
            <a:xfrm>
              <a:off x="615950" y="3679825"/>
              <a:ext cx="1900370" cy="1446213"/>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7" name="Arc 11"/>
            <p:cNvSpPr>
              <a:spLocks/>
            </p:cNvSpPr>
            <p:nvPr/>
          </p:nvSpPr>
          <p:spPr bwMode="auto">
            <a:xfrm>
              <a:off x="450850" y="3249613"/>
              <a:ext cx="2065470" cy="830262"/>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sp>
          <p:nvSpPr>
            <p:cNvPr id="38" name="Arc 12"/>
            <p:cNvSpPr>
              <a:spLocks/>
            </p:cNvSpPr>
            <p:nvPr/>
          </p:nvSpPr>
          <p:spPr bwMode="auto">
            <a:xfrm>
              <a:off x="617670" y="2233613"/>
              <a:ext cx="1898650" cy="1447800"/>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28575" cap="rnd">
              <a:solidFill>
                <a:schemeClr val="tx2"/>
              </a:solidFill>
              <a:round/>
              <a:headEnd/>
              <a:tailEnd type="triangle" w="med" len="sm"/>
            </a:ln>
          </p:spPr>
          <p:txBody>
            <a:bodyPr wrap="none" anchor="ctr"/>
            <a:lstStyle/>
            <a:p>
              <a:pPr algn="ctr">
                <a:defRPr/>
              </a:pPr>
              <a:endParaRPr lang="en-US" kern="0" dirty="0">
                <a:solidFill>
                  <a:prstClr val="black"/>
                </a:solidFill>
                <a:latin typeface="Arial"/>
              </a:endParaRPr>
            </a:p>
          </p:txBody>
        </p:sp>
      </p:grpSp>
      <p:grpSp>
        <p:nvGrpSpPr>
          <p:cNvPr id="39" name="Group 24"/>
          <p:cNvGrpSpPr>
            <a:grpSpLocks noChangeAspect="1"/>
          </p:cNvGrpSpPr>
          <p:nvPr/>
        </p:nvGrpSpPr>
        <p:grpSpPr bwMode="auto">
          <a:xfrm>
            <a:off x="7275416" y="1911380"/>
            <a:ext cx="3468544" cy="3468545"/>
            <a:chOff x="5360987" y="1774825"/>
            <a:chExt cx="4129088" cy="3811588"/>
          </a:xfrm>
        </p:grpSpPr>
        <p:sp>
          <p:nvSpPr>
            <p:cNvPr id="40" name="Arc 13"/>
            <p:cNvSpPr>
              <a:spLocks/>
            </p:cNvSpPr>
            <p:nvPr/>
          </p:nvSpPr>
          <p:spPr bwMode="auto">
            <a:xfrm>
              <a:off x="6361874" y="1774825"/>
              <a:ext cx="1064517" cy="1905000"/>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1" name="Arc 14"/>
            <p:cNvSpPr>
              <a:spLocks/>
            </p:cNvSpPr>
            <p:nvPr/>
          </p:nvSpPr>
          <p:spPr bwMode="auto">
            <a:xfrm>
              <a:off x="7422951" y="1774825"/>
              <a:ext cx="1066237" cy="1905000"/>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2" name="Arc 15"/>
            <p:cNvSpPr>
              <a:spLocks/>
            </p:cNvSpPr>
            <p:nvPr/>
          </p:nvSpPr>
          <p:spPr bwMode="auto">
            <a:xfrm>
              <a:off x="7422951" y="2233613"/>
              <a:ext cx="1902029" cy="1446212"/>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3" name="Arc 16"/>
            <p:cNvSpPr>
              <a:spLocks/>
            </p:cNvSpPr>
            <p:nvPr/>
          </p:nvSpPr>
          <p:spPr bwMode="auto">
            <a:xfrm>
              <a:off x="7422951" y="3248025"/>
              <a:ext cx="2067124" cy="830263"/>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4" name="Arc 17"/>
            <p:cNvSpPr>
              <a:spLocks/>
            </p:cNvSpPr>
            <p:nvPr/>
          </p:nvSpPr>
          <p:spPr bwMode="auto">
            <a:xfrm>
              <a:off x="7422951" y="3678238"/>
              <a:ext cx="1902029" cy="1422400"/>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5" name="Arc 18"/>
            <p:cNvSpPr>
              <a:spLocks/>
            </p:cNvSpPr>
            <p:nvPr/>
          </p:nvSpPr>
          <p:spPr bwMode="auto">
            <a:xfrm>
              <a:off x="7422951" y="3678238"/>
              <a:ext cx="1066237" cy="1908175"/>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6" name="Arc 19"/>
            <p:cNvSpPr>
              <a:spLocks/>
            </p:cNvSpPr>
            <p:nvPr/>
          </p:nvSpPr>
          <p:spPr bwMode="auto">
            <a:xfrm>
              <a:off x="6361874" y="3678238"/>
              <a:ext cx="1064517" cy="1905000"/>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7" name="Arc 20"/>
            <p:cNvSpPr>
              <a:spLocks/>
            </p:cNvSpPr>
            <p:nvPr/>
          </p:nvSpPr>
          <p:spPr bwMode="auto">
            <a:xfrm>
              <a:off x="5524361" y="3678238"/>
              <a:ext cx="1902029" cy="1444625"/>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8" name="Arc 21"/>
            <p:cNvSpPr>
              <a:spLocks/>
            </p:cNvSpPr>
            <p:nvPr/>
          </p:nvSpPr>
          <p:spPr bwMode="auto">
            <a:xfrm>
              <a:off x="5360987" y="3248025"/>
              <a:ext cx="2065404" cy="830263"/>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sp>
          <p:nvSpPr>
            <p:cNvPr id="49" name="Arc 22"/>
            <p:cNvSpPr>
              <a:spLocks/>
            </p:cNvSpPr>
            <p:nvPr/>
          </p:nvSpPr>
          <p:spPr bwMode="auto">
            <a:xfrm>
              <a:off x="5526082" y="2233613"/>
              <a:ext cx="1900309" cy="1446212"/>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9525" cap="rnd">
              <a:solidFill>
                <a:schemeClr val="tx2"/>
              </a:solidFill>
              <a:round/>
              <a:headEnd/>
              <a:tailEnd type="triangle" w="med" len="med"/>
            </a:ln>
          </p:spPr>
          <p:txBody>
            <a:bodyPr wrap="none" anchor="ctr"/>
            <a:lstStyle/>
            <a:p>
              <a:pPr algn="ctr">
                <a:defRPr/>
              </a:pPr>
              <a:endParaRPr lang="en-US" kern="0" dirty="0">
                <a:solidFill>
                  <a:prstClr val="black"/>
                </a:solidFill>
                <a:latin typeface="Arial"/>
              </a:endParaRPr>
            </a:p>
          </p:txBody>
        </p:sp>
      </p:grpSp>
      <p:sp>
        <p:nvSpPr>
          <p:cNvPr id="50" name="TextBox 49"/>
          <p:cNvSpPr txBox="1"/>
          <p:nvPr/>
        </p:nvSpPr>
        <p:spPr>
          <a:xfrm>
            <a:off x="501650" y="6108406"/>
            <a:ext cx="9772650" cy="312942"/>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4262419536"/>
      </p:ext>
    </p:extLst>
  </p:cSld>
  <p:clrMapOvr>
    <a:masterClrMapping/>
  </p:clrMapOvr>
  <p:transition>
    <p:fade/>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Arrows</a:t>
            </a:r>
          </a:p>
        </p:txBody>
      </p:sp>
      <p:sp>
        <p:nvSpPr>
          <p:cNvPr id="3" name="Title 2"/>
          <p:cNvSpPr>
            <a:spLocks noGrp="1"/>
          </p:cNvSpPr>
          <p:nvPr>
            <p:ph type="title"/>
          </p:nvPr>
        </p:nvSpPr>
        <p:spPr/>
        <p:txBody>
          <a:bodyPr/>
          <a:lstStyle/>
          <a:p>
            <a:r>
              <a:rPr lang="en-US" dirty="0"/>
              <a:t>Circles </a:t>
            </a:r>
          </a:p>
        </p:txBody>
      </p:sp>
      <p:grpSp>
        <p:nvGrpSpPr>
          <p:cNvPr id="49" name="Group 48"/>
          <p:cNvGrpSpPr/>
          <p:nvPr/>
        </p:nvGrpSpPr>
        <p:grpSpPr>
          <a:xfrm>
            <a:off x="5021019" y="1084662"/>
            <a:ext cx="2160587" cy="2447925"/>
            <a:chOff x="3497018" y="1441937"/>
            <a:chExt cx="2160587" cy="2447925"/>
          </a:xfrm>
          <a:solidFill>
            <a:schemeClr val="accent1"/>
          </a:solidFill>
        </p:grpSpPr>
        <p:sp>
          <p:nvSpPr>
            <p:cNvPr id="4" name="Freeform 8"/>
            <p:cNvSpPr>
              <a:spLocks/>
            </p:cNvSpPr>
            <p:nvPr/>
          </p:nvSpPr>
          <p:spPr bwMode="blackWhite">
            <a:xfrm>
              <a:off x="4447930" y="1613387"/>
              <a:ext cx="1209675" cy="2276475"/>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5" name="Freeform 9"/>
            <p:cNvSpPr>
              <a:spLocks/>
            </p:cNvSpPr>
            <p:nvPr/>
          </p:nvSpPr>
          <p:spPr bwMode="blackWhite">
            <a:xfrm>
              <a:off x="3497018" y="1441937"/>
              <a:ext cx="1343025" cy="2290763"/>
            </a:xfrm>
            <a:custGeom>
              <a:avLst/>
              <a:gdLst>
                <a:gd name="T0" fmla="*/ 2147483647 w 1084"/>
                <a:gd name="T1" fmla="*/ 2147483647 h 1823"/>
                <a:gd name="T2" fmla="*/ 2147483647 w 1084"/>
                <a:gd name="T3" fmla="*/ 2147483647 h 1823"/>
                <a:gd name="T4" fmla="*/ 2147483647 w 1084"/>
                <a:gd name="T5" fmla="*/ 2147483647 h 1823"/>
                <a:gd name="T6" fmla="*/ 2147483647 w 1084"/>
                <a:gd name="T7" fmla="*/ 2147483647 h 1823"/>
                <a:gd name="T8" fmla="*/ 2147483647 w 1084"/>
                <a:gd name="T9" fmla="*/ 2147483647 h 1823"/>
                <a:gd name="T10" fmla="*/ 2147483647 w 1084"/>
                <a:gd name="T11" fmla="*/ 2147483647 h 1823"/>
                <a:gd name="T12" fmla="*/ 2147483647 w 1084"/>
                <a:gd name="T13" fmla="*/ 2147483647 h 1823"/>
                <a:gd name="T14" fmla="*/ 2147483647 w 1084"/>
                <a:gd name="T15" fmla="*/ 2147483647 h 1823"/>
                <a:gd name="T16" fmla="*/ 2147483647 w 1084"/>
                <a:gd name="T17" fmla="*/ 2147483647 h 1823"/>
                <a:gd name="T18" fmla="*/ 2147483647 w 1084"/>
                <a:gd name="T19" fmla="*/ 2147483647 h 1823"/>
                <a:gd name="T20" fmla="*/ 2147483647 w 1084"/>
                <a:gd name="T21" fmla="*/ 2147483647 h 1823"/>
                <a:gd name="T22" fmla="*/ 2147483647 w 1084"/>
                <a:gd name="T23" fmla="*/ 2147483647 h 1823"/>
                <a:gd name="T24" fmla="*/ 2147483647 w 1084"/>
                <a:gd name="T25" fmla="*/ 2147483647 h 1823"/>
                <a:gd name="T26" fmla="*/ 2147483647 w 1084"/>
                <a:gd name="T27" fmla="*/ 2147483647 h 1823"/>
                <a:gd name="T28" fmla="*/ 2147483647 w 1084"/>
                <a:gd name="T29" fmla="*/ 2147483647 h 1823"/>
                <a:gd name="T30" fmla="*/ 2147483647 w 1084"/>
                <a:gd name="T31" fmla="*/ 2147483647 h 1823"/>
                <a:gd name="T32" fmla="*/ 2147483647 w 1084"/>
                <a:gd name="T33" fmla="*/ 0 h 1823"/>
                <a:gd name="T34" fmla="*/ 2147483647 w 1084"/>
                <a:gd name="T35" fmla="*/ 2147483647 h 1823"/>
                <a:gd name="T36" fmla="*/ 2147483647 w 1084"/>
                <a:gd name="T37" fmla="*/ 2147483647 h 1823"/>
                <a:gd name="T38" fmla="*/ 2147483647 w 1084"/>
                <a:gd name="T39" fmla="*/ 2147483647 h 1823"/>
                <a:gd name="T40" fmla="*/ 2147483647 w 1084"/>
                <a:gd name="T41" fmla="*/ 2147483647 h 1823"/>
                <a:gd name="T42" fmla="*/ 2147483647 w 1084"/>
                <a:gd name="T43" fmla="*/ 2147483647 h 1823"/>
                <a:gd name="T44" fmla="*/ 2147483647 w 1084"/>
                <a:gd name="T45" fmla="*/ 2147483647 h 1823"/>
                <a:gd name="T46" fmla="*/ 2147483647 w 1084"/>
                <a:gd name="T47" fmla="*/ 2147483647 h 1823"/>
                <a:gd name="T48" fmla="*/ 2147483647 w 1084"/>
                <a:gd name="T49" fmla="*/ 2147483647 h 1823"/>
                <a:gd name="T50" fmla="*/ 2147483647 w 1084"/>
                <a:gd name="T51" fmla="*/ 2147483647 h 1823"/>
                <a:gd name="T52" fmla="*/ 2147483647 w 1084"/>
                <a:gd name="T53" fmla="*/ 2147483647 h 1823"/>
                <a:gd name="T54" fmla="*/ 2147483647 w 1084"/>
                <a:gd name="T55" fmla="*/ 2147483647 h 1823"/>
                <a:gd name="T56" fmla="*/ 2147483647 w 1084"/>
                <a:gd name="T57" fmla="*/ 2147483647 h 1823"/>
                <a:gd name="T58" fmla="*/ 2147483647 w 1084"/>
                <a:gd name="T59" fmla="*/ 2147483647 h 1823"/>
                <a:gd name="T60" fmla="*/ 2147483647 w 1084"/>
                <a:gd name="T61" fmla="*/ 2147483647 h 1823"/>
                <a:gd name="T62" fmla="*/ 2147483647 w 1084"/>
                <a:gd name="T63" fmla="*/ 2147483647 h 1823"/>
                <a:gd name="T64" fmla="*/ 2147483647 w 1084"/>
                <a:gd name="T65" fmla="*/ 2147483647 h 1823"/>
                <a:gd name="T66" fmla="*/ 2147483647 w 1084"/>
                <a:gd name="T67" fmla="*/ 2147483647 h 1823"/>
                <a:gd name="T68" fmla="*/ 2147483647 w 1084"/>
                <a:gd name="T69" fmla="*/ 2147483647 h 1823"/>
                <a:gd name="T70" fmla="*/ 2147483647 w 1084"/>
                <a:gd name="T71" fmla="*/ 2147483647 h 1823"/>
                <a:gd name="T72" fmla="*/ 2147483647 w 1084"/>
                <a:gd name="T73" fmla="*/ 2147483647 h 1823"/>
                <a:gd name="T74" fmla="*/ 2147483647 w 1084"/>
                <a:gd name="T75" fmla="*/ 2147483647 h 1823"/>
                <a:gd name="T76" fmla="*/ 2147483647 w 1084"/>
                <a:gd name="T77" fmla="*/ 2147483647 h 1823"/>
                <a:gd name="T78" fmla="*/ 2147483647 w 1084"/>
                <a:gd name="T79" fmla="*/ 2147483647 h 1823"/>
                <a:gd name="T80" fmla="*/ 2147483647 w 1084"/>
                <a:gd name="T81" fmla="*/ 2147483647 h 18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84"/>
                <a:gd name="T124" fmla="*/ 0 h 1823"/>
                <a:gd name="T125" fmla="*/ 1084 w 1084"/>
                <a:gd name="T126" fmla="*/ 1823 h 18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84" h="1823">
                  <a:moveTo>
                    <a:pt x="832" y="1394"/>
                  </a:moveTo>
                  <a:lnTo>
                    <a:pt x="789" y="1389"/>
                  </a:lnTo>
                  <a:lnTo>
                    <a:pt x="746" y="1380"/>
                  </a:lnTo>
                  <a:lnTo>
                    <a:pt x="705" y="1367"/>
                  </a:lnTo>
                  <a:lnTo>
                    <a:pt x="665" y="1349"/>
                  </a:lnTo>
                  <a:lnTo>
                    <a:pt x="628" y="1327"/>
                  </a:lnTo>
                  <a:lnTo>
                    <a:pt x="592" y="1301"/>
                  </a:lnTo>
                  <a:lnTo>
                    <a:pt x="559" y="1273"/>
                  </a:lnTo>
                  <a:lnTo>
                    <a:pt x="530" y="1240"/>
                  </a:lnTo>
                  <a:lnTo>
                    <a:pt x="504" y="1206"/>
                  </a:lnTo>
                  <a:lnTo>
                    <a:pt x="482" y="1168"/>
                  </a:lnTo>
                  <a:lnTo>
                    <a:pt x="464" y="1129"/>
                  </a:lnTo>
                  <a:lnTo>
                    <a:pt x="450" y="1087"/>
                  </a:lnTo>
                  <a:lnTo>
                    <a:pt x="440" y="1044"/>
                  </a:lnTo>
                  <a:lnTo>
                    <a:pt x="434" y="1002"/>
                  </a:lnTo>
                  <a:lnTo>
                    <a:pt x="434" y="958"/>
                  </a:lnTo>
                  <a:lnTo>
                    <a:pt x="438" y="915"/>
                  </a:lnTo>
                  <a:lnTo>
                    <a:pt x="446" y="872"/>
                  </a:lnTo>
                  <a:lnTo>
                    <a:pt x="458" y="831"/>
                  </a:lnTo>
                  <a:lnTo>
                    <a:pt x="475" y="790"/>
                  </a:lnTo>
                  <a:lnTo>
                    <a:pt x="495" y="752"/>
                  </a:lnTo>
                  <a:lnTo>
                    <a:pt x="520" y="716"/>
                  </a:lnTo>
                  <a:lnTo>
                    <a:pt x="548" y="683"/>
                  </a:lnTo>
                  <a:lnTo>
                    <a:pt x="580" y="653"/>
                  </a:lnTo>
                  <a:lnTo>
                    <a:pt x="613" y="626"/>
                  </a:lnTo>
                  <a:lnTo>
                    <a:pt x="651" y="603"/>
                  </a:lnTo>
                  <a:lnTo>
                    <a:pt x="688" y="584"/>
                  </a:lnTo>
                  <a:lnTo>
                    <a:pt x="727" y="569"/>
                  </a:lnTo>
                  <a:lnTo>
                    <a:pt x="768" y="559"/>
                  </a:lnTo>
                  <a:lnTo>
                    <a:pt x="809" y="552"/>
                  </a:lnTo>
                  <a:lnTo>
                    <a:pt x="851" y="549"/>
                  </a:lnTo>
                  <a:lnTo>
                    <a:pt x="851" y="675"/>
                  </a:lnTo>
                  <a:lnTo>
                    <a:pt x="1083" y="353"/>
                  </a:lnTo>
                  <a:lnTo>
                    <a:pt x="846" y="0"/>
                  </a:lnTo>
                  <a:lnTo>
                    <a:pt x="846" y="121"/>
                  </a:lnTo>
                  <a:lnTo>
                    <a:pt x="786" y="125"/>
                  </a:lnTo>
                  <a:lnTo>
                    <a:pt x="726" y="133"/>
                  </a:lnTo>
                  <a:lnTo>
                    <a:pt x="668" y="145"/>
                  </a:lnTo>
                  <a:lnTo>
                    <a:pt x="610" y="161"/>
                  </a:lnTo>
                  <a:lnTo>
                    <a:pt x="554" y="181"/>
                  </a:lnTo>
                  <a:lnTo>
                    <a:pt x="499" y="206"/>
                  </a:lnTo>
                  <a:lnTo>
                    <a:pt x="446" y="234"/>
                  </a:lnTo>
                  <a:lnTo>
                    <a:pt x="394" y="264"/>
                  </a:lnTo>
                  <a:lnTo>
                    <a:pt x="344" y="298"/>
                  </a:lnTo>
                  <a:lnTo>
                    <a:pt x="297" y="335"/>
                  </a:lnTo>
                  <a:lnTo>
                    <a:pt x="252" y="376"/>
                  </a:lnTo>
                  <a:lnTo>
                    <a:pt x="211" y="420"/>
                  </a:lnTo>
                  <a:lnTo>
                    <a:pt x="173" y="466"/>
                  </a:lnTo>
                  <a:lnTo>
                    <a:pt x="138" y="515"/>
                  </a:lnTo>
                  <a:lnTo>
                    <a:pt x="107" y="566"/>
                  </a:lnTo>
                  <a:lnTo>
                    <a:pt x="79" y="620"/>
                  </a:lnTo>
                  <a:lnTo>
                    <a:pt x="56" y="675"/>
                  </a:lnTo>
                  <a:lnTo>
                    <a:pt x="37" y="733"/>
                  </a:lnTo>
                  <a:lnTo>
                    <a:pt x="21" y="790"/>
                  </a:lnTo>
                  <a:lnTo>
                    <a:pt x="10" y="850"/>
                  </a:lnTo>
                  <a:lnTo>
                    <a:pt x="3" y="909"/>
                  </a:lnTo>
                  <a:lnTo>
                    <a:pt x="0" y="969"/>
                  </a:lnTo>
                  <a:lnTo>
                    <a:pt x="2" y="1029"/>
                  </a:lnTo>
                  <a:lnTo>
                    <a:pt x="7" y="1090"/>
                  </a:lnTo>
                  <a:lnTo>
                    <a:pt x="18" y="1148"/>
                  </a:lnTo>
                  <a:lnTo>
                    <a:pt x="31" y="1207"/>
                  </a:lnTo>
                  <a:lnTo>
                    <a:pt x="50" y="1264"/>
                  </a:lnTo>
                  <a:lnTo>
                    <a:pt x="73" y="1320"/>
                  </a:lnTo>
                  <a:lnTo>
                    <a:pt x="99" y="1374"/>
                  </a:lnTo>
                  <a:lnTo>
                    <a:pt x="129" y="1426"/>
                  </a:lnTo>
                  <a:lnTo>
                    <a:pt x="163" y="1476"/>
                  </a:lnTo>
                  <a:lnTo>
                    <a:pt x="200" y="1523"/>
                  </a:lnTo>
                  <a:lnTo>
                    <a:pt x="241" y="1568"/>
                  </a:lnTo>
                  <a:lnTo>
                    <a:pt x="283" y="1609"/>
                  </a:lnTo>
                  <a:lnTo>
                    <a:pt x="330" y="1647"/>
                  </a:lnTo>
                  <a:lnTo>
                    <a:pt x="379" y="1682"/>
                  </a:lnTo>
                  <a:lnTo>
                    <a:pt x="431" y="1713"/>
                  </a:lnTo>
                  <a:lnTo>
                    <a:pt x="484" y="1741"/>
                  </a:lnTo>
                  <a:lnTo>
                    <a:pt x="539" y="1765"/>
                  </a:lnTo>
                  <a:lnTo>
                    <a:pt x="595" y="1784"/>
                  </a:lnTo>
                  <a:lnTo>
                    <a:pt x="654" y="1800"/>
                  </a:lnTo>
                  <a:lnTo>
                    <a:pt x="713" y="1812"/>
                  </a:lnTo>
                  <a:lnTo>
                    <a:pt x="772" y="1819"/>
                  </a:lnTo>
                  <a:lnTo>
                    <a:pt x="833" y="1822"/>
                  </a:lnTo>
                  <a:lnTo>
                    <a:pt x="893" y="1821"/>
                  </a:lnTo>
                  <a:lnTo>
                    <a:pt x="708" y="1557"/>
                  </a:lnTo>
                  <a:lnTo>
                    <a:pt x="832" y="139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6" name="Rectangle 10"/>
            <p:cNvSpPr>
              <a:spLocks noChangeArrowheads="1"/>
            </p:cNvSpPr>
            <p:nvPr/>
          </p:nvSpPr>
          <p:spPr bwMode="blackWhite">
            <a:xfrm>
              <a:off x="3649483" y="2569062"/>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7" name="Rectangle 11"/>
            <p:cNvSpPr>
              <a:spLocks noChangeArrowheads="1"/>
            </p:cNvSpPr>
            <p:nvPr/>
          </p:nvSpPr>
          <p:spPr bwMode="blackWhite">
            <a:xfrm>
              <a:off x="5271114" y="2569062"/>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48" name="Group 47"/>
          <p:cNvGrpSpPr/>
          <p:nvPr/>
        </p:nvGrpSpPr>
        <p:grpSpPr>
          <a:xfrm>
            <a:off x="2037203" y="1262999"/>
            <a:ext cx="2160588" cy="2159000"/>
            <a:chOff x="513203" y="1591773"/>
            <a:chExt cx="2160588" cy="2159000"/>
          </a:xfrm>
          <a:solidFill>
            <a:schemeClr val="accent1"/>
          </a:solidFill>
        </p:grpSpPr>
        <p:sp>
          <p:nvSpPr>
            <p:cNvPr id="8" name="Freeform 4"/>
            <p:cNvSpPr>
              <a:spLocks/>
            </p:cNvSpPr>
            <p:nvPr/>
          </p:nvSpPr>
          <p:spPr bwMode="blackWhite">
            <a:xfrm>
              <a:off x="513203" y="1591773"/>
              <a:ext cx="2160588" cy="2159000"/>
            </a:xfrm>
            <a:custGeom>
              <a:avLst/>
              <a:gdLst>
                <a:gd name="T0" fmla="*/ 15 w 1725"/>
                <a:gd name="T1" fmla="*/ 217 h 1724"/>
                <a:gd name="T2" fmla="*/ 3 w 1725"/>
                <a:gd name="T3" fmla="*/ 286 h 1724"/>
                <a:gd name="T4" fmla="*/ 1 w 1725"/>
                <a:gd name="T5" fmla="*/ 357 h 1724"/>
                <a:gd name="T6" fmla="*/ 9 w 1725"/>
                <a:gd name="T7" fmla="*/ 428 h 1724"/>
                <a:gd name="T8" fmla="*/ 30 w 1725"/>
                <a:gd name="T9" fmla="*/ 494 h 1724"/>
                <a:gd name="T10" fmla="*/ 60 w 1725"/>
                <a:gd name="T11" fmla="*/ 552 h 1724"/>
                <a:gd name="T12" fmla="*/ 97 w 1725"/>
                <a:gd name="T13" fmla="*/ 601 h 1724"/>
                <a:gd name="T14" fmla="*/ 141 w 1725"/>
                <a:gd name="T15" fmla="*/ 637 h 1724"/>
                <a:gd name="T16" fmla="*/ 191 w 1725"/>
                <a:gd name="T17" fmla="*/ 659 h 1724"/>
                <a:gd name="T18" fmla="*/ 242 w 1725"/>
                <a:gd name="T19" fmla="*/ 667 h 1724"/>
                <a:gd name="T20" fmla="*/ 294 w 1725"/>
                <a:gd name="T21" fmla="*/ 659 h 1724"/>
                <a:gd name="T22" fmla="*/ 343 w 1725"/>
                <a:gd name="T23" fmla="*/ 637 h 1724"/>
                <a:gd name="T24" fmla="*/ 387 w 1725"/>
                <a:gd name="T25" fmla="*/ 601 h 1724"/>
                <a:gd name="T26" fmla="*/ 425 w 1725"/>
                <a:gd name="T27" fmla="*/ 552 h 1724"/>
                <a:gd name="T28" fmla="*/ 455 w 1725"/>
                <a:gd name="T29" fmla="*/ 494 h 1724"/>
                <a:gd name="T30" fmla="*/ 475 w 1725"/>
                <a:gd name="T31" fmla="*/ 428 h 1724"/>
                <a:gd name="T32" fmla="*/ 484 w 1725"/>
                <a:gd name="T33" fmla="*/ 357 h 1724"/>
                <a:gd name="T34" fmla="*/ 482 w 1725"/>
                <a:gd name="T35" fmla="*/ 285 h 1724"/>
                <a:gd name="T36" fmla="*/ 469 w 1725"/>
                <a:gd name="T37" fmla="*/ 215 h 1724"/>
                <a:gd name="T38" fmla="*/ 446 w 1725"/>
                <a:gd name="T39" fmla="*/ 151 h 1724"/>
                <a:gd name="T40" fmla="*/ 411 w 1725"/>
                <a:gd name="T41" fmla="*/ 94 h 1724"/>
                <a:gd name="T42" fmla="*/ 370 w 1725"/>
                <a:gd name="T43" fmla="*/ 50 h 1724"/>
                <a:gd name="T44" fmla="*/ 323 w 1725"/>
                <a:gd name="T45" fmla="*/ 18 h 1724"/>
                <a:gd name="T46" fmla="*/ 271 w 1725"/>
                <a:gd name="T47" fmla="*/ 2 h 1724"/>
                <a:gd name="T48" fmla="*/ 218 w 1725"/>
                <a:gd name="T49" fmla="*/ 2 h 1724"/>
                <a:gd name="T50" fmla="*/ 167 w 1725"/>
                <a:gd name="T51" fmla="*/ 17 h 1724"/>
                <a:gd name="T52" fmla="*/ 119 w 1725"/>
                <a:gd name="T53" fmla="*/ 47 h 1724"/>
                <a:gd name="T54" fmla="*/ 77 w 1725"/>
                <a:gd name="T55" fmla="*/ 90 h 1724"/>
                <a:gd name="T56" fmla="*/ 126 w 1725"/>
                <a:gd name="T57" fmla="*/ 118 h 1724"/>
                <a:gd name="T58" fmla="*/ 186 w 1725"/>
                <a:gd name="T59" fmla="*/ 187 h 1724"/>
                <a:gd name="T60" fmla="*/ 218 w 1725"/>
                <a:gd name="T61" fmla="*/ 170 h 1724"/>
                <a:gd name="T62" fmla="*/ 254 w 1725"/>
                <a:gd name="T63" fmla="*/ 167 h 1724"/>
                <a:gd name="T64" fmla="*/ 289 w 1725"/>
                <a:gd name="T65" fmla="*/ 178 h 1724"/>
                <a:gd name="T66" fmla="*/ 320 w 1725"/>
                <a:gd name="T67" fmla="*/ 205 h 1724"/>
                <a:gd name="T68" fmla="*/ 344 w 1725"/>
                <a:gd name="T69" fmla="*/ 241 h 1724"/>
                <a:gd name="T70" fmla="*/ 358 w 1725"/>
                <a:gd name="T71" fmla="*/ 285 h 1724"/>
                <a:gd name="T72" fmla="*/ 363 w 1725"/>
                <a:gd name="T73" fmla="*/ 334 h 1724"/>
                <a:gd name="T74" fmla="*/ 358 w 1725"/>
                <a:gd name="T75" fmla="*/ 384 h 1724"/>
                <a:gd name="T76" fmla="*/ 341 w 1725"/>
                <a:gd name="T77" fmla="*/ 429 h 1724"/>
                <a:gd name="T78" fmla="*/ 317 w 1725"/>
                <a:gd name="T79" fmla="*/ 465 h 1724"/>
                <a:gd name="T80" fmla="*/ 285 w 1725"/>
                <a:gd name="T81" fmla="*/ 491 h 1724"/>
                <a:gd name="T82" fmla="*/ 248 w 1725"/>
                <a:gd name="T83" fmla="*/ 500 h 1724"/>
                <a:gd name="T84" fmla="*/ 212 w 1725"/>
                <a:gd name="T85" fmla="*/ 495 h 1724"/>
                <a:gd name="T86" fmla="*/ 178 w 1725"/>
                <a:gd name="T87" fmla="*/ 476 h 1724"/>
                <a:gd name="T88" fmla="*/ 151 w 1725"/>
                <a:gd name="T89" fmla="*/ 443 h 1724"/>
                <a:gd name="T90" fmla="*/ 131 w 1725"/>
                <a:gd name="T91" fmla="*/ 399 h 1724"/>
                <a:gd name="T92" fmla="*/ 122 w 1725"/>
                <a:gd name="T93" fmla="*/ 350 h 1724"/>
                <a:gd name="T94" fmla="*/ 124 w 1725"/>
                <a:gd name="T95" fmla="*/ 302 h 1724"/>
                <a:gd name="T96" fmla="*/ 135 w 1725"/>
                <a:gd name="T97" fmla="*/ 256 h 1724"/>
                <a:gd name="T98" fmla="*/ 157 w 1725"/>
                <a:gd name="T99" fmla="*/ 217 h 1724"/>
                <a:gd name="T100" fmla="*/ 80 w 1725"/>
                <a:gd name="T101" fmla="*/ 136 h 1724"/>
                <a:gd name="T102" fmla="*/ 30 w 1725"/>
                <a:gd name="T103" fmla="*/ 174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9" name="Rectangle 5"/>
            <p:cNvSpPr>
              <a:spLocks noChangeArrowheads="1"/>
            </p:cNvSpPr>
            <p:nvPr/>
          </p:nvSpPr>
          <p:spPr bwMode="auto">
            <a:xfrm>
              <a:off x="652702" y="2489100"/>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0" name="Rectangle 6"/>
            <p:cNvSpPr>
              <a:spLocks noChangeArrowheads="1"/>
            </p:cNvSpPr>
            <p:nvPr/>
          </p:nvSpPr>
          <p:spPr bwMode="auto">
            <a:xfrm>
              <a:off x="1450881" y="1777900"/>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1" name="Rectangle 7"/>
            <p:cNvSpPr>
              <a:spLocks noChangeArrowheads="1"/>
            </p:cNvSpPr>
            <p:nvPr/>
          </p:nvSpPr>
          <p:spPr bwMode="auto">
            <a:xfrm>
              <a:off x="1450881" y="3392388"/>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0" name="Group 49"/>
          <p:cNvGrpSpPr/>
          <p:nvPr/>
        </p:nvGrpSpPr>
        <p:grpSpPr>
          <a:xfrm>
            <a:off x="7911366" y="1269594"/>
            <a:ext cx="2376488" cy="2217737"/>
            <a:chOff x="6387366" y="1598367"/>
            <a:chExt cx="2376488" cy="2217737"/>
          </a:xfrm>
          <a:solidFill>
            <a:schemeClr val="accent1"/>
          </a:solidFill>
        </p:grpSpPr>
        <p:sp>
          <p:nvSpPr>
            <p:cNvPr id="12" name="Freeform 12"/>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13" name="Freeform 13"/>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14" name="Freeform 14"/>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15" name="Rectangle 33"/>
            <p:cNvSpPr>
              <a:spLocks noChangeArrowheads="1"/>
            </p:cNvSpPr>
            <p:nvPr/>
          </p:nvSpPr>
          <p:spPr bwMode="blackWhite">
            <a:xfrm>
              <a:off x="7402786" y="1810314"/>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6" name="Rectangle 37"/>
            <p:cNvSpPr>
              <a:spLocks noChangeArrowheads="1"/>
            </p:cNvSpPr>
            <p:nvPr/>
          </p:nvSpPr>
          <p:spPr bwMode="blackWhite">
            <a:xfrm>
              <a:off x="8298483" y="285407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17" name="Rectangle 38"/>
            <p:cNvSpPr>
              <a:spLocks noChangeArrowheads="1"/>
            </p:cNvSpPr>
            <p:nvPr/>
          </p:nvSpPr>
          <p:spPr bwMode="blackWhite">
            <a:xfrm>
              <a:off x="6914481" y="308267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1" name="Group 50"/>
          <p:cNvGrpSpPr/>
          <p:nvPr/>
        </p:nvGrpSpPr>
        <p:grpSpPr>
          <a:xfrm>
            <a:off x="8048014" y="3544238"/>
            <a:ext cx="2295525" cy="2525712"/>
            <a:chOff x="6524013" y="3873012"/>
            <a:chExt cx="2295525" cy="2525712"/>
          </a:xfrm>
          <a:solidFill>
            <a:schemeClr val="accent1"/>
          </a:solidFill>
        </p:grpSpPr>
        <p:sp>
          <p:nvSpPr>
            <p:cNvPr id="18" name="Freeform 24"/>
            <p:cNvSpPr>
              <a:spLocks/>
            </p:cNvSpPr>
            <p:nvPr/>
          </p:nvSpPr>
          <p:spPr bwMode="blackWhite">
            <a:xfrm>
              <a:off x="7698763" y="4038112"/>
              <a:ext cx="1065212" cy="868362"/>
            </a:xfrm>
            <a:custGeom>
              <a:avLst/>
              <a:gdLst>
                <a:gd name="T0" fmla="*/ 2147483647 w 869"/>
                <a:gd name="T1" fmla="*/ 2147483647 h 712"/>
                <a:gd name="T2" fmla="*/ 2147483647 w 869"/>
                <a:gd name="T3" fmla="*/ 2147483647 h 712"/>
                <a:gd name="T4" fmla="*/ 2147483647 w 869"/>
                <a:gd name="T5" fmla="*/ 2147483647 h 712"/>
                <a:gd name="T6" fmla="*/ 2147483647 w 869"/>
                <a:gd name="T7" fmla="*/ 2147483647 h 712"/>
                <a:gd name="T8" fmla="*/ 2147483647 w 869"/>
                <a:gd name="T9" fmla="*/ 2147483647 h 712"/>
                <a:gd name="T10" fmla="*/ 2147483647 w 869"/>
                <a:gd name="T11" fmla="*/ 2147483647 h 712"/>
                <a:gd name="T12" fmla="*/ 2147483647 w 869"/>
                <a:gd name="T13" fmla="*/ 2147483647 h 712"/>
                <a:gd name="T14" fmla="*/ 2147483647 w 869"/>
                <a:gd name="T15" fmla="*/ 2147483647 h 712"/>
                <a:gd name="T16" fmla="*/ 2147483647 w 869"/>
                <a:gd name="T17" fmla="*/ 2147483647 h 712"/>
                <a:gd name="T18" fmla="*/ 2147483647 w 869"/>
                <a:gd name="T19" fmla="*/ 2147483647 h 712"/>
                <a:gd name="T20" fmla="*/ 2147483647 w 869"/>
                <a:gd name="T21" fmla="*/ 2147483647 h 712"/>
                <a:gd name="T22" fmla="*/ 2147483647 w 869"/>
                <a:gd name="T23" fmla="*/ 2147483647 h 712"/>
                <a:gd name="T24" fmla="*/ 2147483647 w 869"/>
                <a:gd name="T25" fmla="*/ 2147483647 h 712"/>
                <a:gd name="T26" fmla="*/ 2147483647 w 869"/>
                <a:gd name="T27" fmla="*/ 2147483647 h 712"/>
                <a:gd name="T28" fmla="*/ 2147483647 w 869"/>
                <a:gd name="T29" fmla="*/ 2147483647 h 712"/>
                <a:gd name="T30" fmla="*/ 2147483647 w 869"/>
                <a:gd name="T31" fmla="*/ 2147483647 h 712"/>
                <a:gd name="T32" fmla="*/ 2147483647 w 869"/>
                <a:gd name="T33" fmla="*/ 2147483647 h 712"/>
                <a:gd name="T34" fmla="*/ 2147483647 w 869"/>
                <a:gd name="T35" fmla="*/ 2147483647 h 712"/>
                <a:gd name="T36" fmla="*/ 2147483647 w 869"/>
                <a:gd name="T37" fmla="*/ 2147483647 h 712"/>
                <a:gd name="T38" fmla="*/ 0 w 869"/>
                <a:gd name="T39" fmla="*/ 0 h 712"/>
                <a:gd name="T40" fmla="*/ 2147483647 w 869"/>
                <a:gd name="T41" fmla="*/ 2147483647 h 712"/>
                <a:gd name="T42" fmla="*/ 2147483647 w 869"/>
                <a:gd name="T43" fmla="*/ 2147483647 h 712"/>
                <a:gd name="T44" fmla="*/ 2147483647 w 869"/>
                <a:gd name="T45" fmla="*/ 2147483647 h 712"/>
                <a:gd name="T46" fmla="*/ 2147483647 w 869"/>
                <a:gd name="T47" fmla="*/ 2147483647 h 712"/>
                <a:gd name="T48" fmla="*/ 2147483647 w 869"/>
                <a:gd name="T49" fmla="*/ 2147483647 h 712"/>
                <a:gd name="T50" fmla="*/ 2147483647 w 869"/>
                <a:gd name="T51" fmla="*/ 2147483647 h 712"/>
                <a:gd name="T52" fmla="*/ 2147483647 w 869"/>
                <a:gd name="T53" fmla="*/ 2147483647 h 712"/>
                <a:gd name="T54" fmla="*/ 2147483647 w 869"/>
                <a:gd name="T55" fmla="*/ 2147483647 h 712"/>
                <a:gd name="T56" fmla="*/ 2147483647 w 869"/>
                <a:gd name="T57" fmla="*/ 2147483647 h 712"/>
                <a:gd name="T58" fmla="*/ 2147483647 w 869"/>
                <a:gd name="T59" fmla="*/ 2147483647 h 712"/>
                <a:gd name="T60" fmla="*/ 2147483647 w 869"/>
                <a:gd name="T61" fmla="*/ 2147483647 h 7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69"/>
                <a:gd name="T94" fmla="*/ 0 h 712"/>
                <a:gd name="T95" fmla="*/ 869 w 869"/>
                <a:gd name="T96" fmla="*/ 712 h 7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69" h="712">
                  <a:moveTo>
                    <a:pt x="192" y="710"/>
                  </a:moveTo>
                  <a:lnTo>
                    <a:pt x="657" y="711"/>
                  </a:lnTo>
                  <a:lnTo>
                    <a:pt x="731" y="583"/>
                  </a:lnTo>
                  <a:lnTo>
                    <a:pt x="801" y="452"/>
                  </a:lnTo>
                  <a:lnTo>
                    <a:pt x="868" y="319"/>
                  </a:lnTo>
                  <a:lnTo>
                    <a:pt x="729" y="400"/>
                  </a:lnTo>
                  <a:lnTo>
                    <a:pt x="694" y="349"/>
                  </a:lnTo>
                  <a:lnTo>
                    <a:pt x="655" y="301"/>
                  </a:lnTo>
                  <a:lnTo>
                    <a:pt x="613" y="256"/>
                  </a:lnTo>
                  <a:lnTo>
                    <a:pt x="567" y="213"/>
                  </a:lnTo>
                  <a:lnTo>
                    <a:pt x="519" y="175"/>
                  </a:lnTo>
                  <a:lnTo>
                    <a:pt x="467" y="140"/>
                  </a:lnTo>
                  <a:lnTo>
                    <a:pt x="415" y="108"/>
                  </a:lnTo>
                  <a:lnTo>
                    <a:pt x="360" y="80"/>
                  </a:lnTo>
                  <a:lnTo>
                    <a:pt x="302" y="56"/>
                  </a:lnTo>
                  <a:lnTo>
                    <a:pt x="244" y="36"/>
                  </a:lnTo>
                  <a:lnTo>
                    <a:pt x="184" y="21"/>
                  </a:lnTo>
                  <a:lnTo>
                    <a:pt x="123" y="9"/>
                  </a:lnTo>
                  <a:lnTo>
                    <a:pt x="61" y="2"/>
                  </a:lnTo>
                  <a:lnTo>
                    <a:pt x="0" y="0"/>
                  </a:lnTo>
                  <a:lnTo>
                    <a:pt x="164" y="206"/>
                  </a:lnTo>
                  <a:lnTo>
                    <a:pt x="63" y="445"/>
                  </a:lnTo>
                  <a:lnTo>
                    <a:pt x="104" y="455"/>
                  </a:lnTo>
                  <a:lnTo>
                    <a:pt x="145" y="468"/>
                  </a:lnTo>
                  <a:lnTo>
                    <a:pt x="184" y="485"/>
                  </a:lnTo>
                  <a:lnTo>
                    <a:pt x="221" y="505"/>
                  </a:lnTo>
                  <a:lnTo>
                    <a:pt x="256" y="530"/>
                  </a:lnTo>
                  <a:lnTo>
                    <a:pt x="290" y="557"/>
                  </a:lnTo>
                  <a:lnTo>
                    <a:pt x="320" y="587"/>
                  </a:lnTo>
                  <a:lnTo>
                    <a:pt x="348" y="620"/>
                  </a:lnTo>
                  <a:lnTo>
                    <a:pt x="192" y="710"/>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19" name="Freeform 25"/>
            <p:cNvSpPr>
              <a:spLocks/>
            </p:cNvSpPr>
            <p:nvPr/>
          </p:nvSpPr>
          <p:spPr bwMode="blackWhite">
            <a:xfrm>
              <a:off x="8001975" y="4676287"/>
              <a:ext cx="817563" cy="1044575"/>
            </a:xfrm>
            <a:custGeom>
              <a:avLst/>
              <a:gdLst>
                <a:gd name="T0" fmla="*/ 2147483647 w 667"/>
                <a:gd name="T1" fmla="*/ 2147483647 h 856"/>
                <a:gd name="T2" fmla="*/ 2147483647 w 667"/>
                <a:gd name="T3" fmla="*/ 2147483647 h 856"/>
                <a:gd name="T4" fmla="*/ 2147483647 w 667"/>
                <a:gd name="T5" fmla="*/ 2147483647 h 856"/>
                <a:gd name="T6" fmla="*/ 2147483647 w 667"/>
                <a:gd name="T7" fmla="*/ 2147483647 h 856"/>
                <a:gd name="T8" fmla="*/ 2147483647 w 667"/>
                <a:gd name="T9" fmla="*/ 2147483647 h 856"/>
                <a:gd name="T10" fmla="*/ 2147483647 w 667"/>
                <a:gd name="T11" fmla="*/ 2147483647 h 856"/>
                <a:gd name="T12" fmla="*/ 2147483647 w 667"/>
                <a:gd name="T13" fmla="*/ 2147483647 h 856"/>
                <a:gd name="T14" fmla="*/ 2147483647 w 667"/>
                <a:gd name="T15" fmla="*/ 2147483647 h 856"/>
                <a:gd name="T16" fmla="*/ 2147483647 w 667"/>
                <a:gd name="T17" fmla="*/ 2147483647 h 856"/>
                <a:gd name="T18" fmla="*/ 2147483647 w 667"/>
                <a:gd name="T19" fmla="*/ 2147483647 h 856"/>
                <a:gd name="T20" fmla="*/ 2147483647 w 667"/>
                <a:gd name="T21" fmla="*/ 2147483647 h 856"/>
                <a:gd name="T22" fmla="*/ 2147483647 w 667"/>
                <a:gd name="T23" fmla="*/ 2147483647 h 856"/>
                <a:gd name="T24" fmla="*/ 2147483647 w 667"/>
                <a:gd name="T25" fmla="*/ 2147483647 h 856"/>
                <a:gd name="T26" fmla="*/ 2147483647 w 667"/>
                <a:gd name="T27" fmla="*/ 2147483647 h 856"/>
                <a:gd name="T28" fmla="*/ 2147483647 w 667"/>
                <a:gd name="T29" fmla="*/ 2147483647 h 856"/>
                <a:gd name="T30" fmla="*/ 2147483647 w 667"/>
                <a:gd name="T31" fmla="*/ 0 h 856"/>
                <a:gd name="T32" fmla="*/ 2147483647 w 667"/>
                <a:gd name="T33" fmla="*/ 2147483647 h 856"/>
                <a:gd name="T34" fmla="*/ 2147483647 w 667"/>
                <a:gd name="T35" fmla="*/ 2147483647 h 856"/>
                <a:gd name="T36" fmla="*/ 2147483647 w 667"/>
                <a:gd name="T37" fmla="*/ 2147483647 h 856"/>
                <a:gd name="T38" fmla="*/ 2147483647 w 667"/>
                <a:gd name="T39" fmla="*/ 2147483647 h 856"/>
                <a:gd name="T40" fmla="*/ 2147483647 w 667"/>
                <a:gd name="T41" fmla="*/ 2147483647 h 856"/>
                <a:gd name="T42" fmla="*/ 2147483647 w 667"/>
                <a:gd name="T43" fmla="*/ 2147483647 h 856"/>
                <a:gd name="T44" fmla="*/ 2147483647 w 667"/>
                <a:gd name="T45" fmla="*/ 2147483647 h 856"/>
                <a:gd name="T46" fmla="*/ 2147483647 w 667"/>
                <a:gd name="T47" fmla="*/ 2147483647 h 856"/>
                <a:gd name="T48" fmla="*/ 2147483647 w 667"/>
                <a:gd name="T49" fmla="*/ 2147483647 h 856"/>
                <a:gd name="T50" fmla="*/ 2147483647 w 667"/>
                <a:gd name="T51" fmla="*/ 2147483647 h 856"/>
                <a:gd name="T52" fmla="*/ 0 w 667"/>
                <a:gd name="T53" fmla="*/ 2147483647 h 856"/>
                <a:gd name="T54" fmla="*/ 2147483647 w 667"/>
                <a:gd name="T55" fmla="*/ 2147483647 h 85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7"/>
                <a:gd name="T85" fmla="*/ 0 h 856"/>
                <a:gd name="T86" fmla="*/ 667 w 667"/>
                <a:gd name="T87" fmla="*/ 856 h 85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7" h="856">
                  <a:moveTo>
                    <a:pt x="205" y="855"/>
                  </a:moveTo>
                  <a:lnTo>
                    <a:pt x="666" y="846"/>
                  </a:lnTo>
                  <a:lnTo>
                    <a:pt x="523" y="764"/>
                  </a:lnTo>
                  <a:lnTo>
                    <a:pt x="551" y="709"/>
                  </a:lnTo>
                  <a:lnTo>
                    <a:pt x="574" y="653"/>
                  </a:lnTo>
                  <a:lnTo>
                    <a:pt x="593" y="595"/>
                  </a:lnTo>
                  <a:lnTo>
                    <a:pt x="608" y="535"/>
                  </a:lnTo>
                  <a:lnTo>
                    <a:pt x="619" y="476"/>
                  </a:lnTo>
                  <a:lnTo>
                    <a:pt x="625" y="415"/>
                  </a:lnTo>
                  <a:lnTo>
                    <a:pt x="627" y="354"/>
                  </a:lnTo>
                  <a:lnTo>
                    <a:pt x="625" y="293"/>
                  </a:lnTo>
                  <a:lnTo>
                    <a:pt x="618" y="233"/>
                  </a:lnTo>
                  <a:lnTo>
                    <a:pt x="607" y="172"/>
                  </a:lnTo>
                  <a:lnTo>
                    <a:pt x="592" y="114"/>
                  </a:lnTo>
                  <a:lnTo>
                    <a:pt x="572" y="56"/>
                  </a:lnTo>
                  <a:lnTo>
                    <a:pt x="549" y="0"/>
                  </a:lnTo>
                  <a:lnTo>
                    <a:pt x="427" y="219"/>
                  </a:lnTo>
                  <a:lnTo>
                    <a:pt x="163" y="216"/>
                  </a:lnTo>
                  <a:lnTo>
                    <a:pt x="174" y="255"/>
                  </a:lnTo>
                  <a:lnTo>
                    <a:pt x="181" y="298"/>
                  </a:lnTo>
                  <a:lnTo>
                    <a:pt x="184" y="340"/>
                  </a:lnTo>
                  <a:lnTo>
                    <a:pt x="183" y="381"/>
                  </a:lnTo>
                  <a:lnTo>
                    <a:pt x="178" y="423"/>
                  </a:lnTo>
                  <a:lnTo>
                    <a:pt x="170" y="464"/>
                  </a:lnTo>
                  <a:lnTo>
                    <a:pt x="158" y="505"/>
                  </a:lnTo>
                  <a:lnTo>
                    <a:pt x="142" y="544"/>
                  </a:lnTo>
                  <a:lnTo>
                    <a:pt x="0" y="465"/>
                  </a:lnTo>
                  <a:lnTo>
                    <a:pt x="205" y="855"/>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0" name="Freeform 26"/>
            <p:cNvSpPr>
              <a:spLocks/>
            </p:cNvSpPr>
            <p:nvPr/>
          </p:nvSpPr>
          <p:spPr bwMode="blackWhite">
            <a:xfrm>
              <a:off x="7486038" y="5443049"/>
              <a:ext cx="1074737" cy="955675"/>
            </a:xfrm>
            <a:custGeom>
              <a:avLst/>
              <a:gdLst>
                <a:gd name="T0" fmla="*/ 0 w 877"/>
                <a:gd name="T1" fmla="*/ 476619 h 784"/>
                <a:gd name="T2" fmla="*/ 269603 w 877"/>
                <a:gd name="T3" fmla="*/ 954456 h 784"/>
                <a:gd name="T4" fmla="*/ 269603 w 877"/>
                <a:gd name="T5" fmla="*/ 735041 h 784"/>
                <a:gd name="T6" fmla="*/ 341906 w 877"/>
                <a:gd name="T7" fmla="*/ 730165 h 784"/>
                <a:gd name="T8" fmla="*/ 412983 w 877"/>
                <a:gd name="T9" fmla="*/ 716756 h 784"/>
                <a:gd name="T10" fmla="*/ 482835 w 877"/>
                <a:gd name="T11" fmla="*/ 700910 h 784"/>
                <a:gd name="T12" fmla="*/ 551461 w 877"/>
                <a:gd name="T13" fmla="*/ 680187 h 784"/>
                <a:gd name="T14" fmla="*/ 618862 w 877"/>
                <a:gd name="T15" fmla="*/ 654589 h 784"/>
                <a:gd name="T16" fmla="*/ 685038 w 877"/>
                <a:gd name="T17" fmla="*/ 625333 h 784"/>
                <a:gd name="T18" fmla="*/ 748762 w 877"/>
                <a:gd name="T19" fmla="*/ 591202 h 784"/>
                <a:gd name="T20" fmla="*/ 810036 w 877"/>
                <a:gd name="T21" fmla="*/ 553414 h 784"/>
                <a:gd name="T22" fmla="*/ 867633 w 877"/>
                <a:gd name="T23" fmla="*/ 509531 h 784"/>
                <a:gd name="T24" fmla="*/ 925230 w 877"/>
                <a:gd name="T25" fmla="*/ 463210 h 784"/>
                <a:gd name="T26" fmla="*/ 979150 w 877"/>
                <a:gd name="T27" fmla="*/ 412013 h 784"/>
                <a:gd name="T28" fmla="*/ 1026944 w 877"/>
                <a:gd name="T29" fmla="*/ 357159 h 784"/>
                <a:gd name="T30" fmla="*/ 1073512 w 877"/>
                <a:gd name="T31" fmla="*/ 299867 h 784"/>
                <a:gd name="T32" fmla="*/ 747537 w 877"/>
                <a:gd name="T33" fmla="*/ 316933 h 784"/>
                <a:gd name="T34" fmla="*/ 599255 w 877"/>
                <a:gd name="T35" fmla="*/ 32912 h 784"/>
                <a:gd name="T36" fmla="*/ 568618 w 877"/>
                <a:gd name="T37" fmla="*/ 60949 h 784"/>
                <a:gd name="T38" fmla="*/ 536756 w 877"/>
                <a:gd name="T39" fmla="*/ 88985 h 784"/>
                <a:gd name="T40" fmla="*/ 496315 w 877"/>
                <a:gd name="T41" fmla="*/ 115802 h 784"/>
                <a:gd name="T42" fmla="*/ 454649 w 877"/>
                <a:gd name="T43" fmla="*/ 141401 h 784"/>
                <a:gd name="T44" fmla="*/ 411758 w 877"/>
                <a:gd name="T45" fmla="*/ 160904 h 784"/>
                <a:gd name="T46" fmla="*/ 365190 w 877"/>
                <a:gd name="T47" fmla="*/ 179189 h 784"/>
                <a:gd name="T48" fmla="*/ 317397 w 877"/>
                <a:gd name="T49" fmla="*/ 190160 h 784"/>
                <a:gd name="T50" fmla="*/ 269603 w 877"/>
                <a:gd name="T51" fmla="*/ 198693 h 784"/>
                <a:gd name="T52" fmla="*/ 269603 w 877"/>
                <a:gd name="T53" fmla="*/ 0 h 784"/>
                <a:gd name="T54" fmla="*/ 0 w 877"/>
                <a:gd name="T55" fmla="*/ 476619 h 7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77"/>
                <a:gd name="T85" fmla="*/ 0 h 784"/>
                <a:gd name="T86" fmla="*/ 877 w 877"/>
                <a:gd name="T87" fmla="*/ 784 h 7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77" h="784">
                  <a:moveTo>
                    <a:pt x="0" y="391"/>
                  </a:moveTo>
                  <a:lnTo>
                    <a:pt x="220" y="783"/>
                  </a:lnTo>
                  <a:lnTo>
                    <a:pt x="220" y="603"/>
                  </a:lnTo>
                  <a:lnTo>
                    <a:pt x="279" y="599"/>
                  </a:lnTo>
                  <a:lnTo>
                    <a:pt x="337" y="588"/>
                  </a:lnTo>
                  <a:lnTo>
                    <a:pt x="394" y="575"/>
                  </a:lnTo>
                  <a:lnTo>
                    <a:pt x="450" y="558"/>
                  </a:lnTo>
                  <a:lnTo>
                    <a:pt x="505" y="537"/>
                  </a:lnTo>
                  <a:lnTo>
                    <a:pt x="559" y="513"/>
                  </a:lnTo>
                  <a:lnTo>
                    <a:pt x="611" y="485"/>
                  </a:lnTo>
                  <a:lnTo>
                    <a:pt x="661" y="454"/>
                  </a:lnTo>
                  <a:lnTo>
                    <a:pt x="708" y="418"/>
                  </a:lnTo>
                  <a:lnTo>
                    <a:pt x="755" y="380"/>
                  </a:lnTo>
                  <a:lnTo>
                    <a:pt x="799" y="338"/>
                  </a:lnTo>
                  <a:lnTo>
                    <a:pt x="838" y="293"/>
                  </a:lnTo>
                  <a:lnTo>
                    <a:pt x="876" y="246"/>
                  </a:lnTo>
                  <a:lnTo>
                    <a:pt x="610" y="260"/>
                  </a:lnTo>
                  <a:lnTo>
                    <a:pt x="489" y="27"/>
                  </a:lnTo>
                  <a:lnTo>
                    <a:pt x="464" y="50"/>
                  </a:lnTo>
                  <a:lnTo>
                    <a:pt x="438" y="73"/>
                  </a:lnTo>
                  <a:lnTo>
                    <a:pt x="405" y="95"/>
                  </a:lnTo>
                  <a:lnTo>
                    <a:pt x="371" y="116"/>
                  </a:lnTo>
                  <a:lnTo>
                    <a:pt x="336" y="132"/>
                  </a:lnTo>
                  <a:lnTo>
                    <a:pt x="298" y="147"/>
                  </a:lnTo>
                  <a:lnTo>
                    <a:pt x="259" y="156"/>
                  </a:lnTo>
                  <a:lnTo>
                    <a:pt x="220" y="163"/>
                  </a:lnTo>
                  <a:lnTo>
                    <a:pt x="220" y="0"/>
                  </a:lnTo>
                  <a:lnTo>
                    <a:pt x="0" y="391"/>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21" name="Freeform 27"/>
            <p:cNvSpPr>
              <a:spLocks/>
            </p:cNvSpPr>
            <p:nvPr/>
          </p:nvSpPr>
          <p:spPr bwMode="blackWhite">
            <a:xfrm>
              <a:off x="6579575" y="5323987"/>
              <a:ext cx="1020763" cy="852487"/>
            </a:xfrm>
            <a:custGeom>
              <a:avLst/>
              <a:gdLst>
                <a:gd name="T0" fmla="*/ 357819 w 833"/>
                <a:gd name="T1" fmla="*/ 0 h 699"/>
                <a:gd name="T2" fmla="*/ 0 w 833"/>
                <a:gd name="T3" fmla="*/ 429292 h 699"/>
                <a:gd name="T4" fmla="*/ 199741 w 833"/>
                <a:gd name="T5" fmla="*/ 357337 h 699"/>
                <a:gd name="T6" fmla="*/ 242630 w 833"/>
                <a:gd name="T7" fmla="*/ 419536 h 699"/>
                <a:gd name="T8" fmla="*/ 289196 w 833"/>
                <a:gd name="T9" fmla="*/ 478076 h 699"/>
                <a:gd name="T10" fmla="*/ 339437 w 833"/>
                <a:gd name="T11" fmla="*/ 534176 h 699"/>
                <a:gd name="T12" fmla="*/ 394581 w 833"/>
                <a:gd name="T13" fmla="*/ 585399 h 699"/>
                <a:gd name="T14" fmla="*/ 453400 w 833"/>
                <a:gd name="T15" fmla="*/ 634182 h 699"/>
                <a:gd name="T16" fmla="*/ 513445 w 833"/>
                <a:gd name="T17" fmla="*/ 676867 h 699"/>
                <a:gd name="T18" fmla="*/ 578391 w 833"/>
                <a:gd name="T19" fmla="*/ 717114 h 699"/>
                <a:gd name="T20" fmla="*/ 645789 w 833"/>
                <a:gd name="T21" fmla="*/ 751262 h 699"/>
                <a:gd name="T22" fmla="*/ 714412 w 833"/>
                <a:gd name="T23" fmla="*/ 781751 h 699"/>
                <a:gd name="T24" fmla="*/ 785485 w 833"/>
                <a:gd name="T25" fmla="*/ 807363 h 699"/>
                <a:gd name="T26" fmla="*/ 857784 w 833"/>
                <a:gd name="T27" fmla="*/ 826876 h 699"/>
                <a:gd name="T28" fmla="*/ 933759 w 833"/>
                <a:gd name="T29" fmla="*/ 841511 h 699"/>
                <a:gd name="T30" fmla="*/ 1007284 w 833"/>
                <a:gd name="T31" fmla="*/ 851267 h 699"/>
                <a:gd name="T32" fmla="*/ 860235 w 833"/>
                <a:gd name="T33" fmla="*/ 602473 h 699"/>
                <a:gd name="T34" fmla="*/ 1019538 w 833"/>
                <a:gd name="T35" fmla="*/ 312213 h 699"/>
                <a:gd name="T36" fmla="*/ 964394 w 833"/>
                <a:gd name="T37" fmla="*/ 301236 h 699"/>
                <a:gd name="T38" fmla="*/ 912927 w 833"/>
                <a:gd name="T39" fmla="*/ 284162 h 699"/>
                <a:gd name="T40" fmla="*/ 862686 w 833"/>
                <a:gd name="T41" fmla="*/ 260990 h 699"/>
                <a:gd name="T42" fmla="*/ 814895 w 833"/>
                <a:gd name="T43" fmla="*/ 234160 h 699"/>
                <a:gd name="T44" fmla="*/ 772006 w 833"/>
                <a:gd name="T45" fmla="*/ 201231 h 699"/>
                <a:gd name="T46" fmla="*/ 730342 w 833"/>
                <a:gd name="T47" fmla="*/ 165863 h 699"/>
                <a:gd name="T48" fmla="*/ 901899 w 833"/>
                <a:gd name="T49" fmla="*/ 102445 h 699"/>
                <a:gd name="T50" fmla="*/ 357819 w 833"/>
                <a:gd name="T51" fmla="*/ 0 h 69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33"/>
                <a:gd name="T79" fmla="*/ 0 h 699"/>
                <a:gd name="T80" fmla="*/ 833 w 833"/>
                <a:gd name="T81" fmla="*/ 699 h 69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33" h="699">
                  <a:moveTo>
                    <a:pt x="292" y="0"/>
                  </a:moveTo>
                  <a:lnTo>
                    <a:pt x="0" y="352"/>
                  </a:lnTo>
                  <a:lnTo>
                    <a:pt x="163" y="293"/>
                  </a:lnTo>
                  <a:lnTo>
                    <a:pt x="198" y="344"/>
                  </a:lnTo>
                  <a:lnTo>
                    <a:pt x="236" y="392"/>
                  </a:lnTo>
                  <a:lnTo>
                    <a:pt x="277" y="438"/>
                  </a:lnTo>
                  <a:lnTo>
                    <a:pt x="322" y="480"/>
                  </a:lnTo>
                  <a:lnTo>
                    <a:pt x="370" y="520"/>
                  </a:lnTo>
                  <a:lnTo>
                    <a:pt x="419" y="555"/>
                  </a:lnTo>
                  <a:lnTo>
                    <a:pt x="472" y="588"/>
                  </a:lnTo>
                  <a:lnTo>
                    <a:pt x="527" y="616"/>
                  </a:lnTo>
                  <a:lnTo>
                    <a:pt x="583" y="641"/>
                  </a:lnTo>
                  <a:lnTo>
                    <a:pt x="641" y="662"/>
                  </a:lnTo>
                  <a:lnTo>
                    <a:pt x="700" y="678"/>
                  </a:lnTo>
                  <a:lnTo>
                    <a:pt x="762" y="690"/>
                  </a:lnTo>
                  <a:lnTo>
                    <a:pt x="822" y="698"/>
                  </a:lnTo>
                  <a:lnTo>
                    <a:pt x="702" y="494"/>
                  </a:lnTo>
                  <a:lnTo>
                    <a:pt x="832" y="256"/>
                  </a:lnTo>
                  <a:lnTo>
                    <a:pt x="787" y="247"/>
                  </a:lnTo>
                  <a:lnTo>
                    <a:pt x="745" y="233"/>
                  </a:lnTo>
                  <a:lnTo>
                    <a:pt x="704" y="214"/>
                  </a:lnTo>
                  <a:lnTo>
                    <a:pt x="665" y="192"/>
                  </a:lnTo>
                  <a:lnTo>
                    <a:pt x="630" y="165"/>
                  </a:lnTo>
                  <a:lnTo>
                    <a:pt x="596" y="136"/>
                  </a:lnTo>
                  <a:lnTo>
                    <a:pt x="736" y="84"/>
                  </a:lnTo>
                  <a:lnTo>
                    <a:pt x="292" y="0"/>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22" name="Freeform 28"/>
            <p:cNvSpPr>
              <a:spLocks/>
            </p:cNvSpPr>
            <p:nvPr/>
          </p:nvSpPr>
          <p:spPr bwMode="blackWhite">
            <a:xfrm>
              <a:off x="6789125" y="3873012"/>
              <a:ext cx="1062038" cy="949325"/>
            </a:xfrm>
            <a:custGeom>
              <a:avLst/>
              <a:gdLst>
                <a:gd name="T0" fmla="*/ 2147483647 w 867"/>
                <a:gd name="T1" fmla="*/ 2147483647 h 779"/>
                <a:gd name="T2" fmla="*/ 2147483647 w 867"/>
                <a:gd name="T3" fmla="*/ 2147483647 h 779"/>
                <a:gd name="T4" fmla="*/ 2147483647 w 867"/>
                <a:gd name="T5" fmla="*/ 2147483647 h 779"/>
                <a:gd name="T6" fmla="*/ 2147483647 w 867"/>
                <a:gd name="T7" fmla="*/ 2147483647 h 779"/>
                <a:gd name="T8" fmla="*/ 2147483647 w 867"/>
                <a:gd name="T9" fmla="*/ 2147483647 h 779"/>
                <a:gd name="T10" fmla="*/ 2147483647 w 867"/>
                <a:gd name="T11" fmla="*/ 2147483647 h 779"/>
                <a:gd name="T12" fmla="*/ 2147483647 w 867"/>
                <a:gd name="T13" fmla="*/ 2147483647 h 779"/>
                <a:gd name="T14" fmla="*/ 2147483647 w 867"/>
                <a:gd name="T15" fmla="*/ 2147483647 h 779"/>
                <a:gd name="T16" fmla="*/ 2147483647 w 867"/>
                <a:gd name="T17" fmla="*/ 2147483647 h 779"/>
                <a:gd name="T18" fmla="*/ 2147483647 w 867"/>
                <a:gd name="T19" fmla="*/ 2147483647 h 779"/>
                <a:gd name="T20" fmla="*/ 2147483647 w 867"/>
                <a:gd name="T21" fmla="*/ 2147483647 h 779"/>
                <a:gd name="T22" fmla="*/ 2147483647 w 867"/>
                <a:gd name="T23" fmla="*/ 2147483647 h 779"/>
                <a:gd name="T24" fmla="*/ 2147483647 w 867"/>
                <a:gd name="T25" fmla="*/ 0 h 779"/>
                <a:gd name="T26" fmla="*/ 2147483647 w 867"/>
                <a:gd name="T27" fmla="*/ 2147483647 h 779"/>
                <a:gd name="T28" fmla="*/ 2147483647 w 867"/>
                <a:gd name="T29" fmla="*/ 2147483647 h 779"/>
                <a:gd name="T30" fmla="*/ 2147483647 w 867"/>
                <a:gd name="T31" fmla="*/ 2147483647 h 779"/>
                <a:gd name="T32" fmla="*/ 2147483647 w 867"/>
                <a:gd name="T33" fmla="*/ 2147483647 h 779"/>
                <a:gd name="T34" fmla="*/ 2147483647 w 867"/>
                <a:gd name="T35" fmla="*/ 2147483647 h 779"/>
                <a:gd name="T36" fmla="*/ 2147483647 w 867"/>
                <a:gd name="T37" fmla="*/ 2147483647 h 779"/>
                <a:gd name="T38" fmla="*/ 2147483647 w 867"/>
                <a:gd name="T39" fmla="*/ 2147483647 h 779"/>
                <a:gd name="T40" fmla="*/ 2147483647 w 867"/>
                <a:gd name="T41" fmla="*/ 2147483647 h 779"/>
                <a:gd name="T42" fmla="*/ 2147483647 w 867"/>
                <a:gd name="T43" fmla="*/ 2147483647 h 779"/>
                <a:gd name="T44" fmla="*/ 2147483647 w 867"/>
                <a:gd name="T45" fmla="*/ 2147483647 h 779"/>
                <a:gd name="T46" fmla="*/ 2147483647 w 867"/>
                <a:gd name="T47" fmla="*/ 2147483647 h 779"/>
                <a:gd name="T48" fmla="*/ 2147483647 w 867"/>
                <a:gd name="T49" fmla="*/ 2147483647 h 779"/>
                <a:gd name="T50" fmla="*/ 0 w 867"/>
                <a:gd name="T51" fmla="*/ 2147483647 h 779"/>
                <a:gd name="T52" fmla="*/ 2147483647 w 867"/>
                <a:gd name="T53" fmla="*/ 2147483647 h 779"/>
                <a:gd name="T54" fmla="*/ 2147483647 w 867"/>
                <a:gd name="T55" fmla="*/ 2147483647 h 7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67"/>
                <a:gd name="T85" fmla="*/ 0 h 779"/>
                <a:gd name="T86" fmla="*/ 867 w 867"/>
                <a:gd name="T87" fmla="*/ 779 h 7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67" h="779">
                  <a:moveTo>
                    <a:pt x="379" y="778"/>
                  </a:moveTo>
                  <a:lnTo>
                    <a:pt x="402" y="748"/>
                  </a:lnTo>
                  <a:lnTo>
                    <a:pt x="425" y="721"/>
                  </a:lnTo>
                  <a:lnTo>
                    <a:pt x="452" y="694"/>
                  </a:lnTo>
                  <a:lnTo>
                    <a:pt x="480" y="671"/>
                  </a:lnTo>
                  <a:lnTo>
                    <a:pt x="514" y="646"/>
                  </a:lnTo>
                  <a:lnTo>
                    <a:pt x="550" y="626"/>
                  </a:lnTo>
                  <a:lnTo>
                    <a:pt x="588" y="609"/>
                  </a:lnTo>
                  <a:lnTo>
                    <a:pt x="627" y="594"/>
                  </a:lnTo>
                  <a:lnTo>
                    <a:pt x="668" y="585"/>
                  </a:lnTo>
                  <a:lnTo>
                    <a:pt x="692" y="750"/>
                  </a:lnTo>
                  <a:lnTo>
                    <a:pt x="866" y="349"/>
                  </a:lnTo>
                  <a:lnTo>
                    <a:pt x="605" y="0"/>
                  </a:lnTo>
                  <a:lnTo>
                    <a:pt x="606" y="149"/>
                  </a:lnTo>
                  <a:lnTo>
                    <a:pt x="545" y="162"/>
                  </a:lnTo>
                  <a:lnTo>
                    <a:pt x="484" y="180"/>
                  </a:lnTo>
                  <a:lnTo>
                    <a:pt x="425" y="201"/>
                  </a:lnTo>
                  <a:lnTo>
                    <a:pt x="368" y="225"/>
                  </a:lnTo>
                  <a:lnTo>
                    <a:pt x="313" y="255"/>
                  </a:lnTo>
                  <a:lnTo>
                    <a:pt x="259" y="287"/>
                  </a:lnTo>
                  <a:lnTo>
                    <a:pt x="208" y="325"/>
                  </a:lnTo>
                  <a:lnTo>
                    <a:pt x="160" y="366"/>
                  </a:lnTo>
                  <a:lnTo>
                    <a:pt x="115" y="411"/>
                  </a:lnTo>
                  <a:lnTo>
                    <a:pt x="74" y="458"/>
                  </a:lnTo>
                  <a:lnTo>
                    <a:pt x="35" y="509"/>
                  </a:lnTo>
                  <a:lnTo>
                    <a:pt x="0" y="563"/>
                  </a:lnTo>
                  <a:lnTo>
                    <a:pt x="247" y="564"/>
                  </a:lnTo>
                  <a:lnTo>
                    <a:pt x="379" y="778"/>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3" name="Freeform 29"/>
            <p:cNvSpPr>
              <a:spLocks/>
            </p:cNvSpPr>
            <p:nvPr/>
          </p:nvSpPr>
          <p:spPr bwMode="blackWhite">
            <a:xfrm>
              <a:off x="6524013" y="4593737"/>
              <a:ext cx="833437" cy="950912"/>
            </a:xfrm>
            <a:custGeom>
              <a:avLst/>
              <a:gdLst>
                <a:gd name="T0" fmla="*/ 2147483647 w 680"/>
                <a:gd name="T1" fmla="*/ 0 h 780"/>
                <a:gd name="T2" fmla="*/ 0 w 680"/>
                <a:gd name="T3" fmla="*/ 2147483647 h 780"/>
                <a:gd name="T4" fmla="*/ 2147483647 w 680"/>
                <a:gd name="T5" fmla="*/ 2147483647 h 780"/>
                <a:gd name="T6" fmla="*/ 2147483647 w 680"/>
                <a:gd name="T7" fmla="*/ 2147483647 h 780"/>
                <a:gd name="T8" fmla="*/ 2147483647 w 680"/>
                <a:gd name="T9" fmla="*/ 2147483647 h 780"/>
                <a:gd name="T10" fmla="*/ 2147483647 w 680"/>
                <a:gd name="T11" fmla="*/ 2147483647 h 780"/>
                <a:gd name="T12" fmla="*/ 2147483647 w 680"/>
                <a:gd name="T13" fmla="*/ 2147483647 h 780"/>
                <a:gd name="T14" fmla="*/ 2147483647 w 680"/>
                <a:gd name="T15" fmla="*/ 2147483647 h 780"/>
                <a:gd name="T16" fmla="*/ 2147483647 w 680"/>
                <a:gd name="T17" fmla="*/ 2147483647 h 780"/>
                <a:gd name="T18" fmla="*/ 2147483647 w 680"/>
                <a:gd name="T19" fmla="*/ 2147483647 h 780"/>
                <a:gd name="T20" fmla="*/ 2147483647 w 680"/>
                <a:gd name="T21" fmla="*/ 2147483647 h 780"/>
                <a:gd name="T22" fmla="*/ 2147483647 w 680"/>
                <a:gd name="T23" fmla="*/ 2147483647 h 780"/>
                <a:gd name="T24" fmla="*/ 2147483647 w 680"/>
                <a:gd name="T25" fmla="*/ 2147483647 h 780"/>
                <a:gd name="T26" fmla="*/ 2147483647 w 680"/>
                <a:gd name="T27" fmla="*/ 2147483647 h 780"/>
                <a:gd name="T28" fmla="*/ 2147483647 w 680"/>
                <a:gd name="T29" fmla="*/ 2147483647 h 780"/>
                <a:gd name="T30" fmla="*/ 2147483647 w 680"/>
                <a:gd name="T31" fmla="*/ 2147483647 h 780"/>
                <a:gd name="T32" fmla="*/ 2147483647 w 680"/>
                <a:gd name="T33" fmla="*/ 2147483647 h 780"/>
                <a:gd name="T34" fmla="*/ 2147483647 w 680"/>
                <a:gd name="T35" fmla="*/ 2147483647 h 780"/>
                <a:gd name="T36" fmla="*/ 2147483647 w 680"/>
                <a:gd name="T37" fmla="*/ 2147483647 h 780"/>
                <a:gd name="T38" fmla="*/ 2147483647 w 680"/>
                <a:gd name="T39" fmla="*/ 2147483647 h 780"/>
                <a:gd name="T40" fmla="*/ 2147483647 w 680"/>
                <a:gd name="T41" fmla="*/ 2147483647 h 780"/>
                <a:gd name="T42" fmla="*/ 2147483647 w 680"/>
                <a:gd name="T43" fmla="*/ 2147483647 h 780"/>
                <a:gd name="T44" fmla="*/ 2147483647 w 680"/>
                <a:gd name="T45" fmla="*/ 2147483647 h 780"/>
                <a:gd name="T46" fmla="*/ 2147483647 w 680"/>
                <a:gd name="T47" fmla="*/ 2147483647 h 780"/>
                <a:gd name="T48" fmla="*/ 2147483647 w 680"/>
                <a:gd name="T49" fmla="*/ 2147483647 h 780"/>
                <a:gd name="T50" fmla="*/ 2147483647 w 680"/>
                <a:gd name="T51" fmla="*/ 0 h 78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0"/>
                <a:gd name="T79" fmla="*/ 0 h 780"/>
                <a:gd name="T80" fmla="*/ 680 w 680"/>
                <a:gd name="T81" fmla="*/ 780 h 78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0" h="780">
                  <a:moveTo>
                    <a:pt x="448" y="0"/>
                  </a:moveTo>
                  <a:lnTo>
                    <a:pt x="0" y="1"/>
                  </a:lnTo>
                  <a:lnTo>
                    <a:pt x="141" y="82"/>
                  </a:lnTo>
                  <a:lnTo>
                    <a:pt x="120" y="138"/>
                  </a:lnTo>
                  <a:lnTo>
                    <a:pt x="102" y="196"/>
                  </a:lnTo>
                  <a:lnTo>
                    <a:pt x="89" y="253"/>
                  </a:lnTo>
                  <a:lnTo>
                    <a:pt x="80" y="313"/>
                  </a:lnTo>
                  <a:lnTo>
                    <a:pt x="74" y="373"/>
                  </a:lnTo>
                  <a:lnTo>
                    <a:pt x="73" y="431"/>
                  </a:lnTo>
                  <a:lnTo>
                    <a:pt x="75" y="491"/>
                  </a:lnTo>
                  <a:lnTo>
                    <a:pt x="82" y="551"/>
                  </a:lnTo>
                  <a:lnTo>
                    <a:pt x="93" y="609"/>
                  </a:lnTo>
                  <a:lnTo>
                    <a:pt x="107" y="668"/>
                  </a:lnTo>
                  <a:lnTo>
                    <a:pt x="126" y="724"/>
                  </a:lnTo>
                  <a:lnTo>
                    <a:pt x="148" y="779"/>
                  </a:lnTo>
                  <a:lnTo>
                    <a:pt x="324" y="566"/>
                  </a:lnTo>
                  <a:lnTo>
                    <a:pt x="551" y="603"/>
                  </a:lnTo>
                  <a:lnTo>
                    <a:pt x="535" y="562"/>
                  </a:lnTo>
                  <a:lnTo>
                    <a:pt x="523" y="521"/>
                  </a:lnTo>
                  <a:lnTo>
                    <a:pt x="516" y="478"/>
                  </a:lnTo>
                  <a:lnTo>
                    <a:pt x="512" y="435"/>
                  </a:lnTo>
                  <a:lnTo>
                    <a:pt x="513" y="391"/>
                  </a:lnTo>
                  <a:lnTo>
                    <a:pt x="518" y="348"/>
                  </a:lnTo>
                  <a:lnTo>
                    <a:pt x="528" y="306"/>
                  </a:lnTo>
                  <a:lnTo>
                    <a:pt x="679" y="392"/>
                  </a:lnTo>
                  <a:lnTo>
                    <a:pt x="448" y="0"/>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4" name="Rectangle 34"/>
            <p:cNvSpPr>
              <a:spLocks noChangeArrowheads="1"/>
            </p:cNvSpPr>
            <p:nvPr/>
          </p:nvSpPr>
          <p:spPr bwMode="blackWhite">
            <a:xfrm>
              <a:off x="8074271" y="44333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5" name="Rectangle 39"/>
            <p:cNvSpPr>
              <a:spLocks noChangeArrowheads="1"/>
            </p:cNvSpPr>
            <p:nvPr/>
          </p:nvSpPr>
          <p:spPr bwMode="blackWhite">
            <a:xfrm>
              <a:off x="8379865" y="5119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6" name="Rectangle 40"/>
            <p:cNvSpPr>
              <a:spLocks noChangeArrowheads="1"/>
            </p:cNvSpPr>
            <p:nvPr/>
          </p:nvSpPr>
          <p:spPr bwMode="blackWhite">
            <a:xfrm>
              <a:off x="7846465" y="58049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7" name="Rectangle 41"/>
            <p:cNvSpPr>
              <a:spLocks noChangeArrowheads="1"/>
            </p:cNvSpPr>
            <p:nvPr/>
          </p:nvSpPr>
          <p:spPr bwMode="blackWhite">
            <a:xfrm>
              <a:off x="7008265" y="56525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8" name="Rectangle 42"/>
            <p:cNvSpPr>
              <a:spLocks noChangeArrowheads="1"/>
            </p:cNvSpPr>
            <p:nvPr/>
          </p:nvSpPr>
          <p:spPr bwMode="blackWhite">
            <a:xfrm>
              <a:off x="6779665" y="49667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29" name="Rectangle 43"/>
            <p:cNvSpPr>
              <a:spLocks noChangeArrowheads="1"/>
            </p:cNvSpPr>
            <p:nvPr/>
          </p:nvSpPr>
          <p:spPr bwMode="blackWhite">
            <a:xfrm>
              <a:off x="7200353" y="4292112"/>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2" name="Group 51"/>
          <p:cNvGrpSpPr/>
          <p:nvPr/>
        </p:nvGrpSpPr>
        <p:grpSpPr>
          <a:xfrm>
            <a:off x="4899025" y="3664889"/>
            <a:ext cx="2387600" cy="2282825"/>
            <a:chOff x="3375025" y="3993662"/>
            <a:chExt cx="2387600" cy="2282825"/>
          </a:xfrm>
          <a:solidFill>
            <a:schemeClr val="accent1"/>
          </a:solidFill>
        </p:grpSpPr>
        <p:sp>
          <p:nvSpPr>
            <p:cNvPr id="30" name="Freeform 19"/>
            <p:cNvSpPr>
              <a:spLocks/>
            </p:cNvSpPr>
            <p:nvPr/>
          </p:nvSpPr>
          <p:spPr bwMode="blackWhite">
            <a:xfrm>
              <a:off x="3617913" y="3993662"/>
              <a:ext cx="1195387" cy="974725"/>
            </a:xfrm>
            <a:custGeom>
              <a:avLst/>
              <a:gdLst>
                <a:gd name="T0" fmla="*/ 2147483647 w 973"/>
                <a:gd name="T1" fmla="*/ 2147483647 h 805"/>
                <a:gd name="T2" fmla="*/ 2147483647 w 973"/>
                <a:gd name="T3" fmla="*/ 2147483647 h 805"/>
                <a:gd name="T4" fmla="*/ 2147483647 w 973"/>
                <a:gd name="T5" fmla="*/ 2147483647 h 805"/>
                <a:gd name="T6" fmla="*/ 2147483647 w 973"/>
                <a:gd name="T7" fmla="*/ 2147483647 h 805"/>
                <a:gd name="T8" fmla="*/ 2147483647 w 973"/>
                <a:gd name="T9" fmla="*/ 2147483647 h 805"/>
                <a:gd name="T10" fmla="*/ 2147483647 w 973"/>
                <a:gd name="T11" fmla="*/ 2147483647 h 805"/>
                <a:gd name="T12" fmla="*/ 2147483647 w 973"/>
                <a:gd name="T13" fmla="*/ 2147483647 h 805"/>
                <a:gd name="T14" fmla="*/ 2147483647 w 973"/>
                <a:gd name="T15" fmla="*/ 2147483647 h 805"/>
                <a:gd name="T16" fmla="*/ 2147483647 w 973"/>
                <a:gd name="T17" fmla="*/ 2147483647 h 805"/>
                <a:gd name="T18" fmla="*/ 2147483647 w 973"/>
                <a:gd name="T19" fmla="*/ 2147483647 h 805"/>
                <a:gd name="T20" fmla="*/ 2147483647 w 973"/>
                <a:gd name="T21" fmla="*/ 2147483647 h 805"/>
                <a:gd name="T22" fmla="*/ 2147483647 w 973"/>
                <a:gd name="T23" fmla="*/ 2147483647 h 805"/>
                <a:gd name="T24" fmla="*/ 2147483647 w 973"/>
                <a:gd name="T25" fmla="*/ 2147483647 h 805"/>
                <a:gd name="T26" fmla="*/ 2147483647 w 973"/>
                <a:gd name="T27" fmla="*/ 0 h 805"/>
                <a:gd name="T28" fmla="*/ 2147483647 w 973"/>
                <a:gd name="T29" fmla="*/ 2147483647 h 805"/>
                <a:gd name="T30" fmla="*/ 2147483647 w 973"/>
                <a:gd name="T31" fmla="*/ 2147483647 h 805"/>
                <a:gd name="T32" fmla="*/ 2147483647 w 973"/>
                <a:gd name="T33" fmla="*/ 2147483647 h 805"/>
                <a:gd name="T34" fmla="*/ 2147483647 w 973"/>
                <a:gd name="T35" fmla="*/ 2147483647 h 805"/>
                <a:gd name="T36" fmla="*/ 2147483647 w 973"/>
                <a:gd name="T37" fmla="*/ 2147483647 h 805"/>
                <a:gd name="T38" fmla="*/ 2147483647 w 973"/>
                <a:gd name="T39" fmla="*/ 2147483647 h 805"/>
                <a:gd name="T40" fmla="*/ 2147483647 w 973"/>
                <a:gd name="T41" fmla="*/ 2147483647 h 805"/>
                <a:gd name="T42" fmla="*/ 2147483647 w 973"/>
                <a:gd name="T43" fmla="*/ 2147483647 h 805"/>
                <a:gd name="T44" fmla="*/ 2147483647 w 973"/>
                <a:gd name="T45" fmla="*/ 2147483647 h 805"/>
                <a:gd name="T46" fmla="*/ 2147483647 w 973"/>
                <a:gd name="T47" fmla="*/ 2147483647 h 805"/>
                <a:gd name="T48" fmla="*/ 2147483647 w 973"/>
                <a:gd name="T49" fmla="*/ 2147483647 h 805"/>
                <a:gd name="T50" fmla="*/ 2147483647 w 973"/>
                <a:gd name="T51" fmla="*/ 2147483647 h 805"/>
                <a:gd name="T52" fmla="*/ 2147483647 w 973"/>
                <a:gd name="T53" fmla="*/ 2147483647 h 805"/>
                <a:gd name="T54" fmla="*/ 2147483647 w 973"/>
                <a:gd name="T55" fmla="*/ 2147483647 h 805"/>
                <a:gd name="T56" fmla="*/ 2147483647 w 973"/>
                <a:gd name="T57" fmla="*/ 2147483647 h 805"/>
                <a:gd name="T58" fmla="*/ 0 w 973"/>
                <a:gd name="T59" fmla="*/ 2147483647 h 805"/>
                <a:gd name="T60" fmla="*/ 2147483647 w 973"/>
                <a:gd name="T61" fmla="*/ 2147483647 h 805"/>
                <a:gd name="T62" fmla="*/ 2147483647 w 973"/>
                <a:gd name="T63" fmla="*/ 2147483647 h 8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73"/>
                <a:gd name="T97" fmla="*/ 0 h 805"/>
                <a:gd name="T98" fmla="*/ 973 w 973"/>
                <a:gd name="T99" fmla="*/ 805 h 80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73" h="805">
                  <a:moveTo>
                    <a:pt x="402" y="804"/>
                  </a:moveTo>
                  <a:lnTo>
                    <a:pt x="424" y="765"/>
                  </a:lnTo>
                  <a:lnTo>
                    <a:pt x="450" y="730"/>
                  </a:lnTo>
                  <a:lnTo>
                    <a:pt x="479" y="698"/>
                  </a:lnTo>
                  <a:lnTo>
                    <a:pt x="512" y="668"/>
                  </a:lnTo>
                  <a:lnTo>
                    <a:pt x="548" y="642"/>
                  </a:lnTo>
                  <a:lnTo>
                    <a:pt x="583" y="621"/>
                  </a:lnTo>
                  <a:lnTo>
                    <a:pt x="620" y="603"/>
                  </a:lnTo>
                  <a:lnTo>
                    <a:pt x="660" y="589"/>
                  </a:lnTo>
                  <a:lnTo>
                    <a:pt x="699" y="579"/>
                  </a:lnTo>
                  <a:lnTo>
                    <a:pt x="740" y="572"/>
                  </a:lnTo>
                  <a:lnTo>
                    <a:pt x="752" y="722"/>
                  </a:lnTo>
                  <a:lnTo>
                    <a:pt x="972" y="356"/>
                  </a:lnTo>
                  <a:lnTo>
                    <a:pt x="712" y="0"/>
                  </a:lnTo>
                  <a:lnTo>
                    <a:pt x="713" y="134"/>
                  </a:lnTo>
                  <a:lnTo>
                    <a:pt x="651" y="142"/>
                  </a:lnTo>
                  <a:lnTo>
                    <a:pt x="590" y="154"/>
                  </a:lnTo>
                  <a:lnTo>
                    <a:pt x="530" y="170"/>
                  </a:lnTo>
                  <a:lnTo>
                    <a:pt x="471" y="191"/>
                  </a:lnTo>
                  <a:lnTo>
                    <a:pt x="414" y="216"/>
                  </a:lnTo>
                  <a:lnTo>
                    <a:pt x="359" y="245"/>
                  </a:lnTo>
                  <a:lnTo>
                    <a:pt x="305" y="278"/>
                  </a:lnTo>
                  <a:lnTo>
                    <a:pt x="257" y="312"/>
                  </a:lnTo>
                  <a:lnTo>
                    <a:pt x="212" y="349"/>
                  </a:lnTo>
                  <a:lnTo>
                    <a:pt x="170" y="390"/>
                  </a:lnTo>
                  <a:lnTo>
                    <a:pt x="129" y="432"/>
                  </a:lnTo>
                  <a:lnTo>
                    <a:pt x="92" y="478"/>
                  </a:lnTo>
                  <a:lnTo>
                    <a:pt x="58" y="526"/>
                  </a:lnTo>
                  <a:lnTo>
                    <a:pt x="27" y="576"/>
                  </a:lnTo>
                  <a:lnTo>
                    <a:pt x="0" y="628"/>
                  </a:lnTo>
                  <a:lnTo>
                    <a:pt x="264" y="607"/>
                  </a:lnTo>
                  <a:lnTo>
                    <a:pt x="402" y="80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31" name="Freeform 20"/>
            <p:cNvSpPr>
              <a:spLocks/>
            </p:cNvSpPr>
            <p:nvPr/>
          </p:nvSpPr>
          <p:spPr bwMode="blackWhite">
            <a:xfrm>
              <a:off x="4679950" y="4155587"/>
              <a:ext cx="1082675" cy="992187"/>
            </a:xfrm>
            <a:custGeom>
              <a:avLst/>
              <a:gdLst>
                <a:gd name="T0" fmla="*/ 2147483647 w 881"/>
                <a:gd name="T1" fmla="*/ 2147483647 h 819"/>
                <a:gd name="T2" fmla="*/ 2147483647 w 881"/>
                <a:gd name="T3" fmla="*/ 2147483647 h 819"/>
                <a:gd name="T4" fmla="*/ 2147483647 w 881"/>
                <a:gd name="T5" fmla="*/ 2147483647 h 819"/>
                <a:gd name="T6" fmla="*/ 2147483647 w 881"/>
                <a:gd name="T7" fmla="*/ 2147483647 h 819"/>
                <a:gd name="T8" fmla="*/ 2147483647 w 881"/>
                <a:gd name="T9" fmla="*/ 2147483647 h 819"/>
                <a:gd name="T10" fmla="*/ 2147483647 w 881"/>
                <a:gd name="T11" fmla="*/ 2147483647 h 819"/>
                <a:gd name="T12" fmla="*/ 2147483647 w 881"/>
                <a:gd name="T13" fmla="*/ 2147483647 h 819"/>
                <a:gd name="T14" fmla="*/ 2147483647 w 881"/>
                <a:gd name="T15" fmla="*/ 2147483647 h 819"/>
                <a:gd name="T16" fmla="*/ 2147483647 w 881"/>
                <a:gd name="T17" fmla="*/ 2147483647 h 819"/>
                <a:gd name="T18" fmla="*/ 2147483647 w 881"/>
                <a:gd name="T19" fmla="*/ 2147483647 h 819"/>
                <a:gd name="T20" fmla="*/ 2147483647 w 881"/>
                <a:gd name="T21" fmla="*/ 2147483647 h 819"/>
                <a:gd name="T22" fmla="*/ 2147483647 w 881"/>
                <a:gd name="T23" fmla="*/ 2147483647 h 819"/>
                <a:gd name="T24" fmla="*/ 2147483647 w 881"/>
                <a:gd name="T25" fmla="*/ 2147483647 h 819"/>
                <a:gd name="T26" fmla="*/ 2147483647 w 881"/>
                <a:gd name="T27" fmla="*/ 2147483647 h 819"/>
                <a:gd name="T28" fmla="*/ 2147483647 w 881"/>
                <a:gd name="T29" fmla="*/ 2147483647 h 819"/>
                <a:gd name="T30" fmla="*/ 2147483647 w 881"/>
                <a:gd name="T31" fmla="*/ 2147483647 h 819"/>
                <a:gd name="T32" fmla="*/ 2147483647 w 881"/>
                <a:gd name="T33" fmla="*/ 2147483647 h 819"/>
                <a:gd name="T34" fmla="*/ 2147483647 w 881"/>
                <a:gd name="T35" fmla="*/ 2147483647 h 819"/>
                <a:gd name="T36" fmla="*/ 2147483647 w 881"/>
                <a:gd name="T37" fmla="*/ 2147483647 h 819"/>
                <a:gd name="T38" fmla="*/ 2147483647 w 881"/>
                <a:gd name="T39" fmla="*/ 2147483647 h 819"/>
                <a:gd name="T40" fmla="*/ 0 w 881"/>
                <a:gd name="T41" fmla="*/ 0 h 819"/>
                <a:gd name="T42" fmla="*/ 2147483647 w 881"/>
                <a:gd name="T43" fmla="*/ 2147483647 h 819"/>
                <a:gd name="T44" fmla="*/ 2147483647 w 881"/>
                <a:gd name="T45" fmla="*/ 2147483647 h 819"/>
                <a:gd name="T46" fmla="*/ 2147483647 w 881"/>
                <a:gd name="T47" fmla="*/ 2147483647 h 819"/>
                <a:gd name="T48" fmla="*/ 2147483647 w 881"/>
                <a:gd name="T49" fmla="*/ 2147483647 h 819"/>
                <a:gd name="T50" fmla="*/ 2147483647 w 881"/>
                <a:gd name="T51" fmla="*/ 2147483647 h 819"/>
                <a:gd name="T52" fmla="*/ 2147483647 w 881"/>
                <a:gd name="T53" fmla="*/ 2147483647 h 819"/>
                <a:gd name="T54" fmla="*/ 2147483647 w 881"/>
                <a:gd name="T55" fmla="*/ 2147483647 h 819"/>
                <a:gd name="T56" fmla="*/ 2147483647 w 881"/>
                <a:gd name="T57" fmla="*/ 2147483647 h 819"/>
                <a:gd name="T58" fmla="*/ 2147483647 w 881"/>
                <a:gd name="T59" fmla="*/ 2147483647 h 819"/>
                <a:gd name="T60" fmla="*/ 2147483647 w 881"/>
                <a:gd name="T61" fmla="*/ 2147483647 h 819"/>
                <a:gd name="T62" fmla="*/ 2147483647 w 881"/>
                <a:gd name="T63" fmla="*/ 2147483647 h 819"/>
                <a:gd name="T64" fmla="*/ 2147483647 w 881"/>
                <a:gd name="T65" fmla="*/ 2147483647 h 8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81"/>
                <a:gd name="T100" fmla="*/ 0 h 819"/>
                <a:gd name="T101" fmla="*/ 881 w 881"/>
                <a:gd name="T102" fmla="*/ 819 h 8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32" name="Freeform 21"/>
            <p:cNvSpPr>
              <a:spLocks/>
            </p:cNvSpPr>
            <p:nvPr/>
          </p:nvSpPr>
          <p:spPr bwMode="blackWhite">
            <a:xfrm>
              <a:off x="4845050" y="4968387"/>
              <a:ext cx="817563" cy="1250950"/>
            </a:xfrm>
            <a:custGeom>
              <a:avLst/>
              <a:gdLst>
                <a:gd name="T0" fmla="*/ 2147483647 w 666"/>
                <a:gd name="T1" fmla="*/ 2147483647 h 1033"/>
                <a:gd name="T2" fmla="*/ 2147483647 w 666"/>
                <a:gd name="T3" fmla="*/ 2147483647 h 1033"/>
                <a:gd name="T4" fmla="*/ 2147483647 w 666"/>
                <a:gd name="T5" fmla="*/ 2147483647 h 1033"/>
                <a:gd name="T6" fmla="*/ 2147483647 w 666"/>
                <a:gd name="T7" fmla="*/ 2147483647 h 1033"/>
                <a:gd name="T8" fmla="*/ 2147483647 w 666"/>
                <a:gd name="T9" fmla="*/ 2147483647 h 1033"/>
                <a:gd name="T10" fmla="*/ 2147483647 w 666"/>
                <a:gd name="T11" fmla="*/ 2147483647 h 1033"/>
                <a:gd name="T12" fmla="*/ 2147483647 w 666"/>
                <a:gd name="T13" fmla="*/ 2147483647 h 1033"/>
                <a:gd name="T14" fmla="*/ 2147483647 w 666"/>
                <a:gd name="T15" fmla="*/ 2147483647 h 1033"/>
                <a:gd name="T16" fmla="*/ 2147483647 w 666"/>
                <a:gd name="T17" fmla="*/ 2147483647 h 1033"/>
                <a:gd name="T18" fmla="*/ 2147483647 w 666"/>
                <a:gd name="T19" fmla="*/ 2147483647 h 1033"/>
                <a:gd name="T20" fmla="*/ 2147483647 w 666"/>
                <a:gd name="T21" fmla="*/ 2147483647 h 1033"/>
                <a:gd name="T22" fmla="*/ 0 w 666"/>
                <a:gd name="T23" fmla="*/ 2147483647 h 1033"/>
                <a:gd name="T24" fmla="*/ 0 w 666"/>
                <a:gd name="T25" fmla="*/ 2147483647 h 1033"/>
                <a:gd name="T26" fmla="*/ 2147483647 w 666"/>
                <a:gd name="T27" fmla="*/ 2147483647 h 1033"/>
                <a:gd name="T28" fmla="*/ 2147483647 w 666"/>
                <a:gd name="T29" fmla="*/ 2147483647 h 1033"/>
                <a:gd name="T30" fmla="*/ 2147483647 w 666"/>
                <a:gd name="T31" fmla="*/ 2147483647 h 1033"/>
                <a:gd name="T32" fmla="*/ 2147483647 w 666"/>
                <a:gd name="T33" fmla="*/ 2147483647 h 1033"/>
                <a:gd name="T34" fmla="*/ 2147483647 w 666"/>
                <a:gd name="T35" fmla="*/ 2147483647 h 1033"/>
                <a:gd name="T36" fmla="*/ 2147483647 w 666"/>
                <a:gd name="T37" fmla="*/ 2147483647 h 1033"/>
                <a:gd name="T38" fmla="*/ 2147483647 w 666"/>
                <a:gd name="T39" fmla="*/ 2147483647 h 1033"/>
                <a:gd name="T40" fmla="*/ 2147483647 w 666"/>
                <a:gd name="T41" fmla="*/ 2147483647 h 1033"/>
                <a:gd name="T42" fmla="*/ 2147483647 w 666"/>
                <a:gd name="T43" fmla="*/ 2147483647 h 1033"/>
                <a:gd name="T44" fmla="*/ 2147483647 w 666"/>
                <a:gd name="T45" fmla="*/ 2147483647 h 1033"/>
                <a:gd name="T46" fmla="*/ 2147483647 w 666"/>
                <a:gd name="T47" fmla="*/ 2147483647 h 1033"/>
                <a:gd name="T48" fmla="*/ 2147483647 w 666"/>
                <a:gd name="T49" fmla="*/ 2147483647 h 1033"/>
                <a:gd name="T50" fmla="*/ 2147483647 w 666"/>
                <a:gd name="T51" fmla="*/ 2147483647 h 1033"/>
                <a:gd name="T52" fmla="*/ 2147483647 w 666"/>
                <a:gd name="T53" fmla="*/ 2147483647 h 1033"/>
                <a:gd name="T54" fmla="*/ 2147483647 w 666"/>
                <a:gd name="T55" fmla="*/ 2147483647 h 1033"/>
                <a:gd name="T56" fmla="*/ 2147483647 w 666"/>
                <a:gd name="T57" fmla="*/ 2147483647 h 1033"/>
                <a:gd name="T58" fmla="*/ 2147483647 w 666"/>
                <a:gd name="T59" fmla="*/ 2147483647 h 1033"/>
                <a:gd name="T60" fmla="*/ 2147483647 w 666"/>
                <a:gd name="T61" fmla="*/ 2147483647 h 1033"/>
                <a:gd name="T62" fmla="*/ 2147483647 w 666"/>
                <a:gd name="T63" fmla="*/ 0 h 1033"/>
                <a:gd name="T64" fmla="*/ 2147483647 w 666"/>
                <a:gd name="T65" fmla="*/ 2147483647 h 1033"/>
                <a:gd name="T66" fmla="*/ 2147483647 w 666"/>
                <a:gd name="T67" fmla="*/ 2147483647 h 10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66"/>
                <a:gd name="T103" fmla="*/ 0 h 1033"/>
                <a:gd name="T104" fmla="*/ 666 w 666"/>
                <a:gd name="T105" fmla="*/ 1033 h 10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33" name="Freeform 22"/>
            <p:cNvSpPr>
              <a:spLocks/>
            </p:cNvSpPr>
            <p:nvPr/>
          </p:nvSpPr>
          <p:spPr bwMode="blackWhite">
            <a:xfrm>
              <a:off x="3822700" y="5504962"/>
              <a:ext cx="1265238" cy="771525"/>
            </a:xfrm>
            <a:custGeom>
              <a:avLst/>
              <a:gdLst>
                <a:gd name="T0" fmla="*/ 972882 w 1030"/>
                <a:gd name="T1" fmla="*/ 195001 h 637"/>
                <a:gd name="T2" fmla="*/ 924975 w 1030"/>
                <a:gd name="T3" fmla="*/ 211957 h 637"/>
                <a:gd name="T4" fmla="*/ 874611 w 1030"/>
                <a:gd name="T5" fmla="*/ 226492 h 637"/>
                <a:gd name="T6" fmla="*/ 823019 w 1030"/>
                <a:gd name="T7" fmla="*/ 233759 h 637"/>
                <a:gd name="T8" fmla="*/ 771427 w 1030"/>
                <a:gd name="T9" fmla="*/ 237392 h 637"/>
                <a:gd name="T10" fmla="*/ 719834 w 1030"/>
                <a:gd name="T11" fmla="*/ 234970 h 637"/>
                <a:gd name="T12" fmla="*/ 668242 w 1030"/>
                <a:gd name="T13" fmla="*/ 227703 h 637"/>
                <a:gd name="T14" fmla="*/ 616650 w 1030"/>
                <a:gd name="T15" fmla="*/ 216802 h 637"/>
                <a:gd name="T16" fmla="*/ 567514 w 1030"/>
                <a:gd name="T17" fmla="*/ 201057 h 637"/>
                <a:gd name="T18" fmla="*/ 520836 w 1030"/>
                <a:gd name="T19" fmla="*/ 179255 h 637"/>
                <a:gd name="T20" fmla="*/ 476614 w 1030"/>
                <a:gd name="T21" fmla="*/ 153821 h 637"/>
                <a:gd name="T22" fmla="*/ 605594 w 1030"/>
                <a:gd name="T23" fmla="*/ 0 h 637"/>
                <a:gd name="T24" fmla="*/ 89672 w 1030"/>
                <a:gd name="T25" fmla="*/ 184100 h 637"/>
                <a:gd name="T26" fmla="*/ 38080 w 1030"/>
                <a:gd name="T27" fmla="*/ 488108 h 637"/>
                <a:gd name="T28" fmla="*/ 40537 w 1030"/>
                <a:gd name="T29" fmla="*/ 490530 h 637"/>
                <a:gd name="T30" fmla="*/ 0 w 1030"/>
                <a:gd name="T31" fmla="*/ 712177 h 637"/>
                <a:gd name="T32" fmla="*/ 127752 w 1030"/>
                <a:gd name="T33" fmla="*/ 560779 h 637"/>
                <a:gd name="T34" fmla="*/ 190400 w 1030"/>
                <a:gd name="T35" fmla="*/ 603170 h 637"/>
                <a:gd name="T36" fmla="*/ 255504 w 1030"/>
                <a:gd name="T37" fmla="*/ 641928 h 637"/>
                <a:gd name="T38" fmla="*/ 321837 w 1030"/>
                <a:gd name="T39" fmla="*/ 674630 h 637"/>
                <a:gd name="T40" fmla="*/ 391855 w 1030"/>
                <a:gd name="T41" fmla="*/ 702487 h 637"/>
                <a:gd name="T42" fmla="*/ 463102 w 1030"/>
                <a:gd name="T43" fmla="*/ 726711 h 637"/>
                <a:gd name="T44" fmla="*/ 534348 w 1030"/>
                <a:gd name="T45" fmla="*/ 744879 h 637"/>
                <a:gd name="T46" fmla="*/ 609280 w 1030"/>
                <a:gd name="T47" fmla="*/ 759413 h 637"/>
                <a:gd name="T48" fmla="*/ 684211 w 1030"/>
                <a:gd name="T49" fmla="*/ 767891 h 637"/>
                <a:gd name="T50" fmla="*/ 759143 w 1030"/>
                <a:gd name="T51" fmla="*/ 770314 h 637"/>
                <a:gd name="T52" fmla="*/ 834074 w 1030"/>
                <a:gd name="T53" fmla="*/ 767891 h 637"/>
                <a:gd name="T54" fmla="*/ 909006 w 1030"/>
                <a:gd name="T55" fmla="*/ 760624 h 637"/>
                <a:gd name="T56" fmla="*/ 983937 w 1030"/>
                <a:gd name="T57" fmla="*/ 747301 h 637"/>
                <a:gd name="T58" fmla="*/ 1055184 w 1030"/>
                <a:gd name="T59" fmla="*/ 730345 h 637"/>
                <a:gd name="T60" fmla="*/ 1126430 w 1030"/>
                <a:gd name="T61" fmla="*/ 708543 h 637"/>
                <a:gd name="T62" fmla="*/ 1196448 w 1030"/>
                <a:gd name="T63" fmla="*/ 679475 h 637"/>
                <a:gd name="T64" fmla="*/ 1264010 w 1030"/>
                <a:gd name="T65" fmla="*/ 646773 h 637"/>
                <a:gd name="T66" fmla="*/ 976567 w 1030"/>
                <a:gd name="T67" fmla="*/ 482052 h 637"/>
                <a:gd name="T68" fmla="*/ 972882 w 1030"/>
                <a:gd name="T69" fmla="*/ 195001 h 63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30"/>
                <a:gd name="T106" fmla="*/ 0 h 637"/>
                <a:gd name="T107" fmla="*/ 1030 w 1030"/>
                <a:gd name="T108" fmla="*/ 637 h 63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34" name="Freeform 23"/>
            <p:cNvSpPr>
              <a:spLocks/>
            </p:cNvSpPr>
            <p:nvPr/>
          </p:nvSpPr>
          <p:spPr bwMode="blackWhite">
            <a:xfrm>
              <a:off x="3375025" y="4773124"/>
              <a:ext cx="855663" cy="1174750"/>
            </a:xfrm>
            <a:custGeom>
              <a:avLst/>
              <a:gdLst>
                <a:gd name="T0" fmla="*/ 795509 w 697"/>
                <a:gd name="T1" fmla="*/ 773085 h 971"/>
                <a:gd name="T2" fmla="*/ 762363 w 697"/>
                <a:gd name="T3" fmla="*/ 729531 h 971"/>
                <a:gd name="T4" fmla="*/ 735355 w 697"/>
                <a:gd name="T5" fmla="*/ 681137 h 971"/>
                <a:gd name="T6" fmla="*/ 712030 w 697"/>
                <a:gd name="T7" fmla="*/ 631534 h 971"/>
                <a:gd name="T8" fmla="*/ 694843 w 697"/>
                <a:gd name="T9" fmla="*/ 580721 h 971"/>
                <a:gd name="T10" fmla="*/ 682566 w 697"/>
                <a:gd name="T11" fmla="*/ 527488 h 971"/>
                <a:gd name="T12" fmla="*/ 676428 w 697"/>
                <a:gd name="T13" fmla="*/ 474255 h 971"/>
                <a:gd name="T14" fmla="*/ 675200 w 697"/>
                <a:gd name="T15" fmla="*/ 419813 h 971"/>
                <a:gd name="T16" fmla="*/ 680111 w 697"/>
                <a:gd name="T17" fmla="*/ 365370 h 971"/>
                <a:gd name="T18" fmla="*/ 854435 w 697"/>
                <a:gd name="T19" fmla="*/ 445219 h 971"/>
                <a:gd name="T20" fmla="*/ 546298 w 697"/>
                <a:gd name="T21" fmla="*/ 0 h 971"/>
                <a:gd name="T22" fmla="*/ 0 w 697"/>
                <a:gd name="T23" fmla="*/ 53233 h 971"/>
                <a:gd name="T24" fmla="*/ 181690 w 697"/>
                <a:gd name="T25" fmla="*/ 136711 h 971"/>
                <a:gd name="T26" fmla="*/ 163276 w 697"/>
                <a:gd name="T27" fmla="*/ 209302 h 971"/>
                <a:gd name="T28" fmla="*/ 148544 w 697"/>
                <a:gd name="T29" fmla="*/ 281892 h 971"/>
                <a:gd name="T30" fmla="*/ 142406 w 697"/>
                <a:gd name="T31" fmla="*/ 356901 h 971"/>
                <a:gd name="T32" fmla="*/ 137495 w 697"/>
                <a:gd name="T33" fmla="*/ 431911 h 971"/>
                <a:gd name="T34" fmla="*/ 139951 w 697"/>
                <a:gd name="T35" fmla="*/ 505711 h 971"/>
                <a:gd name="T36" fmla="*/ 147316 w 697"/>
                <a:gd name="T37" fmla="*/ 579511 h 971"/>
                <a:gd name="T38" fmla="*/ 160820 w 697"/>
                <a:gd name="T39" fmla="*/ 653311 h 971"/>
                <a:gd name="T40" fmla="*/ 178007 w 697"/>
                <a:gd name="T41" fmla="*/ 724691 h 971"/>
                <a:gd name="T42" fmla="*/ 200105 w 697"/>
                <a:gd name="T43" fmla="*/ 797282 h 971"/>
                <a:gd name="T44" fmla="*/ 229568 w 697"/>
                <a:gd name="T45" fmla="*/ 866242 h 971"/>
                <a:gd name="T46" fmla="*/ 262714 w 697"/>
                <a:gd name="T47" fmla="*/ 932783 h 971"/>
                <a:gd name="T48" fmla="*/ 299543 w 697"/>
                <a:gd name="T49" fmla="*/ 998114 h 971"/>
                <a:gd name="T50" fmla="*/ 341283 w 697"/>
                <a:gd name="T51" fmla="*/ 1059816 h 971"/>
                <a:gd name="T52" fmla="*/ 387933 w 697"/>
                <a:gd name="T53" fmla="*/ 1119098 h 971"/>
                <a:gd name="T54" fmla="*/ 438266 w 697"/>
                <a:gd name="T55" fmla="*/ 1173540 h 971"/>
                <a:gd name="T56" fmla="*/ 489827 w 697"/>
                <a:gd name="T57" fmla="*/ 883180 h 971"/>
                <a:gd name="T58" fmla="*/ 795509 w 697"/>
                <a:gd name="T59" fmla="*/ 773085 h 97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97"/>
                <a:gd name="T91" fmla="*/ 0 h 971"/>
                <a:gd name="T92" fmla="*/ 697 w 697"/>
                <a:gd name="T93" fmla="*/ 971 h 97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35" name="Rectangle 35"/>
            <p:cNvSpPr>
              <a:spLocks noChangeArrowheads="1"/>
            </p:cNvSpPr>
            <p:nvPr/>
          </p:nvSpPr>
          <p:spPr bwMode="blackWhite">
            <a:xfrm>
              <a:off x="4961796" y="45095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36" name="Rectangle 44"/>
            <p:cNvSpPr>
              <a:spLocks noChangeArrowheads="1"/>
            </p:cNvSpPr>
            <p:nvPr/>
          </p:nvSpPr>
          <p:spPr bwMode="blackWhite">
            <a:xfrm>
              <a:off x="5114990" y="5500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37" name="Rectangle 45"/>
            <p:cNvSpPr>
              <a:spLocks noChangeArrowheads="1"/>
            </p:cNvSpPr>
            <p:nvPr/>
          </p:nvSpPr>
          <p:spPr bwMode="blackWhite">
            <a:xfrm>
              <a:off x="4276790" y="5881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38" name="Rectangle 46"/>
            <p:cNvSpPr>
              <a:spLocks noChangeArrowheads="1"/>
            </p:cNvSpPr>
            <p:nvPr/>
          </p:nvSpPr>
          <p:spPr bwMode="blackWhite">
            <a:xfrm>
              <a:off x="3667190" y="51953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39" name="Rectangle 47"/>
            <p:cNvSpPr>
              <a:spLocks noChangeArrowheads="1"/>
            </p:cNvSpPr>
            <p:nvPr/>
          </p:nvSpPr>
          <p:spPr bwMode="blackWhite">
            <a:xfrm>
              <a:off x="4048190" y="44333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grpSp>
        <p:nvGrpSpPr>
          <p:cNvPr id="53" name="Group 52"/>
          <p:cNvGrpSpPr/>
          <p:nvPr/>
        </p:nvGrpSpPr>
        <p:grpSpPr>
          <a:xfrm>
            <a:off x="1862260" y="3545825"/>
            <a:ext cx="2509838" cy="2520950"/>
            <a:chOff x="338260" y="3874599"/>
            <a:chExt cx="2509838" cy="2520950"/>
          </a:xfrm>
          <a:solidFill>
            <a:schemeClr val="accent1"/>
          </a:solidFill>
        </p:grpSpPr>
        <p:sp>
          <p:nvSpPr>
            <p:cNvPr id="40" name="Freeform 15"/>
            <p:cNvSpPr>
              <a:spLocks/>
            </p:cNvSpPr>
            <p:nvPr/>
          </p:nvSpPr>
          <p:spPr bwMode="blackWhite">
            <a:xfrm>
              <a:off x="489073" y="3874599"/>
              <a:ext cx="1308100" cy="1117600"/>
            </a:xfrm>
            <a:custGeom>
              <a:avLst/>
              <a:gdLst>
                <a:gd name="T0" fmla="*/ 563089 w 1057"/>
                <a:gd name="T1" fmla="*/ 1091523 h 900"/>
                <a:gd name="T2" fmla="*/ 582890 w 1057"/>
                <a:gd name="T3" fmla="*/ 1040610 h 900"/>
                <a:gd name="T4" fmla="*/ 606404 w 1057"/>
                <a:gd name="T5" fmla="*/ 992180 h 900"/>
                <a:gd name="T6" fmla="*/ 636105 w 1057"/>
                <a:gd name="T7" fmla="*/ 946235 h 900"/>
                <a:gd name="T8" fmla="*/ 669519 w 1057"/>
                <a:gd name="T9" fmla="*/ 904014 h 900"/>
                <a:gd name="T10" fmla="*/ 705409 w 1057"/>
                <a:gd name="T11" fmla="*/ 864277 h 900"/>
                <a:gd name="T12" fmla="*/ 746248 w 1057"/>
                <a:gd name="T13" fmla="*/ 828266 h 900"/>
                <a:gd name="T14" fmla="*/ 790800 w 1057"/>
                <a:gd name="T15" fmla="*/ 797221 h 900"/>
                <a:gd name="T16" fmla="*/ 836590 w 1057"/>
                <a:gd name="T17" fmla="*/ 771144 h 900"/>
                <a:gd name="T18" fmla="*/ 882380 w 1057"/>
                <a:gd name="T19" fmla="*/ 751276 h 900"/>
                <a:gd name="T20" fmla="*/ 931882 w 1057"/>
                <a:gd name="T21" fmla="*/ 733891 h 900"/>
                <a:gd name="T22" fmla="*/ 981384 w 1057"/>
                <a:gd name="T23" fmla="*/ 721473 h 900"/>
                <a:gd name="T24" fmla="*/ 1032124 w 1057"/>
                <a:gd name="T25" fmla="*/ 714022 h 900"/>
                <a:gd name="T26" fmla="*/ 1030887 w 1057"/>
                <a:gd name="T27" fmla="*/ 882904 h 900"/>
                <a:gd name="T28" fmla="*/ 1306862 w 1057"/>
                <a:gd name="T29" fmla="*/ 464425 h 900"/>
                <a:gd name="T30" fmla="*/ 1012323 w 1057"/>
                <a:gd name="T31" fmla="*/ 0 h 900"/>
                <a:gd name="T32" fmla="*/ 1013561 w 1057"/>
                <a:gd name="T33" fmla="*/ 170124 h 900"/>
                <a:gd name="T34" fmla="*/ 936832 w 1057"/>
                <a:gd name="T35" fmla="*/ 177574 h 900"/>
                <a:gd name="T36" fmla="*/ 858866 w 1057"/>
                <a:gd name="T37" fmla="*/ 191234 h 900"/>
                <a:gd name="T38" fmla="*/ 784612 w 1057"/>
                <a:gd name="T39" fmla="*/ 208619 h 900"/>
                <a:gd name="T40" fmla="*/ 710359 w 1057"/>
                <a:gd name="T41" fmla="*/ 233454 h 900"/>
                <a:gd name="T42" fmla="*/ 638581 w 1057"/>
                <a:gd name="T43" fmla="*/ 262015 h 900"/>
                <a:gd name="T44" fmla="*/ 569277 w 1057"/>
                <a:gd name="T45" fmla="*/ 295543 h 900"/>
                <a:gd name="T46" fmla="*/ 501211 w 1057"/>
                <a:gd name="T47" fmla="*/ 335280 h 900"/>
                <a:gd name="T48" fmla="*/ 435621 w 1057"/>
                <a:gd name="T49" fmla="*/ 379984 h 900"/>
                <a:gd name="T50" fmla="*/ 373743 w 1057"/>
                <a:gd name="T51" fmla="*/ 429655 h 900"/>
                <a:gd name="T52" fmla="*/ 315578 w 1057"/>
                <a:gd name="T53" fmla="*/ 484293 h 900"/>
                <a:gd name="T54" fmla="*/ 261125 w 1057"/>
                <a:gd name="T55" fmla="*/ 542657 h 900"/>
                <a:gd name="T56" fmla="*/ 210385 w 1057"/>
                <a:gd name="T57" fmla="*/ 603504 h 900"/>
                <a:gd name="T58" fmla="*/ 165833 w 1057"/>
                <a:gd name="T59" fmla="*/ 669318 h 900"/>
                <a:gd name="T60" fmla="*/ 124993 w 1057"/>
                <a:gd name="T61" fmla="*/ 738858 h 900"/>
                <a:gd name="T62" fmla="*/ 89104 w 1057"/>
                <a:gd name="T63" fmla="*/ 810881 h 900"/>
                <a:gd name="T64" fmla="*/ 58165 w 1057"/>
                <a:gd name="T65" fmla="*/ 882904 h 900"/>
                <a:gd name="T66" fmla="*/ 33414 w 1057"/>
                <a:gd name="T67" fmla="*/ 959894 h 900"/>
                <a:gd name="T68" fmla="*/ 13613 w 1057"/>
                <a:gd name="T69" fmla="*/ 1036884 h 900"/>
                <a:gd name="T70" fmla="*/ 0 w 1057"/>
                <a:gd name="T71" fmla="*/ 1116358 h 900"/>
                <a:gd name="T72" fmla="*/ 294539 w 1057"/>
                <a:gd name="T73" fmla="*/ 920157 h 900"/>
                <a:gd name="T74" fmla="*/ 563089 w 1057"/>
                <a:gd name="T75" fmla="*/ 1091523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41" name="Freeform 16"/>
            <p:cNvSpPr>
              <a:spLocks/>
            </p:cNvSpPr>
            <p:nvPr/>
          </p:nvSpPr>
          <p:spPr bwMode="blackWhite">
            <a:xfrm>
              <a:off x="1363785" y="5271599"/>
              <a:ext cx="1277938" cy="1123950"/>
            </a:xfrm>
            <a:custGeom>
              <a:avLst/>
              <a:gdLst>
                <a:gd name="T0" fmla="*/ 2147483647 w 1033"/>
                <a:gd name="T1" fmla="*/ 2147483647 h 904"/>
                <a:gd name="T2" fmla="*/ 2147483647 w 1033"/>
                <a:gd name="T3" fmla="*/ 2147483647 h 904"/>
                <a:gd name="T4" fmla="*/ 2147483647 w 1033"/>
                <a:gd name="T5" fmla="*/ 2147483647 h 904"/>
                <a:gd name="T6" fmla="*/ 2147483647 w 1033"/>
                <a:gd name="T7" fmla="*/ 2147483647 h 904"/>
                <a:gd name="T8" fmla="*/ 2147483647 w 1033"/>
                <a:gd name="T9" fmla="*/ 2147483647 h 904"/>
                <a:gd name="T10" fmla="*/ 2147483647 w 1033"/>
                <a:gd name="T11" fmla="*/ 2147483647 h 904"/>
                <a:gd name="T12" fmla="*/ 2147483647 w 1033"/>
                <a:gd name="T13" fmla="*/ 2147483647 h 904"/>
                <a:gd name="T14" fmla="*/ 2147483647 w 1033"/>
                <a:gd name="T15" fmla="*/ 2147483647 h 904"/>
                <a:gd name="T16" fmla="*/ 2147483647 w 1033"/>
                <a:gd name="T17" fmla="*/ 2147483647 h 904"/>
                <a:gd name="T18" fmla="*/ 2147483647 w 1033"/>
                <a:gd name="T19" fmla="*/ 2147483647 h 904"/>
                <a:gd name="T20" fmla="*/ 2147483647 w 1033"/>
                <a:gd name="T21" fmla="*/ 2147483647 h 904"/>
                <a:gd name="T22" fmla="*/ 2147483647 w 1033"/>
                <a:gd name="T23" fmla="*/ 2147483647 h 904"/>
                <a:gd name="T24" fmla="*/ 2147483647 w 1033"/>
                <a:gd name="T25" fmla="*/ 2147483647 h 904"/>
                <a:gd name="T26" fmla="*/ 2147483647 w 1033"/>
                <a:gd name="T27" fmla="*/ 2147483647 h 904"/>
                <a:gd name="T28" fmla="*/ 2147483647 w 1033"/>
                <a:gd name="T29" fmla="*/ 2147483647 h 904"/>
                <a:gd name="T30" fmla="*/ 2147483647 w 1033"/>
                <a:gd name="T31" fmla="*/ 2147483647 h 904"/>
                <a:gd name="T32" fmla="*/ 0 w 1033"/>
                <a:gd name="T33" fmla="*/ 2147483647 h 904"/>
                <a:gd name="T34" fmla="*/ 2147483647 w 1033"/>
                <a:gd name="T35" fmla="*/ 2147483647 h 904"/>
                <a:gd name="T36" fmla="*/ 2147483647 w 1033"/>
                <a:gd name="T37" fmla="*/ 2147483647 h 904"/>
                <a:gd name="T38" fmla="*/ 2147483647 w 1033"/>
                <a:gd name="T39" fmla="*/ 2147483647 h 904"/>
                <a:gd name="T40" fmla="*/ 2147483647 w 1033"/>
                <a:gd name="T41" fmla="*/ 2147483647 h 904"/>
                <a:gd name="T42" fmla="*/ 2147483647 w 1033"/>
                <a:gd name="T43" fmla="*/ 2147483647 h 904"/>
                <a:gd name="T44" fmla="*/ 2147483647 w 1033"/>
                <a:gd name="T45" fmla="*/ 2147483647 h 904"/>
                <a:gd name="T46" fmla="*/ 2147483647 w 1033"/>
                <a:gd name="T47" fmla="*/ 2147483647 h 904"/>
                <a:gd name="T48" fmla="*/ 2147483647 w 1033"/>
                <a:gd name="T49" fmla="*/ 2147483647 h 904"/>
                <a:gd name="T50" fmla="*/ 2147483647 w 1033"/>
                <a:gd name="T51" fmla="*/ 2147483647 h 904"/>
                <a:gd name="T52" fmla="*/ 2147483647 w 1033"/>
                <a:gd name="T53" fmla="*/ 2147483647 h 904"/>
                <a:gd name="T54" fmla="*/ 2147483647 w 1033"/>
                <a:gd name="T55" fmla="*/ 2147483647 h 904"/>
                <a:gd name="T56" fmla="*/ 2147483647 w 1033"/>
                <a:gd name="T57" fmla="*/ 2147483647 h 904"/>
                <a:gd name="T58" fmla="*/ 2147483647 w 1033"/>
                <a:gd name="T59" fmla="*/ 2147483647 h 904"/>
                <a:gd name="T60" fmla="*/ 2147483647 w 1033"/>
                <a:gd name="T61" fmla="*/ 2147483647 h 904"/>
                <a:gd name="T62" fmla="*/ 2147483647 w 1033"/>
                <a:gd name="T63" fmla="*/ 2147483647 h 904"/>
                <a:gd name="T64" fmla="*/ 2147483647 w 1033"/>
                <a:gd name="T65" fmla="*/ 2147483647 h 904"/>
                <a:gd name="T66" fmla="*/ 2147483647 w 1033"/>
                <a:gd name="T67" fmla="*/ 2147483647 h 904"/>
                <a:gd name="T68" fmla="*/ 2147483647 w 1033"/>
                <a:gd name="T69" fmla="*/ 2147483647 h 904"/>
                <a:gd name="T70" fmla="*/ 2147483647 w 1033"/>
                <a:gd name="T71" fmla="*/ 2147483647 h 904"/>
                <a:gd name="T72" fmla="*/ 2147483647 w 1033"/>
                <a:gd name="T73" fmla="*/ 2147483647 h 904"/>
                <a:gd name="T74" fmla="*/ 2147483647 w 1033"/>
                <a:gd name="T75" fmla="*/ 2147483647 h 904"/>
                <a:gd name="T76" fmla="*/ 2147483647 w 1033"/>
                <a:gd name="T77" fmla="*/ 0 h 904"/>
                <a:gd name="T78" fmla="*/ 2147483647 w 1033"/>
                <a:gd name="T79" fmla="*/ 2147483647 h 904"/>
                <a:gd name="T80" fmla="*/ 2147483647 w 1033"/>
                <a:gd name="T81" fmla="*/ 2147483647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42" name="Freeform 17"/>
            <p:cNvSpPr>
              <a:spLocks/>
            </p:cNvSpPr>
            <p:nvPr/>
          </p:nvSpPr>
          <p:spPr bwMode="blackWhite">
            <a:xfrm>
              <a:off x="338260" y="4863612"/>
              <a:ext cx="1150938" cy="1335087"/>
            </a:xfrm>
            <a:custGeom>
              <a:avLst/>
              <a:gdLst>
                <a:gd name="T0" fmla="*/ 1149700 w 930"/>
                <a:gd name="T1" fmla="*/ 801052 h 1075"/>
                <a:gd name="T2" fmla="*/ 1097723 w 930"/>
                <a:gd name="T3" fmla="*/ 787391 h 1075"/>
                <a:gd name="T4" fmla="*/ 1048220 w 930"/>
                <a:gd name="T5" fmla="*/ 770004 h 1075"/>
                <a:gd name="T6" fmla="*/ 998717 w 930"/>
                <a:gd name="T7" fmla="*/ 748891 h 1075"/>
                <a:gd name="T8" fmla="*/ 954165 w 930"/>
                <a:gd name="T9" fmla="*/ 722810 h 1075"/>
                <a:gd name="T10" fmla="*/ 909612 w 930"/>
                <a:gd name="T11" fmla="*/ 691761 h 1075"/>
                <a:gd name="T12" fmla="*/ 870010 w 930"/>
                <a:gd name="T13" fmla="*/ 656987 h 1075"/>
                <a:gd name="T14" fmla="*/ 832883 w 930"/>
                <a:gd name="T15" fmla="*/ 617245 h 1075"/>
                <a:gd name="T16" fmla="*/ 801944 w 930"/>
                <a:gd name="T17" fmla="*/ 577503 h 1075"/>
                <a:gd name="T18" fmla="*/ 772242 w 930"/>
                <a:gd name="T19" fmla="*/ 531551 h 1075"/>
                <a:gd name="T20" fmla="*/ 751204 w 930"/>
                <a:gd name="T21" fmla="*/ 494293 h 1075"/>
                <a:gd name="T22" fmla="*/ 735115 w 930"/>
                <a:gd name="T23" fmla="*/ 454550 h 1075"/>
                <a:gd name="T24" fmla="*/ 721502 w 930"/>
                <a:gd name="T25" fmla="*/ 412325 h 1075"/>
                <a:gd name="T26" fmla="*/ 714077 w 930"/>
                <a:gd name="T27" fmla="*/ 370099 h 1075"/>
                <a:gd name="T28" fmla="*/ 711602 w 930"/>
                <a:gd name="T29" fmla="*/ 327873 h 1075"/>
                <a:gd name="T30" fmla="*/ 712839 w 930"/>
                <a:gd name="T31" fmla="*/ 284405 h 1075"/>
                <a:gd name="T32" fmla="*/ 925701 w 930"/>
                <a:gd name="T33" fmla="*/ 284405 h 1075"/>
                <a:gd name="T34" fmla="*/ 445524 w 930"/>
                <a:gd name="T35" fmla="*/ 0 h 1075"/>
                <a:gd name="T36" fmla="*/ 0 w 930"/>
                <a:gd name="T37" fmla="*/ 293098 h 1075"/>
                <a:gd name="T38" fmla="*/ 168309 w 930"/>
                <a:gd name="T39" fmla="*/ 294340 h 1075"/>
                <a:gd name="T40" fmla="*/ 174497 w 930"/>
                <a:gd name="T41" fmla="*/ 371340 h 1075"/>
                <a:gd name="T42" fmla="*/ 185635 w 930"/>
                <a:gd name="T43" fmla="*/ 449583 h 1075"/>
                <a:gd name="T44" fmla="*/ 204199 w 930"/>
                <a:gd name="T45" fmla="*/ 524099 h 1075"/>
                <a:gd name="T46" fmla="*/ 225237 w 930"/>
                <a:gd name="T47" fmla="*/ 599858 h 1075"/>
                <a:gd name="T48" fmla="*/ 252464 w 930"/>
                <a:gd name="T49" fmla="*/ 671890 h 1075"/>
                <a:gd name="T50" fmla="*/ 285878 w 930"/>
                <a:gd name="T51" fmla="*/ 742681 h 1075"/>
                <a:gd name="T52" fmla="*/ 324243 w 930"/>
                <a:gd name="T53" fmla="*/ 810988 h 1075"/>
                <a:gd name="T54" fmla="*/ 366320 w 930"/>
                <a:gd name="T55" fmla="*/ 874327 h 1075"/>
                <a:gd name="T56" fmla="*/ 412110 w 930"/>
                <a:gd name="T57" fmla="*/ 933940 h 1075"/>
                <a:gd name="T58" fmla="*/ 462850 w 930"/>
                <a:gd name="T59" fmla="*/ 989827 h 1075"/>
                <a:gd name="T60" fmla="*/ 518541 w 930"/>
                <a:gd name="T61" fmla="*/ 1044473 h 1075"/>
                <a:gd name="T62" fmla="*/ 575469 w 930"/>
                <a:gd name="T63" fmla="*/ 1092908 h 1075"/>
                <a:gd name="T64" fmla="*/ 636110 w 930"/>
                <a:gd name="T65" fmla="*/ 1138860 h 1075"/>
                <a:gd name="T66" fmla="*/ 700463 w 930"/>
                <a:gd name="T67" fmla="*/ 1181086 h 1075"/>
                <a:gd name="T68" fmla="*/ 767292 w 930"/>
                <a:gd name="T69" fmla="*/ 1217102 h 1075"/>
                <a:gd name="T70" fmla="*/ 835358 w 930"/>
                <a:gd name="T71" fmla="*/ 1250635 h 1075"/>
                <a:gd name="T72" fmla="*/ 905900 w 930"/>
                <a:gd name="T73" fmla="*/ 1277958 h 1075"/>
                <a:gd name="T74" fmla="*/ 977679 w 930"/>
                <a:gd name="T75" fmla="*/ 1301555 h 1075"/>
                <a:gd name="T76" fmla="*/ 1050695 w 930"/>
                <a:gd name="T77" fmla="*/ 1318942 h 1075"/>
                <a:gd name="T78" fmla="*/ 1126187 w 930"/>
                <a:gd name="T79" fmla="*/ 1333845 h 1075"/>
                <a:gd name="T80" fmla="*/ 955402 w 930"/>
                <a:gd name="T81" fmla="*/ 1049440 h 1075"/>
                <a:gd name="T82" fmla="*/ 1149700 w 930"/>
                <a:gd name="T83" fmla="*/ 801052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grpFill/>
            <a:ln w="6350" cap="rnd">
              <a:solidFill>
                <a:schemeClr val="bg1"/>
              </a:solidFill>
              <a:round/>
              <a:headEnd/>
              <a:tailEnd/>
            </a:ln>
          </p:spPr>
          <p:txBody>
            <a:bodyPr/>
            <a:lstStyle/>
            <a:p>
              <a:pPr>
                <a:buClr>
                  <a:schemeClr val="bg1"/>
                </a:buClr>
                <a:defRPr/>
              </a:pPr>
              <a:endParaRPr lang="en-US" sz="1200" dirty="0">
                <a:solidFill>
                  <a:schemeClr val="bg1"/>
                </a:solidFill>
              </a:endParaRPr>
            </a:p>
          </p:txBody>
        </p:sp>
        <p:sp>
          <p:nvSpPr>
            <p:cNvPr id="43" name="Freeform 18"/>
            <p:cNvSpPr>
              <a:spLocks/>
            </p:cNvSpPr>
            <p:nvPr/>
          </p:nvSpPr>
          <p:spPr bwMode="blackWhite">
            <a:xfrm>
              <a:off x="1681285" y="4050812"/>
              <a:ext cx="1166813" cy="1323975"/>
            </a:xfrm>
            <a:custGeom>
              <a:avLst/>
              <a:gdLst>
                <a:gd name="T0" fmla="*/ 2147483647 w 943"/>
                <a:gd name="T1" fmla="*/ 2147483647 h 1065"/>
                <a:gd name="T2" fmla="*/ 2147483647 w 943"/>
                <a:gd name="T3" fmla="*/ 2147483647 h 1065"/>
                <a:gd name="T4" fmla="*/ 2147483647 w 943"/>
                <a:gd name="T5" fmla="*/ 2147483647 h 1065"/>
                <a:gd name="T6" fmla="*/ 2147483647 w 943"/>
                <a:gd name="T7" fmla="*/ 2147483647 h 1065"/>
                <a:gd name="T8" fmla="*/ 2147483647 w 943"/>
                <a:gd name="T9" fmla="*/ 2147483647 h 1065"/>
                <a:gd name="T10" fmla="*/ 2147483647 w 943"/>
                <a:gd name="T11" fmla="*/ 2147483647 h 1065"/>
                <a:gd name="T12" fmla="*/ 2147483647 w 943"/>
                <a:gd name="T13" fmla="*/ 2147483647 h 1065"/>
                <a:gd name="T14" fmla="*/ 2147483647 w 943"/>
                <a:gd name="T15" fmla="*/ 2147483647 h 1065"/>
                <a:gd name="T16" fmla="*/ 2147483647 w 943"/>
                <a:gd name="T17" fmla="*/ 2147483647 h 1065"/>
                <a:gd name="T18" fmla="*/ 2147483647 w 943"/>
                <a:gd name="T19" fmla="*/ 2147483647 h 1065"/>
                <a:gd name="T20" fmla="*/ 2147483647 w 943"/>
                <a:gd name="T21" fmla="*/ 2147483647 h 1065"/>
                <a:gd name="T22" fmla="*/ 2147483647 w 943"/>
                <a:gd name="T23" fmla="*/ 2147483647 h 1065"/>
                <a:gd name="T24" fmla="*/ 2147483647 w 943"/>
                <a:gd name="T25" fmla="*/ 2147483647 h 1065"/>
                <a:gd name="T26" fmla="*/ 2147483647 w 943"/>
                <a:gd name="T27" fmla="*/ 2147483647 h 1065"/>
                <a:gd name="T28" fmla="*/ 2147483647 w 943"/>
                <a:gd name="T29" fmla="*/ 2147483647 h 1065"/>
                <a:gd name="T30" fmla="*/ 2147483647 w 943"/>
                <a:gd name="T31" fmla="*/ 2147483647 h 1065"/>
                <a:gd name="T32" fmla="*/ 2147483647 w 943"/>
                <a:gd name="T33" fmla="*/ 2147483647 h 1065"/>
                <a:gd name="T34" fmla="*/ 2147483647 w 943"/>
                <a:gd name="T35" fmla="*/ 2147483647 h 1065"/>
                <a:gd name="T36" fmla="*/ 2147483647 w 943"/>
                <a:gd name="T37" fmla="*/ 2147483647 h 1065"/>
                <a:gd name="T38" fmla="*/ 2147483647 w 943"/>
                <a:gd name="T39" fmla="*/ 2147483647 h 1065"/>
                <a:gd name="T40" fmla="*/ 2147483647 w 943"/>
                <a:gd name="T41" fmla="*/ 2147483647 h 1065"/>
                <a:gd name="T42" fmla="*/ 2147483647 w 943"/>
                <a:gd name="T43" fmla="*/ 2147483647 h 1065"/>
                <a:gd name="T44" fmla="*/ 0 w 943"/>
                <a:gd name="T45" fmla="*/ 0 h 1065"/>
                <a:gd name="T46" fmla="*/ 2147483647 w 943"/>
                <a:gd name="T47" fmla="*/ 2147483647 h 1065"/>
                <a:gd name="T48" fmla="*/ 2147483647 w 943"/>
                <a:gd name="T49" fmla="*/ 2147483647 h 1065"/>
                <a:gd name="T50" fmla="*/ 2147483647 w 943"/>
                <a:gd name="T51" fmla="*/ 2147483647 h 1065"/>
                <a:gd name="T52" fmla="*/ 2147483647 w 943"/>
                <a:gd name="T53" fmla="*/ 2147483647 h 1065"/>
                <a:gd name="T54" fmla="*/ 2147483647 w 943"/>
                <a:gd name="T55" fmla="*/ 2147483647 h 1065"/>
                <a:gd name="T56" fmla="*/ 2147483647 w 943"/>
                <a:gd name="T57" fmla="*/ 2147483647 h 1065"/>
                <a:gd name="T58" fmla="*/ 2147483647 w 943"/>
                <a:gd name="T59" fmla="*/ 2147483647 h 1065"/>
                <a:gd name="T60" fmla="*/ 2147483647 w 943"/>
                <a:gd name="T61" fmla="*/ 2147483647 h 1065"/>
                <a:gd name="T62" fmla="*/ 2147483647 w 943"/>
                <a:gd name="T63" fmla="*/ 2147483647 h 1065"/>
                <a:gd name="T64" fmla="*/ 2147483647 w 943"/>
                <a:gd name="T65" fmla="*/ 2147483647 h 1065"/>
                <a:gd name="T66" fmla="*/ 2147483647 w 943"/>
                <a:gd name="T67" fmla="*/ 2147483647 h 1065"/>
                <a:gd name="T68" fmla="*/ 2147483647 w 943"/>
                <a:gd name="T69" fmla="*/ 2147483647 h 1065"/>
                <a:gd name="T70" fmla="*/ 2147483647 w 943"/>
                <a:gd name="T71" fmla="*/ 2147483647 h 1065"/>
                <a:gd name="T72" fmla="*/ 2147483647 w 943"/>
                <a:gd name="T73" fmla="*/ 2147483647 h 1065"/>
                <a:gd name="T74" fmla="*/ 2147483647 w 943"/>
                <a:gd name="T75" fmla="*/ 2147483647 h 1065"/>
                <a:gd name="T76" fmla="*/ 2147483647 w 943"/>
                <a:gd name="T77" fmla="*/ 2147483647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grp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44" name="Rectangle 36"/>
            <p:cNvSpPr>
              <a:spLocks noChangeArrowheads="1"/>
            </p:cNvSpPr>
            <p:nvPr/>
          </p:nvSpPr>
          <p:spPr bwMode="blackWhite">
            <a:xfrm>
              <a:off x="2083781" y="45857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45" name="Rectangle 48"/>
            <p:cNvSpPr>
              <a:spLocks noChangeArrowheads="1"/>
            </p:cNvSpPr>
            <p:nvPr/>
          </p:nvSpPr>
          <p:spPr bwMode="blackWhite">
            <a:xfrm>
              <a:off x="1093975" y="4357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46" name="Rectangle 49"/>
            <p:cNvSpPr>
              <a:spLocks noChangeArrowheads="1"/>
            </p:cNvSpPr>
            <p:nvPr/>
          </p:nvSpPr>
          <p:spPr bwMode="blackWhite">
            <a:xfrm>
              <a:off x="789175" y="55001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sp>
          <p:nvSpPr>
            <p:cNvPr id="47" name="Rectangle 50"/>
            <p:cNvSpPr>
              <a:spLocks noChangeArrowheads="1"/>
            </p:cNvSpPr>
            <p:nvPr/>
          </p:nvSpPr>
          <p:spPr bwMode="blackWhite">
            <a:xfrm>
              <a:off x="1855975" y="5728799"/>
              <a:ext cx="249107" cy="175433"/>
            </a:xfrm>
            <a:prstGeom prst="rect">
              <a:avLst/>
            </a:prstGeom>
            <a:grp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US" sz="1200" dirty="0">
                  <a:solidFill>
                    <a:schemeClr val="bg1"/>
                  </a:solidFill>
                </a:rPr>
                <a:t>Text</a:t>
              </a:r>
            </a:p>
          </p:txBody>
        </p:sp>
      </p:grpSp>
    </p:spTree>
    <p:extLst>
      <p:ext uri="{BB962C8B-B14F-4D97-AF65-F5344CB8AC3E}">
        <p14:creationId xmlns:p14="http://schemas.microsoft.com/office/powerpoint/2010/main" val="2444922977"/>
      </p:ext>
    </p:extLst>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Chevrons</a:t>
            </a:r>
            <a:endParaRPr lang="en-US" dirty="0"/>
          </a:p>
        </p:txBody>
      </p:sp>
      <p:sp>
        <p:nvSpPr>
          <p:cNvPr id="675841" name="Title 1"/>
          <p:cNvSpPr>
            <a:spLocks noGrp="1"/>
          </p:cNvSpPr>
          <p:nvPr>
            <p:ph type="title"/>
          </p:nvPr>
        </p:nvSpPr>
        <p:spPr/>
        <p:txBody>
          <a:bodyPr/>
          <a:lstStyle/>
          <a:p>
            <a:r>
              <a:rPr lang="en-US"/>
              <a:t>Circles </a:t>
            </a:r>
            <a:endParaRPr lang="en-US" dirty="0"/>
          </a:p>
        </p:txBody>
      </p:sp>
      <p:grpSp>
        <p:nvGrpSpPr>
          <p:cNvPr id="53" name="Group 52"/>
          <p:cNvGrpSpPr>
            <a:grpSpLocks/>
          </p:cNvGrpSpPr>
          <p:nvPr/>
        </p:nvGrpSpPr>
        <p:grpSpPr>
          <a:xfrm>
            <a:off x="1889125" y="1367741"/>
            <a:ext cx="1828800" cy="1828800"/>
            <a:chOff x="500105" y="962477"/>
            <a:chExt cx="1828800" cy="1828800"/>
          </a:xfrm>
          <a:solidFill>
            <a:schemeClr val="bg2">
              <a:lumMod val="60000"/>
              <a:lumOff val="40000"/>
            </a:schemeClr>
          </a:solidFill>
        </p:grpSpPr>
        <p:sp>
          <p:nvSpPr>
            <p:cNvPr id="54" name="Freeform 4"/>
            <p:cNvSpPr>
              <a:spLocks/>
            </p:cNvSpPr>
            <p:nvPr/>
          </p:nvSpPr>
          <p:spPr bwMode="gray">
            <a:xfrm>
              <a:off x="500105" y="962477"/>
              <a:ext cx="996217" cy="1827872"/>
            </a:xfrm>
            <a:custGeom>
              <a:avLst/>
              <a:gdLst>
                <a:gd name="T0" fmla="*/ 1987 w 1070"/>
                <a:gd name="T1" fmla="*/ 0 h 1963"/>
                <a:gd name="T2" fmla="*/ 1967 w 1070"/>
                <a:gd name="T3" fmla="*/ 0 h 1963"/>
                <a:gd name="T4" fmla="*/ 1963 w 1070"/>
                <a:gd name="T5" fmla="*/ 0 h 1963"/>
                <a:gd name="T6" fmla="*/ 0 w 1070"/>
                <a:gd name="T7" fmla="*/ 1970 h 1963"/>
                <a:gd name="T8" fmla="*/ 1949 w 1070"/>
                <a:gd name="T9" fmla="*/ 3938 h 1963"/>
                <a:gd name="T10" fmla="*/ 1787 w 1070"/>
                <a:gd name="T11" fmla="*/ 3451 h 1963"/>
                <a:gd name="T12" fmla="*/ 1945 w 1070"/>
                <a:gd name="T13" fmla="*/ 2971 h 1963"/>
                <a:gd name="T14" fmla="*/ 965 w 1070"/>
                <a:gd name="T15" fmla="*/ 1970 h 1963"/>
                <a:gd name="T16" fmla="*/ 1963 w 1070"/>
                <a:gd name="T17" fmla="*/ 967 h 1963"/>
                <a:gd name="T18" fmla="*/ 1967 w 1070"/>
                <a:gd name="T19" fmla="*/ 967 h 1963"/>
                <a:gd name="T20" fmla="*/ 1979 w 1070"/>
                <a:gd name="T21" fmla="*/ 967 h 1963"/>
                <a:gd name="T22" fmla="*/ 2143 w 1070"/>
                <a:gd name="T23" fmla="*/ 473 h 1963"/>
                <a:gd name="T24" fmla="*/ 1987 w 1070"/>
                <a:gd name="T25" fmla="*/ 0 h 19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0"/>
                <a:gd name="T40" fmla="*/ 0 h 1963"/>
                <a:gd name="T41" fmla="*/ 1070 w 1070"/>
                <a:gd name="T42" fmla="*/ 1963 h 19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0" h="1963">
                  <a:moveTo>
                    <a:pt x="992" y="0"/>
                  </a:moveTo>
                  <a:cubicBezTo>
                    <a:pt x="988" y="0"/>
                    <a:pt x="985" y="0"/>
                    <a:pt x="982" y="0"/>
                  </a:cubicBezTo>
                  <a:cubicBezTo>
                    <a:pt x="981" y="0"/>
                    <a:pt x="981" y="0"/>
                    <a:pt x="980" y="0"/>
                  </a:cubicBezTo>
                  <a:cubicBezTo>
                    <a:pt x="439" y="1"/>
                    <a:pt x="0" y="440"/>
                    <a:pt x="0" y="982"/>
                  </a:cubicBezTo>
                  <a:cubicBezTo>
                    <a:pt x="0" y="1521"/>
                    <a:pt x="435" y="1958"/>
                    <a:pt x="973" y="1963"/>
                  </a:cubicBezTo>
                  <a:cubicBezTo>
                    <a:pt x="892" y="1720"/>
                    <a:pt x="892" y="1720"/>
                    <a:pt x="892" y="1720"/>
                  </a:cubicBezTo>
                  <a:cubicBezTo>
                    <a:pt x="971" y="1481"/>
                    <a:pt x="971" y="1481"/>
                    <a:pt x="971" y="1481"/>
                  </a:cubicBezTo>
                  <a:cubicBezTo>
                    <a:pt x="700" y="1476"/>
                    <a:pt x="482" y="1254"/>
                    <a:pt x="482" y="982"/>
                  </a:cubicBezTo>
                  <a:cubicBezTo>
                    <a:pt x="482" y="706"/>
                    <a:pt x="705" y="483"/>
                    <a:pt x="980" y="482"/>
                  </a:cubicBezTo>
                  <a:cubicBezTo>
                    <a:pt x="981" y="482"/>
                    <a:pt x="981" y="482"/>
                    <a:pt x="982" y="482"/>
                  </a:cubicBezTo>
                  <a:cubicBezTo>
                    <a:pt x="984" y="482"/>
                    <a:pt x="986" y="482"/>
                    <a:pt x="988" y="482"/>
                  </a:cubicBezTo>
                  <a:cubicBezTo>
                    <a:pt x="1070" y="236"/>
                    <a:pt x="1070" y="236"/>
                    <a:pt x="1070" y="236"/>
                  </a:cubicBezTo>
                  <a:lnTo>
                    <a:pt x="992" y="0"/>
                  </a:ln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solidFill>
                  <a:schemeClr val="tx2"/>
                </a:solidFill>
              </a:endParaRPr>
            </a:p>
          </p:txBody>
        </p:sp>
        <p:sp>
          <p:nvSpPr>
            <p:cNvPr id="61" name="Freeform 5"/>
            <p:cNvSpPr>
              <a:spLocks/>
            </p:cNvSpPr>
            <p:nvPr/>
          </p:nvSpPr>
          <p:spPr bwMode="gray">
            <a:xfrm>
              <a:off x="1330828" y="962477"/>
              <a:ext cx="998077" cy="1828800"/>
            </a:xfrm>
            <a:custGeom>
              <a:avLst/>
              <a:gdLst>
                <a:gd name="T0" fmla="*/ 200 w 1072"/>
                <a:gd name="T1" fmla="*/ 0 h 1964"/>
                <a:gd name="T2" fmla="*/ 356 w 1072"/>
                <a:gd name="T3" fmla="*/ 473 h 1964"/>
                <a:gd name="T4" fmla="*/ 192 w 1072"/>
                <a:gd name="T5" fmla="*/ 967 h 1964"/>
                <a:gd name="T6" fmla="*/ 1182 w 1072"/>
                <a:gd name="T7" fmla="*/ 1970 h 1964"/>
                <a:gd name="T8" fmla="*/ 180 w 1072"/>
                <a:gd name="T9" fmla="*/ 2973 h 1964"/>
                <a:gd name="T10" fmla="*/ 180 w 1072"/>
                <a:gd name="T11" fmla="*/ 2973 h 1964"/>
                <a:gd name="T12" fmla="*/ 158 w 1072"/>
                <a:gd name="T13" fmla="*/ 2971 h 1964"/>
                <a:gd name="T14" fmla="*/ 0 w 1072"/>
                <a:gd name="T15" fmla="*/ 3451 h 1964"/>
                <a:gd name="T16" fmla="*/ 162 w 1072"/>
                <a:gd name="T17" fmla="*/ 3938 h 1964"/>
                <a:gd name="T18" fmla="*/ 180 w 1072"/>
                <a:gd name="T19" fmla="*/ 3940 h 1964"/>
                <a:gd name="T20" fmla="*/ 180 w 1072"/>
                <a:gd name="T21" fmla="*/ 3940 h 1964"/>
                <a:gd name="T22" fmla="*/ 2147 w 1072"/>
                <a:gd name="T23" fmla="*/ 1970 h 1964"/>
                <a:gd name="T24" fmla="*/ 200 w 1072"/>
                <a:gd name="T25" fmla="*/ 0 h 19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2"/>
                <a:gd name="T40" fmla="*/ 0 h 1964"/>
                <a:gd name="T41" fmla="*/ 1072 w 1072"/>
                <a:gd name="T42" fmla="*/ 1964 h 196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2" h="1964">
                  <a:moveTo>
                    <a:pt x="100" y="0"/>
                  </a:moveTo>
                  <a:cubicBezTo>
                    <a:pt x="178" y="236"/>
                    <a:pt x="178" y="236"/>
                    <a:pt x="178" y="236"/>
                  </a:cubicBezTo>
                  <a:cubicBezTo>
                    <a:pt x="96" y="482"/>
                    <a:pt x="96" y="482"/>
                    <a:pt x="96" y="482"/>
                  </a:cubicBezTo>
                  <a:cubicBezTo>
                    <a:pt x="370" y="485"/>
                    <a:pt x="590" y="707"/>
                    <a:pt x="590" y="982"/>
                  </a:cubicBezTo>
                  <a:cubicBezTo>
                    <a:pt x="590" y="1258"/>
                    <a:pt x="366" y="1482"/>
                    <a:pt x="90" y="1482"/>
                  </a:cubicBezTo>
                  <a:cubicBezTo>
                    <a:pt x="90" y="1482"/>
                    <a:pt x="90" y="1482"/>
                    <a:pt x="90" y="1482"/>
                  </a:cubicBezTo>
                  <a:cubicBezTo>
                    <a:pt x="86" y="1482"/>
                    <a:pt x="83" y="1481"/>
                    <a:pt x="79" y="1481"/>
                  </a:cubicBezTo>
                  <a:cubicBezTo>
                    <a:pt x="0" y="1720"/>
                    <a:pt x="0" y="1720"/>
                    <a:pt x="0" y="1720"/>
                  </a:cubicBezTo>
                  <a:cubicBezTo>
                    <a:pt x="81" y="1963"/>
                    <a:pt x="81" y="1963"/>
                    <a:pt x="81" y="1963"/>
                  </a:cubicBezTo>
                  <a:cubicBezTo>
                    <a:pt x="84" y="1963"/>
                    <a:pt x="87" y="1964"/>
                    <a:pt x="90" y="1964"/>
                  </a:cubicBezTo>
                  <a:cubicBezTo>
                    <a:pt x="90" y="1964"/>
                    <a:pt x="90" y="1964"/>
                    <a:pt x="90" y="1964"/>
                  </a:cubicBezTo>
                  <a:cubicBezTo>
                    <a:pt x="633" y="1964"/>
                    <a:pt x="1072" y="1524"/>
                    <a:pt x="1072" y="982"/>
                  </a:cubicBezTo>
                  <a:cubicBezTo>
                    <a:pt x="1072" y="442"/>
                    <a:pt x="638" y="5"/>
                    <a:pt x="100" y="0"/>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62" name="Group 3"/>
          <p:cNvGrpSpPr>
            <a:grpSpLocks/>
          </p:cNvGrpSpPr>
          <p:nvPr/>
        </p:nvGrpSpPr>
        <p:grpSpPr bwMode="gray">
          <a:xfrm>
            <a:off x="4090743" y="1368670"/>
            <a:ext cx="1814411" cy="1813483"/>
            <a:chOff x="930" y="191"/>
            <a:chExt cx="3909" cy="3907"/>
          </a:xfrm>
          <a:solidFill>
            <a:schemeClr val="bg2">
              <a:lumMod val="60000"/>
              <a:lumOff val="40000"/>
            </a:schemeClr>
          </a:solidFill>
        </p:grpSpPr>
        <p:sp>
          <p:nvSpPr>
            <p:cNvPr id="63" name="Freeform 4"/>
            <p:cNvSpPr>
              <a:spLocks/>
            </p:cNvSpPr>
            <p:nvPr/>
          </p:nvSpPr>
          <p:spPr bwMode="gray">
            <a:xfrm>
              <a:off x="930" y="196"/>
              <a:ext cx="2145" cy="2941"/>
            </a:xfrm>
            <a:custGeom>
              <a:avLst/>
              <a:gdLst>
                <a:gd name="T0" fmla="*/ 1986 w 1069"/>
                <a:gd name="T1" fmla="*/ 2 h 1466"/>
                <a:gd name="T2" fmla="*/ 1970 w 1069"/>
                <a:gd name="T3" fmla="*/ 0 h 1466"/>
                <a:gd name="T4" fmla="*/ 1964 w 1069"/>
                <a:gd name="T5" fmla="*/ 2 h 1466"/>
                <a:gd name="T6" fmla="*/ 0 w 1069"/>
                <a:gd name="T7" fmla="*/ 1970 h 1466"/>
                <a:gd name="T8" fmla="*/ 255 w 1069"/>
                <a:gd name="T9" fmla="*/ 2941 h 1466"/>
                <a:gd name="T10" fmla="*/ 598 w 1069"/>
                <a:gd name="T11" fmla="*/ 2556 h 1466"/>
                <a:gd name="T12" fmla="*/ 1092 w 1069"/>
                <a:gd name="T13" fmla="*/ 2454 h 1466"/>
                <a:gd name="T14" fmla="*/ 967 w 1069"/>
                <a:gd name="T15" fmla="*/ 1970 h 1466"/>
                <a:gd name="T16" fmla="*/ 1964 w 1069"/>
                <a:gd name="T17" fmla="*/ 969 h 1466"/>
                <a:gd name="T18" fmla="*/ 1970 w 1069"/>
                <a:gd name="T19" fmla="*/ 967 h 1466"/>
                <a:gd name="T20" fmla="*/ 1980 w 1069"/>
                <a:gd name="T21" fmla="*/ 969 h 1466"/>
                <a:gd name="T22" fmla="*/ 2145 w 1069"/>
                <a:gd name="T23" fmla="*/ 475 h 1466"/>
                <a:gd name="T24" fmla="*/ 1986 w 1069"/>
                <a:gd name="T25" fmla="*/ 2 h 14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9"/>
                <a:gd name="T40" fmla="*/ 0 h 1466"/>
                <a:gd name="T41" fmla="*/ 1069 w 1069"/>
                <a:gd name="T42" fmla="*/ 1466 h 14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9" h="1466">
                  <a:moveTo>
                    <a:pt x="990" y="1"/>
                  </a:moveTo>
                  <a:cubicBezTo>
                    <a:pt x="988" y="1"/>
                    <a:pt x="985" y="0"/>
                    <a:pt x="982" y="0"/>
                  </a:cubicBezTo>
                  <a:cubicBezTo>
                    <a:pt x="981" y="0"/>
                    <a:pt x="980" y="1"/>
                    <a:pt x="979" y="1"/>
                  </a:cubicBezTo>
                  <a:cubicBezTo>
                    <a:pt x="438" y="2"/>
                    <a:pt x="0" y="441"/>
                    <a:pt x="0" y="982"/>
                  </a:cubicBezTo>
                  <a:cubicBezTo>
                    <a:pt x="0" y="1158"/>
                    <a:pt x="46" y="1323"/>
                    <a:pt x="127" y="1466"/>
                  </a:cubicBezTo>
                  <a:cubicBezTo>
                    <a:pt x="298" y="1274"/>
                    <a:pt x="298" y="1274"/>
                    <a:pt x="298" y="1274"/>
                  </a:cubicBezTo>
                  <a:cubicBezTo>
                    <a:pt x="544" y="1223"/>
                    <a:pt x="544" y="1223"/>
                    <a:pt x="544" y="1223"/>
                  </a:cubicBezTo>
                  <a:cubicBezTo>
                    <a:pt x="504" y="1152"/>
                    <a:pt x="482" y="1070"/>
                    <a:pt x="482" y="982"/>
                  </a:cubicBezTo>
                  <a:cubicBezTo>
                    <a:pt x="482" y="707"/>
                    <a:pt x="704" y="484"/>
                    <a:pt x="979" y="483"/>
                  </a:cubicBezTo>
                  <a:cubicBezTo>
                    <a:pt x="980" y="483"/>
                    <a:pt x="981" y="482"/>
                    <a:pt x="982" y="482"/>
                  </a:cubicBezTo>
                  <a:cubicBezTo>
                    <a:pt x="984" y="482"/>
                    <a:pt x="986" y="483"/>
                    <a:pt x="987" y="483"/>
                  </a:cubicBezTo>
                  <a:cubicBezTo>
                    <a:pt x="1069" y="237"/>
                    <a:pt x="1069" y="237"/>
                    <a:pt x="1069" y="237"/>
                  </a:cubicBezTo>
                  <a:lnTo>
                    <a:pt x="990" y="1"/>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65" name="Freeform 5"/>
            <p:cNvSpPr>
              <a:spLocks/>
            </p:cNvSpPr>
            <p:nvPr/>
          </p:nvSpPr>
          <p:spPr bwMode="gray">
            <a:xfrm>
              <a:off x="1166" y="2612"/>
              <a:ext cx="3412" cy="1486"/>
            </a:xfrm>
            <a:custGeom>
              <a:avLst/>
              <a:gdLst>
                <a:gd name="T0" fmla="*/ 2909 w 1701"/>
                <a:gd name="T1" fmla="*/ 415 h 741"/>
                <a:gd name="T2" fmla="*/ 2574 w 1701"/>
                <a:gd name="T3" fmla="*/ 36 h 741"/>
                <a:gd name="T4" fmla="*/ 1715 w 1701"/>
                <a:gd name="T5" fmla="*/ 519 h 741"/>
                <a:gd name="T6" fmla="*/ 846 w 1701"/>
                <a:gd name="T7" fmla="*/ 20 h 741"/>
                <a:gd name="T8" fmla="*/ 836 w 1701"/>
                <a:gd name="T9" fmla="*/ 0 h 741"/>
                <a:gd name="T10" fmla="*/ 343 w 1701"/>
                <a:gd name="T11" fmla="*/ 102 h 741"/>
                <a:gd name="T12" fmla="*/ 0 w 1701"/>
                <a:gd name="T13" fmla="*/ 487 h 741"/>
                <a:gd name="T14" fmla="*/ 8 w 1701"/>
                <a:gd name="T15" fmla="*/ 503 h 741"/>
                <a:gd name="T16" fmla="*/ 1715 w 1701"/>
                <a:gd name="T17" fmla="*/ 1486 h 741"/>
                <a:gd name="T18" fmla="*/ 3412 w 1701"/>
                <a:gd name="T19" fmla="*/ 517 h 741"/>
                <a:gd name="T20" fmla="*/ 2909 w 1701"/>
                <a:gd name="T21" fmla="*/ 415 h 7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01"/>
                <a:gd name="T34" fmla="*/ 0 h 741"/>
                <a:gd name="T35" fmla="*/ 1701 w 1701"/>
                <a:gd name="T36" fmla="*/ 741 h 7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01" h="741">
                  <a:moveTo>
                    <a:pt x="1450" y="207"/>
                  </a:moveTo>
                  <a:cubicBezTo>
                    <a:pt x="1283" y="18"/>
                    <a:pt x="1283" y="18"/>
                    <a:pt x="1283" y="18"/>
                  </a:cubicBezTo>
                  <a:cubicBezTo>
                    <a:pt x="1195" y="163"/>
                    <a:pt x="1036" y="259"/>
                    <a:pt x="855" y="259"/>
                  </a:cubicBezTo>
                  <a:cubicBezTo>
                    <a:pt x="670" y="259"/>
                    <a:pt x="508" y="159"/>
                    <a:pt x="422" y="10"/>
                  </a:cubicBezTo>
                  <a:cubicBezTo>
                    <a:pt x="420" y="7"/>
                    <a:pt x="418" y="4"/>
                    <a:pt x="417" y="0"/>
                  </a:cubicBezTo>
                  <a:cubicBezTo>
                    <a:pt x="171" y="51"/>
                    <a:pt x="171" y="51"/>
                    <a:pt x="171" y="51"/>
                  </a:cubicBezTo>
                  <a:cubicBezTo>
                    <a:pt x="0" y="243"/>
                    <a:pt x="0" y="243"/>
                    <a:pt x="0" y="243"/>
                  </a:cubicBezTo>
                  <a:cubicBezTo>
                    <a:pt x="1" y="246"/>
                    <a:pt x="3" y="248"/>
                    <a:pt x="4" y="251"/>
                  </a:cubicBezTo>
                  <a:cubicBezTo>
                    <a:pt x="174" y="544"/>
                    <a:pt x="492" y="741"/>
                    <a:pt x="855" y="741"/>
                  </a:cubicBezTo>
                  <a:cubicBezTo>
                    <a:pt x="1215" y="741"/>
                    <a:pt x="1530" y="548"/>
                    <a:pt x="1701" y="258"/>
                  </a:cubicBezTo>
                  <a:lnTo>
                    <a:pt x="1450" y="207"/>
                  </a:ln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67" name="Freeform 6"/>
            <p:cNvSpPr>
              <a:spLocks/>
            </p:cNvSpPr>
            <p:nvPr/>
          </p:nvSpPr>
          <p:spPr bwMode="gray">
            <a:xfrm>
              <a:off x="2879" y="191"/>
              <a:ext cx="1960" cy="2969"/>
            </a:xfrm>
            <a:custGeom>
              <a:avLst/>
              <a:gdLst>
                <a:gd name="T0" fmla="*/ 6 w 977"/>
                <a:gd name="T1" fmla="*/ 0 h 1480"/>
                <a:gd name="T2" fmla="*/ 165 w 977"/>
                <a:gd name="T3" fmla="*/ 473 h 1480"/>
                <a:gd name="T4" fmla="*/ 0 w 977"/>
                <a:gd name="T5" fmla="*/ 967 h 1480"/>
                <a:gd name="T6" fmla="*/ 993 w 977"/>
                <a:gd name="T7" fmla="*/ 1968 h 1480"/>
                <a:gd name="T8" fmla="*/ 859 w 977"/>
                <a:gd name="T9" fmla="*/ 2469 h 1480"/>
                <a:gd name="T10" fmla="*/ 849 w 977"/>
                <a:gd name="T11" fmla="*/ 2488 h 1480"/>
                <a:gd name="T12" fmla="*/ 1184 w 977"/>
                <a:gd name="T13" fmla="*/ 2867 h 1480"/>
                <a:gd name="T14" fmla="*/ 1687 w 977"/>
                <a:gd name="T15" fmla="*/ 2969 h 1480"/>
                <a:gd name="T16" fmla="*/ 1697 w 977"/>
                <a:gd name="T17" fmla="*/ 2953 h 1480"/>
                <a:gd name="T18" fmla="*/ 1960 w 977"/>
                <a:gd name="T19" fmla="*/ 1968 h 1480"/>
                <a:gd name="T20" fmla="*/ 6 w 977"/>
                <a:gd name="T21" fmla="*/ 0 h 14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7"/>
                <a:gd name="T34" fmla="*/ 0 h 1480"/>
                <a:gd name="T35" fmla="*/ 977 w 977"/>
                <a:gd name="T36" fmla="*/ 1480 h 14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7" h="1480">
                  <a:moveTo>
                    <a:pt x="3" y="0"/>
                  </a:moveTo>
                  <a:cubicBezTo>
                    <a:pt x="82" y="236"/>
                    <a:pt x="82" y="236"/>
                    <a:pt x="82" y="236"/>
                  </a:cubicBezTo>
                  <a:cubicBezTo>
                    <a:pt x="0" y="482"/>
                    <a:pt x="0" y="482"/>
                    <a:pt x="0" y="482"/>
                  </a:cubicBezTo>
                  <a:cubicBezTo>
                    <a:pt x="274" y="485"/>
                    <a:pt x="495" y="707"/>
                    <a:pt x="495" y="981"/>
                  </a:cubicBezTo>
                  <a:cubicBezTo>
                    <a:pt x="495" y="1072"/>
                    <a:pt x="471" y="1158"/>
                    <a:pt x="428" y="1231"/>
                  </a:cubicBezTo>
                  <a:cubicBezTo>
                    <a:pt x="426" y="1234"/>
                    <a:pt x="425" y="1237"/>
                    <a:pt x="423" y="1240"/>
                  </a:cubicBezTo>
                  <a:cubicBezTo>
                    <a:pt x="590" y="1429"/>
                    <a:pt x="590" y="1429"/>
                    <a:pt x="590" y="1429"/>
                  </a:cubicBezTo>
                  <a:cubicBezTo>
                    <a:pt x="841" y="1480"/>
                    <a:pt x="841" y="1480"/>
                    <a:pt x="841" y="1480"/>
                  </a:cubicBezTo>
                  <a:cubicBezTo>
                    <a:pt x="842" y="1478"/>
                    <a:pt x="844" y="1475"/>
                    <a:pt x="846" y="1472"/>
                  </a:cubicBezTo>
                  <a:cubicBezTo>
                    <a:pt x="929" y="1328"/>
                    <a:pt x="977" y="1160"/>
                    <a:pt x="977" y="981"/>
                  </a:cubicBezTo>
                  <a:cubicBezTo>
                    <a:pt x="977" y="442"/>
                    <a:pt x="542" y="4"/>
                    <a:pt x="3" y="0"/>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68" name="Group 3"/>
          <p:cNvGrpSpPr>
            <a:grpSpLocks/>
          </p:cNvGrpSpPr>
          <p:nvPr/>
        </p:nvGrpSpPr>
        <p:grpSpPr bwMode="gray">
          <a:xfrm>
            <a:off x="6279370" y="1367742"/>
            <a:ext cx="1819502" cy="1824151"/>
            <a:chOff x="924" y="194"/>
            <a:chExt cx="3914" cy="3924"/>
          </a:xfrm>
          <a:solidFill>
            <a:schemeClr val="bg2">
              <a:lumMod val="60000"/>
              <a:lumOff val="40000"/>
            </a:schemeClr>
          </a:solidFill>
        </p:grpSpPr>
        <p:sp>
          <p:nvSpPr>
            <p:cNvPr id="69" name="Freeform 4"/>
            <p:cNvSpPr>
              <a:spLocks/>
            </p:cNvSpPr>
            <p:nvPr/>
          </p:nvSpPr>
          <p:spPr bwMode="gray">
            <a:xfrm>
              <a:off x="924" y="194"/>
              <a:ext cx="2143" cy="1949"/>
            </a:xfrm>
            <a:custGeom>
              <a:avLst/>
              <a:gdLst>
                <a:gd name="T0" fmla="*/ 1985 w 1070"/>
                <a:gd name="T1" fmla="*/ 0 h 973"/>
                <a:gd name="T2" fmla="*/ 1967 w 1070"/>
                <a:gd name="T3" fmla="*/ 0 h 973"/>
                <a:gd name="T4" fmla="*/ 1963 w 1070"/>
                <a:gd name="T5" fmla="*/ 0 h 973"/>
                <a:gd name="T6" fmla="*/ 0 w 1070"/>
                <a:gd name="T7" fmla="*/ 1949 h 973"/>
                <a:gd name="T8" fmla="*/ 483 w 1070"/>
                <a:gd name="T9" fmla="*/ 1789 h 973"/>
                <a:gd name="T10" fmla="*/ 965 w 1070"/>
                <a:gd name="T11" fmla="*/ 1949 h 973"/>
                <a:gd name="T12" fmla="*/ 1963 w 1070"/>
                <a:gd name="T13" fmla="*/ 965 h 973"/>
                <a:gd name="T14" fmla="*/ 1967 w 1070"/>
                <a:gd name="T15" fmla="*/ 965 h 973"/>
                <a:gd name="T16" fmla="*/ 1981 w 1070"/>
                <a:gd name="T17" fmla="*/ 965 h 973"/>
                <a:gd name="T18" fmla="*/ 2143 w 1070"/>
                <a:gd name="T19" fmla="*/ 477 h 973"/>
                <a:gd name="T20" fmla="*/ 1985 w 1070"/>
                <a:gd name="T21" fmla="*/ 0 h 9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0"/>
                <a:gd name="T34" fmla="*/ 0 h 973"/>
                <a:gd name="T35" fmla="*/ 1070 w 1070"/>
                <a:gd name="T36" fmla="*/ 973 h 9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0" h="973">
                  <a:moveTo>
                    <a:pt x="991" y="0"/>
                  </a:moveTo>
                  <a:cubicBezTo>
                    <a:pt x="988" y="0"/>
                    <a:pt x="985" y="0"/>
                    <a:pt x="982" y="0"/>
                  </a:cubicBezTo>
                  <a:cubicBezTo>
                    <a:pt x="981" y="0"/>
                    <a:pt x="981" y="0"/>
                    <a:pt x="980" y="0"/>
                  </a:cubicBezTo>
                  <a:cubicBezTo>
                    <a:pt x="441" y="1"/>
                    <a:pt x="5" y="435"/>
                    <a:pt x="0" y="973"/>
                  </a:cubicBezTo>
                  <a:cubicBezTo>
                    <a:pt x="241" y="893"/>
                    <a:pt x="241" y="893"/>
                    <a:pt x="241" y="893"/>
                  </a:cubicBezTo>
                  <a:cubicBezTo>
                    <a:pt x="482" y="973"/>
                    <a:pt x="482" y="973"/>
                    <a:pt x="482" y="973"/>
                  </a:cubicBezTo>
                  <a:cubicBezTo>
                    <a:pt x="487" y="702"/>
                    <a:pt x="708" y="483"/>
                    <a:pt x="980" y="482"/>
                  </a:cubicBezTo>
                  <a:cubicBezTo>
                    <a:pt x="981" y="482"/>
                    <a:pt x="981" y="482"/>
                    <a:pt x="982" y="482"/>
                  </a:cubicBezTo>
                  <a:cubicBezTo>
                    <a:pt x="984" y="482"/>
                    <a:pt x="987" y="482"/>
                    <a:pt x="989" y="482"/>
                  </a:cubicBezTo>
                  <a:cubicBezTo>
                    <a:pt x="1070" y="238"/>
                    <a:pt x="1070" y="238"/>
                    <a:pt x="1070" y="238"/>
                  </a:cubicBezTo>
                  <a:lnTo>
                    <a:pt x="991" y="0"/>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70" name="Freeform 5"/>
            <p:cNvSpPr>
              <a:spLocks/>
            </p:cNvSpPr>
            <p:nvPr/>
          </p:nvSpPr>
          <p:spPr bwMode="gray">
            <a:xfrm>
              <a:off x="924" y="1973"/>
              <a:ext cx="1949" cy="2145"/>
            </a:xfrm>
            <a:custGeom>
              <a:avLst/>
              <a:gdLst>
                <a:gd name="T0" fmla="*/ 1949 w 973"/>
                <a:gd name="T1" fmla="*/ 1180 h 1071"/>
                <a:gd name="T2" fmla="*/ 965 w 973"/>
                <a:gd name="T3" fmla="*/ 180 h 1071"/>
                <a:gd name="T4" fmla="*/ 965 w 973"/>
                <a:gd name="T5" fmla="*/ 178 h 1071"/>
                <a:gd name="T6" fmla="*/ 965 w 973"/>
                <a:gd name="T7" fmla="*/ 160 h 1071"/>
                <a:gd name="T8" fmla="*/ 483 w 973"/>
                <a:gd name="T9" fmla="*/ 0 h 1071"/>
                <a:gd name="T10" fmla="*/ 0 w 973"/>
                <a:gd name="T11" fmla="*/ 160 h 1071"/>
                <a:gd name="T12" fmla="*/ 0 w 973"/>
                <a:gd name="T13" fmla="*/ 178 h 1071"/>
                <a:gd name="T14" fmla="*/ 0 w 973"/>
                <a:gd name="T15" fmla="*/ 180 h 1071"/>
                <a:gd name="T16" fmla="*/ 1945 w 973"/>
                <a:gd name="T17" fmla="*/ 2145 h 1071"/>
                <a:gd name="T18" fmla="*/ 1787 w 973"/>
                <a:gd name="T19" fmla="*/ 1668 h 1071"/>
                <a:gd name="T20" fmla="*/ 1949 w 973"/>
                <a:gd name="T21" fmla="*/ 1180 h 1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3"/>
                <a:gd name="T34" fmla="*/ 0 h 1071"/>
                <a:gd name="T35" fmla="*/ 973 w 973"/>
                <a:gd name="T36" fmla="*/ 1071 h 1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3" h="1071">
                  <a:moveTo>
                    <a:pt x="973" y="589"/>
                  </a:moveTo>
                  <a:cubicBezTo>
                    <a:pt x="701" y="584"/>
                    <a:pt x="482" y="363"/>
                    <a:pt x="482" y="90"/>
                  </a:cubicBezTo>
                  <a:cubicBezTo>
                    <a:pt x="482" y="90"/>
                    <a:pt x="482" y="89"/>
                    <a:pt x="482" y="89"/>
                  </a:cubicBezTo>
                  <a:cubicBezTo>
                    <a:pt x="482" y="86"/>
                    <a:pt x="482" y="83"/>
                    <a:pt x="482" y="80"/>
                  </a:cubicBezTo>
                  <a:cubicBezTo>
                    <a:pt x="241" y="0"/>
                    <a:pt x="241" y="0"/>
                    <a:pt x="241" y="0"/>
                  </a:cubicBezTo>
                  <a:cubicBezTo>
                    <a:pt x="0" y="80"/>
                    <a:pt x="0" y="80"/>
                    <a:pt x="0" y="80"/>
                  </a:cubicBezTo>
                  <a:cubicBezTo>
                    <a:pt x="0" y="83"/>
                    <a:pt x="0" y="86"/>
                    <a:pt x="0" y="89"/>
                  </a:cubicBezTo>
                  <a:cubicBezTo>
                    <a:pt x="0" y="89"/>
                    <a:pt x="0" y="90"/>
                    <a:pt x="0" y="90"/>
                  </a:cubicBezTo>
                  <a:cubicBezTo>
                    <a:pt x="0" y="628"/>
                    <a:pt x="434" y="1065"/>
                    <a:pt x="971" y="1071"/>
                  </a:cubicBezTo>
                  <a:cubicBezTo>
                    <a:pt x="892" y="833"/>
                    <a:pt x="892" y="833"/>
                    <a:pt x="892" y="833"/>
                  </a:cubicBezTo>
                  <a:lnTo>
                    <a:pt x="973" y="589"/>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72" name="Freeform 6"/>
            <p:cNvSpPr>
              <a:spLocks/>
            </p:cNvSpPr>
            <p:nvPr/>
          </p:nvSpPr>
          <p:spPr bwMode="gray">
            <a:xfrm>
              <a:off x="2691" y="2165"/>
              <a:ext cx="2147" cy="1953"/>
            </a:xfrm>
            <a:custGeom>
              <a:avLst/>
              <a:gdLst>
                <a:gd name="T0" fmla="*/ 1652 w 1072"/>
                <a:gd name="T1" fmla="*/ 164 h 975"/>
                <a:gd name="T2" fmla="*/ 1182 w 1072"/>
                <a:gd name="T3" fmla="*/ 8 h 975"/>
                <a:gd name="T4" fmla="*/ 180 w 1072"/>
                <a:gd name="T5" fmla="*/ 988 h 975"/>
                <a:gd name="T6" fmla="*/ 180 w 1072"/>
                <a:gd name="T7" fmla="*/ 988 h 975"/>
                <a:gd name="T8" fmla="*/ 162 w 1072"/>
                <a:gd name="T9" fmla="*/ 988 h 975"/>
                <a:gd name="T10" fmla="*/ 0 w 1072"/>
                <a:gd name="T11" fmla="*/ 1476 h 975"/>
                <a:gd name="T12" fmla="*/ 158 w 1072"/>
                <a:gd name="T13" fmla="*/ 1953 h 975"/>
                <a:gd name="T14" fmla="*/ 180 w 1072"/>
                <a:gd name="T15" fmla="*/ 1953 h 975"/>
                <a:gd name="T16" fmla="*/ 180 w 1072"/>
                <a:gd name="T17" fmla="*/ 1953 h 975"/>
                <a:gd name="T18" fmla="*/ 2147 w 1072"/>
                <a:gd name="T19" fmla="*/ 0 h 975"/>
                <a:gd name="T20" fmla="*/ 1652 w 1072"/>
                <a:gd name="T21" fmla="*/ 164 h 9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2"/>
                <a:gd name="T34" fmla="*/ 0 h 975"/>
                <a:gd name="T35" fmla="*/ 1072 w 1072"/>
                <a:gd name="T36" fmla="*/ 975 h 9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2" h="975">
                  <a:moveTo>
                    <a:pt x="825" y="82"/>
                  </a:moveTo>
                  <a:cubicBezTo>
                    <a:pt x="590" y="4"/>
                    <a:pt x="590" y="4"/>
                    <a:pt x="590" y="4"/>
                  </a:cubicBezTo>
                  <a:cubicBezTo>
                    <a:pt x="584" y="275"/>
                    <a:pt x="362" y="493"/>
                    <a:pt x="90" y="493"/>
                  </a:cubicBezTo>
                  <a:cubicBezTo>
                    <a:pt x="90" y="493"/>
                    <a:pt x="90" y="493"/>
                    <a:pt x="90" y="493"/>
                  </a:cubicBezTo>
                  <a:cubicBezTo>
                    <a:pt x="87" y="493"/>
                    <a:pt x="84" y="493"/>
                    <a:pt x="81" y="493"/>
                  </a:cubicBezTo>
                  <a:cubicBezTo>
                    <a:pt x="0" y="737"/>
                    <a:pt x="0" y="737"/>
                    <a:pt x="0" y="737"/>
                  </a:cubicBezTo>
                  <a:cubicBezTo>
                    <a:pt x="79" y="975"/>
                    <a:pt x="79" y="975"/>
                    <a:pt x="79" y="975"/>
                  </a:cubicBezTo>
                  <a:cubicBezTo>
                    <a:pt x="83" y="975"/>
                    <a:pt x="86" y="975"/>
                    <a:pt x="90" y="975"/>
                  </a:cubicBezTo>
                  <a:cubicBezTo>
                    <a:pt x="90" y="975"/>
                    <a:pt x="90" y="975"/>
                    <a:pt x="90" y="975"/>
                  </a:cubicBezTo>
                  <a:cubicBezTo>
                    <a:pt x="630" y="975"/>
                    <a:pt x="1068" y="539"/>
                    <a:pt x="1072" y="0"/>
                  </a:cubicBezTo>
                  <a:lnTo>
                    <a:pt x="825" y="82"/>
                  </a:ln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73" name="Freeform 7"/>
            <p:cNvSpPr>
              <a:spLocks/>
            </p:cNvSpPr>
            <p:nvPr/>
          </p:nvSpPr>
          <p:spPr bwMode="gray">
            <a:xfrm>
              <a:off x="2885" y="194"/>
              <a:ext cx="1953" cy="2145"/>
            </a:xfrm>
            <a:custGeom>
              <a:avLst/>
              <a:gdLst>
                <a:gd name="T0" fmla="*/ 1953 w 975"/>
                <a:gd name="T1" fmla="*/ 1965 h 1071"/>
                <a:gd name="T2" fmla="*/ 4 w 975"/>
                <a:gd name="T3" fmla="*/ 0 h 1071"/>
                <a:gd name="T4" fmla="*/ 162 w 975"/>
                <a:gd name="T5" fmla="*/ 477 h 1071"/>
                <a:gd name="T6" fmla="*/ 0 w 975"/>
                <a:gd name="T7" fmla="*/ 965 h 1071"/>
                <a:gd name="T8" fmla="*/ 988 w 975"/>
                <a:gd name="T9" fmla="*/ 1965 h 1071"/>
                <a:gd name="T10" fmla="*/ 988 w 975"/>
                <a:gd name="T11" fmla="*/ 1967 h 1071"/>
                <a:gd name="T12" fmla="*/ 988 w 975"/>
                <a:gd name="T13" fmla="*/ 1989 h 1071"/>
                <a:gd name="T14" fmla="*/ 1458 w 975"/>
                <a:gd name="T15" fmla="*/ 2145 h 1071"/>
                <a:gd name="T16" fmla="*/ 1953 w 975"/>
                <a:gd name="T17" fmla="*/ 1981 h 1071"/>
                <a:gd name="T18" fmla="*/ 1953 w 975"/>
                <a:gd name="T19" fmla="*/ 1967 h 1071"/>
                <a:gd name="T20" fmla="*/ 1953 w 975"/>
                <a:gd name="T21" fmla="*/ 1965 h 1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5"/>
                <a:gd name="T34" fmla="*/ 0 h 1071"/>
                <a:gd name="T35" fmla="*/ 975 w 975"/>
                <a:gd name="T36" fmla="*/ 1071 h 1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5" h="1071">
                  <a:moveTo>
                    <a:pt x="975" y="981"/>
                  </a:moveTo>
                  <a:cubicBezTo>
                    <a:pt x="974" y="442"/>
                    <a:pt x="540" y="5"/>
                    <a:pt x="2" y="0"/>
                  </a:cubicBezTo>
                  <a:cubicBezTo>
                    <a:pt x="81" y="238"/>
                    <a:pt x="81" y="238"/>
                    <a:pt x="81" y="238"/>
                  </a:cubicBezTo>
                  <a:cubicBezTo>
                    <a:pt x="0" y="482"/>
                    <a:pt x="0" y="482"/>
                    <a:pt x="0" y="482"/>
                  </a:cubicBezTo>
                  <a:cubicBezTo>
                    <a:pt x="272" y="486"/>
                    <a:pt x="492" y="708"/>
                    <a:pt x="493" y="981"/>
                  </a:cubicBezTo>
                  <a:cubicBezTo>
                    <a:pt x="493" y="981"/>
                    <a:pt x="493" y="982"/>
                    <a:pt x="493" y="982"/>
                  </a:cubicBezTo>
                  <a:cubicBezTo>
                    <a:pt x="493" y="986"/>
                    <a:pt x="493" y="989"/>
                    <a:pt x="493" y="993"/>
                  </a:cubicBezTo>
                  <a:cubicBezTo>
                    <a:pt x="728" y="1071"/>
                    <a:pt x="728" y="1071"/>
                    <a:pt x="728" y="1071"/>
                  </a:cubicBezTo>
                  <a:cubicBezTo>
                    <a:pt x="975" y="989"/>
                    <a:pt x="975" y="989"/>
                    <a:pt x="975" y="989"/>
                  </a:cubicBezTo>
                  <a:cubicBezTo>
                    <a:pt x="975" y="987"/>
                    <a:pt x="975" y="984"/>
                    <a:pt x="975" y="982"/>
                  </a:cubicBezTo>
                  <a:cubicBezTo>
                    <a:pt x="975" y="982"/>
                    <a:pt x="975" y="981"/>
                    <a:pt x="975" y="981"/>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78" name="Group 3"/>
          <p:cNvGrpSpPr>
            <a:grpSpLocks/>
          </p:cNvGrpSpPr>
          <p:nvPr/>
        </p:nvGrpSpPr>
        <p:grpSpPr bwMode="gray">
          <a:xfrm>
            <a:off x="8473233" y="1373445"/>
            <a:ext cx="1817383" cy="1817392"/>
            <a:chOff x="1266" y="1299"/>
            <a:chExt cx="3183" cy="3186"/>
          </a:xfrm>
          <a:solidFill>
            <a:schemeClr val="bg2">
              <a:lumMod val="60000"/>
              <a:lumOff val="40000"/>
            </a:schemeClr>
          </a:solidFill>
        </p:grpSpPr>
        <p:sp>
          <p:nvSpPr>
            <p:cNvPr id="99" name="Freeform 4"/>
            <p:cNvSpPr>
              <a:spLocks/>
            </p:cNvSpPr>
            <p:nvPr/>
          </p:nvSpPr>
          <p:spPr bwMode="gray">
            <a:xfrm>
              <a:off x="1346" y="1299"/>
              <a:ext cx="1660" cy="1327"/>
            </a:xfrm>
            <a:custGeom>
              <a:avLst/>
              <a:gdLst>
                <a:gd name="T0" fmla="*/ 1531 w 1018"/>
                <a:gd name="T1" fmla="*/ 0 h 813"/>
                <a:gd name="T2" fmla="*/ 1517 w 1018"/>
                <a:gd name="T3" fmla="*/ 0 h 813"/>
                <a:gd name="T4" fmla="*/ 1513 w 1018"/>
                <a:gd name="T5" fmla="*/ 0 h 813"/>
                <a:gd name="T6" fmla="*/ 0 w 1018"/>
                <a:gd name="T7" fmla="*/ 1087 h 813"/>
                <a:gd name="T8" fmla="*/ 422 w 1018"/>
                <a:gd name="T9" fmla="*/ 1089 h 813"/>
                <a:gd name="T10" fmla="*/ 752 w 1018"/>
                <a:gd name="T11" fmla="*/ 1327 h 813"/>
                <a:gd name="T12" fmla="*/ 1513 w 1018"/>
                <a:gd name="T13" fmla="*/ 790 h 813"/>
                <a:gd name="T14" fmla="*/ 1517 w 1018"/>
                <a:gd name="T15" fmla="*/ 790 h 813"/>
                <a:gd name="T16" fmla="*/ 1536 w 1018"/>
                <a:gd name="T17" fmla="*/ 790 h 813"/>
                <a:gd name="T18" fmla="*/ 1660 w 1018"/>
                <a:gd name="T19" fmla="*/ 402 h 813"/>
                <a:gd name="T20" fmla="*/ 1531 w 1018"/>
                <a:gd name="T21" fmla="*/ 0 h 8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18"/>
                <a:gd name="T34" fmla="*/ 0 h 813"/>
                <a:gd name="T35" fmla="*/ 1018 w 1018"/>
                <a:gd name="T36" fmla="*/ 813 h 8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18" h="813">
                  <a:moveTo>
                    <a:pt x="939" y="0"/>
                  </a:moveTo>
                  <a:cubicBezTo>
                    <a:pt x="936" y="0"/>
                    <a:pt x="933" y="0"/>
                    <a:pt x="930" y="0"/>
                  </a:cubicBezTo>
                  <a:cubicBezTo>
                    <a:pt x="929" y="0"/>
                    <a:pt x="929" y="0"/>
                    <a:pt x="928" y="0"/>
                  </a:cubicBezTo>
                  <a:cubicBezTo>
                    <a:pt x="497" y="1"/>
                    <a:pt x="131" y="279"/>
                    <a:pt x="0" y="666"/>
                  </a:cubicBezTo>
                  <a:cubicBezTo>
                    <a:pt x="259" y="667"/>
                    <a:pt x="259" y="667"/>
                    <a:pt x="259" y="667"/>
                  </a:cubicBezTo>
                  <a:cubicBezTo>
                    <a:pt x="461" y="813"/>
                    <a:pt x="461" y="813"/>
                    <a:pt x="461" y="813"/>
                  </a:cubicBezTo>
                  <a:cubicBezTo>
                    <a:pt x="530" y="622"/>
                    <a:pt x="713" y="485"/>
                    <a:pt x="928" y="484"/>
                  </a:cubicBezTo>
                  <a:cubicBezTo>
                    <a:pt x="929" y="484"/>
                    <a:pt x="929" y="484"/>
                    <a:pt x="930" y="484"/>
                  </a:cubicBezTo>
                  <a:cubicBezTo>
                    <a:pt x="934" y="484"/>
                    <a:pt x="938" y="484"/>
                    <a:pt x="942" y="484"/>
                  </a:cubicBezTo>
                  <a:cubicBezTo>
                    <a:pt x="1018" y="246"/>
                    <a:pt x="1018" y="246"/>
                    <a:pt x="1018" y="246"/>
                  </a:cubicBezTo>
                  <a:lnTo>
                    <a:pt x="939" y="0"/>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0" name="Freeform 5"/>
            <p:cNvSpPr>
              <a:spLocks/>
            </p:cNvSpPr>
            <p:nvPr/>
          </p:nvSpPr>
          <p:spPr bwMode="gray">
            <a:xfrm>
              <a:off x="1266" y="2376"/>
              <a:ext cx="1104" cy="1799"/>
            </a:xfrm>
            <a:custGeom>
              <a:avLst/>
              <a:gdLst>
                <a:gd name="T0" fmla="*/ 789 w 677"/>
                <a:gd name="T1" fmla="*/ 516 h 1102"/>
                <a:gd name="T2" fmla="*/ 830 w 677"/>
                <a:gd name="T3" fmla="*/ 261 h 1102"/>
                <a:gd name="T4" fmla="*/ 837 w 677"/>
                <a:gd name="T5" fmla="*/ 240 h 1102"/>
                <a:gd name="T6" fmla="*/ 507 w 677"/>
                <a:gd name="T7" fmla="*/ 2 h 1102"/>
                <a:gd name="T8" fmla="*/ 85 w 677"/>
                <a:gd name="T9" fmla="*/ 0 h 1102"/>
                <a:gd name="T10" fmla="*/ 80 w 677"/>
                <a:gd name="T11" fmla="*/ 18 h 1102"/>
                <a:gd name="T12" fmla="*/ 0 w 677"/>
                <a:gd name="T13" fmla="*/ 516 h 1102"/>
                <a:gd name="T14" fmla="*/ 643 w 677"/>
                <a:gd name="T15" fmla="*/ 1799 h 1102"/>
                <a:gd name="T16" fmla="*/ 773 w 677"/>
                <a:gd name="T17" fmla="*/ 1401 h 1102"/>
                <a:gd name="T18" fmla="*/ 1104 w 677"/>
                <a:gd name="T19" fmla="*/ 1157 h 1102"/>
                <a:gd name="T20" fmla="*/ 789 w 677"/>
                <a:gd name="T21" fmla="*/ 516 h 110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7"/>
                <a:gd name="T34" fmla="*/ 0 h 1102"/>
                <a:gd name="T35" fmla="*/ 677 w 677"/>
                <a:gd name="T36" fmla="*/ 1102 h 110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7" h="1102">
                  <a:moveTo>
                    <a:pt x="484" y="316"/>
                  </a:moveTo>
                  <a:cubicBezTo>
                    <a:pt x="484" y="262"/>
                    <a:pt x="493" y="209"/>
                    <a:pt x="509" y="160"/>
                  </a:cubicBezTo>
                  <a:cubicBezTo>
                    <a:pt x="510" y="156"/>
                    <a:pt x="512" y="151"/>
                    <a:pt x="513" y="147"/>
                  </a:cubicBezTo>
                  <a:cubicBezTo>
                    <a:pt x="311" y="1"/>
                    <a:pt x="311" y="1"/>
                    <a:pt x="311" y="1"/>
                  </a:cubicBezTo>
                  <a:cubicBezTo>
                    <a:pt x="52" y="0"/>
                    <a:pt x="52" y="0"/>
                    <a:pt x="52" y="0"/>
                  </a:cubicBezTo>
                  <a:cubicBezTo>
                    <a:pt x="51" y="4"/>
                    <a:pt x="50" y="7"/>
                    <a:pt x="49" y="11"/>
                  </a:cubicBezTo>
                  <a:cubicBezTo>
                    <a:pt x="17" y="107"/>
                    <a:pt x="0" y="209"/>
                    <a:pt x="0" y="316"/>
                  </a:cubicBezTo>
                  <a:cubicBezTo>
                    <a:pt x="0" y="638"/>
                    <a:pt x="155" y="923"/>
                    <a:pt x="394" y="1102"/>
                  </a:cubicBezTo>
                  <a:cubicBezTo>
                    <a:pt x="474" y="858"/>
                    <a:pt x="474" y="858"/>
                    <a:pt x="474" y="858"/>
                  </a:cubicBezTo>
                  <a:cubicBezTo>
                    <a:pt x="677" y="709"/>
                    <a:pt x="677" y="709"/>
                    <a:pt x="677" y="709"/>
                  </a:cubicBezTo>
                  <a:cubicBezTo>
                    <a:pt x="559" y="618"/>
                    <a:pt x="484" y="476"/>
                    <a:pt x="484" y="316"/>
                  </a:cubicBez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1" name="Freeform 6"/>
            <p:cNvSpPr>
              <a:spLocks/>
            </p:cNvSpPr>
            <p:nvPr/>
          </p:nvSpPr>
          <p:spPr bwMode="gray">
            <a:xfrm>
              <a:off x="1899" y="3524"/>
              <a:ext cx="1882" cy="961"/>
            </a:xfrm>
            <a:custGeom>
              <a:avLst/>
              <a:gdLst>
                <a:gd name="T0" fmla="*/ 1546 w 1154"/>
                <a:gd name="T1" fmla="*/ 423 h 589"/>
                <a:gd name="T2" fmla="*/ 1417 w 1154"/>
                <a:gd name="T3" fmla="*/ 29 h 589"/>
                <a:gd name="T4" fmla="*/ 959 w 1154"/>
                <a:gd name="T5" fmla="*/ 171 h 589"/>
                <a:gd name="T6" fmla="*/ 478 w 1154"/>
                <a:gd name="T7" fmla="*/ 15 h 589"/>
                <a:gd name="T8" fmla="*/ 462 w 1154"/>
                <a:gd name="T9" fmla="*/ 0 h 589"/>
                <a:gd name="T10" fmla="*/ 130 w 1154"/>
                <a:gd name="T11" fmla="*/ 243 h 589"/>
                <a:gd name="T12" fmla="*/ 0 w 1154"/>
                <a:gd name="T13" fmla="*/ 641 h 589"/>
                <a:gd name="T14" fmla="*/ 15 w 1154"/>
                <a:gd name="T15" fmla="*/ 653 h 589"/>
                <a:gd name="T16" fmla="*/ 959 w 1154"/>
                <a:gd name="T17" fmla="*/ 961 h 589"/>
                <a:gd name="T18" fmla="*/ 1882 w 1154"/>
                <a:gd name="T19" fmla="*/ 669 h 589"/>
                <a:gd name="T20" fmla="*/ 1546 w 1154"/>
                <a:gd name="T21" fmla="*/ 423 h 5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4"/>
                <a:gd name="T34" fmla="*/ 0 h 589"/>
                <a:gd name="T35" fmla="*/ 1154 w 1154"/>
                <a:gd name="T36" fmla="*/ 589 h 5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4" h="589">
                  <a:moveTo>
                    <a:pt x="948" y="259"/>
                  </a:moveTo>
                  <a:cubicBezTo>
                    <a:pt x="869" y="18"/>
                    <a:pt x="869" y="18"/>
                    <a:pt x="869" y="18"/>
                  </a:cubicBezTo>
                  <a:cubicBezTo>
                    <a:pt x="789" y="73"/>
                    <a:pt x="692" y="105"/>
                    <a:pt x="588" y="105"/>
                  </a:cubicBezTo>
                  <a:cubicBezTo>
                    <a:pt x="478" y="105"/>
                    <a:pt x="376" y="69"/>
                    <a:pt x="293" y="9"/>
                  </a:cubicBezTo>
                  <a:cubicBezTo>
                    <a:pt x="290" y="6"/>
                    <a:pt x="286" y="3"/>
                    <a:pt x="283" y="0"/>
                  </a:cubicBezTo>
                  <a:cubicBezTo>
                    <a:pt x="80" y="149"/>
                    <a:pt x="80" y="149"/>
                    <a:pt x="80" y="149"/>
                  </a:cubicBezTo>
                  <a:cubicBezTo>
                    <a:pt x="0" y="393"/>
                    <a:pt x="0" y="393"/>
                    <a:pt x="0" y="393"/>
                  </a:cubicBezTo>
                  <a:cubicBezTo>
                    <a:pt x="3" y="396"/>
                    <a:pt x="6" y="398"/>
                    <a:pt x="9" y="400"/>
                  </a:cubicBezTo>
                  <a:cubicBezTo>
                    <a:pt x="171" y="519"/>
                    <a:pt x="371" y="589"/>
                    <a:pt x="588" y="589"/>
                  </a:cubicBezTo>
                  <a:cubicBezTo>
                    <a:pt x="799" y="589"/>
                    <a:pt x="994" y="523"/>
                    <a:pt x="1154" y="410"/>
                  </a:cubicBezTo>
                  <a:lnTo>
                    <a:pt x="948" y="259"/>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2" name="Freeform 7"/>
            <p:cNvSpPr>
              <a:spLocks/>
            </p:cNvSpPr>
            <p:nvPr/>
          </p:nvSpPr>
          <p:spPr bwMode="gray">
            <a:xfrm>
              <a:off x="3306" y="2412"/>
              <a:ext cx="1143" cy="1791"/>
            </a:xfrm>
            <a:custGeom>
              <a:avLst/>
              <a:gdLst>
                <a:gd name="T0" fmla="*/ 1070 w 701"/>
                <a:gd name="T1" fmla="*/ 0 h 1097"/>
                <a:gd name="T2" fmla="*/ 730 w 701"/>
                <a:gd name="T3" fmla="*/ 245 h 1097"/>
                <a:gd name="T4" fmla="*/ 320 w 701"/>
                <a:gd name="T5" fmla="*/ 248 h 1097"/>
                <a:gd name="T6" fmla="*/ 354 w 701"/>
                <a:gd name="T7" fmla="*/ 480 h 1097"/>
                <a:gd name="T8" fmla="*/ 16 w 701"/>
                <a:gd name="T9" fmla="*/ 1140 h 1097"/>
                <a:gd name="T10" fmla="*/ 0 w 701"/>
                <a:gd name="T11" fmla="*/ 1151 h 1097"/>
                <a:gd name="T12" fmla="*/ 129 w 701"/>
                <a:gd name="T13" fmla="*/ 1544 h 1097"/>
                <a:gd name="T14" fmla="*/ 465 w 701"/>
                <a:gd name="T15" fmla="*/ 1791 h 1097"/>
                <a:gd name="T16" fmla="*/ 481 w 701"/>
                <a:gd name="T17" fmla="*/ 1778 h 1097"/>
                <a:gd name="T18" fmla="*/ 1143 w 701"/>
                <a:gd name="T19" fmla="*/ 480 h 1097"/>
                <a:gd name="T20" fmla="*/ 1070 w 701"/>
                <a:gd name="T21" fmla="*/ 0 h 10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1"/>
                <a:gd name="T34" fmla="*/ 0 h 1097"/>
                <a:gd name="T35" fmla="*/ 701 w 701"/>
                <a:gd name="T36" fmla="*/ 1097 h 10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1" h="1097">
                  <a:moveTo>
                    <a:pt x="656" y="0"/>
                  </a:moveTo>
                  <a:cubicBezTo>
                    <a:pt x="448" y="150"/>
                    <a:pt x="448" y="150"/>
                    <a:pt x="448" y="150"/>
                  </a:cubicBezTo>
                  <a:cubicBezTo>
                    <a:pt x="196" y="152"/>
                    <a:pt x="196" y="152"/>
                    <a:pt x="196" y="152"/>
                  </a:cubicBezTo>
                  <a:cubicBezTo>
                    <a:pt x="210" y="197"/>
                    <a:pt x="217" y="244"/>
                    <a:pt x="217" y="294"/>
                  </a:cubicBezTo>
                  <a:cubicBezTo>
                    <a:pt x="217" y="460"/>
                    <a:pt x="136" y="607"/>
                    <a:pt x="10" y="698"/>
                  </a:cubicBezTo>
                  <a:cubicBezTo>
                    <a:pt x="7" y="700"/>
                    <a:pt x="3" y="703"/>
                    <a:pt x="0" y="705"/>
                  </a:cubicBezTo>
                  <a:cubicBezTo>
                    <a:pt x="79" y="946"/>
                    <a:pt x="79" y="946"/>
                    <a:pt x="79" y="946"/>
                  </a:cubicBezTo>
                  <a:cubicBezTo>
                    <a:pt x="285" y="1097"/>
                    <a:pt x="285" y="1097"/>
                    <a:pt x="285" y="1097"/>
                  </a:cubicBezTo>
                  <a:cubicBezTo>
                    <a:pt x="288" y="1094"/>
                    <a:pt x="292" y="1092"/>
                    <a:pt x="295" y="1089"/>
                  </a:cubicBezTo>
                  <a:cubicBezTo>
                    <a:pt x="541" y="911"/>
                    <a:pt x="701" y="621"/>
                    <a:pt x="701" y="294"/>
                  </a:cubicBezTo>
                  <a:cubicBezTo>
                    <a:pt x="701" y="192"/>
                    <a:pt x="685" y="93"/>
                    <a:pt x="656"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3" name="Freeform 8"/>
            <p:cNvSpPr>
              <a:spLocks/>
            </p:cNvSpPr>
            <p:nvPr/>
          </p:nvSpPr>
          <p:spPr bwMode="gray">
            <a:xfrm>
              <a:off x="2864" y="1299"/>
              <a:ext cx="1514" cy="1371"/>
            </a:xfrm>
            <a:custGeom>
              <a:avLst/>
              <a:gdLst>
                <a:gd name="T0" fmla="*/ 1509 w 928"/>
                <a:gd name="T1" fmla="*/ 1105 h 840"/>
                <a:gd name="T2" fmla="*/ 0 w 928"/>
                <a:gd name="T3" fmla="*/ 0 h 840"/>
                <a:gd name="T4" fmla="*/ 129 w 928"/>
                <a:gd name="T5" fmla="*/ 402 h 840"/>
                <a:gd name="T6" fmla="*/ 5 w 928"/>
                <a:gd name="T7" fmla="*/ 790 h 840"/>
                <a:gd name="T8" fmla="*/ 757 w 928"/>
                <a:gd name="T9" fmla="*/ 1350 h 840"/>
                <a:gd name="T10" fmla="*/ 764 w 928"/>
                <a:gd name="T11" fmla="*/ 1371 h 840"/>
                <a:gd name="T12" fmla="*/ 1175 w 928"/>
                <a:gd name="T13" fmla="*/ 1368 h 840"/>
                <a:gd name="T14" fmla="*/ 1514 w 928"/>
                <a:gd name="T15" fmla="*/ 1123 h 840"/>
                <a:gd name="T16" fmla="*/ 1509 w 928"/>
                <a:gd name="T17" fmla="*/ 1105 h 8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8"/>
                <a:gd name="T28" fmla="*/ 0 h 840"/>
                <a:gd name="T29" fmla="*/ 928 w 928"/>
                <a:gd name="T30" fmla="*/ 840 h 8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8" h="840">
                  <a:moveTo>
                    <a:pt x="925" y="677"/>
                  </a:moveTo>
                  <a:cubicBezTo>
                    <a:pt x="797" y="287"/>
                    <a:pt x="432" y="4"/>
                    <a:pt x="0" y="0"/>
                  </a:cubicBezTo>
                  <a:cubicBezTo>
                    <a:pt x="79" y="246"/>
                    <a:pt x="79" y="246"/>
                    <a:pt x="79" y="246"/>
                  </a:cubicBezTo>
                  <a:cubicBezTo>
                    <a:pt x="3" y="484"/>
                    <a:pt x="3" y="484"/>
                    <a:pt x="3" y="484"/>
                  </a:cubicBezTo>
                  <a:cubicBezTo>
                    <a:pt x="218" y="489"/>
                    <a:pt x="400" y="631"/>
                    <a:pt x="464" y="827"/>
                  </a:cubicBezTo>
                  <a:cubicBezTo>
                    <a:pt x="466" y="831"/>
                    <a:pt x="467" y="835"/>
                    <a:pt x="468" y="840"/>
                  </a:cubicBezTo>
                  <a:cubicBezTo>
                    <a:pt x="720" y="838"/>
                    <a:pt x="720" y="838"/>
                    <a:pt x="720" y="838"/>
                  </a:cubicBezTo>
                  <a:cubicBezTo>
                    <a:pt x="928" y="688"/>
                    <a:pt x="928" y="688"/>
                    <a:pt x="928" y="688"/>
                  </a:cubicBezTo>
                  <a:cubicBezTo>
                    <a:pt x="927" y="685"/>
                    <a:pt x="926" y="681"/>
                    <a:pt x="925" y="677"/>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04" name="Group 3"/>
          <p:cNvGrpSpPr>
            <a:grpSpLocks/>
          </p:cNvGrpSpPr>
          <p:nvPr/>
        </p:nvGrpSpPr>
        <p:grpSpPr bwMode="gray">
          <a:xfrm>
            <a:off x="2991103" y="2866147"/>
            <a:ext cx="1817644" cy="1817644"/>
            <a:chOff x="926" y="204"/>
            <a:chExt cx="3910" cy="3910"/>
          </a:xfrm>
          <a:solidFill>
            <a:schemeClr val="bg2">
              <a:lumMod val="60000"/>
              <a:lumOff val="40000"/>
            </a:schemeClr>
          </a:solidFill>
        </p:grpSpPr>
        <p:sp>
          <p:nvSpPr>
            <p:cNvPr id="105" name="Freeform 4"/>
            <p:cNvSpPr>
              <a:spLocks/>
            </p:cNvSpPr>
            <p:nvPr/>
          </p:nvSpPr>
          <p:spPr bwMode="gray">
            <a:xfrm>
              <a:off x="1190" y="204"/>
              <a:ext cx="1869" cy="1438"/>
            </a:xfrm>
            <a:custGeom>
              <a:avLst/>
              <a:gdLst>
                <a:gd name="T0" fmla="*/ 1709 w 933"/>
                <a:gd name="T1" fmla="*/ 0 h 718"/>
                <a:gd name="T2" fmla="*/ 1691 w 933"/>
                <a:gd name="T3" fmla="*/ 0 h 718"/>
                <a:gd name="T4" fmla="*/ 1689 w 933"/>
                <a:gd name="T5" fmla="*/ 0 h 718"/>
                <a:gd name="T6" fmla="*/ 0 w 933"/>
                <a:gd name="T7" fmla="*/ 963 h 718"/>
                <a:gd name="T8" fmla="*/ 511 w 933"/>
                <a:gd name="T9" fmla="*/ 1067 h 718"/>
                <a:gd name="T10" fmla="*/ 839 w 933"/>
                <a:gd name="T11" fmla="*/ 1438 h 718"/>
                <a:gd name="T12" fmla="*/ 1689 w 933"/>
                <a:gd name="T13" fmla="*/ 965 h 718"/>
                <a:gd name="T14" fmla="*/ 1691 w 933"/>
                <a:gd name="T15" fmla="*/ 965 h 718"/>
                <a:gd name="T16" fmla="*/ 1709 w 933"/>
                <a:gd name="T17" fmla="*/ 965 h 718"/>
                <a:gd name="T18" fmla="*/ 1869 w 933"/>
                <a:gd name="T19" fmla="*/ 481 h 718"/>
                <a:gd name="T20" fmla="*/ 1709 w 933"/>
                <a:gd name="T21" fmla="*/ 0 h 7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3"/>
                <a:gd name="T34" fmla="*/ 0 h 718"/>
                <a:gd name="T35" fmla="*/ 933 w 933"/>
                <a:gd name="T36" fmla="*/ 718 h 7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3" h="718">
                  <a:moveTo>
                    <a:pt x="853" y="0"/>
                  </a:moveTo>
                  <a:cubicBezTo>
                    <a:pt x="850" y="0"/>
                    <a:pt x="847" y="0"/>
                    <a:pt x="844" y="0"/>
                  </a:cubicBezTo>
                  <a:cubicBezTo>
                    <a:pt x="844" y="0"/>
                    <a:pt x="843" y="0"/>
                    <a:pt x="843" y="0"/>
                  </a:cubicBezTo>
                  <a:cubicBezTo>
                    <a:pt x="484" y="0"/>
                    <a:pt x="171" y="193"/>
                    <a:pt x="0" y="481"/>
                  </a:cubicBezTo>
                  <a:cubicBezTo>
                    <a:pt x="255" y="533"/>
                    <a:pt x="255" y="533"/>
                    <a:pt x="255" y="533"/>
                  </a:cubicBezTo>
                  <a:cubicBezTo>
                    <a:pt x="419" y="718"/>
                    <a:pt x="419" y="718"/>
                    <a:pt x="419" y="718"/>
                  </a:cubicBezTo>
                  <a:cubicBezTo>
                    <a:pt x="507" y="577"/>
                    <a:pt x="664" y="482"/>
                    <a:pt x="843" y="482"/>
                  </a:cubicBezTo>
                  <a:cubicBezTo>
                    <a:pt x="843" y="482"/>
                    <a:pt x="844" y="482"/>
                    <a:pt x="844" y="482"/>
                  </a:cubicBezTo>
                  <a:cubicBezTo>
                    <a:pt x="847" y="482"/>
                    <a:pt x="850" y="482"/>
                    <a:pt x="853" y="482"/>
                  </a:cubicBezTo>
                  <a:cubicBezTo>
                    <a:pt x="933" y="240"/>
                    <a:pt x="933" y="240"/>
                    <a:pt x="933" y="240"/>
                  </a:cubicBezTo>
                  <a:lnTo>
                    <a:pt x="853" y="0"/>
                  </a:ln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6" name="Freeform 5"/>
            <p:cNvSpPr>
              <a:spLocks/>
            </p:cNvSpPr>
            <p:nvPr/>
          </p:nvSpPr>
          <p:spPr bwMode="gray">
            <a:xfrm>
              <a:off x="926" y="1144"/>
              <a:ext cx="1116" cy="1967"/>
            </a:xfrm>
            <a:custGeom>
              <a:avLst/>
              <a:gdLst>
                <a:gd name="T0" fmla="*/ 1116 w 557"/>
                <a:gd name="T1" fmla="*/ 475 h 982"/>
                <a:gd name="T2" fmla="*/ 787 w 557"/>
                <a:gd name="T3" fmla="*/ 104 h 982"/>
                <a:gd name="T4" fmla="*/ 276 w 557"/>
                <a:gd name="T5" fmla="*/ 0 h 982"/>
                <a:gd name="T6" fmla="*/ 268 w 557"/>
                <a:gd name="T7" fmla="*/ 12 h 982"/>
                <a:gd name="T8" fmla="*/ 0 w 557"/>
                <a:gd name="T9" fmla="*/ 1004 h 982"/>
                <a:gd name="T10" fmla="*/ 252 w 557"/>
                <a:gd name="T11" fmla="*/ 1967 h 982"/>
                <a:gd name="T12" fmla="*/ 589 w 557"/>
                <a:gd name="T13" fmla="*/ 1586 h 982"/>
                <a:gd name="T14" fmla="*/ 1088 w 557"/>
                <a:gd name="T15" fmla="*/ 1484 h 982"/>
                <a:gd name="T16" fmla="*/ 966 w 557"/>
                <a:gd name="T17" fmla="*/ 1004 h 982"/>
                <a:gd name="T18" fmla="*/ 1104 w 557"/>
                <a:gd name="T19" fmla="*/ 495 h 982"/>
                <a:gd name="T20" fmla="*/ 1116 w 557"/>
                <a:gd name="T21" fmla="*/ 475 h 98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7"/>
                <a:gd name="T34" fmla="*/ 0 h 982"/>
                <a:gd name="T35" fmla="*/ 557 w 557"/>
                <a:gd name="T36" fmla="*/ 982 h 98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7" h="982">
                  <a:moveTo>
                    <a:pt x="557" y="237"/>
                  </a:moveTo>
                  <a:cubicBezTo>
                    <a:pt x="393" y="52"/>
                    <a:pt x="393" y="52"/>
                    <a:pt x="393" y="52"/>
                  </a:cubicBezTo>
                  <a:cubicBezTo>
                    <a:pt x="138" y="0"/>
                    <a:pt x="138" y="0"/>
                    <a:pt x="138" y="0"/>
                  </a:cubicBezTo>
                  <a:cubicBezTo>
                    <a:pt x="136" y="2"/>
                    <a:pt x="135" y="4"/>
                    <a:pt x="134" y="6"/>
                  </a:cubicBezTo>
                  <a:cubicBezTo>
                    <a:pt x="49" y="152"/>
                    <a:pt x="0" y="321"/>
                    <a:pt x="0" y="501"/>
                  </a:cubicBezTo>
                  <a:cubicBezTo>
                    <a:pt x="0" y="676"/>
                    <a:pt x="46" y="840"/>
                    <a:pt x="126" y="982"/>
                  </a:cubicBezTo>
                  <a:cubicBezTo>
                    <a:pt x="294" y="792"/>
                    <a:pt x="294" y="792"/>
                    <a:pt x="294" y="792"/>
                  </a:cubicBezTo>
                  <a:cubicBezTo>
                    <a:pt x="543" y="741"/>
                    <a:pt x="543" y="741"/>
                    <a:pt x="543" y="741"/>
                  </a:cubicBezTo>
                  <a:cubicBezTo>
                    <a:pt x="504" y="670"/>
                    <a:pt x="482" y="588"/>
                    <a:pt x="482" y="501"/>
                  </a:cubicBezTo>
                  <a:cubicBezTo>
                    <a:pt x="482" y="408"/>
                    <a:pt x="507" y="322"/>
                    <a:pt x="551" y="247"/>
                  </a:cubicBezTo>
                  <a:cubicBezTo>
                    <a:pt x="553" y="244"/>
                    <a:pt x="555" y="241"/>
                    <a:pt x="557" y="237"/>
                  </a:cubicBez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7" name="Freeform 6"/>
            <p:cNvSpPr>
              <a:spLocks/>
            </p:cNvSpPr>
            <p:nvPr/>
          </p:nvSpPr>
          <p:spPr bwMode="gray">
            <a:xfrm>
              <a:off x="1178" y="2628"/>
              <a:ext cx="1693" cy="1486"/>
            </a:xfrm>
            <a:custGeom>
              <a:avLst/>
              <a:gdLst>
                <a:gd name="T0" fmla="*/ 1529 w 845"/>
                <a:gd name="T1" fmla="*/ 995 h 742"/>
                <a:gd name="T2" fmla="*/ 1687 w 845"/>
                <a:gd name="T3" fmla="*/ 521 h 742"/>
                <a:gd name="T4" fmla="*/ 845 w 845"/>
                <a:gd name="T5" fmla="*/ 18 h 742"/>
                <a:gd name="T6" fmla="*/ 835 w 845"/>
                <a:gd name="T7" fmla="*/ 0 h 742"/>
                <a:gd name="T8" fmla="*/ 337 w 845"/>
                <a:gd name="T9" fmla="*/ 102 h 742"/>
                <a:gd name="T10" fmla="*/ 0 w 845"/>
                <a:gd name="T11" fmla="*/ 483 h 742"/>
                <a:gd name="T12" fmla="*/ 10 w 845"/>
                <a:gd name="T13" fmla="*/ 501 h 742"/>
                <a:gd name="T14" fmla="*/ 1693 w 845"/>
                <a:gd name="T15" fmla="*/ 1486 h 742"/>
                <a:gd name="T16" fmla="*/ 1529 w 845"/>
                <a:gd name="T17" fmla="*/ 995 h 7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5"/>
                <a:gd name="T28" fmla="*/ 0 h 742"/>
                <a:gd name="T29" fmla="*/ 845 w 845"/>
                <a:gd name="T30" fmla="*/ 742 h 7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5" h="742">
                  <a:moveTo>
                    <a:pt x="763" y="497"/>
                  </a:moveTo>
                  <a:cubicBezTo>
                    <a:pt x="842" y="260"/>
                    <a:pt x="842" y="260"/>
                    <a:pt x="842" y="260"/>
                  </a:cubicBezTo>
                  <a:cubicBezTo>
                    <a:pt x="662" y="255"/>
                    <a:pt x="506" y="155"/>
                    <a:pt x="422" y="9"/>
                  </a:cubicBezTo>
                  <a:cubicBezTo>
                    <a:pt x="420" y="6"/>
                    <a:pt x="419" y="3"/>
                    <a:pt x="417" y="0"/>
                  </a:cubicBezTo>
                  <a:cubicBezTo>
                    <a:pt x="168" y="51"/>
                    <a:pt x="168" y="51"/>
                    <a:pt x="168" y="51"/>
                  </a:cubicBezTo>
                  <a:cubicBezTo>
                    <a:pt x="0" y="241"/>
                    <a:pt x="0" y="241"/>
                    <a:pt x="0" y="241"/>
                  </a:cubicBezTo>
                  <a:cubicBezTo>
                    <a:pt x="1" y="244"/>
                    <a:pt x="3" y="247"/>
                    <a:pt x="5" y="250"/>
                  </a:cubicBezTo>
                  <a:cubicBezTo>
                    <a:pt x="172" y="541"/>
                    <a:pt x="485" y="738"/>
                    <a:pt x="845" y="742"/>
                  </a:cubicBezTo>
                  <a:lnTo>
                    <a:pt x="763" y="497"/>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8" name="Freeform 7"/>
            <p:cNvSpPr>
              <a:spLocks/>
            </p:cNvSpPr>
            <p:nvPr/>
          </p:nvSpPr>
          <p:spPr bwMode="gray">
            <a:xfrm>
              <a:off x="2695" y="2664"/>
              <a:ext cx="1885" cy="1450"/>
            </a:xfrm>
            <a:custGeom>
              <a:avLst/>
              <a:gdLst>
                <a:gd name="T0" fmla="*/ 1376 w 941"/>
                <a:gd name="T1" fmla="*/ 373 h 724"/>
                <a:gd name="T2" fmla="*/ 1046 w 941"/>
                <a:gd name="T3" fmla="*/ 0 h 724"/>
                <a:gd name="T4" fmla="*/ 186 w 941"/>
                <a:gd name="T5" fmla="*/ 485 h 724"/>
                <a:gd name="T6" fmla="*/ 182 w 941"/>
                <a:gd name="T7" fmla="*/ 485 h 724"/>
                <a:gd name="T8" fmla="*/ 158 w 941"/>
                <a:gd name="T9" fmla="*/ 485 h 724"/>
                <a:gd name="T10" fmla="*/ 0 w 941"/>
                <a:gd name="T11" fmla="*/ 959 h 724"/>
                <a:gd name="T12" fmla="*/ 164 w 941"/>
                <a:gd name="T13" fmla="*/ 1450 h 724"/>
                <a:gd name="T14" fmla="*/ 180 w 941"/>
                <a:gd name="T15" fmla="*/ 1450 h 724"/>
                <a:gd name="T16" fmla="*/ 186 w 941"/>
                <a:gd name="T17" fmla="*/ 1450 h 724"/>
                <a:gd name="T18" fmla="*/ 1885 w 941"/>
                <a:gd name="T19" fmla="*/ 477 h 724"/>
                <a:gd name="T20" fmla="*/ 1376 w 941"/>
                <a:gd name="T21" fmla="*/ 373 h 7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41"/>
                <a:gd name="T34" fmla="*/ 0 h 724"/>
                <a:gd name="T35" fmla="*/ 941 w 941"/>
                <a:gd name="T36" fmla="*/ 724 h 7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41" h="724">
                  <a:moveTo>
                    <a:pt x="687" y="186"/>
                  </a:moveTo>
                  <a:cubicBezTo>
                    <a:pt x="522" y="0"/>
                    <a:pt x="522" y="0"/>
                    <a:pt x="522" y="0"/>
                  </a:cubicBezTo>
                  <a:cubicBezTo>
                    <a:pt x="434" y="145"/>
                    <a:pt x="275" y="242"/>
                    <a:pt x="93" y="242"/>
                  </a:cubicBezTo>
                  <a:cubicBezTo>
                    <a:pt x="92" y="242"/>
                    <a:pt x="91" y="242"/>
                    <a:pt x="91" y="242"/>
                  </a:cubicBezTo>
                  <a:cubicBezTo>
                    <a:pt x="87" y="242"/>
                    <a:pt x="83" y="242"/>
                    <a:pt x="79" y="242"/>
                  </a:cubicBezTo>
                  <a:cubicBezTo>
                    <a:pt x="0" y="479"/>
                    <a:pt x="0" y="479"/>
                    <a:pt x="0" y="479"/>
                  </a:cubicBezTo>
                  <a:cubicBezTo>
                    <a:pt x="82" y="724"/>
                    <a:pt x="82" y="724"/>
                    <a:pt x="82" y="724"/>
                  </a:cubicBezTo>
                  <a:cubicBezTo>
                    <a:pt x="85" y="724"/>
                    <a:pt x="88" y="724"/>
                    <a:pt x="90" y="724"/>
                  </a:cubicBezTo>
                  <a:cubicBezTo>
                    <a:pt x="91" y="724"/>
                    <a:pt x="92" y="724"/>
                    <a:pt x="93" y="724"/>
                  </a:cubicBezTo>
                  <a:cubicBezTo>
                    <a:pt x="454" y="724"/>
                    <a:pt x="770" y="529"/>
                    <a:pt x="941" y="238"/>
                  </a:cubicBezTo>
                  <a:lnTo>
                    <a:pt x="687" y="186"/>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09" name="Freeform 8"/>
            <p:cNvSpPr>
              <a:spLocks/>
            </p:cNvSpPr>
            <p:nvPr/>
          </p:nvSpPr>
          <p:spPr bwMode="gray">
            <a:xfrm>
              <a:off x="3728" y="1184"/>
              <a:ext cx="1108" cy="1969"/>
            </a:xfrm>
            <a:custGeom>
              <a:avLst/>
              <a:gdLst>
                <a:gd name="T0" fmla="*/ 850 w 553"/>
                <a:gd name="T1" fmla="*/ 0 h 983"/>
                <a:gd name="T2" fmla="*/ 503 w 553"/>
                <a:gd name="T3" fmla="*/ 391 h 983"/>
                <a:gd name="T4" fmla="*/ 18 w 553"/>
                <a:gd name="T5" fmla="*/ 491 h 983"/>
                <a:gd name="T6" fmla="*/ 142 w 553"/>
                <a:gd name="T7" fmla="*/ 975 h 983"/>
                <a:gd name="T8" fmla="*/ 10 w 553"/>
                <a:gd name="T9" fmla="*/ 1472 h 983"/>
                <a:gd name="T10" fmla="*/ 0 w 553"/>
                <a:gd name="T11" fmla="*/ 1492 h 983"/>
                <a:gd name="T12" fmla="*/ 331 w 553"/>
                <a:gd name="T13" fmla="*/ 1865 h 983"/>
                <a:gd name="T14" fmla="*/ 840 w 553"/>
                <a:gd name="T15" fmla="*/ 1969 h 983"/>
                <a:gd name="T16" fmla="*/ 848 w 553"/>
                <a:gd name="T17" fmla="*/ 1955 h 983"/>
                <a:gd name="T18" fmla="*/ 1108 w 553"/>
                <a:gd name="T19" fmla="*/ 975 h 983"/>
                <a:gd name="T20" fmla="*/ 850 w 553"/>
                <a:gd name="T21" fmla="*/ 0 h 9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3"/>
                <a:gd name="T34" fmla="*/ 0 h 983"/>
                <a:gd name="T35" fmla="*/ 553 w 553"/>
                <a:gd name="T36" fmla="*/ 983 h 9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3" h="983">
                  <a:moveTo>
                    <a:pt x="424" y="0"/>
                  </a:moveTo>
                  <a:cubicBezTo>
                    <a:pt x="251" y="195"/>
                    <a:pt x="251" y="195"/>
                    <a:pt x="251" y="195"/>
                  </a:cubicBezTo>
                  <a:cubicBezTo>
                    <a:pt x="9" y="245"/>
                    <a:pt x="9" y="245"/>
                    <a:pt x="9" y="245"/>
                  </a:cubicBezTo>
                  <a:cubicBezTo>
                    <a:pt x="48" y="317"/>
                    <a:pt x="71" y="399"/>
                    <a:pt x="71" y="487"/>
                  </a:cubicBezTo>
                  <a:cubicBezTo>
                    <a:pt x="71" y="577"/>
                    <a:pt x="47" y="662"/>
                    <a:pt x="5" y="735"/>
                  </a:cubicBezTo>
                  <a:cubicBezTo>
                    <a:pt x="3" y="738"/>
                    <a:pt x="1" y="741"/>
                    <a:pt x="0" y="745"/>
                  </a:cubicBezTo>
                  <a:cubicBezTo>
                    <a:pt x="165" y="931"/>
                    <a:pt x="165" y="931"/>
                    <a:pt x="165" y="931"/>
                  </a:cubicBezTo>
                  <a:cubicBezTo>
                    <a:pt x="419" y="983"/>
                    <a:pt x="419" y="983"/>
                    <a:pt x="419" y="983"/>
                  </a:cubicBezTo>
                  <a:cubicBezTo>
                    <a:pt x="420" y="981"/>
                    <a:pt x="421" y="978"/>
                    <a:pt x="423" y="976"/>
                  </a:cubicBezTo>
                  <a:cubicBezTo>
                    <a:pt x="506" y="832"/>
                    <a:pt x="553" y="665"/>
                    <a:pt x="553" y="487"/>
                  </a:cubicBezTo>
                  <a:cubicBezTo>
                    <a:pt x="553" y="310"/>
                    <a:pt x="506" y="144"/>
                    <a:pt x="424"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0" name="Freeform 9"/>
            <p:cNvSpPr>
              <a:spLocks/>
            </p:cNvSpPr>
            <p:nvPr/>
          </p:nvSpPr>
          <p:spPr bwMode="gray">
            <a:xfrm>
              <a:off x="2887" y="204"/>
              <a:ext cx="1691" cy="1482"/>
            </a:xfrm>
            <a:custGeom>
              <a:avLst/>
              <a:gdLst>
                <a:gd name="T0" fmla="*/ 1683 w 844"/>
                <a:gd name="T1" fmla="*/ 977 h 740"/>
                <a:gd name="T2" fmla="*/ 0 w 844"/>
                <a:gd name="T3" fmla="*/ 0 h 740"/>
                <a:gd name="T4" fmla="*/ 160 w 844"/>
                <a:gd name="T5" fmla="*/ 481 h 740"/>
                <a:gd name="T6" fmla="*/ 0 w 844"/>
                <a:gd name="T7" fmla="*/ 965 h 740"/>
                <a:gd name="T8" fmla="*/ 848 w 844"/>
                <a:gd name="T9" fmla="*/ 1460 h 740"/>
                <a:gd name="T10" fmla="*/ 860 w 844"/>
                <a:gd name="T11" fmla="*/ 1482 h 740"/>
                <a:gd name="T12" fmla="*/ 1344 w 844"/>
                <a:gd name="T13" fmla="*/ 1382 h 740"/>
                <a:gd name="T14" fmla="*/ 1691 w 844"/>
                <a:gd name="T15" fmla="*/ 991 h 740"/>
                <a:gd name="T16" fmla="*/ 1683 w 844"/>
                <a:gd name="T17" fmla="*/ 977 h 7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4"/>
                <a:gd name="T28" fmla="*/ 0 h 740"/>
                <a:gd name="T29" fmla="*/ 844 w 844"/>
                <a:gd name="T30" fmla="*/ 740 h 7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4" h="740">
                  <a:moveTo>
                    <a:pt x="840" y="488"/>
                  </a:moveTo>
                  <a:cubicBezTo>
                    <a:pt x="671" y="199"/>
                    <a:pt x="359" y="3"/>
                    <a:pt x="0" y="0"/>
                  </a:cubicBezTo>
                  <a:cubicBezTo>
                    <a:pt x="80" y="240"/>
                    <a:pt x="80" y="240"/>
                    <a:pt x="80" y="240"/>
                  </a:cubicBezTo>
                  <a:cubicBezTo>
                    <a:pt x="0" y="482"/>
                    <a:pt x="0" y="482"/>
                    <a:pt x="0" y="482"/>
                  </a:cubicBezTo>
                  <a:cubicBezTo>
                    <a:pt x="180" y="485"/>
                    <a:pt x="337" y="584"/>
                    <a:pt x="423" y="729"/>
                  </a:cubicBezTo>
                  <a:cubicBezTo>
                    <a:pt x="425" y="733"/>
                    <a:pt x="427" y="736"/>
                    <a:pt x="429" y="740"/>
                  </a:cubicBezTo>
                  <a:cubicBezTo>
                    <a:pt x="671" y="690"/>
                    <a:pt x="671" y="690"/>
                    <a:pt x="671" y="690"/>
                  </a:cubicBezTo>
                  <a:cubicBezTo>
                    <a:pt x="844" y="495"/>
                    <a:pt x="844" y="495"/>
                    <a:pt x="844" y="495"/>
                  </a:cubicBezTo>
                  <a:cubicBezTo>
                    <a:pt x="843" y="493"/>
                    <a:pt x="841" y="491"/>
                    <a:pt x="840" y="488"/>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11" name="Group 3"/>
          <p:cNvGrpSpPr>
            <a:grpSpLocks/>
          </p:cNvGrpSpPr>
          <p:nvPr/>
        </p:nvGrpSpPr>
        <p:grpSpPr bwMode="gray">
          <a:xfrm>
            <a:off x="5197848" y="2870797"/>
            <a:ext cx="1799048" cy="1798119"/>
            <a:chOff x="956" y="216"/>
            <a:chExt cx="3870" cy="3868"/>
          </a:xfrm>
          <a:solidFill>
            <a:schemeClr val="bg2">
              <a:lumMod val="60000"/>
              <a:lumOff val="40000"/>
            </a:schemeClr>
          </a:solidFill>
        </p:grpSpPr>
        <p:sp>
          <p:nvSpPr>
            <p:cNvPr id="112" name="Freeform 4"/>
            <p:cNvSpPr>
              <a:spLocks/>
            </p:cNvSpPr>
            <p:nvPr/>
          </p:nvSpPr>
          <p:spPr bwMode="gray">
            <a:xfrm>
              <a:off x="1377" y="216"/>
              <a:ext cx="1700" cy="1320"/>
            </a:xfrm>
            <a:custGeom>
              <a:avLst/>
              <a:gdLst>
                <a:gd name="T0" fmla="*/ 1540 w 849"/>
                <a:gd name="T1" fmla="*/ 0 h 659"/>
                <a:gd name="T2" fmla="*/ 1524 w 849"/>
                <a:gd name="T3" fmla="*/ 0 h 659"/>
                <a:gd name="T4" fmla="*/ 1520 w 849"/>
                <a:gd name="T5" fmla="*/ 0 h 659"/>
                <a:gd name="T6" fmla="*/ 0 w 849"/>
                <a:gd name="T7" fmla="*/ 723 h 659"/>
                <a:gd name="T8" fmla="*/ 489 w 849"/>
                <a:gd name="T9" fmla="*/ 903 h 659"/>
                <a:gd name="T10" fmla="*/ 759 w 849"/>
                <a:gd name="T11" fmla="*/ 1320 h 659"/>
                <a:gd name="T12" fmla="*/ 1520 w 849"/>
                <a:gd name="T13" fmla="*/ 965 h 659"/>
                <a:gd name="T14" fmla="*/ 1524 w 849"/>
                <a:gd name="T15" fmla="*/ 965 h 659"/>
                <a:gd name="T16" fmla="*/ 1540 w 849"/>
                <a:gd name="T17" fmla="*/ 965 h 659"/>
                <a:gd name="T18" fmla="*/ 1700 w 849"/>
                <a:gd name="T19" fmla="*/ 485 h 659"/>
                <a:gd name="T20" fmla="*/ 1540 w 849"/>
                <a:gd name="T21" fmla="*/ 0 h 6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49"/>
                <a:gd name="T34" fmla="*/ 0 h 659"/>
                <a:gd name="T35" fmla="*/ 849 w 849"/>
                <a:gd name="T36" fmla="*/ 659 h 6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49" h="659">
                  <a:moveTo>
                    <a:pt x="769" y="0"/>
                  </a:moveTo>
                  <a:cubicBezTo>
                    <a:pt x="766" y="0"/>
                    <a:pt x="763" y="0"/>
                    <a:pt x="761" y="0"/>
                  </a:cubicBezTo>
                  <a:cubicBezTo>
                    <a:pt x="760" y="0"/>
                    <a:pt x="760" y="0"/>
                    <a:pt x="759" y="0"/>
                  </a:cubicBezTo>
                  <a:cubicBezTo>
                    <a:pt x="453" y="1"/>
                    <a:pt x="180" y="141"/>
                    <a:pt x="0" y="361"/>
                  </a:cubicBezTo>
                  <a:cubicBezTo>
                    <a:pt x="244" y="451"/>
                    <a:pt x="244" y="451"/>
                    <a:pt x="244" y="451"/>
                  </a:cubicBezTo>
                  <a:cubicBezTo>
                    <a:pt x="379" y="659"/>
                    <a:pt x="379" y="659"/>
                    <a:pt x="379" y="659"/>
                  </a:cubicBezTo>
                  <a:cubicBezTo>
                    <a:pt x="471" y="551"/>
                    <a:pt x="607" y="483"/>
                    <a:pt x="759" y="482"/>
                  </a:cubicBezTo>
                  <a:cubicBezTo>
                    <a:pt x="760" y="482"/>
                    <a:pt x="760" y="482"/>
                    <a:pt x="761" y="482"/>
                  </a:cubicBezTo>
                  <a:cubicBezTo>
                    <a:pt x="764" y="482"/>
                    <a:pt x="766" y="482"/>
                    <a:pt x="769" y="482"/>
                  </a:cubicBezTo>
                  <a:cubicBezTo>
                    <a:pt x="849" y="242"/>
                    <a:pt x="849" y="242"/>
                    <a:pt x="849" y="242"/>
                  </a:cubicBezTo>
                  <a:lnTo>
                    <a:pt x="769" y="0"/>
                  </a:ln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3" name="Freeform 5"/>
            <p:cNvSpPr>
              <a:spLocks/>
            </p:cNvSpPr>
            <p:nvPr/>
          </p:nvSpPr>
          <p:spPr bwMode="gray">
            <a:xfrm>
              <a:off x="956" y="917"/>
              <a:ext cx="1202" cy="1661"/>
            </a:xfrm>
            <a:custGeom>
              <a:avLst/>
              <a:gdLst>
                <a:gd name="T0" fmla="*/ 1202 w 600"/>
                <a:gd name="T1" fmla="*/ 597 h 829"/>
                <a:gd name="T2" fmla="*/ 932 w 600"/>
                <a:gd name="T3" fmla="*/ 180 h 829"/>
                <a:gd name="T4" fmla="*/ 443 w 600"/>
                <a:gd name="T5" fmla="*/ 0 h 829"/>
                <a:gd name="T6" fmla="*/ 433 w 600"/>
                <a:gd name="T7" fmla="*/ 12 h 829"/>
                <a:gd name="T8" fmla="*/ 0 w 600"/>
                <a:gd name="T9" fmla="*/ 1244 h 829"/>
                <a:gd name="T10" fmla="*/ 44 w 600"/>
                <a:gd name="T11" fmla="*/ 1661 h 829"/>
                <a:gd name="T12" fmla="*/ 483 w 600"/>
                <a:gd name="T13" fmla="*/ 1395 h 829"/>
                <a:gd name="T14" fmla="*/ 986 w 600"/>
                <a:gd name="T15" fmla="*/ 1445 h 829"/>
                <a:gd name="T16" fmla="*/ 966 w 600"/>
                <a:gd name="T17" fmla="*/ 1244 h 829"/>
                <a:gd name="T18" fmla="*/ 1188 w 600"/>
                <a:gd name="T19" fmla="*/ 615 h 829"/>
                <a:gd name="T20" fmla="*/ 1202 w 600"/>
                <a:gd name="T21" fmla="*/ 597 h 8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0"/>
                <a:gd name="T34" fmla="*/ 0 h 829"/>
                <a:gd name="T35" fmla="*/ 600 w 600"/>
                <a:gd name="T36" fmla="*/ 829 h 8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0" h="829">
                  <a:moveTo>
                    <a:pt x="600" y="298"/>
                  </a:moveTo>
                  <a:cubicBezTo>
                    <a:pt x="465" y="90"/>
                    <a:pt x="465" y="90"/>
                    <a:pt x="465" y="90"/>
                  </a:cubicBezTo>
                  <a:cubicBezTo>
                    <a:pt x="221" y="0"/>
                    <a:pt x="221" y="0"/>
                    <a:pt x="221" y="0"/>
                  </a:cubicBezTo>
                  <a:cubicBezTo>
                    <a:pt x="219" y="2"/>
                    <a:pt x="218" y="4"/>
                    <a:pt x="216" y="6"/>
                  </a:cubicBezTo>
                  <a:cubicBezTo>
                    <a:pt x="81" y="175"/>
                    <a:pt x="0" y="388"/>
                    <a:pt x="0" y="621"/>
                  </a:cubicBezTo>
                  <a:cubicBezTo>
                    <a:pt x="0" y="692"/>
                    <a:pt x="7" y="762"/>
                    <a:pt x="22" y="829"/>
                  </a:cubicBezTo>
                  <a:cubicBezTo>
                    <a:pt x="241" y="696"/>
                    <a:pt x="241" y="696"/>
                    <a:pt x="241" y="696"/>
                  </a:cubicBezTo>
                  <a:cubicBezTo>
                    <a:pt x="492" y="721"/>
                    <a:pt x="492" y="721"/>
                    <a:pt x="492" y="721"/>
                  </a:cubicBezTo>
                  <a:cubicBezTo>
                    <a:pt x="485" y="688"/>
                    <a:pt x="482" y="655"/>
                    <a:pt x="482" y="621"/>
                  </a:cubicBezTo>
                  <a:cubicBezTo>
                    <a:pt x="482" y="502"/>
                    <a:pt x="523" y="393"/>
                    <a:pt x="593" y="307"/>
                  </a:cubicBezTo>
                  <a:cubicBezTo>
                    <a:pt x="595" y="304"/>
                    <a:pt x="598" y="301"/>
                    <a:pt x="600" y="298"/>
                  </a:cubicBez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4" name="Freeform 6"/>
            <p:cNvSpPr>
              <a:spLocks/>
            </p:cNvSpPr>
            <p:nvPr/>
          </p:nvSpPr>
          <p:spPr bwMode="gray">
            <a:xfrm>
              <a:off x="994" y="2275"/>
              <a:ext cx="1462" cy="1613"/>
            </a:xfrm>
            <a:custGeom>
              <a:avLst/>
              <a:gdLst>
                <a:gd name="T0" fmla="*/ 945 w 730"/>
                <a:gd name="T1" fmla="*/ 70 h 805"/>
                <a:gd name="T2" fmla="*/ 941 w 730"/>
                <a:gd name="T3" fmla="*/ 50 h 805"/>
                <a:gd name="T4" fmla="*/ 439 w 730"/>
                <a:gd name="T5" fmla="*/ 0 h 805"/>
                <a:gd name="T6" fmla="*/ 0 w 730"/>
                <a:gd name="T7" fmla="*/ 266 h 805"/>
                <a:gd name="T8" fmla="*/ 4 w 730"/>
                <a:gd name="T9" fmla="*/ 285 h 805"/>
                <a:gd name="T10" fmla="*/ 1047 w 730"/>
                <a:gd name="T11" fmla="*/ 1613 h 805"/>
                <a:gd name="T12" fmla="*/ 1116 w 730"/>
                <a:gd name="T13" fmla="*/ 1098 h 805"/>
                <a:gd name="T14" fmla="*/ 1462 w 730"/>
                <a:gd name="T15" fmla="*/ 739 h 805"/>
                <a:gd name="T16" fmla="*/ 945 w 730"/>
                <a:gd name="T17" fmla="*/ 70 h 8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0"/>
                <a:gd name="T28" fmla="*/ 0 h 805"/>
                <a:gd name="T29" fmla="*/ 730 w 730"/>
                <a:gd name="T30" fmla="*/ 805 h 8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0" h="805">
                  <a:moveTo>
                    <a:pt x="472" y="35"/>
                  </a:moveTo>
                  <a:cubicBezTo>
                    <a:pt x="471" y="32"/>
                    <a:pt x="470" y="28"/>
                    <a:pt x="470" y="25"/>
                  </a:cubicBezTo>
                  <a:cubicBezTo>
                    <a:pt x="219" y="0"/>
                    <a:pt x="219" y="0"/>
                    <a:pt x="219" y="0"/>
                  </a:cubicBezTo>
                  <a:cubicBezTo>
                    <a:pt x="0" y="133"/>
                    <a:pt x="0" y="133"/>
                    <a:pt x="0" y="133"/>
                  </a:cubicBezTo>
                  <a:cubicBezTo>
                    <a:pt x="1" y="136"/>
                    <a:pt x="1" y="139"/>
                    <a:pt x="2" y="142"/>
                  </a:cubicBezTo>
                  <a:cubicBezTo>
                    <a:pt x="68" y="433"/>
                    <a:pt x="263" y="675"/>
                    <a:pt x="523" y="805"/>
                  </a:cubicBezTo>
                  <a:cubicBezTo>
                    <a:pt x="557" y="548"/>
                    <a:pt x="557" y="548"/>
                    <a:pt x="557" y="548"/>
                  </a:cubicBezTo>
                  <a:cubicBezTo>
                    <a:pt x="730" y="369"/>
                    <a:pt x="730" y="369"/>
                    <a:pt x="730" y="369"/>
                  </a:cubicBezTo>
                  <a:cubicBezTo>
                    <a:pt x="601" y="302"/>
                    <a:pt x="505" y="181"/>
                    <a:pt x="472" y="35"/>
                  </a:cubicBez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5" name="Freeform 7"/>
            <p:cNvSpPr>
              <a:spLocks/>
            </p:cNvSpPr>
            <p:nvPr/>
          </p:nvSpPr>
          <p:spPr bwMode="gray">
            <a:xfrm>
              <a:off x="2024" y="3006"/>
              <a:ext cx="1712" cy="1078"/>
            </a:xfrm>
            <a:custGeom>
              <a:avLst/>
              <a:gdLst>
                <a:gd name="T0" fmla="*/ 1366 w 855"/>
                <a:gd name="T1" fmla="*/ 531 h 538"/>
                <a:gd name="T2" fmla="*/ 1300 w 855"/>
                <a:gd name="T3" fmla="*/ 18 h 538"/>
                <a:gd name="T4" fmla="*/ 875 w 855"/>
                <a:gd name="T5" fmla="*/ 112 h 538"/>
                <a:gd name="T6" fmla="*/ 435 w 855"/>
                <a:gd name="T7" fmla="*/ 10 h 538"/>
                <a:gd name="T8" fmla="*/ 414 w 855"/>
                <a:gd name="T9" fmla="*/ 0 h 538"/>
                <a:gd name="T10" fmla="*/ 68 w 855"/>
                <a:gd name="T11" fmla="*/ 359 h 538"/>
                <a:gd name="T12" fmla="*/ 0 w 855"/>
                <a:gd name="T13" fmla="*/ 874 h 538"/>
                <a:gd name="T14" fmla="*/ 16 w 855"/>
                <a:gd name="T15" fmla="*/ 882 h 538"/>
                <a:gd name="T16" fmla="*/ 875 w 855"/>
                <a:gd name="T17" fmla="*/ 1078 h 538"/>
                <a:gd name="T18" fmla="*/ 1712 w 855"/>
                <a:gd name="T19" fmla="*/ 890 h 538"/>
                <a:gd name="T20" fmla="*/ 1366 w 855"/>
                <a:gd name="T21" fmla="*/ 531 h 5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5"/>
                <a:gd name="T34" fmla="*/ 0 h 538"/>
                <a:gd name="T35" fmla="*/ 855 w 855"/>
                <a:gd name="T36" fmla="*/ 538 h 5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5" h="538">
                  <a:moveTo>
                    <a:pt x="682" y="265"/>
                  </a:moveTo>
                  <a:cubicBezTo>
                    <a:pt x="649" y="9"/>
                    <a:pt x="649" y="9"/>
                    <a:pt x="649" y="9"/>
                  </a:cubicBezTo>
                  <a:cubicBezTo>
                    <a:pt x="584" y="39"/>
                    <a:pt x="512" y="56"/>
                    <a:pt x="437" y="56"/>
                  </a:cubicBezTo>
                  <a:cubicBezTo>
                    <a:pt x="358" y="56"/>
                    <a:pt x="283" y="38"/>
                    <a:pt x="217" y="5"/>
                  </a:cubicBezTo>
                  <a:cubicBezTo>
                    <a:pt x="214" y="4"/>
                    <a:pt x="210" y="2"/>
                    <a:pt x="207" y="0"/>
                  </a:cubicBezTo>
                  <a:cubicBezTo>
                    <a:pt x="34" y="179"/>
                    <a:pt x="34" y="179"/>
                    <a:pt x="34" y="179"/>
                  </a:cubicBezTo>
                  <a:cubicBezTo>
                    <a:pt x="0" y="436"/>
                    <a:pt x="0" y="436"/>
                    <a:pt x="0" y="436"/>
                  </a:cubicBezTo>
                  <a:cubicBezTo>
                    <a:pt x="3" y="437"/>
                    <a:pt x="5" y="438"/>
                    <a:pt x="8" y="440"/>
                  </a:cubicBezTo>
                  <a:cubicBezTo>
                    <a:pt x="137" y="503"/>
                    <a:pt x="283" y="538"/>
                    <a:pt x="437" y="538"/>
                  </a:cubicBezTo>
                  <a:cubicBezTo>
                    <a:pt x="586" y="538"/>
                    <a:pt x="728" y="504"/>
                    <a:pt x="855" y="444"/>
                  </a:cubicBezTo>
                  <a:lnTo>
                    <a:pt x="682" y="265"/>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6" name="Freeform 8"/>
            <p:cNvSpPr>
              <a:spLocks/>
            </p:cNvSpPr>
            <p:nvPr/>
          </p:nvSpPr>
          <p:spPr bwMode="gray">
            <a:xfrm>
              <a:off x="3296" y="2361"/>
              <a:ext cx="1490" cy="1545"/>
            </a:xfrm>
            <a:custGeom>
              <a:avLst/>
              <a:gdLst>
                <a:gd name="T0" fmla="*/ 989 w 744"/>
                <a:gd name="T1" fmla="*/ 267 h 771"/>
                <a:gd name="T2" fmla="*/ 549 w 744"/>
                <a:gd name="T3" fmla="*/ 0 h 771"/>
                <a:gd name="T4" fmla="*/ 14 w 744"/>
                <a:gd name="T5" fmla="*/ 665 h 771"/>
                <a:gd name="T6" fmla="*/ 0 w 744"/>
                <a:gd name="T7" fmla="*/ 673 h 771"/>
                <a:gd name="T8" fmla="*/ 66 w 744"/>
                <a:gd name="T9" fmla="*/ 1186 h 771"/>
                <a:gd name="T10" fmla="*/ 413 w 744"/>
                <a:gd name="T11" fmla="*/ 1545 h 771"/>
                <a:gd name="T12" fmla="*/ 435 w 744"/>
                <a:gd name="T13" fmla="*/ 1537 h 771"/>
                <a:gd name="T14" fmla="*/ 1490 w 744"/>
                <a:gd name="T15" fmla="*/ 218 h 771"/>
                <a:gd name="T16" fmla="*/ 989 w 744"/>
                <a:gd name="T17" fmla="*/ 267 h 7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4"/>
                <a:gd name="T28" fmla="*/ 0 h 771"/>
                <a:gd name="T29" fmla="*/ 744 w 744"/>
                <a:gd name="T30" fmla="*/ 771 h 77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4" h="771">
                  <a:moveTo>
                    <a:pt x="494" y="133"/>
                  </a:moveTo>
                  <a:cubicBezTo>
                    <a:pt x="274" y="0"/>
                    <a:pt x="274" y="0"/>
                    <a:pt x="274" y="0"/>
                  </a:cubicBezTo>
                  <a:cubicBezTo>
                    <a:pt x="239" y="146"/>
                    <a:pt x="140" y="267"/>
                    <a:pt x="7" y="332"/>
                  </a:cubicBezTo>
                  <a:cubicBezTo>
                    <a:pt x="5" y="334"/>
                    <a:pt x="2" y="335"/>
                    <a:pt x="0" y="336"/>
                  </a:cubicBezTo>
                  <a:cubicBezTo>
                    <a:pt x="33" y="592"/>
                    <a:pt x="33" y="592"/>
                    <a:pt x="33" y="592"/>
                  </a:cubicBezTo>
                  <a:cubicBezTo>
                    <a:pt x="206" y="771"/>
                    <a:pt x="206" y="771"/>
                    <a:pt x="206" y="771"/>
                  </a:cubicBezTo>
                  <a:cubicBezTo>
                    <a:pt x="210" y="770"/>
                    <a:pt x="213" y="768"/>
                    <a:pt x="217" y="767"/>
                  </a:cubicBezTo>
                  <a:cubicBezTo>
                    <a:pt x="479" y="639"/>
                    <a:pt x="675" y="399"/>
                    <a:pt x="744" y="109"/>
                  </a:cubicBezTo>
                  <a:lnTo>
                    <a:pt x="494" y="133"/>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7" name="Freeform 9"/>
            <p:cNvSpPr>
              <a:spLocks/>
            </p:cNvSpPr>
            <p:nvPr/>
          </p:nvSpPr>
          <p:spPr bwMode="gray">
            <a:xfrm>
              <a:off x="3654" y="945"/>
              <a:ext cx="1172" cy="1717"/>
            </a:xfrm>
            <a:custGeom>
              <a:avLst/>
              <a:gdLst>
                <a:gd name="T0" fmla="*/ 751 w 585"/>
                <a:gd name="T1" fmla="*/ 0 h 857"/>
                <a:gd name="T2" fmla="*/ 469 w 585"/>
                <a:gd name="T3" fmla="*/ 435 h 857"/>
                <a:gd name="T4" fmla="*/ 0 w 585"/>
                <a:gd name="T5" fmla="*/ 607 h 857"/>
                <a:gd name="T6" fmla="*/ 206 w 585"/>
                <a:gd name="T7" fmla="*/ 1216 h 857"/>
                <a:gd name="T8" fmla="*/ 182 w 585"/>
                <a:gd name="T9" fmla="*/ 1433 h 857"/>
                <a:gd name="T10" fmla="*/ 178 w 585"/>
                <a:gd name="T11" fmla="*/ 1451 h 857"/>
                <a:gd name="T12" fmla="*/ 619 w 585"/>
                <a:gd name="T13" fmla="*/ 1717 h 857"/>
                <a:gd name="T14" fmla="*/ 1120 w 585"/>
                <a:gd name="T15" fmla="*/ 1669 h 857"/>
                <a:gd name="T16" fmla="*/ 1124 w 585"/>
                <a:gd name="T17" fmla="*/ 1647 h 857"/>
                <a:gd name="T18" fmla="*/ 1172 w 585"/>
                <a:gd name="T19" fmla="*/ 1216 h 857"/>
                <a:gd name="T20" fmla="*/ 751 w 585"/>
                <a:gd name="T21" fmla="*/ 0 h 8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5"/>
                <a:gd name="T34" fmla="*/ 0 h 857"/>
                <a:gd name="T35" fmla="*/ 585 w 585"/>
                <a:gd name="T36" fmla="*/ 857 h 8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5" h="857">
                  <a:moveTo>
                    <a:pt x="375" y="0"/>
                  </a:moveTo>
                  <a:cubicBezTo>
                    <a:pt x="234" y="217"/>
                    <a:pt x="234" y="217"/>
                    <a:pt x="234" y="217"/>
                  </a:cubicBezTo>
                  <a:cubicBezTo>
                    <a:pt x="0" y="303"/>
                    <a:pt x="0" y="303"/>
                    <a:pt x="0" y="303"/>
                  </a:cubicBezTo>
                  <a:cubicBezTo>
                    <a:pt x="64" y="387"/>
                    <a:pt x="103" y="493"/>
                    <a:pt x="103" y="607"/>
                  </a:cubicBezTo>
                  <a:cubicBezTo>
                    <a:pt x="103" y="644"/>
                    <a:pt x="99" y="680"/>
                    <a:pt x="91" y="715"/>
                  </a:cubicBezTo>
                  <a:cubicBezTo>
                    <a:pt x="90" y="718"/>
                    <a:pt x="90" y="721"/>
                    <a:pt x="89" y="724"/>
                  </a:cubicBezTo>
                  <a:cubicBezTo>
                    <a:pt x="309" y="857"/>
                    <a:pt x="309" y="857"/>
                    <a:pt x="309" y="857"/>
                  </a:cubicBezTo>
                  <a:cubicBezTo>
                    <a:pt x="559" y="833"/>
                    <a:pt x="559" y="833"/>
                    <a:pt x="559" y="833"/>
                  </a:cubicBezTo>
                  <a:cubicBezTo>
                    <a:pt x="559" y="829"/>
                    <a:pt x="560" y="826"/>
                    <a:pt x="561" y="822"/>
                  </a:cubicBezTo>
                  <a:cubicBezTo>
                    <a:pt x="576" y="753"/>
                    <a:pt x="585" y="681"/>
                    <a:pt x="585" y="607"/>
                  </a:cubicBezTo>
                  <a:cubicBezTo>
                    <a:pt x="585" y="378"/>
                    <a:pt x="506" y="167"/>
                    <a:pt x="375"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18" name="Freeform 10"/>
            <p:cNvSpPr>
              <a:spLocks/>
            </p:cNvSpPr>
            <p:nvPr/>
          </p:nvSpPr>
          <p:spPr bwMode="gray">
            <a:xfrm>
              <a:off x="2895" y="216"/>
              <a:ext cx="1530" cy="1358"/>
            </a:xfrm>
            <a:custGeom>
              <a:avLst/>
              <a:gdLst>
                <a:gd name="T0" fmla="*/ 1518 w 764"/>
                <a:gd name="T1" fmla="*/ 737 h 678"/>
                <a:gd name="T2" fmla="*/ 0 w 764"/>
                <a:gd name="T3" fmla="*/ 0 h 678"/>
                <a:gd name="T4" fmla="*/ 160 w 764"/>
                <a:gd name="T5" fmla="*/ 485 h 678"/>
                <a:gd name="T6" fmla="*/ 0 w 764"/>
                <a:gd name="T7" fmla="*/ 965 h 678"/>
                <a:gd name="T8" fmla="*/ 765 w 764"/>
                <a:gd name="T9" fmla="*/ 1340 h 678"/>
                <a:gd name="T10" fmla="*/ 779 w 764"/>
                <a:gd name="T11" fmla="*/ 1358 h 678"/>
                <a:gd name="T12" fmla="*/ 1248 w 764"/>
                <a:gd name="T13" fmla="*/ 1186 h 678"/>
                <a:gd name="T14" fmla="*/ 1530 w 764"/>
                <a:gd name="T15" fmla="*/ 751 h 678"/>
                <a:gd name="T16" fmla="*/ 1518 w 764"/>
                <a:gd name="T17" fmla="*/ 737 h 6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4"/>
                <a:gd name="T28" fmla="*/ 0 h 678"/>
                <a:gd name="T29" fmla="*/ 764 w 764"/>
                <a:gd name="T30" fmla="*/ 678 h 6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4" h="678">
                  <a:moveTo>
                    <a:pt x="758" y="368"/>
                  </a:moveTo>
                  <a:cubicBezTo>
                    <a:pt x="580" y="146"/>
                    <a:pt x="307" y="3"/>
                    <a:pt x="0" y="0"/>
                  </a:cubicBezTo>
                  <a:cubicBezTo>
                    <a:pt x="80" y="242"/>
                    <a:pt x="80" y="242"/>
                    <a:pt x="80" y="242"/>
                  </a:cubicBezTo>
                  <a:cubicBezTo>
                    <a:pt x="0" y="482"/>
                    <a:pt x="0" y="482"/>
                    <a:pt x="0" y="482"/>
                  </a:cubicBezTo>
                  <a:cubicBezTo>
                    <a:pt x="154" y="485"/>
                    <a:pt x="292" y="557"/>
                    <a:pt x="382" y="669"/>
                  </a:cubicBezTo>
                  <a:cubicBezTo>
                    <a:pt x="384" y="672"/>
                    <a:pt x="386" y="675"/>
                    <a:pt x="389" y="678"/>
                  </a:cubicBezTo>
                  <a:cubicBezTo>
                    <a:pt x="623" y="592"/>
                    <a:pt x="623" y="592"/>
                    <a:pt x="623" y="592"/>
                  </a:cubicBezTo>
                  <a:cubicBezTo>
                    <a:pt x="764" y="375"/>
                    <a:pt x="764" y="375"/>
                    <a:pt x="764" y="375"/>
                  </a:cubicBezTo>
                  <a:cubicBezTo>
                    <a:pt x="762" y="373"/>
                    <a:pt x="760" y="371"/>
                    <a:pt x="758" y="368"/>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19" name="Group 3"/>
          <p:cNvGrpSpPr>
            <a:grpSpLocks/>
          </p:cNvGrpSpPr>
          <p:nvPr/>
        </p:nvGrpSpPr>
        <p:grpSpPr bwMode="gray">
          <a:xfrm>
            <a:off x="7381349" y="2870796"/>
            <a:ext cx="1803697" cy="1808346"/>
            <a:chOff x="936" y="214"/>
            <a:chExt cx="3880" cy="3890"/>
          </a:xfrm>
          <a:solidFill>
            <a:schemeClr val="bg2">
              <a:lumMod val="60000"/>
              <a:lumOff val="40000"/>
            </a:schemeClr>
          </a:solidFill>
        </p:grpSpPr>
        <p:sp>
          <p:nvSpPr>
            <p:cNvPr id="120" name="Freeform 4"/>
            <p:cNvSpPr>
              <a:spLocks/>
            </p:cNvSpPr>
            <p:nvPr/>
          </p:nvSpPr>
          <p:spPr bwMode="gray">
            <a:xfrm>
              <a:off x="1509" y="214"/>
              <a:ext cx="1560" cy="1244"/>
            </a:xfrm>
            <a:custGeom>
              <a:avLst/>
              <a:gdLst>
                <a:gd name="T0" fmla="*/ 1400 w 779"/>
                <a:gd name="T1" fmla="*/ 0 h 621"/>
                <a:gd name="T2" fmla="*/ 1382 w 779"/>
                <a:gd name="T3" fmla="*/ 0 h 621"/>
                <a:gd name="T4" fmla="*/ 1380 w 779"/>
                <a:gd name="T5" fmla="*/ 0 h 621"/>
                <a:gd name="T6" fmla="*/ 0 w 779"/>
                <a:gd name="T7" fmla="*/ 567 h 621"/>
                <a:gd name="T8" fmla="*/ 469 w 779"/>
                <a:gd name="T9" fmla="*/ 801 h 621"/>
                <a:gd name="T10" fmla="*/ 689 w 779"/>
                <a:gd name="T11" fmla="*/ 1244 h 621"/>
                <a:gd name="T12" fmla="*/ 1380 w 779"/>
                <a:gd name="T13" fmla="*/ 966 h 621"/>
                <a:gd name="T14" fmla="*/ 1382 w 779"/>
                <a:gd name="T15" fmla="*/ 966 h 621"/>
                <a:gd name="T16" fmla="*/ 1400 w 779"/>
                <a:gd name="T17" fmla="*/ 966 h 621"/>
                <a:gd name="T18" fmla="*/ 1560 w 779"/>
                <a:gd name="T19" fmla="*/ 481 h 621"/>
                <a:gd name="T20" fmla="*/ 1400 w 779"/>
                <a:gd name="T21" fmla="*/ 0 h 6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79"/>
                <a:gd name="T34" fmla="*/ 0 h 621"/>
                <a:gd name="T35" fmla="*/ 779 w 779"/>
                <a:gd name="T36" fmla="*/ 621 h 6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79" h="621">
                  <a:moveTo>
                    <a:pt x="699" y="0"/>
                  </a:moveTo>
                  <a:cubicBezTo>
                    <a:pt x="696" y="0"/>
                    <a:pt x="693" y="0"/>
                    <a:pt x="690" y="0"/>
                  </a:cubicBezTo>
                  <a:cubicBezTo>
                    <a:pt x="690" y="0"/>
                    <a:pt x="689" y="0"/>
                    <a:pt x="689" y="0"/>
                  </a:cubicBezTo>
                  <a:cubicBezTo>
                    <a:pt x="421" y="0"/>
                    <a:pt x="177" y="108"/>
                    <a:pt x="0" y="283"/>
                  </a:cubicBezTo>
                  <a:cubicBezTo>
                    <a:pt x="234" y="400"/>
                    <a:pt x="234" y="400"/>
                    <a:pt x="234" y="400"/>
                  </a:cubicBezTo>
                  <a:cubicBezTo>
                    <a:pt x="344" y="621"/>
                    <a:pt x="344" y="621"/>
                    <a:pt x="344" y="621"/>
                  </a:cubicBezTo>
                  <a:cubicBezTo>
                    <a:pt x="434" y="535"/>
                    <a:pt x="555" y="482"/>
                    <a:pt x="689" y="482"/>
                  </a:cubicBezTo>
                  <a:cubicBezTo>
                    <a:pt x="689" y="482"/>
                    <a:pt x="690" y="482"/>
                    <a:pt x="690" y="482"/>
                  </a:cubicBezTo>
                  <a:cubicBezTo>
                    <a:pt x="693" y="482"/>
                    <a:pt x="696" y="482"/>
                    <a:pt x="699" y="482"/>
                  </a:cubicBezTo>
                  <a:cubicBezTo>
                    <a:pt x="779" y="240"/>
                    <a:pt x="779" y="240"/>
                    <a:pt x="779" y="240"/>
                  </a:cubicBezTo>
                  <a:lnTo>
                    <a:pt x="699" y="0"/>
                  </a:lnTo>
                  <a:close/>
                </a:path>
              </a:pathLst>
            </a:custGeom>
            <a:solidFill>
              <a:srgbClr val="43B02A"/>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1" name="Freeform 5"/>
            <p:cNvSpPr>
              <a:spLocks/>
            </p:cNvSpPr>
            <p:nvPr/>
          </p:nvSpPr>
          <p:spPr bwMode="gray">
            <a:xfrm>
              <a:off x="936" y="774"/>
              <a:ext cx="1274" cy="1380"/>
            </a:xfrm>
            <a:custGeom>
              <a:avLst/>
              <a:gdLst>
                <a:gd name="T0" fmla="*/ 1054 w 636"/>
                <a:gd name="T1" fmla="*/ 234 h 689"/>
                <a:gd name="T2" fmla="*/ 585 w 636"/>
                <a:gd name="T3" fmla="*/ 0 h 689"/>
                <a:gd name="T4" fmla="*/ 575 w 636"/>
                <a:gd name="T5" fmla="*/ 10 h 689"/>
                <a:gd name="T6" fmla="*/ 0 w 636"/>
                <a:gd name="T7" fmla="*/ 1380 h 689"/>
                <a:gd name="T8" fmla="*/ 493 w 636"/>
                <a:gd name="T9" fmla="*/ 1216 h 689"/>
                <a:gd name="T10" fmla="*/ 966 w 636"/>
                <a:gd name="T11" fmla="*/ 1372 h 689"/>
                <a:gd name="T12" fmla="*/ 1258 w 636"/>
                <a:gd name="T13" fmla="*/ 693 h 689"/>
                <a:gd name="T14" fmla="*/ 1274 w 636"/>
                <a:gd name="T15" fmla="*/ 677 h 689"/>
                <a:gd name="T16" fmla="*/ 1054 w 636"/>
                <a:gd name="T17" fmla="*/ 234 h 6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6"/>
                <a:gd name="T28" fmla="*/ 0 h 689"/>
                <a:gd name="T29" fmla="*/ 636 w 636"/>
                <a:gd name="T30" fmla="*/ 689 h 6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6" h="689">
                  <a:moveTo>
                    <a:pt x="526" y="117"/>
                  </a:moveTo>
                  <a:cubicBezTo>
                    <a:pt x="292" y="0"/>
                    <a:pt x="292" y="0"/>
                    <a:pt x="292" y="0"/>
                  </a:cubicBezTo>
                  <a:cubicBezTo>
                    <a:pt x="290" y="2"/>
                    <a:pt x="289" y="4"/>
                    <a:pt x="287" y="5"/>
                  </a:cubicBezTo>
                  <a:cubicBezTo>
                    <a:pt x="112" y="181"/>
                    <a:pt x="3" y="422"/>
                    <a:pt x="0" y="689"/>
                  </a:cubicBezTo>
                  <a:cubicBezTo>
                    <a:pt x="246" y="607"/>
                    <a:pt x="246" y="607"/>
                    <a:pt x="246" y="607"/>
                  </a:cubicBezTo>
                  <a:cubicBezTo>
                    <a:pt x="482" y="685"/>
                    <a:pt x="482" y="685"/>
                    <a:pt x="482" y="685"/>
                  </a:cubicBezTo>
                  <a:cubicBezTo>
                    <a:pt x="486" y="553"/>
                    <a:pt x="541" y="434"/>
                    <a:pt x="628" y="346"/>
                  </a:cubicBezTo>
                  <a:cubicBezTo>
                    <a:pt x="631" y="343"/>
                    <a:pt x="633" y="341"/>
                    <a:pt x="636" y="338"/>
                  </a:cubicBezTo>
                  <a:lnTo>
                    <a:pt x="526" y="117"/>
                  </a:ln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2" name="Freeform 6"/>
            <p:cNvSpPr>
              <a:spLocks/>
            </p:cNvSpPr>
            <p:nvPr/>
          </p:nvSpPr>
          <p:spPr bwMode="gray">
            <a:xfrm>
              <a:off x="936" y="1965"/>
              <a:ext cx="1238" cy="1552"/>
            </a:xfrm>
            <a:custGeom>
              <a:avLst/>
              <a:gdLst>
                <a:gd name="T0" fmla="*/ 966 w 618"/>
                <a:gd name="T1" fmla="*/ 184 h 775"/>
                <a:gd name="T2" fmla="*/ 966 w 618"/>
                <a:gd name="T3" fmla="*/ 180 h 775"/>
                <a:gd name="T4" fmla="*/ 966 w 618"/>
                <a:gd name="T5" fmla="*/ 156 h 775"/>
                <a:gd name="T6" fmla="*/ 493 w 618"/>
                <a:gd name="T7" fmla="*/ 0 h 775"/>
                <a:gd name="T8" fmla="*/ 0 w 618"/>
                <a:gd name="T9" fmla="*/ 164 h 775"/>
                <a:gd name="T10" fmla="*/ 0 w 618"/>
                <a:gd name="T11" fmla="*/ 180 h 775"/>
                <a:gd name="T12" fmla="*/ 0 w 618"/>
                <a:gd name="T13" fmla="*/ 184 h 775"/>
                <a:gd name="T14" fmla="*/ 555 w 618"/>
                <a:gd name="T15" fmla="*/ 1552 h 775"/>
                <a:gd name="T16" fmla="*/ 781 w 618"/>
                <a:gd name="T17" fmla="*/ 1099 h 775"/>
                <a:gd name="T18" fmla="*/ 1238 w 618"/>
                <a:gd name="T19" fmla="*/ 871 h 775"/>
                <a:gd name="T20" fmla="*/ 966 w 618"/>
                <a:gd name="T21" fmla="*/ 184 h 7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8"/>
                <a:gd name="T34" fmla="*/ 0 h 775"/>
                <a:gd name="T35" fmla="*/ 618 w 618"/>
                <a:gd name="T36" fmla="*/ 775 h 7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8" h="775">
                  <a:moveTo>
                    <a:pt x="482" y="92"/>
                  </a:moveTo>
                  <a:cubicBezTo>
                    <a:pt x="482" y="91"/>
                    <a:pt x="482" y="91"/>
                    <a:pt x="482" y="90"/>
                  </a:cubicBezTo>
                  <a:cubicBezTo>
                    <a:pt x="482" y="86"/>
                    <a:pt x="482" y="82"/>
                    <a:pt x="482" y="78"/>
                  </a:cubicBezTo>
                  <a:cubicBezTo>
                    <a:pt x="246" y="0"/>
                    <a:pt x="246" y="0"/>
                    <a:pt x="246" y="0"/>
                  </a:cubicBezTo>
                  <a:cubicBezTo>
                    <a:pt x="0" y="82"/>
                    <a:pt x="0" y="82"/>
                    <a:pt x="0" y="82"/>
                  </a:cubicBezTo>
                  <a:cubicBezTo>
                    <a:pt x="0" y="84"/>
                    <a:pt x="0" y="87"/>
                    <a:pt x="0" y="90"/>
                  </a:cubicBezTo>
                  <a:cubicBezTo>
                    <a:pt x="0" y="91"/>
                    <a:pt x="0" y="91"/>
                    <a:pt x="0" y="92"/>
                  </a:cubicBezTo>
                  <a:cubicBezTo>
                    <a:pt x="0" y="358"/>
                    <a:pt x="106" y="599"/>
                    <a:pt x="277" y="775"/>
                  </a:cubicBezTo>
                  <a:cubicBezTo>
                    <a:pt x="390" y="549"/>
                    <a:pt x="390" y="549"/>
                    <a:pt x="390" y="549"/>
                  </a:cubicBezTo>
                  <a:cubicBezTo>
                    <a:pt x="618" y="435"/>
                    <a:pt x="618" y="435"/>
                    <a:pt x="618" y="435"/>
                  </a:cubicBezTo>
                  <a:cubicBezTo>
                    <a:pt x="534" y="345"/>
                    <a:pt x="482" y="225"/>
                    <a:pt x="482" y="92"/>
                  </a:cubicBez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3" name="Freeform 7"/>
            <p:cNvSpPr>
              <a:spLocks/>
            </p:cNvSpPr>
            <p:nvPr/>
          </p:nvSpPr>
          <p:spPr bwMode="gray">
            <a:xfrm>
              <a:off x="1479" y="2824"/>
              <a:ext cx="1384" cy="1280"/>
            </a:xfrm>
            <a:custGeom>
              <a:avLst/>
              <a:gdLst>
                <a:gd name="T0" fmla="*/ 1224 w 691"/>
                <a:gd name="T1" fmla="*/ 797 h 639"/>
                <a:gd name="T2" fmla="*/ 1384 w 691"/>
                <a:gd name="T3" fmla="*/ 314 h 639"/>
                <a:gd name="T4" fmla="*/ 697 w 691"/>
                <a:gd name="T5" fmla="*/ 14 h 639"/>
                <a:gd name="T6" fmla="*/ 683 w 691"/>
                <a:gd name="T7" fmla="*/ 0 h 639"/>
                <a:gd name="T8" fmla="*/ 226 w 691"/>
                <a:gd name="T9" fmla="*/ 228 h 639"/>
                <a:gd name="T10" fmla="*/ 0 w 691"/>
                <a:gd name="T11" fmla="*/ 681 h 639"/>
                <a:gd name="T12" fmla="*/ 14 w 691"/>
                <a:gd name="T13" fmla="*/ 697 h 639"/>
                <a:gd name="T14" fmla="*/ 1384 w 691"/>
                <a:gd name="T15" fmla="*/ 1280 h 639"/>
                <a:gd name="T16" fmla="*/ 1224 w 691"/>
                <a:gd name="T17" fmla="*/ 797 h 6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1"/>
                <a:gd name="T28" fmla="*/ 0 h 639"/>
                <a:gd name="T29" fmla="*/ 691 w 691"/>
                <a:gd name="T30" fmla="*/ 639 h 6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1" h="639">
                  <a:moveTo>
                    <a:pt x="611" y="398"/>
                  </a:moveTo>
                  <a:cubicBezTo>
                    <a:pt x="691" y="157"/>
                    <a:pt x="691" y="157"/>
                    <a:pt x="691" y="157"/>
                  </a:cubicBezTo>
                  <a:cubicBezTo>
                    <a:pt x="557" y="153"/>
                    <a:pt x="436" y="96"/>
                    <a:pt x="348" y="7"/>
                  </a:cubicBezTo>
                  <a:cubicBezTo>
                    <a:pt x="346" y="5"/>
                    <a:pt x="343" y="2"/>
                    <a:pt x="341" y="0"/>
                  </a:cubicBezTo>
                  <a:cubicBezTo>
                    <a:pt x="113" y="114"/>
                    <a:pt x="113" y="114"/>
                    <a:pt x="113" y="114"/>
                  </a:cubicBezTo>
                  <a:cubicBezTo>
                    <a:pt x="0" y="340"/>
                    <a:pt x="0" y="340"/>
                    <a:pt x="0" y="340"/>
                  </a:cubicBezTo>
                  <a:cubicBezTo>
                    <a:pt x="2" y="343"/>
                    <a:pt x="5" y="345"/>
                    <a:pt x="7" y="348"/>
                  </a:cubicBezTo>
                  <a:cubicBezTo>
                    <a:pt x="182" y="524"/>
                    <a:pt x="424" y="635"/>
                    <a:pt x="691" y="639"/>
                  </a:cubicBezTo>
                  <a:lnTo>
                    <a:pt x="611" y="398"/>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4" name="Freeform 8"/>
            <p:cNvSpPr>
              <a:spLocks/>
            </p:cNvSpPr>
            <p:nvPr/>
          </p:nvSpPr>
          <p:spPr bwMode="gray">
            <a:xfrm>
              <a:off x="2683" y="2862"/>
              <a:ext cx="1562" cy="1242"/>
            </a:xfrm>
            <a:custGeom>
              <a:avLst/>
              <a:gdLst>
                <a:gd name="T0" fmla="*/ 1107 w 780"/>
                <a:gd name="T1" fmla="*/ 453 h 620"/>
                <a:gd name="T2" fmla="*/ 879 w 780"/>
                <a:gd name="T3" fmla="*/ 0 h 620"/>
                <a:gd name="T4" fmla="*/ 188 w 780"/>
                <a:gd name="T5" fmla="*/ 276 h 620"/>
                <a:gd name="T6" fmla="*/ 180 w 780"/>
                <a:gd name="T7" fmla="*/ 276 h 620"/>
                <a:gd name="T8" fmla="*/ 160 w 780"/>
                <a:gd name="T9" fmla="*/ 276 h 620"/>
                <a:gd name="T10" fmla="*/ 0 w 780"/>
                <a:gd name="T11" fmla="*/ 759 h 620"/>
                <a:gd name="T12" fmla="*/ 160 w 780"/>
                <a:gd name="T13" fmla="*/ 1242 h 620"/>
                <a:gd name="T14" fmla="*/ 180 w 780"/>
                <a:gd name="T15" fmla="*/ 1242 h 620"/>
                <a:gd name="T16" fmla="*/ 188 w 780"/>
                <a:gd name="T17" fmla="*/ 1242 h 620"/>
                <a:gd name="T18" fmla="*/ 1562 w 780"/>
                <a:gd name="T19" fmla="*/ 681 h 620"/>
                <a:gd name="T20" fmla="*/ 1107 w 780"/>
                <a:gd name="T21" fmla="*/ 453 h 6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80"/>
                <a:gd name="T34" fmla="*/ 0 h 620"/>
                <a:gd name="T35" fmla="*/ 780 w 780"/>
                <a:gd name="T36" fmla="*/ 620 h 6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80" h="620">
                  <a:moveTo>
                    <a:pt x="553" y="226"/>
                  </a:moveTo>
                  <a:cubicBezTo>
                    <a:pt x="439" y="0"/>
                    <a:pt x="439" y="0"/>
                    <a:pt x="439" y="0"/>
                  </a:cubicBezTo>
                  <a:cubicBezTo>
                    <a:pt x="350" y="85"/>
                    <a:pt x="228" y="138"/>
                    <a:pt x="94" y="138"/>
                  </a:cubicBezTo>
                  <a:cubicBezTo>
                    <a:pt x="93" y="138"/>
                    <a:pt x="91" y="138"/>
                    <a:pt x="90" y="138"/>
                  </a:cubicBezTo>
                  <a:cubicBezTo>
                    <a:pt x="87" y="138"/>
                    <a:pt x="83" y="138"/>
                    <a:pt x="80" y="138"/>
                  </a:cubicBezTo>
                  <a:cubicBezTo>
                    <a:pt x="0" y="379"/>
                    <a:pt x="0" y="379"/>
                    <a:pt x="0" y="379"/>
                  </a:cubicBezTo>
                  <a:cubicBezTo>
                    <a:pt x="80" y="620"/>
                    <a:pt x="80" y="620"/>
                    <a:pt x="80" y="620"/>
                  </a:cubicBezTo>
                  <a:cubicBezTo>
                    <a:pt x="83" y="620"/>
                    <a:pt x="87" y="620"/>
                    <a:pt x="90" y="620"/>
                  </a:cubicBezTo>
                  <a:cubicBezTo>
                    <a:pt x="91" y="620"/>
                    <a:pt x="93" y="620"/>
                    <a:pt x="94" y="620"/>
                  </a:cubicBezTo>
                  <a:cubicBezTo>
                    <a:pt x="361" y="620"/>
                    <a:pt x="603" y="513"/>
                    <a:pt x="780" y="340"/>
                  </a:cubicBezTo>
                  <a:lnTo>
                    <a:pt x="553" y="226"/>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5" name="Freeform 9"/>
            <p:cNvSpPr>
              <a:spLocks/>
            </p:cNvSpPr>
            <p:nvPr/>
          </p:nvSpPr>
          <p:spPr bwMode="gray">
            <a:xfrm>
              <a:off x="3540" y="2165"/>
              <a:ext cx="1276" cy="1388"/>
            </a:xfrm>
            <a:custGeom>
              <a:avLst/>
              <a:gdLst>
                <a:gd name="T0" fmla="*/ 781 w 637"/>
                <a:gd name="T1" fmla="*/ 164 h 693"/>
                <a:gd name="T2" fmla="*/ 310 w 637"/>
                <a:gd name="T3" fmla="*/ 8 h 693"/>
                <a:gd name="T4" fmla="*/ 16 w 637"/>
                <a:gd name="T5" fmla="*/ 693 h 693"/>
                <a:gd name="T6" fmla="*/ 0 w 637"/>
                <a:gd name="T7" fmla="*/ 707 h 693"/>
                <a:gd name="T8" fmla="*/ 228 w 637"/>
                <a:gd name="T9" fmla="*/ 1160 h 693"/>
                <a:gd name="T10" fmla="*/ 683 w 637"/>
                <a:gd name="T11" fmla="*/ 1388 h 693"/>
                <a:gd name="T12" fmla="*/ 697 w 637"/>
                <a:gd name="T13" fmla="*/ 1374 h 693"/>
                <a:gd name="T14" fmla="*/ 1276 w 637"/>
                <a:gd name="T15" fmla="*/ 0 h 693"/>
                <a:gd name="T16" fmla="*/ 781 w 637"/>
                <a:gd name="T17" fmla="*/ 164 h 6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7"/>
                <a:gd name="T28" fmla="*/ 0 h 693"/>
                <a:gd name="T29" fmla="*/ 637 w 637"/>
                <a:gd name="T30" fmla="*/ 693 h 6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7" h="693">
                  <a:moveTo>
                    <a:pt x="390" y="82"/>
                  </a:moveTo>
                  <a:cubicBezTo>
                    <a:pt x="155" y="4"/>
                    <a:pt x="155" y="4"/>
                    <a:pt x="155" y="4"/>
                  </a:cubicBezTo>
                  <a:cubicBezTo>
                    <a:pt x="151" y="137"/>
                    <a:pt x="96" y="258"/>
                    <a:pt x="8" y="346"/>
                  </a:cubicBezTo>
                  <a:cubicBezTo>
                    <a:pt x="5" y="348"/>
                    <a:pt x="3" y="350"/>
                    <a:pt x="0" y="353"/>
                  </a:cubicBezTo>
                  <a:cubicBezTo>
                    <a:pt x="114" y="579"/>
                    <a:pt x="114" y="579"/>
                    <a:pt x="114" y="579"/>
                  </a:cubicBezTo>
                  <a:cubicBezTo>
                    <a:pt x="341" y="693"/>
                    <a:pt x="341" y="693"/>
                    <a:pt x="341" y="693"/>
                  </a:cubicBezTo>
                  <a:cubicBezTo>
                    <a:pt x="344" y="691"/>
                    <a:pt x="346" y="689"/>
                    <a:pt x="348" y="686"/>
                  </a:cubicBezTo>
                  <a:cubicBezTo>
                    <a:pt x="525" y="511"/>
                    <a:pt x="635" y="268"/>
                    <a:pt x="637" y="0"/>
                  </a:cubicBezTo>
                  <a:lnTo>
                    <a:pt x="390" y="82"/>
                  </a:ln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6" name="Freeform 10"/>
            <p:cNvSpPr>
              <a:spLocks/>
            </p:cNvSpPr>
            <p:nvPr/>
          </p:nvSpPr>
          <p:spPr bwMode="gray">
            <a:xfrm>
              <a:off x="3568" y="779"/>
              <a:ext cx="1248" cy="1562"/>
            </a:xfrm>
            <a:custGeom>
              <a:avLst/>
              <a:gdLst>
                <a:gd name="T0" fmla="*/ 683 w 623"/>
                <a:gd name="T1" fmla="*/ 0 h 780"/>
                <a:gd name="T2" fmla="*/ 457 w 623"/>
                <a:gd name="T3" fmla="*/ 455 h 780"/>
                <a:gd name="T4" fmla="*/ 0 w 623"/>
                <a:gd name="T5" fmla="*/ 683 h 780"/>
                <a:gd name="T6" fmla="*/ 282 w 623"/>
                <a:gd name="T7" fmla="*/ 1380 h 780"/>
                <a:gd name="T8" fmla="*/ 282 w 623"/>
                <a:gd name="T9" fmla="*/ 1382 h 780"/>
                <a:gd name="T10" fmla="*/ 282 w 623"/>
                <a:gd name="T11" fmla="*/ 1406 h 780"/>
                <a:gd name="T12" fmla="*/ 753 w 623"/>
                <a:gd name="T13" fmla="*/ 1562 h 780"/>
                <a:gd name="T14" fmla="*/ 1248 w 623"/>
                <a:gd name="T15" fmla="*/ 1398 h 780"/>
                <a:gd name="T16" fmla="*/ 1248 w 623"/>
                <a:gd name="T17" fmla="*/ 1382 h 780"/>
                <a:gd name="T18" fmla="*/ 1248 w 623"/>
                <a:gd name="T19" fmla="*/ 1380 h 780"/>
                <a:gd name="T20" fmla="*/ 683 w 623"/>
                <a:gd name="T21" fmla="*/ 0 h 7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3"/>
                <a:gd name="T34" fmla="*/ 0 h 780"/>
                <a:gd name="T35" fmla="*/ 623 w 623"/>
                <a:gd name="T36" fmla="*/ 780 h 7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3" h="780">
                  <a:moveTo>
                    <a:pt x="341" y="0"/>
                  </a:moveTo>
                  <a:cubicBezTo>
                    <a:pt x="228" y="227"/>
                    <a:pt x="228" y="227"/>
                    <a:pt x="228" y="227"/>
                  </a:cubicBezTo>
                  <a:cubicBezTo>
                    <a:pt x="0" y="341"/>
                    <a:pt x="0" y="341"/>
                    <a:pt x="0" y="341"/>
                  </a:cubicBezTo>
                  <a:cubicBezTo>
                    <a:pt x="87" y="431"/>
                    <a:pt x="141" y="554"/>
                    <a:pt x="141" y="689"/>
                  </a:cubicBezTo>
                  <a:cubicBezTo>
                    <a:pt x="141" y="689"/>
                    <a:pt x="141" y="690"/>
                    <a:pt x="141" y="690"/>
                  </a:cubicBezTo>
                  <a:cubicBezTo>
                    <a:pt x="141" y="694"/>
                    <a:pt x="141" y="698"/>
                    <a:pt x="141" y="702"/>
                  </a:cubicBezTo>
                  <a:cubicBezTo>
                    <a:pt x="376" y="780"/>
                    <a:pt x="376" y="780"/>
                    <a:pt x="376" y="780"/>
                  </a:cubicBezTo>
                  <a:cubicBezTo>
                    <a:pt x="623" y="698"/>
                    <a:pt x="623" y="698"/>
                    <a:pt x="623" y="698"/>
                  </a:cubicBezTo>
                  <a:cubicBezTo>
                    <a:pt x="623" y="695"/>
                    <a:pt x="623" y="693"/>
                    <a:pt x="623" y="690"/>
                  </a:cubicBezTo>
                  <a:cubicBezTo>
                    <a:pt x="623" y="690"/>
                    <a:pt x="623" y="689"/>
                    <a:pt x="623" y="689"/>
                  </a:cubicBezTo>
                  <a:cubicBezTo>
                    <a:pt x="623" y="421"/>
                    <a:pt x="515" y="178"/>
                    <a:pt x="341" y="0"/>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27" name="Freeform 11"/>
            <p:cNvSpPr>
              <a:spLocks/>
            </p:cNvSpPr>
            <p:nvPr/>
          </p:nvSpPr>
          <p:spPr bwMode="gray">
            <a:xfrm>
              <a:off x="2889" y="214"/>
              <a:ext cx="1384" cy="1270"/>
            </a:xfrm>
            <a:custGeom>
              <a:avLst/>
              <a:gdLst>
                <a:gd name="T0" fmla="*/ 1370 w 691"/>
                <a:gd name="T1" fmla="*/ 573 h 634"/>
                <a:gd name="T2" fmla="*/ 0 w 691"/>
                <a:gd name="T3" fmla="*/ 0 h 634"/>
                <a:gd name="T4" fmla="*/ 160 w 691"/>
                <a:gd name="T5" fmla="*/ 481 h 634"/>
                <a:gd name="T6" fmla="*/ 0 w 691"/>
                <a:gd name="T7" fmla="*/ 966 h 634"/>
                <a:gd name="T8" fmla="*/ 687 w 691"/>
                <a:gd name="T9" fmla="*/ 1256 h 634"/>
                <a:gd name="T10" fmla="*/ 701 w 691"/>
                <a:gd name="T11" fmla="*/ 1270 h 634"/>
                <a:gd name="T12" fmla="*/ 1158 w 691"/>
                <a:gd name="T13" fmla="*/ 1042 h 634"/>
                <a:gd name="T14" fmla="*/ 1384 w 691"/>
                <a:gd name="T15" fmla="*/ 587 h 634"/>
                <a:gd name="T16" fmla="*/ 1370 w 691"/>
                <a:gd name="T17" fmla="*/ 573 h 6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1"/>
                <a:gd name="T28" fmla="*/ 0 h 634"/>
                <a:gd name="T29" fmla="*/ 691 w 691"/>
                <a:gd name="T30" fmla="*/ 634 h 6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1" h="634">
                  <a:moveTo>
                    <a:pt x="684" y="286"/>
                  </a:moveTo>
                  <a:cubicBezTo>
                    <a:pt x="508" y="111"/>
                    <a:pt x="267" y="3"/>
                    <a:pt x="0" y="0"/>
                  </a:cubicBezTo>
                  <a:cubicBezTo>
                    <a:pt x="80" y="240"/>
                    <a:pt x="80" y="240"/>
                    <a:pt x="80" y="240"/>
                  </a:cubicBezTo>
                  <a:cubicBezTo>
                    <a:pt x="0" y="482"/>
                    <a:pt x="0" y="482"/>
                    <a:pt x="0" y="482"/>
                  </a:cubicBezTo>
                  <a:cubicBezTo>
                    <a:pt x="134" y="484"/>
                    <a:pt x="255" y="539"/>
                    <a:pt x="343" y="627"/>
                  </a:cubicBezTo>
                  <a:cubicBezTo>
                    <a:pt x="345" y="629"/>
                    <a:pt x="348" y="632"/>
                    <a:pt x="350" y="634"/>
                  </a:cubicBezTo>
                  <a:cubicBezTo>
                    <a:pt x="578" y="520"/>
                    <a:pt x="578" y="520"/>
                    <a:pt x="578" y="520"/>
                  </a:cubicBezTo>
                  <a:cubicBezTo>
                    <a:pt x="691" y="293"/>
                    <a:pt x="691" y="293"/>
                    <a:pt x="691" y="293"/>
                  </a:cubicBezTo>
                  <a:cubicBezTo>
                    <a:pt x="689" y="291"/>
                    <a:pt x="686" y="289"/>
                    <a:pt x="684" y="286"/>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28" name="Group 3"/>
          <p:cNvGrpSpPr>
            <a:grpSpLocks/>
          </p:cNvGrpSpPr>
          <p:nvPr/>
        </p:nvGrpSpPr>
        <p:grpSpPr bwMode="gray">
          <a:xfrm>
            <a:off x="4102377" y="4366394"/>
            <a:ext cx="1789752" cy="1792597"/>
            <a:chOff x="957" y="219"/>
            <a:chExt cx="3850" cy="3862"/>
          </a:xfrm>
          <a:solidFill>
            <a:schemeClr val="bg2">
              <a:lumMod val="60000"/>
              <a:lumOff val="40000"/>
            </a:schemeClr>
          </a:solidFill>
        </p:grpSpPr>
        <p:sp>
          <p:nvSpPr>
            <p:cNvPr id="129" name="Freeform 4"/>
            <p:cNvSpPr>
              <a:spLocks/>
            </p:cNvSpPr>
            <p:nvPr/>
          </p:nvSpPr>
          <p:spPr bwMode="gray">
            <a:xfrm>
              <a:off x="1632" y="219"/>
              <a:ext cx="1424" cy="1184"/>
            </a:xfrm>
            <a:custGeom>
              <a:avLst/>
              <a:gdLst>
                <a:gd name="T0" fmla="*/ 1264 w 711"/>
                <a:gd name="T1" fmla="*/ 0 h 590"/>
                <a:gd name="T2" fmla="*/ 1248 w 711"/>
                <a:gd name="T3" fmla="*/ 0 h 590"/>
                <a:gd name="T4" fmla="*/ 1244 w 711"/>
                <a:gd name="T5" fmla="*/ 0 h 590"/>
                <a:gd name="T6" fmla="*/ 0 w 711"/>
                <a:gd name="T7" fmla="*/ 448 h 590"/>
                <a:gd name="T8" fmla="*/ 441 w 711"/>
                <a:gd name="T9" fmla="*/ 720 h 590"/>
                <a:gd name="T10" fmla="*/ 625 w 711"/>
                <a:gd name="T11" fmla="*/ 1184 h 590"/>
                <a:gd name="T12" fmla="*/ 1244 w 711"/>
                <a:gd name="T13" fmla="*/ 967 h 590"/>
                <a:gd name="T14" fmla="*/ 1248 w 711"/>
                <a:gd name="T15" fmla="*/ 967 h 590"/>
                <a:gd name="T16" fmla="*/ 1264 w 711"/>
                <a:gd name="T17" fmla="*/ 967 h 590"/>
                <a:gd name="T18" fmla="*/ 1424 w 711"/>
                <a:gd name="T19" fmla="*/ 482 h 590"/>
                <a:gd name="T20" fmla="*/ 1264 w 711"/>
                <a:gd name="T21" fmla="*/ 0 h 5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11"/>
                <a:gd name="T34" fmla="*/ 0 h 590"/>
                <a:gd name="T35" fmla="*/ 711 w 711"/>
                <a:gd name="T36" fmla="*/ 590 h 59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11" h="590">
                  <a:moveTo>
                    <a:pt x="631" y="0"/>
                  </a:moveTo>
                  <a:cubicBezTo>
                    <a:pt x="629" y="0"/>
                    <a:pt x="626" y="0"/>
                    <a:pt x="623" y="0"/>
                  </a:cubicBezTo>
                  <a:cubicBezTo>
                    <a:pt x="623" y="0"/>
                    <a:pt x="622" y="0"/>
                    <a:pt x="621" y="0"/>
                  </a:cubicBezTo>
                  <a:cubicBezTo>
                    <a:pt x="385" y="0"/>
                    <a:pt x="169" y="84"/>
                    <a:pt x="0" y="223"/>
                  </a:cubicBezTo>
                  <a:cubicBezTo>
                    <a:pt x="220" y="359"/>
                    <a:pt x="220" y="359"/>
                    <a:pt x="220" y="359"/>
                  </a:cubicBezTo>
                  <a:cubicBezTo>
                    <a:pt x="312" y="590"/>
                    <a:pt x="312" y="590"/>
                    <a:pt x="312" y="590"/>
                  </a:cubicBezTo>
                  <a:cubicBezTo>
                    <a:pt x="397" y="523"/>
                    <a:pt x="504" y="482"/>
                    <a:pt x="621" y="482"/>
                  </a:cubicBezTo>
                  <a:cubicBezTo>
                    <a:pt x="622" y="482"/>
                    <a:pt x="623" y="482"/>
                    <a:pt x="623" y="482"/>
                  </a:cubicBezTo>
                  <a:cubicBezTo>
                    <a:pt x="626" y="482"/>
                    <a:pt x="628" y="482"/>
                    <a:pt x="631" y="482"/>
                  </a:cubicBezTo>
                  <a:cubicBezTo>
                    <a:pt x="711" y="240"/>
                    <a:pt x="711" y="240"/>
                    <a:pt x="711" y="240"/>
                  </a:cubicBezTo>
                  <a:lnTo>
                    <a:pt x="631" y="0"/>
                  </a:lnTo>
                  <a:close/>
                </a:path>
              </a:pathLst>
            </a:custGeom>
            <a:solidFill>
              <a:schemeClr val="tx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0" name="Freeform 5"/>
            <p:cNvSpPr>
              <a:spLocks/>
            </p:cNvSpPr>
            <p:nvPr/>
          </p:nvSpPr>
          <p:spPr bwMode="gray">
            <a:xfrm>
              <a:off x="977" y="644"/>
              <a:ext cx="1310" cy="1322"/>
            </a:xfrm>
            <a:custGeom>
              <a:avLst/>
              <a:gdLst>
                <a:gd name="T0" fmla="*/ 1126 w 654"/>
                <a:gd name="T1" fmla="*/ 273 h 659"/>
                <a:gd name="T2" fmla="*/ 685 w 654"/>
                <a:gd name="T3" fmla="*/ 0 h 659"/>
                <a:gd name="T4" fmla="*/ 671 w 654"/>
                <a:gd name="T5" fmla="*/ 10 h 659"/>
                <a:gd name="T6" fmla="*/ 0 w 654"/>
                <a:gd name="T7" fmla="*/ 1162 h 659"/>
                <a:gd name="T8" fmla="*/ 515 w 654"/>
                <a:gd name="T9" fmla="*/ 1085 h 659"/>
                <a:gd name="T10" fmla="*/ 951 w 654"/>
                <a:gd name="T11" fmla="*/ 1322 h 659"/>
                <a:gd name="T12" fmla="*/ 1292 w 654"/>
                <a:gd name="T13" fmla="*/ 752 h 659"/>
                <a:gd name="T14" fmla="*/ 1310 w 654"/>
                <a:gd name="T15" fmla="*/ 736 h 659"/>
                <a:gd name="T16" fmla="*/ 1126 w 654"/>
                <a:gd name="T17" fmla="*/ 273 h 6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4"/>
                <a:gd name="T28" fmla="*/ 0 h 659"/>
                <a:gd name="T29" fmla="*/ 654 w 654"/>
                <a:gd name="T30" fmla="*/ 659 h 6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4" h="659">
                  <a:moveTo>
                    <a:pt x="562" y="136"/>
                  </a:moveTo>
                  <a:cubicBezTo>
                    <a:pt x="342" y="0"/>
                    <a:pt x="342" y="0"/>
                    <a:pt x="342" y="0"/>
                  </a:cubicBezTo>
                  <a:cubicBezTo>
                    <a:pt x="340" y="2"/>
                    <a:pt x="337" y="4"/>
                    <a:pt x="335" y="5"/>
                  </a:cubicBezTo>
                  <a:cubicBezTo>
                    <a:pt x="164" y="149"/>
                    <a:pt x="42" y="350"/>
                    <a:pt x="0" y="579"/>
                  </a:cubicBezTo>
                  <a:cubicBezTo>
                    <a:pt x="257" y="541"/>
                    <a:pt x="257" y="541"/>
                    <a:pt x="257" y="541"/>
                  </a:cubicBezTo>
                  <a:cubicBezTo>
                    <a:pt x="475" y="659"/>
                    <a:pt x="475" y="659"/>
                    <a:pt x="475" y="659"/>
                  </a:cubicBezTo>
                  <a:cubicBezTo>
                    <a:pt x="498" y="546"/>
                    <a:pt x="560" y="446"/>
                    <a:pt x="645" y="375"/>
                  </a:cubicBezTo>
                  <a:cubicBezTo>
                    <a:pt x="648" y="372"/>
                    <a:pt x="651" y="370"/>
                    <a:pt x="654" y="367"/>
                  </a:cubicBezTo>
                  <a:lnTo>
                    <a:pt x="562" y="136"/>
                  </a:lnTo>
                  <a:close/>
                </a:path>
              </a:pathLst>
            </a:custGeom>
            <a:solidFill>
              <a:srgbClr val="43B02A"/>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1" name="Freeform 6"/>
            <p:cNvSpPr>
              <a:spLocks/>
            </p:cNvSpPr>
            <p:nvPr/>
          </p:nvSpPr>
          <p:spPr bwMode="gray">
            <a:xfrm>
              <a:off x="957" y="1732"/>
              <a:ext cx="1090" cy="1392"/>
            </a:xfrm>
            <a:custGeom>
              <a:avLst/>
              <a:gdLst>
                <a:gd name="T0" fmla="*/ 966 w 544"/>
                <a:gd name="T1" fmla="*/ 437 h 694"/>
                <a:gd name="T2" fmla="*/ 982 w 544"/>
                <a:gd name="T3" fmla="*/ 261 h 694"/>
                <a:gd name="T4" fmla="*/ 986 w 544"/>
                <a:gd name="T5" fmla="*/ 237 h 694"/>
                <a:gd name="T6" fmla="*/ 549 w 544"/>
                <a:gd name="T7" fmla="*/ 0 h 694"/>
                <a:gd name="T8" fmla="*/ 34 w 544"/>
                <a:gd name="T9" fmla="*/ 76 h 694"/>
                <a:gd name="T10" fmla="*/ 30 w 544"/>
                <a:gd name="T11" fmla="*/ 92 h 694"/>
                <a:gd name="T12" fmla="*/ 0 w 544"/>
                <a:gd name="T13" fmla="*/ 437 h 694"/>
                <a:gd name="T14" fmla="*/ 248 w 544"/>
                <a:gd name="T15" fmla="*/ 1392 h 694"/>
                <a:gd name="T16" fmla="*/ 575 w 544"/>
                <a:gd name="T17" fmla="*/ 1023 h 694"/>
                <a:gd name="T18" fmla="*/ 1090 w 544"/>
                <a:gd name="T19" fmla="*/ 917 h 694"/>
                <a:gd name="T20" fmla="*/ 966 w 544"/>
                <a:gd name="T21" fmla="*/ 437 h 6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4"/>
                <a:gd name="T34" fmla="*/ 0 h 694"/>
                <a:gd name="T35" fmla="*/ 544 w 544"/>
                <a:gd name="T36" fmla="*/ 694 h 6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4" h="694">
                  <a:moveTo>
                    <a:pt x="482" y="218"/>
                  </a:moveTo>
                  <a:cubicBezTo>
                    <a:pt x="482" y="188"/>
                    <a:pt x="485" y="158"/>
                    <a:pt x="490" y="130"/>
                  </a:cubicBezTo>
                  <a:cubicBezTo>
                    <a:pt x="491" y="126"/>
                    <a:pt x="492" y="122"/>
                    <a:pt x="492" y="118"/>
                  </a:cubicBezTo>
                  <a:cubicBezTo>
                    <a:pt x="274" y="0"/>
                    <a:pt x="274" y="0"/>
                    <a:pt x="274" y="0"/>
                  </a:cubicBezTo>
                  <a:cubicBezTo>
                    <a:pt x="17" y="38"/>
                    <a:pt x="17" y="38"/>
                    <a:pt x="17" y="38"/>
                  </a:cubicBezTo>
                  <a:cubicBezTo>
                    <a:pt x="16" y="41"/>
                    <a:pt x="16" y="43"/>
                    <a:pt x="15" y="46"/>
                  </a:cubicBezTo>
                  <a:cubicBezTo>
                    <a:pt x="6" y="102"/>
                    <a:pt x="0" y="159"/>
                    <a:pt x="0" y="218"/>
                  </a:cubicBezTo>
                  <a:cubicBezTo>
                    <a:pt x="0" y="390"/>
                    <a:pt x="45" y="553"/>
                    <a:pt x="124" y="694"/>
                  </a:cubicBezTo>
                  <a:cubicBezTo>
                    <a:pt x="287" y="510"/>
                    <a:pt x="287" y="510"/>
                    <a:pt x="287" y="510"/>
                  </a:cubicBezTo>
                  <a:cubicBezTo>
                    <a:pt x="544" y="457"/>
                    <a:pt x="544" y="457"/>
                    <a:pt x="544" y="457"/>
                  </a:cubicBezTo>
                  <a:cubicBezTo>
                    <a:pt x="505" y="386"/>
                    <a:pt x="482" y="304"/>
                    <a:pt x="482" y="218"/>
                  </a:cubicBez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2" name="Freeform 7"/>
            <p:cNvSpPr>
              <a:spLocks/>
            </p:cNvSpPr>
            <p:nvPr/>
          </p:nvSpPr>
          <p:spPr bwMode="gray">
            <a:xfrm>
              <a:off x="1183" y="2603"/>
              <a:ext cx="1354" cy="1364"/>
            </a:xfrm>
            <a:custGeom>
              <a:avLst/>
              <a:gdLst>
                <a:gd name="T0" fmla="*/ 847 w 676"/>
                <a:gd name="T1" fmla="*/ 14 h 680"/>
                <a:gd name="T2" fmla="*/ 841 w 676"/>
                <a:gd name="T3" fmla="*/ 0 h 680"/>
                <a:gd name="T4" fmla="*/ 326 w 676"/>
                <a:gd name="T5" fmla="*/ 106 h 680"/>
                <a:gd name="T6" fmla="*/ 0 w 676"/>
                <a:gd name="T7" fmla="*/ 475 h 680"/>
                <a:gd name="T8" fmla="*/ 12 w 676"/>
                <a:gd name="T9" fmla="*/ 497 h 680"/>
                <a:gd name="T10" fmla="*/ 1026 w 676"/>
                <a:gd name="T11" fmla="*/ 1364 h 680"/>
                <a:gd name="T12" fmla="*/ 1040 w 676"/>
                <a:gd name="T13" fmla="*/ 850 h 680"/>
                <a:gd name="T14" fmla="*/ 1354 w 676"/>
                <a:gd name="T15" fmla="*/ 453 h 680"/>
                <a:gd name="T16" fmla="*/ 847 w 676"/>
                <a:gd name="T17" fmla="*/ 14 h 6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6"/>
                <a:gd name="T28" fmla="*/ 0 h 680"/>
                <a:gd name="T29" fmla="*/ 676 w 676"/>
                <a:gd name="T30" fmla="*/ 680 h 6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6" h="680">
                  <a:moveTo>
                    <a:pt x="423" y="7"/>
                  </a:moveTo>
                  <a:cubicBezTo>
                    <a:pt x="422" y="5"/>
                    <a:pt x="421" y="2"/>
                    <a:pt x="420" y="0"/>
                  </a:cubicBezTo>
                  <a:cubicBezTo>
                    <a:pt x="163" y="53"/>
                    <a:pt x="163" y="53"/>
                    <a:pt x="163" y="53"/>
                  </a:cubicBezTo>
                  <a:cubicBezTo>
                    <a:pt x="0" y="237"/>
                    <a:pt x="0" y="237"/>
                    <a:pt x="0" y="237"/>
                  </a:cubicBezTo>
                  <a:cubicBezTo>
                    <a:pt x="2" y="241"/>
                    <a:pt x="4" y="244"/>
                    <a:pt x="6" y="248"/>
                  </a:cubicBezTo>
                  <a:cubicBezTo>
                    <a:pt x="118" y="445"/>
                    <a:pt x="297" y="599"/>
                    <a:pt x="512" y="680"/>
                  </a:cubicBezTo>
                  <a:cubicBezTo>
                    <a:pt x="519" y="424"/>
                    <a:pt x="519" y="424"/>
                    <a:pt x="519" y="424"/>
                  </a:cubicBezTo>
                  <a:cubicBezTo>
                    <a:pt x="676" y="226"/>
                    <a:pt x="676" y="226"/>
                    <a:pt x="676" y="226"/>
                  </a:cubicBezTo>
                  <a:cubicBezTo>
                    <a:pt x="569" y="184"/>
                    <a:pt x="479" y="106"/>
                    <a:pt x="423" y="7"/>
                  </a:cubicBez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3" name="Freeform 8"/>
            <p:cNvSpPr>
              <a:spLocks/>
            </p:cNvSpPr>
            <p:nvPr/>
          </p:nvSpPr>
          <p:spPr bwMode="gray">
            <a:xfrm>
              <a:off x="2183" y="3044"/>
              <a:ext cx="1350" cy="1037"/>
            </a:xfrm>
            <a:custGeom>
              <a:avLst/>
              <a:gdLst>
                <a:gd name="T0" fmla="*/ 1032 w 674"/>
                <a:gd name="T1" fmla="*/ 522 h 517"/>
                <a:gd name="T2" fmla="*/ 1018 w 674"/>
                <a:gd name="T3" fmla="*/ 16 h 517"/>
                <a:gd name="T4" fmla="*/ 693 w 674"/>
                <a:gd name="T5" fmla="*/ 70 h 517"/>
                <a:gd name="T6" fmla="*/ 349 w 674"/>
                <a:gd name="T7" fmla="*/ 8 h 517"/>
                <a:gd name="T8" fmla="*/ 328 w 674"/>
                <a:gd name="T9" fmla="*/ 0 h 517"/>
                <a:gd name="T10" fmla="*/ 14 w 674"/>
                <a:gd name="T11" fmla="*/ 397 h 517"/>
                <a:gd name="T12" fmla="*/ 0 w 674"/>
                <a:gd name="T13" fmla="*/ 911 h 517"/>
                <a:gd name="T14" fmla="*/ 18 w 674"/>
                <a:gd name="T15" fmla="*/ 917 h 517"/>
                <a:gd name="T16" fmla="*/ 693 w 674"/>
                <a:gd name="T17" fmla="*/ 1037 h 517"/>
                <a:gd name="T18" fmla="*/ 1350 w 674"/>
                <a:gd name="T19" fmla="*/ 923 h 517"/>
                <a:gd name="T20" fmla="*/ 1032 w 674"/>
                <a:gd name="T21" fmla="*/ 522 h 5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4"/>
                <a:gd name="T34" fmla="*/ 0 h 517"/>
                <a:gd name="T35" fmla="*/ 674 w 674"/>
                <a:gd name="T36" fmla="*/ 517 h 5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4" h="517">
                  <a:moveTo>
                    <a:pt x="515" y="260"/>
                  </a:moveTo>
                  <a:cubicBezTo>
                    <a:pt x="508" y="8"/>
                    <a:pt x="508" y="8"/>
                    <a:pt x="508" y="8"/>
                  </a:cubicBezTo>
                  <a:cubicBezTo>
                    <a:pt x="457" y="25"/>
                    <a:pt x="403" y="35"/>
                    <a:pt x="346" y="35"/>
                  </a:cubicBezTo>
                  <a:cubicBezTo>
                    <a:pt x="286" y="35"/>
                    <a:pt x="228" y="24"/>
                    <a:pt x="174" y="4"/>
                  </a:cubicBezTo>
                  <a:cubicBezTo>
                    <a:pt x="171" y="3"/>
                    <a:pt x="167" y="2"/>
                    <a:pt x="164" y="0"/>
                  </a:cubicBezTo>
                  <a:cubicBezTo>
                    <a:pt x="7" y="198"/>
                    <a:pt x="7" y="198"/>
                    <a:pt x="7" y="198"/>
                  </a:cubicBezTo>
                  <a:cubicBezTo>
                    <a:pt x="0" y="454"/>
                    <a:pt x="0" y="454"/>
                    <a:pt x="0" y="454"/>
                  </a:cubicBezTo>
                  <a:cubicBezTo>
                    <a:pt x="3" y="455"/>
                    <a:pt x="6" y="456"/>
                    <a:pt x="9" y="457"/>
                  </a:cubicBezTo>
                  <a:cubicBezTo>
                    <a:pt x="114" y="496"/>
                    <a:pt x="228" y="517"/>
                    <a:pt x="346" y="517"/>
                  </a:cubicBezTo>
                  <a:cubicBezTo>
                    <a:pt x="461" y="517"/>
                    <a:pt x="572" y="497"/>
                    <a:pt x="674" y="460"/>
                  </a:cubicBezTo>
                  <a:lnTo>
                    <a:pt x="515" y="260"/>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4" name="Freeform 9"/>
            <p:cNvSpPr>
              <a:spLocks/>
            </p:cNvSpPr>
            <p:nvPr/>
          </p:nvSpPr>
          <p:spPr bwMode="gray">
            <a:xfrm>
              <a:off x="3187" y="2629"/>
              <a:ext cx="1370" cy="1338"/>
            </a:xfrm>
            <a:custGeom>
              <a:avLst/>
              <a:gdLst>
                <a:gd name="T0" fmla="*/ 871 w 684"/>
                <a:gd name="T1" fmla="*/ 381 h 667"/>
                <a:gd name="T2" fmla="*/ 533 w 684"/>
                <a:gd name="T3" fmla="*/ 0 h 667"/>
                <a:gd name="T4" fmla="*/ 20 w 684"/>
                <a:gd name="T5" fmla="*/ 423 h 667"/>
                <a:gd name="T6" fmla="*/ 0 w 684"/>
                <a:gd name="T7" fmla="*/ 431 h 667"/>
                <a:gd name="T8" fmla="*/ 14 w 684"/>
                <a:gd name="T9" fmla="*/ 937 h 667"/>
                <a:gd name="T10" fmla="*/ 332 w 684"/>
                <a:gd name="T11" fmla="*/ 1338 h 667"/>
                <a:gd name="T12" fmla="*/ 351 w 684"/>
                <a:gd name="T13" fmla="*/ 1332 h 667"/>
                <a:gd name="T14" fmla="*/ 1370 w 684"/>
                <a:gd name="T15" fmla="*/ 483 h 667"/>
                <a:gd name="T16" fmla="*/ 871 w 684"/>
                <a:gd name="T17" fmla="*/ 381 h 6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4"/>
                <a:gd name="T28" fmla="*/ 0 h 667"/>
                <a:gd name="T29" fmla="*/ 684 w 684"/>
                <a:gd name="T30" fmla="*/ 667 h 6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4" h="667">
                  <a:moveTo>
                    <a:pt x="435" y="190"/>
                  </a:moveTo>
                  <a:cubicBezTo>
                    <a:pt x="266" y="0"/>
                    <a:pt x="266" y="0"/>
                    <a:pt x="266" y="0"/>
                  </a:cubicBezTo>
                  <a:cubicBezTo>
                    <a:pt x="208" y="97"/>
                    <a:pt x="118" y="172"/>
                    <a:pt x="10" y="211"/>
                  </a:cubicBezTo>
                  <a:cubicBezTo>
                    <a:pt x="7" y="212"/>
                    <a:pt x="3" y="214"/>
                    <a:pt x="0" y="215"/>
                  </a:cubicBezTo>
                  <a:cubicBezTo>
                    <a:pt x="7" y="467"/>
                    <a:pt x="7" y="467"/>
                    <a:pt x="7" y="467"/>
                  </a:cubicBezTo>
                  <a:cubicBezTo>
                    <a:pt x="166" y="667"/>
                    <a:pt x="166" y="667"/>
                    <a:pt x="166" y="667"/>
                  </a:cubicBezTo>
                  <a:cubicBezTo>
                    <a:pt x="169" y="666"/>
                    <a:pt x="172" y="665"/>
                    <a:pt x="175" y="664"/>
                  </a:cubicBezTo>
                  <a:cubicBezTo>
                    <a:pt x="390" y="586"/>
                    <a:pt x="569" y="435"/>
                    <a:pt x="684" y="241"/>
                  </a:cubicBezTo>
                  <a:lnTo>
                    <a:pt x="435" y="190"/>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5" name="Freeform 10"/>
            <p:cNvSpPr>
              <a:spLocks/>
            </p:cNvSpPr>
            <p:nvPr/>
          </p:nvSpPr>
          <p:spPr bwMode="gray">
            <a:xfrm>
              <a:off x="3697" y="1816"/>
              <a:ext cx="1110" cy="1330"/>
            </a:xfrm>
            <a:custGeom>
              <a:avLst/>
              <a:gdLst>
                <a:gd name="T0" fmla="*/ 1084 w 554"/>
                <a:gd name="T1" fmla="*/ 0 h 663"/>
                <a:gd name="T2" fmla="*/ 629 w 554"/>
                <a:gd name="T3" fmla="*/ 247 h 663"/>
                <a:gd name="T4" fmla="*/ 132 w 554"/>
                <a:gd name="T5" fmla="*/ 173 h 663"/>
                <a:gd name="T6" fmla="*/ 144 w 554"/>
                <a:gd name="T7" fmla="*/ 329 h 663"/>
                <a:gd name="T8" fmla="*/ 10 w 554"/>
                <a:gd name="T9" fmla="*/ 830 h 663"/>
                <a:gd name="T10" fmla="*/ 0 w 554"/>
                <a:gd name="T11" fmla="*/ 847 h 663"/>
                <a:gd name="T12" fmla="*/ 339 w 554"/>
                <a:gd name="T13" fmla="*/ 1228 h 663"/>
                <a:gd name="T14" fmla="*/ 838 w 554"/>
                <a:gd name="T15" fmla="*/ 1330 h 663"/>
                <a:gd name="T16" fmla="*/ 848 w 554"/>
                <a:gd name="T17" fmla="*/ 1314 h 663"/>
                <a:gd name="T18" fmla="*/ 1110 w 554"/>
                <a:gd name="T19" fmla="*/ 329 h 663"/>
                <a:gd name="T20" fmla="*/ 1084 w 554"/>
                <a:gd name="T21" fmla="*/ 0 h 6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4"/>
                <a:gd name="T34" fmla="*/ 0 h 663"/>
                <a:gd name="T35" fmla="*/ 554 w 554"/>
                <a:gd name="T36" fmla="*/ 663 h 66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4" h="663">
                  <a:moveTo>
                    <a:pt x="541" y="0"/>
                  </a:moveTo>
                  <a:cubicBezTo>
                    <a:pt x="314" y="123"/>
                    <a:pt x="314" y="123"/>
                    <a:pt x="314" y="123"/>
                  </a:cubicBezTo>
                  <a:cubicBezTo>
                    <a:pt x="66" y="86"/>
                    <a:pt x="66" y="86"/>
                    <a:pt x="66" y="86"/>
                  </a:cubicBezTo>
                  <a:cubicBezTo>
                    <a:pt x="70" y="112"/>
                    <a:pt x="72" y="137"/>
                    <a:pt x="72" y="164"/>
                  </a:cubicBezTo>
                  <a:cubicBezTo>
                    <a:pt x="72" y="255"/>
                    <a:pt x="48" y="340"/>
                    <a:pt x="5" y="414"/>
                  </a:cubicBezTo>
                  <a:cubicBezTo>
                    <a:pt x="4" y="417"/>
                    <a:pt x="2" y="419"/>
                    <a:pt x="0" y="422"/>
                  </a:cubicBezTo>
                  <a:cubicBezTo>
                    <a:pt x="169" y="612"/>
                    <a:pt x="169" y="612"/>
                    <a:pt x="169" y="612"/>
                  </a:cubicBezTo>
                  <a:cubicBezTo>
                    <a:pt x="418" y="663"/>
                    <a:pt x="418" y="663"/>
                    <a:pt x="418" y="663"/>
                  </a:cubicBezTo>
                  <a:cubicBezTo>
                    <a:pt x="420" y="660"/>
                    <a:pt x="421" y="658"/>
                    <a:pt x="423" y="655"/>
                  </a:cubicBezTo>
                  <a:cubicBezTo>
                    <a:pt x="507" y="510"/>
                    <a:pt x="554" y="342"/>
                    <a:pt x="554" y="164"/>
                  </a:cubicBezTo>
                  <a:cubicBezTo>
                    <a:pt x="554" y="108"/>
                    <a:pt x="550" y="53"/>
                    <a:pt x="541" y="0"/>
                  </a:cubicBez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6" name="Freeform 11"/>
            <p:cNvSpPr>
              <a:spLocks/>
            </p:cNvSpPr>
            <p:nvPr/>
          </p:nvSpPr>
          <p:spPr bwMode="gray">
            <a:xfrm>
              <a:off x="3503" y="657"/>
              <a:ext cx="1278" cy="1414"/>
            </a:xfrm>
            <a:custGeom>
              <a:avLst/>
              <a:gdLst>
                <a:gd name="T0" fmla="*/ 1274 w 638"/>
                <a:gd name="T1" fmla="*/ 1151 h 705"/>
                <a:gd name="T2" fmla="*/ 619 w 638"/>
                <a:gd name="T3" fmla="*/ 0 h 705"/>
                <a:gd name="T4" fmla="*/ 429 w 638"/>
                <a:gd name="T5" fmla="*/ 479 h 705"/>
                <a:gd name="T6" fmla="*/ 0 w 638"/>
                <a:gd name="T7" fmla="*/ 744 h 705"/>
                <a:gd name="T8" fmla="*/ 325 w 638"/>
                <a:gd name="T9" fmla="*/ 1318 h 705"/>
                <a:gd name="T10" fmla="*/ 327 w 638"/>
                <a:gd name="T11" fmla="*/ 1340 h 705"/>
                <a:gd name="T12" fmla="*/ 823 w 638"/>
                <a:gd name="T13" fmla="*/ 1414 h 705"/>
                <a:gd name="T14" fmla="*/ 1278 w 638"/>
                <a:gd name="T15" fmla="*/ 1167 h 705"/>
                <a:gd name="T16" fmla="*/ 1274 w 638"/>
                <a:gd name="T17" fmla="*/ 1151 h 7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8"/>
                <a:gd name="T28" fmla="*/ 0 h 705"/>
                <a:gd name="T29" fmla="*/ 638 w 638"/>
                <a:gd name="T30" fmla="*/ 705 h 7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8" h="705">
                  <a:moveTo>
                    <a:pt x="636" y="574"/>
                  </a:moveTo>
                  <a:cubicBezTo>
                    <a:pt x="596" y="346"/>
                    <a:pt x="477" y="145"/>
                    <a:pt x="309" y="0"/>
                  </a:cubicBezTo>
                  <a:cubicBezTo>
                    <a:pt x="214" y="239"/>
                    <a:pt x="214" y="239"/>
                    <a:pt x="214" y="239"/>
                  </a:cubicBezTo>
                  <a:cubicBezTo>
                    <a:pt x="0" y="371"/>
                    <a:pt x="0" y="371"/>
                    <a:pt x="0" y="371"/>
                  </a:cubicBezTo>
                  <a:cubicBezTo>
                    <a:pt x="83" y="444"/>
                    <a:pt x="141" y="544"/>
                    <a:pt x="162" y="657"/>
                  </a:cubicBezTo>
                  <a:cubicBezTo>
                    <a:pt x="162" y="661"/>
                    <a:pt x="163" y="665"/>
                    <a:pt x="163" y="668"/>
                  </a:cubicBezTo>
                  <a:cubicBezTo>
                    <a:pt x="411" y="705"/>
                    <a:pt x="411" y="705"/>
                    <a:pt x="411" y="705"/>
                  </a:cubicBezTo>
                  <a:cubicBezTo>
                    <a:pt x="638" y="582"/>
                    <a:pt x="638" y="582"/>
                    <a:pt x="638" y="582"/>
                  </a:cubicBezTo>
                  <a:cubicBezTo>
                    <a:pt x="637" y="579"/>
                    <a:pt x="637" y="576"/>
                    <a:pt x="636" y="574"/>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37" name="Freeform 12"/>
            <p:cNvSpPr>
              <a:spLocks/>
            </p:cNvSpPr>
            <p:nvPr/>
          </p:nvSpPr>
          <p:spPr bwMode="gray">
            <a:xfrm>
              <a:off x="2896" y="219"/>
              <a:ext cx="1266" cy="1218"/>
            </a:xfrm>
            <a:custGeom>
              <a:avLst/>
              <a:gdLst>
                <a:gd name="T0" fmla="*/ 1252 w 632"/>
                <a:gd name="T1" fmla="*/ 462 h 607"/>
                <a:gd name="T2" fmla="*/ 0 w 632"/>
                <a:gd name="T3" fmla="*/ 0 h 607"/>
                <a:gd name="T4" fmla="*/ 160 w 632"/>
                <a:gd name="T5" fmla="*/ 482 h 607"/>
                <a:gd name="T6" fmla="*/ 0 w 632"/>
                <a:gd name="T7" fmla="*/ 967 h 607"/>
                <a:gd name="T8" fmla="*/ 631 w 632"/>
                <a:gd name="T9" fmla="*/ 1204 h 607"/>
                <a:gd name="T10" fmla="*/ 647 w 632"/>
                <a:gd name="T11" fmla="*/ 1218 h 607"/>
                <a:gd name="T12" fmla="*/ 1076 w 632"/>
                <a:gd name="T13" fmla="*/ 953 h 607"/>
                <a:gd name="T14" fmla="*/ 1266 w 632"/>
                <a:gd name="T15" fmla="*/ 474 h 607"/>
                <a:gd name="T16" fmla="*/ 1252 w 632"/>
                <a:gd name="T17" fmla="*/ 462 h 60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2"/>
                <a:gd name="T28" fmla="*/ 0 h 607"/>
                <a:gd name="T29" fmla="*/ 632 w 632"/>
                <a:gd name="T30" fmla="*/ 607 h 60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2" h="607">
                  <a:moveTo>
                    <a:pt x="625" y="230"/>
                  </a:moveTo>
                  <a:cubicBezTo>
                    <a:pt x="456" y="88"/>
                    <a:pt x="238" y="1"/>
                    <a:pt x="0" y="0"/>
                  </a:cubicBezTo>
                  <a:cubicBezTo>
                    <a:pt x="80" y="240"/>
                    <a:pt x="80" y="240"/>
                    <a:pt x="80" y="240"/>
                  </a:cubicBezTo>
                  <a:cubicBezTo>
                    <a:pt x="0" y="482"/>
                    <a:pt x="0" y="482"/>
                    <a:pt x="0" y="482"/>
                  </a:cubicBezTo>
                  <a:cubicBezTo>
                    <a:pt x="120" y="483"/>
                    <a:pt x="230" y="527"/>
                    <a:pt x="315" y="600"/>
                  </a:cubicBezTo>
                  <a:cubicBezTo>
                    <a:pt x="318" y="602"/>
                    <a:pt x="321" y="604"/>
                    <a:pt x="323" y="607"/>
                  </a:cubicBezTo>
                  <a:cubicBezTo>
                    <a:pt x="537" y="475"/>
                    <a:pt x="537" y="475"/>
                    <a:pt x="537" y="475"/>
                  </a:cubicBezTo>
                  <a:cubicBezTo>
                    <a:pt x="632" y="236"/>
                    <a:pt x="632" y="236"/>
                    <a:pt x="632" y="236"/>
                  </a:cubicBezTo>
                  <a:cubicBezTo>
                    <a:pt x="630" y="234"/>
                    <a:pt x="627" y="232"/>
                    <a:pt x="625" y="230"/>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grpSp>
        <p:nvGrpSpPr>
          <p:cNvPr id="138" name="Group 137"/>
          <p:cNvGrpSpPr>
            <a:grpSpLocks/>
          </p:cNvGrpSpPr>
          <p:nvPr/>
        </p:nvGrpSpPr>
        <p:grpSpPr bwMode="gray">
          <a:xfrm>
            <a:off x="6290504" y="4363624"/>
            <a:ext cx="1794915" cy="1803696"/>
            <a:chOff x="945" y="216"/>
            <a:chExt cx="3867" cy="3880"/>
          </a:xfrm>
          <a:solidFill>
            <a:schemeClr val="bg2">
              <a:lumMod val="60000"/>
              <a:lumOff val="40000"/>
            </a:schemeClr>
          </a:solidFill>
        </p:grpSpPr>
        <p:sp>
          <p:nvSpPr>
            <p:cNvPr id="139" name="Freeform 4"/>
            <p:cNvSpPr>
              <a:spLocks/>
            </p:cNvSpPr>
            <p:nvPr/>
          </p:nvSpPr>
          <p:spPr bwMode="gray">
            <a:xfrm>
              <a:off x="1750" y="216"/>
              <a:ext cx="1312" cy="1142"/>
            </a:xfrm>
            <a:custGeom>
              <a:avLst/>
              <a:gdLst>
                <a:gd name="T0" fmla="*/ 1152 w 654"/>
                <a:gd name="T1" fmla="*/ 0 h 570"/>
                <a:gd name="T2" fmla="*/ 1137 w 654"/>
                <a:gd name="T3" fmla="*/ 0 h 570"/>
                <a:gd name="T4" fmla="*/ 1131 w 654"/>
                <a:gd name="T5" fmla="*/ 0 h 570"/>
                <a:gd name="T6" fmla="*/ 0 w 654"/>
                <a:gd name="T7" fmla="*/ 361 h 570"/>
                <a:gd name="T8" fmla="*/ 411 w 654"/>
                <a:gd name="T9" fmla="*/ 657 h 570"/>
                <a:gd name="T10" fmla="*/ 568 w 654"/>
                <a:gd name="T11" fmla="*/ 1142 h 570"/>
                <a:gd name="T12" fmla="*/ 1131 w 654"/>
                <a:gd name="T13" fmla="*/ 966 h 570"/>
                <a:gd name="T14" fmla="*/ 1137 w 654"/>
                <a:gd name="T15" fmla="*/ 966 h 570"/>
                <a:gd name="T16" fmla="*/ 1152 w 654"/>
                <a:gd name="T17" fmla="*/ 966 h 570"/>
                <a:gd name="T18" fmla="*/ 1312 w 654"/>
                <a:gd name="T19" fmla="*/ 485 h 570"/>
                <a:gd name="T20" fmla="*/ 1152 w 654"/>
                <a:gd name="T21" fmla="*/ 0 h 57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4"/>
                <a:gd name="T34" fmla="*/ 0 h 570"/>
                <a:gd name="T35" fmla="*/ 654 w 654"/>
                <a:gd name="T36" fmla="*/ 570 h 57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4" h="570">
                  <a:moveTo>
                    <a:pt x="574" y="0"/>
                  </a:moveTo>
                  <a:cubicBezTo>
                    <a:pt x="571" y="0"/>
                    <a:pt x="569" y="0"/>
                    <a:pt x="567" y="0"/>
                  </a:cubicBezTo>
                  <a:cubicBezTo>
                    <a:pt x="566" y="0"/>
                    <a:pt x="565" y="0"/>
                    <a:pt x="564" y="0"/>
                  </a:cubicBezTo>
                  <a:cubicBezTo>
                    <a:pt x="354" y="0"/>
                    <a:pt x="159" y="67"/>
                    <a:pt x="0" y="180"/>
                  </a:cubicBezTo>
                  <a:cubicBezTo>
                    <a:pt x="205" y="328"/>
                    <a:pt x="205" y="328"/>
                    <a:pt x="205" y="328"/>
                  </a:cubicBezTo>
                  <a:cubicBezTo>
                    <a:pt x="283" y="570"/>
                    <a:pt x="283" y="570"/>
                    <a:pt x="283" y="570"/>
                  </a:cubicBezTo>
                  <a:cubicBezTo>
                    <a:pt x="363" y="515"/>
                    <a:pt x="459" y="482"/>
                    <a:pt x="564" y="482"/>
                  </a:cubicBezTo>
                  <a:cubicBezTo>
                    <a:pt x="565" y="482"/>
                    <a:pt x="566" y="482"/>
                    <a:pt x="567" y="482"/>
                  </a:cubicBezTo>
                  <a:cubicBezTo>
                    <a:pt x="570" y="482"/>
                    <a:pt x="572" y="482"/>
                    <a:pt x="574" y="482"/>
                  </a:cubicBezTo>
                  <a:cubicBezTo>
                    <a:pt x="654" y="242"/>
                    <a:pt x="654" y="242"/>
                    <a:pt x="654" y="242"/>
                  </a:cubicBezTo>
                  <a:lnTo>
                    <a:pt x="574" y="0"/>
                  </a:lnTo>
                  <a:close/>
                </a:path>
              </a:pathLst>
            </a:custGeom>
            <a:solidFill>
              <a:schemeClr val="accent3">
                <a:lumMod val="50000"/>
              </a:schemeClr>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0" name="Freeform 5"/>
            <p:cNvSpPr>
              <a:spLocks/>
            </p:cNvSpPr>
            <p:nvPr/>
          </p:nvSpPr>
          <p:spPr bwMode="gray">
            <a:xfrm>
              <a:off x="1045" y="567"/>
              <a:ext cx="1298" cy="1270"/>
            </a:xfrm>
            <a:custGeom>
              <a:avLst/>
              <a:gdLst>
                <a:gd name="T0" fmla="*/ 1142 w 647"/>
                <a:gd name="T1" fmla="*/ 296 h 634"/>
                <a:gd name="T2" fmla="*/ 730 w 647"/>
                <a:gd name="T3" fmla="*/ 0 h 634"/>
                <a:gd name="T4" fmla="*/ 712 w 647"/>
                <a:gd name="T5" fmla="*/ 12 h 634"/>
                <a:gd name="T6" fmla="*/ 0 w 647"/>
                <a:gd name="T7" fmla="*/ 980 h 634"/>
                <a:gd name="T8" fmla="*/ 522 w 647"/>
                <a:gd name="T9" fmla="*/ 976 h 634"/>
                <a:gd name="T10" fmla="*/ 923 w 647"/>
                <a:gd name="T11" fmla="*/ 1270 h 634"/>
                <a:gd name="T12" fmla="*/ 1282 w 647"/>
                <a:gd name="T13" fmla="*/ 793 h 634"/>
                <a:gd name="T14" fmla="*/ 1298 w 647"/>
                <a:gd name="T15" fmla="*/ 781 h 634"/>
                <a:gd name="T16" fmla="*/ 1142 w 647"/>
                <a:gd name="T17" fmla="*/ 296 h 6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7"/>
                <a:gd name="T28" fmla="*/ 0 h 634"/>
                <a:gd name="T29" fmla="*/ 647 w 647"/>
                <a:gd name="T30" fmla="*/ 634 h 6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7" h="634">
                  <a:moveTo>
                    <a:pt x="569" y="148"/>
                  </a:moveTo>
                  <a:cubicBezTo>
                    <a:pt x="364" y="0"/>
                    <a:pt x="364" y="0"/>
                    <a:pt x="364" y="0"/>
                  </a:cubicBezTo>
                  <a:cubicBezTo>
                    <a:pt x="361" y="2"/>
                    <a:pt x="358" y="4"/>
                    <a:pt x="355" y="6"/>
                  </a:cubicBezTo>
                  <a:cubicBezTo>
                    <a:pt x="192" y="125"/>
                    <a:pt x="66" y="293"/>
                    <a:pt x="0" y="489"/>
                  </a:cubicBezTo>
                  <a:cubicBezTo>
                    <a:pt x="260" y="487"/>
                    <a:pt x="260" y="487"/>
                    <a:pt x="260" y="487"/>
                  </a:cubicBezTo>
                  <a:cubicBezTo>
                    <a:pt x="460" y="634"/>
                    <a:pt x="460" y="634"/>
                    <a:pt x="460" y="634"/>
                  </a:cubicBezTo>
                  <a:cubicBezTo>
                    <a:pt x="494" y="538"/>
                    <a:pt x="557" y="455"/>
                    <a:pt x="639" y="396"/>
                  </a:cubicBezTo>
                  <a:cubicBezTo>
                    <a:pt x="641" y="394"/>
                    <a:pt x="644" y="392"/>
                    <a:pt x="647" y="390"/>
                  </a:cubicBezTo>
                  <a:lnTo>
                    <a:pt x="569" y="148"/>
                  </a:lnTo>
                  <a:close/>
                </a:path>
              </a:pathLst>
            </a:custGeom>
            <a:solidFill>
              <a:schemeClr val="tx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1" name="Freeform 6"/>
            <p:cNvSpPr>
              <a:spLocks/>
            </p:cNvSpPr>
            <p:nvPr/>
          </p:nvSpPr>
          <p:spPr bwMode="gray">
            <a:xfrm>
              <a:off x="945" y="1540"/>
              <a:ext cx="1025" cy="1218"/>
            </a:xfrm>
            <a:custGeom>
              <a:avLst/>
              <a:gdLst>
                <a:gd name="T0" fmla="*/ 1025 w 511"/>
                <a:gd name="T1" fmla="*/ 294 h 608"/>
                <a:gd name="T2" fmla="*/ 624 w 511"/>
                <a:gd name="T3" fmla="*/ 0 h 608"/>
                <a:gd name="T4" fmla="*/ 102 w 511"/>
                <a:gd name="T5" fmla="*/ 4 h 608"/>
                <a:gd name="T6" fmla="*/ 98 w 511"/>
                <a:gd name="T7" fmla="*/ 18 h 608"/>
                <a:gd name="T8" fmla="*/ 0 w 511"/>
                <a:gd name="T9" fmla="*/ 631 h 608"/>
                <a:gd name="T10" fmla="*/ 90 w 511"/>
                <a:gd name="T11" fmla="*/ 1218 h 608"/>
                <a:gd name="T12" fmla="*/ 505 w 511"/>
                <a:gd name="T13" fmla="*/ 913 h 608"/>
                <a:gd name="T14" fmla="*/ 1009 w 511"/>
                <a:gd name="T15" fmla="*/ 916 h 608"/>
                <a:gd name="T16" fmla="*/ 967 w 511"/>
                <a:gd name="T17" fmla="*/ 631 h 608"/>
                <a:gd name="T18" fmla="*/ 1017 w 511"/>
                <a:gd name="T19" fmla="*/ 317 h 608"/>
                <a:gd name="T20" fmla="*/ 1025 w 511"/>
                <a:gd name="T21" fmla="*/ 294 h 6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11"/>
                <a:gd name="T34" fmla="*/ 0 h 608"/>
                <a:gd name="T35" fmla="*/ 511 w 511"/>
                <a:gd name="T36" fmla="*/ 608 h 6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11" h="608">
                  <a:moveTo>
                    <a:pt x="511" y="147"/>
                  </a:moveTo>
                  <a:cubicBezTo>
                    <a:pt x="311" y="0"/>
                    <a:pt x="311" y="0"/>
                    <a:pt x="311" y="0"/>
                  </a:cubicBezTo>
                  <a:cubicBezTo>
                    <a:pt x="51" y="2"/>
                    <a:pt x="51" y="2"/>
                    <a:pt x="51" y="2"/>
                  </a:cubicBezTo>
                  <a:cubicBezTo>
                    <a:pt x="50" y="4"/>
                    <a:pt x="49" y="7"/>
                    <a:pt x="49" y="9"/>
                  </a:cubicBezTo>
                  <a:cubicBezTo>
                    <a:pt x="17" y="105"/>
                    <a:pt x="0" y="208"/>
                    <a:pt x="0" y="315"/>
                  </a:cubicBezTo>
                  <a:cubicBezTo>
                    <a:pt x="0" y="417"/>
                    <a:pt x="16" y="516"/>
                    <a:pt x="45" y="608"/>
                  </a:cubicBezTo>
                  <a:cubicBezTo>
                    <a:pt x="252" y="456"/>
                    <a:pt x="252" y="456"/>
                    <a:pt x="252" y="456"/>
                  </a:cubicBezTo>
                  <a:cubicBezTo>
                    <a:pt x="503" y="457"/>
                    <a:pt x="503" y="457"/>
                    <a:pt x="503" y="457"/>
                  </a:cubicBezTo>
                  <a:cubicBezTo>
                    <a:pt x="489" y="412"/>
                    <a:pt x="482" y="364"/>
                    <a:pt x="482" y="315"/>
                  </a:cubicBezTo>
                  <a:cubicBezTo>
                    <a:pt x="482" y="260"/>
                    <a:pt x="491" y="207"/>
                    <a:pt x="507" y="158"/>
                  </a:cubicBezTo>
                  <a:cubicBezTo>
                    <a:pt x="508" y="154"/>
                    <a:pt x="510" y="151"/>
                    <a:pt x="511" y="147"/>
                  </a:cubicBezTo>
                  <a:close/>
                </a:path>
              </a:pathLst>
            </a:custGeom>
            <a:solidFill>
              <a:srgbClr val="43B02A"/>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2" name="Freeform 7"/>
            <p:cNvSpPr>
              <a:spLocks/>
            </p:cNvSpPr>
            <p:nvPr/>
          </p:nvSpPr>
          <p:spPr bwMode="gray">
            <a:xfrm>
              <a:off x="1033" y="2443"/>
              <a:ext cx="1276" cy="1298"/>
            </a:xfrm>
            <a:custGeom>
              <a:avLst/>
              <a:gdLst>
                <a:gd name="T0" fmla="*/ 925 w 636"/>
                <a:gd name="T1" fmla="*/ 24 h 648"/>
                <a:gd name="T2" fmla="*/ 919 w 636"/>
                <a:gd name="T3" fmla="*/ 2 h 648"/>
                <a:gd name="T4" fmla="*/ 415 w 636"/>
                <a:gd name="T5" fmla="*/ 0 h 648"/>
                <a:gd name="T6" fmla="*/ 0 w 636"/>
                <a:gd name="T7" fmla="*/ 304 h 648"/>
                <a:gd name="T8" fmla="*/ 6 w 636"/>
                <a:gd name="T9" fmla="*/ 322 h 648"/>
                <a:gd name="T10" fmla="*/ 708 w 636"/>
                <a:gd name="T11" fmla="*/ 1298 h 648"/>
                <a:gd name="T12" fmla="*/ 865 w 636"/>
                <a:gd name="T13" fmla="*/ 809 h 648"/>
                <a:gd name="T14" fmla="*/ 1276 w 636"/>
                <a:gd name="T15" fmla="*/ 515 h 648"/>
                <a:gd name="T16" fmla="*/ 925 w 636"/>
                <a:gd name="T17" fmla="*/ 24 h 6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6"/>
                <a:gd name="T28" fmla="*/ 0 h 648"/>
                <a:gd name="T29" fmla="*/ 636 w 636"/>
                <a:gd name="T30" fmla="*/ 648 h 6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6" h="648">
                  <a:moveTo>
                    <a:pt x="461" y="12"/>
                  </a:moveTo>
                  <a:cubicBezTo>
                    <a:pt x="460" y="8"/>
                    <a:pt x="459" y="5"/>
                    <a:pt x="458" y="1"/>
                  </a:cubicBezTo>
                  <a:cubicBezTo>
                    <a:pt x="207" y="0"/>
                    <a:pt x="207" y="0"/>
                    <a:pt x="207" y="0"/>
                  </a:cubicBezTo>
                  <a:cubicBezTo>
                    <a:pt x="0" y="152"/>
                    <a:pt x="0" y="152"/>
                    <a:pt x="0" y="152"/>
                  </a:cubicBezTo>
                  <a:cubicBezTo>
                    <a:pt x="1" y="155"/>
                    <a:pt x="2" y="158"/>
                    <a:pt x="3" y="161"/>
                  </a:cubicBezTo>
                  <a:cubicBezTo>
                    <a:pt x="66" y="358"/>
                    <a:pt x="190" y="528"/>
                    <a:pt x="353" y="648"/>
                  </a:cubicBezTo>
                  <a:cubicBezTo>
                    <a:pt x="431" y="404"/>
                    <a:pt x="431" y="404"/>
                    <a:pt x="431" y="404"/>
                  </a:cubicBezTo>
                  <a:cubicBezTo>
                    <a:pt x="636" y="257"/>
                    <a:pt x="636" y="257"/>
                    <a:pt x="636" y="257"/>
                  </a:cubicBezTo>
                  <a:cubicBezTo>
                    <a:pt x="555" y="196"/>
                    <a:pt x="493" y="111"/>
                    <a:pt x="461" y="12"/>
                  </a:cubicBezTo>
                  <a:close/>
                </a:path>
              </a:pathLst>
            </a:custGeom>
            <a:solidFill>
              <a:schemeClr val="tx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3" name="Freeform 8"/>
            <p:cNvSpPr>
              <a:spLocks/>
            </p:cNvSpPr>
            <p:nvPr/>
          </p:nvSpPr>
          <p:spPr bwMode="gray">
            <a:xfrm>
              <a:off x="1703" y="2926"/>
              <a:ext cx="1154" cy="1168"/>
            </a:xfrm>
            <a:custGeom>
              <a:avLst/>
              <a:gdLst>
                <a:gd name="T0" fmla="*/ 989 w 575"/>
                <a:gd name="T1" fmla="*/ 673 h 583"/>
                <a:gd name="T2" fmla="*/ 1146 w 575"/>
                <a:gd name="T3" fmla="*/ 202 h 583"/>
                <a:gd name="T4" fmla="*/ 584 w 575"/>
                <a:gd name="T5" fmla="*/ 14 h 583"/>
                <a:gd name="T6" fmla="*/ 568 w 575"/>
                <a:gd name="T7" fmla="*/ 0 h 583"/>
                <a:gd name="T8" fmla="*/ 157 w 575"/>
                <a:gd name="T9" fmla="*/ 295 h 583"/>
                <a:gd name="T10" fmla="*/ 0 w 575"/>
                <a:gd name="T11" fmla="*/ 783 h 583"/>
                <a:gd name="T12" fmla="*/ 16 w 575"/>
                <a:gd name="T13" fmla="*/ 795 h 583"/>
                <a:gd name="T14" fmla="*/ 1154 w 575"/>
                <a:gd name="T15" fmla="*/ 1168 h 583"/>
                <a:gd name="T16" fmla="*/ 989 w 575"/>
                <a:gd name="T17" fmla="*/ 673 h 5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5"/>
                <a:gd name="T28" fmla="*/ 0 h 583"/>
                <a:gd name="T29" fmla="*/ 575 w 575"/>
                <a:gd name="T30" fmla="*/ 583 h 5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5" h="583">
                  <a:moveTo>
                    <a:pt x="493" y="336"/>
                  </a:moveTo>
                  <a:cubicBezTo>
                    <a:pt x="571" y="101"/>
                    <a:pt x="571" y="101"/>
                    <a:pt x="571" y="101"/>
                  </a:cubicBezTo>
                  <a:cubicBezTo>
                    <a:pt x="466" y="99"/>
                    <a:pt x="370" y="64"/>
                    <a:pt x="291" y="7"/>
                  </a:cubicBezTo>
                  <a:cubicBezTo>
                    <a:pt x="288" y="5"/>
                    <a:pt x="285" y="3"/>
                    <a:pt x="283" y="0"/>
                  </a:cubicBezTo>
                  <a:cubicBezTo>
                    <a:pt x="78" y="147"/>
                    <a:pt x="78" y="147"/>
                    <a:pt x="78" y="147"/>
                  </a:cubicBezTo>
                  <a:cubicBezTo>
                    <a:pt x="0" y="391"/>
                    <a:pt x="0" y="391"/>
                    <a:pt x="0" y="391"/>
                  </a:cubicBezTo>
                  <a:cubicBezTo>
                    <a:pt x="3" y="393"/>
                    <a:pt x="5" y="395"/>
                    <a:pt x="8" y="397"/>
                  </a:cubicBezTo>
                  <a:cubicBezTo>
                    <a:pt x="167" y="513"/>
                    <a:pt x="363" y="581"/>
                    <a:pt x="575" y="583"/>
                  </a:cubicBezTo>
                  <a:lnTo>
                    <a:pt x="493" y="336"/>
                  </a:lnTo>
                  <a:close/>
                </a:path>
              </a:pathLst>
            </a:custGeom>
            <a:solidFill>
              <a:schemeClr val="accent2"/>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4" name="Freeform 9"/>
            <p:cNvSpPr>
              <a:spLocks/>
            </p:cNvSpPr>
            <p:nvPr/>
          </p:nvSpPr>
          <p:spPr bwMode="gray">
            <a:xfrm>
              <a:off x="2686" y="2952"/>
              <a:ext cx="1322" cy="1144"/>
            </a:xfrm>
            <a:custGeom>
              <a:avLst/>
              <a:gdLst>
                <a:gd name="T0" fmla="*/ 907 w 659"/>
                <a:gd name="T1" fmla="*/ 485 h 571"/>
                <a:gd name="T2" fmla="*/ 752 w 659"/>
                <a:gd name="T3" fmla="*/ 0 h 571"/>
                <a:gd name="T4" fmla="*/ 183 w 659"/>
                <a:gd name="T5" fmla="*/ 178 h 571"/>
                <a:gd name="T6" fmla="*/ 181 w 659"/>
                <a:gd name="T7" fmla="*/ 178 h 571"/>
                <a:gd name="T8" fmla="*/ 156 w 659"/>
                <a:gd name="T9" fmla="*/ 176 h 571"/>
                <a:gd name="T10" fmla="*/ 0 w 659"/>
                <a:gd name="T11" fmla="*/ 647 h 571"/>
                <a:gd name="T12" fmla="*/ 164 w 659"/>
                <a:gd name="T13" fmla="*/ 1142 h 571"/>
                <a:gd name="T14" fmla="*/ 181 w 659"/>
                <a:gd name="T15" fmla="*/ 1144 h 571"/>
                <a:gd name="T16" fmla="*/ 183 w 659"/>
                <a:gd name="T17" fmla="*/ 1144 h 571"/>
                <a:gd name="T18" fmla="*/ 1322 w 659"/>
                <a:gd name="T19" fmla="*/ 781 h 571"/>
                <a:gd name="T20" fmla="*/ 907 w 659"/>
                <a:gd name="T21" fmla="*/ 485 h 5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9"/>
                <a:gd name="T34" fmla="*/ 0 h 571"/>
                <a:gd name="T35" fmla="*/ 659 w 659"/>
                <a:gd name="T36" fmla="*/ 571 h 5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9" h="571">
                  <a:moveTo>
                    <a:pt x="452" y="242"/>
                  </a:moveTo>
                  <a:cubicBezTo>
                    <a:pt x="375" y="0"/>
                    <a:pt x="375" y="0"/>
                    <a:pt x="375" y="0"/>
                  </a:cubicBezTo>
                  <a:cubicBezTo>
                    <a:pt x="295" y="56"/>
                    <a:pt x="197" y="89"/>
                    <a:pt x="91" y="89"/>
                  </a:cubicBezTo>
                  <a:cubicBezTo>
                    <a:pt x="91" y="89"/>
                    <a:pt x="90" y="89"/>
                    <a:pt x="90" y="89"/>
                  </a:cubicBezTo>
                  <a:cubicBezTo>
                    <a:pt x="86" y="89"/>
                    <a:pt x="82" y="88"/>
                    <a:pt x="78" y="88"/>
                  </a:cubicBezTo>
                  <a:cubicBezTo>
                    <a:pt x="0" y="323"/>
                    <a:pt x="0" y="323"/>
                    <a:pt x="0" y="323"/>
                  </a:cubicBezTo>
                  <a:cubicBezTo>
                    <a:pt x="82" y="570"/>
                    <a:pt x="82" y="570"/>
                    <a:pt x="82" y="570"/>
                  </a:cubicBezTo>
                  <a:cubicBezTo>
                    <a:pt x="84" y="570"/>
                    <a:pt x="87" y="571"/>
                    <a:pt x="90" y="571"/>
                  </a:cubicBezTo>
                  <a:cubicBezTo>
                    <a:pt x="90" y="571"/>
                    <a:pt x="91" y="571"/>
                    <a:pt x="91" y="571"/>
                  </a:cubicBezTo>
                  <a:cubicBezTo>
                    <a:pt x="303" y="571"/>
                    <a:pt x="499" y="504"/>
                    <a:pt x="659" y="390"/>
                  </a:cubicBezTo>
                  <a:lnTo>
                    <a:pt x="452" y="242"/>
                  </a:lnTo>
                  <a:close/>
                </a:path>
              </a:pathLst>
            </a:custGeom>
            <a:solidFill>
              <a:schemeClr val="accent4"/>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5" name="Freeform 10"/>
            <p:cNvSpPr>
              <a:spLocks/>
            </p:cNvSpPr>
            <p:nvPr/>
          </p:nvSpPr>
          <p:spPr bwMode="gray">
            <a:xfrm>
              <a:off x="3419" y="2476"/>
              <a:ext cx="1296" cy="1277"/>
            </a:xfrm>
            <a:custGeom>
              <a:avLst/>
              <a:gdLst>
                <a:gd name="T0" fmla="*/ 798 w 646"/>
                <a:gd name="T1" fmla="*/ 308 h 638"/>
                <a:gd name="T2" fmla="*/ 379 w 646"/>
                <a:gd name="T3" fmla="*/ 0 h 638"/>
                <a:gd name="T4" fmla="*/ 18 w 646"/>
                <a:gd name="T5" fmla="*/ 484 h 638"/>
                <a:gd name="T6" fmla="*/ 0 w 646"/>
                <a:gd name="T7" fmla="*/ 496 h 638"/>
                <a:gd name="T8" fmla="*/ 154 w 646"/>
                <a:gd name="T9" fmla="*/ 981 h 638"/>
                <a:gd name="T10" fmla="*/ 570 w 646"/>
                <a:gd name="T11" fmla="*/ 1277 h 638"/>
                <a:gd name="T12" fmla="*/ 586 w 646"/>
                <a:gd name="T13" fmla="*/ 1265 h 638"/>
                <a:gd name="T14" fmla="*/ 1296 w 646"/>
                <a:gd name="T15" fmla="*/ 306 h 638"/>
                <a:gd name="T16" fmla="*/ 798 w 646"/>
                <a:gd name="T17" fmla="*/ 308 h 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6"/>
                <a:gd name="T28" fmla="*/ 0 h 638"/>
                <a:gd name="T29" fmla="*/ 646 w 646"/>
                <a:gd name="T30" fmla="*/ 638 h 6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6" h="638">
                  <a:moveTo>
                    <a:pt x="398" y="154"/>
                  </a:moveTo>
                  <a:cubicBezTo>
                    <a:pt x="189" y="0"/>
                    <a:pt x="189" y="0"/>
                    <a:pt x="189" y="0"/>
                  </a:cubicBezTo>
                  <a:cubicBezTo>
                    <a:pt x="155" y="98"/>
                    <a:pt x="91" y="182"/>
                    <a:pt x="9" y="242"/>
                  </a:cubicBezTo>
                  <a:cubicBezTo>
                    <a:pt x="6" y="244"/>
                    <a:pt x="3" y="246"/>
                    <a:pt x="0" y="248"/>
                  </a:cubicBezTo>
                  <a:cubicBezTo>
                    <a:pt x="77" y="490"/>
                    <a:pt x="77" y="490"/>
                    <a:pt x="77" y="490"/>
                  </a:cubicBezTo>
                  <a:cubicBezTo>
                    <a:pt x="284" y="638"/>
                    <a:pt x="284" y="638"/>
                    <a:pt x="284" y="638"/>
                  </a:cubicBezTo>
                  <a:cubicBezTo>
                    <a:pt x="287" y="636"/>
                    <a:pt x="289" y="634"/>
                    <a:pt x="292" y="632"/>
                  </a:cubicBezTo>
                  <a:cubicBezTo>
                    <a:pt x="455" y="514"/>
                    <a:pt x="580" y="347"/>
                    <a:pt x="646" y="153"/>
                  </a:cubicBezTo>
                  <a:lnTo>
                    <a:pt x="398" y="154"/>
                  </a:lnTo>
                  <a:close/>
                </a:path>
              </a:pathLst>
            </a:custGeom>
            <a:solidFill>
              <a:schemeClr val="accent5"/>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46" name="Freeform 11"/>
            <p:cNvSpPr>
              <a:spLocks/>
            </p:cNvSpPr>
            <p:nvPr/>
          </p:nvSpPr>
          <p:spPr bwMode="gray">
            <a:xfrm>
              <a:off x="3791" y="1572"/>
              <a:ext cx="1021" cy="1224"/>
            </a:xfrm>
            <a:custGeom>
              <a:avLst/>
              <a:gdLst>
                <a:gd name="T0" fmla="*/ 931 w 509"/>
                <a:gd name="T1" fmla="*/ 0 h 611"/>
                <a:gd name="T2" fmla="*/ 530 w 509"/>
                <a:gd name="T3" fmla="*/ 294 h 611"/>
                <a:gd name="T4" fmla="*/ 10 w 509"/>
                <a:gd name="T5" fmla="*/ 292 h 611"/>
                <a:gd name="T6" fmla="*/ 54 w 509"/>
                <a:gd name="T7" fmla="*/ 589 h 611"/>
                <a:gd name="T8" fmla="*/ 4 w 509"/>
                <a:gd name="T9" fmla="*/ 899 h 611"/>
                <a:gd name="T10" fmla="*/ 0 w 509"/>
                <a:gd name="T11" fmla="*/ 915 h 611"/>
                <a:gd name="T12" fmla="*/ 419 w 509"/>
                <a:gd name="T13" fmla="*/ 1224 h 611"/>
                <a:gd name="T14" fmla="*/ 917 w 509"/>
                <a:gd name="T15" fmla="*/ 1222 h 611"/>
                <a:gd name="T16" fmla="*/ 925 w 509"/>
                <a:gd name="T17" fmla="*/ 1198 h 611"/>
                <a:gd name="T18" fmla="*/ 1021 w 509"/>
                <a:gd name="T19" fmla="*/ 589 h 611"/>
                <a:gd name="T20" fmla="*/ 931 w 509"/>
                <a:gd name="T21" fmla="*/ 0 h 6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9"/>
                <a:gd name="T34" fmla="*/ 0 h 611"/>
                <a:gd name="T35" fmla="*/ 509 w 509"/>
                <a:gd name="T36" fmla="*/ 611 h 6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9" h="611">
                  <a:moveTo>
                    <a:pt x="464" y="0"/>
                  </a:moveTo>
                  <a:cubicBezTo>
                    <a:pt x="264" y="147"/>
                    <a:pt x="264" y="147"/>
                    <a:pt x="264" y="147"/>
                  </a:cubicBezTo>
                  <a:cubicBezTo>
                    <a:pt x="5" y="146"/>
                    <a:pt x="5" y="146"/>
                    <a:pt x="5" y="146"/>
                  </a:cubicBezTo>
                  <a:cubicBezTo>
                    <a:pt x="19" y="192"/>
                    <a:pt x="27" y="242"/>
                    <a:pt x="27" y="294"/>
                  </a:cubicBezTo>
                  <a:cubicBezTo>
                    <a:pt x="27" y="348"/>
                    <a:pt x="18" y="400"/>
                    <a:pt x="2" y="449"/>
                  </a:cubicBezTo>
                  <a:cubicBezTo>
                    <a:pt x="1" y="452"/>
                    <a:pt x="1" y="454"/>
                    <a:pt x="0" y="457"/>
                  </a:cubicBezTo>
                  <a:cubicBezTo>
                    <a:pt x="209" y="611"/>
                    <a:pt x="209" y="611"/>
                    <a:pt x="209" y="611"/>
                  </a:cubicBezTo>
                  <a:cubicBezTo>
                    <a:pt x="457" y="610"/>
                    <a:pt x="457" y="610"/>
                    <a:pt x="457" y="610"/>
                  </a:cubicBezTo>
                  <a:cubicBezTo>
                    <a:pt x="458" y="606"/>
                    <a:pt x="460" y="602"/>
                    <a:pt x="461" y="598"/>
                  </a:cubicBezTo>
                  <a:cubicBezTo>
                    <a:pt x="492" y="502"/>
                    <a:pt x="509" y="400"/>
                    <a:pt x="509" y="294"/>
                  </a:cubicBezTo>
                  <a:cubicBezTo>
                    <a:pt x="509" y="191"/>
                    <a:pt x="493" y="93"/>
                    <a:pt x="464" y="0"/>
                  </a:cubicBezTo>
                  <a:close/>
                </a:path>
              </a:pathLst>
            </a:custGeom>
            <a:solidFill>
              <a:schemeClr val="accent3"/>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60" name="Freeform 12"/>
            <p:cNvSpPr>
              <a:spLocks/>
            </p:cNvSpPr>
            <p:nvPr/>
          </p:nvSpPr>
          <p:spPr bwMode="gray">
            <a:xfrm>
              <a:off x="3450" y="581"/>
              <a:ext cx="1272" cy="1288"/>
            </a:xfrm>
            <a:custGeom>
              <a:avLst/>
              <a:gdLst>
                <a:gd name="T0" fmla="*/ 1266 w 634"/>
                <a:gd name="T1" fmla="*/ 972 h 643"/>
                <a:gd name="T2" fmla="*/ 564 w 634"/>
                <a:gd name="T3" fmla="*/ 0 h 643"/>
                <a:gd name="T4" fmla="*/ 407 w 634"/>
                <a:gd name="T5" fmla="*/ 495 h 643"/>
                <a:gd name="T6" fmla="*/ 0 w 634"/>
                <a:gd name="T7" fmla="*/ 785 h 643"/>
                <a:gd name="T8" fmla="*/ 345 w 634"/>
                <a:gd name="T9" fmla="*/ 1270 h 643"/>
                <a:gd name="T10" fmla="*/ 351 w 634"/>
                <a:gd name="T11" fmla="*/ 1286 h 643"/>
                <a:gd name="T12" fmla="*/ 871 w 634"/>
                <a:gd name="T13" fmla="*/ 1288 h 643"/>
                <a:gd name="T14" fmla="*/ 1272 w 634"/>
                <a:gd name="T15" fmla="*/ 994 h 643"/>
                <a:gd name="T16" fmla="*/ 1266 w 634"/>
                <a:gd name="T17" fmla="*/ 972 h 6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4"/>
                <a:gd name="T28" fmla="*/ 0 h 643"/>
                <a:gd name="T29" fmla="*/ 634 w 634"/>
                <a:gd name="T30" fmla="*/ 643 h 6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4" h="643">
                  <a:moveTo>
                    <a:pt x="631" y="485"/>
                  </a:moveTo>
                  <a:cubicBezTo>
                    <a:pt x="567" y="289"/>
                    <a:pt x="443" y="120"/>
                    <a:pt x="281" y="0"/>
                  </a:cubicBezTo>
                  <a:cubicBezTo>
                    <a:pt x="203" y="247"/>
                    <a:pt x="203" y="247"/>
                    <a:pt x="203" y="247"/>
                  </a:cubicBezTo>
                  <a:cubicBezTo>
                    <a:pt x="0" y="392"/>
                    <a:pt x="0" y="392"/>
                    <a:pt x="0" y="392"/>
                  </a:cubicBezTo>
                  <a:cubicBezTo>
                    <a:pt x="80" y="453"/>
                    <a:pt x="141" y="537"/>
                    <a:pt x="172" y="634"/>
                  </a:cubicBezTo>
                  <a:cubicBezTo>
                    <a:pt x="173" y="637"/>
                    <a:pt x="174" y="639"/>
                    <a:pt x="175" y="642"/>
                  </a:cubicBezTo>
                  <a:cubicBezTo>
                    <a:pt x="434" y="643"/>
                    <a:pt x="434" y="643"/>
                    <a:pt x="434" y="643"/>
                  </a:cubicBezTo>
                  <a:cubicBezTo>
                    <a:pt x="634" y="496"/>
                    <a:pt x="634" y="496"/>
                    <a:pt x="634" y="496"/>
                  </a:cubicBezTo>
                  <a:cubicBezTo>
                    <a:pt x="633" y="492"/>
                    <a:pt x="632" y="489"/>
                    <a:pt x="631" y="485"/>
                  </a:cubicBezTo>
                  <a:close/>
                </a:path>
              </a:pathLst>
            </a:custGeom>
            <a:solidFill>
              <a:schemeClr val="accent6"/>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sp>
          <p:nvSpPr>
            <p:cNvPr id="161" name="Freeform 13"/>
            <p:cNvSpPr>
              <a:spLocks/>
            </p:cNvSpPr>
            <p:nvPr/>
          </p:nvSpPr>
          <p:spPr bwMode="gray">
            <a:xfrm>
              <a:off x="2885" y="216"/>
              <a:ext cx="1158" cy="1170"/>
            </a:xfrm>
            <a:custGeom>
              <a:avLst/>
              <a:gdLst>
                <a:gd name="T0" fmla="*/ 1144 w 577"/>
                <a:gd name="T1" fmla="*/ 375 h 584"/>
                <a:gd name="T2" fmla="*/ 0 w 577"/>
                <a:gd name="T3" fmla="*/ 0 h 584"/>
                <a:gd name="T4" fmla="*/ 161 w 577"/>
                <a:gd name="T5" fmla="*/ 485 h 584"/>
                <a:gd name="T6" fmla="*/ 0 w 577"/>
                <a:gd name="T7" fmla="*/ 966 h 584"/>
                <a:gd name="T8" fmla="*/ 576 w 577"/>
                <a:gd name="T9" fmla="*/ 1156 h 584"/>
                <a:gd name="T10" fmla="*/ 594 w 577"/>
                <a:gd name="T11" fmla="*/ 1170 h 584"/>
                <a:gd name="T12" fmla="*/ 1001 w 577"/>
                <a:gd name="T13" fmla="*/ 880 h 584"/>
                <a:gd name="T14" fmla="*/ 1158 w 577"/>
                <a:gd name="T15" fmla="*/ 385 h 584"/>
                <a:gd name="T16" fmla="*/ 1144 w 577"/>
                <a:gd name="T17" fmla="*/ 375 h 5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7"/>
                <a:gd name="T28" fmla="*/ 0 h 584"/>
                <a:gd name="T29" fmla="*/ 577 w 577"/>
                <a:gd name="T30" fmla="*/ 584 h 5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7" h="584">
                  <a:moveTo>
                    <a:pt x="570" y="187"/>
                  </a:moveTo>
                  <a:cubicBezTo>
                    <a:pt x="410" y="70"/>
                    <a:pt x="213" y="1"/>
                    <a:pt x="0" y="0"/>
                  </a:cubicBezTo>
                  <a:cubicBezTo>
                    <a:pt x="80" y="242"/>
                    <a:pt x="80" y="242"/>
                    <a:pt x="80" y="242"/>
                  </a:cubicBezTo>
                  <a:cubicBezTo>
                    <a:pt x="0" y="482"/>
                    <a:pt x="0" y="482"/>
                    <a:pt x="0" y="482"/>
                  </a:cubicBezTo>
                  <a:cubicBezTo>
                    <a:pt x="108" y="483"/>
                    <a:pt x="206" y="518"/>
                    <a:pt x="287" y="577"/>
                  </a:cubicBezTo>
                  <a:cubicBezTo>
                    <a:pt x="290" y="579"/>
                    <a:pt x="293" y="582"/>
                    <a:pt x="296" y="584"/>
                  </a:cubicBezTo>
                  <a:cubicBezTo>
                    <a:pt x="499" y="439"/>
                    <a:pt x="499" y="439"/>
                    <a:pt x="499" y="439"/>
                  </a:cubicBezTo>
                  <a:cubicBezTo>
                    <a:pt x="577" y="192"/>
                    <a:pt x="577" y="192"/>
                    <a:pt x="577" y="192"/>
                  </a:cubicBezTo>
                  <a:cubicBezTo>
                    <a:pt x="575" y="190"/>
                    <a:pt x="573" y="189"/>
                    <a:pt x="570" y="187"/>
                  </a:cubicBezTo>
                  <a:close/>
                </a:path>
              </a:pathLst>
            </a:custGeom>
            <a:solidFill>
              <a:schemeClr val="accent1"/>
            </a:solidFill>
            <a:ln w="9525">
              <a:noFill/>
              <a:miter lim="800000"/>
              <a:headEnd/>
              <a:tailEnd/>
            </a:ln>
          </p:spPr>
          <p:txBody>
            <a:bodyPr lIns="44450" tIns="44450" rIns="44450" bIns="44450" anchor="ctr" anchorCtr="0"/>
            <a:lstStyle/>
            <a:p>
              <a:pPr algn="ctr" eaLnBrk="0" hangingPunct="0">
                <a:spcBef>
                  <a:spcPts val="400"/>
                </a:spcBef>
              </a:pPr>
              <a:endParaRPr lang="en-US" dirty="0"/>
            </a:p>
          </p:txBody>
        </p:sp>
      </p:grpSp>
    </p:spTree>
    <p:extLst>
      <p:ext uri="{BB962C8B-B14F-4D97-AF65-F5344CB8AC3E}">
        <p14:creationId xmlns:p14="http://schemas.microsoft.com/office/powerpoint/2010/main" val="520969877"/>
      </p:ext>
    </p:extLst>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Process ending in a closed loop</a:t>
            </a:r>
            <a:endParaRPr lang="en-US" dirty="0"/>
          </a:p>
        </p:txBody>
      </p:sp>
      <p:sp>
        <p:nvSpPr>
          <p:cNvPr id="676865" name="Title 1"/>
          <p:cNvSpPr>
            <a:spLocks noGrp="1"/>
          </p:cNvSpPr>
          <p:nvPr>
            <p:ph type="title"/>
          </p:nvPr>
        </p:nvSpPr>
        <p:spPr/>
        <p:txBody>
          <a:bodyPr/>
          <a:lstStyle/>
          <a:p>
            <a:r>
              <a:rPr lang="en-US"/>
              <a:t>Circles</a:t>
            </a:r>
            <a:endParaRPr lang="en-US" dirty="0"/>
          </a:p>
        </p:txBody>
      </p:sp>
      <p:sp>
        <p:nvSpPr>
          <p:cNvPr id="24" name="Freeform 2"/>
          <p:cNvSpPr>
            <a:spLocks/>
          </p:cNvSpPr>
          <p:nvPr/>
        </p:nvSpPr>
        <p:spPr bwMode="blackWhite">
          <a:xfrm>
            <a:off x="7387743" y="3014936"/>
            <a:ext cx="1327167" cy="1801592"/>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1"/>
          </a:solidFill>
          <a:ln w="12700" cap="rnd">
            <a:noFill/>
            <a:round/>
            <a:headEnd/>
            <a:tailEnd/>
          </a:ln>
        </p:spPr>
        <p:txBody>
          <a:bodyPr/>
          <a:lstStyle/>
          <a:p>
            <a:pPr algn="ctr" eaLnBrk="1" hangingPunct="1">
              <a:spcBef>
                <a:spcPct val="20000"/>
              </a:spcBef>
              <a:buClr>
                <a:schemeClr val="bg1"/>
              </a:buClr>
              <a:defRPr/>
            </a:pPr>
            <a:endParaRPr lang="en-GB" sz="1200" dirty="0">
              <a:solidFill>
                <a:srgbClr val="FFFFFF"/>
              </a:solidFill>
              <a:cs typeface="Arial" pitchFamily="34" charset="0"/>
            </a:endParaRPr>
          </a:p>
        </p:txBody>
      </p:sp>
      <p:sp>
        <p:nvSpPr>
          <p:cNvPr id="25" name="Freeform 3"/>
          <p:cNvSpPr>
            <a:spLocks/>
          </p:cNvSpPr>
          <p:nvPr/>
        </p:nvSpPr>
        <p:spPr bwMode="blackWhite">
          <a:xfrm>
            <a:off x="6907957" y="1913539"/>
            <a:ext cx="1725289" cy="1495000"/>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 name="connsiteX0" fmla="*/ 2218 w 9991"/>
              <a:gd name="connsiteY0" fmla="*/ 9969 h 9990"/>
              <a:gd name="connsiteX1" fmla="*/ 7565 w 9991"/>
              <a:gd name="connsiteY1" fmla="*/ 9990 h 9990"/>
              <a:gd name="connsiteX2" fmla="*/ 8422 w 9991"/>
              <a:gd name="connsiteY2" fmla="*/ 8170 h 9990"/>
              <a:gd name="connsiteX3" fmla="*/ 9225 w 9991"/>
              <a:gd name="connsiteY3" fmla="*/ 6351 h 9990"/>
              <a:gd name="connsiteX4" fmla="*/ 9991 w 9991"/>
              <a:gd name="connsiteY4" fmla="*/ 4459 h 9990"/>
              <a:gd name="connsiteX5" fmla="*/ 8386 w 9991"/>
              <a:gd name="connsiteY5" fmla="*/ 5603 h 9990"/>
              <a:gd name="connsiteX6" fmla="*/ 7980 w 9991"/>
              <a:gd name="connsiteY6" fmla="*/ 4896 h 9990"/>
              <a:gd name="connsiteX7" fmla="*/ 7547 w 9991"/>
              <a:gd name="connsiteY7" fmla="*/ 4220 h 9990"/>
              <a:gd name="connsiteX8" fmla="*/ 7060 w 9991"/>
              <a:gd name="connsiteY8" fmla="*/ 3576 h 9990"/>
              <a:gd name="connsiteX9" fmla="*/ 6528 w 9991"/>
              <a:gd name="connsiteY9" fmla="*/ 2983 h 9990"/>
              <a:gd name="connsiteX10" fmla="*/ 5978 w 9991"/>
              <a:gd name="connsiteY10" fmla="*/ 2443 h 9990"/>
              <a:gd name="connsiteX11" fmla="*/ 5392 w 9991"/>
              <a:gd name="connsiteY11" fmla="*/ 1954 h 9990"/>
              <a:gd name="connsiteX12" fmla="*/ 4779 w 9991"/>
              <a:gd name="connsiteY12" fmla="*/ 1507 h 9990"/>
              <a:gd name="connsiteX13" fmla="*/ 4148 w 9991"/>
              <a:gd name="connsiteY13" fmla="*/ 1112 h 9990"/>
              <a:gd name="connsiteX14" fmla="*/ 3490 w 9991"/>
              <a:gd name="connsiteY14" fmla="*/ 780 h 9990"/>
              <a:gd name="connsiteX15" fmla="*/ 2804 w 9991"/>
              <a:gd name="connsiteY15" fmla="*/ 499 h 9990"/>
              <a:gd name="connsiteX16" fmla="*/ 2128 w 9991"/>
              <a:gd name="connsiteY16" fmla="*/ 281 h 9990"/>
              <a:gd name="connsiteX17" fmla="*/ 1425 w 9991"/>
              <a:gd name="connsiteY17" fmla="*/ 125 h 9990"/>
              <a:gd name="connsiteX18" fmla="*/ 712 w 9991"/>
              <a:gd name="connsiteY18" fmla="*/ 21 h 9990"/>
              <a:gd name="connsiteX19" fmla="*/ 0 w 9991"/>
              <a:gd name="connsiteY19" fmla="*/ 0 h 9990"/>
              <a:gd name="connsiteX20" fmla="*/ 1894 w 9991"/>
              <a:gd name="connsiteY20" fmla="*/ 2879 h 9990"/>
              <a:gd name="connsiteX21" fmla="*/ 625 w 9991"/>
              <a:gd name="connsiteY21" fmla="*/ 6191 h 9990"/>
              <a:gd name="connsiteX22" fmla="*/ 1208 w 9991"/>
              <a:gd name="connsiteY22" fmla="*/ 6383 h 9990"/>
              <a:gd name="connsiteX23" fmla="*/ 1677 w 9991"/>
              <a:gd name="connsiteY23" fmla="*/ 6559 h 9990"/>
              <a:gd name="connsiteX24" fmla="*/ 2128 w 9991"/>
              <a:gd name="connsiteY24" fmla="*/ 6798 h 9990"/>
              <a:gd name="connsiteX25" fmla="*/ 2552 w 9991"/>
              <a:gd name="connsiteY25" fmla="*/ 7079 h 9990"/>
              <a:gd name="connsiteX26" fmla="*/ 2958 w 9991"/>
              <a:gd name="connsiteY26" fmla="*/ 7432 h 9990"/>
              <a:gd name="connsiteX27" fmla="*/ 3336 w 9991"/>
              <a:gd name="connsiteY27" fmla="*/ 7817 h 9990"/>
              <a:gd name="connsiteX28" fmla="*/ 3679 w 9991"/>
              <a:gd name="connsiteY28" fmla="*/ 8233 h 9990"/>
              <a:gd name="connsiteX29" fmla="*/ 4022 w 9991"/>
              <a:gd name="connsiteY29" fmla="*/ 8701 h 9990"/>
              <a:gd name="connsiteX30" fmla="*/ 2218 w 9991"/>
              <a:gd name="connsiteY30" fmla="*/ 9969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1" h="9990">
                <a:moveTo>
                  <a:pt x="2218" y="9969"/>
                </a:moveTo>
                <a:lnTo>
                  <a:pt x="7565" y="9990"/>
                </a:lnTo>
                <a:lnTo>
                  <a:pt x="8422" y="8170"/>
                </a:lnTo>
                <a:lnTo>
                  <a:pt x="9225" y="6351"/>
                </a:lnTo>
                <a:lnTo>
                  <a:pt x="9991" y="4459"/>
                </a:lnTo>
                <a:lnTo>
                  <a:pt x="8386" y="5603"/>
                </a:lnTo>
                <a:lnTo>
                  <a:pt x="7980" y="4896"/>
                </a:lnTo>
                <a:lnTo>
                  <a:pt x="7547" y="4220"/>
                </a:lnTo>
                <a:lnTo>
                  <a:pt x="7060" y="3576"/>
                </a:lnTo>
                <a:lnTo>
                  <a:pt x="6528" y="2983"/>
                </a:lnTo>
                <a:lnTo>
                  <a:pt x="5978" y="2443"/>
                </a:lnTo>
                <a:lnTo>
                  <a:pt x="5392" y="1954"/>
                </a:lnTo>
                <a:lnTo>
                  <a:pt x="4779" y="1507"/>
                </a:lnTo>
                <a:lnTo>
                  <a:pt x="4148" y="1112"/>
                </a:lnTo>
                <a:lnTo>
                  <a:pt x="3490" y="780"/>
                </a:lnTo>
                <a:lnTo>
                  <a:pt x="2804" y="499"/>
                </a:lnTo>
                <a:lnTo>
                  <a:pt x="2128" y="281"/>
                </a:lnTo>
                <a:lnTo>
                  <a:pt x="1425" y="125"/>
                </a:lnTo>
                <a:lnTo>
                  <a:pt x="712" y="21"/>
                </a:lnTo>
                <a:lnTo>
                  <a:pt x="0" y="0"/>
                </a:lnTo>
                <a:lnTo>
                  <a:pt x="1894" y="2879"/>
                </a:lnTo>
                <a:lnTo>
                  <a:pt x="625" y="6191"/>
                </a:lnTo>
                <a:lnTo>
                  <a:pt x="1208" y="6383"/>
                </a:lnTo>
                <a:lnTo>
                  <a:pt x="1677" y="6559"/>
                </a:lnTo>
                <a:lnTo>
                  <a:pt x="2128" y="6798"/>
                </a:lnTo>
                <a:lnTo>
                  <a:pt x="2552" y="7079"/>
                </a:lnTo>
                <a:lnTo>
                  <a:pt x="2958" y="7432"/>
                </a:lnTo>
                <a:lnTo>
                  <a:pt x="3336" y="7817"/>
                </a:lnTo>
                <a:lnTo>
                  <a:pt x="3679" y="8233"/>
                </a:lnTo>
                <a:lnTo>
                  <a:pt x="4022" y="8701"/>
                </a:lnTo>
                <a:lnTo>
                  <a:pt x="2218" y="9969"/>
                </a:lnTo>
              </a:path>
            </a:pathLst>
          </a:custGeom>
          <a:solidFill>
            <a:schemeClr val="accent1"/>
          </a:solidFill>
          <a:ln w="12700" cap="rnd">
            <a:noFill/>
            <a:round/>
            <a:headEnd/>
            <a:tailEnd/>
          </a:ln>
        </p:spPr>
        <p:txBody>
          <a:bodyPr/>
          <a:lstStyle/>
          <a:p>
            <a:pPr algn="ctr" eaLnBrk="1" hangingPunct="1">
              <a:spcBef>
                <a:spcPct val="20000"/>
              </a:spcBef>
              <a:buClr>
                <a:schemeClr val="bg1"/>
              </a:buClr>
            </a:pPr>
            <a:endParaRPr lang="en-GB" sz="1200" dirty="0">
              <a:solidFill>
                <a:srgbClr val="FFFFFF"/>
              </a:solidFill>
              <a:cs typeface="Arial" pitchFamily="34" charset="0"/>
            </a:endParaRPr>
          </a:p>
        </p:txBody>
      </p:sp>
      <p:sp>
        <p:nvSpPr>
          <p:cNvPr id="26" name="Freeform 4"/>
          <p:cNvSpPr>
            <a:spLocks/>
          </p:cNvSpPr>
          <p:nvPr/>
        </p:nvSpPr>
        <p:spPr bwMode="blackWhite">
          <a:xfrm>
            <a:off x="3477092" y="1607905"/>
            <a:ext cx="3706974" cy="1654046"/>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 name="connsiteX0" fmla="*/ 0 w 2205"/>
              <a:gd name="connsiteY0" fmla="*/ 864 h 1098"/>
              <a:gd name="connsiteX1" fmla="*/ 1339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760 w 2205"/>
              <a:gd name="connsiteY2" fmla="*/ 787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5" h="1063">
                <a:moveTo>
                  <a:pt x="0" y="864"/>
                </a:moveTo>
                <a:lnTo>
                  <a:pt x="881" y="864"/>
                </a:lnTo>
                <a:cubicBezTo>
                  <a:pt x="881" y="869"/>
                  <a:pt x="760" y="782"/>
                  <a:pt x="760" y="787"/>
                </a:cubicBezTo>
                <a:cubicBezTo>
                  <a:pt x="983" y="797"/>
                  <a:pt x="1199" y="799"/>
                  <a:pt x="1419" y="805"/>
                </a:cubicBezTo>
                <a:cubicBezTo>
                  <a:pt x="1431" y="787"/>
                  <a:pt x="1575" y="1063"/>
                  <a:pt x="1587" y="1045"/>
                </a:cubicBezTo>
                <a:cubicBezTo>
                  <a:pt x="1600" y="1029"/>
                  <a:pt x="1612" y="1012"/>
                  <a:pt x="1625" y="996"/>
                </a:cubicBezTo>
                <a:cubicBezTo>
                  <a:pt x="1639" y="980"/>
                  <a:pt x="1652" y="964"/>
                  <a:pt x="1666" y="948"/>
                </a:cubicBezTo>
                <a:lnTo>
                  <a:pt x="1711" y="906"/>
                </a:lnTo>
                <a:lnTo>
                  <a:pt x="1754" y="872"/>
                </a:lnTo>
                <a:cubicBezTo>
                  <a:pt x="1769" y="863"/>
                  <a:pt x="1785" y="854"/>
                  <a:pt x="1800" y="845"/>
                </a:cubicBezTo>
                <a:cubicBezTo>
                  <a:pt x="1817" y="837"/>
                  <a:pt x="1833" y="830"/>
                  <a:pt x="1850" y="822"/>
                </a:cubicBezTo>
                <a:cubicBezTo>
                  <a:pt x="1867" y="816"/>
                  <a:pt x="1883" y="809"/>
                  <a:pt x="1900" y="803"/>
                </a:cubicBezTo>
                <a:cubicBezTo>
                  <a:pt x="1918" y="799"/>
                  <a:pt x="1935" y="794"/>
                  <a:pt x="1953" y="790"/>
                </a:cubicBezTo>
                <a:cubicBezTo>
                  <a:pt x="1963" y="864"/>
                  <a:pt x="1973" y="939"/>
                  <a:pt x="1983" y="1013"/>
                </a:cubicBezTo>
                <a:lnTo>
                  <a:pt x="2205" y="471"/>
                </a:lnTo>
                <a:lnTo>
                  <a:pt x="1872" y="0"/>
                </a:lnTo>
                <a:cubicBezTo>
                  <a:pt x="1872" y="65"/>
                  <a:pt x="1873" y="131"/>
                  <a:pt x="1873" y="196"/>
                </a:cubicBezTo>
                <a:lnTo>
                  <a:pt x="0" y="196"/>
                </a:lnTo>
                <a:lnTo>
                  <a:pt x="0" y="864"/>
                </a:lnTo>
              </a:path>
            </a:pathLst>
          </a:custGeom>
          <a:solidFill>
            <a:schemeClr val="accent1"/>
          </a:solidFill>
          <a:ln w="12700" cap="rnd">
            <a:noFill/>
            <a:round/>
            <a:headEnd/>
            <a:tailEnd/>
          </a:ln>
        </p:spPr>
        <p:txBody>
          <a:bodyPr/>
          <a:lstStyle/>
          <a:p>
            <a:pPr algn="ctr" eaLnBrk="1" hangingPunct="1">
              <a:spcBef>
                <a:spcPct val="20000"/>
              </a:spcBef>
              <a:buClr>
                <a:schemeClr val="bg1"/>
              </a:buClr>
            </a:pPr>
            <a:endParaRPr lang="en-GB" sz="1200" dirty="0">
              <a:solidFill>
                <a:srgbClr val="FFFFFF"/>
              </a:solidFill>
              <a:cs typeface="Arial" pitchFamily="34" charset="0"/>
            </a:endParaRPr>
          </a:p>
        </p:txBody>
      </p:sp>
      <p:sp>
        <p:nvSpPr>
          <p:cNvPr id="27" name="Freeform 5"/>
          <p:cNvSpPr>
            <a:spLocks/>
          </p:cNvSpPr>
          <p:nvPr/>
        </p:nvSpPr>
        <p:spPr bwMode="blackWhite">
          <a:xfrm>
            <a:off x="6559406" y="4337529"/>
            <a:ext cx="1735996" cy="1649043"/>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1"/>
          </a:solidFill>
          <a:ln w="12700" cap="rnd">
            <a:noFill/>
            <a:round/>
            <a:headEnd/>
            <a:tailEnd/>
          </a:ln>
        </p:spPr>
        <p:txBody>
          <a:bodyPr/>
          <a:lstStyle/>
          <a:p>
            <a:pPr algn="ctr" eaLnBrk="1" hangingPunct="1">
              <a:spcBef>
                <a:spcPct val="20000"/>
              </a:spcBef>
              <a:buClr>
                <a:schemeClr val="bg1"/>
              </a:buClr>
              <a:defRPr/>
            </a:pPr>
            <a:endParaRPr lang="en-GB" sz="1200" dirty="0">
              <a:solidFill>
                <a:srgbClr val="FFFFFF"/>
              </a:solidFill>
              <a:cs typeface="Arial" pitchFamily="34" charset="0"/>
            </a:endParaRPr>
          </a:p>
        </p:txBody>
      </p:sp>
      <p:sp>
        <p:nvSpPr>
          <p:cNvPr id="28" name="Freeform 7"/>
          <p:cNvSpPr>
            <a:spLocks/>
          </p:cNvSpPr>
          <p:nvPr/>
        </p:nvSpPr>
        <p:spPr bwMode="blackWhite">
          <a:xfrm rot="120000">
            <a:off x="4861003" y="2901939"/>
            <a:ext cx="1507132" cy="1691589"/>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12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87"/>
              <a:gd name="connsiteY0" fmla="*/ 0 h 1125"/>
              <a:gd name="connsiteX1" fmla="*/ 0 w 887"/>
              <a:gd name="connsiteY1" fmla="*/ 1 h 1125"/>
              <a:gd name="connsiteX2" fmla="*/ 178 w 887"/>
              <a:gd name="connsiteY2" fmla="*/ 111 h 1125"/>
              <a:gd name="connsiteX3" fmla="*/ 153 w 887"/>
              <a:gd name="connsiteY3" fmla="*/ 187 h 1125"/>
              <a:gd name="connsiteX4" fmla="*/ 130 w 887"/>
              <a:gd name="connsiteY4" fmla="*/ 264 h 1125"/>
              <a:gd name="connsiteX5" fmla="*/ 113 w 887"/>
              <a:gd name="connsiteY5" fmla="*/ 343 h 1125"/>
              <a:gd name="connsiteX6" fmla="*/ 100 w 887"/>
              <a:gd name="connsiteY6" fmla="*/ 423 h 1125"/>
              <a:gd name="connsiteX7" fmla="*/ 94 w 887"/>
              <a:gd name="connsiteY7" fmla="*/ 504 h 1125"/>
              <a:gd name="connsiteX8" fmla="*/ 93 w 887"/>
              <a:gd name="connsiteY8" fmla="*/ 583 h 1125"/>
              <a:gd name="connsiteX9" fmla="*/ 95 w 887"/>
              <a:gd name="connsiteY9" fmla="*/ 664 h 1125"/>
              <a:gd name="connsiteX10" fmla="*/ 104 w 887"/>
              <a:gd name="connsiteY10" fmla="*/ 744 h 1125"/>
              <a:gd name="connsiteX11" fmla="*/ 118 w 887"/>
              <a:gd name="connsiteY11" fmla="*/ 824 h 1125"/>
              <a:gd name="connsiteX12" fmla="*/ 136 w 887"/>
              <a:gd name="connsiteY12" fmla="*/ 903 h 1125"/>
              <a:gd name="connsiteX13" fmla="*/ 159 w 887"/>
              <a:gd name="connsiteY13" fmla="*/ 979 h 1125"/>
              <a:gd name="connsiteX14" fmla="*/ 227 w 887"/>
              <a:gd name="connsiteY14" fmla="*/ 1125 h 1125"/>
              <a:gd name="connsiteX15" fmla="*/ 460 w 887"/>
              <a:gd name="connsiteY15" fmla="*/ 766 h 1125"/>
              <a:gd name="connsiteX16" fmla="*/ 702 w 887"/>
              <a:gd name="connsiteY16" fmla="*/ 816 h 1125"/>
              <a:gd name="connsiteX17" fmla="*/ 681 w 887"/>
              <a:gd name="connsiteY17" fmla="*/ 760 h 1125"/>
              <a:gd name="connsiteX18" fmla="*/ 666 w 887"/>
              <a:gd name="connsiteY18" fmla="*/ 705 h 1125"/>
              <a:gd name="connsiteX19" fmla="*/ 658 w 887"/>
              <a:gd name="connsiteY19" fmla="*/ 647 h 1125"/>
              <a:gd name="connsiteX20" fmla="*/ 652 w 887"/>
              <a:gd name="connsiteY20" fmla="*/ 588 h 1125"/>
              <a:gd name="connsiteX21" fmla="*/ 652 w 887"/>
              <a:gd name="connsiteY21" fmla="*/ 529 h 1125"/>
              <a:gd name="connsiteX22" fmla="*/ 660 w 887"/>
              <a:gd name="connsiteY22" fmla="*/ 470 h 1125"/>
              <a:gd name="connsiteX23" fmla="*/ 672 w 887"/>
              <a:gd name="connsiteY23" fmla="*/ 413 h 1125"/>
              <a:gd name="connsiteX24" fmla="*/ 887 w 887"/>
              <a:gd name="connsiteY24" fmla="*/ 508 h 1125"/>
              <a:gd name="connsiteX25" fmla="*/ 571 w 887"/>
              <a:gd name="connsiteY25" fmla="*/ 0 h 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87" h="1125">
                <a:moveTo>
                  <a:pt x="571" y="0"/>
                </a:moveTo>
                <a:lnTo>
                  <a:pt x="0" y="1"/>
                </a:lnTo>
                <a:lnTo>
                  <a:pt x="178" y="111"/>
                </a:lnTo>
                <a:cubicBezTo>
                  <a:pt x="170" y="136"/>
                  <a:pt x="161" y="162"/>
                  <a:pt x="153" y="187"/>
                </a:cubicBezTo>
                <a:cubicBezTo>
                  <a:pt x="145" y="213"/>
                  <a:pt x="138" y="238"/>
                  <a:pt x="130" y="264"/>
                </a:cubicBezTo>
                <a:cubicBezTo>
                  <a:pt x="124" y="290"/>
                  <a:pt x="119" y="317"/>
                  <a:pt x="113" y="343"/>
                </a:cubicBezTo>
                <a:cubicBezTo>
                  <a:pt x="109" y="370"/>
                  <a:pt x="104" y="396"/>
                  <a:pt x="100" y="423"/>
                </a:cubicBezTo>
                <a:lnTo>
                  <a:pt x="94" y="504"/>
                </a:lnTo>
                <a:cubicBezTo>
                  <a:pt x="94" y="530"/>
                  <a:pt x="93" y="557"/>
                  <a:pt x="93" y="583"/>
                </a:cubicBezTo>
                <a:cubicBezTo>
                  <a:pt x="94" y="610"/>
                  <a:pt x="94" y="637"/>
                  <a:pt x="95" y="664"/>
                </a:cubicBezTo>
                <a:cubicBezTo>
                  <a:pt x="98" y="691"/>
                  <a:pt x="101" y="717"/>
                  <a:pt x="104" y="744"/>
                </a:cubicBezTo>
                <a:cubicBezTo>
                  <a:pt x="109" y="771"/>
                  <a:pt x="113" y="797"/>
                  <a:pt x="118" y="824"/>
                </a:cubicBezTo>
                <a:cubicBezTo>
                  <a:pt x="124" y="850"/>
                  <a:pt x="130" y="877"/>
                  <a:pt x="136" y="903"/>
                </a:cubicBezTo>
                <a:cubicBezTo>
                  <a:pt x="144" y="928"/>
                  <a:pt x="151" y="954"/>
                  <a:pt x="159" y="979"/>
                </a:cubicBezTo>
                <a:cubicBezTo>
                  <a:pt x="182" y="1028"/>
                  <a:pt x="204" y="1076"/>
                  <a:pt x="227" y="1125"/>
                </a:cubicBezTo>
                <a:lnTo>
                  <a:pt x="460" y="766"/>
                </a:lnTo>
                <a:lnTo>
                  <a:pt x="702" y="816"/>
                </a:lnTo>
                <a:cubicBezTo>
                  <a:pt x="695" y="797"/>
                  <a:pt x="688" y="779"/>
                  <a:pt x="681" y="760"/>
                </a:cubicBezTo>
                <a:cubicBezTo>
                  <a:pt x="676" y="742"/>
                  <a:pt x="671" y="723"/>
                  <a:pt x="666" y="705"/>
                </a:cubicBezTo>
                <a:cubicBezTo>
                  <a:pt x="663" y="686"/>
                  <a:pt x="661" y="666"/>
                  <a:pt x="658" y="647"/>
                </a:cubicBezTo>
                <a:cubicBezTo>
                  <a:pt x="656" y="627"/>
                  <a:pt x="654" y="608"/>
                  <a:pt x="652" y="588"/>
                </a:cubicBezTo>
                <a:lnTo>
                  <a:pt x="652" y="529"/>
                </a:lnTo>
                <a:cubicBezTo>
                  <a:pt x="655" y="509"/>
                  <a:pt x="657" y="490"/>
                  <a:pt x="660" y="470"/>
                </a:cubicBezTo>
                <a:lnTo>
                  <a:pt x="672" y="413"/>
                </a:lnTo>
                <a:lnTo>
                  <a:pt x="887" y="508"/>
                </a:lnTo>
                <a:lnTo>
                  <a:pt x="571" y="0"/>
                </a:lnTo>
              </a:path>
            </a:pathLst>
          </a:custGeom>
          <a:solidFill>
            <a:schemeClr val="accent1"/>
          </a:solidFill>
          <a:ln w="57150" cap="rnd">
            <a:noFill/>
            <a:miter lim="800000"/>
            <a:headEnd/>
            <a:tailEnd/>
          </a:ln>
        </p:spPr>
        <p:txBody>
          <a:bodyPr/>
          <a:lstStyle/>
          <a:p>
            <a:pPr algn="ctr" eaLnBrk="1" hangingPunct="1">
              <a:spcBef>
                <a:spcPct val="20000"/>
              </a:spcBef>
              <a:buClr>
                <a:schemeClr val="bg1"/>
              </a:buClr>
              <a:defRPr/>
            </a:pPr>
            <a:endParaRPr lang="en-GB" sz="1200" dirty="0">
              <a:ln cap="flat">
                <a:noFill/>
                <a:round/>
              </a:ln>
              <a:solidFill>
                <a:srgbClr val="FFFFFF"/>
              </a:solidFill>
              <a:cs typeface="Arial" pitchFamily="34" charset="0"/>
            </a:endParaRPr>
          </a:p>
        </p:txBody>
      </p:sp>
      <p:sp>
        <p:nvSpPr>
          <p:cNvPr id="29" name="Rectangle 8"/>
          <p:cNvSpPr>
            <a:spLocks noChangeArrowheads="1"/>
          </p:cNvSpPr>
          <p:nvPr/>
        </p:nvSpPr>
        <p:spPr bwMode="blackWhite">
          <a:xfrm>
            <a:off x="5222096" y="2374235"/>
            <a:ext cx="249107" cy="175433"/>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0" name="Rectangle 9"/>
          <p:cNvSpPr>
            <a:spLocks noChangeArrowheads="1"/>
          </p:cNvSpPr>
          <p:nvPr/>
        </p:nvSpPr>
        <p:spPr bwMode="blackWhite">
          <a:xfrm>
            <a:off x="7575911" y="2630515"/>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1" name="Rectangle 10"/>
          <p:cNvSpPr>
            <a:spLocks noChangeArrowheads="1"/>
          </p:cNvSpPr>
          <p:nvPr/>
        </p:nvSpPr>
        <p:spPr bwMode="blackWhite">
          <a:xfrm>
            <a:off x="8036606" y="3919545"/>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2" name="Rectangle 11"/>
          <p:cNvSpPr>
            <a:spLocks noChangeArrowheads="1"/>
          </p:cNvSpPr>
          <p:nvPr/>
        </p:nvSpPr>
        <p:spPr bwMode="blackWhite">
          <a:xfrm>
            <a:off x="7202168" y="4988907"/>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3" name="Rectangle 13"/>
          <p:cNvSpPr>
            <a:spLocks noChangeArrowheads="1"/>
          </p:cNvSpPr>
          <p:nvPr/>
        </p:nvSpPr>
        <p:spPr bwMode="blackWhite">
          <a:xfrm>
            <a:off x="5401212" y="3483258"/>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34" name="Freeform 6"/>
          <p:cNvSpPr>
            <a:spLocks/>
          </p:cNvSpPr>
          <p:nvPr/>
        </p:nvSpPr>
        <p:spPr bwMode="blackWhite">
          <a:xfrm>
            <a:off x="5084267" y="4131588"/>
            <a:ext cx="1652094" cy="147208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1"/>
          </a:solidFill>
          <a:ln w="12700" cap="rnd">
            <a:noFill/>
            <a:round/>
            <a:headEnd/>
            <a:tailEnd/>
          </a:ln>
        </p:spPr>
        <p:txBody>
          <a:bodyPr/>
          <a:lstStyle/>
          <a:p>
            <a:pPr algn="ctr" eaLnBrk="1" hangingPunct="1">
              <a:spcBef>
                <a:spcPct val="20000"/>
              </a:spcBef>
              <a:buClr>
                <a:schemeClr val="bg1"/>
              </a:buClr>
              <a:defRPr/>
            </a:pPr>
            <a:endParaRPr lang="en-GB" sz="1200" dirty="0">
              <a:solidFill>
                <a:srgbClr val="002776"/>
              </a:solidFill>
              <a:cs typeface="Arial" pitchFamily="34" charset="0"/>
            </a:endParaRPr>
          </a:p>
        </p:txBody>
      </p:sp>
      <p:sp>
        <p:nvSpPr>
          <p:cNvPr id="35" name="Rectangle 12"/>
          <p:cNvSpPr>
            <a:spLocks noChangeArrowheads="1"/>
          </p:cNvSpPr>
          <p:nvPr/>
        </p:nvSpPr>
        <p:spPr bwMode="blackWhite">
          <a:xfrm>
            <a:off x="5919240" y="4703642"/>
            <a:ext cx="249107" cy="175433"/>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bg1"/>
              </a:buClr>
            </a:pPr>
            <a:r>
              <a:rPr lang="en-GB" sz="1200" dirty="0">
                <a:solidFill>
                  <a:schemeClr val="bg1"/>
                </a:solidFill>
                <a:cs typeface="Arial" pitchFamily="34" charset="0"/>
              </a:rPr>
              <a:t>Text</a:t>
            </a:r>
          </a:p>
        </p:txBody>
      </p:sp>
      <p:sp>
        <p:nvSpPr>
          <p:cNvPr id="16" name="TextBox 15"/>
          <p:cNvSpPr txBox="1"/>
          <p:nvPr/>
        </p:nvSpPr>
        <p:spPr>
          <a:xfrm>
            <a:off x="501650" y="6108406"/>
            <a:ext cx="9772650" cy="31420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919114659"/>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p:cNvSpPr>
            <a:spLocks noGrp="1"/>
          </p:cNvSpPr>
          <p:nvPr>
            <p:ph type="body" sz="quarter" idx="13"/>
          </p:nvPr>
        </p:nvSpPr>
        <p:spPr/>
        <p:txBody>
          <a:bodyPr/>
          <a:lstStyle/>
          <a:p>
            <a:r>
              <a:rPr lang="en-US"/>
              <a:t>Subtitle runs here</a:t>
            </a:r>
            <a:endParaRPr lang="en-US" dirty="0"/>
          </a:p>
        </p:txBody>
      </p:sp>
      <p:sp>
        <p:nvSpPr>
          <p:cNvPr id="677889" name="Title 1"/>
          <p:cNvSpPr>
            <a:spLocks noGrp="1"/>
          </p:cNvSpPr>
          <p:nvPr>
            <p:ph type="title"/>
          </p:nvPr>
        </p:nvSpPr>
        <p:spPr/>
        <p:txBody>
          <a:bodyPr/>
          <a:lstStyle/>
          <a:p>
            <a:r>
              <a:rPr lang="en-US"/>
              <a:t>Venn diagram</a:t>
            </a:r>
            <a:endParaRPr lang="en-US" dirty="0"/>
          </a:p>
        </p:txBody>
      </p:sp>
      <p:sp>
        <p:nvSpPr>
          <p:cNvPr id="17" name="Freeform 18"/>
          <p:cNvSpPr>
            <a:spLocks/>
          </p:cNvSpPr>
          <p:nvPr/>
        </p:nvSpPr>
        <p:spPr bwMode="auto">
          <a:xfrm>
            <a:off x="3579341" y="1620240"/>
            <a:ext cx="2520950" cy="2903538"/>
          </a:xfrm>
          <a:custGeom>
            <a:avLst/>
            <a:gdLst>
              <a:gd name="T0" fmla="*/ 600 w 720"/>
              <a:gd name="T1" fmla="*/ 493 h 829"/>
              <a:gd name="T2" fmla="*/ 594 w 720"/>
              <a:gd name="T3" fmla="*/ 423 h 829"/>
              <a:gd name="T4" fmla="*/ 720 w 720"/>
              <a:gd name="T5" fmla="*/ 122 h 829"/>
              <a:gd name="T6" fmla="*/ 423 w 720"/>
              <a:gd name="T7" fmla="*/ 0 h 829"/>
              <a:gd name="T8" fmla="*/ 0 w 720"/>
              <a:gd name="T9" fmla="*/ 423 h 829"/>
              <a:gd name="T10" fmla="*/ 303 w 720"/>
              <a:gd name="T11" fmla="*/ 829 h 829"/>
              <a:gd name="T12" fmla="*/ 600 w 720"/>
              <a:gd name="T13" fmla="*/ 493 h 829"/>
            </a:gdLst>
            <a:ahLst/>
            <a:cxnLst>
              <a:cxn ang="0">
                <a:pos x="T0" y="T1"/>
              </a:cxn>
              <a:cxn ang="0">
                <a:pos x="T2" y="T3"/>
              </a:cxn>
              <a:cxn ang="0">
                <a:pos x="T4" y="T5"/>
              </a:cxn>
              <a:cxn ang="0">
                <a:pos x="T6" y="T7"/>
              </a:cxn>
              <a:cxn ang="0">
                <a:pos x="T8" y="T9"/>
              </a:cxn>
              <a:cxn ang="0">
                <a:pos x="T10" y="T11"/>
              </a:cxn>
              <a:cxn ang="0">
                <a:pos x="T12" y="T13"/>
              </a:cxn>
            </a:cxnLst>
            <a:rect l="0" t="0" r="r" b="b"/>
            <a:pathLst>
              <a:path w="720" h="829">
                <a:moveTo>
                  <a:pt x="600" y="493"/>
                </a:moveTo>
                <a:cubicBezTo>
                  <a:pt x="596" y="470"/>
                  <a:pt x="594" y="447"/>
                  <a:pt x="594" y="423"/>
                </a:cubicBezTo>
                <a:cubicBezTo>
                  <a:pt x="594" y="305"/>
                  <a:pt x="642" y="199"/>
                  <a:pt x="720" y="122"/>
                </a:cubicBezTo>
                <a:cubicBezTo>
                  <a:pt x="644" y="47"/>
                  <a:pt x="539" y="0"/>
                  <a:pt x="423" y="0"/>
                </a:cubicBezTo>
                <a:cubicBezTo>
                  <a:pt x="189" y="0"/>
                  <a:pt x="0" y="190"/>
                  <a:pt x="0" y="423"/>
                </a:cubicBezTo>
                <a:cubicBezTo>
                  <a:pt x="0" y="615"/>
                  <a:pt x="128" y="777"/>
                  <a:pt x="303" y="829"/>
                </a:cubicBezTo>
                <a:cubicBezTo>
                  <a:pt x="329" y="669"/>
                  <a:pt x="446" y="539"/>
                  <a:pt x="600" y="493"/>
                </a:cubicBezTo>
                <a:close/>
              </a:path>
            </a:pathLst>
          </a:custGeom>
          <a:solidFill>
            <a:srgbClr val="DDEFE8"/>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18" name="Freeform 19"/>
          <p:cNvSpPr>
            <a:spLocks/>
          </p:cNvSpPr>
          <p:nvPr/>
        </p:nvSpPr>
        <p:spPr bwMode="auto">
          <a:xfrm>
            <a:off x="6091238" y="1616763"/>
            <a:ext cx="2525712" cy="2903538"/>
          </a:xfrm>
          <a:custGeom>
            <a:avLst/>
            <a:gdLst>
              <a:gd name="T0" fmla="*/ 721 w 721"/>
              <a:gd name="T1" fmla="*/ 423 h 829"/>
              <a:gd name="T2" fmla="*/ 297 w 721"/>
              <a:gd name="T3" fmla="*/ 0 h 829"/>
              <a:gd name="T4" fmla="*/ 0 w 721"/>
              <a:gd name="T5" fmla="*/ 122 h 829"/>
              <a:gd name="T6" fmla="*/ 126 w 721"/>
              <a:gd name="T7" fmla="*/ 423 h 829"/>
              <a:gd name="T8" fmla="*/ 121 w 721"/>
              <a:gd name="T9" fmla="*/ 493 h 829"/>
              <a:gd name="T10" fmla="*/ 418 w 721"/>
              <a:gd name="T11" fmla="*/ 829 h 829"/>
              <a:gd name="T12" fmla="*/ 721 w 721"/>
              <a:gd name="T13" fmla="*/ 423 h 829"/>
            </a:gdLst>
            <a:ahLst/>
            <a:cxnLst>
              <a:cxn ang="0">
                <a:pos x="T0" y="T1"/>
              </a:cxn>
              <a:cxn ang="0">
                <a:pos x="T2" y="T3"/>
              </a:cxn>
              <a:cxn ang="0">
                <a:pos x="T4" y="T5"/>
              </a:cxn>
              <a:cxn ang="0">
                <a:pos x="T6" y="T7"/>
              </a:cxn>
              <a:cxn ang="0">
                <a:pos x="T8" y="T9"/>
              </a:cxn>
              <a:cxn ang="0">
                <a:pos x="T10" y="T11"/>
              </a:cxn>
              <a:cxn ang="0">
                <a:pos x="T12" y="T13"/>
              </a:cxn>
            </a:cxnLst>
            <a:rect l="0" t="0" r="r" b="b"/>
            <a:pathLst>
              <a:path w="721" h="829">
                <a:moveTo>
                  <a:pt x="721" y="423"/>
                </a:moveTo>
                <a:cubicBezTo>
                  <a:pt x="721" y="190"/>
                  <a:pt x="531" y="0"/>
                  <a:pt x="297" y="0"/>
                </a:cubicBezTo>
                <a:cubicBezTo>
                  <a:pt x="182" y="0"/>
                  <a:pt x="77" y="47"/>
                  <a:pt x="0" y="122"/>
                </a:cubicBezTo>
                <a:cubicBezTo>
                  <a:pt x="78" y="199"/>
                  <a:pt x="126" y="305"/>
                  <a:pt x="126" y="423"/>
                </a:cubicBezTo>
                <a:cubicBezTo>
                  <a:pt x="126" y="447"/>
                  <a:pt x="124" y="470"/>
                  <a:pt x="121" y="493"/>
                </a:cubicBezTo>
                <a:cubicBezTo>
                  <a:pt x="274" y="539"/>
                  <a:pt x="391" y="669"/>
                  <a:pt x="418" y="829"/>
                </a:cubicBezTo>
                <a:cubicBezTo>
                  <a:pt x="593" y="777"/>
                  <a:pt x="721" y="615"/>
                  <a:pt x="721" y="423"/>
                </a:cubicBezTo>
                <a:close/>
              </a:path>
            </a:pathLst>
          </a:custGeom>
          <a:solidFill>
            <a:srgbClr val="DDEFE8"/>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19" name="Freeform 20"/>
          <p:cNvSpPr>
            <a:spLocks/>
          </p:cNvSpPr>
          <p:nvPr/>
        </p:nvSpPr>
        <p:spPr bwMode="auto">
          <a:xfrm>
            <a:off x="5653645" y="2037807"/>
            <a:ext cx="879028" cy="1308302"/>
          </a:xfrm>
          <a:custGeom>
            <a:avLst/>
            <a:gdLst>
              <a:gd name="T0" fmla="*/ 0 w 252"/>
              <a:gd name="T1" fmla="*/ 301 h 371"/>
              <a:gd name="T2" fmla="*/ 6 w 252"/>
              <a:gd name="T3" fmla="*/ 371 h 371"/>
              <a:gd name="T4" fmla="*/ 126 w 252"/>
              <a:gd name="T5" fmla="*/ 354 h 371"/>
              <a:gd name="T6" fmla="*/ 247 w 252"/>
              <a:gd name="T7" fmla="*/ 371 h 371"/>
              <a:gd name="T8" fmla="*/ 252 w 252"/>
              <a:gd name="T9" fmla="*/ 301 h 371"/>
              <a:gd name="T10" fmla="*/ 126 w 252"/>
              <a:gd name="T11" fmla="*/ 0 h 371"/>
              <a:gd name="T12" fmla="*/ 0 w 252"/>
              <a:gd name="T13" fmla="*/ 301 h 371"/>
            </a:gdLst>
            <a:ahLst/>
            <a:cxnLst>
              <a:cxn ang="0">
                <a:pos x="T0" y="T1"/>
              </a:cxn>
              <a:cxn ang="0">
                <a:pos x="T2" y="T3"/>
              </a:cxn>
              <a:cxn ang="0">
                <a:pos x="T4" y="T5"/>
              </a:cxn>
              <a:cxn ang="0">
                <a:pos x="T6" y="T7"/>
              </a:cxn>
              <a:cxn ang="0">
                <a:pos x="T8" y="T9"/>
              </a:cxn>
              <a:cxn ang="0">
                <a:pos x="T10" y="T11"/>
              </a:cxn>
              <a:cxn ang="0">
                <a:pos x="T12" y="T13"/>
              </a:cxn>
            </a:cxnLst>
            <a:rect l="0" t="0" r="r" b="b"/>
            <a:pathLst>
              <a:path w="252" h="371">
                <a:moveTo>
                  <a:pt x="0" y="301"/>
                </a:moveTo>
                <a:cubicBezTo>
                  <a:pt x="0" y="325"/>
                  <a:pt x="2" y="348"/>
                  <a:pt x="6" y="371"/>
                </a:cubicBezTo>
                <a:cubicBezTo>
                  <a:pt x="44" y="360"/>
                  <a:pt x="84" y="354"/>
                  <a:pt x="126" y="354"/>
                </a:cubicBezTo>
                <a:cubicBezTo>
                  <a:pt x="168" y="354"/>
                  <a:pt x="209" y="360"/>
                  <a:pt x="247" y="371"/>
                </a:cubicBezTo>
                <a:cubicBezTo>
                  <a:pt x="250" y="348"/>
                  <a:pt x="252" y="325"/>
                  <a:pt x="252" y="301"/>
                </a:cubicBezTo>
                <a:cubicBezTo>
                  <a:pt x="252" y="183"/>
                  <a:pt x="204" y="77"/>
                  <a:pt x="126" y="0"/>
                </a:cubicBezTo>
                <a:cubicBezTo>
                  <a:pt x="48" y="77"/>
                  <a:pt x="0" y="183"/>
                  <a:pt x="0" y="301"/>
                </a:cubicBezTo>
                <a:close/>
              </a:path>
            </a:pathLst>
          </a:custGeom>
          <a:solidFill>
            <a:srgbClr val="9DD4CF"/>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1" name="Freeform 21"/>
          <p:cNvSpPr>
            <a:spLocks/>
          </p:cNvSpPr>
          <p:nvPr/>
        </p:nvSpPr>
        <p:spPr bwMode="auto">
          <a:xfrm>
            <a:off x="4610101" y="4142646"/>
            <a:ext cx="2967037" cy="2090738"/>
          </a:xfrm>
          <a:custGeom>
            <a:avLst/>
            <a:gdLst>
              <a:gd name="T0" fmla="*/ 423 w 847"/>
              <a:gd name="T1" fmla="*/ 0 h 597"/>
              <a:gd name="T2" fmla="*/ 126 w 847"/>
              <a:gd name="T3" fmla="*/ 122 h 597"/>
              <a:gd name="T4" fmla="*/ 6 w 847"/>
              <a:gd name="T5" fmla="*/ 104 h 597"/>
              <a:gd name="T6" fmla="*/ 0 w 847"/>
              <a:gd name="T7" fmla="*/ 174 h 597"/>
              <a:gd name="T8" fmla="*/ 423 w 847"/>
              <a:gd name="T9" fmla="*/ 597 h 597"/>
              <a:gd name="T10" fmla="*/ 847 w 847"/>
              <a:gd name="T11" fmla="*/ 174 h 597"/>
              <a:gd name="T12" fmla="*/ 841 w 847"/>
              <a:gd name="T13" fmla="*/ 104 h 597"/>
              <a:gd name="T14" fmla="*/ 720 w 847"/>
              <a:gd name="T15" fmla="*/ 122 h 597"/>
              <a:gd name="T16" fmla="*/ 423 w 847"/>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7" h="597">
                <a:moveTo>
                  <a:pt x="423" y="0"/>
                </a:moveTo>
                <a:cubicBezTo>
                  <a:pt x="347" y="75"/>
                  <a:pt x="242" y="122"/>
                  <a:pt x="126" y="122"/>
                </a:cubicBezTo>
                <a:cubicBezTo>
                  <a:pt x="84" y="122"/>
                  <a:pt x="44" y="116"/>
                  <a:pt x="6" y="104"/>
                </a:cubicBezTo>
                <a:cubicBezTo>
                  <a:pt x="2" y="127"/>
                  <a:pt x="0" y="150"/>
                  <a:pt x="0" y="174"/>
                </a:cubicBezTo>
                <a:cubicBezTo>
                  <a:pt x="0" y="408"/>
                  <a:pt x="189" y="597"/>
                  <a:pt x="423" y="597"/>
                </a:cubicBezTo>
                <a:cubicBezTo>
                  <a:pt x="657" y="597"/>
                  <a:pt x="847" y="408"/>
                  <a:pt x="847" y="174"/>
                </a:cubicBezTo>
                <a:cubicBezTo>
                  <a:pt x="847" y="150"/>
                  <a:pt x="845" y="127"/>
                  <a:pt x="841" y="104"/>
                </a:cubicBezTo>
                <a:cubicBezTo>
                  <a:pt x="803" y="116"/>
                  <a:pt x="762" y="122"/>
                  <a:pt x="720" y="122"/>
                </a:cubicBezTo>
                <a:cubicBezTo>
                  <a:pt x="605" y="122"/>
                  <a:pt x="500" y="75"/>
                  <a:pt x="423" y="0"/>
                </a:cubicBezTo>
                <a:close/>
              </a:path>
            </a:pathLst>
          </a:custGeom>
          <a:solidFill>
            <a:srgbClr val="DDEFE8"/>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2" name="Freeform 22"/>
          <p:cNvSpPr>
            <a:spLocks/>
          </p:cNvSpPr>
          <p:nvPr/>
        </p:nvSpPr>
        <p:spPr bwMode="auto">
          <a:xfrm>
            <a:off x="4636314" y="3335422"/>
            <a:ext cx="1460500" cy="1247008"/>
          </a:xfrm>
          <a:custGeom>
            <a:avLst/>
            <a:gdLst>
              <a:gd name="T0" fmla="*/ 417 w 417"/>
              <a:gd name="T1" fmla="*/ 232 h 354"/>
              <a:gd name="T2" fmla="*/ 297 w 417"/>
              <a:gd name="T3" fmla="*/ 0 h 354"/>
              <a:gd name="T4" fmla="*/ 0 w 417"/>
              <a:gd name="T5" fmla="*/ 336 h 354"/>
              <a:gd name="T6" fmla="*/ 120 w 417"/>
              <a:gd name="T7" fmla="*/ 354 h 354"/>
              <a:gd name="T8" fmla="*/ 417 w 417"/>
              <a:gd name="T9" fmla="*/ 232 h 354"/>
            </a:gdLst>
            <a:ahLst/>
            <a:cxnLst>
              <a:cxn ang="0">
                <a:pos x="T0" y="T1"/>
              </a:cxn>
              <a:cxn ang="0">
                <a:pos x="T2" y="T3"/>
              </a:cxn>
              <a:cxn ang="0">
                <a:pos x="T4" y="T5"/>
              </a:cxn>
              <a:cxn ang="0">
                <a:pos x="T6" y="T7"/>
              </a:cxn>
              <a:cxn ang="0">
                <a:pos x="T8" y="T9"/>
              </a:cxn>
            </a:cxnLst>
            <a:rect l="0" t="0" r="r" b="b"/>
            <a:pathLst>
              <a:path w="417" h="354">
                <a:moveTo>
                  <a:pt x="417" y="232"/>
                </a:moveTo>
                <a:cubicBezTo>
                  <a:pt x="355" y="171"/>
                  <a:pt x="312" y="90"/>
                  <a:pt x="297" y="0"/>
                </a:cubicBezTo>
                <a:cubicBezTo>
                  <a:pt x="143" y="46"/>
                  <a:pt x="26" y="176"/>
                  <a:pt x="0" y="336"/>
                </a:cubicBezTo>
                <a:cubicBezTo>
                  <a:pt x="38" y="348"/>
                  <a:pt x="78" y="354"/>
                  <a:pt x="120" y="354"/>
                </a:cubicBezTo>
                <a:cubicBezTo>
                  <a:pt x="236" y="354"/>
                  <a:pt x="341" y="307"/>
                  <a:pt x="417" y="232"/>
                </a:cubicBezTo>
                <a:close/>
              </a:path>
            </a:pathLst>
          </a:custGeom>
          <a:solidFill>
            <a:srgbClr val="9DD4CF"/>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3" name="Freeform 23"/>
          <p:cNvSpPr>
            <a:spLocks/>
          </p:cNvSpPr>
          <p:nvPr/>
        </p:nvSpPr>
        <p:spPr bwMode="auto">
          <a:xfrm>
            <a:off x="6089046" y="3338899"/>
            <a:ext cx="1467212" cy="1240055"/>
          </a:xfrm>
          <a:custGeom>
            <a:avLst/>
            <a:gdLst>
              <a:gd name="T0" fmla="*/ 121 w 418"/>
              <a:gd name="T1" fmla="*/ 0 h 354"/>
              <a:gd name="T2" fmla="*/ 0 w 418"/>
              <a:gd name="T3" fmla="*/ 232 h 354"/>
              <a:gd name="T4" fmla="*/ 297 w 418"/>
              <a:gd name="T5" fmla="*/ 354 h 354"/>
              <a:gd name="T6" fmla="*/ 418 w 418"/>
              <a:gd name="T7" fmla="*/ 336 h 354"/>
              <a:gd name="T8" fmla="*/ 121 w 418"/>
              <a:gd name="T9" fmla="*/ 0 h 354"/>
            </a:gdLst>
            <a:ahLst/>
            <a:cxnLst>
              <a:cxn ang="0">
                <a:pos x="T0" y="T1"/>
              </a:cxn>
              <a:cxn ang="0">
                <a:pos x="T2" y="T3"/>
              </a:cxn>
              <a:cxn ang="0">
                <a:pos x="T4" y="T5"/>
              </a:cxn>
              <a:cxn ang="0">
                <a:pos x="T6" y="T7"/>
              </a:cxn>
              <a:cxn ang="0">
                <a:pos x="T8" y="T9"/>
              </a:cxn>
            </a:cxnLst>
            <a:rect l="0" t="0" r="r" b="b"/>
            <a:pathLst>
              <a:path w="418" h="354">
                <a:moveTo>
                  <a:pt x="121" y="0"/>
                </a:moveTo>
                <a:cubicBezTo>
                  <a:pt x="106" y="90"/>
                  <a:pt x="62" y="171"/>
                  <a:pt x="0" y="232"/>
                </a:cubicBezTo>
                <a:cubicBezTo>
                  <a:pt x="77" y="307"/>
                  <a:pt x="182" y="354"/>
                  <a:pt x="297" y="354"/>
                </a:cubicBezTo>
                <a:cubicBezTo>
                  <a:pt x="339" y="354"/>
                  <a:pt x="380" y="348"/>
                  <a:pt x="418" y="336"/>
                </a:cubicBezTo>
                <a:cubicBezTo>
                  <a:pt x="391" y="176"/>
                  <a:pt x="274" y="46"/>
                  <a:pt x="121" y="0"/>
                </a:cubicBezTo>
                <a:close/>
              </a:path>
            </a:pathLst>
          </a:custGeom>
          <a:solidFill>
            <a:srgbClr val="9DD4CF"/>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4" name="Freeform 24"/>
          <p:cNvSpPr>
            <a:spLocks/>
          </p:cNvSpPr>
          <p:nvPr/>
        </p:nvSpPr>
        <p:spPr bwMode="auto">
          <a:xfrm>
            <a:off x="5672138" y="3280162"/>
            <a:ext cx="842962" cy="878099"/>
          </a:xfrm>
          <a:custGeom>
            <a:avLst/>
            <a:gdLst>
              <a:gd name="T0" fmla="*/ 0 w 241"/>
              <a:gd name="T1" fmla="*/ 17 h 249"/>
              <a:gd name="T2" fmla="*/ 120 w 241"/>
              <a:gd name="T3" fmla="*/ 249 h 249"/>
              <a:gd name="T4" fmla="*/ 241 w 241"/>
              <a:gd name="T5" fmla="*/ 17 h 249"/>
              <a:gd name="T6" fmla="*/ 120 w 241"/>
              <a:gd name="T7" fmla="*/ 0 h 249"/>
              <a:gd name="T8" fmla="*/ 0 w 241"/>
              <a:gd name="T9" fmla="*/ 17 h 249"/>
            </a:gdLst>
            <a:ahLst/>
            <a:cxnLst>
              <a:cxn ang="0">
                <a:pos x="T0" y="T1"/>
              </a:cxn>
              <a:cxn ang="0">
                <a:pos x="T2" y="T3"/>
              </a:cxn>
              <a:cxn ang="0">
                <a:pos x="T4" y="T5"/>
              </a:cxn>
              <a:cxn ang="0">
                <a:pos x="T6" y="T7"/>
              </a:cxn>
              <a:cxn ang="0">
                <a:pos x="T8" y="T9"/>
              </a:cxn>
            </a:cxnLst>
            <a:rect l="0" t="0" r="r" b="b"/>
            <a:pathLst>
              <a:path w="241" h="249">
                <a:moveTo>
                  <a:pt x="0" y="17"/>
                </a:moveTo>
                <a:cubicBezTo>
                  <a:pt x="15" y="107"/>
                  <a:pt x="58" y="188"/>
                  <a:pt x="120" y="249"/>
                </a:cubicBezTo>
                <a:cubicBezTo>
                  <a:pt x="182" y="188"/>
                  <a:pt x="226" y="107"/>
                  <a:pt x="241" y="17"/>
                </a:cubicBezTo>
                <a:cubicBezTo>
                  <a:pt x="203" y="6"/>
                  <a:pt x="162" y="0"/>
                  <a:pt x="120" y="0"/>
                </a:cubicBezTo>
                <a:cubicBezTo>
                  <a:pt x="78" y="0"/>
                  <a:pt x="38" y="6"/>
                  <a:pt x="0" y="17"/>
                </a:cubicBezTo>
                <a:close/>
              </a:path>
            </a:pathLst>
          </a:custGeom>
          <a:solidFill>
            <a:schemeClr val="tx1"/>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p>
        </p:txBody>
      </p:sp>
      <p:sp>
        <p:nvSpPr>
          <p:cNvPr id="25" name="Rectangle 24"/>
          <p:cNvSpPr/>
          <p:nvPr/>
        </p:nvSpPr>
        <p:spPr bwMode="gray">
          <a:xfrm>
            <a:off x="7195410" y="2810782"/>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6" name="Rectangle 25"/>
          <p:cNvSpPr/>
          <p:nvPr/>
        </p:nvSpPr>
        <p:spPr bwMode="gray">
          <a:xfrm>
            <a:off x="4747485" y="2810782"/>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7" name="Rectangle 26"/>
          <p:cNvSpPr/>
          <p:nvPr/>
        </p:nvSpPr>
        <p:spPr bwMode="gray">
          <a:xfrm>
            <a:off x="5969065" y="4972957"/>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28" name="Rectangle 27"/>
          <p:cNvSpPr/>
          <p:nvPr/>
        </p:nvSpPr>
        <p:spPr bwMode="gray">
          <a:xfrm>
            <a:off x="5969066" y="3525157"/>
            <a:ext cx="249107"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16" name="Rectangle 15"/>
          <p:cNvSpPr>
            <a:spLocks noChangeArrowheads="1"/>
          </p:cNvSpPr>
          <p:nvPr/>
        </p:nvSpPr>
        <p:spPr bwMode="auto">
          <a:xfrm>
            <a:off x="8935616"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
        <p:nvSpPr>
          <p:cNvPr id="29" name="TextBox 28"/>
          <p:cNvSpPr txBox="1"/>
          <p:nvPr/>
        </p:nvSpPr>
        <p:spPr>
          <a:xfrm>
            <a:off x="501650" y="6108407"/>
            <a:ext cx="9772650" cy="19268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2360525819"/>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01650" y="651600"/>
            <a:ext cx="11188700" cy="757255"/>
          </a:xfrm>
        </p:spPr>
        <p:txBody>
          <a:bodyPr/>
          <a:lstStyle/>
          <a:p>
            <a:r>
              <a:rPr lang="en-US"/>
              <a:t>Subtitle runs here</a:t>
            </a:r>
            <a:endParaRPr lang="en-US" dirty="0"/>
          </a:p>
        </p:txBody>
      </p:sp>
      <p:sp>
        <p:nvSpPr>
          <p:cNvPr id="678913" name="Title 1"/>
          <p:cNvSpPr>
            <a:spLocks noGrp="1"/>
          </p:cNvSpPr>
          <p:nvPr>
            <p:ph type="title"/>
          </p:nvPr>
        </p:nvSpPr>
        <p:spPr/>
        <p:txBody>
          <a:bodyPr/>
          <a:lstStyle/>
          <a:p>
            <a:r>
              <a:rPr lang="en-US"/>
              <a:t>Venn diagrams</a:t>
            </a:r>
            <a:endParaRPr lang="en-US" dirty="0"/>
          </a:p>
        </p:txBody>
      </p:sp>
      <p:sp>
        <p:nvSpPr>
          <p:cNvPr id="58" name="Oval 1"/>
          <p:cNvSpPr/>
          <p:nvPr/>
        </p:nvSpPr>
        <p:spPr bwMode="gray">
          <a:xfrm>
            <a:off x="4349651" y="1358037"/>
            <a:ext cx="565172" cy="1102194"/>
          </a:xfrm>
          <a:custGeom>
            <a:avLst/>
            <a:gdLst/>
            <a:ahLst/>
            <a:cxnLst/>
            <a:rect l="l" t="t" r="r" b="b"/>
            <a:pathLst>
              <a:path w="1099056" h="2173122">
                <a:moveTo>
                  <a:pt x="549528" y="0"/>
                </a:moveTo>
                <a:cubicBezTo>
                  <a:pt x="883279" y="245150"/>
                  <a:pt x="1099056" y="640657"/>
                  <a:pt x="1099056" y="1086561"/>
                </a:cubicBezTo>
                <a:cubicBezTo>
                  <a:pt x="1099056" y="1532465"/>
                  <a:pt x="883279" y="1927972"/>
                  <a:pt x="549528" y="2173122"/>
                </a:cubicBezTo>
                <a:cubicBezTo>
                  <a:pt x="215777" y="1927972"/>
                  <a:pt x="0" y="1532465"/>
                  <a:pt x="0" y="1086561"/>
                </a:cubicBezTo>
                <a:cubicBezTo>
                  <a:pt x="0" y="640657"/>
                  <a:pt x="215777" y="245150"/>
                  <a:pt x="549528" y="0"/>
                </a:cubicBezTo>
                <a:close/>
              </a:path>
            </a:pathLst>
          </a:custGeom>
          <a:solidFill>
            <a:schemeClr val="accent1"/>
          </a:solidFill>
          <a:ln w="19050" algn="ctr">
            <a:noFill/>
            <a:miter lim="800000"/>
            <a:headEnd/>
            <a:tailEnd/>
          </a:ln>
        </p:spPr>
        <p:txBody>
          <a:bodyPr wrap="none" lIns="44450" tIns="44450" rIns="44450" bIns="44450" rtlCol="0" anchor="ctr"/>
          <a:lstStyle/>
          <a:p>
            <a:pPr algn="ctr">
              <a:buFont typeface="Wingdings 2" pitchFamily="18" charset="2"/>
              <a:buNone/>
            </a:pPr>
            <a:endParaRPr lang="en-US" sz="1200" dirty="0">
              <a:solidFill>
                <a:schemeClr val="tx2"/>
              </a:solidFill>
            </a:endParaRPr>
          </a:p>
        </p:txBody>
      </p:sp>
      <p:sp>
        <p:nvSpPr>
          <p:cNvPr id="63" name="Oval 15"/>
          <p:cNvSpPr/>
          <p:nvPr/>
        </p:nvSpPr>
        <p:spPr bwMode="gray">
          <a:xfrm>
            <a:off x="4631342" y="1223129"/>
            <a:ext cx="1093293" cy="1372010"/>
          </a:xfrm>
          <a:custGeom>
            <a:avLst/>
            <a:gdLst/>
            <a:ahLst/>
            <a:cxnLst/>
            <a:rect l="l" t="t" r="r" b="b"/>
            <a:pathLst>
              <a:path w="2155572" h="2705100">
                <a:moveTo>
                  <a:pt x="803022" y="0"/>
                </a:moveTo>
                <a:cubicBezTo>
                  <a:pt x="1550015" y="0"/>
                  <a:pt x="2155572" y="605557"/>
                  <a:pt x="2155572" y="1352550"/>
                </a:cubicBezTo>
                <a:cubicBezTo>
                  <a:pt x="2155572" y="2099543"/>
                  <a:pt x="1550015" y="2705100"/>
                  <a:pt x="803022" y="2705100"/>
                </a:cubicBezTo>
                <a:cubicBezTo>
                  <a:pt x="501933" y="2705100"/>
                  <a:pt x="223823" y="2606719"/>
                  <a:pt x="0" y="2439111"/>
                </a:cubicBezTo>
                <a:cubicBezTo>
                  <a:pt x="333751" y="2193961"/>
                  <a:pt x="549528" y="1798454"/>
                  <a:pt x="549528" y="1352550"/>
                </a:cubicBezTo>
                <a:cubicBezTo>
                  <a:pt x="549528" y="906646"/>
                  <a:pt x="333751" y="511139"/>
                  <a:pt x="0" y="265989"/>
                </a:cubicBezTo>
                <a:cubicBezTo>
                  <a:pt x="223823" y="98381"/>
                  <a:pt x="501933" y="0"/>
                  <a:pt x="803022" y="0"/>
                </a:cubicBezTo>
                <a:close/>
              </a:path>
            </a:pathLst>
          </a:custGeom>
          <a:solidFill>
            <a:schemeClr val="accent2"/>
          </a:solidFill>
          <a:ln w="19050" algn="ctr">
            <a:noFill/>
            <a:miter lim="800000"/>
            <a:headEnd/>
            <a:tailEnd/>
          </a:ln>
        </p:spPr>
        <p:txBody>
          <a:bodyPr wrap="none" lIns="44450" tIns="44450" rIns="44450" bIns="44450" rtlCol="0" anchor="ctr"/>
          <a:lstStyle/>
          <a:p>
            <a:pPr algn="ctr">
              <a:buFont typeface="Wingdings 2" pitchFamily="18" charset="2"/>
              <a:buNone/>
            </a:pPr>
            <a:endParaRPr lang="en-US" sz="1200" dirty="0">
              <a:solidFill>
                <a:schemeClr val="tx2"/>
              </a:solidFill>
            </a:endParaRPr>
          </a:p>
        </p:txBody>
      </p:sp>
      <p:sp>
        <p:nvSpPr>
          <p:cNvPr id="64" name="Oval 16"/>
          <p:cNvSpPr/>
          <p:nvPr/>
        </p:nvSpPr>
        <p:spPr bwMode="gray">
          <a:xfrm>
            <a:off x="3539840" y="1223129"/>
            <a:ext cx="1093292" cy="1372010"/>
          </a:xfrm>
          <a:custGeom>
            <a:avLst/>
            <a:gdLst/>
            <a:ahLst/>
            <a:cxnLst/>
            <a:rect l="l" t="t" r="r" b="b"/>
            <a:pathLst>
              <a:path w="2155572" h="2705100">
                <a:moveTo>
                  <a:pt x="1352550" y="0"/>
                </a:moveTo>
                <a:cubicBezTo>
                  <a:pt x="1653639" y="0"/>
                  <a:pt x="1931749" y="98381"/>
                  <a:pt x="2155572" y="265990"/>
                </a:cubicBezTo>
                <a:cubicBezTo>
                  <a:pt x="1821821" y="511139"/>
                  <a:pt x="1606044" y="906646"/>
                  <a:pt x="1606044" y="1352550"/>
                </a:cubicBezTo>
                <a:cubicBezTo>
                  <a:pt x="1606044" y="1798455"/>
                  <a:pt x="1821821" y="2193961"/>
                  <a:pt x="2155572" y="2439111"/>
                </a:cubicBezTo>
                <a:cubicBezTo>
                  <a:pt x="1931749" y="2606719"/>
                  <a:pt x="1653639" y="2705100"/>
                  <a:pt x="1352550" y="2705100"/>
                </a:cubicBezTo>
                <a:cubicBezTo>
                  <a:pt x="605557" y="2705100"/>
                  <a:pt x="0" y="2099543"/>
                  <a:pt x="0" y="1352550"/>
                </a:cubicBezTo>
                <a:cubicBezTo>
                  <a:pt x="0" y="605557"/>
                  <a:pt x="605557" y="0"/>
                  <a:pt x="1352550" y="0"/>
                </a:cubicBezTo>
                <a:close/>
              </a:path>
            </a:pathLst>
          </a:custGeom>
          <a:solidFill>
            <a:srgbClr val="C4D600"/>
          </a:solidFill>
          <a:ln w="19050" algn="ctr">
            <a:noFill/>
            <a:miter lim="800000"/>
            <a:headEnd/>
            <a:tailEnd/>
          </a:ln>
        </p:spPr>
        <p:txBody>
          <a:bodyPr wrap="none" lIns="44450" tIns="44450" rIns="44450" bIns="44450" rtlCol="0" anchor="ctr"/>
          <a:lstStyle/>
          <a:p>
            <a:pPr algn="ctr">
              <a:buFont typeface="Wingdings 2" pitchFamily="18" charset="2"/>
              <a:buNone/>
            </a:pPr>
            <a:endParaRPr lang="en-US" sz="1200" dirty="0">
              <a:solidFill>
                <a:schemeClr val="tx2"/>
              </a:solidFill>
            </a:endParaRPr>
          </a:p>
        </p:txBody>
      </p:sp>
      <p:sp>
        <p:nvSpPr>
          <p:cNvPr id="65" name="Rectangle 64"/>
          <p:cNvSpPr/>
          <p:nvPr/>
        </p:nvSpPr>
        <p:spPr bwMode="gray">
          <a:xfrm>
            <a:off x="3832085" y="181680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66" name="Rectangle 65"/>
          <p:cNvSpPr/>
          <p:nvPr/>
        </p:nvSpPr>
        <p:spPr bwMode="gray">
          <a:xfrm>
            <a:off x="5160346" y="181680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67" name="Freeform 8"/>
          <p:cNvSpPr>
            <a:spLocks/>
          </p:cNvSpPr>
          <p:nvPr/>
        </p:nvSpPr>
        <p:spPr bwMode="gray">
          <a:xfrm>
            <a:off x="3959731" y="3129951"/>
            <a:ext cx="411480" cy="966699"/>
          </a:xfrm>
          <a:custGeom>
            <a:avLst/>
            <a:gdLst/>
            <a:ahLst/>
            <a:cxnLst>
              <a:cxn ang="0">
                <a:pos x="70" y="0"/>
              </a:cxn>
              <a:cxn ang="0">
                <a:pos x="0" y="169"/>
              </a:cxn>
              <a:cxn ang="0">
                <a:pos x="70" y="338"/>
              </a:cxn>
              <a:cxn ang="0">
                <a:pos x="139" y="169"/>
              </a:cxn>
              <a:cxn ang="0">
                <a:pos x="70" y="0"/>
              </a:cxn>
            </a:cxnLst>
            <a:rect l="0" t="0" r="r" b="b"/>
            <a:pathLst>
              <a:path w="139" h="338">
                <a:moveTo>
                  <a:pt x="70" y="0"/>
                </a:moveTo>
                <a:cubicBezTo>
                  <a:pt x="27" y="44"/>
                  <a:pt x="0" y="103"/>
                  <a:pt x="0" y="169"/>
                </a:cubicBezTo>
                <a:cubicBezTo>
                  <a:pt x="0" y="235"/>
                  <a:pt x="27" y="294"/>
                  <a:pt x="70" y="338"/>
                </a:cubicBezTo>
                <a:cubicBezTo>
                  <a:pt x="113" y="294"/>
                  <a:pt x="139" y="235"/>
                  <a:pt x="139" y="169"/>
                </a:cubicBezTo>
                <a:cubicBezTo>
                  <a:pt x="139" y="103"/>
                  <a:pt x="113" y="44"/>
                  <a:pt x="70" y="0"/>
                </a:cubicBezTo>
              </a:path>
            </a:pathLst>
          </a:custGeom>
          <a:solidFill>
            <a:schemeClr val="tx2">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68" name="Freeform 6"/>
          <p:cNvSpPr>
            <a:spLocks/>
          </p:cNvSpPr>
          <p:nvPr/>
        </p:nvSpPr>
        <p:spPr bwMode="gray">
          <a:xfrm>
            <a:off x="2992780" y="2927294"/>
            <a:ext cx="1174800" cy="1372010"/>
          </a:xfrm>
          <a:custGeom>
            <a:avLst/>
            <a:gdLst/>
            <a:ahLst/>
            <a:cxnLst>
              <a:cxn ang="0">
                <a:pos x="411" y="71"/>
              </a:cxn>
              <a:cxn ang="0">
                <a:pos x="240" y="0"/>
              </a:cxn>
              <a:cxn ang="0">
                <a:pos x="0" y="240"/>
              </a:cxn>
              <a:cxn ang="0">
                <a:pos x="240" y="480"/>
              </a:cxn>
              <a:cxn ang="0">
                <a:pos x="411" y="409"/>
              </a:cxn>
              <a:cxn ang="0">
                <a:pos x="341" y="240"/>
              </a:cxn>
              <a:cxn ang="0">
                <a:pos x="411" y="71"/>
              </a:cxn>
            </a:cxnLst>
            <a:rect l="0" t="0" r="r" b="b"/>
            <a:pathLst>
              <a:path w="411" h="480">
                <a:moveTo>
                  <a:pt x="411" y="71"/>
                </a:moveTo>
                <a:cubicBezTo>
                  <a:pt x="367" y="27"/>
                  <a:pt x="307" y="0"/>
                  <a:pt x="240" y="0"/>
                </a:cubicBezTo>
                <a:cubicBezTo>
                  <a:pt x="107" y="0"/>
                  <a:pt x="0" y="107"/>
                  <a:pt x="0" y="240"/>
                </a:cubicBezTo>
                <a:cubicBezTo>
                  <a:pt x="0" y="373"/>
                  <a:pt x="107" y="480"/>
                  <a:pt x="240" y="480"/>
                </a:cubicBezTo>
                <a:cubicBezTo>
                  <a:pt x="307" y="480"/>
                  <a:pt x="367" y="453"/>
                  <a:pt x="411" y="409"/>
                </a:cubicBezTo>
                <a:cubicBezTo>
                  <a:pt x="368" y="365"/>
                  <a:pt x="341" y="306"/>
                  <a:pt x="341" y="240"/>
                </a:cubicBezTo>
                <a:cubicBezTo>
                  <a:pt x="341" y="174"/>
                  <a:pt x="368" y="115"/>
                  <a:pt x="411" y="71"/>
                </a:cubicBezTo>
              </a:path>
            </a:pathLst>
          </a:custGeom>
          <a:solidFill>
            <a:schemeClr val="tx2"/>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69" name="Freeform 7"/>
          <p:cNvSpPr>
            <a:spLocks/>
          </p:cNvSpPr>
          <p:nvPr/>
        </p:nvSpPr>
        <p:spPr bwMode="gray">
          <a:xfrm>
            <a:off x="4168618" y="2927294"/>
            <a:ext cx="975168" cy="1372010"/>
          </a:xfrm>
          <a:custGeom>
            <a:avLst/>
            <a:gdLst/>
            <a:ahLst/>
            <a:cxnLst>
              <a:cxn ang="0">
                <a:pos x="170" y="0"/>
              </a:cxn>
              <a:cxn ang="0">
                <a:pos x="0" y="71"/>
              </a:cxn>
              <a:cxn ang="0">
                <a:pos x="69" y="240"/>
              </a:cxn>
              <a:cxn ang="0">
                <a:pos x="69" y="240"/>
              </a:cxn>
              <a:cxn ang="0">
                <a:pos x="69" y="240"/>
              </a:cxn>
              <a:cxn ang="0">
                <a:pos x="69" y="240"/>
              </a:cxn>
              <a:cxn ang="0">
                <a:pos x="69" y="240"/>
              </a:cxn>
              <a:cxn ang="0">
                <a:pos x="0" y="409"/>
              </a:cxn>
              <a:cxn ang="0">
                <a:pos x="170" y="480"/>
              </a:cxn>
              <a:cxn ang="0">
                <a:pos x="341" y="409"/>
              </a:cxn>
              <a:cxn ang="0">
                <a:pos x="272" y="240"/>
              </a:cxn>
              <a:cxn ang="0">
                <a:pos x="272" y="240"/>
              </a:cxn>
              <a:cxn ang="0">
                <a:pos x="272" y="240"/>
              </a:cxn>
              <a:cxn ang="0">
                <a:pos x="272" y="240"/>
              </a:cxn>
              <a:cxn ang="0">
                <a:pos x="272" y="240"/>
              </a:cxn>
              <a:cxn ang="0">
                <a:pos x="341" y="71"/>
              </a:cxn>
              <a:cxn ang="0">
                <a:pos x="170" y="0"/>
              </a:cxn>
            </a:cxnLst>
            <a:rect l="0" t="0" r="r" b="b"/>
            <a:pathLst>
              <a:path w="341" h="480">
                <a:moveTo>
                  <a:pt x="170" y="0"/>
                </a:moveTo>
                <a:cubicBezTo>
                  <a:pt x="104" y="0"/>
                  <a:pt x="43" y="27"/>
                  <a:pt x="0" y="71"/>
                </a:cubicBezTo>
                <a:cubicBezTo>
                  <a:pt x="43" y="115"/>
                  <a:pt x="69" y="174"/>
                  <a:pt x="69" y="240"/>
                </a:cubicBezTo>
                <a:cubicBezTo>
                  <a:pt x="69" y="240"/>
                  <a:pt x="69" y="240"/>
                  <a:pt x="69" y="240"/>
                </a:cubicBezTo>
                <a:cubicBezTo>
                  <a:pt x="69" y="240"/>
                  <a:pt x="69" y="240"/>
                  <a:pt x="69" y="240"/>
                </a:cubicBezTo>
                <a:cubicBezTo>
                  <a:pt x="69" y="240"/>
                  <a:pt x="69" y="240"/>
                  <a:pt x="69" y="240"/>
                </a:cubicBezTo>
                <a:cubicBezTo>
                  <a:pt x="69" y="240"/>
                  <a:pt x="69" y="240"/>
                  <a:pt x="69" y="240"/>
                </a:cubicBezTo>
                <a:cubicBezTo>
                  <a:pt x="69" y="306"/>
                  <a:pt x="43" y="365"/>
                  <a:pt x="0" y="409"/>
                </a:cubicBezTo>
                <a:cubicBezTo>
                  <a:pt x="43" y="453"/>
                  <a:pt x="104" y="480"/>
                  <a:pt x="170" y="480"/>
                </a:cubicBezTo>
                <a:cubicBezTo>
                  <a:pt x="237" y="480"/>
                  <a:pt x="297" y="453"/>
                  <a:pt x="341" y="409"/>
                </a:cubicBezTo>
                <a:cubicBezTo>
                  <a:pt x="298" y="365"/>
                  <a:pt x="272" y="306"/>
                  <a:pt x="272" y="240"/>
                </a:cubicBezTo>
                <a:cubicBezTo>
                  <a:pt x="272" y="240"/>
                  <a:pt x="272" y="240"/>
                  <a:pt x="272" y="240"/>
                </a:cubicBezTo>
                <a:cubicBezTo>
                  <a:pt x="272" y="240"/>
                  <a:pt x="272" y="240"/>
                  <a:pt x="272" y="240"/>
                </a:cubicBezTo>
                <a:cubicBezTo>
                  <a:pt x="272" y="240"/>
                  <a:pt x="272" y="240"/>
                  <a:pt x="272" y="240"/>
                </a:cubicBezTo>
                <a:cubicBezTo>
                  <a:pt x="272" y="240"/>
                  <a:pt x="272" y="240"/>
                  <a:pt x="272" y="240"/>
                </a:cubicBezTo>
                <a:cubicBezTo>
                  <a:pt x="272" y="174"/>
                  <a:pt x="298" y="115"/>
                  <a:pt x="341" y="71"/>
                </a:cubicBezTo>
                <a:cubicBezTo>
                  <a:pt x="297" y="27"/>
                  <a:pt x="237" y="0"/>
                  <a:pt x="170" y="0"/>
                </a:cubicBezTo>
              </a:path>
            </a:pathLst>
          </a:custGeom>
          <a:solidFill>
            <a:schemeClr val="tx2">
              <a:lumMod val="75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0" name="Freeform 10"/>
          <p:cNvSpPr>
            <a:spLocks/>
          </p:cNvSpPr>
          <p:nvPr/>
        </p:nvSpPr>
        <p:spPr bwMode="gray">
          <a:xfrm>
            <a:off x="5142404" y="2927294"/>
            <a:ext cx="1174800" cy="1372010"/>
          </a:xfrm>
          <a:custGeom>
            <a:avLst/>
            <a:gdLst/>
            <a:ahLst/>
            <a:cxnLst>
              <a:cxn ang="0">
                <a:pos x="171" y="0"/>
              </a:cxn>
              <a:cxn ang="0">
                <a:pos x="0" y="71"/>
              </a:cxn>
              <a:cxn ang="0">
                <a:pos x="69" y="240"/>
              </a:cxn>
              <a:cxn ang="0">
                <a:pos x="69" y="240"/>
              </a:cxn>
              <a:cxn ang="0">
                <a:pos x="69" y="240"/>
              </a:cxn>
              <a:cxn ang="0">
                <a:pos x="69" y="240"/>
              </a:cxn>
              <a:cxn ang="0">
                <a:pos x="69" y="240"/>
              </a:cxn>
              <a:cxn ang="0">
                <a:pos x="0" y="409"/>
              </a:cxn>
              <a:cxn ang="0">
                <a:pos x="171" y="480"/>
              </a:cxn>
              <a:cxn ang="0">
                <a:pos x="411" y="240"/>
              </a:cxn>
              <a:cxn ang="0">
                <a:pos x="171" y="0"/>
              </a:cxn>
            </a:cxnLst>
            <a:rect l="0" t="0" r="r" b="b"/>
            <a:pathLst>
              <a:path w="411" h="480">
                <a:moveTo>
                  <a:pt x="171" y="0"/>
                </a:moveTo>
                <a:cubicBezTo>
                  <a:pt x="104" y="0"/>
                  <a:pt x="44" y="27"/>
                  <a:pt x="0" y="71"/>
                </a:cubicBezTo>
                <a:cubicBezTo>
                  <a:pt x="43" y="115"/>
                  <a:pt x="69" y="174"/>
                  <a:pt x="69" y="240"/>
                </a:cubicBezTo>
                <a:cubicBezTo>
                  <a:pt x="69" y="240"/>
                  <a:pt x="69" y="240"/>
                  <a:pt x="69" y="240"/>
                </a:cubicBezTo>
                <a:cubicBezTo>
                  <a:pt x="69" y="240"/>
                  <a:pt x="69" y="240"/>
                  <a:pt x="69" y="240"/>
                </a:cubicBezTo>
                <a:cubicBezTo>
                  <a:pt x="69" y="240"/>
                  <a:pt x="69" y="240"/>
                  <a:pt x="69" y="240"/>
                </a:cubicBezTo>
                <a:cubicBezTo>
                  <a:pt x="69" y="240"/>
                  <a:pt x="69" y="240"/>
                  <a:pt x="69" y="240"/>
                </a:cubicBezTo>
                <a:cubicBezTo>
                  <a:pt x="69" y="306"/>
                  <a:pt x="43" y="365"/>
                  <a:pt x="0" y="409"/>
                </a:cubicBezTo>
                <a:cubicBezTo>
                  <a:pt x="44" y="453"/>
                  <a:pt x="104" y="480"/>
                  <a:pt x="171" y="480"/>
                </a:cubicBezTo>
                <a:cubicBezTo>
                  <a:pt x="303" y="480"/>
                  <a:pt x="411" y="373"/>
                  <a:pt x="411" y="240"/>
                </a:cubicBezTo>
                <a:cubicBezTo>
                  <a:pt x="411" y="107"/>
                  <a:pt x="303" y="0"/>
                  <a:pt x="171" y="0"/>
                </a:cubicBezTo>
              </a:path>
            </a:pathLst>
          </a:custGeom>
          <a:solidFill>
            <a:schemeClr val="bg2">
              <a:lumMod val="40000"/>
              <a:lumOff val="60000"/>
            </a:schemeClr>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bg1"/>
              </a:solidFill>
            </a:endParaRPr>
          </a:p>
        </p:txBody>
      </p:sp>
      <p:sp>
        <p:nvSpPr>
          <p:cNvPr id="71" name="Freeform 11"/>
          <p:cNvSpPr>
            <a:spLocks/>
          </p:cNvSpPr>
          <p:nvPr/>
        </p:nvSpPr>
        <p:spPr bwMode="gray">
          <a:xfrm>
            <a:off x="4945885" y="3129951"/>
            <a:ext cx="394423" cy="966699"/>
          </a:xfrm>
          <a:custGeom>
            <a:avLst/>
            <a:gdLst/>
            <a:ahLst/>
            <a:cxnLst>
              <a:cxn ang="0">
                <a:pos x="69" y="0"/>
              </a:cxn>
              <a:cxn ang="0">
                <a:pos x="69" y="0"/>
              </a:cxn>
              <a:cxn ang="0">
                <a:pos x="69" y="0"/>
              </a:cxn>
              <a:cxn ang="0">
                <a:pos x="0" y="169"/>
              </a:cxn>
              <a:cxn ang="0">
                <a:pos x="69" y="338"/>
              </a:cxn>
              <a:cxn ang="0">
                <a:pos x="138" y="169"/>
              </a:cxn>
              <a:cxn ang="0">
                <a:pos x="69" y="0"/>
              </a:cxn>
              <a:cxn ang="0">
                <a:pos x="69" y="0"/>
              </a:cxn>
              <a:cxn ang="0">
                <a:pos x="69" y="0"/>
              </a:cxn>
            </a:cxnLst>
            <a:rect l="0" t="0" r="r" b="b"/>
            <a:pathLst>
              <a:path w="138" h="338">
                <a:moveTo>
                  <a:pt x="69" y="0"/>
                </a:moveTo>
                <a:cubicBezTo>
                  <a:pt x="69" y="0"/>
                  <a:pt x="69" y="0"/>
                  <a:pt x="69" y="0"/>
                </a:cubicBezTo>
                <a:cubicBezTo>
                  <a:pt x="69" y="0"/>
                  <a:pt x="69" y="0"/>
                  <a:pt x="69" y="0"/>
                </a:cubicBezTo>
                <a:cubicBezTo>
                  <a:pt x="26" y="44"/>
                  <a:pt x="0" y="103"/>
                  <a:pt x="0" y="169"/>
                </a:cubicBezTo>
                <a:cubicBezTo>
                  <a:pt x="0" y="235"/>
                  <a:pt x="26" y="294"/>
                  <a:pt x="69" y="338"/>
                </a:cubicBezTo>
                <a:cubicBezTo>
                  <a:pt x="112" y="294"/>
                  <a:pt x="138" y="235"/>
                  <a:pt x="138" y="169"/>
                </a:cubicBezTo>
                <a:cubicBezTo>
                  <a:pt x="138" y="103"/>
                  <a:pt x="112" y="44"/>
                  <a:pt x="69" y="0"/>
                </a:cubicBezTo>
                <a:cubicBezTo>
                  <a:pt x="69" y="0"/>
                  <a:pt x="69" y="0"/>
                  <a:pt x="69" y="0"/>
                </a:cubicBezTo>
                <a:cubicBezTo>
                  <a:pt x="69" y="0"/>
                  <a:pt x="69" y="0"/>
                  <a:pt x="69" y="0"/>
                </a:cubicBezTo>
              </a:path>
            </a:pathLst>
          </a:custGeom>
          <a:solidFill>
            <a:schemeClr val="tx2">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2" name="Rectangle 71"/>
          <p:cNvSpPr/>
          <p:nvPr/>
        </p:nvSpPr>
        <p:spPr bwMode="gray">
          <a:xfrm>
            <a:off x="4500412" y="3520966"/>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73" name="Rectangle 72"/>
          <p:cNvSpPr/>
          <p:nvPr/>
        </p:nvSpPr>
        <p:spPr bwMode="gray">
          <a:xfrm>
            <a:off x="3413256" y="3520966"/>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74" name="Rectangle 73"/>
          <p:cNvSpPr/>
          <p:nvPr/>
        </p:nvSpPr>
        <p:spPr bwMode="gray">
          <a:xfrm>
            <a:off x="5626593" y="3520966"/>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75" name="Freeform 23"/>
          <p:cNvSpPr>
            <a:spLocks/>
          </p:cNvSpPr>
          <p:nvPr/>
        </p:nvSpPr>
        <p:spPr bwMode="gray">
          <a:xfrm>
            <a:off x="2467830" y="4609089"/>
            <a:ext cx="1177041" cy="1372010"/>
          </a:xfrm>
          <a:custGeom>
            <a:avLst/>
            <a:gdLst/>
            <a:ahLst/>
            <a:cxnLst>
              <a:cxn ang="0">
                <a:pos x="347" y="240"/>
              </a:cxn>
              <a:cxn ang="0">
                <a:pos x="413" y="406"/>
              </a:cxn>
              <a:cxn ang="0">
                <a:pos x="240" y="480"/>
              </a:cxn>
              <a:cxn ang="0">
                <a:pos x="0" y="240"/>
              </a:cxn>
              <a:cxn ang="0">
                <a:pos x="240" y="0"/>
              </a:cxn>
              <a:cxn ang="0">
                <a:pos x="413" y="75"/>
              </a:cxn>
              <a:cxn ang="0">
                <a:pos x="347" y="240"/>
              </a:cxn>
            </a:cxnLst>
            <a:rect l="0" t="0" r="r" b="b"/>
            <a:pathLst>
              <a:path w="413" h="480">
                <a:moveTo>
                  <a:pt x="347" y="240"/>
                </a:moveTo>
                <a:cubicBezTo>
                  <a:pt x="347" y="304"/>
                  <a:pt x="372" y="363"/>
                  <a:pt x="413" y="406"/>
                </a:cubicBezTo>
                <a:cubicBezTo>
                  <a:pt x="370" y="452"/>
                  <a:pt x="308" y="480"/>
                  <a:pt x="240" y="480"/>
                </a:cubicBezTo>
                <a:cubicBezTo>
                  <a:pt x="107" y="480"/>
                  <a:pt x="0" y="373"/>
                  <a:pt x="0" y="240"/>
                </a:cubicBezTo>
                <a:cubicBezTo>
                  <a:pt x="0" y="108"/>
                  <a:pt x="107" y="0"/>
                  <a:pt x="240" y="0"/>
                </a:cubicBezTo>
                <a:cubicBezTo>
                  <a:pt x="308" y="0"/>
                  <a:pt x="370" y="29"/>
                  <a:pt x="413" y="75"/>
                </a:cubicBezTo>
                <a:cubicBezTo>
                  <a:pt x="372" y="118"/>
                  <a:pt x="347" y="176"/>
                  <a:pt x="347" y="240"/>
                </a:cubicBezTo>
              </a:path>
            </a:pathLst>
          </a:custGeom>
          <a:solidFill>
            <a:srgbClr val="62B5E5"/>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6" name="Freeform 24"/>
          <p:cNvSpPr>
            <a:spLocks/>
          </p:cNvSpPr>
          <p:nvPr/>
        </p:nvSpPr>
        <p:spPr bwMode="gray">
          <a:xfrm>
            <a:off x="3640347" y="4609089"/>
            <a:ext cx="991699" cy="1372010"/>
          </a:xfrm>
          <a:custGeom>
            <a:avLst/>
            <a:gdLst/>
            <a:ahLst/>
            <a:cxnLst>
              <a:cxn ang="0">
                <a:pos x="174" y="0"/>
              </a:cxn>
              <a:cxn ang="0">
                <a:pos x="0" y="75"/>
              </a:cxn>
              <a:cxn ang="0">
                <a:pos x="67" y="240"/>
              </a:cxn>
              <a:cxn ang="0">
                <a:pos x="67" y="240"/>
              </a:cxn>
              <a:cxn ang="0">
                <a:pos x="67" y="240"/>
              </a:cxn>
              <a:cxn ang="0">
                <a:pos x="67" y="240"/>
              </a:cxn>
              <a:cxn ang="0">
                <a:pos x="67" y="240"/>
              </a:cxn>
              <a:cxn ang="0">
                <a:pos x="0" y="406"/>
              </a:cxn>
              <a:cxn ang="0">
                <a:pos x="174" y="480"/>
              </a:cxn>
              <a:cxn ang="0">
                <a:pos x="348" y="406"/>
              </a:cxn>
              <a:cxn ang="0">
                <a:pos x="282" y="240"/>
              </a:cxn>
              <a:cxn ang="0">
                <a:pos x="282" y="240"/>
              </a:cxn>
              <a:cxn ang="0">
                <a:pos x="282" y="240"/>
              </a:cxn>
              <a:cxn ang="0">
                <a:pos x="282" y="240"/>
              </a:cxn>
              <a:cxn ang="0">
                <a:pos x="282" y="240"/>
              </a:cxn>
              <a:cxn ang="0">
                <a:pos x="348" y="75"/>
              </a:cxn>
              <a:cxn ang="0">
                <a:pos x="174" y="0"/>
              </a:cxn>
            </a:cxnLst>
            <a:rect l="0" t="0" r="r" b="b"/>
            <a:pathLst>
              <a:path w="348" h="480">
                <a:moveTo>
                  <a:pt x="174" y="0"/>
                </a:moveTo>
                <a:cubicBezTo>
                  <a:pt x="106" y="0"/>
                  <a:pt x="44" y="29"/>
                  <a:pt x="0" y="75"/>
                </a:cubicBezTo>
                <a:cubicBezTo>
                  <a:pt x="41" y="118"/>
                  <a:pt x="67" y="176"/>
                  <a:pt x="67" y="240"/>
                </a:cubicBezTo>
                <a:cubicBezTo>
                  <a:pt x="67" y="240"/>
                  <a:pt x="67" y="240"/>
                  <a:pt x="67" y="240"/>
                </a:cubicBezTo>
                <a:cubicBezTo>
                  <a:pt x="67" y="240"/>
                  <a:pt x="67" y="240"/>
                  <a:pt x="67" y="240"/>
                </a:cubicBezTo>
                <a:cubicBezTo>
                  <a:pt x="67" y="240"/>
                  <a:pt x="67" y="240"/>
                  <a:pt x="67" y="240"/>
                </a:cubicBezTo>
                <a:cubicBezTo>
                  <a:pt x="67" y="240"/>
                  <a:pt x="67" y="240"/>
                  <a:pt x="67" y="240"/>
                </a:cubicBezTo>
                <a:cubicBezTo>
                  <a:pt x="67" y="304"/>
                  <a:pt x="41" y="363"/>
                  <a:pt x="0" y="406"/>
                </a:cubicBezTo>
                <a:cubicBezTo>
                  <a:pt x="44" y="452"/>
                  <a:pt x="106" y="480"/>
                  <a:pt x="174" y="480"/>
                </a:cubicBezTo>
                <a:cubicBezTo>
                  <a:pt x="243" y="480"/>
                  <a:pt x="304" y="452"/>
                  <a:pt x="348" y="406"/>
                </a:cubicBezTo>
                <a:cubicBezTo>
                  <a:pt x="307" y="363"/>
                  <a:pt x="282" y="304"/>
                  <a:pt x="282" y="240"/>
                </a:cubicBezTo>
                <a:cubicBezTo>
                  <a:pt x="282" y="240"/>
                  <a:pt x="282" y="240"/>
                  <a:pt x="282" y="240"/>
                </a:cubicBezTo>
                <a:cubicBezTo>
                  <a:pt x="282" y="240"/>
                  <a:pt x="282" y="240"/>
                  <a:pt x="282" y="240"/>
                </a:cubicBezTo>
                <a:cubicBezTo>
                  <a:pt x="282" y="240"/>
                  <a:pt x="282" y="240"/>
                  <a:pt x="282" y="240"/>
                </a:cubicBezTo>
                <a:cubicBezTo>
                  <a:pt x="282" y="240"/>
                  <a:pt x="282" y="240"/>
                  <a:pt x="282" y="240"/>
                </a:cubicBezTo>
                <a:cubicBezTo>
                  <a:pt x="282" y="176"/>
                  <a:pt x="307" y="118"/>
                  <a:pt x="348" y="75"/>
                </a:cubicBezTo>
                <a:cubicBezTo>
                  <a:pt x="304" y="29"/>
                  <a:pt x="243" y="0"/>
                  <a:pt x="174" y="0"/>
                </a:cubicBezTo>
              </a:path>
            </a:pathLst>
          </a:custGeom>
          <a:solidFill>
            <a:srgbClr val="0076A8"/>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7" name="Freeform 25"/>
          <p:cNvSpPr>
            <a:spLocks/>
          </p:cNvSpPr>
          <p:nvPr/>
        </p:nvSpPr>
        <p:spPr bwMode="gray">
          <a:xfrm>
            <a:off x="3446012" y="4815034"/>
            <a:ext cx="393192" cy="960120"/>
          </a:xfrm>
          <a:custGeom>
            <a:avLst/>
            <a:gdLst/>
            <a:ahLst/>
            <a:cxnLst>
              <a:cxn ang="0">
                <a:pos x="66" y="0"/>
              </a:cxn>
              <a:cxn ang="0">
                <a:pos x="0" y="165"/>
              </a:cxn>
              <a:cxn ang="0">
                <a:pos x="66" y="331"/>
              </a:cxn>
              <a:cxn ang="0">
                <a:pos x="133" y="165"/>
              </a:cxn>
              <a:cxn ang="0">
                <a:pos x="66" y="0"/>
              </a:cxn>
            </a:cxnLst>
            <a:rect l="0" t="0" r="r" b="b"/>
            <a:pathLst>
              <a:path w="133" h="331">
                <a:moveTo>
                  <a:pt x="66" y="0"/>
                </a:moveTo>
                <a:cubicBezTo>
                  <a:pt x="25" y="43"/>
                  <a:pt x="0" y="101"/>
                  <a:pt x="0" y="165"/>
                </a:cubicBezTo>
                <a:cubicBezTo>
                  <a:pt x="0" y="229"/>
                  <a:pt x="25" y="288"/>
                  <a:pt x="66" y="331"/>
                </a:cubicBezTo>
                <a:cubicBezTo>
                  <a:pt x="107" y="288"/>
                  <a:pt x="133" y="229"/>
                  <a:pt x="133" y="165"/>
                </a:cubicBezTo>
                <a:cubicBezTo>
                  <a:pt x="133" y="101"/>
                  <a:pt x="107" y="43"/>
                  <a:pt x="66" y="0"/>
                </a:cubicBezTo>
              </a:path>
            </a:pathLst>
          </a:custGeom>
          <a:solidFill>
            <a:schemeClr val="tx1"/>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78" name="Freeform 27"/>
          <p:cNvSpPr>
            <a:spLocks/>
          </p:cNvSpPr>
          <p:nvPr/>
        </p:nvSpPr>
        <p:spPr bwMode="gray">
          <a:xfrm>
            <a:off x="4627522" y="4609089"/>
            <a:ext cx="991699" cy="1372010"/>
          </a:xfrm>
          <a:custGeom>
            <a:avLst/>
            <a:gdLst/>
            <a:ahLst/>
            <a:cxnLst>
              <a:cxn ang="0">
                <a:pos x="174" y="0"/>
              </a:cxn>
              <a:cxn ang="0">
                <a:pos x="0" y="75"/>
              </a:cxn>
              <a:cxn ang="0">
                <a:pos x="66" y="240"/>
              </a:cxn>
              <a:cxn ang="0">
                <a:pos x="66" y="240"/>
              </a:cxn>
              <a:cxn ang="0">
                <a:pos x="66" y="240"/>
              </a:cxn>
              <a:cxn ang="0">
                <a:pos x="66" y="240"/>
              </a:cxn>
              <a:cxn ang="0">
                <a:pos x="66" y="240"/>
              </a:cxn>
              <a:cxn ang="0">
                <a:pos x="0" y="406"/>
              </a:cxn>
              <a:cxn ang="0">
                <a:pos x="174" y="480"/>
              </a:cxn>
              <a:cxn ang="0">
                <a:pos x="348" y="406"/>
              </a:cxn>
              <a:cxn ang="0">
                <a:pos x="281" y="240"/>
              </a:cxn>
              <a:cxn ang="0">
                <a:pos x="281" y="240"/>
              </a:cxn>
              <a:cxn ang="0">
                <a:pos x="281" y="240"/>
              </a:cxn>
              <a:cxn ang="0">
                <a:pos x="281" y="240"/>
              </a:cxn>
              <a:cxn ang="0">
                <a:pos x="281" y="240"/>
              </a:cxn>
              <a:cxn ang="0">
                <a:pos x="348" y="75"/>
              </a:cxn>
              <a:cxn ang="0">
                <a:pos x="174" y="0"/>
              </a:cxn>
            </a:cxnLst>
            <a:rect l="0" t="0" r="r" b="b"/>
            <a:pathLst>
              <a:path w="348" h="480">
                <a:moveTo>
                  <a:pt x="174" y="0"/>
                </a:moveTo>
                <a:cubicBezTo>
                  <a:pt x="105" y="0"/>
                  <a:pt x="44" y="29"/>
                  <a:pt x="0" y="75"/>
                </a:cubicBezTo>
                <a:cubicBezTo>
                  <a:pt x="41" y="118"/>
                  <a:pt x="66" y="176"/>
                  <a:pt x="66" y="240"/>
                </a:cubicBezTo>
                <a:cubicBezTo>
                  <a:pt x="66" y="240"/>
                  <a:pt x="66" y="240"/>
                  <a:pt x="66" y="240"/>
                </a:cubicBezTo>
                <a:cubicBezTo>
                  <a:pt x="66" y="240"/>
                  <a:pt x="66" y="240"/>
                  <a:pt x="66" y="240"/>
                </a:cubicBezTo>
                <a:cubicBezTo>
                  <a:pt x="66" y="240"/>
                  <a:pt x="66" y="240"/>
                  <a:pt x="66" y="240"/>
                </a:cubicBezTo>
                <a:cubicBezTo>
                  <a:pt x="66" y="240"/>
                  <a:pt x="66" y="240"/>
                  <a:pt x="66" y="240"/>
                </a:cubicBezTo>
                <a:cubicBezTo>
                  <a:pt x="66" y="304"/>
                  <a:pt x="41" y="363"/>
                  <a:pt x="0" y="406"/>
                </a:cubicBezTo>
                <a:cubicBezTo>
                  <a:pt x="44" y="452"/>
                  <a:pt x="105" y="480"/>
                  <a:pt x="174" y="480"/>
                </a:cubicBezTo>
                <a:cubicBezTo>
                  <a:pt x="242" y="480"/>
                  <a:pt x="304" y="452"/>
                  <a:pt x="348" y="406"/>
                </a:cubicBezTo>
                <a:cubicBezTo>
                  <a:pt x="307" y="363"/>
                  <a:pt x="281" y="304"/>
                  <a:pt x="281" y="240"/>
                </a:cubicBezTo>
                <a:cubicBezTo>
                  <a:pt x="281" y="240"/>
                  <a:pt x="281" y="240"/>
                  <a:pt x="281" y="240"/>
                </a:cubicBezTo>
                <a:cubicBezTo>
                  <a:pt x="281" y="240"/>
                  <a:pt x="281" y="240"/>
                  <a:pt x="281" y="240"/>
                </a:cubicBezTo>
                <a:cubicBezTo>
                  <a:pt x="281" y="240"/>
                  <a:pt x="281" y="240"/>
                  <a:pt x="281" y="240"/>
                </a:cubicBezTo>
                <a:cubicBezTo>
                  <a:pt x="281" y="240"/>
                  <a:pt x="281" y="240"/>
                  <a:pt x="281" y="240"/>
                </a:cubicBezTo>
                <a:cubicBezTo>
                  <a:pt x="281" y="176"/>
                  <a:pt x="307" y="118"/>
                  <a:pt x="348" y="75"/>
                </a:cubicBezTo>
                <a:cubicBezTo>
                  <a:pt x="304" y="29"/>
                  <a:pt x="242" y="0"/>
                  <a:pt x="174" y="0"/>
                </a:cubicBezTo>
              </a:path>
            </a:pathLst>
          </a:custGeom>
          <a:solidFill>
            <a:schemeClr val="accent1">
              <a:lumMod val="60000"/>
              <a:lumOff val="40000"/>
            </a:schemeClr>
          </a:solidFill>
          <a:ln w="9525">
            <a:solidFill>
              <a:srgbClr val="6FC2B4"/>
            </a:solid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bg1"/>
              </a:solidFill>
            </a:endParaRPr>
          </a:p>
        </p:txBody>
      </p:sp>
      <p:sp>
        <p:nvSpPr>
          <p:cNvPr id="79" name="Freeform 28"/>
          <p:cNvSpPr>
            <a:spLocks/>
          </p:cNvSpPr>
          <p:nvPr/>
        </p:nvSpPr>
        <p:spPr bwMode="gray">
          <a:xfrm>
            <a:off x="4433187" y="4815034"/>
            <a:ext cx="393192" cy="960120"/>
          </a:xfrm>
          <a:custGeom>
            <a:avLst/>
            <a:gdLst/>
            <a:ahLst/>
            <a:cxnLst>
              <a:cxn ang="0">
                <a:pos x="66" y="0"/>
              </a:cxn>
              <a:cxn ang="0">
                <a:pos x="66" y="0"/>
              </a:cxn>
              <a:cxn ang="0">
                <a:pos x="66" y="0"/>
              </a:cxn>
              <a:cxn ang="0">
                <a:pos x="0" y="165"/>
              </a:cxn>
              <a:cxn ang="0">
                <a:pos x="66" y="331"/>
              </a:cxn>
              <a:cxn ang="0">
                <a:pos x="132" y="165"/>
              </a:cxn>
              <a:cxn ang="0">
                <a:pos x="66" y="0"/>
              </a:cxn>
              <a:cxn ang="0">
                <a:pos x="66" y="0"/>
              </a:cxn>
              <a:cxn ang="0">
                <a:pos x="66" y="0"/>
              </a:cxn>
            </a:cxnLst>
            <a:rect l="0" t="0" r="r" b="b"/>
            <a:pathLst>
              <a:path w="132" h="331">
                <a:moveTo>
                  <a:pt x="66" y="0"/>
                </a:moveTo>
                <a:cubicBezTo>
                  <a:pt x="66" y="0"/>
                  <a:pt x="66" y="0"/>
                  <a:pt x="66" y="0"/>
                </a:cubicBezTo>
                <a:cubicBezTo>
                  <a:pt x="66" y="0"/>
                  <a:pt x="66" y="0"/>
                  <a:pt x="66" y="0"/>
                </a:cubicBezTo>
                <a:cubicBezTo>
                  <a:pt x="25" y="43"/>
                  <a:pt x="0" y="101"/>
                  <a:pt x="0" y="165"/>
                </a:cubicBezTo>
                <a:cubicBezTo>
                  <a:pt x="0" y="229"/>
                  <a:pt x="25" y="288"/>
                  <a:pt x="66" y="331"/>
                </a:cubicBezTo>
                <a:cubicBezTo>
                  <a:pt x="107" y="288"/>
                  <a:pt x="132" y="229"/>
                  <a:pt x="132" y="165"/>
                </a:cubicBezTo>
                <a:cubicBezTo>
                  <a:pt x="132" y="101"/>
                  <a:pt x="107" y="43"/>
                  <a:pt x="66" y="0"/>
                </a:cubicBezTo>
                <a:cubicBezTo>
                  <a:pt x="66" y="0"/>
                  <a:pt x="66" y="0"/>
                  <a:pt x="66" y="0"/>
                </a:cubicBezTo>
                <a:cubicBezTo>
                  <a:pt x="66" y="0"/>
                  <a:pt x="66" y="0"/>
                  <a:pt x="66" y="0"/>
                </a:cubicBezTo>
              </a:path>
            </a:pathLst>
          </a:custGeom>
          <a:solidFill>
            <a:schemeClr val="tx1"/>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0" name="Freeform 29"/>
          <p:cNvSpPr>
            <a:spLocks/>
          </p:cNvSpPr>
          <p:nvPr/>
        </p:nvSpPr>
        <p:spPr bwMode="gray">
          <a:xfrm>
            <a:off x="5614697" y="4609089"/>
            <a:ext cx="1177041" cy="1372010"/>
          </a:xfrm>
          <a:custGeom>
            <a:avLst/>
            <a:gdLst/>
            <a:ahLst/>
            <a:cxnLst>
              <a:cxn ang="0">
                <a:pos x="413" y="240"/>
              </a:cxn>
              <a:cxn ang="0">
                <a:pos x="173" y="480"/>
              </a:cxn>
              <a:cxn ang="0">
                <a:pos x="0" y="406"/>
              </a:cxn>
              <a:cxn ang="0">
                <a:pos x="66" y="240"/>
              </a:cxn>
              <a:cxn ang="0">
                <a:pos x="0" y="75"/>
              </a:cxn>
              <a:cxn ang="0">
                <a:pos x="173" y="0"/>
              </a:cxn>
              <a:cxn ang="0">
                <a:pos x="413" y="240"/>
              </a:cxn>
            </a:cxnLst>
            <a:rect l="0" t="0" r="r" b="b"/>
            <a:pathLst>
              <a:path w="413" h="480">
                <a:moveTo>
                  <a:pt x="413" y="240"/>
                </a:moveTo>
                <a:cubicBezTo>
                  <a:pt x="413" y="373"/>
                  <a:pt x="306" y="480"/>
                  <a:pt x="173" y="480"/>
                </a:cubicBezTo>
                <a:cubicBezTo>
                  <a:pt x="105" y="480"/>
                  <a:pt x="43" y="452"/>
                  <a:pt x="0" y="406"/>
                </a:cubicBezTo>
                <a:cubicBezTo>
                  <a:pt x="41" y="363"/>
                  <a:pt x="66" y="304"/>
                  <a:pt x="66" y="240"/>
                </a:cubicBezTo>
                <a:cubicBezTo>
                  <a:pt x="66" y="176"/>
                  <a:pt x="41" y="118"/>
                  <a:pt x="0" y="75"/>
                </a:cubicBezTo>
                <a:cubicBezTo>
                  <a:pt x="43" y="29"/>
                  <a:pt x="105" y="0"/>
                  <a:pt x="173" y="0"/>
                </a:cubicBezTo>
                <a:cubicBezTo>
                  <a:pt x="306" y="0"/>
                  <a:pt x="413" y="108"/>
                  <a:pt x="413" y="240"/>
                </a:cubicBezTo>
              </a:path>
            </a:pathLst>
          </a:custGeom>
          <a:solidFill>
            <a:schemeClr val="accent1"/>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bg1"/>
              </a:solidFill>
            </a:endParaRPr>
          </a:p>
        </p:txBody>
      </p:sp>
      <p:sp>
        <p:nvSpPr>
          <p:cNvPr id="81" name="Freeform 30"/>
          <p:cNvSpPr>
            <a:spLocks/>
          </p:cNvSpPr>
          <p:nvPr/>
        </p:nvSpPr>
        <p:spPr bwMode="gray">
          <a:xfrm>
            <a:off x="5420362" y="4815034"/>
            <a:ext cx="393192" cy="960120"/>
          </a:xfrm>
          <a:custGeom>
            <a:avLst/>
            <a:gdLst/>
            <a:ahLst/>
            <a:cxnLst>
              <a:cxn ang="0">
                <a:pos x="67" y="0"/>
              </a:cxn>
              <a:cxn ang="0">
                <a:pos x="67" y="0"/>
              </a:cxn>
              <a:cxn ang="0">
                <a:pos x="67" y="0"/>
              </a:cxn>
              <a:cxn ang="0">
                <a:pos x="0" y="165"/>
              </a:cxn>
              <a:cxn ang="0">
                <a:pos x="67" y="331"/>
              </a:cxn>
              <a:cxn ang="0">
                <a:pos x="133" y="165"/>
              </a:cxn>
              <a:cxn ang="0">
                <a:pos x="67" y="0"/>
              </a:cxn>
              <a:cxn ang="0">
                <a:pos x="67" y="0"/>
              </a:cxn>
              <a:cxn ang="0">
                <a:pos x="67" y="0"/>
              </a:cxn>
            </a:cxnLst>
            <a:rect l="0" t="0" r="r" b="b"/>
            <a:pathLst>
              <a:path w="133" h="331">
                <a:moveTo>
                  <a:pt x="67" y="0"/>
                </a:moveTo>
                <a:cubicBezTo>
                  <a:pt x="67" y="0"/>
                  <a:pt x="67" y="0"/>
                  <a:pt x="67" y="0"/>
                </a:cubicBezTo>
                <a:cubicBezTo>
                  <a:pt x="67" y="0"/>
                  <a:pt x="67" y="0"/>
                  <a:pt x="67" y="0"/>
                </a:cubicBezTo>
                <a:cubicBezTo>
                  <a:pt x="26" y="43"/>
                  <a:pt x="0" y="101"/>
                  <a:pt x="0" y="165"/>
                </a:cubicBezTo>
                <a:cubicBezTo>
                  <a:pt x="0" y="229"/>
                  <a:pt x="26" y="288"/>
                  <a:pt x="67" y="331"/>
                </a:cubicBezTo>
                <a:cubicBezTo>
                  <a:pt x="108" y="288"/>
                  <a:pt x="133" y="229"/>
                  <a:pt x="133" y="165"/>
                </a:cubicBezTo>
                <a:cubicBezTo>
                  <a:pt x="133" y="101"/>
                  <a:pt x="108" y="43"/>
                  <a:pt x="67" y="0"/>
                </a:cubicBezTo>
                <a:cubicBezTo>
                  <a:pt x="67" y="0"/>
                  <a:pt x="67" y="0"/>
                  <a:pt x="67" y="0"/>
                </a:cubicBezTo>
                <a:cubicBezTo>
                  <a:pt x="67" y="0"/>
                  <a:pt x="67" y="0"/>
                  <a:pt x="67" y="0"/>
                </a:cubicBezTo>
              </a:path>
            </a:pathLst>
          </a:custGeom>
          <a:solidFill>
            <a:schemeClr val="tx1"/>
          </a:solidFill>
          <a:ln w="9525">
            <a:noFill/>
            <a:round/>
            <a:headEnd/>
            <a:tailEnd/>
          </a:ln>
          <a:effectLst/>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2" name="Rectangle 81"/>
          <p:cNvSpPr/>
          <p:nvPr/>
        </p:nvSpPr>
        <p:spPr bwMode="gray">
          <a:xfrm>
            <a:off x="2866316" y="520276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3" name="Rectangle 82"/>
          <p:cNvSpPr/>
          <p:nvPr/>
        </p:nvSpPr>
        <p:spPr bwMode="gray">
          <a:xfrm>
            <a:off x="4008753" y="520276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4" name="Rectangle 83"/>
          <p:cNvSpPr/>
          <p:nvPr/>
        </p:nvSpPr>
        <p:spPr bwMode="gray">
          <a:xfrm>
            <a:off x="4984815" y="520276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5" name="Rectangle 84"/>
          <p:cNvSpPr/>
          <p:nvPr/>
        </p:nvSpPr>
        <p:spPr bwMode="gray">
          <a:xfrm>
            <a:off x="6082885" y="5202760"/>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86" name="Freeform 3"/>
          <p:cNvSpPr>
            <a:spLocks/>
          </p:cNvSpPr>
          <p:nvPr/>
        </p:nvSpPr>
        <p:spPr bwMode="gray">
          <a:xfrm>
            <a:off x="7871430" y="1128174"/>
            <a:ext cx="1451560" cy="1004071"/>
          </a:xfrm>
          <a:custGeom>
            <a:avLst/>
            <a:gdLst>
              <a:gd name="T0" fmla="*/ 1019015 w 741"/>
              <a:gd name="T1" fmla="*/ 1501775 h 497"/>
              <a:gd name="T2" fmla="*/ 1129844 w 741"/>
              <a:gd name="T3" fmla="*/ 1577975 h 497"/>
              <a:gd name="T4" fmla="*/ 1794820 w 741"/>
              <a:gd name="T5" fmla="*/ 1349375 h 497"/>
              <a:gd name="T6" fmla="*/ 2228902 w 741"/>
              <a:gd name="T7" fmla="*/ 1441450 h 497"/>
              <a:gd name="T8" fmla="*/ 1683991 w 741"/>
              <a:gd name="T9" fmla="*/ 314325 h 497"/>
              <a:gd name="T10" fmla="*/ 169323 w 741"/>
              <a:gd name="T11" fmla="*/ 733425 h 497"/>
              <a:gd name="T12" fmla="*/ 30786 w 741"/>
              <a:gd name="T13" fmla="*/ 1441450 h 497"/>
              <a:gd name="T14" fmla="*/ 1019015 w 741"/>
              <a:gd name="T15" fmla="*/ 1501775 h 497"/>
              <a:gd name="T16" fmla="*/ 0 60000 65536"/>
              <a:gd name="T17" fmla="*/ 0 60000 65536"/>
              <a:gd name="T18" fmla="*/ 0 60000 65536"/>
              <a:gd name="T19" fmla="*/ 0 60000 65536"/>
              <a:gd name="T20" fmla="*/ 0 60000 65536"/>
              <a:gd name="T21" fmla="*/ 0 60000 65536"/>
              <a:gd name="T22" fmla="*/ 0 60000 65536"/>
              <a:gd name="T23" fmla="*/ 0 60000 65536"/>
              <a:gd name="T24" fmla="*/ 0 w 741"/>
              <a:gd name="T25" fmla="*/ 0 h 497"/>
              <a:gd name="T26" fmla="*/ 741 w 741"/>
              <a:gd name="T27" fmla="*/ 497 h 49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41" h="497">
                <a:moveTo>
                  <a:pt x="331" y="473"/>
                </a:moveTo>
                <a:cubicBezTo>
                  <a:pt x="343" y="481"/>
                  <a:pt x="355" y="488"/>
                  <a:pt x="367" y="497"/>
                </a:cubicBezTo>
                <a:cubicBezTo>
                  <a:pt x="427" y="452"/>
                  <a:pt x="502" y="425"/>
                  <a:pt x="583" y="425"/>
                </a:cubicBezTo>
                <a:cubicBezTo>
                  <a:pt x="633" y="425"/>
                  <a:pt x="681" y="435"/>
                  <a:pt x="724" y="454"/>
                </a:cubicBezTo>
                <a:cubicBezTo>
                  <a:pt x="741" y="315"/>
                  <a:pt x="676" y="173"/>
                  <a:pt x="547" y="99"/>
                </a:cubicBezTo>
                <a:cubicBezTo>
                  <a:pt x="375" y="0"/>
                  <a:pt x="155" y="59"/>
                  <a:pt x="55" y="231"/>
                </a:cubicBezTo>
                <a:cubicBezTo>
                  <a:pt x="15" y="301"/>
                  <a:pt x="0" y="379"/>
                  <a:pt x="10" y="454"/>
                </a:cubicBezTo>
                <a:cubicBezTo>
                  <a:pt x="110" y="411"/>
                  <a:pt x="229" y="414"/>
                  <a:pt x="331" y="473"/>
                </a:cubicBezTo>
                <a:close/>
              </a:path>
            </a:pathLst>
          </a:custGeom>
          <a:solidFill>
            <a:srgbClr val="62B5E5"/>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7" name="Freeform 4"/>
          <p:cNvSpPr>
            <a:spLocks/>
          </p:cNvSpPr>
          <p:nvPr/>
        </p:nvSpPr>
        <p:spPr bwMode="gray">
          <a:xfrm>
            <a:off x="7365404" y="2040733"/>
            <a:ext cx="1228321" cy="1448530"/>
          </a:xfrm>
          <a:custGeom>
            <a:avLst/>
            <a:gdLst>
              <a:gd name="T0" fmla="*/ 1487054 w 627"/>
              <a:gd name="T1" fmla="*/ 1050925 h 717"/>
              <a:gd name="T2" fmla="*/ 1493212 w 627"/>
              <a:gd name="T3" fmla="*/ 914400 h 717"/>
              <a:gd name="T4" fmla="*/ 1376218 w 627"/>
              <a:gd name="T5" fmla="*/ 854075 h 717"/>
              <a:gd name="T6" fmla="*/ 831273 w 627"/>
              <a:gd name="T7" fmla="*/ 0 h 717"/>
              <a:gd name="T8" fmla="*/ 304800 w 627"/>
              <a:gd name="T9" fmla="*/ 479425 h 717"/>
              <a:gd name="T10" fmla="*/ 711200 w 627"/>
              <a:gd name="T11" fmla="*/ 2041525 h 717"/>
              <a:gd name="T12" fmla="*/ 1930400 w 627"/>
              <a:gd name="T13" fmla="*/ 1965325 h 717"/>
              <a:gd name="T14" fmla="*/ 1487054 w 627"/>
              <a:gd name="T15" fmla="*/ 1050925 h 717"/>
              <a:gd name="T16" fmla="*/ 0 60000 65536"/>
              <a:gd name="T17" fmla="*/ 0 60000 65536"/>
              <a:gd name="T18" fmla="*/ 0 60000 65536"/>
              <a:gd name="T19" fmla="*/ 0 60000 65536"/>
              <a:gd name="T20" fmla="*/ 0 60000 65536"/>
              <a:gd name="T21" fmla="*/ 0 60000 65536"/>
              <a:gd name="T22" fmla="*/ 0 60000 65536"/>
              <a:gd name="T23" fmla="*/ 0 60000 65536"/>
              <a:gd name="T24" fmla="*/ 0 w 627"/>
              <a:gd name="T25" fmla="*/ 0 h 717"/>
              <a:gd name="T26" fmla="*/ 627 w 627"/>
              <a:gd name="T27" fmla="*/ 717 h 7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27" h="717">
                <a:moveTo>
                  <a:pt x="483" y="331"/>
                </a:moveTo>
                <a:cubicBezTo>
                  <a:pt x="483" y="316"/>
                  <a:pt x="484" y="302"/>
                  <a:pt x="485" y="288"/>
                </a:cubicBezTo>
                <a:cubicBezTo>
                  <a:pt x="472" y="282"/>
                  <a:pt x="460" y="276"/>
                  <a:pt x="447" y="269"/>
                </a:cubicBezTo>
                <a:cubicBezTo>
                  <a:pt x="345" y="210"/>
                  <a:pt x="283" y="109"/>
                  <a:pt x="270" y="0"/>
                </a:cubicBezTo>
                <a:cubicBezTo>
                  <a:pt x="200" y="30"/>
                  <a:pt x="140" y="81"/>
                  <a:pt x="99" y="151"/>
                </a:cubicBezTo>
                <a:cubicBezTo>
                  <a:pt x="0" y="323"/>
                  <a:pt x="59" y="543"/>
                  <a:pt x="231" y="643"/>
                </a:cubicBezTo>
                <a:cubicBezTo>
                  <a:pt x="360" y="717"/>
                  <a:pt x="515" y="703"/>
                  <a:pt x="627" y="619"/>
                </a:cubicBezTo>
                <a:cubicBezTo>
                  <a:pt x="539" y="553"/>
                  <a:pt x="483" y="449"/>
                  <a:pt x="483" y="331"/>
                </a:cubicBezTo>
                <a:close/>
              </a:path>
            </a:pathLst>
          </a:custGeom>
          <a:solidFill>
            <a:srgbClr val="6FC2B4"/>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8" name="Freeform 5"/>
          <p:cNvSpPr>
            <a:spLocks/>
          </p:cNvSpPr>
          <p:nvPr/>
        </p:nvSpPr>
        <p:spPr bwMode="gray">
          <a:xfrm>
            <a:off x="7891470" y="1954709"/>
            <a:ext cx="700021" cy="668707"/>
          </a:xfrm>
          <a:custGeom>
            <a:avLst/>
            <a:gdLst>
              <a:gd name="T0" fmla="*/ 545446 w 357"/>
              <a:gd name="T1" fmla="*/ 990600 h 331"/>
              <a:gd name="T2" fmla="*/ 662547 w 357"/>
              <a:gd name="T3" fmla="*/ 1050925 h 331"/>
              <a:gd name="T4" fmla="*/ 1100137 w 357"/>
              <a:gd name="T5" fmla="*/ 273050 h 331"/>
              <a:gd name="T6" fmla="*/ 989199 w 357"/>
              <a:gd name="T7" fmla="*/ 196850 h 331"/>
              <a:gd name="T8" fmla="*/ 0 w 357"/>
              <a:gd name="T9" fmla="*/ 136525 h 331"/>
              <a:gd name="T10" fmla="*/ 545446 w 357"/>
              <a:gd name="T11" fmla="*/ 990600 h 331"/>
              <a:gd name="T12" fmla="*/ 0 60000 65536"/>
              <a:gd name="T13" fmla="*/ 0 60000 65536"/>
              <a:gd name="T14" fmla="*/ 0 60000 65536"/>
              <a:gd name="T15" fmla="*/ 0 60000 65536"/>
              <a:gd name="T16" fmla="*/ 0 60000 65536"/>
              <a:gd name="T17" fmla="*/ 0 60000 65536"/>
              <a:gd name="T18" fmla="*/ 0 w 357"/>
              <a:gd name="T19" fmla="*/ 0 h 331"/>
              <a:gd name="T20" fmla="*/ 357 w 357"/>
              <a:gd name="T21" fmla="*/ 331 h 331"/>
            </a:gdLst>
            <a:ahLst/>
            <a:cxnLst>
              <a:cxn ang="T12">
                <a:pos x="T0" y="T1"/>
              </a:cxn>
              <a:cxn ang="T13">
                <a:pos x="T2" y="T3"/>
              </a:cxn>
              <a:cxn ang="T14">
                <a:pos x="T4" y="T5"/>
              </a:cxn>
              <a:cxn ang="T15">
                <a:pos x="T6" y="T7"/>
              </a:cxn>
              <a:cxn ang="T16">
                <a:pos x="T8" y="T9"/>
              </a:cxn>
              <a:cxn ang="T17">
                <a:pos x="T10" y="T11"/>
              </a:cxn>
            </a:cxnLst>
            <a:rect l="T18" t="T19" r="T20" b="T21"/>
            <a:pathLst>
              <a:path w="357" h="331">
                <a:moveTo>
                  <a:pt x="177" y="312"/>
                </a:moveTo>
                <a:cubicBezTo>
                  <a:pt x="190" y="319"/>
                  <a:pt x="202" y="325"/>
                  <a:pt x="215" y="331"/>
                </a:cubicBezTo>
                <a:cubicBezTo>
                  <a:pt x="227" y="231"/>
                  <a:pt x="280" y="143"/>
                  <a:pt x="357" y="86"/>
                </a:cubicBezTo>
                <a:cubicBezTo>
                  <a:pt x="345" y="77"/>
                  <a:pt x="333" y="70"/>
                  <a:pt x="321" y="62"/>
                </a:cubicBezTo>
                <a:cubicBezTo>
                  <a:pt x="219" y="3"/>
                  <a:pt x="100" y="0"/>
                  <a:pt x="0" y="43"/>
                </a:cubicBezTo>
                <a:cubicBezTo>
                  <a:pt x="13" y="152"/>
                  <a:pt x="75" y="253"/>
                  <a:pt x="177" y="312"/>
                </a:cubicBezTo>
                <a:close/>
              </a:path>
            </a:pathLst>
          </a:custGeom>
          <a:solidFill>
            <a:schemeClr val="accent5">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89" name="Freeform 6"/>
          <p:cNvSpPr>
            <a:spLocks/>
          </p:cNvSpPr>
          <p:nvPr/>
        </p:nvSpPr>
        <p:spPr bwMode="gray">
          <a:xfrm>
            <a:off x="8589798" y="2037787"/>
            <a:ext cx="1128318" cy="1396003"/>
          </a:xfrm>
          <a:custGeom>
            <a:avLst/>
            <a:gdLst>
              <a:gd name="T0" fmla="*/ 1099038 w 576"/>
              <a:gd name="T1" fmla="*/ 0 h 691"/>
              <a:gd name="T2" fmla="*/ 960504 w 576"/>
              <a:gd name="T3" fmla="*/ 434975 h 691"/>
              <a:gd name="T4" fmla="*/ 434074 w 576"/>
              <a:gd name="T5" fmla="*/ 914400 h 691"/>
              <a:gd name="T6" fmla="*/ 295540 w 576"/>
              <a:gd name="T7" fmla="*/ 1622425 h 691"/>
              <a:gd name="T8" fmla="*/ 0 w 576"/>
              <a:gd name="T9" fmla="*/ 1965325 h 691"/>
              <a:gd name="T10" fmla="*/ 664964 w 576"/>
              <a:gd name="T11" fmla="*/ 2193925 h 691"/>
              <a:gd name="T12" fmla="*/ 1773238 w 576"/>
              <a:gd name="T13" fmla="*/ 1050925 h 691"/>
              <a:gd name="T14" fmla="*/ 1099038 w 576"/>
              <a:gd name="T15" fmla="*/ 0 h 691"/>
              <a:gd name="T16" fmla="*/ 0 60000 65536"/>
              <a:gd name="T17" fmla="*/ 0 60000 65536"/>
              <a:gd name="T18" fmla="*/ 0 60000 65536"/>
              <a:gd name="T19" fmla="*/ 0 60000 65536"/>
              <a:gd name="T20" fmla="*/ 0 60000 65536"/>
              <a:gd name="T21" fmla="*/ 0 60000 65536"/>
              <a:gd name="T22" fmla="*/ 0 60000 65536"/>
              <a:gd name="T23" fmla="*/ 0 60000 65536"/>
              <a:gd name="T24" fmla="*/ 0 w 576"/>
              <a:gd name="T25" fmla="*/ 0 h 691"/>
              <a:gd name="T26" fmla="*/ 576 w 576"/>
              <a:gd name="T27" fmla="*/ 691 h 6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6" h="691">
                <a:moveTo>
                  <a:pt x="357" y="0"/>
                </a:moveTo>
                <a:cubicBezTo>
                  <a:pt x="352" y="47"/>
                  <a:pt x="337" y="93"/>
                  <a:pt x="312" y="137"/>
                </a:cubicBezTo>
                <a:cubicBezTo>
                  <a:pt x="271" y="207"/>
                  <a:pt x="211" y="258"/>
                  <a:pt x="141" y="288"/>
                </a:cubicBezTo>
                <a:cubicBezTo>
                  <a:pt x="150" y="363"/>
                  <a:pt x="136" y="441"/>
                  <a:pt x="96" y="511"/>
                </a:cubicBezTo>
                <a:cubicBezTo>
                  <a:pt x="71" y="555"/>
                  <a:pt x="38" y="591"/>
                  <a:pt x="0" y="619"/>
                </a:cubicBezTo>
                <a:cubicBezTo>
                  <a:pt x="60" y="664"/>
                  <a:pt x="135" y="691"/>
                  <a:pt x="216" y="691"/>
                </a:cubicBezTo>
                <a:cubicBezTo>
                  <a:pt x="415" y="691"/>
                  <a:pt x="576" y="530"/>
                  <a:pt x="576" y="331"/>
                </a:cubicBezTo>
                <a:cubicBezTo>
                  <a:pt x="576" y="182"/>
                  <a:pt x="486" y="55"/>
                  <a:pt x="357" y="0"/>
                </a:cubicBezTo>
                <a:close/>
              </a:path>
            </a:pathLst>
          </a:custGeom>
          <a:solidFill>
            <a:srgbClr val="00A3E0"/>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0" name="Freeform 7"/>
          <p:cNvSpPr>
            <a:spLocks/>
          </p:cNvSpPr>
          <p:nvPr/>
        </p:nvSpPr>
        <p:spPr bwMode="gray">
          <a:xfrm>
            <a:off x="8589799" y="1980046"/>
            <a:ext cx="699011" cy="640423"/>
          </a:xfrm>
          <a:custGeom>
            <a:avLst/>
            <a:gdLst>
              <a:gd name="T0" fmla="*/ 0 w 357"/>
              <a:gd name="T1" fmla="*/ 228600 h 317"/>
              <a:gd name="T2" fmla="*/ 433881 w 357"/>
              <a:gd name="T3" fmla="*/ 1006475 h 317"/>
              <a:gd name="T4" fmla="*/ 960077 w 357"/>
              <a:gd name="T5" fmla="*/ 527050 h 317"/>
              <a:gd name="T6" fmla="*/ 1098550 w 357"/>
              <a:gd name="T7" fmla="*/ 92075 h 317"/>
              <a:gd name="T8" fmla="*/ 664669 w 357"/>
              <a:gd name="T9" fmla="*/ 0 h 317"/>
              <a:gd name="T10" fmla="*/ 0 w 357"/>
              <a:gd name="T11" fmla="*/ 228600 h 317"/>
              <a:gd name="T12" fmla="*/ 0 60000 65536"/>
              <a:gd name="T13" fmla="*/ 0 60000 65536"/>
              <a:gd name="T14" fmla="*/ 0 60000 65536"/>
              <a:gd name="T15" fmla="*/ 0 60000 65536"/>
              <a:gd name="T16" fmla="*/ 0 60000 65536"/>
              <a:gd name="T17" fmla="*/ 0 60000 65536"/>
              <a:gd name="T18" fmla="*/ 0 w 357"/>
              <a:gd name="T19" fmla="*/ 0 h 317"/>
              <a:gd name="T20" fmla="*/ 357 w 357"/>
              <a:gd name="T21" fmla="*/ 317 h 317"/>
            </a:gdLst>
            <a:ahLst/>
            <a:cxnLst>
              <a:cxn ang="T12">
                <a:pos x="T0" y="T1"/>
              </a:cxn>
              <a:cxn ang="T13">
                <a:pos x="T2" y="T3"/>
              </a:cxn>
              <a:cxn ang="T14">
                <a:pos x="T4" y="T5"/>
              </a:cxn>
              <a:cxn ang="T15">
                <a:pos x="T6" y="T7"/>
              </a:cxn>
              <a:cxn ang="T16">
                <a:pos x="T8" y="T9"/>
              </a:cxn>
              <a:cxn ang="T17">
                <a:pos x="T10" y="T11"/>
              </a:cxn>
            </a:cxnLst>
            <a:rect l="T18" t="T19" r="T20" b="T21"/>
            <a:pathLst>
              <a:path w="357" h="317">
                <a:moveTo>
                  <a:pt x="0" y="72"/>
                </a:moveTo>
                <a:cubicBezTo>
                  <a:pt x="80" y="132"/>
                  <a:pt x="130" y="222"/>
                  <a:pt x="141" y="317"/>
                </a:cubicBezTo>
                <a:cubicBezTo>
                  <a:pt x="211" y="287"/>
                  <a:pt x="271" y="236"/>
                  <a:pt x="312" y="166"/>
                </a:cubicBezTo>
                <a:cubicBezTo>
                  <a:pt x="337" y="122"/>
                  <a:pt x="352" y="76"/>
                  <a:pt x="357" y="29"/>
                </a:cubicBezTo>
                <a:cubicBezTo>
                  <a:pt x="314" y="10"/>
                  <a:pt x="266" y="0"/>
                  <a:pt x="216" y="0"/>
                </a:cubicBezTo>
                <a:cubicBezTo>
                  <a:pt x="135" y="0"/>
                  <a:pt x="60" y="27"/>
                  <a:pt x="0" y="72"/>
                </a:cubicBezTo>
                <a:close/>
              </a:path>
            </a:pathLst>
          </a:custGeom>
          <a:solidFill>
            <a:schemeClr val="accent6">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1" name="Freeform 8"/>
          <p:cNvSpPr>
            <a:spLocks/>
          </p:cNvSpPr>
          <p:nvPr/>
        </p:nvSpPr>
        <p:spPr bwMode="gray">
          <a:xfrm>
            <a:off x="8309620" y="2617511"/>
            <a:ext cx="573806" cy="676656"/>
          </a:xfrm>
          <a:custGeom>
            <a:avLst/>
            <a:gdLst>
              <a:gd name="T0" fmla="*/ 738673 w 294"/>
              <a:gd name="T1" fmla="*/ 708025 h 331"/>
              <a:gd name="T2" fmla="*/ 877175 w 294"/>
              <a:gd name="T3" fmla="*/ 0 h 331"/>
              <a:gd name="T4" fmla="*/ 6156 w 294"/>
              <a:gd name="T5" fmla="*/ 0 h 331"/>
              <a:gd name="T6" fmla="*/ 0 w 294"/>
              <a:gd name="T7" fmla="*/ 136525 h 331"/>
              <a:gd name="T8" fmla="*/ 443204 w 294"/>
              <a:gd name="T9" fmla="*/ 1050925 h 331"/>
              <a:gd name="T10" fmla="*/ 738673 w 294"/>
              <a:gd name="T11" fmla="*/ 708025 h 331"/>
              <a:gd name="T12" fmla="*/ 0 60000 65536"/>
              <a:gd name="T13" fmla="*/ 0 60000 65536"/>
              <a:gd name="T14" fmla="*/ 0 60000 65536"/>
              <a:gd name="T15" fmla="*/ 0 60000 65536"/>
              <a:gd name="T16" fmla="*/ 0 60000 65536"/>
              <a:gd name="T17" fmla="*/ 0 60000 65536"/>
              <a:gd name="T18" fmla="*/ 0 w 294"/>
              <a:gd name="T19" fmla="*/ 0 h 331"/>
              <a:gd name="T20" fmla="*/ 294 w 294"/>
              <a:gd name="T21" fmla="*/ 331 h 331"/>
            </a:gdLst>
            <a:ahLst/>
            <a:cxnLst>
              <a:cxn ang="T12">
                <a:pos x="T0" y="T1"/>
              </a:cxn>
              <a:cxn ang="T13">
                <a:pos x="T2" y="T3"/>
              </a:cxn>
              <a:cxn ang="T14">
                <a:pos x="T4" y="T5"/>
              </a:cxn>
              <a:cxn ang="T15">
                <a:pos x="T6" y="T7"/>
              </a:cxn>
              <a:cxn ang="T16">
                <a:pos x="T8" y="T9"/>
              </a:cxn>
              <a:cxn ang="T17">
                <a:pos x="T10" y="T11"/>
              </a:cxn>
            </a:cxnLst>
            <a:rect l="T18" t="T19" r="T20" b="T21"/>
            <a:pathLst>
              <a:path w="294" h="331">
                <a:moveTo>
                  <a:pt x="240" y="223"/>
                </a:moveTo>
                <a:cubicBezTo>
                  <a:pt x="280" y="153"/>
                  <a:pt x="294" y="75"/>
                  <a:pt x="285" y="0"/>
                </a:cubicBezTo>
                <a:cubicBezTo>
                  <a:pt x="197" y="38"/>
                  <a:pt x="95" y="40"/>
                  <a:pt x="2" y="0"/>
                </a:cubicBezTo>
                <a:cubicBezTo>
                  <a:pt x="1" y="14"/>
                  <a:pt x="0" y="28"/>
                  <a:pt x="0" y="43"/>
                </a:cubicBezTo>
                <a:cubicBezTo>
                  <a:pt x="0" y="161"/>
                  <a:pt x="56" y="265"/>
                  <a:pt x="144" y="331"/>
                </a:cubicBezTo>
                <a:cubicBezTo>
                  <a:pt x="182" y="303"/>
                  <a:pt x="215" y="267"/>
                  <a:pt x="240" y="223"/>
                </a:cubicBezTo>
                <a:close/>
              </a:path>
            </a:pathLst>
          </a:custGeom>
          <a:solidFill>
            <a:schemeClr val="accent6">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2" name="Freeform 9"/>
          <p:cNvSpPr>
            <a:spLocks/>
          </p:cNvSpPr>
          <p:nvPr/>
        </p:nvSpPr>
        <p:spPr bwMode="gray">
          <a:xfrm>
            <a:off x="8313186" y="2121695"/>
            <a:ext cx="554917" cy="581967"/>
          </a:xfrm>
          <a:custGeom>
            <a:avLst/>
            <a:gdLst>
              <a:gd name="T0" fmla="*/ 436512 w 283"/>
              <a:gd name="T1" fmla="*/ 0 h 285"/>
              <a:gd name="T2" fmla="*/ 0 w 283"/>
              <a:gd name="T3" fmla="*/ 777875 h 285"/>
              <a:gd name="T4" fmla="*/ 869950 w 283"/>
              <a:gd name="T5" fmla="*/ 777875 h 285"/>
              <a:gd name="T6" fmla="*/ 436512 w 283"/>
              <a:gd name="T7" fmla="*/ 0 h 285"/>
              <a:gd name="T8" fmla="*/ 0 60000 65536"/>
              <a:gd name="T9" fmla="*/ 0 60000 65536"/>
              <a:gd name="T10" fmla="*/ 0 60000 65536"/>
              <a:gd name="T11" fmla="*/ 0 60000 65536"/>
              <a:gd name="T12" fmla="*/ 0 w 283"/>
              <a:gd name="T13" fmla="*/ 0 h 285"/>
              <a:gd name="T14" fmla="*/ 283 w 283"/>
              <a:gd name="T15" fmla="*/ 285 h 285"/>
            </a:gdLst>
            <a:ahLst/>
            <a:cxnLst>
              <a:cxn ang="T8">
                <a:pos x="T0" y="T1"/>
              </a:cxn>
              <a:cxn ang="T9">
                <a:pos x="T2" y="T3"/>
              </a:cxn>
              <a:cxn ang="T10">
                <a:pos x="T4" y="T5"/>
              </a:cxn>
              <a:cxn ang="T11">
                <a:pos x="T6" y="T7"/>
              </a:cxn>
            </a:cxnLst>
            <a:rect l="T12" t="T13" r="T14" b="T15"/>
            <a:pathLst>
              <a:path w="283" h="285">
                <a:moveTo>
                  <a:pt x="142" y="0"/>
                </a:moveTo>
                <a:cubicBezTo>
                  <a:pt x="65" y="57"/>
                  <a:pt x="12" y="145"/>
                  <a:pt x="0" y="245"/>
                </a:cubicBezTo>
                <a:cubicBezTo>
                  <a:pt x="93" y="285"/>
                  <a:pt x="195" y="283"/>
                  <a:pt x="283" y="245"/>
                </a:cubicBezTo>
                <a:cubicBezTo>
                  <a:pt x="272" y="150"/>
                  <a:pt x="222" y="60"/>
                  <a:pt x="142" y="0"/>
                </a:cubicBezTo>
                <a:close/>
              </a:path>
            </a:pathLst>
          </a:custGeom>
          <a:solidFill>
            <a:schemeClr val="tx1"/>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3" name="Rectangle 92"/>
          <p:cNvSpPr/>
          <p:nvPr/>
        </p:nvSpPr>
        <p:spPr bwMode="gray">
          <a:xfrm>
            <a:off x="8468750" y="1540927"/>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4" name="Rectangle 93"/>
          <p:cNvSpPr/>
          <p:nvPr/>
        </p:nvSpPr>
        <p:spPr bwMode="gray">
          <a:xfrm>
            <a:off x="8468751" y="2385917"/>
            <a:ext cx="249107"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95" name="Rectangle 94"/>
          <p:cNvSpPr/>
          <p:nvPr/>
        </p:nvSpPr>
        <p:spPr bwMode="gray">
          <a:xfrm>
            <a:off x="9131488" y="2706239"/>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6" name="Rectangle 95"/>
          <p:cNvSpPr/>
          <p:nvPr/>
        </p:nvSpPr>
        <p:spPr bwMode="gray">
          <a:xfrm>
            <a:off x="7800489" y="2706239"/>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97" name="Freeform 51"/>
          <p:cNvSpPr>
            <a:spLocks/>
          </p:cNvSpPr>
          <p:nvPr/>
        </p:nvSpPr>
        <p:spPr bwMode="gray">
          <a:xfrm>
            <a:off x="7848254" y="3583094"/>
            <a:ext cx="1384777" cy="649711"/>
          </a:xfrm>
          <a:custGeom>
            <a:avLst/>
            <a:gdLst/>
            <a:ahLst/>
            <a:cxnLst>
              <a:cxn ang="0">
                <a:pos x="95" y="207"/>
              </a:cxn>
              <a:cxn ang="0">
                <a:pos x="0" y="222"/>
              </a:cxn>
              <a:cxn ang="0">
                <a:pos x="302" y="0"/>
              </a:cxn>
              <a:cxn ang="0">
                <a:pos x="605" y="222"/>
              </a:cxn>
              <a:cxn ang="0">
                <a:pos x="510" y="207"/>
              </a:cxn>
              <a:cxn ang="0">
                <a:pos x="302" y="284"/>
              </a:cxn>
              <a:cxn ang="0">
                <a:pos x="95" y="207"/>
              </a:cxn>
            </a:cxnLst>
            <a:rect l="0" t="0" r="r" b="b"/>
            <a:pathLst>
              <a:path w="605" h="284">
                <a:moveTo>
                  <a:pt x="95" y="207"/>
                </a:moveTo>
                <a:cubicBezTo>
                  <a:pt x="62" y="207"/>
                  <a:pt x="30" y="212"/>
                  <a:pt x="0" y="222"/>
                </a:cubicBezTo>
                <a:cubicBezTo>
                  <a:pt x="41" y="93"/>
                  <a:pt x="161" y="0"/>
                  <a:pt x="302" y="0"/>
                </a:cubicBezTo>
                <a:cubicBezTo>
                  <a:pt x="444" y="0"/>
                  <a:pt x="564" y="93"/>
                  <a:pt x="605" y="222"/>
                </a:cubicBezTo>
                <a:cubicBezTo>
                  <a:pt x="575" y="212"/>
                  <a:pt x="543" y="207"/>
                  <a:pt x="510" y="207"/>
                </a:cubicBezTo>
                <a:cubicBezTo>
                  <a:pt x="430" y="207"/>
                  <a:pt x="358" y="236"/>
                  <a:pt x="302" y="284"/>
                </a:cubicBezTo>
                <a:cubicBezTo>
                  <a:pt x="247" y="236"/>
                  <a:pt x="174" y="207"/>
                  <a:pt x="95" y="207"/>
                </a:cubicBezTo>
                <a:close/>
              </a:path>
            </a:pathLst>
          </a:custGeom>
          <a:solidFill>
            <a:schemeClr val="accent1">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8" name="Freeform 52"/>
          <p:cNvSpPr>
            <a:spLocks/>
          </p:cNvSpPr>
          <p:nvPr/>
        </p:nvSpPr>
        <p:spPr bwMode="gray">
          <a:xfrm>
            <a:off x="7848254" y="5313967"/>
            <a:ext cx="1384777" cy="649711"/>
          </a:xfrm>
          <a:custGeom>
            <a:avLst/>
            <a:gdLst/>
            <a:ahLst/>
            <a:cxnLst>
              <a:cxn ang="0">
                <a:pos x="510" y="78"/>
              </a:cxn>
              <a:cxn ang="0">
                <a:pos x="605" y="63"/>
              </a:cxn>
              <a:cxn ang="0">
                <a:pos x="302" y="284"/>
              </a:cxn>
              <a:cxn ang="0">
                <a:pos x="0" y="63"/>
              </a:cxn>
              <a:cxn ang="0">
                <a:pos x="95" y="78"/>
              </a:cxn>
              <a:cxn ang="0">
                <a:pos x="302" y="0"/>
              </a:cxn>
              <a:cxn ang="0">
                <a:pos x="510" y="78"/>
              </a:cxn>
            </a:cxnLst>
            <a:rect l="0" t="0" r="r" b="b"/>
            <a:pathLst>
              <a:path w="605" h="284">
                <a:moveTo>
                  <a:pt x="510" y="78"/>
                </a:moveTo>
                <a:cubicBezTo>
                  <a:pt x="543" y="78"/>
                  <a:pt x="575" y="73"/>
                  <a:pt x="605" y="63"/>
                </a:cubicBezTo>
                <a:cubicBezTo>
                  <a:pt x="564" y="191"/>
                  <a:pt x="444" y="284"/>
                  <a:pt x="302" y="284"/>
                </a:cubicBezTo>
                <a:cubicBezTo>
                  <a:pt x="161" y="284"/>
                  <a:pt x="41" y="191"/>
                  <a:pt x="0" y="63"/>
                </a:cubicBezTo>
                <a:cubicBezTo>
                  <a:pt x="30" y="73"/>
                  <a:pt x="62" y="78"/>
                  <a:pt x="95" y="78"/>
                </a:cubicBezTo>
                <a:cubicBezTo>
                  <a:pt x="174" y="78"/>
                  <a:pt x="247" y="49"/>
                  <a:pt x="302" y="0"/>
                </a:cubicBezTo>
                <a:cubicBezTo>
                  <a:pt x="358" y="49"/>
                  <a:pt x="430" y="78"/>
                  <a:pt x="510" y="78"/>
                </a:cubicBezTo>
                <a:close/>
              </a:path>
            </a:pathLst>
          </a:custGeom>
          <a:solidFill>
            <a:schemeClr val="accent5">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99" name="Freeform 53"/>
          <p:cNvSpPr>
            <a:spLocks/>
          </p:cNvSpPr>
          <p:nvPr/>
        </p:nvSpPr>
        <p:spPr bwMode="gray">
          <a:xfrm>
            <a:off x="9073458" y="4091212"/>
            <a:ext cx="650715" cy="1383774"/>
          </a:xfrm>
          <a:custGeom>
            <a:avLst/>
            <a:gdLst/>
            <a:ahLst/>
            <a:cxnLst>
              <a:cxn ang="0">
                <a:pos x="62" y="605"/>
              </a:cxn>
              <a:cxn ang="0">
                <a:pos x="77" y="509"/>
              </a:cxn>
              <a:cxn ang="0">
                <a:pos x="0" y="302"/>
              </a:cxn>
              <a:cxn ang="0">
                <a:pos x="77" y="96"/>
              </a:cxn>
              <a:cxn ang="0">
                <a:pos x="62" y="0"/>
              </a:cxn>
              <a:cxn ang="0">
                <a:pos x="284" y="302"/>
              </a:cxn>
              <a:cxn ang="0">
                <a:pos x="62" y="605"/>
              </a:cxn>
            </a:cxnLst>
            <a:rect l="0" t="0" r="r" b="b"/>
            <a:pathLst>
              <a:path w="284" h="605">
                <a:moveTo>
                  <a:pt x="62" y="605"/>
                </a:moveTo>
                <a:cubicBezTo>
                  <a:pt x="71" y="575"/>
                  <a:pt x="77" y="543"/>
                  <a:pt x="77" y="509"/>
                </a:cubicBezTo>
                <a:cubicBezTo>
                  <a:pt x="77" y="430"/>
                  <a:pt x="48" y="358"/>
                  <a:pt x="0" y="302"/>
                </a:cubicBezTo>
                <a:cubicBezTo>
                  <a:pt x="48" y="247"/>
                  <a:pt x="77" y="175"/>
                  <a:pt x="77" y="96"/>
                </a:cubicBezTo>
                <a:cubicBezTo>
                  <a:pt x="77" y="62"/>
                  <a:pt x="71" y="30"/>
                  <a:pt x="62" y="0"/>
                </a:cubicBezTo>
                <a:cubicBezTo>
                  <a:pt x="191" y="40"/>
                  <a:pt x="284" y="160"/>
                  <a:pt x="284" y="302"/>
                </a:cubicBezTo>
                <a:cubicBezTo>
                  <a:pt x="284" y="444"/>
                  <a:pt x="191" y="565"/>
                  <a:pt x="62" y="605"/>
                </a:cubicBezTo>
                <a:close/>
              </a:path>
            </a:pathLst>
          </a:custGeom>
          <a:solidFill>
            <a:schemeClr val="accent6">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0" name="Freeform 54"/>
          <p:cNvSpPr>
            <a:spLocks/>
          </p:cNvSpPr>
          <p:nvPr/>
        </p:nvSpPr>
        <p:spPr bwMode="gray">
          <a:xfrm>
            <a:off x="8530648" y="4056066"/>
            <a:ext cx="728037" cy="726030"/>
          </a:xfrm>
          <a:custGeom>
            <a:avLst/>
            <a:gdLst/>
            <a:ahLst/>
            <a:cxnLst>
              <a:cxn ang="0">
                <a:pos x="208" y="0"/>
              </a:cxn>
              <a:cxn ang="0">
                <a:pos x="303" y="15"/>
              </a:cxn>
              <a:cxn ang="0">
                <a:pos x="318" y="111"/>
              </a:cxn>
              <a:cxn ang="0">
                <a:pos x="241" y="317"/>
              </a:cxn>
              <a:cxn ang="0">
                <a:pos x="95" y="221"/>
              </a:cxn>
              <a:cxn ang="0">
                <a:pos x="0" y="77"/>
              </a:cxn>
              <a:cxn ang="0">
                <a:pos x="208" y="0"/>
              </a:cxn>
            </a:cxnLst>
            <a:rect l="0" t="0" r="r" b="b"/>
            <a:pathLst>
              <a:path w="318" h="317">
                <a:moveTo>
                  <a:pt x="208" y="0"/>
                </a:moveTo>
                <a:cubicBezTo>
                  <a:pt x="241" y="0"/>
                  <a:pt x="273" y="5"/>
                  <a:pt x="303" y="15"/>
                </a:cubicBezTo>
                <a:cubicBezTo>
                  <a:pt x="312" y="45"/>
                  <a:pt x="318" y="77"/>
                  <a:pt x="318" y="111"/>
                </a:cubicBezTo>
                <a:cubicBezTo>
                  <a:pt x="318" y="190"/>
                  <a:pt x="289" y="262"/>
                  <a:pt x="241" y="317"/>
                </a:cubicBezTo>
                <a:cubicBezTo>
                  <a:pt x="203" y="273"/>
                  <a:pt x="153" y="239"/>
                  <a:pt x="95" y="221"/>
                </a:cubicBezTo>
                <a:cubicBezTo>
                  <a:pt x="78" y="165"/>
                  <a:pt x="44" y="115"/>
                  <a:pt x="0" y="77"/>
                </a:cubicBezTo>
                <a:cubicBezTo>
                  <a:pt x="56" y="29"/>
                  <a:pt x="128" y="0"/>
                  <a:pt x="208" y="0"/>
                </a:cubicBezTo>
                <a:close/>
              </a:path>
            </a:pathLst>
          </a:custGeom>
          <a:solidFill>
            <a:schemeClr val="accent1">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1" name="Freeform 55"/>
          <p:cNvSpPr>
            <a:spLocks/>
          </p:cNvSpPr>
          <p:nvPr/>
        </p:nvSpPr>
        <p:spPr bwMode="gray">
          <a:xfrm>
            <a:off x="8530648" y="4773606"/>
            <a:ext cx="728037" cy="727034"/>
          </a:xfrm>
          <a:custGeom>
            <a:avLst/>
            <a:gdLst/>
            <a:ahLst/>
            <a:cxnLst>
              <a:cxn ang="0">
                <a:pos x="318" y="207"/>
              </a:cxn>
              <a:cxn ang="0">
                <a:pos x="303" y="303"/>
              </a:cxn>
              <a:cxn ang="0">
                <a:pos x="208" y="318"/>
              </a:cxn>
              <a:cxn ang="0">
                <a:pos x="0" y="240"/>
              </a:cxn>
              <a:cxn ang="0">
                <a:pos x="95" y="96"/>
              </a:cxn>
              <a:cxn ang="0">
                <a:pos x="241" y="0"/>
              </a:cxn>
              <a:cxn ang="0">
                <a:pos x="318" y="207"/>
              </a:cxn>
            </a:cxnLst>
            <a:rect l="0" t="0" r="r" b="b"/>
            <a:pathLst>
              <a:path w="318" h="318">
                <a:moveTo>
                  <a:pt x="318" y="207"/>
                </a:moveTo>
                <a:cubicBezTo>
                  <a:pt x="318" y="241"/>
                  <a:pt x="312" y="273"/>
                  <a:pt x="303" y="303"/>
                </a:cubicBezTo>
                <a:cubicBezTo>
                  <a:pt x="273" y="313"/>
                  <a:pt x="241" y="318"/>
                  <a:pt x="208" y="318"/>
                </a:cubicBezTo>
                <a:cubicBezTo>
                  <a:pt x="128" y="318"/>
                  <a:pt x="56" y="289"/>
                  <a:pt x="0" y="240"/>
                </a:cubicBezTo>
                <a:cubicBezTo>
                  <a:pt x="44" y="203"/>
                  <a:pt x="78" y="153"/>
                  <a:pt x="95" y="96"/>
                </a:cubicBezTo>
                <a:cubicBezTo>
                  <a:pt x="153" y="79"/>
                  <a:pt x="203" y="45"/>
                  <a:pt x="241" y="0"/>
                </a:cubicBezTo>
                <a:cubicBezTo>
                  <a:pt x="289" y="56"/>
                  <a:pt x="318" y="128"/>
                  <a:pt x="318" y="207"/>
                </a:cubicBezTo>
                <a:close/>
              </a:path>
            </a:pathLst>
          </a:custGeom>
          <a:solidFill>
            <a:schemeClr val="accent3">
              <a:lumMod val="75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2" name="Freeform 56"/>
          <p:cNvSpPr>
            <a:spLocks/>
          </p:cNvSpPr>
          <p:nvPr/>
        </p:nvSpPr>
        <p:spPr bwMode="gray">
          <a:xfrm>
            <a:off x="8750347" y="4560379"/>
            <a:ext cx="333390" cy="439835"/>
          </a:xfrm>
          <a:custGeom>
            <a:avLst/>
            <a:gdLst/>
            <a:ahLst/>
            <a:cxnLst>
              <a:cxn ang="0">
                <a:pos x="146" y="96"/>
              </a:cxn>
              <a:cxn ang="0">
                <a:pos x="0" y="192"/>
              </a:cxn>
              <a:cxn ang="0">
                <a:pos x="15" y="96"/>
              </a:cxn>
              <a:cxn ang="0">
                <a:pos x="0" y="0"/>
              </a:cxn>
              <a:cxn ang="0">
                <a:pos x="146" y="96"/>
              </a:cxn>
            </a:cxnLst>
            <a:rect l="0" t="0" r="r" b="b"/>
            <a:pathLst>
              <a:path w="146" h="192">
                <a:moveTo>
                  <a:pt x="146" y="96"/>
                </a:moveTo>
                <a:cubicBezTo>
                  <a:pt x="108" y="141"/>
                  <a:pt x="58" y="175"/>
                  <a:pt x="0" y="192"/>
                </a:cubicBezTo>
                <a:cubicBezTo>
                  <a:pt x="10" y="162"/>
                  <a:pt x="15" y="130"/>
                  <a:pt x="15" y="96"/>
                </a:cubicBezTo>
                <a:cubicBezTo>
                  <a:pt x="15" y="63"/>
                  <a:pt x="10" y="31"/>
                  <a:pt x="0" y="0"/>
                </a:cubicBezTo>
                <a:cubicBezTo>
                  <a:pt x="58" y="18"/>
                  <a:pt x="108" y="52"/>
                  <a:pt x="146" y="96"/>
                </a:cubicBezTo>
                <a:close/>
              </a:path>
            </a:pathLst>
          </a:custGeom>
          <a:solidFill>
            <a:schemeClr val="accent5">
              <a:lumMod val="50000"/>
            </a:schemeClr>
          </a:solidFill>
          <a:ln w="9525">
            <a:noFill/>
            <a:round/>
            <a:headEnd/>
            <a:tailEnd/>
          </a:ln>
        </p:spPr>
        <p:txBody>
          <a:bodyPr vert="horz" wrap="square" lIns="0" tIns="0" rIns="0" bIns="0" numCol="1" anchor="ctr" anchorCtr="0" compatLnSpc="1">
            <a:prstTxWarp prst="textNoShape">
              <a:avLst/>
            </a:prstTxWarp>
          </a:bodyPr>
          <a:lstStyle/>
          <a:p>
            <a:endParaRPr lang="en-US" sz="1200" dirty="0">
              <a:solidFill>
                <a:schemeClr val="tx2"/>
              </a:solidFill>
            </a:endParaRPr>
          </a:p>
        </p:txBody>
      </p:sp>
      <p:sp>
        <p:nvSpPr>
          <p:cNvPr id="103" name="Freeform 57"/>
          <p:cNvSpPr>
            <a:spLocks/>
          </p:cNvSpPr>
          <p:nvPr/>
        </p:nvSpPr>
        <p:spPr bwMode="gray">
          <a:xfrm>
            <a:off x="7342515" y="4088831"/>
            <a:ext cx="649711" cy="1383774"/>
          </a:xfrm>
          <a:custGeom>
            <a:avLst/>
            <a:gdLst/>
            <a:ahLst/>
            <a:cxnLst>
              <a:cxn ang="0">
                <a:pos x="207" y="509"/>
              </a:cxn>
              <a:cxn ang="0">
                <a:pos x="222" y="605"/>
              </a:cxn>
              <a:cxn ang="0">
                <a:pos x="0" y="302"/>
              </a:cxn>
              <a:cxn ang="0">
                <a:pos x="222" y="0"/>
              </a:cxn>
              <a:cxn ang="0">
                <a:pos x="207" y="96"/>
              </a:cxn>
              <a:cxn ang="0">
                <a:pos x="284" y="302"/>
              </a:cxn>
              <a:cxn ang="0">
                <a:pos x="207" y="509"/>
              </a:cxn>
            </a:cxnLst>
            <a:rect l="0" t="0" r="r" b="b"/>
            <a:pathLst>
              <a:path w="284" h="605">
                <a:moveTo>
                  <a:pt x="207" y="509"/>
                </a:moveTo>
                <a:cubicBezTo>
                  <a:pt x="207" y="543"/>
                  <a:pt x="212" y="575"/>
                  <a:pt x="222" y="605"/>
                </a:cubicBezTo>
                <a:cubicBezTo>
                  <a:pt x="93" y="565"/>
                  <a:pt x="0" y="444"/>
                  <a:pt x="0" y="302"/>
                </a:cubicBezTo>
                <a:cubicBezTo>
                  <a:pt x="0" y="160"/>
                  <a:pt x="93" y="40"/>
                  <a:pt x="222" y="0"/>
                </a:cubicBezTo>
                <a:cubicBezTo>
                  <a:pt x="212" y="30"/>
                  <a:pt x="207" y="62"/>
                  <a:pt x="207" y="96"/>
                </a:cubicBezTo>
                <a:cubicBezTo>
                  <a:pt x="207" y="175"/>
                  <a:pt x="236" y="247"/>
                  <a:pt x="284" y="302"/>
                </a:cubicBezTo>
                <a:cubicBezTo>
                  <a:pt x="236" y="358"/>
                  <a:pt x="207" y="430"/>
                  <a:pt x="207" y="509"/>
                </a:cubicBezTo>
                <a:close/>
              </a:path>
            </a:pathLst>
          </a:custGeom>
          <a:solidFill>
            <a:schemeClr val="accent3">
              <a:lumMod val="60000"/>
              <a:lumOff val="4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4" name="Freeform 58"/>
          <p:cNvSpPr>
            <a:spLocks/>
          </p:cNvSpPr>
          <p:nvPr/>
        </p:nvSpPr>
        <p:spPr bwMode="gray">
          <a:xfrm>
            <a:off x="7814111" y="4056066"/>
            <a:ext cx="725024" cy="726030"/>
          </a:xfrm>
          <a:custGeom>
            <a:avLst/>
            <a:gdLst/>
            <a:ahLst/>
            <a:cxnLst>
              <a:cxn ang="0">
                <a:pos x="0" y="111"/>
              </a:cxn>
              <a:cxn ang="0">
                <a:pos x="15" y="15"/>
              </a:cxn>
              <a:cxn ang="0">
                <a:pos x="110" y="0"/>
              </a:cxn>
              <a:cxn ang="0">
                <a:pos x="317" y="77"/>
              </a:cxn>
              <a:cxn ang="0">
                <a:pos x="222" y="221"/>
              </a:cxn>
              <a:cxn ang="0">
                <a:pos x="77" y="317"/>
              </a:cxn>
              <a:cxn ang="0">
                <a:pos x="0" y="111"/>
              </a:cxn>
            </a:cxnLst>
            <a:rect l="0" t="0" r="r" b="b"/>
            <a:pathLst>
              <a:path w="317" h="317">
                <a:moveTo>
                  <a:pt x="0" y="111"/>
                </a:moveTo>
                <a:cubicBezTo>
                  <a:pt x="0" y="77"/>
                  <a:pt x="5" y="45"/>
                  <a:pt x="15" y="15"/>
                </a:cubicBezTo>
                <a:cubicBezTo>
                  <a:pt x="45" y="5"/>
                  <a:pt x="77" y="0"/>
                  <a:pt x="110" y="0"/>
                </a:cubicBezTo>
                <a:cubicBezTo>
                  <a:pt x="189" y="0"/>
                  <a:pt x="262" y="29"/>
                  <a:pt x="317" y="77"/>
                </a:cubicBezTo>
                <a:cubicBezTo>
                  <a:pt x="274" y="115"/>
                  <a:pt x="240" y="165"/>
                  <a:pt x="222" y="221"/>
                </a:cubicBezTo>
                <a:cubicBezTo>
                  <a:pt x="165" y="239"/>
                  <a:pt x="115" y="273"/>
                  <a:pt x="77" y="317"/>
                </a:cubicBezTo>
                <a:cubicBezTo>
                  <a:pt x="29" y="262"/>
                  <a:pt x="0" y="190"/>
                  <a:pt x="0" y="111"/>
                </a:cubicBezTo>
                <a:close/>
              </a:path>
            </a:pathLst>
          </a:custGeom>
          <a:solidFill>
            <a:schemeClr val="accent5">
              <a:lumMod val="75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5" name="Freeform 59"/>
          <p:cNvSpPr>
            <a:spLocks/>
          </p:cNvSpPr>
          <p:nvPr/>
        </p:nvSpPr>
        <p:spPr bwMode="gray">
          <a:xfrm>
            <a:off x="7814111" y="4773606"/>
            <a:ext cx="725024" cy="727034"/>
          </a:xfrm>
          <a:custGeom>
            <a:avLst/>
            <a:gdLst/>
            <a:ahLst/>
            <a:cxnLst>
              <a:cxn ang="0">
                <a:pos x="110" y="318"/>
              </a:cxn>
              <a:cxn ang="0">
                <a:pos x="15" y="303"/>
              </a:cxn>
              <a:cxn ang="0">
                <a:pos x="0" y="207"/>
              </a:cxn>
              <a:cxn ang="0">
                <a:pos x="77" y="0"/>
              </a:cxn>
              <a:cxn ang="0">
                <a:pos x="222" y="96"/>
              </a:cxn>
              <a:cxn ang="0">
                <a:pos x="317" y="240"/>
              </a:cxn>
              <a:cxn ang="0">
                <a:pos x="110" y="318"/>
              </a:cxn>
            </a:cxnLst>
            <a:rect l="0" t="0" r="r" b="b"/>
            <a:pathLst>
              <a:path w="317" h="318">
                <a:moveTo>
                  <a:pt x="110" y="318"/>
                </a:moveTo>
                <a:cubicBezTo>
                  <a:pt x="77" y="318"/>
                  <a:pt x="45" y="313"/>
                  <a:pt x="15" y="303"/>
                </a:cubicBezTo>
                <a:cubicBezTo>
                  <a:pt x="5" y="273"/>
                  <a:pt x="0" y="241"/>
                  <a:pt x="0" y="207"/>
                </a:cubicBezTo>
                <a:cubicBezTo>
                  <a:pt x="0" y="128"/>
                  <a:pt x="29" y="56"/>
                  <a:pt x="77" y="0"/>
                </a:cubicBezTo>
                <a:cubicBezTo>
                  <a:pt x="115" y="45"/>
                  <a:pt x="165" y="79"/>
                  <a:pt x="222" y="96"/>
                </a:cubicBezTo>
                <a:cubicBezTo>
                  <a:pt x="240" y="153"/>
                  <a:pt x="274" y="203"/>
                  <a:pt x="317" y="240"/>
                </a:cubicBezTo>
                <a:cubicBezTo>
                  <a:pt x="262" y="289"/>
                  <a:pt x="189" y="318"/>
                  <a:pt x="110" y="318"/>
                </a:cubicBezTo>
                <a:close/>
              </a:path>
            </a:pathLst>
          </a:custGeom>
          <a:solidFill>
            <a:schemeClr val="accent3"/>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6" name="Freeform 60"/>
          <p:cNvSpPr>
            <a:spLocks/>
          </p:cNvSpPr>
          <p:nvPr/>
        </p:nvSpPr>
        <p:spPr bwMode="gray">
          <a:xfrm>
            <a:off x="7989844" y="4560379"/>
            <a:ext cx="332388" cy="439835"/>
          </a:xfrm>
          <a:custGeom>
            <a:avLst/>
            <a:gdLst/>
            <a:ahLst/>
            <a:cxnLst>
              <a:cxn ang="0">
                <a:pos x="130" y="96"/>
              </a:cxn>
              <a:cxn ang="0">
                <a:pos x="145" y="192"/>
              </a:cxn>
              <a:cxn ang="0">
                <a:pos x="0" y="96"/>
              </a:cxn>
              <a:cxn ang="0">
                <a:pos x="145" y="0"/>
              </a:cxn>
              <a:cxn ang="0">
                <a:pos x="130" y="96"/>
              </a:cxn>
            </a:cxnLst>
            <a:rect l="0" t="0" r="r" b="b"/>
            <a:pathLst>
              <a:path w="145" h="192">
                <a:moveTo>
                  <a:pt x="130" y="96"/>
                </a:moveTo>
                <a:cubicBezTo>
                  <a:pt x="130" y="130"/>
                  <a:pt x="136" y="162"/>
                  <a:pt x="145" y="192"/>
                </a:cubicBezTo>
                <a:cubicBezTo>
                  <a:pt x="88" y="175"/>
                  <a:pt x="38" y="141"/>
                  <a:pt x="0" y="96"/>
                </a:cubicBezTo>
                <a:cubicBezTo>
                  <a:pt x="38" y="52"/>
                  <a:pt x="88" y="18"/>
                  <a:pt x="145" y="0"/>
                </a:cubicBezTo>
                <a:cubicBezTo>
                  <a:pt x="136" y="31"/>
                  <a:pt x="130" y="63"/>
                  <a:pt x="130" y="96"/>
                </a:cubicBezTo>
                <a:close/>
              </a:path>
            </a:pathLst>
          </a:custGeom>
          <a:solidFill>
            <a:schemeClr val="accent3">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07" name="Freeform 61"/>
          <p:cNvSpPr>
            <a:spLocks/>
          </p:cNvSpPr>
          <p:nvPr/>
        </p:nvSpPr>
        <p:spPr bwMode="gray">
          <a:xfrm>
            <a:off x="8312810" y="4235518"/>
            <a:ext cx="440784" cy="332639"/>
          </a:xfrm>
          <a:custGeom>
            <a:avLst/>
            <a:gdLst/>
            <a:ahLst/>
            <a:cxnLst>
              <a:cxn ang="0">
                <a:pos x="95" y="130"/>
              </a:cxn>
              <a:cxn ang="0">
                <a:pos x="0" y="144"/>
              </a:cxn>
              <a:cxn ang="0">
                <a:pos x="95" y="0"/>
              </a:cxn>
              <a:cxn ang="0">
                <a:pos x="190" y="144"/>
              </a:cxn>
              <a:cxn ang="0">
                <a:pos x="95" y="130"/>
              </a:cxn>
            </a:cxnLst>
            <a:rect l="0" t="0" r="r" b="b"/>
            <a:pathLst>
              <a:path w="190" h="144">
                <a:moveTo>
                  <a:pt x="95" y="130"/>
                </a:moveTo>
                <a:cubicBezTo>
                  <a:pt x="62" y="130"/>
                  <a:pt x="30" y="135"/>
                  <a:pt x="0" y="144"/>
                </a:cubicBezTo>
                <a:cubicBezTo>
                  <a:pt x="18" y="88"/>
                  <a:pt x="52" y="38"/>
                  <a:pt x="95" y="0"/>
                </a:cubicBezTo>
                <a:cubicBezTo>
                  <a:pt x="139" y="38"/>
                  <a:pt x="173" y="88"/>
                  <a:pt x="190" y="144"/>
                </a:cubicBezTo>
                <a:cubicBezTo>
                  <a:pt x="160" y="135"/>
                  <a:pt x="128" y="130"/>
                  <a:pt x="95" y="130"/>
                </a:cubicBezTo>
                <a:close/>
              </a:path>
            </a:pathLst>
          </a:custGeom>
          <a:solidFill>
            <a:schemeClr val="accent2">
              <a:lumMod val="50000"/>
            </a:schemeClr>
          </a:solidFill>
          <a:ln w="9525">
            <a:noFill/>
            <a:round/>
            <a:headEnd/>
            <a:tailEnd/>
          </a:ln>
        </p:spPr>
        <p:txBody>
          <a:bodyPr vert="horz" wrap="square" lIns="0" tIns="0" rIns="0" bIns="0" numCol="1" anchor="ctr" anchorCtr="0" compatLnSpc="1">
            <a:prstTxWarp prst="textNoShape">
              <a:avLst/>
            </a:prstTxWarp>
          </a:bodyPr>
          <a:lstStyle/>
          <a:p>
            <a:endParaRPr lang="en-US" sz="1200" dirty="0">
              <a:solidFill>
                <a:schemeClr val="tx2"/>
              </a:solidFill>
            </a:endParaRPr>
          </a:p>
        </p:txBody>
      </p:sp>
      <p:sp>
        <p:nvSpPr>
          <p:cNvPr id="109" name="Freeform 63"/>
          <p:cNvSpPr>
            <a:spLocks/>
          </p:cNvSpPr>
          <p:nvPr/>
        </p:nvSpPr>
        <p:spPr bwMode="gray">
          <a:xfrm>
            <a:off x="8284212" y="4524743"/>
            <a:ext cx="503100" cy="516055"/>
          </a:xfrm>
          <a:custGeom>
            <a:avLst/>
            <a:gdLst/>
            <a:ahLst/>
            <a:cxnLst>
              <a:cxn ang="0">
                <a:pos x="220" y="110"/>
              </a:cxn>
              <a:cxn ang="0">
                <a:pos x="205" y="206"/>
              </a:cxn>
              <a:cxn ang="0">
                <a:pos x="110" y="221"/>
              </a:cxn>
              <a:cxn ang="0">
                <a:pos x="15" y="206"/>
              </a:cxn>
              <a:cxn ang="0">
                <a:pos x="0" y="110"/>
              </a:cxn>
              <a:cxn ang="0">
                <a:pos x="15" y="14"/>
              </a:cxn>
              <a:cxn ang="0">
                <a:pos x="110" y="0"/>
              </a:cxn>
              <a:cxn ang="0">
                <a:pos x="205" y="14"/>
              </a:cxn>
              <a:cxn ang="0">
                <a:pos x="220" y="110"/>
              </a:cxn>
            </a:cxnLst>
            <a:rect l="0" t="0" r="r" b="b"/>
            <a:pathLst>
              <a:path w="220" h="221">
                <a:moveTo>
                  <a:pt x="220" y="110"/>
                </a:moveTo>
                <a:cubicBezTo>
                  <a:pt x="220" y="144"/>
                  <a:pt x="215" y="176"/>
                  <a:pt x="205" y="206"/>
                </a:cubicBezTo>
                <a:cubicBezTo>
                  <a:pt x="175" y="216"/>
                  <a:pt x="143" y="221"/>
                  <a:pt x="110" y="221"/>
                </a:cubicBezTo>
                <a:cubicBezTo>
                  <a:pt x="77" y="221"/>
                  <a:pt x="45" y="216"/>
                  <a:pt x="15" y="206"/>
                </a:cubicBezTo>
                <a:cubicBezTo>
                  <a:pt x="6" y="176"/>
                  <a:pt x="0" y="144"/>
                  <a:pt x="0" y="110"/>
                </a:cubicBezTo>
                <a:cubicBezTo>
                  <a:pt x="0" y="77"/>
                  <a:pt x="6" y="45"/>
                  <a:pt x="15" y="14"/>
                </a:cubicBezTo>
                <a:cubicBezTo>
                  <a:pt x="45" y="5"/>
                  <a:pt x="77" y="0"/>
                  <a:pt x="110" y="0"/>
                </a:cubicBezTo>
                <a:cubicBezTo>
                  <a:pt x="143" y="0"/>
                  <a:pt x="175" y="5"/>
                  <a:pt x="205" y="14"/>
                </a:cubicBezTo>
                <a:cubicBezTo>
                  <a:pt x="215" y="45"/>
                  <a:pt x="220" y="77"/>
                  <a:pt x="220" y="110"/>
                </a:cubicBezTo>
                <a:close/>
              </a:path>
            </a:pathLst>
          </a:custGeom>
          <a:solidFill>
            <a:schemeClr val="bg2">
              <a:lumMod val="1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112" name="Rectangle 111"/>
          <p:cNvSpPr/>
          <p:nvPr/>
        </p:nvSpPr>
        <p:spPr bwMode="gray">
          <a:xfrm>
            <a:off x="8416090" y="4689763"/>
            <a:ext cx="249107" cy="184666"/>
          </a:xfrm>
          <a:prstGeom prst="rect">
            <a:avLst/>
          </a:prstGeom>
        </p:spPr>
        <p:txBody>
          <a:bodyPr wrap="none" lIns="0" tIns="0" rIns="0" bIns="0" anchor="ctr">
            <a:spAutoFit/>
          </a:bodyPr>
          <a:lstStyle/>
          <a:p>
            <a:pPr algn="ctr"/>
            <a:r>
              <a:rPr lang="en-US" sz="1200" dirty="0">
                <a:solidFill>
                  <a:schemeClr val="bg1"/>
                </a:solidFill>
                <a:cs typeface="Arial" pitchFamily="34" charset="0"/>
              </a:rPr>
              <a:t>Text</a:t>
            </a:r>
          </a:p>
        </p:txBody>
      </p:sp>
      <p:sp>
        <p:nvSpPr>
          <p:cNvPr id="108" name="Freeform 62"/>
          <p:cNvSpPr>
            <a:spLocks/>
          </p:cNvSpPr>
          <p:nvPr/>
        </p:nvSpPr>
        <p:spPr bwMode="gray">
          <a:xfrm>
            <a:off x="8315974" y="5002015"/>
            <a:ext cx="439113" cy="329375"/>
          </a:xfrm>
          <a:custGeom>
            <a:avLst/>
            <a:gdLst/>
            <a:ahLst/>
            <a:cxnLst>
              <a:cxn ang="0">
                <a:pos x="95" y="15"/>
              </a:cxn>
              <a:cxn ang="0">
                <a:pos x="190" y="0"/>
              </a:cxn>
              <a:cxn ang="0">
                <a:pos x="95" y="144"/>
              </a:cxn>
              <a:cxn ang="0">
                <a:pos x="0" y="0"/>
              </a:cxn>
              <a:cxn ang="0">
                <a:pos x="95" y="15"/>
              </a:cxn>
            </a:cxnLst>
            <a:rect l="0" t="0" r="r" b="b"/>
            <a:pathLst>
              <a:path w="190" h="144">
                <a:moveTo>
                  <a:pt x="95" y="15"/>
                </a:moveTo>
                <a:cubicBezTo>
                  <a:pt x="128" y="15"/>
                  <a:pt x="160" y="10"/>
                  <a:pt x="190" y="0"/>
                </a:cubicBezTo>
                <a:cubicBezTo>
                  <a:pt x="173" y="57"/>
                  <a:pt x="139" y="107"/>
                  <a:pt x="95" y="144"/>
                </a:cubicBezTo>
                <a:cubicBezTo>
                  <a:pt x="52" y="107"/>
                  <a:pt x="18" y="57"/>
                  <a:pt x="0" y="0"/>
                </a:cubicBezTo>
                <a:cubicBezTo>
                  <a:pt x="30" y="10"/>
                  <a:pt x="62" y="15"/>
                  <a:pt x="95" y="15"/>
                </a:cubicBezTo>
                <a:close/>
              </a:path>
            </a:pathLst>
          </a:custGeom>
          <a:solidFill>
            <a:schemeClr val="accent3">
              <a:lumMod val="50000"/>
            </a:schemeClr>
          </a:solidFill>
          <a:ln w="9525">
            <a:noFill/>
            <a:round/>
            <a:headEnd/>
            <a:tailEnd/>
          </a:ln>
        </p:spPr>
        <p:txBody>
          <a:bodyPr vert="horz" wrap="square" lIns="44450" tIns="44450" rIns="44450" bIns="44450" numCol="1" anchor="ctr" anchorCtr="0" compatLnSpc="1">
            <a:prstTxWarp prst="textNoShape">
              <a:avLst/>
            </a:prstTxWarp>
          </a:bodyPr>
          <a:lstStyle/>
          <a:p>
            <a:endParaRPr lang="en-US" sz="1200" dirty="0">
              <a:solidFill>
                <a:schemeClr val="tx2"/>
              </a:solidFill>
            </a:endParaRPr>
          </a:p>
        </p:txBody>
      </p:sp>
      <p:sp>
        <p:nvSpPr>
          <p:cNvPr id="61" name="Rectangle 60"/>
          <p:cNvSpPr>
            <a:spLocks noChangeArrowheads="1"/>
          </p:cNvSpPr>
          <p:nvPr/>
        </p:nvSpPr>
        <p:spPr bwMode="auto">
          <a:xfrm>
            <a:off x="8939304"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Tip! </a:t>
            </a:r>
            <a:r>
              <a:rPr lang="en-US" sz="1000" dirty="0">
                <a:ea typeface="ＭＳ Ｐゴシック" pitchFamily="50" charset="-128"/>
              </a:rPr>
              <a:t>Hold the Shift key when resizing the pieces or group to retain the shape proportions</a:t>
            </a:r>
          </a:p>
        </p:txBody>
      </p:sp>
      <p:sp>
        <p:nvSpPr>
          <p:cNvPr id="110" name="Rectangle 109"/>
          <p:cNvSpPr/>
          <p:nvPr/>
        </p:nvSpPr>
        <p:spPr bwMode="gray">
          <a:xfrm>
            <a:off x="8416089" y="3788165"/>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1" name="Rectangle 110"/>
          <p:cNvSpPr/>
          <p:nvPr/>
        </p:nvSpPr>
        <p:spPr bwMode="gray">
          <a:xfrm>
            <a:off x="8416089" y="5619838"/>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3" name="Rectangle 112"/>
          <p:cNvSpPr/>
          <p:nvPr/>
        </p:nvSpPr>
        <p:spPr bwMode="gray">
          <a:xfrm>
            <a:off x="9304542" y="4689763"/>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
        <p:nvSpPr>
          <p:cNvPr id="114" name="Rectangle 113"/>
          <p:cNvSpPr/>
          <p:nvPr/>
        </p:nvSpPr>
        <p:spPr bwMode="gray">
          <a:xfrm>
            <a:off x="7485041" y="4689763"/>
            <a:ext cx="249107" cy="184666"/>
          </a:xfrm>
          <a:prstGeom prst="rect">
            <a:avLst/>
          </a:prstGeom>
        </p:spPr>
        <p:txBody>
          <a:bodyPr wrap="none" lIns="0" tIns="0" rIns="0" bIns="0" anchor="ctr">
            <a:spAutoFit/>
          </a:bodyPr>
          <a:lstStyle/>
          <a:p>
            <a:pPr algn="ctr"/>
            <a:r>
              <a:rPr lang="en-US" sz="1200" dirty="0">
                <a:cs typeface="Arial" pitchFamily="34" charset="0"/>
              </a:rPr>
              <a:t>Text</a:t>
            </a:r>
          </a:p>
        </p:txBody>
      </p:sp>
    </p:spTree>
    <p:extLst>
      <p:ext uri="{BB962C8B-B14F-4D97-AF65-F5344CB8AC3E}">
        <p14:creationId xmlns:p14="http://schemas.microsoft.com/office/powerpoint/2010/main" val="143455004"/>
      </p:ext>
    </p:extLst>
  </p:cSld>
  <p:clrMapOvr>
    <a:masterClrMapping/>
  </p:clrMapOvr>
  <p:transition>
    <p:fade/>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p:txBody>
          <a:bodyPr/>
          <a:lstStyle/>
          <a:p>
            <a:r>
              <a:rPr lang="en-US"/>
              <a:t>Eggs</a:t>
            </a:r>
            <a:endParaRPr lang="en-US" dirty="0"/>
          </a:p>
        </p:txBody>
      </p:sp>
      <p:sp>
        <p:nvSpPr>
          <p:cNvPr id="690177" name="Title 1"/>
          <p:cNvSpPr>
            <a:spLocks noGrp="1"/>
          </p:cNvSpPr>
          <p:nvPr>
            <p:ph type="title"/>
          </p:nvPr>
        </p:nvSpPr>
        <p:spPr/>
        <p:txBody>
          <a:bodyPr/>
          <a:lstStyle/>
          <a:p>
            <a:r>
              <a:rPr lang="en-US"/>
              <a:t>Spheres</a:t>
            </a:r>
            <a:endParaRPr lang="en-US" dirty="0"/>
          </a:p>
        </p:txBody>
      </p:sp>
      <p:grpSp>
        <p:nvGrpSpPr>
          <p:cNvPr id="4" name="Group 3"/>
          <p:cNvGrpSpPr/>
          <p:nvPr/>
        </p:nvGrpSpPr>
        <p:grpSpPr>
          <a:xfrm>
            <a:off x="1077004" y="1952343"/>
            <a:ext cx="10278818" cy="3985059"/>
            <a:chOff x="389016" y="1955799"/>
            <a:chExt cx="8346934" cy="3985059"/>
          </a:xfrm>
        </p:grpSpPr>
        <p:sp>
          <p:nvSpPr>
            <p:cNvPr id="12" name="Freeform 6"/>
            <p:cNvSpPr>
              <a:spLocks/>
            </p:cNvSpPr>
            <p:nvPr/>
          </p:nvSpPr>
          <p:spPr bwMode="auto">
            <a:xfrm>
              <a:off x="389016" y="1955800"/>
              <a:ext cx="2921674" cy="3985058"/>
            </a:xfrm>
            <a:custGeom>
              <a:avLst/>
              <a:gdLst>
                <a:gd name="T0" fmla="*/ 828 w 828"/>
                <a:gd name="T1" fmla="*/ 260 h 1159"/>
                <a:gd name="T2" fmla="*/ 451 w 828"/>
                <a:gd name="T3" fmla="*/ 0 h 1159"/>
                <a:gd name="T4" fmla="*/ 0 w 828"/>
                <a:gd name="T5" fmla="*/ 579 h 1159"/>
                <a:gd name="T6" fmla="*/ 451 w 828"/>
                <a:gd name="T7" fmla="*/ 1159 h 1159"/>
                <a:gd name="T8" fmla="*/ 828 w 828"/>
                <a:gd name="T9" fmla="*/ 899 h 1159"/>
                <a:gd name="T10" fmla="*/ 755 w 828"/>
                <a:gd name="T11" fmla="*/ 579 h 1159"/>
                <a:gd name="T12" fmla="*/ 828 w 828"/>
                <a:gd name="T13" fmla="*/ 260 h 1159"/>
              </a:gdLst>
              <a:ahLst/>
              <a:cxnLst>
                <a:cxn ang="0">
                  <a:pos x="T0" y="T1"/>
                </a:cxn>
                <a:cxn ang="0">
                  <a:pos x="T2" y="T3"/>
                </a:cxn>
                <a:cxn ang="0">
                  <a:pos x="T4" y="T5"/>
                </a:cxn>
                <a:cxn ang="0">
                  <a:pos x="T6" y="T7"/>
                </a:cxn>
                <a:cxn ang="0">
                  <a:pos x="T8" y="T9"/>
                </a:cxn>
                <a:cxn ang="0">
                  <a:pos x="T10" y="T11"/>
                </a:cxn>
                <a:cxn ang="0">
                  <a:pos x="T12" y="T13"/>
                </a:cxn>
              </a:cxnLst>
              <a:rect l="0" t="0" r="r" b="b"/>
              <a:pathLst>
                <a:path w="828" h="1159">
                  <a:moveTo>
                    <a:pt x="828" y="260"/>
                  </a:moveTo>
                  <a:cubicBezTo>
                    <a:pt x="747" y="103"/>
                    <a:pt x="608" y="0"/>
                    <a:pt x="451" y="0"/>
                  </a:cubicBezTo>
                  <a:cubicBezTo>
                    <a:pt x="202" y="0"/>
                    <a:pt x="0" y="259"/>
                    <a:pt x="0" y="579"/>
                  </a:cubicBezTo>
                  <a:cubicBezTo>
                    <a:pt x="0" y="899"/>
                    <a:pt x="202" y="1159"/>
                    <a:pt x="451" y="1159"/>
                  </a:cubicBezTo>
                  <a:cubicBezTo>
                    <a:pt x="608" y="1159"/>
                    <a:pt x="747" y="1055"/>
                    <a:pt x="828" y="899"/>
                  </a:cubicBezTo>
                  <a:cubicBezTo>
                    <a:pt x="782" y="807"/>
                    <a:pt x="755" y="697"/>
                    <a:pt x="755" y="579"/>
                  </a:cubicBezTo>
                  <a:cubicBezTo>
                    <a:pt x="755" y="461"/>
                    <a:pt x="782" y="352"/>
                    <a:pt x="828" y="260"/>
                  </a:cubicBezTo>
                  <a:close/>
                </a:path>
              </a:pathLst>
            </a:custGeom>
            <a:solidFill>
              <a:schemeClr val="accent5"/>
            </a:solidFill>
            <a:ln w="12700">
              <a:noFill/>
              <a:round/>
              <a:headEnd type="none" w="sm" len="sm"/>
              <a:tailEnd type="none" w="med" len="lg"/>
            </a:ln>
          </p:spPr>
          <p:txBody>
            <a:bodyPr vert="horz" wrap="square" lIns="88900" tIns="88900" rIns="88900" bIns="88900" anchor="ctr" anchorCtr="0"/>
            <a:lstStyle/>
            <a:p>
              <a:pPr algn="ctr"/>
              <a:r>
                <a:rPr lang="en-GB" altLang="ja-JP" sz="1400" dirty="0">
                  <a:solidFill>
                    <a:schemeClr val="bg1"/>
                  </a:solidFill>
                  <a:ea typeface="ＭＳ Ｐゴシック" charset="-128"/>
                  <a:cs typeface="Arial" pitchFamily="34" charset="0"/>
                </a:rPr>
                <a:t>Text</a:t>
              </a:r>
            </a:p>
          </p:txBody>
        </p:sp>
        <p:sp>
          <p:nvSpPr>
            <p:cNvPr id="13" name="Freeform 7"/>
            <p:cNvSpPr>
              <a:spLocks/>
            </p:cNvSpPr>
            <p:nvPr/>
          </p:nvSpPr>
          <p:spPr bwMode="auto">
            <a:xfrm>
              <a:off x="5814277" y="1955800"/>
              <a:ext cx="2921673" cy="3985058"/>
            </a:xfrm>
            <a:custGeom>
              <a:avLst/>
              <a:gdLst>
                <a:gd name="T0" fmla="*/ 365 w 807"/>
                <a:gd name="T1" fmla="*/ 0 h 1159"/>
                <a:gd name="T2" fmla="*/ 0 w 807"/>
                <a:gd name="T3" fmla="*/ 251 h 1159"/>
                <a:gd name="T4" fmla="*/ 78 w 807"/>
                <a:gd name="T5" fmla="*/ 579 h 1159"/>
                <a:gd name="T6" fmla="*/ 0 w 807"/>
                <a:gd name="T7" fmla="*/ 908 h 1159"/>
                <a:gd name="T8" fmla="*/ 365 w 807"/>
                <a:gd name="T9" fmla="*/ 1159 h 1159"/>
                <a:gd name="T10" fmla="*/ 807 w 807"/>
                <a:gd name="T11" fmla="*/ 579 h 1159"/>
                <a:gd name="T12" fmla="*/ 365 w 807"/>
                <a:gd name="T13" fmla="*/ 0 h 1159"/>
              </a:gdLst>
              <a:ahLst/>
              <a:cxnLst>
                <a:cxn ang="0">
                  <a:pos x="T0" y="T1"/>
                </a:cxn>
                <a:cxn ang="0">
                  <a:pos x="T2" y="T3"/>
                </a:cxn>
                <a:cxn ang="0">
                  <a:pos x="T4" y="T5"/>
                </a:cxn>
                <a:cxn ang="0">
                  <a:pos x="T6" y="T7"/>
                </a:cxn>
                <a:cxn ang="0">
                  <a:pos x="T8" y="T9"/>
                </a:cxn>
                <a:cxn ang="0">
                  <a:pos x="T10" y="T11"/>
                </a:cxn>
                <a:cxn ang="0">
                  <a:pos x="T12" y="T13"/>
                </a:cxn>
              </a:cxnLst>
              <a:rect l="0" t="0" r="r" b="b"/>
              <a:pathLst>
                <a:path w="807" h="1159">
                  <a:moveTo>
                    <a:pt x="365" y="0"/>
                  </a:moveTo>
                  <a:cubicBezTo>
                    <a:pt x="213" y="0"/>
                    <a:pt x="80" y="99"/>
                    <a:pt x="0" y="251"/>
                  </a:cubicBezTo>
                  <a:cubicBezTo>
                    <a:pt x="49" y="344"/>
                    <a:pt x="78" y="457"/>
                    <a:pt x="78" y="579"/>
                  </a:cubicBezTo>
                  <a:cubicBezTo>
                    <a:pt x="78" y="701"/>
                    <a:pt x="49" y="815"/>
                    <a:pt x="0" y="908"/>
                  </a:cubicBezTo>
                  <a:cubicBezTo>
                    <a:pt x="80" y="1059"/>
                    <a:pt x="213" y="1159"/>
                    <a:pt x="365" y="1159"/>
                  </a:cubicBezTo>
                  <a:cubicBezTo>
                    <a:pt x="609" y="1159"/>
                    <a:pt x="807" y="899"/>
                    <a:pt x="807" y="579"/>
                  </a:cubicBezTo>
                  <a:cubicBezTo>
                    <a:pt x="807" y="259"/>
                    <a:pt x="609" y="0"/>
                    <a:pt x="365" y="0"/>
                  </a:cubicBezTo>
                  <a:close/>
                </a:path>
              </a:pathLst>
            </a:custGeom>
            <a:solidFill>
              <a:schemeClr val="accent3"/>
            </a:solidFill>
            <a:ln w="12700">
              <a:noFill/>
              <a:round/>
              <a:headEnd type="none" w="sm" len="sm"/>
              <a:tailEnd type="none" w="med" len="lg"/>
            </a:ln>
          </p:spPr>
          <p:txBody>
            <a:bodyPr vert="horz" wrap="square" lIns="88900" tIns="88900" rIns="88900" bIns="88900" anchor="ctr" anchorCtr="0"/>
            <a:lstStyle/>
            <a:p>
              <a:pPr algn="ctr"/>
              <a:r>
                <a:rPr lang="en-GB" altLang="ja-JP" sz="1400" dirty="0">
                  <a:solidFill>
                    <a:schemeClr val="bg1"/>
                  </a:solidFill>
                  <a:ea typeface="ＭＳ Ｐゴシック" charset="-128"/>
                  <a:cs typeface="Arial" pitchFamily="34" charset="0"/>
                </a:rPr>
                <a:t>Text</a:t>
              </a:r>
            </a:p>
          </p:txBody>
        </p:sp>
        <p:sp>
          <p:nvSpPr>
            <p:cNvPr id="15" name="Freeform 8"/>
            <p:cNvSpPr>
              <a:spLocks/>
            </p:cNvSpPr>
            <p:nvPr/>
          </p:nvSpPr>
          <p:spPr bwMode="auto">
            <a:xfrm>
              <a:off x="3303213" y="1955799"/>
              <a:ext cx="2532888" cy="3985058"/>
            </a:xfrm>
            <a:custGeom>
              <a:avLst/>
              <a:gdLst>
                <a:gd name="T0" fmla="*/ 734 w 734"/>
                <a:gd name="T1" fmla="*/ 251 h 1159"/>
                <a:gd name="T2" fmla="*/ 369 w 734"/>
                <a:gd name="T3" fmla="*/ 0 h 1159"/>
                <a:gd name="T4" fmla="*/ 0 w 734"/>
                <a:gd name="T5" fmla="*/ 260 h 1159"/>
                <a:gd name="T6" fmla="*/ 74 w 734"/>
                <a:gd name="T7" fmla="*/ 579 h 1159"/>
                <a:gd name="T8" fmla="*/ 0 w 734"/>
                <a:gd name="T9" fmla="*/ 899 h 1159"/>
                <a:gd name="T10" fmla="*/ 369 w 734"/>
                <a:gd name="T11" fmla="*/ 1159 h 1159"/>
                <a:gd name="T12" fmla="*/ 734 w 734"/>
                <a:gd name="T13" fmla="*/ 908 h 1159"/>
                <a:gd name="T14" fmla="*/ 656 w 734"/>
                <a:gd name="T15" fmla="*/ 579 h 1159"/>
                <a:gd name="T16" fmla="*/ 734 w 734"/>
                <a:gd name="T17" fmla="*/ 251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1159">
                  <a:moveTo>
                    <a:pt x="734" y="251"/>
                  </a:moveTo>
                  <a:cubicBezTo>
                    <a:pt x="654" y="99"/>
                    <a:pt x="521" y="0"/>
                    <a:pt x="369" y="0"/>
                  </a:cubicBezTo>
                  <a:cubicBezTo>
                    <a:pt x="215" y="0"/>
                    <a:pt x="79" y="103"/>
                    <a:pt x="0" y="260"/>
                  </a:cubicBezTo>
                  <a:cubicBezTo>
                    <a:pt x="47" y="352"/>
                    <a:pt x="74" y="461"/>
                    <a:pt x="74" y="579"/>
                  </a:cubicBezTo>
                  <a:cubicBezTo>
                    <a:pt x="74" y="697"/>
                    <a:pt x="47" y="807"/>
                    <a:pt x="0" y="899"/>
                  </a:cubicBezTo>
                  <a:cubicBezTo>
                    <a:pt x="79" y="1055"/>
                    <a:pt x="215" y="1159"/>
                    <a:pt x="369" y="1159"/>
                  </a:cubicBezTo>
                  <a:cubicBezTo>
                    <a:pt x="521" y="1159"/>
                    <a:pt x="654" y="1059"/>
                    <a:pt x="734" y="908"/>
                  </a:cubicBezTo>
                  <a:cubicBezTo>
                    <a:pt x="685" y="815"/>
                    <a:pt x="656" y="701"/>
                    <a:pt x="656" y="579"/>
                  </a:cubicBezTo>
                  <a:cubicBezTo>
                    <a:pt x="656" y="457"/>
                    <a:pt x="685" y="344"/>
                    <a:pt x="734" y="251"/>
                  </a:cubicBezTo>
                  <a:close/>
                </a:path>
              </a:pathLst>
            </a:custGeom>
            <a:solidFill>
              <a:schemeClr val="accent1"/>
            </a:solidFill>
            <a:ln w="12700">
              <a:noFill/>
              <a:round/>
              <a:headEnd type="none" w="sm" len="sm"/>
              <a:tailEnd type="none" w="med" len="lg"/>
            </a:ln>
          </p:spPr>
          <p:txBody>
            <a:bodyPr vert="horz" wrap="square" lIns="88900" tIns="88900" rIns="88900" bIns="88900" anchor="ctr" anchorCtr="0"/>
            <a:lstStyle/>
            <a:p>
              <a:pPr algn="ctr"/>
              <a:r>
                <a:rPr lang="en-GB" altLang="ja-JP" sz="1400" dirty="0">
                  <a:solidFill>
                    <a:schemeClr val="bg1"/>
                  </a:solidFill>
                  <a:ea typeface="ＭＳ Ｐゴシック" charset="-128"/>
                  <a:cs typeface="Arial" pitchFamily="34" charset="0"/>
                </a:rPr>
                <a:t>Text</a:t>
              </a:r>
            </a:p>
          </p:txBody>
        </p:sp>
        <p:sp>
          <p:nvSpPr>
            <p:cNvPr id="16" name="Freeform 9"/>
            <p:cNvSpPr>
              <a:spLocks/>
            </p:cNvSpPr>
            <p:nvPr/>
          </p:nvSpPr>
          <p:spPr bwMode="auto">
            <a:xfrm>
              <a:off x="3032631" y="2845948"/>
              <a:ext cx="548640" cy="2197353"/>
            </a:xfrm>
            <a:custGeom>
              <a:avLst/>
              <a:gdLst>
                <a:gd name="T0" fmla="*/ 73 w 147"/>
                <a:gd name="T1" fmla="*/ 0 h 639"/>
                <a:gd name="T2" fmla="*/ 0 w 147"/>
                <a:gd name="T3" fmla="*/ 319 h 639"/>
                <a:gd name="T4" fmla="*/ 73 w 147"/>
                <a:gd name="T5" fmla="*/ 639 h 639"/>
                <a:gd name="T6" fmla="*/ 147 w 147"/>
                <a:gd name="T7" fmla="*/ 319 h 639"/>
                <a:gd name="T8" fmla="*/ 73 w 147"/>
                <a:gd name="T9" fmla="*/ 0 h 639"/>
              </a:gdLst>
              <a:ahLst/>
              <a:cxnLst>
                <a:cxn ang="0">
                  <a:pos x="T0" y="T1"/>
                </a:cxn>
                <a:cxn ang="0">
                  <a:pos x="T2" y="T3"/>
                </a:cxn>
                <a:cxn ang="0">
                  <a:pos x="T4" y="T5"/>
                </a:cxn>
                <a:cxn ang="0">
                  <a:pos x="T6" y="T7"/>
                </a:cxn>
                <a:cxn ang="0">
                  <a:pos x="T8" y="T9"/>
                </a:cxn>
              </a:cxnLst>
              <a:rect l="0" t="0" r="r" b="b"/>
              <a:pathLst>
                <a:path w="147" h="639">
                  <a:moveTo>
                    <a:pt x="73" y="0"/>
                  </a:moveTo>
                  <a:cubicBezTo>
                    <a:pt x="27" y="92"/>
                    <a:pt x="0" y="201"/>
                    <a:pt x="0" y="319"/>
                  </a:cubicBezTo>
                  <a:cubicBezTo>
                    <a:pt x="0" y="437"/>
                    <a:pt x="27" y="547"/>
                    <a:pt x="73" y="639"/>
                  </a:cubicBezTo>
                  <a:cubicBezTo>
                    <a:pt x="120" y="547"/>
                    <a:pt x="147" y="437"/>
                    <a:pt x="147" y="319"/>
                  </a:cubicBezTo>
                  <a:cubicBezTo>
                    <a:pt x="147" y="201"/>
                    <a:pt x="120" y="92"/>
                    <a:pt x="73" y="0"/>
                  </a:cubicBezTo>
                  <a:close/>
                </a:path>
              </a:pathLst>
            </a:custGeom>
            <a:solidFill>
              <a:schemeClr val="accent5">
                <a:lumMod val="75000"/>
              </a:schemeClr>
            </a:solidFill>
            <a:ln w="9525">
              <a:noFill/>
              <a:round/>
              <a:headEnd/>
              <a:tailEnd/>
            </a:ln>
            <a:effectLst/>
          </p:spPr>
          <p:txBody>
            <a:bodyPr vert="horz" wrap="square" lIns="88900" tIns="88900" rIns="88900" bIns="88900" numCol="1" anchor="ctr" anchorCtr="0" compatLnSpc="1">
              <a:prstTxWarp prst="textNoShape">
                <a:avLst/>
              </a:prstTxWarp>
            </a:bodyPr>
            <a:lstStyle/>
            <a:p>
              <a:pPr algn="ctr"/>
              <a:endParaRPr lang="en-US" sz="1200" dirty="0">
                <a:solidFill>
                  <a:schemeClr val="bg1"/>
                </a:solidFill>
              </a:endParaRPr>
            </a:p>
          </p:txBody>
        </p:sp>
        <p:sp>
          <p:nvSpPr>
            <p:cNvPr id="17" name="Freeform 10"/>
            <p:cNvSpPr>
              <a:spLocks/>
            </p:cNvSpPr>
            <p:nvPr/>
          </p:nvSpPr>
          <p:spPr bwMode="auto">
            <a:xfrm>
              <a:off x="5558044" y="2815097"/>
              <a:ext cx="548640" cy="2259057"/>
            </a:xfrm>
            <a:custGeom>
              <a:avLst/>
              <a:gdLst>
                <a:gd name="T0" fmla="*/ 78 w 156"/>
                <a:gd name="T1" fmla="*/ 0 h 657"/>
                <a:gd name="T2" fmla="*/ 0 w 156"/>
                <a:gd name="T3" fmla="*/ 328 h 657"/>
                <a:gd name="T4" fmla="*/ 78 w 156"/>
                <a:gd name="T5" fmla="*/ 657 h 657"/>
                <a:gd name="T6" fmla="*/ 156 w 156"/>
                <a:gd name="T7" fmla="*/ 328 h 657"/>
                <a:gd name="T8" fmla="*/ 78 w 156"/>
                <a:gd name="T9" fmla="*/ 0 h 657"/>
              </a:gdLst>
              <a:ahLst/>
              <a:cxnLst>
                <a:cxn ang="0">
                  <a:pos x="T0" y="T1"/>
                </a:cxn>
                <a:cxn ang="0">
                  <a:pos x="T2" y="T3"/>
                </a:cxn>
                <a:cxn ang="0">
                  <a:pos x="T4" y="T5"/>
                </a:cxn>
                <a:cxn ang="0">
                  <a:pos x="T6" y="T7"/>
                </a:cxn>
                <a:cxn ang="0">
                  <a:pos x="T8" y="T9"/>
                </a:cxn>
              </a:cxnLst>
              <a:rect l="0" t="0" r="r" b="b"/>
              <a:pathLst>
                <a:path w="156" h="657">
                  <a:moveTo>
                    <a:pt x="78" y="0"/>
                  </a:moveTo>
                  <a:cubicBezTo>
                    <a:pt x="29" y="93"/>
                    <a:pt x="0" y="206"/>
                    <a:pt x="0" y="328"/>
                  </a:cubicBezTo>
                  <a:cubicBezTo>
                    <a:pt x="0" y="450"/>
                    <a:pt x="29" y="564"/>
                    <a:pt x="78" y="657"/>
                  </a:cubicBezTo>
                  <a:cubicBezTo>
                    <a:pt x="127" y="564"/>
                    <a:pt x="156" y="450"/>
                    <a:pt x="156" y="328"/>
                  </a:cubicBezTo>
                  <a:cubicBezTo>
                    <a:pt x="156" y="206"/>
                    <a:pt x="127" y="93"/>
                    <a:pt x="78" y="0"/>
                  </a:cubicBezTo>
                  <a:close/>
                </a:path>
              </a:pathLst>
            </a:custGeom>
            <a:solidFill>
              <a:schemeClr val="accent3">
                <a:lumMod val="75000"/>
              </a:schemeClr>
            </a:solidFill>
            <a:ln w="9525">
              <a:noFill/>
              <a:round/>
              <a:headEnd/>
              <a:tailEnd/>
            </a:ln>
            <a:effectLst/>
          </p:spPr>
          <p:txBody>
            <a:bodyPr vert="horz" wrap="square" lIns="88900" tIns="88900" rIns="88900" bIns="88900" numCol="1" anchor="ctr" anchorCtr="0" compatLnSpc="1">
              <a:prstTxWarp prst="textNoShape">
                <a:avLst/>
              </a:prstTxWarp>
            </a:bodyPr>
            <a:lstStyle/>
            <a:p>
              <a:pPr algn="ctr"/>
              <a:endParaRPr lang="en-US" sz="1200" dirty="0">
                <a:solidFill>
                  <a:schemeClr val="bg1"/>
                </a:solidFill>
              </a:endParaRPr>
            </a:p>
          </p:txBody>
        </p:sp>
      </p:grpSp>
      <p:sp>
        <p:nvSpPr>
          <p:cNvPr id="18" name="TextBox 17"/>
          <p:cNvSpPr txBox="1"/>
          <p:nvPr/>
        </p:nvSpPr>
        <p:spPr>
          <a:xfrm>
            <a:off x="501650" y="6108406"/>
            <a:ext cx="9772650" cy="323216"/>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9" name="TextBox 18"/>
          <p:cNvSpPr txBox="1"/>
          <p:nvPr/>
        </p:nvSpPr>
        <p:spPr bwMode="gray">
          <a:xfrm>
            <a:off x="501650" y="1710507"/>
            <a:ext cx="9791446"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172260287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8"/>
          <p:cNvGraphicFramePr>
            <a:graphicFrameLocks noGrp="1"/>
          </p:cNvGraphicFramePr>
          <p:nvPr>
            <p:extLst>
              <p:ext uri="{D42A27DB-BD31-4B8C-83A1-F6EECF244321}">
                <p14:modId xmlns:p14="http://schemas.microsoft.com/office/powerpoint/2010/main" val="3760860091"/>
              </p:ext>
            </p:extLst>
          </p:nvPr>
        </p:nvGraphicFramePr>
        <p:xfrm>
          <a:off x="547544" y="2011064"/>
          <a:ext cx="11188699" cy="3582225"/>
        </p:xfrm>
        <a:graphic>
          <a:graphicData uri="http://schemas.openxmlformats.org/drawingml/2006/table">
            <a:tbl>
              <a:tblPr/>
              <a:tblGrid>
                <a:gridCol w="2134609">
                  <a:extLst>
                    <a:ext uri="{9D8B030D-6E8A-4147-A177-3AD203B41FA5}">
                      <a16:colId xmlns:a16="http://schemas.microsoft.com/office/drawing/2014/main" val="20000"/>
                    </a:ext>
                  </a:extLst>
                </a:gridCol>
                <a:gridCol w="1509015">
                  <a:extLst>
                    <a:ext uri="{9D8B030D-6E8A-4147-A177-3AD203B41FA5}">
                      <a16:colId xmlns:a16="http://schemas.microsoft.com/office/drawing/2014/main" val="20001"/>
                    </a:ext>
                  </a:extLst>
                </a:gridCol>
                <a:gridCol w="1509015">
                  <a:extLst>
                    <a:ext uri="{9D8B030D-6E8A-4147-A177-3AD203B41FA5}">
                      <a16:colId xmlns:a16="http://schemas.microsoft.com/office/drawing/2014/main" val="20002"/>
                    </a:ext>
                  </a:extLst>
                </a:gridCol>
                <a:gridCol w="1509015">
                  <a:extLst>
                    <a:ext uri="{9D8B030D-6E8A-4147-A177-3AD203B41FA5}">
                      <a16:colId xmlns:a16="http://schemas.microsoft.com/office/drawing/2014/main" val="20003"/>
                    </a:ext>
                  </a:extLst>
                </a:gridCol>
                <a:gridCol w="1509015">
                  <a:extLst>
                    <a:ext uri="{9D8B030D-6E8A-4147-A177-3AD203B41FA5}">
                      <a16:colId xmlns:a16="http://schemas.microsoft.com/office/drawing/2014/main" val="20004"/>
                    </a:ext>
                  </a:extLst>
                </a:gridCol>
                <a:gridCol w="1509015">
                  <a:extLst>
                    <a:ext uri="{9D8B030D-6E8A-4147-A177-3AD203B41FA5}">
                      <a16:colId xmlns:a16="http://schemas.microsoft.com/office/drawing/2014/main" val="20005"/>
                    </a:ext>
                  </a:extLst>
                </a:gridCol>
                <a:gridCol w="1509015">
                  <a:extLst>
                    <a:ext uri="{9D8B030D-6E8A-4147-A177-3AD203B41FA5}">
                      <a16:colId xmlns:a16="http://schemas.microsoft.com/office/drawing/2014/main" val="20006"/>
                    </a:ext>
                  </a:extLst>
                </a:gridCol>
              </a:tblGrid>
              <a:tr h="411480">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kern="1200" cap="none" normalizeH="0" baseline="0" dirty="0">
                          <a:ln>
                            <a:noFill/>
                          </a:ln>
                          <a:solidFill>
                            <a:schemeClr val="tx1"/>
                          </a:solidFill>
                          <a:effectLst/>
                          <a:latin typeface="+mn-lt"/>
                          <a:ea typeface="+mn-ea"/>
                          <a:cs typeface="+mn-cs"/>
                        </a:rPr>
                        <a:t>Column</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u="none" strike="noStrike" cap="none" normalizeH="0" baseline="0" dirty="0">
                          <a:ln>
                            <a:noFill/>
                          </a:ln>
                          <a:solidFill>
                            <a:schemeClr val="tx1"/>
                          </a:solidFill>
                          <a:effectLst/>
                          <a:latin typeface="+mn-lt"/>
                        </a:rPr>
                        <a:t>Column</a:t>
                      </a:r>
                      <a:endParaRPr kumimoji="0" lang="en-US" sz="13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6" name="Text Placeholder 5"/>
          <p:cNvSpPr>
            <a:spLocks noGrp="1"/>
          </p:cNvSpPr>
          <p:nvPr>
            <p:ph type="body" sz="quarter" idx="13"/>
          </p:nvPr>
        </p:nvSpPr>
        <p:spPr/>
        <p:txBody>
          <a:bodyPr/>
          <a:lstStyle/>
          <a:p>
            <a:r>
              <a:rPr lang="en-US" dirty="0"/>
              <a:t>Subtitle runs here</a:t>
            </a:r>
          </a:p>
        </p:txBody>
      </p:sp>
      <p:sp>
        <p:nvSpPr>
          <p:cNvPr id="275516" name="Title 1"/>
          <p:cNvSpPr>
            <a:spLocks noGrp="1"/>
          </p:cNvSpPr>
          <p:nvPr>
            <p:ph type="title"/>
          </p:nvPr>
        </p:nvSpPr>
        <p:spPr/>
        <p:txBody>
          <a:bodyPr/>
          <a:lstStyle/>
          <a:p>
            <a:r>
              <a:rPr lang="en-US" altLang="ja-JP" dirty="0"/>
              <a:t>Table with moons</a:t>
            </a:r>
            <a:endParaRPr lang="en-US" dirty="0"/>
          </a:p>
        </p:txBody>
      </p:sp>
      <p:sp>
        <p:nvSpPr>
          <p:cNvPr id="104" name="Oval 19"/>
          <p:cNvSpPr>
            <a:spLocks noChangeArrowheads="1"/>
          </p:cNvSpPr>
          <p:nvPr/>
        </p:nvSpPr>
        <p:spPr bwMode="auto">
          <a:xfrm>
            <a:off x="10828726"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21" name="Oval 20"/>
          <p:cNvSpPr>
            <a:spLocks noChangeArrowheads="1"/>
          </p:cNvSpPr>
          <p:nvPr/>
        </p:nvSpPr>
        <p:spPr bwMode="auto">
          <a:xfrm>
            <a:off x="10828726"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9" name="Group 18"/>
          <p:cNvGrpSpPr/>
          <p:nvPr/>
        </p:nvGrpSpPr>
        <p:grpSpPr>
          <a:xfrm>
            <a:off x="10828726" y="3859827"/>
            <a:ext cx="288000" cy="288000"/>
            <a:chOff x="8034422" y="3770602"/>
            <a:chExt cx="288000" cy="288000"/>
          </a:xfrm>
        </p:grpSpPr>
        <p:sp>
          <p:nvSpPr>
            <p:cNvPr id="127" name="Oval 22"/>
            <p:cNvSpPr>
              <a:spLocks noChangeArrowheads="1"/>
            </p:cNvSpPr>
            <p:nvPr/>
          </p:nvSpPr>
          <p:spPr bwMode="auto">
            <a:xfrm flipH="1">
              <a:off x="8034422"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31" name="Arc 23"/>
            <p:cNvSpPr>
              <a:spLocks/>
            </p:cNvSpPr>
            <p:nvPr/>
          </p:nvSpPr>
          <p:spPr bwMode="auto">
            <a:xfrm flipH="1">
              <a:off x="8178422"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 name="Group 2"/>
          <p:cNvGrpSpPr/>
          <p:nvPr/>
        </p:nvGrpSpPr>
        <p:grpSpPr>
          <a:xfrm>
            <a:off x="10828726" y="3224215"/>
            <a:ext cx="288000" cy="288000"/>
            <a:chOff x="8034422" y="3134990"/>
            <a:chExt cx="288000" cy="288000"/>
          </a:xfrm>
        </p:grpSpPr>
        <p:sp>
          <p:nvSpPr>
            <p:cNvPr id="137" name="Oval 25"/>
            <p:cNvSpPr>
              <a:spLocks noChangeArrowheads="1"/>
            </p:cNvSpPr>
            <p:nvPr/>
          </p:nvSpPr>
          <p:spPr bwMode="auto">
            <a:xfrm flipH="1">
              <a:off x="8034422"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41" name="Arc 26"/>
            <p:cNvSpPr>
              <a:spLocks/>
            </p:cNvSpPr>
            <p:nvPr/>
          </p:nvSpPr>
          <p:spPr bwMode="auto">
            <a:xfrm flipH="1">
              <a:off x="8034422"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5" name="Group 24"/>
          <p:cNvGrpSpPr/>
          <p:nvPr/>
        </p:nvGrpSpPr>
        <p:grpSpPr>
          <a:xfrm>
            <a:off x="10828726" y="4495440"/>
            <a:ext cx="288000" cy="288000"/>
            <a:chOff x="8034422" y="4406215"/>
            <a:chExt cx="288000" cy="288000"/>
          </a:xfrm>
        </p:grpSpPr>
        <p:sp>
          <p:nvSpPr>
            <p:cNvPr id="147"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51"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54" name="Oval 153"/>
          <p:cNvSpPr>
            <a:spLocks noChangeArrowheads="1"/>
          </p:cNvSpPr>
          <p:nvPr/>
        </p:nvSpPr>
        <p:spPr bwMode="auto">
          <a:xfrm>
            <a:off x="7827300"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57" name="Oval 156"/>
          <p:cNvSpPr>
            <a:spLocks noChangeArrowheads="1"/>
          </p:cNvSpPr>
          <p:nvPr/>
        </p:nvSpPr>
        <p:spPr bwMode="auto">
          <a:xfrm>
            <a:off x="7827300"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7" name="Group 16"/>
          <p:cNvGrpSpPr/>
          <p:nvPr/>
        </p:nvGrpSpPr>
        <p:grpSpPr>
          <a:xfrm>
            <a:off x="7827300" y="3859827"/>
            <a:ext cx="288000" cy="288000"/>
            <a:chOff x="5785271" y="3770602"/>
            <a:chExt cx="288000" cy="288000"/>
          </a:xfrm>
        </p:grpSpPr>
        <p:sp>
          <p:nvSpPr>
            <p:cNvPr id="164" name="Oval 163"/>
            <p:cNvSpPr>
              <a:spLocks noChangeArrowheads="1"/>
            </p:cNvSpPr>
            <p:nvPr/>
          </p:nvSpPr>
          <p:spPr bwMode="auto">
            <a:xfrm flipH="1">
              <a:off x="5785271"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67" name="Arc 40"/>
            <p:cNvSpPr>
              <a:spLocks/>
            </p:cNvSpPr>
            <p:nvPr/>
          </p:nvSpPr>
          <p:spPr bwMode="auto">
            <a:xfrm flipH="1">
              <a:off x="5929271"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2" name="Group 11"/>
          <p:cNvGrpSpPr/>
          <p:nvPr/>
        </p:nvGrpSpPr>
        <p:grpSpPr>
          <a:xfrm>
            <a:off x="7827300" y="3224215"/>
            <a:ext cx="288000" cy="288000"/>
            <a:chOff x="5785271" y="3134990"/>
            <a:chExt cx="288000" cy="288000"/>
          </a:xfrm>
        </p:grpSpPr>
        <p:sp>
          <p:nvSpPr>
            <p:cNvPr id="172" name="Oval 171"/>
            <p:cNvSpPr>
              <a:spLocks noChangeArrowheads="1"/>
            </p:cNvSpPr>
            <p:nvPr/>
          </p:nvSpPr>
          <p:spPr bwMode="auto">
            <a:xfrm flipH="1">
              <a:off x="5785271"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4" name="Arc 43"/>
            <p:cNvSpPr>
              <a:spLocks/>
            </p:cNvSpPr>
            <p:nvPr/>
          </p:nvSpPr>
          <p:spPr bwMode="auto">
            <a:xfrm flipH="1">
              <a:off x="5785271"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3" name="Group 22"/>
          <p:cNvGrpSpPr/>
          <p:nvPr/>
        </p:nvGrpSpPr>
        <p:grpSpPr>
          <a:xfrm>
            <a:off x="7827300" y="4495440"/>
            <a:ext cx="288000" cy="288000"/>
            <a:chOff x="5785271" y="4406215"/>
            <a:chExt cx="288000" cy="288000"/>
          </a:xfrm>
        </p:grpSpPr>
        <p:sp>
          <p:nvSpPr>
            <p:cNvPr id="177" name="Oval 176"/>
            <p:cNvSpPr>
              <a:spLocks noChangeArrowheads="1"/>
            </p:cNvSpPr>
            <p:nvPr/>
          </p:nvSpPr>
          <p:spPr bwMode="auto">
            <a:xfrm flipH="1">
              <a:off x="5785271"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8" name="Arc 46"/>
            <p:cNvSpPr>
              <a:spLocks/>
            </p:cNvSpPr>
            <p:nvPr/>
          </p:nvSpPr>
          <p:spPr bwMode="auto">
            <a:xfrm flipH="1">
              <a:off x="5929271"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79" name="Oval 178"/>
          <p:cNvSpPr>
            <a:spLocks noChangeArrowheads="1"/>
          </p:cNvSpPr>
          <p:nvPr/>
        </p:nvSpPr>
        <p:spPr bwMode="auto">
          <a:xfrm>
            <a:off x="6310626"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80" name="Oval 179"/>
          <p:cNvSpPr>
            <a:spLocks noChangeArrowheads="1"/>
          </p:cNvSpPr>
          <p:nvPr/>
        </p:nvSpPr>
        <p:spPr bwMode="auto">
          <a:xfrm>
            <a:off x="6310626"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6" name="Group 15"/>
          <p:cNvGrpSpPr/>
          <p:nvPr/>
        </p:nvGrpSpPr>
        <p:grpSpPr>
          <a:xfrm>
            <a:off x="6310626" y="3859827"/>
            <a:ext cx="288000" cy="288000"/>
            <a:chOff x="4660695" y="3770602"/>
            <a:chExt cx="288000" cy="288000"/>
          </a:xfrm>
        </p:grpSpPr>
        <p:sp>
          <p:nvSpPr>
            <p:cNvPr id="182" name="Oval 181"/>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3"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1" name="Group 10"/>
          <p:cNvGrpSpPr/>
          <p:nvPr/>
        </p:nvGrpSpPr>
        <p:grpSpPr>
          <a:xfrm>
            <a:off x="6310626" y="3224215"/>
            <a:ext cx="288000" cy="288000"/>
            <a:chOff x="4660695" y="3134990"/>
            <a:chExt cx="288000" cy="288000"/>
          </a:xfrm>
        </p:grpSpPr>
        <p:sp>
          <p:nvSpPr>
            <p:cNvPr id="185" name="Oval 184"/>
            <p:cNvSpPr>
              <a:spLocks noChangeArrowheads="1"/>
            </p:cNvSpPr>
            <p:nvPr/>
          </p:nvSpPr>
          <p:spPr bwMode="auto">
            <a:xfrm flipH="1">
              <a:off x="4660695"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6" name="Arc 54"/>
            <p:cNvSpPr>
              <a:spLocks/>
            </p:cNvSpPr>
            <p:nvPr/>
          </p:nvSpPr>
          <p:spPr bwMode="auto">
            <a:xfrm flipH="1">
              <a:off x="4660695"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2" name="Group 21"/>
          <p:cNvGrpSpPr/>
          <p:nvPr/>
        </p:nvGrpSpPr>
        <p:grpSpPr>
          <a:xfrm>
            <a:off x="6310626" y="4495440"/>
            <a:ext cx="288000" cy="288000"/>
            <a:chOff x="4660695" y="4406215"/>
            <a:chExt cx="288000" cy="288000"/>
          </a:xfrm>
        </p:grpSpPr>
        <p:sp>
          <p:nvSpPr>
            <p:cNvPr id="188" name="Oval 187"/>
            <p:cNvSpPr>
              <a:spLocks noChangeArrowheads="1"/>
            </p:cNvSpPr>
            <p:nvPr/>
          </p:nvSpPr>
          <p:spPr bwMode="auto">
            <a:xfrm flipH="1">
              <a:off x="4660695"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9" name="Arc 57"/>
            <p:cNvSpPr>
              <a:spLocks/>
            </p:cNvSpPr>
            <p:nvPr/>
          </p:nvSpPr>
          <p:spPr bwMode="auto">
            <a:xfrm flipH="1">
              <a:off x="4804695"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90" name="Oval 189"/>
          <p:cNvSpPr>
            <a:spLocks noChangeArrowheads="1"/>
          </p:cNvSpPr>
          <p:nvPr/>
        </p:nvSpPr>
        <p:spPr bwMode="auto">
          <a:xfrm>
            <a:off x="4830150"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91" name="Oval 190"/>
          <p:cNvSpPr>
            <a:spLocks noChangeArrowheads="1"/>
          </p:cNvSpPr>
          <p:nvPr/>
        </p:nvSpPr>
        <p:spPr bwMode="auto">
          <a:xfrm>
            <a:off x="4830150"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5" name="Group 14"/>
          <p:cNvGrpSpPr/>
          <p:nvPr/>
        </p:nvGrpSpPr>
        <p:grpSpPr>
          <a:xfrm>
            <a:off x="4830150" y="3859827"/>
            <a:ext cx="288000" cy="288000"/>
            <a:chOff x="3536119" y="3770602"/>
            <a:chExt cx="288000" cy="288000"/>
          </a:xfrm>
        </p:grpSpPr>
        <p:sp>
          <p:nvSpPr>
            <p:cNvPr id="193" name="Oval 192"/>
            <p:cNvSpPr>
              <a:spLocks noChangeArrowheads="1"/>
            </p:cNvSpPr>
            <p:nvPr/>
          </p:nvSpPr>
          <p:spPr bwMode="auto">
            <a:xfrm flipH="1">
              <a:off x="3536119"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94" name="Arc 62"/>
            <p:cNvSpPr>
              <a:spLocks/>
            </p:cNvSpPr>
            <p:nvPr/>
          </p:nvSpPr>
          <p:spPr bwMode="auto">
            <a:xfrm flipH="1">
              <a:off x="3680119"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0" name="Group 9"/>
          <p:cNvGrpSpPr/>
          <p:nvPr/>
        </p:nvGrpSpPr>
        <p:grpSpPr>
          <a:xfrm>
            <a:off x="4830150" y="3224215"/>
            <a:ext cx="288000" cy="288000"/>
            <a:chOff x="3536119" y="3134990"/>
            <a:chExt cx="288000" cy="288000"/>
          </a:xfrm>
        </p:grpSpPr>
        <p:sp>
          <p:nvSpPr>
            <p:cNvPr id="196" name="Oval 195"/>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97"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1" name="Group 20"/>
          <p:cNvGrpSpPr/>
          <p:nvPr/>
        </p:nvGrpSpPr>
        <p:grpSpPr>
          <a:xfrm>
            <a:off x="4830150" y="4495440"/>
            <a:ext cx="288000" cy="288000"/>
            <a:chOff x="3536119" y="4406215"/>
            <a:chExt cx="288000" cy="288000"/>
          </a:xfrm>
        </p:grpSpPr>
        <p:sp>
          <p:nvSpPr>
            <p:cNvPr id="199" name="Oval 198"/>
            <p:cNvSpPr>
              <a:spLocks noChangeArrowheads="1"/>
            </p:cNvSpPr>
            <p:nvPr/>
          </p:nvSpPr>
          <p:spPr bwMode="auto">
            <a:xfrm flipH="1">
              <a:off x="3536119"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0" name="Arc 68"/>
            <p:cNvSpPr>
              <a:spLocks/>
            </p:cNvSpPr>
            <p:nvPr/>
          </p:nvSpPr>
          <p:spPr bwMode="auto">
            <a:xfrm flipH="1">
              <a:off x="3680119"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01" name="Oval 200"/>
          <p:cNvSpPr>
            <a:spLocks noChangeArrowheads="1"/>
          </p:cNvSpPr>
          <p:nvPr/>
        </p:nvSpPr>
        <p:spPr bwMode="auto">
          <a:xfrm>
            <a:off x="3326154"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02" name="Oval 201"/>
          <p:cNvSpPr>
            <a:spLocks noChangeArrowheads="1"/>
          </p:cNvSpPr>
          <p:nvPr/>
        </p:nvSpPr>
        <p:spPr bwMode="auto">
          <a:xfrm>
            <a:off x="3326154"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4" name="Group 13"/>
          <p:cNvGrpSpPr/>
          <p:nvPr/>
        </p:nvGrpSpPr>
        <p:grpSpPr>
          <a:xfrm>
            <a:off x="3326154" y="3859827"/>
            <a:ext cx="288000" cy="288000"/>
            <a:chOff x="2411543" y="3770602"/>
            <a:chExt cx="288000" cy="288000"/>
          </a:xfrm>
        </p:grpSpPr>
        <p:sp>
          <p:nvSpPr>
            <p:cNvPr id="204" name="Oval 203"/>
            <p:cNvSpPr>
              <a:spLocks noChangeArrowheads="1"/>
            </p:cNvSpPr>
            <p:nvPr/>
          </p:nvSpPr>
          <p:spPr bwMode="auto">
            <a:xfrm flipH="1">
              <a:off x="2411543"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5" name="Arc 73"/>
            <p:cNvSpPr>
              <a:spLocks/>
            </p:cNvSpPr>
            <p:nvPr/>
          </p:nvSpPr>
          <p:spPr bwMode="auto">
            <a:xfrm flipH="1">
              <a:off x="2555543"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7" name="Group 6"/>
          <p:cNvGrpSpPr/>
          <p:nvPr/>
        </p:nvGrpSpPr>
        <p:grpSpPr>
          <a:xfrm>
            <a:off x="3326154" y="3224215"/>
            <a:ext cx="288000" cy="288000"/>
            <a:chOff x="2411543" y="3134990"/>
            <a:chExt cx="288000" cy="288000"/>
          </a:xfrm>
        </p:grpSpPr>
        <p:sp>
          <p:nvSpPr>
            <p:cNvPr id="207" name="Oval 206"/>
            <p:cNvSpPr>
              <a:spLocks noChangeArrowheads="1"/>
            </p:cNvSpPr>
            <p:nvPr/>
          </p:nvSpPr>
          <p:spPr bwMode="auto">
            <a:xfrm flipH="1">
              <a:off x="2411543"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8" name="Arc 76"/>
            <p:cNvSpPr>
              <a:spLocks/>
            </p:cNvSpPr>
            <p:nvPr/>
          </p:nvSpPr>
          <p:spPr bwMode="auto">
            <a:xfrm flipH="1">
              <a:off x="2411543"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0" name="Group 19"/>
          <p:cNvGrpSpPr/>
          <p:nvPr/>
        </p:nvGrpSpPr>
        <p:grpSpPr>
          <a:xfrm>
            <a:off x="3326154" y="4495440"/>
            <a:ext cx="288000" cy="288000"/>
            <a:chOff x="2411543" y="4406215"/>
            <a:chExt cx="288000" cy="288000"/>
          </a:xfrm>
        </p:grpSpPr>
        <p:sp>
          <p:nvSpPr>
            <p:cNvPr id="210" name="Oval 209"/>
            <p:cNvSpPr>
              <a:spLocks noChangeArrowheads="1"/>
            </p:cNvSpPr>
            <p:nvPr/>
          </p:nvSpPr>
          <p:spPr bwMode="auto">
            <a:xfrm flipH="1">
              <a:off x="2411543"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11" name="Arc 79"/>
            <p:cNvSpPr>
              <a:spLocks/>
            </p:cNvSpPr>
            <p:nvPr/>
          </p:nvSpPr>
          <p:spPr bwMode="auto">
            <a:xfrm flipH="1">
              <a:off x="2555543"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12" name="Oval 19"/>
          <p:cNvSpPr>
            <a:spLocks noChangeArrowheads="1"/>
          </p:cNvSpPr>
          <p:nvPr/>
        </p:nvSpPr>
        <p:spPr bwMode="auto">
          <a:xfrm>
            <a:off x="9342771" y="258860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13" name="Oval 20"/>
          <p:cNvSpPr>
            <a:spLocks noChangeArrowheads="1"/>
          </p:cNvSpPr>
          <p:nvPr/>
        </p:nvSpPr>
        <p:spPr bwMode="auto">
          <a:xfrm>
            <a:off x="9342771" y="5131053"/>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grpSp>
        <p:nvGrpSpPr>
          <p:cNvPr id="18" name="Group 17"/>
          <p:cNvGrpSpPr/>
          <p:nvPr/>
        </p:nvGrpSpPr>
        <p:grpSpPr>
          <a:xfrm>
            <a:off x="9342771" y="3859827"/>
            <a:ext cx="288000" cy="288000"/>
            <a:chOff x="6909847" y="3770602"/>
            <a:chExt cx="288000" cy="288000"/>
          </a:xfrm>
        </p:grpSpPr>
        <p:sp>
          <p:nvSpPr>
            <p:cNvPr id="215"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16"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3" name="Group 12"/>
          <p:cNvGrpSpPr/>
          <p:nvPr/>
        </p:nvGrpSpPr>
        <p:grpSpPr>
          <a:xfrm>
            <a:off x="9342771" y="3224215"/>
            <a:ext cx="288000" cy="288000"/>
            <a:chOff x="6909847" y="3134990"/>
            <a:chExt cx="288000" cy="288000"/>
          </a:xfrm>
        </p:grpSpPr>
        <p:sp>
          <p:nvSpPr>
            <p:cNvPr id="218" name="Oval 25"/>
            <p:cNvSpPr>
              <a:spLocks noChangeArrowheads="1"/>
            </p:cNvSpPr>
            <p:nvPr/>
          </p:nvSpPr>
          <p:spPr bwMode="auto">
            <a:xfrm flipH="1">
              <a:off x="6909847"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19" name="Arc 26"/>
            <p:cNvSpPr>
              <a:spLocks/>
            </p:cNvSpPr>
            <p:nvPr/>
          </p:nvSpPr>
          <p:spPr bwMode="auto">
            <a:xfrm flipH="1">
              <a:off x="6909847"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4" name="Group 23"/>
          <p:cNvGrpSpPr/>
          <p:nvPr/>
        </p:nvGrpSpPr>
        <p:grpSpPr>
          <a:xfrm>
            <a:off x="9342771" y="4495440"/>
            <a:ext cx="288000" cy="288000"/>
            <a:chOff x="6909847" y="4406215"/>
            <a:chExt cx="288000" cy="288000"/>
          </a:xfrm>
        </p:grpSpPr>
        <p:sp>
          <p:nvSpPr>
            <p:cNvPr id="221" name="Oval 28"/>
            <p:cNvSpPr>
              <a:spLocks noChangeArrowheads="1"/>
            </p:cNvSpPr>
            <p:nvPr/>
          </p:nvSpPr>
          <p:spPr bwMode="auto">
            <a:xfrm flipH="1">
              <a:off x="6909847"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22" name="Arc 29"/>
            <p:cNvSpPr>
              <a:spLocks/>
            </p:cNvSpPr>
            <p:nvPr/>
          </p:nvSpPr>
          <p:spPr bwMode="auto">
            <a:xfrm flipH="1">
              <a:off x="7053847"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81" name="Group 80"/>
          <p:cNvGrpSpPr/>
          <p:nvPr/>
        </p:nvGrpSpPr>
        <p:grpSpPr>
          <a:xfrm>
            <a:off x="5466432" y="5985413"/>
            <a:ext cx="1262342" cy="185415"/>
            <a:chOff x="6817465" y="6022432"/>
            <a:chExt cx="2178887" cy="320040"/>
          </a:xfrm>
        </p:grpSpPr>
        <p:sp>
          <p:nvSpPr>
            <p:cNvPr id="82" name="Oval 31"/>
            <p:cNvSpPr>
              <a:spLocks noChangeArrowheads="1"/>
            </p:cNvSpPr>
            <p:nvPr/>
          </p:nvSpPr>
          <p:spPr bwMode="auto">
            <a:xfrm>
              <a:off x="6817465" y="6022432"/>
              <a:ext cx="320040" cy="320040"/>
            </a:xfrm>
            <a:prstGeom prst="ellipse">
              <a:avLst/>
            </a:prstGeom>
            <a:solidFill>
              <a:schemeClr val="tx2"/>
            </a:solidFill>
            <a:ln w="6350" cap="rnd" algn="ctr">
              <a:solidFill>
                <a:schemeClr val="tx2"/>
              </a:solidFill>
              <a:round/>
              <a:headEnd/>
              <a:tailEnd/>
            </a:ln>
          </p:spPr>
          <p:txBody>
            <a:bodyPr wrap="none" anchor="ctr"/>
            <a:lstStyle/>
            <a:p>
              <a:pPr algn="ctr">
                <a:defRPr/>
              </a:pPr>
              <a:endParaRPr lang="en-US" sz="1000" dirty="0"/>
            </a:p>
          </p:txBody>
        </p:sp>
        <p:sp>
          <p:nvSpPr>
            <p:cNvPr id="83" name="Text Box 32"/>
            <p:cNvSpPr txBox="1">
              <a:spLocks noChangeArrowheads="1"/>
            </p:cNvSpPr>
            <p:nvPr/>
          </p:nvSpPr>
          <p:spPr bwMode="auto">
            <a:xfrm>
              <a:off x="7222523" y="6049642"/>
              <a:ext cx="592115"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Strong</a:t>
              </a:r>
            </a:p>
          </p:txBody>
        </p:sp>
        <p:sp>
          <p:nvSpPr>
            <p:cNvPr id="84" name="Oval 33"/>
            <p:cNvSpPr>
              <a:spLocks noChangeArrowheads="1"/>
            </p:cNvSpPr>
            <p:nvPr/>
          </p:nvSpPr>
          <p:spPr bwMode="auto">
            <a:xfrm>
              <a:off x="8082511" y="6022432"/>
              <a:ext cx="320040" cy="320040"/>
            </a:xfrm>
            <a:prstGeom prst="ellipse">
              <a:avLst/>
            </a:prstGeom>
            <a:solidFill>
              <a:schemeClr val="bg1"/>
            </a:solidFill>
            <a:ln w="6350">
              <a:solidFill>
                <a:schemeClr val="tx2"/>
              </a:solidFill>
              <a:round/>
              <a:headEnd/>
              <a:tailEnd/>
            </a:ln>
          </p:spPr>
          <p:txBody>
            <a:bodyPr wrap="none" anchor="ctr"/>
            <a:lstStyle/>
            <a:p>
              <a:pPr algn="ctr">
                <a:defRPr/>
              </a:pPr>
              <a:endParaRPr lang="en-US" sz="1000" dirty="0"/>
            </a:p>
          </p:txBody>
        </p:sp>
        <p:sp>
          <p:nvSpPr>
            <p:cNvPr id="85" name="Text Box 34"/>
            <p:cNvSpPr txBox="1">
              <a:spLocks noChangeArrowheads="1"/>
            </p:cNvSpPr>
            <p:nvPr/>
          </p:nvSpPr>
          <p:spPr bwMode="auto">
            <a:xfrm>
              <a:off x="8484476" y="6049642"/>
              <a:ext cx="511876"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Weak</a:t>
              </a:r>
            </a:p>
          </p:txBody>
        </p:sp>
      </p:grpSp>
      <p:sp>
        <p:nvSpPr>
          <p:cNvPr id="78" name="TextBox 77">
            <a:extLst>
              <a:ext uri="{FF2B5EF4-FFF2-40B4-BE49-F238E27FC236}">
                <a16:creationId xmlns:a16="http://schemas.microsoft.com/office/drawing/2014/main" id="{383999C8-A3D9-4F2D-AB89-7EB437B25048}"/>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Table title runs here</a:t>
            </a:r>
          </a:p>
        </p:txBody>
      </p:sp>
    </p:spTree>
    <p:extLst>
      <p:ext uri="{BB962C8B-B14F-4D97-AF65-F5344CB8AC3E}">
        <p14:creationId xmlns:p14="http://schemas.microsoft.com/office/powerpoint/2010/main" val="3544893123"/>
      </p:ext>
    </p:extLst>
  </p:cSld>
  <p:clrMapOvr>
    <a:masterClrMapping/>
  </p:clrMapOvr>
  <p:transition>
    <p:fade/>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3"/>
          </p:nvPr>
        </p:nvSpPr>
        <p:spPr/>
        <p:txBody>
          <a:bodyPr/>
          <a:lstStyle/>
          <a:p>
            <a:r>
              <a:rPr lang="en-US"/>
              <a:t>Blades</a:t>
            </a:r>
            <a:endParaRPr lang="en-US" dirty="0"/>
          </a:p>
        </p:txBody>
      </p:sp>
      <p:sp>
        <p:nvSpPr>
          <p:cNvPr id="679937" name="Title 1"/>
          <p:cNvSpPr>
            <a:spLocks noGrp="1"/>
          </p:cNvSpPr>
          <p:nvPr>
            <p:ph type="title"/>
          </p:nvPr>
        </p:nvSpPr>
        <p:spPr/>
        <p:txBody>
          <a:bodyPr/>
          <a:lstStyle/>
          <a:p>
            <a:r>
              <a:rPr lang="en-US"/>
              <a:t>Spheres </a:t>
            </a:r>
            <a:endParaRPr lang="en-US" dirty="0"/>
          </a:p>
        </p:txBody>
      </p:sp>
      <p:sp>
        <p:nvSpPr>
          <p:cNvPr id="679946" name="Content Placeholder 679945"/>
          <p:cNvSpPr>
            <a:spLocks noGrp="1"/>
          </p:cNvSpPr>
          <p:nvPr>
            <p:ph idx="1"/>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grpSp>
        <p:nvGrpSpPr>
          <p:cNvPr id="16" name="Group 15"/>
          <p:cNvGrpSpPr/>
          <p:nvPr/>
        </p:nvGrpSpPr>
        <p:grpSpPr bwMode="gray">
          <a:xfrm>
            <a:off x="6383137" y="1976439"/>
            <a:ext cx="3723409" cy="3984625"/>
            <a:chOff x="2473036" y="1584329"/>
            <a:chExt cx="4186238" cy="4479925"/>
          </a:xfrm>
        </p:grpSpPr>
        <p:sp>
          <p:nvSpPr>
            <p:cNvPr id="17" name="Freeform 4"/>
            <p:cNvSpPr>
              <a:spLocks/>
            </p:cNvSpPr>
            <p:nvPr/>
          </p:nvSpPr>
          <p:spPr bwMode="gray">
            <a:xfrm>
              <a:off x="2473036" y="2727215"/>
              <a:ext cx="2520915" cy="1141333"/>
            </a:xfrm>
            <a:custGeom>
              <a:avLst/>
              <a:gdLst>
                <a:gd name="T0" fmla="*/ 15642060 w 1136"/>
                <a:gd name="T1" fmla="*/ 5102294 h 491"/>
                <a:gd name="T2" fmla="*/ 15442507 w 1136"/>
                <a:gd name="T3" fmla="*/ 4270120 h 491"/>
                <a:gd name="T4" fmla="*/ 15069848 w 1136"/>
                <a:gd name="T5" fmla="*/ 3479787 h 491"/>
                <a:gd name="T6" fmla="*/ 14519275 w 1136"/>
                <a:gd name="T7" fmla="*/ 2717349 h 491"/>
                <a:gd name="T8" fmla="*/ 13853297 w 1136"/>
                <a:gd name="T9" fmla="*/ 2024646 h 491"/>
                <a:gd name="T10" fmla="*/ 13033448 w 1136"/>
                <a:gd name="T11" fmla="*/ 1434221 h 491"/>
                <a:gd name="T12" fmla="*/ 12105407 w 1136"/>
                <a:gd name="T13" fmla="*/ 911207 h 491"/>
                <a:gd name="T14" fmla="*/ 11098026 w 1136"/>
                <a:gd name="T15" fmla="*/ 516041 h 491"/>
                <a:gd name="T16" fmla="*/ 10006496 w 1136"/>
                <a:gd name="T17" fmla="*/ 218504 h 491"/>
                <a:gd name="T18" fmla="*/ 8871688 w 1136"/>
                <a:gd name="T19" fmla="*/ 44166 h 491"/>
                <a:gd name="T20" fmla="*/ 7729668 w 1136"/>
                <a:gd name="T21" fmla="*/ 0 h 491"/>
                <a:gd name="T22" fmla="*/ 6556394 w 1136"/>
                <a:gd name="T23" fmla="*/ 65086 h 491"/>
                <a:gd name="T24" fmla="*/ 5445630 w 1136"/>
                <a:gd name="T25" fmla="*/ 281265 h 491"/>
                <a:gd name="T26" fmla="*/ 4363716 w 1136"/>
                <a:gd name="T27" fmla="*/ 595074 h 491"/>
                <a:gd name="T28" fmla="*/ 3353931 w 1136"/>
                <a:gd name="T29" fmla="*/ 1029757 h 491"/>
                <a:gd name="T30" fmla="*/ 2471571 w 1136"/>
                <a:gd name="T31" fmla="*/ 1569042 h 491"/>
                <a:gd name="T32" fmla="*/ 1690189 w 1136"/>
                <a:gd name="T33" fmla="*/ 2182712 h 491"/>
                <a:gd name="T34" fmla="*/ 1038637 w 1136"/>
                <a:gd name="T35" fmla="*/ 2884714 h 491"/>
                <a:gd name="T36" fmla="*/ 536148 w 1136"/>
                <a:gd name="T37" fmla="*/ 3640178 h 491"/>
                <a:gd name="T38" fmla="*/ 197149 w 1136"/>
                <a:gd name="T39" fmla="*/ 4458405 h 491"/>
                <a:gd name="T40" fmla="*/ 28851 w 1136"/>
                <a:gd name="T41" fmla="*/ 5302202 h 491"/>
                <a:gd name="T42" fmla="*/ 7854689 w 1136"/>
                <a:gd name="T43" fmla="*/ 5722937 h 491"/>
                <a:gd name="T44" fmla="*/ 8999113 w 1136"/>
                <a:gd name="T45" fmla="*/ 5448646 h 491"/>
                <a:gd name="T46" fmla="*/ 9376580 w 1136"/>
                <a:gd name="T47" fmla="*/ 4958175 h 491"/>
                <a:gd name="T48" fmla="*/ 9898305 w 1136"/>
                <a:gd name="T49" fmla="*/ 4537438 h 491"/>
                <a:gd name="T50" fmla="*/ 10513793 w 1136"/>
                <a:gd name="T51" fmla="*/ 4209682 h 491"/>
                <a:gd name="T52" fmla="*/ 11213430 w 1136"/>
                <a:gd name="T53" fmla="*/ 3970258 h 491"/>
                <a:gd name="T54" fmla="*/ 11941918 w 1136"/>
                <a:gd name="T55" fmla="*/ 3849384 h 491"/>
                <a:gd name="T56" fmla="*/ 12699257 w 1136"/>
                <a:gd name="T57" fmla="*/ 3849384 h 491"/>
                <a:gd name="T58" fmla="*/ 13461405 w 1136"/>
                <a:gd name="T59" fmla="*/ 3974907 h 491"/>
                <a:gd name="T60" fmla="*/ 14161041 w 1136"/>
                <a:gd name="T61" fmla="*/ 4223630 h 491"/>
                <a:gd name="T62" fmla="*/ 14790955 w 1136"/>
                <a:gd name="T63" fmla="*/ 4579279 h 491"/>
                <a:gd name="T64" fmla="*/ 15295848 w 1136"/>
                <a:gd name="T65" fmla="*/ 5006989 h 491"/>
                <a:gd name="T66" fmla="*/ 15682932 w 1136"/>
                <a:gd name="T67" fmla="*/ 5523030 h 4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36"/>
                <a:gd name="T103" fmla="*/ 0 h 491"/>
                <a:gd name="T104" fmla="*/ 1136 w 1136"/>
                <a:gd name="T105" fmla="*/ 491 h 49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36" h="491">
                  <a:moveTo>
                    <a:pt x="1135" y="473"/>
                  </a:moveTo>
                  <a:lnTo>
                    <a:pt x="1132" y="437"/>
                  </a:lnTo>
                  <a:lnTo>
                    <a:pt x="1126" y="401"/>
                  </a:lnTo>
                  <a:lnTo>
                    <a:pt x="1117" y="366"/>
                  </a:lnTo>
                  <a:lnTo>
                    <a:pt x="1104" y="331"/>
                  </a:lnTo>
                  <a:lnTo>
                    <a:pt x="1090" y="298"/>
                  </a:lnTo>
                  <a:lnTo>
                    <a:pt x="1072" y="264"/>
                  </a:lnTo>
                  <a:lnTo>
                    <a:pt x="1051" y="233"/>
                  </a:lnTo>
                  <a:lnTo>
                    <a:pt x="1027" y="203"/>
                  </a:lnTo>
                  <a:lnTo>
                    <a:pt x="1002" y="174"/>
                  </a:lnTo>
                  <a:lnTo>
                    <a:pt x="974" y="148"/>
                  </a:lnTo>
                  <a:lnTo>
                    <a:pt x="943" y="123"/>
                  </a:lnTo>
                  <a:lnTo>
                    <a:pt x="911" y="99"/>
                  </a:lnTo>
                  <a:lnTo>
                    <a:pt x="876" y="78"/>
                  </a:lnTo>
                  <a:lnTo>
                    <a:pt x="840" y="60"/>
                  </a:lnTo>
                  <a:lnTo>
                    <a:pt x="803" y="44"/>
                  </a:lnTo>
                  <a:lnTo>
                    <a:pt x="764" y="30"/>
                  </a:lnTo>
                  <a:lnTo>
                    <a:pt x="724" y="19"/>
                  </a:lnTo>
                  <a:lnTo>
                    <a:pt x="683" y="10"/>
                  </a:lnTo>
                  <a:lnTo>
                    <a:pt x="642" y="4"/>
                  </a:lnTo>
                  <a:lnTo>
                    <a:pt x="600" y="1"/>
                  </a:lnTo>
                  <a:lnTo>
                    <a:pt x="559" y="0"/>
                  </a:lnTo>
                  <a:lnTo>
                    <a:pt x="517" y="2"/>
                  </a:lnTo>
                  <a:lnTo>
                    <a:pt x="474" y="6"/>
                  </a:lnTo>
                  <a:lnTo>
                    <a:pt x="433" y="14"/>
                  </a:lnTo>
                  <a:lnTo>
                    <a:pt x="394" y="24"/>
                  </a:lnTo>
                  <a:lnTo>
                    <a:pt x="354" y="37"/>
                  </a:lnTo>
                  <a:lnTo>
                    <a:pt x="316" y="51"/>
                  </a:lnTo>
                  <a:lnTo>
                    <a:pt x="279" y="68"/>
                  </a:lnTo>
                  <a:lnTo>
                    <a:pt x="243" y="88"/>
                  </a:lnTo>
                  <a:lnTo>
                    <a:pt x="210" y="110"/>
                  </a:lnTo>
                  <a:lnTo>
                    <a:pt x="179" y="134"/>
                  </a:lnTo>
                  <a:lnTo>
                    <a:pt x="149" y="159"/>
                  </a:lnTo>
                  <a:lnTo>
                    <a:pt x="122" y="187"/>
                  </a:lnTo>
                  <a:lnTo>
                    <a:pt x="97" y="217"/>
                  </a:lnTo>
                  <a:lnTo>
                    <a:pt x="75" y="247"/>
                  </a:lnTo>
                  <a:lnTo>
                    <a:pt x="56" y="280"/>
                  </a:lnTo>
                  <a:lnTo>
                    <a:pt x="39" y="312"/>
                  </a:lnTo>
                  <a:lnTo>
                    <a:pt x="25" y="347"/>
                  </a:lnTo>
                  <a:lnTo>
                    <a:pt x="14" y="382"/>
                  </a:lnTo>
                  <a:lnTo>
                    <a:pt x="7" y="417"/>
                  </a:lnTo>
                  <a:lnTo>
                    <a:pt x="2" y="454"/>
                  </a:lnTo>
                  <a:lnTo>
                    <a:pt x="0" y="490"/>
                  </a:lnTo>
                  <a:lnTo>
                    <a:pt x="568" y="490"/>
                  </a:lnTo>
                  <a:lnTo>
                    <a:pt x="640" y="490"/>
                  </a:lnTo>
                  <a:lnTo>
                    <a:pt x="651" y="467"/>
                  </a:lnTo>
                  <a:lnTo>
                    <a:pt x="664" y="445"/>
                  </a:lnTo>
                  <a:lnTo>
                    <a:pt x="679" y="425"/>
                  </a:lnTo>
                  <a:lnTo>
                    <a:pt x="696" y="406"/>
                  </a:lnTo>
                  <a:lnTo>
                    <a:pt x="716" y="389"/>
                  </a:lnTo>
                  <a:lnTo>
                    <a:pt x="738" y="374"/>
                  </a:lnTo>
                  <a:lnTo>
                    <a:pt x="761" y="361"/>
                  </a:lnTo>
                  <a:lnTo>
                    <a:pt x="785" y="350"/>
                  </a:lnTo>
                  <a:lnTo>
                    <a:pt x="811" y="340"/>
                  </a:lnTo>
                  <a:lnTo>
                    <a:pt x="837" y="334"/>
                  </a:lnTo>
                  <a:lnTo>
                    <a:pt x="864" y="330"/>
                  </a:lnTo>
                  <a:lnTo>
                    <a:pt x="891" y="330"/>
                  </a:lnTo>
                  <a:lnTo>
                    <a:pt x="919" y="330"/>
                  </a:lnTo>
                  <a:lnTo>
                    <a:pt x="947" y="335"/>
                  </a:lnTo>
                  <a:lnTo>
                    <a:pt x="974" y="341"/>
                  </a:lnTo>
                  <a:lnTo>
                    <a:pt x="1000" y="351"/>
                  </a:lnTo>
                  <a:lnTo>
                    <a:pt x="1025" y="362"/>
                  </a:lnTo>
                  <a:lnTo>
                    <a:pt x="1048" y="375"/>
                  </a:lnTo>
                  <a:lnTo>
                    <a:pt x="1070" y="392"/>
                  </a:lnTo>
                  <a:lnTo>
                    <a:pt x="1090" y="410"/>
                  </a:lnTo>
                  <a:lnTo>
                    <a:pt x="1107" y="429"/>
                  </a:lnTo>
                  <a:lnTo>
                    <a:pt x="1122" y="451"/>
                  </a:lnTo>
                  <a:lnTo>
                    <a:pt x="1135" y="473"/>
                  </a:lnTo>
                </a:path>
              </a:pathLst>
            </a:custGeom>
            <a:solidFill>
              <a:schemeClr val="accent2"/>
            </a:solidFill>
            <a:ln w="19050" cap="rnd">
              <a:solidFill>
                <a:schemeClr val="bg1"/>
              </a:solidFill>
              <a:round/>
              <a:headEnd/>
              <a:tailEnd/>
            </a:ln>
          </p:spPr>
          <p:txBody>
            <a:bodyPr lIns="0" tIns="0" rIns="0" bIns="0"/>
            <a:lstStyle/>
            <a:p>
              <a:pPr eaLnBrk="1" hangingPunct="1">
                <a:spcBef>
                  <a:spcPct val="20000"/>
                </a:spcBef>
              </a:pPr>
              <a:endParaRPr lang="en-GB" sz="1600" dirty="0">
                <a:cs typeface="Arial" pitchFamily="34" charset="0"/>
              </a:endParaRPr>
            </a:p>
          </p:txBody>
        </p:sp>
        <p:sp>
          <p:nvSpPr>
            <p:cNvPr id="18" name="Freeform 5"/>
            <p:cNvSpPr>
              <a:spLocks/>
            </p:cNvSpPr>
            <p:nvPr/>
          </p:nvSpPr>
          <p:spPr bwMode="gray">
            <a:xfrm>
              <a:off x="3540734" y="3425990"/>
              <a:ext cx="1094928" cy="2638264"/>
            </a:xfrm>
            <a:custGeom>
              <a:avLst/>
              <a:gdLst>
                <a:gd name="T0" fmla="*/ 6090193 w 493"/>
                <a:gd name="T1" fmla="*/ 30245 h 1134"/>
                <a:gd name="T2" fmla="*/ 5096416 w 493"/>
                <a:gd name="T3" fmla="*/ 209386 h 1134"/>
                <a:gd name="T4" fmla="*/ 4150763 w 493"/>
                <a:gd name="T5" fmla="*/ 523465 h 1134"/>
                <a:gd name="T6" fmla="*/ 3250830 w 493"/>
                <a:gd name="T7" fmla="*/ 986441 h 1134"/>
                <a:gd name="T8" fmla="*/ 2447145 w 493"/>
                <a:gd name="T9" fmla="*/ 1554110 h 1134"/>
                <a:gd name="T10" fmla="*/ 1710836 w 493"/>
                <a:gd name="T11" fmla="*/ 2233451 h 1134"/>
                <a:gd name="T12" fmla="*/ 1111683 w 493"/>
                <a:gd name="T13" fmla="*/ 3029118 h 1134"/>
                <a:gd name="T14" fmla="*/ 623216 w 493"/>
                <a:gd name="T15" fmla="*/ 3889927 h 1134"/>
                <a:gd name="T16" fmla="*/ 276718 w 493"/>
                <a:gd name="T17" fmla="*/ 4820532 h 1134"/>
                <a:gd name="T18" fmla="*/ 69781 w 493"/>
                <a:gd name="T19" fmla="*/ 5765095 h 1134"/>
                <a:gd name="T20" fmla="*/ 0 w 493"/>
                <a:gd name="T21" fmla="*/ 6751536 h 1134"/>
                <a:gd name="T22" fmla="*/ 96250 w 493"/>
                <a:gd name="T23" fmla="*/ 7724017 h 1134"/>
                <a:gd name="T24" fmla="*/ 346499 w 493"/>
                <a:gd name="T25" fmla="*/ 8687192 h 1134"/>
                <a:gd name="T26" fmla="*/ 726684 w 493"/>
                <a:gd name="T27" fmla="*/ 9592207 h 1134"/>
                <a:gd name="T28" fmla="*/ 1236807 w 493"/>
                <a:gd name="T29" fmla="*/ 10429751 h 1134"/>
                <a:gd name="T30" fmla="*/ 1872054 w 493"/>
                <a:gd name="T31" fmla="*/ 11195173 h 1134"/>
                <a:gd name="T32" fmla="*/ 2605958 w 493"/>
                <a:gd name="T33" fmla="*/ 11855902 h 1134"/>
                <a:gd name="T34" fmla="*/ 3457766 w 493"/>
                <a:gd name="T35" fmla="*/ 12402632 h 1134"/>
                <a:gd name="T36" fmla="*/ 4362512 w 493"/>
                <a:gd name="T37" fmla="*/ 12842342 h 1134"/>
                <a:gd name="T38" fmla="*/ 5329821 w 493"/>
                <a:gd name="T39" fmla="*/ 13123850 h 1134"/>
                <a:gd name="T40" fmla="*/ 6316379 w 493"/>
                <a:gd name="T41" fmla="*/ 13265767 h 1134"/>
                <a:gd name="T42" fmla="*/ 6824095 w 493"/>
                <a:gd name="T43" fmla="*/ 6637537 h 1134"/>
                <a:gd name="T44" fmla="*/ 6496847 w 493"/>
                <a:gd name="T45" fmla="*/ 5672035 h 1134"/>
                <a:gd name="T46" fmla="*/ 5909725 w 493"/>
                <a:gd name="T47" fmla="*/ 5343997 h 1134"/>
                <a:gd name="T48" fmla="*/ 5426071 w 493"/>
                <a:gd name="T49" fmla="*/ 4897307 h 1134"/>
                <a:gd name="T50" fmla="*/ 5021823 w 493"/>
                <a:gd name="T51" fmla="*/ 4380820 h 1134"/>
                <a:gd name="T52" fmla="*/ 4742698 w 493"/>
                <a:gd name="T53" fmla="*/ 3796866 h 1134"/>
                <a:gd name="T54" fmla="*/ 4605542 w 493"/>
                <a:gd name="T55" fmla="*/ 3175688 h 1134"/>
                <a:gd name="T56" fmla="*/ 4605542 w 493"/>
                <a:gd name="T57" fmla="*/ 2517285 h 1134"/>
                <a:gd name="T58" fmla="*/ 4761948 w 493"/>
                <a:gd name="T59" fmla="*/ 1886801 h 1134"/>
                <a:gd name="T60" fmla="*/ 5038666 w 493"/>
                <a:gd name="T61" fmla="*/ 1288887 h 1134"/>
                <a:gd name="T62" fmla="*/ 5454946 w 493"/>
                <a:gd name="T63" fmla="*/ 756116 h 1134"/>
                <a:gd name="T64" fmla="*/ 5981912 w 493"/>
                <a:gd name="T65" fmla="*/ 328038 h 1134"/>
                <a:gd name="T66" fmla="*/ 6593097 w 493"/>
                <a:gd name="T67" fmla="*/ 0 h 113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93"/>
                <a:gd name="T103" fmla="*/ 0 h 1134"/>
                <a:gd name="T104" fmla="*/ 493 w 493"/>
                <a:gd name="T105" fmla="*/ 1134 h 113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93" h="1134">
                  <a:moveTo>
                    <a:pt x="475" y="0"/>
                  </a:moveTo>
                  <a:lnTo>
                    <a:pt x="439" y="3"/>
                  </a:lnTo>
                  <a:lnTo>
                    <a:pt x="403" y="9"/>
                  </a:lnTo>
                  <a:lnTo>
                    <a:pt x="367" y="18"/>
                  </a:lnTo>
                  <a:lnTo>
                    <a:pt x="333" y="30"/>
                  </a:lnTo>
                  <a:lnTo>
                    <a:pt x="299" y="45"/>
                  </a:lnTo>
                  <a:lnTo>
                    <a:pt x="266" y="63"/>
                  </a:lnTo>
                  <a:lnTo>
                    <a:pt x="234" y="84"/>
                  </a:lnTo>
                  <a:lnTo>
                    <a:pt x="204" y="107"/>
                  </a:lnTo>
                  <a:lnTo>
                    <a:pt x="176" y="133"/>
                  </a:lnTo>
                  <a:lnTo>
                    <a:pt x="148" y="161"/>
                  </a:lnTo>
                  <a:lnTo>
                    <a:pt x="123" y="191"/>
                  </a:lnTo>
                  <a:lnTo>
                    <a:pt x="101" y="224"/>
                  </a:lnTo>
                  <a:lnTo>
                    <a:pt x="80" y="258"/>
                  </a:lnTo>
                  <a:lnTo>
                    <a:pt x="61" y="294"/>
                  </a:lnTo>
                  <a:lnTo>
                    <a:pt x="45" y="332"/>
                  </a:lnTo>
                  <a:lnTo>
                    <a:pt x="31" y="370"/>
                  </a:lnTo>
                  <a:lnTo>
                    <a:pt x="20" y="411"/>
                  </a:lnTo>
                  <a:lnTo>
                    <a:pt x="11" y="451"/>
                  </a:lnTo>
                  <a:lnTo>
                    <a:pt x="5" y="492"/>
                  </a:lnTo>
                  <a:lnTo>
                    <a:pt x="1" y="534"/>
                  </a:lnTo>
                  <a:lnTo>
                    <a:pt x="0" y="576"/>
                  </a:lnTo>
                  <a:lnTo>
                    <a:pt x="3" y="617"/>
                  </a:lnTo>
                  <a:lnTo>
                    <a:pt x="7" y="659"/>
                  </a:lnTo>
                  <a:lnTo>
                    <a:pt x="14" y="701"/>
                  </a:lnTo>
                  <a:lnTo>
                    <a:pt x="25" y="741"/>
                  </a:lnTo>
                  <a:lnTo>
                    <a:pt x="37" y="780"/>
                  </a:lnTo>
                  <a:lnTo>
                    <a:pt x="52" y="818"/>
                  </a:lnTo>
                  <a:lnTo>
                    <a:pt x="69" y="855"/>
                  </a:lnTo>
                  <a:lnTo>
                    <a:pt x="89" y="890"/>
                  </a:lnTo>
                  <a:lnTo>
                    <a:pt x="111" y="924"/>
                  </a:lnTo>
                  <a:lnTo>
                    <a:pt x="135" y="955"/>
                  </a:lnTo>
                  <a:lnTo>
                    <a:pt x="161" y="984"/>
                  </a:lnTo>
                  <a:lnTo>
                    <a:pt x="188" y="1011"/>
                  </a:lnTo>
                  <a:lnTo>
                    <a:pt x="218" y="1036"/>
                  </a:lnTo>
                  <a:lnTo>
                    <a:pt x="249" y="1058"/>
                  </a:lnTo>
                  <a:lnTo>
                    <a:pt x="281" y="1078"/>
                  </a:lnTo>
                  <a:lnTo>
                    <a:pt x="314" y="1095"/>
                  </a:lnTo>
                  <a:lnTo>
                    <a:pt x="349" y="1108"/>
                  </a:lnTo>
                  <a:lnTo>
                    <a:pt x="384" y="1119"/>
                  </a:lnTo>
                  <a:lnTo>
                    <a:pt x="419" y="1126"/>
                  </a:lnTo>
                  <a:lnTo>
                    <a:pt x="455" y="1131"/>
                  </a:lnTo>
                  <a:lnTo>
                    <a:pt x="492" y="1133"/>
                  </a:lnTo>
                  <a:lnTo>
                    <a:pt x="492" y="566"/>
                  </a:lnTo>
                  <a:lnTo>
                    <a:pt x="492" y="494"/>
                  </a:lnTo>
                  <a:lnTo>
                    <a:pt x="468" y="484"/>
                  </a:lnTo>
                  <a:lnTo>
                    <a:pt x="447" y="470"/>
                  </a:lnTo>
                  <a:lnTo>
                    <a:pt x="426" y="456"/>
                  </a:lnTo>
                  <a:lnTo>
                    <a:pt x="408" y="438"/>
                  </a:lnTo>
                  <a:lnTo>
                    <a:pt x="391" y="418"/>
                  </a:lnTo>
                  <a:lnTo>
                    <a:pt x="375" y="397"/>
                  </a:lnTo>
                  <a:lnTo>
                    <a:pt x="362" y="374"/>
                  </a:lnTo>
                  <a:lnTo>
                    <a:pt x="351" y="349"/>
                  </a:lnTo>
                  <a:lnTo>
                    <a:pt x="342" y="324"/>
                  </a:lnTo>
                  <a:lnTo>
                    <a:pt x="336" y="298"/>
                  </a:lnTo>
                  <a:lnTo>
                    <a:pt x="332" y="271"/>
                  </a:lnTo>
                  <a:lnTo>
                    <a:pt x="331" y="243"/>
                  </a:lnTo>
                  <a:lnTo>
                    <a:pt x="332" y="215"/>
                  </a:lnTo>
                  <a:lnTo>
                    <a:pt x="336" y="188"/>
                  </a:lnTo>
                  <a:lnTo>
                    <a:pt x="343" y="161"/>
                  </a:lnTo>
                  <a:lnTo>
                    <a:pt x="352" y="135"/>
                  </a:lnTo>
                  <a:lnTo>
                    <a:pt x="363" y="110"/>
                  </a:lnTo>
                  <a:lnTo>
                    <a:pt x="377" y="86"/>
                  </a:lnTo>
                  <a:lnTo>
                    <a:pt x="393" y="65"/>
                  </a:lnTo>
                  <a:lnTo>
                    <a:pt x="412" y="45"/>
                  </a:lnTo>
                  <a:lnTo>
                    <a:pt x="431" y="28"/>
                  </a:lnTo>
                  <a:lnTo>
                    <a:pt x="452" y="12"/>
                  </a:lnTo>
                  <a:lnTo>
                    <a:pt x="475" y="0"/>
                  </a:lnTo>
                </a:path>
              </a:pathLst>
            </a:custGeom>
            <a:solidFill>
              <a:schemeClr val="accent5"/>
            </a:solidFill>
            <a:ln w="19050" cap="rnd">
              <a:solidFill>
                <a:schemeClr val="bg1"/>
              </a:solidFill>
              <a:round/>
              <a:headEnd/>
              <a:tailEnd/>
            </a:ln>
          </p:spPr>
          <p:txBody>
            <a:bodyPr lIns="0" tIns="0" rIns="0" bIns="0"/>
            <a:lstStyle/>
            <a:p>
              <a:pPr eaLnBrk="1" hangingPunct="1">
                <a:spcBef>
                  <a:spcPct val="20000"/>
                </a:spcBef>
              </a:pPr>
              <a:endParaRPr lang="en-GB" sz="1600" dirty="0">
                <a:cs typeface="Arial" pitchFamily="34" charset="0"/>
              </a:endParaRPr>
            </a:p>
          </p:txBody>
        </p:sp>
        <p:sp>
          <p:nvSpPr>
            <p:cNvPr id="19" name="Freeform 6"/>
            <p:cNvSpPr>
              <a:spLocks/>
            </p:cNvSpPr>
            <p:nvPr/>
          </p:nvSpPr>
          <p:spPr bwMode="gray">
            <a:xfrm>
              <a:off x="4138359" y="3811092"/>
              <a:ext cx="2520915" cy="1142886"/>
            </a:xfrm>
            <a:custGeom>
              <a:avLst/>
              <a:gdLst>
                <a:gd name="T0" fmla="*/ 45681 w 1136"/>
                <a:gd name="T1" fmla="*/ 616833 h 491"/>
                <a:gd name="T2" fmla="*/ 250042 w 1136"/>
                <a:gd name="T3" fmla="*/ 1466432 h 491"/>
                <a:gd name="T4" fmla="*/ 622701 w 1136"/>
                <a:gd name="T5" fmla="*/ 2264823 h 491"/>
                <a:gd name="T6" fmla="*/ 1158849 w 1136"/>
                <a:gd name="T7" fmla="*/ 3018988 h 491"/>
                <a:gd name="T8" fmla="*/ 1839252 w 1136"/>
                <a:gd name="T9" fmla="*/ 3719617 h 491"/>
                <a:gd name="T10" fmla="*/ 2649485 w 1136"/>
                <a:gd name="T11" fmla="*/ 4327139 h 491"/>
                <a:gd name="T12" fmla="*/ 3582335 w 1136"/>
                <a:gd name="T13" fmla="*/ 4843882 h 491"/>
                <a:gd name="T14" fmla="*/ 4589716 w 1136"/>
                <a:gd name="T15" fmla="*/ 5251225 h 491"/>
                <a:gd name="T16" fmla="*/ 5676438 w 1136"/>
                <a:gd name="T17" fmla="*/ 5546839 h 491"/>
                <a:gd name="T18" fmla="*/ 6808840 w 1136"/>
                <a:gd name="T19" fmla="*/ 5714431 h 491"/>
                <a:gd name="T20" fmla="*/ 7960477 w 1136"/>
                <a:gd name="T21" fmla="*/ 5763312 h 491"/>
                <a:gd name="T22" fmla="*/ 9121730 w 1136"/>
                <a:gd name="T23" fmla="*/ 5691154 h 491"/>
                <a:gd name="T24" fmla="*/ 10237304 w 1136"/>
                <a:gd name="T25" fmla="*/ 5483992 h 491"/>
                <a:gd name="T26" fmla="*/ 11316813 w 1136"/>
                <a:gd name="T27" fmla="*/ 5169756 h 491"/>
                <a:gd name="T28" fmla="*/ 12326598 w 1136"/>
                <a:gd name="T29" fmla="*/ 4727498 h 491"/>
                <a:gd name="T30" fmla="*/ 13211362 w 1136"/>
                <a:gd name="T31" fmla="*/ 4194462 h 491"/>
                <a:gd name="T32" fmla="*/ 14002361 w 1136"/>
                <a:gd name="T33" fmla="*/ 3561335 h 491"/>
                <a:gd name="T34" fmla="*/ 14649104 w 1136"/>
                <a:gd name="T35" fmla="*/ 2853724 h 491"/>
                <a:gd name="T36" fmla="*/ 15149189 w 1136"/>
                <a:gd name="T37" fmla="*/ 2092575 h 491"/>
                <a:gd name="T38" fmla="*/ 15495401 w 1136"/>
                <a:gd name="T39" fmla="*/ 1270908 h 491"/>
                <a:gd name="T40" fmla="*/ 15654081 w 1136"/>
                <a:gd name="T41" fmla="*/ 428291 h 491"/>
                <a:gd name="T42" fmla="*/ 7840264 w 1136"/>
                <a:gd name="T43" fmla="*/ 0 h 491"/>
                <a:gd name="T44" fmla="*/ 6686224 w 1136"/>
                <a:gd name="T45" fmla="*/ 253716 h 491"/>
                <a:gd name="T46" fmla="*/ 6294331 w 1136"/>
                <a:gd name="T47" fmla="*/ 726233 h 491"/>
                <a:gd name="T48" fmla="*/ 5748566 w 1136"/>
                <a:gd name="T49" fmla="*/ 1112626 h 491"/>
                <a:gd name="T50" fmla="*/ 5125865 w 1136"/>
                <a:gd name="T51" fmla="*/ 1396602 h 491"/>
                <a:gd name="T52" fmla="*/ 4414206 w 1136"/>
                <a:gd name="T53" fmla="*/ 1573505 h 491"/>
                <a:gd name="T54" fmla="*/ 3707356 w 1136"/>
                <a:gd name="T55" fmla="*/ 1622386 h 491"/>
                <a:gd name="T56" fmla="*/ 2899528 w 1136"/>
                <a:gd name="T57" fmla="*/ 1634025 h 491"/>
                <a:gd name="T58" fmla="*/ 2125358 w 1136"/>
                <a:gd name="T59" fmla="*/ 1510658 h 491"/>
                <a:gd name="T60" fmla="*/ 1396870 w 1136"/>
                <a:gd name="T61" fmla="*/ 1270908 h 491"/>
                <a:gd name="T62" fmla="*/ 747722 w 1136"/>
                <a:gd name="T63" fmla="*/ 900808 h 491"/>
                <a:gd name="T64" fmla="*/ 223595 w 1136"/>
                <a:gd name="T65" fmla="*/ 453896 h 4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6"/>
                <a:gd name="T100" fmla="*/ 0 h 491"/>
                <a:gd name="T101" fmla="*/ 1136 w 1136"/>
                <a:gd name="T102" fmla="*/ 491 h 4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6" h="491">
                  <a:moveTo>
                    <a:pt x="0" y="17"/>
                  </a:moveTo>
                  <a:lnTo>
                    <a:pt x="3" y="53"/>
                  </a:lnTo>
                  <a:lnTo>
                    <a:pt x="9" y="89"/>
                  </a:lnTo>
                  <a:lnTo>
                    <a:pt x="18" y="125"/>
                  </a:lnTo>
                  <a:lnTo>
                    <a:pt x="31" y="159"/>
                  </a:lnTo>
                  <a:lnTo>
                    <a:pt x="45" y="193"/>
                  </a:lnTo>
                  <a:lnTo>
                    <a:pt x="63" y="226"/>
                  </a:lnTo>
                  <a:lnTo>
                    <a:pt x="84" y="257"/>
                  </a:lnTo>
                  <a:lnTo>
                    <a:pt x="108" y="287"/>
                  </a:lnTo>
                  <a:lnTo>
                    <a:pt x="133" y="316"/>
                  </a:lnTo>
                  <a:lnTo>
                    <a:pt x="161" y="343"/>
                  </a:lnTo>
                  <a:lnTo>
                    <a:pt x="192" y="368"/>
                  </a:lnTo>
                  <a:lnTo>
                    <a:pt x="224" y="391"/>
                  </a:lnTo>
                  <a:lnTo>
                    <a:pt x="259" y="412"/>
                  </a:lnTo>
                  <a:lnTo>
                    <a:pt x="295" y="430"/>
                  </a:lnTo>
                  <a:lnTo>
                    <a:pt x="332" y="447"/>
                  </a:lnTo>
                  <a:lnTo>
                    <a:pt x="371" y="460"/>
                  </a:lnTo>
                  <a:lnTo>
                    <a:pt x="411" y="472"/>
                  </a:lnTo>
                  <a:lnTo>
                    <a:pt x="452" y="480"/>
                  </a:lnTo>
                  <a:lnTo>
                    <a:pt x="493" y="486"/>
                  </a:lnTo>
                  <a:lnTo>
                    <a:pt x="534" y="489"/>
                  </a:lnTo>
                  <a:lnTo>
                    <a:pt x="576" y="490"/>
                  </a:lnTo>
                  <a:lnTo>
                    <a:pt x="618" y="489"/>
                  </a:lnTo>
                  <a:lnTo>
                    <a:pt x="660" y="484"/>
                  </a:lnTo>
                  <a:lnTo>
                    <a:pt x="701" y="476"/>
                  </a:lnTo>
                  <a:lnTo>
                    <a:pt x="741" y="467"/>
                  </a:lnTo>
                  <a:lnTo>
                    <a:pt x="781" y="454"/>
                  </a:lnTo>
                  <a:lnTo>
                    <a:pt x="819" y="440"/>
                  </a:lnTo>
                  <a:lnTo>
                    <a:pt x="856" y="422"/>
                  </a:lnTo>
                  <a:lnTo>
                    <a:pt x="892" y="402"/>
                  </a:lnTo>
                  <a:lnTo>
                    <a:pt x="925" y="381"/>
                  </a:lnTo>
                  <a:lnTo>
                    <a:pt x="956" y="357"/>
                  </a:lnTo>
                  <a:lnTo>
                    <a:pt x="986" y="331"/>
                  </a:lnTo>
                  <a:lnTo>
                    <a:pt x="1013" y="303"/>
                  </a:lnTo>
                  <a:lnTo>
                    <a:pt x="1038" y="274"/>
                  </a:lnTo>
                  <a:lnTo>
                    <a:pt x="1060" y="243"/>
                  </a:lnTo>
                  <a:lnTo>
                    <a:pt x="1079" y="211"/>
                  </a:lnTo>
                  <a:lnTo>
                    <a:pt x="1096" y="178"/>
                  </a:lnTo>
                  <a:lnTo>
                    <a:pt x="1110" y="143"/>
                  </a:lnTo>
                  <a:lnTo>
                    <a:pt x="1121" y="108"/>
                  </a:lnTo>
                  <a:lnTo>
                    <a:pt x="1128" y="73"/>
                  </a:lnTo>
                  <a:lnTo>
                    <a:pt x="1133" y="37"/>
                  </a:lnTo>
                  <a:lnTo>
                    <a:pt x="1135" y="0"/>
                  </a:lnTo>
                  <a:lnTo>
                    <a:pt x="567" y="0"/>
                  </a:lnTo>
                  <a:lnTo>
                    <a:pt x="495" y="0"/>
                  </a:lnTo>
                  <a:lnTo>
                    <a:pt x="484" y="22"/>
                  </a:lnTo>
                  <a:lnTo>
                    <a:pt x="470" y="43"/>
                  </a:lnTo>
                  <a:lnTo>
                    <a:pt x="455" y="62"/>
                  </a:lnTo>
                  <a:lnTo>
                    <a:pt x="436" y="80"/>
                  </a:lnTo>
                  <a:lnTo>
                    <a:pt x="416" y="95"/>
                  </a:lnTo>
                  <a:lnTo>
                    <a:pt x="394" y="108"/>
                  </a:lnTo>
                  <a:lnTo>
                    <a:pt x="371" y="119"/>
                  </a:lnTo>
                  <a:lnTo>
                    <a:pt x="346" y="128"/>
                  </a:lnTo>
                  <a:lnTo>
                    <a:pt x="320" y="134"/>
                  </a:lnTo>
                  <a:lnTo>
                    <a:pt x="295" y="137"/>
                  </a:lnTo>
                  <a:lnTo>
                    <a:pt x="268" y="138"/>
                  </a:lnTo>
                  <a:lnTo>
                    <a:pt x="238" y="140"/>
                  </a:lnTo>
                  <a:lnTo>
                    <a:pt x="210" y="139"/>
                  </a:lnTo>
                  <a:lnTo>
                    <a:pt x="181" y="136"/>
                  </a:lnTo>
                  <a:lnTo>
                    <a:pt x="154" y="129"/>
                  </a:lnTo>
                  <a:lnTo>
                    <a:pt x="126" y="119"/>
                  </a:lnTo>
                  <a:lnTo>
                    <a:pt x="101" y="108"/>
                  </a:lnTo>
                  <a:lnTo>
                    <a:pt x="76" y="94"/>
                  </a:lnTo>
                  <a:lnTo>
                    <a:pt x="54" y="77"/>
                  </a:lnTo>
                  <a:lnTo>
                    <a:pt x="34" y="60"/>
                  </a:lnTo>
                  <a:lnTo>
                    <a:pt x="16" y="39"/>
                  </a:lnTo>
                  <a:lnTo>
                    <a:pt x="0" y="17"/>
                  </a:lnTo>
                </a:path>
              </a:pathLst>
            </a:custGeom>
            <a:solidFill>
              <a:schemeClr val="accent4"/>
            </a:solidFill>
            <a:ln w="19050" cap="rnd">
              <a:solidFill>
                <a:schemeClr val="bg1"/>
              </a:solidFill>
              <a:round/>
              <a:headEnd/>
              <a:tailEnd/>
            </a:ln>
          </p:spPr>
          <p:txBody>
            <a:bodyPr lIns="0" tIns="0" rIns="0" bIns="0"/>
            <a:lstStyle/>
            <a:p>
              <a:pPr eaLnBrk="1" hangingPunct="1">
                <a:spcBef>
                  <a:spcPct val="20000"/>
                </a:spcBef>
              </a:pPr>
              <a:endParaRPr lang="en-GB" sz="1600" dirty="0">
                <a:cs typeface="Arial" pitchFamily="34" charset="0"/>
              </a:endParaRPr>
            </a:p>
          </p:txBody>
        </p:sp>
        <p:sp>
          <p:nvSpPr>
            <p:cNvPr id="20" name="Freeform 7"/>
            <p:cNvSpPr>
              <a:spLocks/>
            </p:cNvSpPr>
            <p:nvPr/>
          </p:nvSpPr>
          <p:spPr bwMode="gray">
            <a:xfrm>
              <a:off x="4503813" y="1584329"/>
              <a:ext cx="1100661" cy="2646028"/>
            </a:xfrm>
            <a:custGeom>
              <a:avLst/>
              <a:gdLst>
                <a:gd name="T0" fmla="*/ 778963 w 496"/>
                <a:gd name="T1" fmla="*/ 13318572 h 1137"/>
                <a:gd name="T2" fmla="*/ 1743051 w 496"/>
                <a:gd name="T3" fmla="*/ 13134724 h 1137"/>
                <a:gd name="T4" fmla="*/ 2668671 w 496"/>
                <a:gd name="T5" fmla="*/ 12832188 h 1137"/>
                <a:gd name="T6" fmla="*/ 3531781 w 496"/>
                <a:gd name="T7" fmla="*/ 12380711 h 1137"/>
                <a:gd name="T8" fmla="*/ 4358829 w 496"/>
                <a:gd name="T9" fmla="*/ 11840800 h 1137"/>
                <a:gd name="T10" fmla="*/ 5058454 w 496"/>
                <a:gd name="T11" fmla="*/ 11163585 h 1137"/>
                <a:gd name="T12" fmla="*/ 5676335 w 496"/>
                <a:gd name="T13" fmla="*/ 10411899 h 1137"/>
                <a:gd name="T14" fmla="*/ 6169198 w 496"/>
                <a:gd name="T15" fmla="*/ 9581089 h 1137"/>
                <a:gd name="T16" fmla="*/ 6525020 w 496"/>
                <a:gd name="T17" fmla="*/ 8687441 h 1137"/>
                <a:gd name="T18" fmla="*/ 6748612 w 496"/>
                <a:gd name="T19" fmla="*/ 7747252 h 1137"/>
                <a:gd name="T20" fmla="*/ 6835163 w 496"/>
                <a:gd name="T21" fmla="*/ 6783791 h 1137"/>
                <a:gd name="T22" fmla="*/ 6782270 w 496"/>
                <a:gd name="T23" fmla="*/ 5824985 h 1137"/>
                <a:gd name="T24" fmla="*/ 6577913 w 496"/>
                <a:gd name="T25" fmla="*/ 4882469 h 1137"/>
                <a:gd name="T26" fmla="*/ 6246132 w 496"/>
                <a:gd name="T27" fmla="*/ 3974859 h 1137"/>
                <a:gd name="T28" fmla="*/ 5774908 w 496"/>
                <a:gd name="T29" fmla="*/ 3125431 h 1137"/>
                <a:gd name="T30" fmla="*/ 5193090 w 496"/>
                <a:gd name="T31" fmla="*/ 2350473 h 1137"/>
                <a:gd name="T32" fmla="*/ 4512698 w 496"/>
                <a:gd name="T33" fmla="*/ 1666276 h 1137"/>
                <a:gd name="T34" fmla="*/ 3728926 w 496"/>
                <a:gd name="T35" fmla="*/ 1082148 h 1137"/>
                <a:gd name="T36" fmla="*/ 2865816 w 496"/>
                <a:gd name="T37" fmla="*/ 609727 h 1137"/>
                <a:gd name="T38" fmla="*/ 1947408 w 496"/>
                <a:gd name="T39" fmla="*/ 281591 h 1137"/>
                <a:gd name="T40" fmla="*/ 978513 w 496"/>
                <a:gd name="T41" fmla="*/ 76798 h 1137"/>
                <a:gd name="T42" fmla="*/ 0 w 496"/>
                <a:gd name="T43" fmla="*/ 0 h 1137"/>
                <a:gd name="T44" fmla="*/ 346206 w 496"/>
                <a:gd name="T45" fmla="*/ 7181743 h 1137"/>
                <a:gd name="T46" fmla="*/ 964087 w 496"/>
                <a:gd name="T47" fmla="*/ 7693727 h 1137"/>
                <a:gd name="T48" fmla="*/ 1493013 w 496"/>
                <a:gd name="T49" fmla="*/ 8289490 h 1137"/>
                <a:gd name="T50" fmla="*/ 1892112 w 496"/>
                <a:gd name="T51" fmla="*/ 8973687 h 1137"/>
                <a:gd name="T52" fmla="*/ 2163787 w 496"/>
                <a:gd name="T53" fmla="*/ 9723048 h 1137"/>
                <a:gd name="T54" fmla="*/ 2267168 w 496"/>
                <a:gd name="T55" fmla="*/ 10495678 h 1137"/>
                <a:gd name="T56" fmla="*/ 2197446 w 496"/>
                <a:gd name="T57" fmla="*/ 11140313 h 1137"/>
                <a:gd name="T58" fmla="*/ 1988280 w 496"/>
                <a:gd name="T59" fmla="*/ 11768657 h 1137"/>
                <a:gd name="T60" fmla="*/ 1642074 w 496"/>
                <a:gd name="T61" fmla="*/ 12329512 h 1137"/>
                <a:gd name="T62" fmla="*/ 1158828 w 496"/>
                <a:gd name="T63" fmla="*/ 12806588 h 1137"/>
                <a:gd name="T64" fmla="*/ 598648 w 496"/>
                <a:gd name="T65" fmla="*/ 13197558 h 11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1137"/>
                <a:gd name="T101" fmla="*/ 496 w 496"/>
                <a:gd name="T102" fmla="*/ 1137 h 11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1137">
                  <a:moveTo>
                    <a:pt x="20" y="1136"/>
                  </a:moveTo>
                  <a:lnTo>
                    <a:pt x="56" y="1134"/>
                  </a:lnTo>
                  <a:lnTo>
                    <a:pt x="91" y="1128"/>
                  </a:lnTo>
                  <a:lnTo>
                    <a:pt x="126" y="1119"/>
                  </a:lnTo>
                  <a:lnTo>
                    <a:pt x="160" y="1107"/>
                  </a:lnTo>
                  <a:lnTo>
                    <a:pt x="193" y="1093"/>
                  </a:lnTo>
                  <a:lnTo>
                    <a:pt x="225" y="1076"/>
                  </a:lnTo>
                  <a:lnTo>
                    <a:pt x="256" y="1055"/>
                  </a:lnTo>
                  <a:lnTo>
                    <a:pt x="287" y="1033"/>
                  </a:lnTo>
                  <a:lnTo>
                    <a:pt x="315" y="1008"/>
                  </a:lnTo>
                  <a:lnTo>
                    <a:pt x="341" y="981"/>
                  </a:lnTo>
                  <a:lnTo>
                    <a:pt x="366" y="951"/>
                  </a:lnTo>
                  <a:lnTo>
                    <a:pt x="390" y="920"/>
                  </a:lnTo>
                  <a:lnTo>
                    <a:pt x="411" y="887"/>
                  </a:lnTo>
                  <a:lnTo>
                    <a:pt x="429" y="852"/>
                  </a:lnTo>
                  <a:lnTo>
                    <a:pt x="446" y="816"/>
                  </a:lnTo>
                  <a:lnTo>
                    <a:pt x="460" y="779"/>
                  </a:lnTo>
                  <a:lnTo>
                    <a:pt x="472" y="740"/>
                  </a:lnTo>
                  <a:lnTo>
                    <a:pt x="481" y="700"/>
                  </a:lnTo>
                  <a:lnTo>
                    <a:pt x="488" y="660"/>
                  </a:lnTo>
                  <a:lnTo>
                    <a:pt x="492" y="619"/>
                  </a:lnTo>
                  <a:lnTo>
                    <a:pt x="495" y="578"/>
                  </a:lnTo>
                  <a:lnTo>
                    <a:pt x="494" y="537"/>
                  </a:lnTo>
                  <a:lnTo>
                    <a:pt x="491" y="496"/>
                  </a:lnTo>
                  <a:lnTo>
                    <a:pt x="485" y="456"/>
                  </a:lnTo>
                  <a:lnTo>
                    <a:pt x="476" y="416"/>
                  </a:lnTo>
                  <a:lnTo>
                    <a:pt x="465" y="377"/>
                  </a:lnTo>
                  <a:lnTo>
                    <a:pt x="452" y="339"/>
                  </a:lnTo>
                  <a:lnTo>
                    <a:pt x="436" y="302"/>
                  </a:lnTo>
                  <a:lnTo>
                    <a:pt x="418" y="266"/>
                  </a:lnTo>
                  <a:lnTo>
                    <a:pt x="399" y="232"/>
                  </a:lnTo>
                  <a:lnTo>
                    <a:pt x="376" y="200"/>
                  </a:lnTo>
                  <a:lnTo>
                    <a:pt x="352" y="170"/>
                  </a:lnTo>
                  <a:lnTo>
                    <a:pt x="327" y="142"/>
                  </a:lnTo>
                  <a:lnTo>
                    <a:pt x="299" y="115"/>
                  </a:lnTo>
                  <a:lnTo>
                    <a:pt x="270" y="92"/>
                  </a:lnTo>
                  <a:lnTo>
                    <a:pt x="239" y="71"/>
                  </a:lnTo>
                  <a:lnTo>
                    <a:pt x="207" y="52"/>
                  </a:lnTo>
                  <a:lnTo>
                    <a:pt x="175" y="37"/>
                  </a:lnTo>
                  <a:lnTo>
                    <a:pt x="141" y="24"/>
                  </a:lnTo>
                  <a:lnTo>
                    <a:pt x="106" y="14"/>
                  </a:lnTo>
                  <a:lnTo>
                    <a:pt x="71" y="7"/>
                  </a:lnTo>
                  <a:lnTo>
                    <a:pt x="36" y="2"/>
                  </a:lnTo>
                  <a:lnTo>
                    <a:pt x="0" y="0"/>
                  </a:lnTo>
                  <a:lnTo>
                    <a:pt x="0" y="594"/>
                  </a:lnTo>
                  <a:lnTo>
                    <a:pt x="25" y="612"/>
                  </a:lnTo>
                  <a:lnTo>
                    <a:pt x="49" y="632"/>
                  </a:lnTo>
                  <a:lnTo>
                    <a:pt x="70" y="655"/>
                  </a:lnTo>
                  <a:lnTo>
                    <a:pt x="91" y="680"/>
                  </a:lnTo>
                  <a:lnTo>
                    <a:pt x="108" y="706"/>
                  </a:lnTo>
                  <a:lnTo>
                    <a:pt x="124" y="735"/>
                  </a:lnTo>
                  <a:lnTo>
                    <a:pt x="137" y="765"/>
                  </a:lnTo>
                  <a:lnTo>
                    <a:pt x="148" y="796"/>
                  </a:lnTo>
                  <a:lnTo>
                    <a:pt x="156" y="828"/>
                  </a:lnTo>
                  <a:lnTo>
                    <a:pt x="161" y="860"/>
                  </a:lnTo>
                  <a:lnTo>
                    <a:pt x="164" y="894"/>
                  </a:lnTo>
                  <a:lnTo>
                    <a:pt x="164" y="921"/>
                  </a:lnTo>
                  <a:lnTo>
                    <a:pt x="159" y="949"/>
                  </a:lnTo>
                  <a:lnTo>
                    <a:pt x="153" y="976"/>
                  </a:lnTo>
                  <a:lnTo>
                    <a:pt x="144" y="1002"/>
                  </a:lnTo>
                  <a:lnTo>
                    <a:pt x="132" y="1027"/>
                  </a:lnTo>
                  <a:lnTo>
                    <a:pt x="119" y="1050"/>
                  </a:lnTo>
                  <a:lnTo>
                    <a:pt x="102" y="1072"/>
                  </a:lnTo>
                  <a:lnTo>
                    <a:pt x="84" y="1091"/>
                  </a:lnTo>
                  <a:lnTo>
                    <a:pt x="65" y="1109"/>
                  </a:lnTo>
                  <a:lnTo>
                    <a:pt x="43" y="1124"/>
                  </a:lnTo>
                  <a:lnTo>
                    <a:pt x="20" y="1136"/>
                  </a:lnTo>
                </a:path>
              </a:pathLst>
            </a:custGeom>
            <a:solidFill>
              <a:schemeClr val="accent1"/>
            </a:solidFill>
            <a:ln w="19050" cap="rnd">
              <a:solidFill>
                <a:schemeClr val="bg1"/>
              </a:solidFill>
              <a:round/>
              <a:headEnd/>
              <a:tailEnd/>
            </a:ln>
          </p:spPr>
          <p:txBody>
            <a:bodyPr lIns="0" tIns="0" rIns="0" bIns="0"/>
            <a:lstStyle/>
            <a:p>
              <a:pPr eaLnBrk="1" hangingPunct="1">
                <a:spcBef>
                  <a:spcPct val="20000"/>
                </a:spcBef>
              </a:pPr>
              <a:endParaRPr lang="en-GB" sz="1600" dirty="0">
                <a:cs typeface="Arial" pitchFamily="34" charset="0"/>
              </a:endParaRPr>
            </a:p>
          </p:txBody>
        </p:sp>
        <p:sp>
          <p:nvSpPr>
            <p:cNvPr id="21" name="Oval 8"/>
            <p:cNvSpPr>
              <a:spLocks noChangeArrowheads="1"/>
            </p:cNvSpPr>
            <p:nvPr/>
          </p:nvSpPr>
          <p:spPr bwMode="gray">
            <a:xfrm>
              <a:off x="4139031" y="3413129"/>
              <a:ext cx="832104" cy="828675"/>
            </a:xfrm>
            <a:prstGeom prst="ellipse">
              <a:avLst/>
            </a:prstGeom>
            <a:solidFill>
              <a:schemeClr val="bg1"/>
            </a:solidFill>
            <a:ln w="9525">
              <a:solidFill>
                <a:schemeClr val="bg1"/>
              </a:solidFill>
              <a:round/>
              <a:headEnd/>
              <a:tailEnd/>
            </a:ln>
          </p:spPr>
          <p:txBody>
            <a:bodyPr wrap="none" lIns="0" tIns="0" rIns="0" bIns="0" anchor="ctr"/>
            <a:lstStyle/>
            <a:p>
              <a:pPr eaLnBrk="1" hangingPunct="1">
                <a:spcBef>
                  <a:spcPct val="20000"/>
                </a:spcBef>
              </a:pPr>
              <a:endParaRPr lang="en-GB" sz="1600" dirty="0">
                <a:cs typeface="Arial" pitchFamily="34" charset="0"/>
              </a:endParaRPr>
            </a:p>
          </p:txBody>
        </p:sp>
        <p:sp>
          <p:nvSpPr>
            <p:cNvPr id="22" name="Rectangle 9"/>
            <p:cNvSpPr>
              <a:spLocks noChangeArrowheads="1"/>
            </p:cNvSpPr>
            <p:nvPr/>
          </p:nvSpPr>
          <p:spPr bwMode="gray">
            <a:xfrm rot="5400000">
              <a:off x="4431481" y="2792288"/>
              <a:ext cx="1233487" cy="230112"/>
            </a:xfrm>
            <a:prstGeom prst="rect">
              <a:avLst/>
            </a:prstGeom>
            <a:noFill/>
            <a:ln w="9525">
              <a:noFill/>
              <a:miter lim="800000"/>
              <a:headEnd/>
              <a:tailEnd/>
            </a:ln>
          </p:spPr>
          <p:txBody>
            <a:bodyPr lIns="0" tIns="0" rIns="0" bIns="0" anchor="ctr" anchorCtr="0">
              <a:spAutoFit/>
            </a:bodyPr>
            <a:lstStyle/>
            <a:p>
              <a:pPr algn="ctr" defTabSz="787400">
                <a:lnSpc>
                  <a:spcPct val="95000"/>
                </a:lnSpc>
                <a:spcBef>
                  <a:spcPct val="80000"/>
                </a:spcBef>
                <a:buClr>
                  <a:schemeClr val="tx2"/>
                </a:buClr>
              </a:pPr>
              <a:r>
                <a:rPr lang="en-GB" sz="1400" dirty="0">
                  <a:cs typeface="Arial" pitchFamily="34" charset="0"/>
                </a:rPr>
                <a:t>Text</a:t>
              </a:r>
            </a:p>
          </p:txBody>
        </p:sp>
        <p:sp>
          <p:nvSpPr>
            <p:cNvPr id="23" name="Rectangle 10"/>
            <p:cNvSpPr>
              <a:spLocks noChangeArrowheads="1"/>
            </p:cNvSpPr>
            <p:nvPr/>
          </p:nvSpPr>
          <p:spPr bwMode="gray">
            <a:xfrm>
              <a:off x="4811249" y="4260834"/>
              <a:ext cx="1175136" cy="230112"/>
            </a:xfrm>
            <a:prstGeom prst="rect">
              <a:avLst/>
            </a:prstGeom>
            <a:noFill/>
            <a:ln w="9525">
              <a:noFill/>
              <a:miter lim="800000"/>
              <a:headEnd/>
              <a:tailEnd/>
            </a:ln>
          </p:spPr>
          <p:txBody>
            <a:bodyPr lIns="0" tIns="0" rIns="0" bIns="0" anchor="ctr" anchorCtr="0">
              <a:spAutoFit/>
            </a:bodyPr>
            <a:lstStyle/>
            <a:p>
              <a:pPr algn="ctr" defTabSz="787400">
                <a:lnSpc>
                  <a:spcPct val="95000"/>
                </a:lnSpc>
                <a:spcBef>
                  <a:spcPct val="80000"/>
                </a:spcBef>
                <a:buClr>
                  <a:schemeClr val="tx2"/>
                </a:buClr>
              </a:pPr>
              <a:r>
                <a:rPr lang="en-GB" sz="1400" dirty="0">
                  <a:cs typeface="Arial" pitchFamily="34" charset="0"/>
                </a:rPr>
                <a:t>Text</a:t>
              </a:r>
            </a:p>
          </p:txBody>
        </p:sp>
        <p:sp>
          <p:nvSpPr>
            <p:cNvPr id="24" name="Rectangle 11"/>
            <p:cNvSpPr>
              <a:spLocks noChangeArrowheads="1"/>
            </p:cNvSpPr>
            <p:nvPr/>
          </p:nvSpPr>
          <p:spPr bwMode="gray">
            <a:xfrm rot="16200000" flipH="1">
              <a:off x="3471188" y="4630066"/>
              <a:ext cx="1228725" cy="230112"/>
            </a:xfrm>
            <a:prstGeom prst="rect">
              <a:avLst/>
            </a:prstGeom>
            <a:noFill/>
            <a:ln w="9525">
              <a:noFill/>
              <a:miter lim="800000"/>
              <a:headEnd/>
              <a:tailEnd/>
            </a:ln>
          </p:spPr>
          <p:txBody>
            <a:bodyPr lIns="0" tIns="0" rIns="0" bIns="0" anchor="ctr" anchorCtr="0">
              <a:spAutoFit/>
            </a:bodyPr>
            <a:lstStyle/>
            <a:p>
              <a:pPr algn="ctr" defTabSz="787400">
                <a:lnSpc>
                  <a:spcPct val="95000"/>
                </a:lnSpc>
                <a:spcBef>
                  <a:spcPct val="80000"/>
                </a:spcBef>
                <a:buClr>
                  <a:schemeClr val="tx2"/>
                </a:buClr>
              </a:pPr>
              <a:r>
                <a:rPr lang="en-GB" sz="1400" dirty="0">
                  <a:cs typeface="Arial" pitchFamily="34" charset="0"/>
                </a:rPr>
                <a:t>Text</a:t>
              </a:r>
            </a:p>
          </p:txBody>
        </p:sp>
        <p:sp>
          <p:nvSpPr>
            <p:cNvPr id="25" name="Rectangle 12"/>
            <p:cNvSpPr>
              <a:spLocks noChangeArrowheads="1"/>
            </p:cNvSpPr>
            <p:nvPr/>
          </p:nvSpPr>
          <p:spPr bwMode="gray">
            <a:xfrm>
              <a:off x="3147392" y="3189271"/>
              <a:ext cx="1172205" cy="230112"/>
            </a:xfrm>
            <a:prstGeom prst="rect">
              <a:avLst/>
            </a:prstGeom>
            <a:noFill/>
            <a:ln w="9525">
              <a:noFill/>
              <a:miter lim="800000"/>
              <a:headEnd/>
              <a:tailEnd/>
            </a:ln>
          </p:spPr>
          <p:txBody>
            <a:bodyPr lIns="0" tIns="0" rIns="0" bIns="0" anchor="ctr" anchorCtr="0">
              <a:spAutoFit/>
            </a:bodyPr>
            <a:lstStyle/>
            <a:p>
              <a:pPr algn="ctr" defTabSz="787400">
                <a:lnSpc>
                  <a:spcPct val="95000"/>
                </a:lnSpc>
                <a:spcBef>
                  <a:spcPct val="80000"/>
                </a:spcBef>
                <a:buClr>
                  <a:schemeClr val="tx2"/>
                </a:buClr>
              </a:pPr>
              <a:r>
                <a:rPr lang="en-GB" sz="1400" dirty="0">
                  <a:cs typeface="Arial" pitchFamily="34" charset="0"/>
                </a:rPr>
                <a:t>Text</a:t>
              </a:r>
            </a:p>
          </p:txBody>
        </p:sp>
      </p:grpSp>
      <p:sp>
        <p:nvSpPr>
          <p:cNvPr id="81" name="Text Placeholder 7"/>
          <p:cNvSpPr txBox="1">
            <a:spLocks/>
          </p:cNvSpPr>
          <p:nvPr/>
        </p:nvSpPr>
        <p:spPr>
          <a:xfrm>
            <a:off x="6279917" y="1665289"/>
            <a:ext cx="4011847" cy="420687"/>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300" dirty="0"/>
              <a:t>Chart title runs here</a:t>
            </a:r>
          </a:p>
        </p:txBody>
      </p:sp>
    </p:spTree>
    <p:extLst>
      <p:ext uri="{BB962C8B-B14F-4D97-AF65-F5344CB8AC3E}">
        <p14:creationId xmlns:p14="http://schemas.microsoft.com/office/powerpoint/2010/main" val="727679155"/>
      </p:ext>
    </p:extLst>
  </p:cSld>
  <p:clrMapOvr>
    <a:masterClrMapping/>
  </p:clrMapOvr>
  <p:transition>
    <p:fade/>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izes in</a:t>
            </a:r>
            <a:endParaRPr lang="en-US" dirty="0"/>
          </a:p>
        </p:txBody>
      </p:sp>
      <p:sp>
        <p:nvSpPr>
          <p:cNvPr id="680961" name="Title 1"/>
          <p:cNvSpPr>
            <a:spLocks noGrp="1"/>
          </p:cNvSpPr>
          <p:nvPr>
            <p:ph type="title"/>
          </p:nvPr>
        </p:nvSpPr>
        <p:spPr/>
        <p:txBody>
          <a:bodyPr/>
          <a:lstStyle/>
          <a:p>
            <a:r>
              <a:rPr lang="en-US"/>
              <a:t>Spheres</a:t>
            </a:r>
            <a:endParaRPr lang="en-US" dirty="0"/>
          </a:p>
        </p:txBody>
      </p:sp>
      <p:grpSp>
        <p:nvGrpSpPr>
          <p:cNvPr id="8" name="Group 7"/>
          <p:cNvGrpSpPr/>
          <p:nvPr/>
        </p:nvGrpSpPr>
        <p:grpSpPr>
          <a:xfrm>
            <a:off x="4047552" y="2092307"/>
            <a:ext cx="4096899" cy="3968463"/>
            <a:chOff x="2331062" y="1623053"/>
            <a:chExt cx="4456114" cy="4316414"/>
          </a:xfrm>
        </p:grpSpPr>
        <p:sp>
          <p:nvSpPr>
            <p:cNvPr id="4" name="Oval 2"/>
            <p:cNvSpPr>
              <a:spLocks noChangeArrowheads="1"/>
            </p:cNvSpPr>
            <p:nvPr/>
          </p:nvSpPr>
          <p:spPr bwMode="auto">
            <a:xfrm>
              <a:off x="2331062" y="1623053"/>
              <a:ext cx="4456114" cy="4316412"/>
            </a:xfrm>
            <a:prstGeom prst="ellipse">
              <a:avLst/>
            </a:prstGeom>
            <a:solidFill>
              <a:schemeClr val="accent6">
                <a:lumMod val="40000"/>
                <a:lumOff val="60000"/>
              </a:schemeClr>
            </a:solidFill>
            <a:ln w="12700">
              <a:noFill/>
              <a:round/>
              <a:headEnd/>
              <a:tailEnd/>
            </a:ln>
          </p:spPr>
          <p:txBody>
            <a:bodyPr wrap="none" lIns="91440" tIns="91440" rIns="91440" bIns="3744000" anchor="t"/>
            <a:lstStyle/>
            <a:p>
              <a:pPr algn="ctr">
                <a:defRPr/>
              </a:pPr>
              <a:r>
                <a:rPr lang="en-US" sz="1400" dirty="0"/>
                <a:t>Text</a:t>
              </a:r>
            </a:p>
          </p:txBody>
        </p:sp>
        <p:sp>
          <p:nvSpPr>
            <p:cNvPr id="5" name="Oval 3"/>
            <p:cNvSpPr>
              <a:spLocks noChangeArrowheads="1"/>
            </p:cNvSpPr>
            <p:nvPr/>
          </p:nvSpPr>
          <p:spPr bwMode="auto">
            <a:xfrm>
              <a:off x="2749368" y="2346952"/>
              <a:ext cx="3619501" cy="3592513"/>
            </a:xfrm>
            <a:prstGeom prst="ellipse">
              <a:avLst/>
            </a:prstGeom>
            <a:solidFill>
              <a:schemeClr val="accent6">
                <a:lumMod val="60000"/>
                <a:lumOff val="40000"/>
              </a:schemeClr>
            </a:solidFill>
            <a:ln w="12700">
              <a:noFill/>
              <a:round/>
              <a:headEnd/>
              <a:tailEnd/>
            </a:ln>
          </p:spPr>
          <p:txBody>
            <a:bodyPr wrap="none" lIns="91440" tIns="91440" rIns="91440" bIns="3168000" anchor="t"/>
            <a:lstStyle/>
            <a:p>
              <a:pPr algn="ctr">
                <a:defRPr/>
              </a:pPr>
              <a:r>
                <a:rPr lang="en-US" sz="1400" dirty="0"/>
                <a:t>Text</a:t>
              </a:r>
            </a:p>
          </p:txBody>
        </p:sp>
        <p:sp>
          <p:nvSpPr>
            <p:cNvPr id="6" name="Oval 4"/>
            <p:cNvSpPr>
              <a:spLocks noChangeArrowheads="1"/>
            </p:cNvSpPr>
            <p:nvPr/>
          </p:nvSpPr>
          <p:spPr bwMode="auto">
            <a:xfrm>
              <a:off x="3025593" y="2950204"/>
              <a:ext cx="3067051" cy="2989262"/>
            </a:xfrm>
            <a:prstGeom prst="ellipse">
              <a:avLst/>
            </a:prstGeom>
            <a:solidFill>
              <a:schemeClr val="accent6"/>
            </a:solidFill>
            <a:ln w="12700">
              <a:noFill/>
              <a:round/>
              <a:headEnd/>
              <a:tailEnd/>
            </a:ln>
          </p:spPr>
          <p:txBody>
            <a:bodyPr wrap="none" lIns="91440" tIns="91440" rIns="91440" bIns="2520000" anchor="t"/>
            <a:lstStyle/>
            <a:p>
              <a:pPr algn="ctr">
                <a:defRPr/>
              </a:pPr>
              <a:r>
                <a:rPr lang="en-US" sz="1400" dirty="0">
                  <a:solidFill>
                    <a:schemeClr val="bg1"/>
                  </a:solidFill>
                </a:rPr>
                <a:t>Text</a:t>
              </a:r>
            </a:p>
          </p:txBody>
        </p:sp>
        <p:sp>
          <p:nvSpPr>
            <p:cNvPr id="7" name="Oval 5"/>
            <p:cNvSpPr>
              <a:spLocks noChangeArrowheads="1"/>
            </p:cNvSpPr>
            <p:nvPr/>
          </p:nvSpPr>
          <p:spPr bwMode="auto">
            <a:xfrm>
              <a:off x="3349443" y="3578854"/>
              <a:ext cx="2419351" cy="2360613"/>
            </a:xfrm>
            <a:prstGeom prst="ellipse">
              <a:avLst/>
            </a:prstGeom>
            <a:solidFill>
              <a:schemeClr val="accent6">
                <a:lumMod val="75000"/>
              </a:schemeClr>
            </a:solidFill>
            <a:ln w="12700">
              <a:noFill/>
              <a:round/>
              <a:headEnd/>
              <a:tailEnd/>
            </a:ln>
          </p:spPr>
          <p:txBody>
            <a:bodyPr wrap="none" lIns="91440" tIns="91440" rIns="91440" bIns="1908000" anchor="t"/>
            <a:lstStyle/>
            <a:p>
              <a:pPr algn="ctr">
                <a:defRPr/>
              </a:pPr>
              <a:r>
                <a:rPr lang="en-US" sz="1400" dirty="0">
                  <a:solidFill>
                    <a:schemeClr val="bg1"/>
                  </a:solidFill>
                </a:rPr>
                <a:t>Text</a:t>
              </a:r>
            </a:p>
          </p:txBody>
        </p:sp>
        <p:sp>
          <p:nvSpPr>
            <p:cNvPr id="680967" name="Oval 6"/>
            <p:cNvSpPr>
              <a:spLocks noChangeArrowheads="1"/>
            </p:cNvSpPr>
            <p:nvPr/>
          </p:nvSpPr>
          <p:spPr bwMode="auto">
            <a:xfrm>
              <a:off x="3681231" y="4209091"/>
              <a:ext cx="1755776" cy="1730374"/>
            </a:xfrm>
            <a:prstGeom prst="ellipse">
              <a:avLst/>
            </a:prstGeom>
            <a:solidFill>
              <a:schemeClr val="accent6">
                <a:lumMod val="50000"/>
              </a:schemeClr>
            </a:solidFill>
            <a:ln w="12700">
              <a:noFill/>
              <a:round/>
              <a:headEnd/>
              <a:tailEnd/>
            </a:ln>
          </p:spPr>
          <p:txBody>
            <a:bodyPr wrap="none" lIns="91440" tIns="91440" rIns="91440" bIns="1296000" anchor="t"/>
            <a:lstStyle/>
            <a:p>
              <a:pPr algn="ctr"/>
              <a:r>
                <a:rPr lang="en-US" sz="1400" dirty="0">
                  <a:solidFill>
                    <a:schemeClr val="bg1"/>
                  </a:solidFill>
                </a:rPr>
                <a:t>Text</a:t>
              </a:r>
            </a:p>
          </p:txBody>
        </p:sp>
        <p:sp>
          <p:nvSpPr>
            <p:cNvPr id="680968" name="Oval 7"/>
            <p:cNvSpPr>
              <a:spLocks noChangeArrowheads="1"/>
            </p:cNvSpPr>
            <p:nvPr/>
          </p:nvSpPr>
          <p:spPr bwMode="auto">
            <a:xfrm>
              <a:off x="3957455" y="4769480"/>
              <a:ext cx="1203325" cy="1169987"/>
            </a:xfrm>
            <a:prstGeom prst="ellipse">
              <a:avLst/>
            </a:prstGeom>
            <a:solidFill>
              <a:schemeClr val="accent1"/>
            </a:solidFill>
            <a:ln w="12700">
              <a:noFill/>
              <a:round/>
              <a:headEnd/>
              <a:tailEnd/>
            </a:ln>
          </p:spPr>
          <p:txBody>
            <a:bodyPr wrap="none" lIns="91440" tIns="91440" rIns="91440" bIns="36000" anchor="ctr"/>
            <a:lstStyle/>
            <a:p>
              <a:pPr algn="ctr"/>
              <a:r>
                <a:rPr lang="en-US" sz="1400" dirty="0"/>
                <a:t>Text</a:t>
              </a:r>
            </a:p>
          </p:txBody>
        </p:sp>
      </p:grpSp>
      <p:sp>
        <p:nvSpPr>
          <p:cNvPr id="15" name="Rectangle 14"/>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 </a:t>
            </a:r>
          </a:p>
          <a:p>
            <a:pPr>
              <a:defRPr/>
            </a:pPr>
            <a:r>
              <a:rPr lang="en-US" sz="1000" dirty="0">
                <a:ea typeface="ＭＳ Ｐゴシック" pitchFamily="50" charset="-128"/>
              </a:rPr>
              <a:t>Hold the Shift key when resizing the pieces or group to retain the shape proportions</a:t>
            </a:r>
          </a:p>
        </p:txBody>
      </p:sp>
      <p:sp>
        <p:nvSpPr>
          <p:cNvPr id="19" name="TextBox 18"/>
          <p:cNvSpPr txBox="1"/>
          <p:nvPr/>
        </p:nvSpPr>
        <p:spPr bwMode="gray">
          <a:xfrm>
            <a:off x="1898904" y="1710507"/>
            <a:ext cx="8394192" cy="200055"/>
          </a:xfrm>
          <a:prstGeom prst="rect">
            <a:avLst/>
          </a:prstGeom>
          <a:noFill/>
        </p:spPr>
        <p:txBody>
          <a:bodyPr wrap="square" lIns="0" tIns="0" rIns="0" bIns="0" rtlCol="0">
            <a:spAutoFit/>
          </a:bodyPr>
          <a:lstStyle/>
          <a:p>
            <a:r>
              <a:rPr lang="en-US" sz="1300" dirty="0"/>
              <a:t>Chart title runs here</a:t>
            </a:r>
          </a:p>
        </p:txBody>
      </p:sp>
      <p:sp>
        <p:nvSpPr>
          <p:cNvPr id="20" name="TextBox 19"/>
          <p:cNvSpPr txBox="1"/>
          <p:nvPr/>
        </p:nvSpPr>
        <p:spPr>
          <a:xfrm>
            <a:off x="501650" y="6108406"/>
            <a:ext cx="9772650" cy="33049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solidFill>
                  <a:schemeClr val="tx2"/>
                </a:solidFill>
              </a:rPr>
              <a:t>Source: </a:t>
            </a:r>
          </a:p>
          <a:p>
            <a:pPr>
              <a:buSzPct val="25000"/>
            </a:pPr>
            <a:r>
              <a:rPr lang="en-US" sz="900" dirty="0">
                <a:solidFill>
                  <a:schemeClr val="tx2"/>
                </a:solidFill>
              </a:rPr>
              <a:t>Note: </a:t>
            </a:r>
          </a:p>
        </p:txBody>
      </p:sp>
    </p:spTree>
    <p:extLst>
      <p:ext uri="{BB962C8B-B14F-4D97-AF65-F5344CB8AC3E}">
        <p14:creationId xmlns:p14="http://schemas.microsoft.com/office/powerpoint/2010/main" val="738827073"/>
      </p:ext>
    </p:extLst>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p:cNvSpPr>
            <a:spLocks noGrp="1"/>
          </p:cNvSpPr>
          <p:nvPr>
            <p:ph type="body" sz="quarter" idx="13"/>
          </p:nvPr>
        </p:nvSpPr>
        <p:spPr/>
        <p:txBody>
          <a:bodyPr/>
          <a:lstStyle/>
          <a:p>
            <a:r>
              <a:rPr lang="en-US"/>
              <a:t>Spotlight and rollers</a:t>
            </a:r>
            <a:endParaRPr lang="en-US" dirty="0"/>
          </a:p>
        </p:txBody>
      </p:sp>
      <p:sp>
        <p:nvSpPr>
          <p:cNvPr id="681985" name="Title 1"/>
          <p:cNvSpPr>
            <a:spLocks noGrp="1"/>
          </p:cNvSpPr>
          <p:nvPr>
            <p:ph type="title"/>
          </p:nvPr>
        </p:nvSpPr>
        <p:spPr/>
        <p:txBody>
          <a:bodyPr/>
          <a:lstStyle/>
          <a:p>
            <a:r>
              <a:rPr lang="en-US"/>
              <a:t>Spheres </a:t>
            </a:r>
            <a:endParaRPr lang="en-US" dirty="0"/>
          </a:p>
        </p:txBody>
      </p:sp>
      <p:sp>
        <p:nvSpPr>
          <p:cNvPr id="36" name="Oval 12"/>
          <p:cNvSpPr>
            <a:spLocks noChangeArrowheads="1"/>
          </p:cNvSpPr>
          <p:nvPr/>
        </p:nvSpPr>
        <p:spPr bwMode="blackWhite">
          <a:xfrm>
            <a:off x="2719623" y="3575256"/>
            <a:ext cx="374035" cy="369887"/>
          </a:xfrm>
          <a:prstGeom prst="ellipse">
            <a:avLst/>
          </a:prstGeom>
          <a:solidFill>
            <a:schemeClr val="accent1"/>
          </a:solidFill>
          <a:ln w="12700">
            <a:solidFill>
              <a:schemeClr val="bg1"/>
            </a:solidFill>
            <a:round/>
            <a:headEnd/>
            <a:tailEnd/>
          </a:ln>
        </p:spPr>
        <p:txBody>
          <a:bodyPr wrap="none" lIns="88900" tIns="88900" rIns="88900" bIns="88900" anchor="ctr"/>
          <a:lstStyle/>
          <a:p>
            <a:pPr algn="ctr" eaLnBrk="1" hangingPunct="1">
              <a:spcBef>
                <a:spcPct val="20000"/>
              </a:spcBef>
            </a:pPr>
            <a:endParaRPr lang="en-GB" sz="1400" dirty="0">
              <a:solidFill>
                <a:srgbClr val="FFFFFF"/>
              </a:solidFill>
              <a:cs typeface="Arial" pitchFamily="34" charset="0"/>
            </a:endParaRPr>
          </a:p>
        </p:txBody>
      </p:sp>
      <p:sp>
        <p:nvSpPr>
          <p:cNvPr id="37" name="Oval 36"/>
          <p:cNvSpPr>
            <a:spLocks noChangeArrowheads="1"/>
          </p:cNvSpPr>
          <p:nvPr/>
        </p:nvSpPr>
        <p:spPr bwMode="blackWhite">
          <a:xfrm>
            <a:off x="6385248" y="2772715"/>
            <a:ext cx="1005840" cy="1005840"/>
          </a:xfrm>
          <a:prstGeom prst="ellipse">
            <a:avLst/>
          </a:prstGeom>
          <a:solidFill>
            <a:schemeClr val="accent2"/>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sp>
        <p:nvSpPr>
          <p:cNvPr id="38" name="Oval 37"/>
          <p:cNvSpPr>
            <a:spLocks noChangeArrowheads="1"/>
          </p:cNvSpPr>
          <p:nvPr/>
        </p:nvSpPr>
        <p:spPr bwMode="blackWhite">
          <a:xfrm>
            <a:off x="7607688" y="3834122"/>
            <a:ext cx="1005840" cy="1005840"/>
          </a:xfrm>
          <a:prstGeom prst="ellipse">
            <a:avLst/>
          </a:prstGeom>
          <a:solidFill>
            <a:schemeClr val="accent3"/>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sp>
        <p:nvSpPr>
          <p:cNvPr id="39" name="Oval 38"/>
          <p:cNvSpPr>
            <a:spLocks noChangeArrowheads="1"/>
          </p:cNvSpPr>
          <p:nvPr/>
        </p:nvSpPr>
        <p:spPr bwMode="blackWhite">
          <a:xfrm>
            <a:off x="8814069" y="2265070"/>
            <a:ext cx="1005840" cy="1005840"/>
          </a:xfrm>
          <a:prstGeom prst="ellipse">
            <a:avLst/>
          </a:prstGeom>
          <a:solidFill>
            <a:schemeClr val="accent1"/>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grpSp>
        <p:nvGrpSpPr>
          <p:cNvPr id="32" name="Group 31"/>
          <p:cNvGrpSpPr/>
          <p:nvPr/>
        </p:nvGrpSpPr>
        <p:grpSpPr>
          <a:xfrm>
            <a:off x="6189631" y="2171970"/>
            <a:ext cx="4114833" cy="2746375"/>
            <a:chOff x="4665630" y="2359025"/>
            <a:chExt cx="4061685" cy="2746375"/>
          </a:xfrm>
        </p:grpSpPr>
        <p:sp>
          <p:nvSpPr>
            <p:cNvPr id="40" name="Arc 20"/>
            <p:cNvSpPr>
              <a:spLocks/>
            </p:cNvSpPr>
            <p:nvPr/>
          </p:nvSpPr>
          <p:spPr bwMode="auto">
            <a:xfrm>
              <a:off x="5380550" y="2867025"/>
              <a:ext cx="580769" cy="608013"/>
            </a:xfrm>
            <a:custGeom>
              <a:avLst/>
              <a:gdLst>
                <a:gd name="T0" fmla="*/ 0 w 21646"/>
                <a:gd name="T1" fmla="*/ 0 h 21600"/>
                <a:gd name="T2" fmla="*/ 0 w 21646"/>
                <a:gd name="T3" fmla="*/ 0 h 21600"/>
                <a:gd name="T4" fmla="*/ 0 w 21646"/>
                <a:gd name="T5" fmla="*/ 0 h 21600"/>
                <a:gd name="T6" fmla="*/ 0 60000 65536"/>
                <a:gd name="T7" fmla="*/ 0 60000 65536"/>
                <a:gd name="T8" fmla="*/ 0 60000 65536"/>
                <a:gd name="T9" fmla="*/ 0 w 21646"/>
                <a:gd name="T10" fmla="*/ 0 h 21600"/>
                <a:gd name="T11" fmla="*/ 21646 w 21646"/>
                <a:gd name="T12" fmla="*/ 21600 h 21600"/>
              </a:gdLst>
              <a:ahLst/>
              <a:cxnLst>
                <a:cxn ang="T6">
                  <a:pos x="T0" y="T1"/>
                </a:cxn>
                <a:cxn ang="T7">
                  <a:pos x="T2" y="T3"/>
                </a:cxn>
                <a:cxn ang="T8">
                  <a:pos x="T4" y="T5"/>
                </a:cxn>
              </a:cxnLst>
              <a:rect l="T9" t="T10" r="T11" b="T12"/>
              <a:pathLst>
                <a:path w="21646" h="21600" fill="none" extrusionOk="0">
                  <a:moveTo>
                    <a:pt x="0" y="0"/>
                  </a:moveTo>
                  <a:cubicBezTo>
                    <a:pt x="17" y="0"/>
                    <a:pt x="35" y="-1"/>
                    <a:pt x="53" y="0"/>
                  </a:cubicBezTo>
                  <a:cubicBezTo>
                    <a:pt x="11761" y="0"/>
                    <a:pt x="21337" y="9327"/>
                    <a:pt x="21645" y="21032"/>
                  </a:cubicBezTo>
                </a:path>
                <a:path w="21646" h="21600" stroke="0" extrusionOk="0">
                  <a:moveTo>
                    <a:pt x="0" y="0"/>
                  </a:moveTo>
                  <a:cubicBezTo>
                    <a:pt x="17" y="0"/>
                    <a:pt x="35" y="-1"/>
                    <a:pt x="53" y="0"/>
                  </a:cubicBezTo>
                  <a:cubicBezTo>
                    <a:pt x="11761" y="0"/>
                    <a:pt x="21337" y="9327"/>
                    <a:pt x="21645" y="21032"/>
                  </a:cubicBezTo>
                  <a:lnTo>
                    <a:pt x="53" y="21600"/>
                  </a:lnTo>
                  <a:close/>
                </a:path>
              </a:pathLst>
            </a:custGeom>
            <a:noFill/>
            <a:ln w="19050" cap="rnd">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1" name="Line 21"/>
            <p:cNvSpPr>
              <a:spLocks noChangeShapeType="1"/>
            </p:cNvSpPr>
            <p:nvPr/>
          </p:nvSpPr>
          <p:spPr bwMode="auto">
            <a:xfrm flipH="1">
              <a:off x="4665630" y="2867025"/>
              <a:ext cx="726372" cy="0"/>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2" name="Arc 22"/>
            <p:cNvSpPr>
              <a:spLocks/>
            </p:cNvSpPr>
            <p:nvPr/>
          </p:nvSpPr>
          <p:spPr bwMode="auto">
            <a:xfrm>
              <a:off x="5961319" y="4506913"/>
              <a:ext cx="1188720" cy="598487"/>
            </a:xfrm>
            <a:custGeom>
              <a:avLst/>
              <a:gdLst>
                <a:gd name="T0" fmla="*/ 0 w 43200"/>
                <a:gd name="T1" fmla="*/ 0 h 21705"/>
                <a:gd name="T2" fmla="*/ 0 w 43200"/>
                <a:gd name="T3" fmla="*/ 0 h 21705"/>
                <a:gd name="T4" fmla="*/ 0 w 43200"/>
                <a:gd name="T5" fmla="*/ 0 h 21705"/>
                <a:gd name="T6" fmla="*/ 0 60000 65536"/>
                <a:gd name="T7" fmla="*/ 0 60000 65536"/>
                <a:gd name="T8" fmla="*/ 0 60000 65536"/>
                <a:gd name="T9" fmla="*/ 0 w 43200"/>
                <a:gd name="T10" fmla="*/ 0 h 21705"/>
                <a:gd name="T11" fmla="*/ 43200 w 43200"/>
                <a:gd name="T12" fmla="*/ 21705 h 21705"/>
              </a:gdLst>
              <a:ahLst/>
              <a:cxnLst>
                <a:cxn ang="T6">
                  <a:pos x="T0" y="T1"/>
                </a:cxn>
                <a:cxn ang="T7">
                  <a:pos x="T2" y="T3"/>
                </a:cxn>
                <a:cxn ang="T8">
                  <a:pos x="T4" y="T5"/>
                </a:cxn>
              </a:cxnLst>
              <a:rect l="T9" t="T10" r="T11" b="T12"/>
              <a:pathLst>
                <a:path w="43200" h="21705" fill="none"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path>
                <a:path w="43200" h="21705" stroke="0"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lnTo>
                    <a:pt x="21600" y="105"/>
                  </a:lnTo>
                  <a:close/>
                </a:path>
              </a:pathLst>
            </a:custGeom>
            <a:noFill/>
            <a:ln w="19050" cap="rnd">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3" name="Line 23"/>
            <p:cNvSpPr>
              <a:spLocks noChangeShapeType="1"/>
            </p:cNvSpPr>
            <p:nvPr/>
          </p:nvSpPr>
          <p:spPr bwMode="auto">
            <a:xfrm flipV="1">
              <a:off x="5961319" y="3455011"/>
              <a:ext cx="0" cy="1073150"/>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4" name="Line 24"/>
            <p:cNvSpPr>
              <a:spLocks noChangeShapeType="1"/>
            </p:cNvSpPr>
            <p:nvPr/>
          </p:nvSpPr>
          <p:spPr bwMode="auto">
            <a:xfrm flipV="1">
              <a:off x="7150039" y="2962275"/>
              <a:ext cx="0" cy="1565275"/>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5" name="Arc 25"/>
            <p:cNvSpPr>
              <a:spLocks/>
            </p:cNvSpPr>
            <p:nvPr/>
          </p:nvSpPr>
          <p:spPr bwMode="auto">
            <a:xfrm>
              <a:off x="7150039" y="2359025"/>
              <a:ext cx="580770" cy="60483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548"/>
                  </a:moveTo>
                  <a:cubicBezTo>
                    <a:pt x="28" y="9659"/>
                    <a:pt x="9658" y="29"/>
                    <a:pt x="21547" y="0"/>
                  </a:cubicBezTo>
                </a:path>
                <a:path w="21600" h="21600" stroke="0" extrusionOk="0">
                  <a:moveTo>
                    <a:pt x="0" y="21548"/>
                  </a:moveTo>
                  <a:cubicBezTo>
                    <a:pt x="28" y="9659"/>
                    <a:pt x="9658" y="29"/>
                    <a:pt x="21547" y="0"/>
                  </a:cubicBezTo>
                  <a:lnTo>
                    <a:pt x="21600" y="21600"/>
                  </a:lnTo>
                  <a:close/>
                </a:path>
              </a:pathLst>
            </a:custGeom>
            <a:noFill/>
            <a:ln w="19050" cap="rnd">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6" name="Line 26"/>
            <p:cNvSpPr>
              <a:spLocks noChangeShapeType="1"/>
            </p:cNvSpPr>
            <p:nvPr/>
          </p:nvSpPr>
          <p:spPr bwMode="auto">
            <a:xfrm flipH="1">
              <a:off x="7717920" y="2359025"/>
              <a:ext cx="1009395" cy="0"/>
            </a:xfrm>
            <a:prstGeom prst="line">
              <a:avLst/>
            </a:prstGeom>
            <a:noFill/>
            <a:ln w="19050">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grpSp>
        <p:nvGrpSpPr>
          <p:cNvPr id="47" name="Group 46"/>
          <p:cNvGrpSpPr/>
          <p:nvPr/>
        </p:nvGrpSpPr>
        <p:grpSpPr>
          <a:xfrm>
            <a:off x="2201731" y="4015785"/>
            <a:ext cx="1405317" cy="1090202"/>
            <a:chOff x="1592131" y="4003675"/>
            <a:chExt cx="1405317" cy="1090202"/>
          </a:xfrm>
        </p:grpSpPr>
        <p:sp>
          <p:nvSpPr>
            <p:cNvPr id="48" name="Line 7"/>
            <p:cNvSpPr>
              <a:spLocks noChangeShapeType="1"/>
            </p:cNvSpPr>
            <p:nvPr/>
          </p:nvSpPr>
          <p:spPr bwMode="blackWhite">
            <a:xfrm>
              <a:off x="240840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49" name="Line 7"/>
            <p:cNvSpPr>
              <a:spLocks noChangeShapeType="1"/>
            </p:cNvSpPr>
            <p:nvPr/>
          </p:nvSpPr>
          <p:spPr bwMode="blackWhite">
            <a:xfrm flipH="1">
              <a:off x="159213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grpSp>
        <p:nvGrpSpPr>
          <p:cNvPr id="50" name="Group 49"/>
          <p:cNvGrpSpPr/>
          <p:nvPr/>
        </p:nvGrpSpPr>
        <p:grpSpPr>
          <a:xfrm flipV="1">
            <a:off x="2201731" y="2410010"/>
            <a:ext cx="1405317" cy="1090202"/>
            <a:chOff x="1592131" y="4003675"/>
            <a:chExt cx="1405317" cy="1090202"/>
          </a:xfrm>
        </p:grpSpPr>
        <p:sp>
          <p:nvSpPr>
            <p:cNvPr id="51" name="Line 7"/>
            <p:cNvSpPr>
              <a:spLocks noChangeShapeType="1"/>
            </p:cNvSpPr>
            <p:nvPr/>
          </p:nvSpPr>
          <p:spPr bwMode="blackWhite">
            <a:xfrm>
              <a:off x="240840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52" name="Line 7"/>
            <p:cNvSpPr>
              <a:spLocks noChangeShapeType="1"/>
            </p:cNvSpPr>
            <p:nvPr/>
          </p:nvSpPr>
          <p:spPr bwMode="blackWhite">
            <a:xfrm flipH="1">
              <a:off x="1592131" y="4003675"/>
              <a:ext cx="589047" cy="1090202"/>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grpSp>
        <p:nvGrpSpPr>
          <p:cNvPr id="53" name="Group 52"/>
          <p:cNvGrpSpPr/>
          <p:nvPr/>
        </p:nvGrpSpPr>
        <p:grpSpPr>
          <a:xfrm>
            <a:off x="1537160" y="3080748"/>
            <a:ext cx="2731480" cy="546100"/>
            <a:chOff x="927561" y="3068638"/>
            <a:chExt cx="2731480" cy="546100"/>
          </a:xfrm>
        </p:grpSpPr>
        <p:sp>
          <p:nvSpPr>
            <p:cNvPr id="54" name="Line 10"/>
            <p:cNvSpPr>
              <a:spLocks noChangeShapeType="1"/>
            </p:cNvSpPr>
            <p:nvPr/>
          </p:nvSpPr>
          <p:spPr bwMode="blackWhite">
            <a:xfrm flipH="1" flipV="1">
              <a:off x="927561"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55" name="Line 10"/>
            <p:cNvSpPr>
              <a:spLocks noChangeShapeType="1"/>
            </p:cNvSpPr>
            <p:nvPr/>
          </p:nvSpPr>
          <p:spPr bwMode="blackWhite">
            <a:xfrm flipV="1">
              <a:off x="2555636"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grpSp>
        <p:nvGrpSpPr>
          <p:cNvPr id="56" name="Group 55"/>
          <p:cNvGrpSpPr/>
          <p:nvPr/>
        </p:nvGrpSpPr>
        <p:grpSpPr>
          <a:xfrm flipV="1">
            <a:off x="1537160" y="3893850"/>
            <a:ext cx="2731480" cy="546100"/>
            <a:chOff x="927561" y="3068638"/>
            <a:chExt cx="2731480" cy="546100"/>
          </a:xfrm>
        </p:grpSpPr>
        <p:sp>
          <p:nvSpPr>
            <p:cNvPr id="57" name="Line 10"/>
            <p:cNvSpPr>
              <a:spLocks noChangeShapeType="1"/>
            </p:cNvSpPr>
            <p:nvPr/>
          </p:nvSpPr>
          <p:spPr bwMode="blackWhite">
            <a:xfrm flipH="1" flipV="1">
              <a:off x="927561"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sp>
          <p:nvSpPr>
            <p:cNvPr id="58" name="Line 10"/>
            <p:cNvSpPr>
              <a:spLocks noChangeShapeType="1"/>
            </p:cNvSpPr>
            <p:nvPr/>
          </p:nvSpPr>
          <p:spPr bwMode="blackWhite">
            <a:xfrm flipV="1">
              <a:off x="2555636" y="3068638"/>
              <a:ext cx="1103405" cy="546100"/>
            </a:xfrm>
            <a:prstGeom prst="line">
              <a:avLst/>
            </a:prstGeom>
            <a:noFill/>
            <a:ln w="9525">
              <a:solidFill>
                <a:schemeClr val="tx1"/>
              </a:solidFill>
              <a:round/>
              <a:headEnd type="none" w="sm" len="sm"/>
              <a:tailEnd type="none" w="sm" len="sm"/>
            </a:ln>
          </p:spPr>
          <p:txBody>
            <a:bodyPr wrap="none" anchor="ctr"/>
            <a:lstStyle/>
            <a:p>
              <a:pPr algn="ctr" eaLnBrk="1" hangingPunct="1">
                <a:spcBef>
                  <a:spcPct val="20000"/>
                </a:spcBef>
                <a:defRPr/>
              </a:pPr>
              <a:endParaRPr lang="en-GB" sz="1400" b="1" dirty="0">
                <a:solidFill>
                  <a:srgbClr val="FFFFFF"/>
                </a:solidFill>
                <a:cs typeface="Arial" pitchFamily="34" charset="0"/>
              </a:endParaRPr>
            </a:p>
          </p:txBody>
        </p:sp>
      </p:grpSp>
      <p:sp>
        <p:nvSpPr>
          <p:cNvPr id="59" name="Oval 58"/>
          <p:cNvSpPr>
            <a:spLocks noChangeArrowheads="1"/>
          </p:cNvSpPr>
          <p:nvPr/>
        </p:nvSpPr>
        <p:spPr bwMode="blackWhite">
          <a:xfrm>
            <a:off x="3521900" y="4369798"/>
            <a:ext cx="1005840" cy="1005840"/>
          </a:xfrm>
          <a:prstGeom prst="ellipse">
            <a:avLst/>
          </a:prstGeom>
          <a:solidFill>
            <a:schemeClr val="accent4"/>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rgbClr val="FFFFFF"/>
                </a:solidFill>
                <a:cs typeface="Arial" pitchFamily="34" charset="0"/>
              </a:rPr>
              <a:t>Text</a:t>
            </a:r>
          </a:p>
        </p:txBody>
      </p:sp>
      <p:sp>
        <p:nvSpPr>
          <p:cNvPr id="60" name="Oval 59"/>
          <p:cNvSpPr>
            <a:spLocks noChangeArrowheads="1"/>
          </p:cNvSpPr>
          <p:nvPr/>
        </p:nvSpPr>
        <p:spPr bwMode="blackWhite">
          <a:xfrm>
            <a:off x="1282789" y="2174285"/>
            <a:ext cx="1005840" cy="1005840"/>
          </a:xfrm>
          <a:prstGeom prst="ellipse">
            <a:avLst/>
          </a:prstGeom>
          <a:solidFill>
            <a:schemeClr val="accent1"/>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sp>
        <p:nvSpPr>
          <p:cNvPr id="61" name="Oval 60"/>
          <p:cNvSpPr>
            <a:spLocks noChangeArrowheads="1"/>
          </p:cNvSpPr>
          <p:nvPr/>
        </p:nvSpPr>
        <p:spPr bwMode="blackWhite">
          <a:xfrm>
            <a:off x="3521900" y="2174285"/>
            <a:ext cx="1005840" cy="1005840"/>
          </a:xfrm>
          <a:prstGeom prst="ellipse">
            <a:avLst/>
          </a:prstGeom>
          <a:solidFill>
            <a:schemeClr val="accent3"/>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chemeClr val="bg1"/>
                </a:solidFill>
                <a:cs typeface="Arial" pitchFamily="34" charset="0"/>
              </a:rPr>
              <a:t>Text</a:t>
            </a:r>
          </a:p>
        </p:txBody>
      </p:sp>
      <p:sp>
        <p:nvSpPr>
          <p:cNvPr id="62" name="Oval 61"/>
          <p:cNvSpPr>
            <a:spLocks noChangeArrowheads="1"/>
          </p:cNvSpPr>
          <p:nvPr/>
        </p:nvSpPr>
        <p:spPr bwMode="blackWhite">
          <a:xfrm>
            <a:off x="1282789" y="4369798"/>
            <a:ext cx="1005840" cy="1005840"/>
          </a:xfrm>
          <a:prstGeom prst="ellipse">
            <a:avLst/>
          </a:prstGeom>
          <a:solidFill>
            <a:schemeClr val="accent2"/>
          </a:solidFill>
          <a:ln w="12700">
            <a:noFill/>
            <a:round/>
            <a:headEnd/>
            <a:tailEnd/>
          </a:ln>
        </p:spPr>
        <p:txBody>
          <a:bodyPr wrap="square" lIns="88900" tIns="88900" rIns="88900" bIns="88900" anchor="ctr"/>
          <a:lstStyle/>
          <a:p>
            <a:pPr algn="ctr" eaLnBrk="1" hangingPunct="1">
              <a:spcBef>
                <a:spcPct val="20000"/>
              </a:spcBef>
              <a:defRPr/>
            </a:pPr>
            <a:r>
              <a:rPr lang="en-GB" sz="1400" dirty="0">
                <a:solidFill>
                  <a:srgbClr val="FFFFFF"/>
                </a:solidFill>
                <a:cs typeface="Arial" pitchFamily="34" charset="0"/>
              </a:rPr>
              <a:t>Text</a:t>
            </a:r>
          </a:p>
        </p:txBody>
      </p:sp>
      <p:sp>
        <p:nvSpPr>
          <p:cNvPr id="63" name="TextBox 62"/>
          <p:cNvSpPr txBox="1"/>
          <p:nvPr/>
        </p:nvSpPr>
        <p:spPr bwMode="gray">
          <a:xfrm>
            <a:off x="501650" y="1710506"/>
            <a:ext cx="3996613" cy="200055"/>
          </a:xfrm>
          <a:prstGeom prst="rect">
            <a:avLst/>
          </a:prstGeom>
          <a:noFill/>
        </p:spPr>
        <p:txBody>
          <a:bodyPr wrap="square" lIns="0" tIns="0" rIns="0" bIns="0" rtlCol="0">
            <a:spAutoFit/>
          </a:bodyPr>
          <a:lstStyle/>
          <a:p>
            <a:r>
              <a:rPr lang="en-US" sz="1300" dirty="0"/>
              <a:t>Chart title runs here</a:t>
            </a:r>
          </a:p>
        </p:txBody>
      </p:sp>
      <p:sp>
        <p:nvSpPr>
          <p:cNvPr id="64" name="TextBox 63"/>
          <p:cNvSpPr txBox="1"/>
          <p:nvPr/>
        </p:nvSpPr>
        <p:spPr bwMode="gray">
          <a:xfrm>
            <a:off x="6277397" y="1710506"/>
            <a:ext cx="3996613" cy="200055"/>
          </a:xfrm>
          <a:prstGeom prst="rect">
            <a:avLst/>
          </a:prstGeom>
          <a:noFill/>
        </p:spPr>
        <p:txBody>
          <a:bodyPr wrap="square" lIns="0" tIns="0" rIns="0" bIns="0" rtlCol="0">
            <a:spAutoFit/>
          </a:bodyPr>
          <a:lstStyle/>
          <a:p>
            <a:r>
              <a:rPr lang="en-US" sz="1300" dirty="0"/>
              <a:t>Chart title runs here</a:t>
            </a:r>
          </a:p>
        </p:txBody>
      </p:sp>
      <p:sp>
        <p:nvSpPr>
          <p:cNvPr id="68" name="TextBox 67"/>
          <p:cNvSpPr txBox="1"/>
          <p:nvPr/>
        </p:nvSpPr>
        <p:spPr>
          <a:xfrm>
            <a:off x="501650" y="6108407"/>
            <a:ext cx="9772650" cy="261422"/>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Tree>
    <p:extLst>
      <p:ext uri="{BB962C8B-B14F-4D97-AF65-F5344CB8AC3E}">
        <p14:creationId xmlns:p14="http://schemas.microsoft.com/office/powerpoint/2010/main" val="1692450991"/>
      </p:ext>
    </p:extLst>
  </p:cSld>
  <p:clrMapOvr>
    <a:masterClrMapping/>
  </p:clrMapOvr>
  <p:transition>
    <p:fade/>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Visor</a:t>
            </a:r>
            <a:endParaRPr lang="en-US" dirty="0"/>
          </a:p>
        </p:txBody>
      </p:sp>
      <p:sp>
        <p:nvSpPr>
          <p:cNvPr id="683009" name="Title 1"/>
          <p:cNvSpPr>
            <a:spLocks noGrp="1"/>
          </p:cNvSpPr>
          <p:nvPr>
            <p:ph type="title"/>
          </p:nvPr>
        </p:nvSpPr>
        <p:spPr/>
        <p:txBody>
          <a:bodyPr/>
          <a:lstStyle/>
          <a:p>
            <a:r>
              <a:rPr lang="en-US"/>
              <a:t>Spheres</a:t>
            </a:r>
            <a:endParaRPr lang="en-US" dirty="0"/>
          </a:p>
        </p:txBody>
      </p:sp>
      <p:grpSp>
        <p:nvGrpSpPr>
          <p:cNvPr id="15" name="Group 14"/>
          <p:cNvGrpSpPr/>
          <p:nvPr/>
        </p:nvGrpSpPr>
        <p:grpSpPr>
          <a:xfrm>
            <a:off x="4105882" y="1976438"/>
            <a:ext cx="3980239" cy="3979656"/>
            <a:chOff x="2393229" y="1593134"/>
            <a:chExt cx="4346576" cy="4345939"/>
          </a:xfrm>
          <a:solidFill>
            <a:schemeClr val="accent1"/>
          </a:solidFill>
        </p:grpSpPr>
        <p:sp>
          <p:nvSpPr>
            <p:cNvPr id="16" name="Oval 15"/>
            <p:cNvSpPr>
              <a:spLocks noChangeArrowheads="1"/>
            </p:cNvSpPr>
            <p:nvPr/>
          </p:nvSpPr>
          <p:spPr bwMode="auto">
            <a:xfrm>
              <a:off x="2393230" y="1593135"/>
              <a:ext cx="4346575" cy="4345938"/>
            </a:xfrm>
            <a:prstGeom prst="ellipse">
              <a:avLst/>
            </a:prstGeom>
            <a:solidFill>
              <a:schemeClr val="accent5"/>
            </a:solidFill>
            <a:ln w="12700">
              <a:solidFill>
                <a:schemeClr val="bg1"/>
              </a:solidFill>
              <a:round/>
              <a:headEnd/>
              <a:tailEnd/>
            </a:ln>
          </p:spPr>
          <p:txBody>
            <a:bodyPr wrap="none" lIns="86493" tIns="43247" rIns="86493" bIns="43247" anchor="ctr"/>
            <a:lstStyle/>
            <a:p>
              <a:pPr defTabSz="865188">
                <a:spcBef>
                  <a:spcPct val="20000"/>
                </a:spcBef>
                <a:defRPr/>
              </a:pPr>
              <a:endParaRPr lang="de-DE" sz="1700" b="1">
                <a:solidFill>
                  <a:srgbClr val="002776"/>
                </a:solidFill>
                <a:ea typeface="ＭＳ Ｐゴシック" pitchFamily="50" charset="-128"/>
                <a:cs typeface="Arial" pitchFamily="34" charset="0"/>
              </a:endParaRPr>
            </a:p>
          </p:txBody>
        </p:sp>
        <p:sp>
          <p:nvSpPr>
            <p:cNvPr id="22" name="Oval 21"/>
            <p:cNvSpPr>
              <a:spLocks noChangeArrowheads="1"/>
            </p:cNvSpPr>
            <p:nvPr/>
          </p:nvSpPr>
          <p:spPr bwMode="auto">
            <a:xfrm>
              <a:off x="2941711" y="2143044"/>
              <a:ext cx="3249613" cy="3246120"/>
            </a:xfrm>
            <a:prstGeom prst="ellipse">
              <a:avLst/>
            </a:prstGeom>
            <a:solidFill>
              <a:schemeClr val="tx1"/>
            </a:solidFill>
            <a:ln w="12700">
              <a:solidFill>
                <a:schemeClr val="bg1"/>
              </a:solidFill>
              <a:round/>
              <a:headEnd/>
              <a:tailEnd/>
            </a:ln>
          </p:spPr>
          <p:txBody>
            <a:bodyPr wrap="none" lIns="86493" tIns="43247" rIns="86493" bIns="43247" anchor="ctr"/>
            <a:lstStyle/>
            <a:p>
              <a:pPr eaLnBrk="1" hangingPunct="1">
                <a:spcBef>
                  <a:spcPct val="20000"/>
                </a:spcBef>
                <a:defRPr/>
              </a:pPr>
              <a:endParaRPr lang="en-GB" sz="1100" b="1" dirty="0">
                <a:solidFill>
                  <a:srgbClr val="002776"/>
                </a:solidFill>
                <a:cs typeface="Arial" pitchFamily="34" charset="0"/>
              </a:endParaRPr>
            </a:p>
          </p:txBody>
        </p:sp>
        <p:sp>
          <p:nvSpPr>
            <p:cNvPr id="23" name="Oval 22"/>
            <p:cNvSpPr>
              <a:spLocks noChangeArrowheads="1"/>
            </p:cNvSpPr>
            <p:nvPr/>
          </p:nvSpPr>
          <p:spPr bwMode="auto">
            <a:xfrm>
              <a:off x="3500511" y="2700828"/>
              <a:ext cx="2132013" cy="2130552"/>
            </a:xfrm>
            <a:prstGeom prst="ellipse">
              <a:avLst/>
            </a:prstGeom>
            <a:solidFill>
              <a:srgbClr val="C4D600"/>
            </a:solidFill>
            <a:ln w="12700">
              <a:solidFill>
                <a:schemeClr val="bg1"/>
              </a:solidFill>
              <a:round/>
              <a:headEnd/>
              <a:tailEnd/>
            </a:ln>
          </p:spPr>
          <p:txBody>
            <a:bodyPr wrap="none" lIns="86493" tIns="43247" rIns="86493" bIns="43247" anchor="ctr"/>
            <a:lstStyle/>
            <a:p>
              <a:pPr eaLnBrk="1" hangingPunct="1">
                <a:spcBef>
                  <a:spcPct val="20000"/>
                </a:spcBef>
                <a:defRPr/>
              </a:pPr>
              <a:endParaRPr lang="en-GB" sz="1100" b="1" dirty="0">
                <a:solidFill>
                  <a:srgbClr val="002776"/>
                </a:solidFill>
                <a:cs typeface="Arial" pitchFamily="34" charset="0"/>
              </a:endParaRPr>
            </a:p>
          </p:txBody>
        </p:sp>
        <p:sp>
          <p:nvSpPr>
            <p:cNvPr id="24" name="Oval 23"/>
            <p:cNvSpPr>
              <a:spLocks noChangeArrowheads="1"/>
            </p:cNvSpPr>
            <p:nvPr/>
          </p:nvSpPr>
          <p:spPr bwMode="auto">
            <a:xfrm>
              <a:off x="4075980" y="3276900"/>
              <a:ext cx="981075" cy="978408"/>
            </a:xfrm>
            <a:prstGeom prst="ellipse">
              <a:avLst/>
            </a:prstGeom>
            <a:solidFill>
              <a:schemeClr val="accent1"/>
            </a:solidFill>
            <a:ln w="12700">
              <a:solidFill>
                <a:schemeClr val="bg1"/>
              </a:solidFill>
              <a:round/>
              <a:headEnd/>
              <a:tailEnd/>
            </a:ln>
          </p:spPr>
          <p:txBody>
            <a:bodyPr wrap="none" lIns="86493" tIns="43247" rIns="86493" bIns="43247" anchor="ctr"/>
            <a:lstStyle/>
            <a:p>
              <a:pPr eaLnBrk="1" hangingPunct="1">
                <a:spcBef>
                  <a:spcPct val="20000"/>
                </a:spcBef>
                <a:defRPr/>
              </a:pPr>
              <a:endParaRPr lang="en-GB" sz="1100" b="1" dirty="0">
                <a:solidFill>
                  <a:srgbClr val="002776"/>
                </a:solidFill>
                <a:cs typeface="Arial" pitchFamily="34" charset="0"/>
              </a:endParaRPr>
            </a:p>
          </p:txBody>
        </p:sp>
        <p:sp>
          <p:nvSpPr>
            <p:cNvPr id="25" name="Line 7"/>
            <p:cNvSpPr>
              <a:spLocks noChangeShapeType="1"/>
            </p:cNvSpPr>
            <p:nvPr/>
          </p:nvSpPr>
          <p:spPr bwMode="auto">
            <a:xfrm>
              <a:off x="5057309" y="3766104"/>
              <a:ext cx="1682496" cy="0"/>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cs typeface="Arial" pitchFamily="34" charset="0"/>
              </a:endParaRPr>
            </a:p>
          </p:txBody>
        </p:sp>
        <p:sp>
          <p:nvSpPr>
            <p:cNvPr id="26" name="Line 8"/>
            <p:cNvSpPr>
              <a:spLocks noChangeShapeType="1"/>
            </p:cNvSpPr>
            <p:nvPr/>
          </p:nvSpPr>
          <p:spPr bwMode="auto">
            <a:xfrm>
              <a:off x="4566517" y="1593134"/>
              <a:ext cx="0" cy="1682496"/>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cs typeface="Arial" pitchFamily="34" charset="0"/>
              </a:endParaRPr>
            </a:p>
          </p:txBody>
        </p:sp>
        <p:sp>
          <p:nvSpPr>
            <p:cNvPr id="27" name="Line 9"/>
            <p:cNvSpPr>
              <a:spLocks noChangeShapeType="1"/>
            </p:cNvSpPr>
            <p:nvPr/>
          </p:nvSpPr>
          <p:spPr bwMode="auto">
            <a:xfrm>
              <a:off x="2393229" y="3766104"/>
              <a:ext cx="1682496" cy="0"/>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cs typeface="Arial" pitchFamily="34" charset="0"/>
              </a:endParaRPr>
            </a:p>
          </p:txBody>
        </p:sp>
        <p:sp>
          <p:nvSpPr>
            <p:cNvPr id="28" name="Line 10"/>
            <p:cNvSpPr>
              <a:spLocks noChangeShapeType="1"/>
            </p:cNvSpPr>
            <p:nvPr/>
          </p:nvSpPr>
          <p:spPr bwMode="auto">
            <a:xfrm>
              <a:off x="4566517" y="4256577"/>
              <a:ext cx="0" cy="1682496"/>
            </a:xfrm>
            <a:prstGeom prst="line">
              <a:avLst/>
            </a:prstGeom>
            <a:grpFill/>
            <a:ln w="12700">
              <a:solidFill>
                <a:schemeClr val="bg1"/>
              </a:solidFill>
              <a:round/>
              <a:headEnd type="none" w="sm" len="sm"/>
              <a:tailEnd type="none" w="sm" len="sm"/>
            </a:ln>
          </p:spPr>
          <p:txBody>
            <a:bodyPr wrap="none" lIns="86493" tIns="43247" rIns="86493" bIns="43247" anchor="ctr"/>
            <a:lstStyle/>
            <a:p>
              <a:pPr eaLnBrk="1" hangingPunct="1">
                <a:spcBef>
                  <a:spcPct val="20000"/>
                </a:spcBef>
              </a:pPr>
              <a:endParaRPr lang="en-US" sz="1100" b="1" dirty="0">
                <a:solidFill>
                  <a:srgbClr val="002776"/>
                </a:solidFill>
                <a:cs typeface="Arial" pitchFamily="34" charset="0"/>
              </a:endParaRPr>
            </a:p>
          </p:txBody>
        </p:sp>
      </p:grpSp>
      <p:sp>
        <p:nvSpPr>
          <p:cNvPr id="29" name="TextBox 28"/>
          <p:cNvSpPr txBox="1"/>
          <p:nvPr/>
        </p:nvSpPr>
        <p:spPr>
          <a:xfrm>
            <a:off x="501650" y="6108406"/>
            <a:ext cx="9772650" cy="29233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8" name="TextBox 17"/>
          <p:cNvSpPr txBox="1"/>
          <p:nvPr/>
        </p:nvSpPr>
        <p:spPr bwMode="gray">
          <a:xfrm>
            <a:off x="501650" y="1710507"/>
            <a:ext cx="9791446"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1012310224"/>
      </p:ext>
    </p:extLst>
  </p:cSld>
  <p:clrMapOvr>
    <a:masterClrMapping/>
  </p:clrMapOvr>
  <p:transition>
    <p:fade/>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Pieces</a:t>
            </a:r>
            <a:endParaRPr lang="en-US" dirty="0"/>
          </a:p>
        </p:txBody>
      </p:sp>
      <p:sp>
        <p:nvSpPr>
          <p:cNvPr id="686081" name="Title 1"/>
          <p:cNvSpPr>
            <a:spLocks noGrp="1"/>
          </p:cNvSpPr>
          <p:nvPr>
            <p:ph type="title"/>
          </p:nvPr>
        </p:nvSpPr>
        <p:spPr/>
        <p:txBody>
          <a:bodyPr/>
          <a:lstStyle/>
          <a:p>
            <a:r>
              <a:rPr lang="en-US"/>
              <a:t>Spheres </a:t>
            </a:r>
            <a:endParaRPr lang="en-US" dirty="0"/>
          </a:p>
        </p:txBody>
      </p:sp>
      <p:grpSp>
        <p:nvGrpSpPr>
          <p:cNvPr id="50" name="Group 3"/>
          <p:cNvGrpSpPr>
            <a:grpSpLocks/>
          </p:cNvGrpSpPr>
          <p:nvPr/>
        </p:nvGrpSpPr>
        <p:grpSpPr bwMode="auto">
          <a:xfrm>
            <a:off x="6095310" y="1976439"/>
            <a:ext cx="1174140" cy="1993693"/>
            <a:chOff x="3356" y="1728"/>
            <a:chExt cx="678" cy="1153"/>
          </a:xfrm>
          <a:solidFill>
            <a:schemeClr val="accent1"/>
          </a:solidFill>
        </p:grpSpPr>
        <p:sp>
          <p:nvSpPr>
            <p:cNvPr id="78" name="Arc 4"/>
            <p:cNvSpPr>
              <a:spLocks/>
            </p:cNvSpPr>
            <p:nvPr/>
          </p:nvSpPr>
          <p:spPr bwMode="auto">
            <a:xfrm>
              <a:off x="3356"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grpFill/>
            <a:ln w="12700">
              <a:solidFill>
                <a:schemeClr val="bg1"/>
              </a:solidFill>
              <a:round/>
              <a:headEnd/>
              <a:tailEnd/>
            </a:ln>
          </p:spPr>
          <p:txBody>
            <a:bodyPr lIns="44450" tIns="44450" rIns="274320" bIns="1005840" anchor="ctr"/>
            <a:lstStyle/>
            <a:p>
              <a:pPr algn="ctr" eaLnBrk="1" hangingPunct="1">
                <a:spcBef>
                  <a:spcPct val="20000"/>
                </a:spcBef>
                <a:defRPr/>
              </a:pPr>
              <a:r>
                <a:rPr lang="en-GB" sz="1200" dirty="0">
                  <a:cs typeface="Arial" pitchFamily="34" charset="0"/>
                </a:rPr>
                <a:t>Text</a:t>
              </a:r>
            </a:p>
          </p:txBody>
        </p:sp>
        <p:sp>
          <p:nvSpPr>
            <p:cNvPr id="79" name="Freeform 78"/>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1" name="Group 6"/>
          <p:cNvGrpSpPr>
            <a:grpSpLocks/>
          </p:cNvGrpSpPr>
          <p:nvPr/>
        </p:nvGrpSpPr>
        <p:grpSpPr bwMode="auto">
          <a:xfrm>
            <a:off x="6095310" y="2357241"/>
            <a:ext cx="1897112" cy="1612891"/>
            <a:chOff x="3356" y="1948"/>
            <a:chExt cx="1097" cy="933"/>
          </a:xfrm>
          <a:solidFill>
            <a:schemeClr val="accent1"/>
          </a:solidFill>
        </p:grpSpPr>
        <p:sp>
          <p:nvSpPr>
            <p:cNvPr id="76" name="Arc 7"/>
            <p:cNvSpPr>
              <a:spLocks/>
            </p:cNvSpPr>
            <p:nvPr/>
          </p:nvSpPr>
          <p:spPr bwMode="auto">
            <a:xfrm>
              <a:off x="3356"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12695" y="0"/>
                  </a:moveTo>
                  <a:cubicBezTo>
                    <a:pt x="16386" y="2681"/>
                    <a:pt x="19133" y="6461"/>
                    <a:pt x="20542" y="10800"/>
                  </a:cubicBezTo>
                </a:path>
                <a:path w="20543" h="17475" stroke="0" extrusionOk="0">
                  <a:moveTo>
                    <a:pt x="12695" y="0"/>
                  </a:moveTo>
                  <a:cubicBezTo>
                    <a:pt x="16386" y="2681"/>
                    <a:pt x="19133" y="6461"/>
                    <a:pt x="20542" y="10800"/>
                  </a:cubicBezTo>
                  <a:lnTo>
                    <a:pt x="0" y="17475"/>
                  </a:lnTo>
                  <a:close/>
                </a:path>
              </a:pathLst>
            </a:custGeom>
            <a:grpFill/>
            <a:ln w="12700">
              <a:solidFill>
                <a:schemeClr val="bg1"/>
              </a:solidFill>
              <a:round/>
              <a:headEnd/>
              <a:tailEnd/>
            </a:ln>
          </p:spPr>
          <p:txBody>
            <a:bodyPr lIns="731520" tIns="44450" rIns="44450" bIns="274320" anchor="ctr"/>
            <a:lstStyle/>
            <a:p>
              <a:pPr algn="ctr" eaLnBrk="1" hangingPunct="1">
                <a:spcBef>
                  <a:spcPct val="20000"/>
                </a:spcBef>
                <a:defRPr/>
              </a:pPr>
              <a:r>
                <a:rPr lang="en-GB" sz="1200" dirty="0">
                  <a:cs typeface="Arial" pitchFamily="34" charset="0"/>
                </a:rPr>
                <a:t>Text</a:t>
              </a:r>
            </a:p>
          </p:txBody>
        </p:sp>
        <p:sp>
          <p:nvSpPr>
            <p:cNvPr id="77" name="Freeform 76"/>
            <p:cNvSpPr>
              <a:spLocks/>
            </p:cNvSpPr>
            <p:nvPr/>
          </p:nvSpPr>
          <p:spPr bwMode="auto">
            <a:xfrm>
              <a:off x="3356" y="1948"/>
              <a:ext cx="1097" cy="933"/>
            </a:xfrm>
            <a:custGeom>
              <a:avLst/>
              <a:gdLst>
                <a:gd name="T0" fmla="*/ 677 w 1097"/>
                <a:gd name="T1" fmla="*/ 0 h 933"/>
                <a:gd name="T2" fmla="*/ 0 w 1097"/>
                <a:gd name="T3" fmla="*/ 932 h 933"/>
                <a:gd name="T4" fmla="*/ 1096 w 1097"/>
                <a:gd name="T5" fmla="*/ 57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677" y="0"/>
                  </a:moveTo>
                  <a:lnTo>
                    <a:pt x="0" y="932"/>
                  </a:lnTo>
                  <a:lnTo>
                    <a:pt x="1096" y="576"/>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2" name="Group 9"/>
          <p:cNvGrpSpPr>
            <a:grpSpLocks/>
          </p:cNvGrpSpPr>
          <p:nvPr/>
        </p:nvGrpSpPr>
        <p:grpSpPr bwMode="auto">
          <a:xfrm>
            <a:off x="6095311" y="3352017"/>
            <a:ext cx="1992313" cy="1233468"/>
            <a:chOff x="3356" y="2524"/>
            <a:chExt cx="1152" cy="713"/>
          </a:xfrm>
          <a:solidFill>
            <a:schemeClr val="accent1"/>
          </a:solidFill>
        </p:grpSpPr>
        <p:sp>
          <p:nvSpPr>
            <p:cNvPr id="74" name="Arc 10"/>
            <p:cNvSpPr>
              <a:spLocks/>
            </p:cNvSpPr>
            <p:nvPr/>
          </p:nvSpPr>
          <p:spPr bwMode="auto">
            <a:xfrm>
              <a:off x="3356"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20542" y="0"/>
                  </a:moveTo>
                  <a:cubicBezTo>
                    <a:pt x="21243" y="2155"/>
                    <a:pt x="21600" y="4408"/>
                    <a:pt x="21600" y="6675"/>
                  </a:cubicBezTo>
                  <a:cubicBezTo>
                    <a:pt x="21600" y="8941"/>
                    <a:pt x="21243" y="11194"/>
                    <a:pt x="20542" y="13349"/>
                  </a:cubicBezTo>
                </a:path>
                <a:path w="21600" h="13350" stroke="0" extrusionOk="0">
                  <a:moveTo>
                    <a:pt x="20542" y="0"/>
                  </a:moveTo>
                  <a:cubicBezTo>
                    <a:pt x="21243" y="2155"/>
                    <a:pt x="21600" y="4408"/>
                    <a:pt x="21600" y="6675"/>
                  </a:cubicBezTo>
                  <a:cubicBezTo>
                    <a:pt x="21600" y="8941"/>
                    <a:pt x="21243" y="11194"/>
                    <a:pt x="20542" y="13349"/>
                  </a:cubicBezTo>
                  <a:lnTo>
                    <a:pt x="0" y="6675"/>
                  </a:lnTo>
                  <a:close/>
                </a:path>
              </a:pathLst>
            </a:custGeom>
            <a:grpFill/>
            <a:ln w="12700">
              <a:solidFill>
                <a:schemeClr val="bg1"/>
              </a:solidFill>
              <a:round/>
              <a:headEnd/>
              <a:tailEnd/>
            </a:ln>
          </p:spPr>
          <p:txBody>
            <a:bodyPr lIns="1097280" tIns="44450" rIns="44450" bIns="44450" anchor="ctr"/>
            <a:lstStyle/>
            <a:p>
              <a:pPr algn="ctr" eaLnBrk="1" hangingPunct="1">
                <a:spcBef>
                  <a:spcPct val="20000"/>
                </a:spcBef>
                <a:defRPr/>
              </a:pPr>
              <a:r>
                <a:rPr lang="en-GB" sz="1200" dirty="0">
                  <a:cs typeface="Arial" pitchFamily="34" charset="0"/>
                </a:rPr>
                <a:t>Text</a:t>
              </a:r>
            </a:p>
          </p:txBody>
        </p:sp>
        <p:sp>
          <p:nvSpPr>
            <p:cNvPr id="75" name="Freeform 74"/>
            <p:cNvSpPr>
              <a:spLocks/>
            </p:cNvSpPr>
            <p:nvPr/>
          </p:nvSpPr>
          <p:spPr bwMode="auto">
            <a:xfrm>
              <a:off x="3356" y="2524"/>
              <a:ext cx="1097" cy="713"/>
            </a:xfrm>
            <a:custGeom>
              <a:avLst/>
              <a:gdLst>
                <a:gd name="T0" fmla="*/ 1096 w 1097"/>
                <a:gd name="T1" fmla="*/ 0 h 713"/>
                <a:gd name="T2" fmla="*/ 0 w 1097"/>
                <a:gd name="T3" fmla="*/ 356 h 713"/>
                <a:gd name="T4" fmla="*/ 1096 w 1097"/>
                <a:gd name="T5" fmla="*/ 712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1096" y="0"/>
                  </a:moveTo>
                  <a:lnTo>
                    <a:pt x="0" y="356"/>
                  </a:lnTo>
                  <a:lnTo>
                    <a:pt x="1096" y="71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3" name="Group 12"/>
          <p:cNvGrpSpPr>
            <a:grpSpLocks/>
          </p:cNvGrpSpPr>
          <p:nvPr/>
        </p:nvGrpSpPr>
        <p:grpSpPr bwMode="auto">
          <a:xfrm>
            <a:off x="6095310" y="3967371"/>
            <a:ext cx="1897112" cy="1612890"/>
            <a:chOff x="3356" y="2880"/>
            <a:chExt cx="1097" cy="933"/>
          </a:xfrm>
          <a:solidFill>
            <a:schemeClr val="accent1"/>
          </a:solidFill>
        </p:grpSpPr>
        <p:sp>
          <p:nvSpPr>
            <p:cNvPr id="72" name="Arc 13"/>
            <p:cNvSpPr>
              <a:spLocks/>
            </p:cNvSpPr>
            <p:nvPr/>
          </p:nvSpPr>
          <p:spPr bwMode="auto">
            <a:xfrm>
              <a:off x="3356"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grpFill/>
            <a:ln w="12700">
              <a:solidFill>
                <a:schemeClr val="bg1"/>
              </a:solidFill>
              <a:round/>
              <a:headEnd/>
              <a:tailEnd/>
            </a:ln>
          </p:spPr>
          <p:txBody>
            <a:bodyPr lIns="731520" tIns="182880" rIns="44450" bIns="44450" anchor="ctr"/>
            <a:lstStyle/>
            <a:p>
              <a:pPr algn="ctr" eaLnBrk="1" hangingPunct="1">
                <a:spcBef>
                  <a:spcPct val="20000"/>
                </a:spcBef>
                <a:defRPr/>
              </a:pPr>
              <a:r>
                <a:rPr lang="en-GB" sz="1200" dirty="0">
                  <a:cs typeface="Arial" pitchFamily="34" charset="0"/>
                </a:rPr>
                <a:t>Text</a:t>
              </a:r>
            </a:p>
          </p:txBody>
        </p:sp>
        <p:sp>
          <p:nvSpPr>
            <p:cNvPr id="73" name="Freeform 72"/>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4" name="Group 15"/>
          <p:cNvGrpSpPr>
            <a:grpSpLocks/>
          </p:cNvGrpSpPr>
          <p:nvPr/>
        </p:nvGrpSpPr>
        <p:grpSpPr bwMode="auto">
          <a:xfrm>
            <a:off x="6095310" y="3967371"/>
            <a:ext cx="1174140" cy="1993692"/>
            <a:chOff x="3356" y="2880"/>
            <a:chExt cx="678" cy="1153"/>
          </a:xfrm>
          <a:solidFill>
            <a:schemeClr val="accent1"/>
          </a:solidFill>
        </p:grpSpPr>
        <p:sp>
          <p:nvSpPr>
            <p:cNvPr id="70" name="Arc 16"/>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grpFill/>
            <a:ln w="12700">
              <a:solidFill>
                <a:schemeClr val="bg1"/>
              </a:solidFill>
              <a:round/>
              <a:headEnd/>
              <a:tailEnd/>
            </a:ln>
          </p:spPr>
          <p:txBody>
            <a:bodyPr lIns="44450" tIns="1005840" rIns="274320" bIns="44450" anchor="ctr"/>
            <a:lstStyle/>
            <a:p>
              <a:pPr algn="ctr" eaLnBrk="1" hangingPunct="1">
                <a:spcBef>
                  <a:spcPct val="20000"/>
                </a:spcBef>
                <a:defRPr/>
              </a:pPr>
              <a:r>
                <a:rPr lang="en-GB" sz="1200" dirty="0">
                  <a:cs typeface="Arial" pitchFamily="34" charset="0"/>
                </a:rPr>
                <a:t>Text</a:t>
              </a:r>
            </a:p>
          </p:txBody>
        </p:sp>
        <p:sp>
          <p:nvSpPr>
            <p:cNvPr id="71" name="Freeform 70"/>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5" name="Group 18"/>
          <p:cNvGrpSpPr>
            <a:grpSpLocks/>
          </p:cNvGrpSpPr>
          <p:nvPr/>
        </p:nvGrpSpPr>
        <p:grpSpPr bwMode="auto">
          <a:xfrm>
            <a:off x="4925311" y="3967371"/>
            <a:ext cx="1171381" cy="1993692"/>
            <a:chOff x="2679" y="2880"/>
            <a:chExt cx="678" cy="1153"/>
          </a:xfrm>
          <a:solidFill>
            <a:schemeClr val="accent1"/>
          </a:solidFill>
        </p:grpSpPr>
        <p:sp>
          <p:nvSpPr>
            <p:cNvPr id="68" name="Arc 19"/>
            <p:cNvSpPr>
              <a:spLocks/>
            </p:cNvSpPr>
            <p:nvPr/>
          </p:nvSpPr>
          <p:spPr bwMode="auto">
            <a:xfrm>
              <a:off x="2679"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grpFill/>
            <a:ln w="12700">
              <a:solidFill>
                <a:schemeClr val="bg1"/>
              </a:solidFill>
              <a:round/>
              <a:headEnd/>
              <a:tailEnd/>
            </a:ln>
          </p:spPr>
          <p:txBody>
            <a:bodyPr lIns="274320" tIns="1005840" rIns="44450" bIns="44450" anchor="ctr"/>
            <a:lstStyle/>
            <a:p>
              <a:pPr algn="ctr" eaLnBrk="1" hangingPunct="1">
                <a:spcBef>
                  <a:spcPct val="20000"/>
                </a:spcBef>
                <a:defRPr/>
              </a:pPr>
              <a:r>
                <a:rPr lang="en-GB" sz="1200" dirty="0">
                  <a:cs typeface="Arial" pitchFamily="34" charset="0"/>
                </a:rPr>
                <a:t>Text</a:t>
              </a:r>
            </a:p>
          </p:txBody>
        </p:sp>
        <p:sp>
          <p:nvSpPr>
            <p:cNvPr id="69" name="Freeform 68"/>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6" name="Group 21"/>
          <p:cNvGrpSpPr>
            <a:grpSpLocks/>
          </p:cNvGrpSpPr>
          <p:nvPr/>
        </p:nvGrpSpPr>
        <p:grpSpPr bwMode="auto">
          <a:xfrm>
            <a:off x="4200958" y="3967371"/>
            <a:ext cx="1895732" cy="1612890"/>
            <a:chOff x="2260" y="2880"/>
            <a:chExt cx="1097" cy="933"/>
          </a:xfrm>
          <a:solidFill>
            <a:schemeClr val="accent1"/>
          </a:solidFill>
        </p:grpSpPr>
        <p:sp>
          <p:nvSpPr>
            <p:cNvPr id="66" name="Arc 22"/>
            <p:cNvSpPr>
              <a:spLocks/>
            </p:cNvSpPr>
            <p:nvPr/>
          </p:nvSpPr>
          <p:spPr bwMode="auto">
            <a:xfrm>
              <a:off x="2260"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7847" y="17474"/>
                  </a:moveTo>
                  <a:cubicBezTo>
                    <a:pt x="4156" y="14793"/>
                    <a:pt x="1409" y="11013"/>
                    <a:pt x="0" y="6674"/>
                  </a:cubicBezTo>
                </a:path>
                <a:path w="20543" h="17475" stroke="0" extrusionOk="0">
                  <a:moveTo>
                    <a:pt x="7847" y="17474"/>
                  </a:moveTo>
                  <a:cubicBezTo>
                    <a:pt x="4156" y="14793"/>
                    <a:pt x="1409" y="11013"/>
                    <a:pt x="0" y="6674"/>
                  </a:cubicBezTo>
                  <a:lnTo>
                    <a:pt x="20543" y="0"/>
                  </a:lnTo>
                  <a:close/>
                </a:path>
              </a:pathLst>
            </a:custGeom>
            <a:grpFill/>
            <a:ln w="12700">
              <a:solidFill>
                <a:schemeClr val="bg1"/>
              </a:solidFill>
              <a:round/>
              <a:headEnd/>
              <a:tailEnd/>
            </a:ln>
          </p:spPr>
          <p:txBody>
            <a:bodyPr lIns="45720" tIns="182880" rIns="731520" bIns="45720" anchor="ctr"/>
            <a:lstStyle/>
            <a:p>
              <a:pPr algn="ctr" eaLnBrk="1" hangingPunct="1">
                <a:spcBef>
                  <a:spcPct val="20000"/>
                </a:spcBef>
                <a:defRPr/>
              </a:pPr>
              <a:r>
                <a:rPr lang="en-GB" sz="1200" dirty="0">
                  <a:cs typeface="Arial" pitchFamily="34" charset="0"/>
                </a:rPr>
                <a:t>Text</a:t>
              </a:r>
            </a:p>
          </p:txBody>
        </p:sp>
        <p:sp>
          <p:nvSpPr>
            <p:cNvPr id="67" name="Freeform 66"/>
            <p:cNvSpPr>
              <a:spLocks/>
            </p:cNvSpPr>
            <p:nvPr/>
          </p:nvSpPr>
          <p:spPr bwMode="auto">
            <a:xfrm>
              <a:off x="2260" y="2880"/>
              <a:ext cx="1097" cy="933"/>
            </a:xfrm>
            <a:custGeom>
              <a:avLst/>
              <a:gdLst>
                <a:gd name="T0" fmla="*/ 419 w 1097"/>
                <a:gd name="T1" fmla="*/ 932 h 933"/>
                <a:gd name="T2" fmla="*/ 1096 w 1097"/>
                <a:gd name="T3" fmla="*/ 0 h 933"/>
                <a:gd name="T4" fmla="*/ 0 w 1097"/>
                <a:gd name="T5" fmla="*/ 35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419" y="932"/>
                  </a:moveTo>
                  <a:lnTo>
                    <a:pt x="1096" y="0"/>
                  </a:lnTo>
                  <a:lnTo>
                    <a:pt x="0" y="356"/>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7" name="Group 24"/>
          <p:cNvGrpSpPr>
            <a:grpSpLocks/>
          </p:cNvGrpSpPr>
          <p:nvPr/>
        </p:nvGrpSpPr>
        <p:grpSpPr bwMode="auto">
          <a:xfrm>
            <a:off x="4104379" y="3352017"/>
            <a:ext cx="1992313" cy="1233468"/>
            <a:chOff x="2204" y="2524"/>
            <a:chExt cx="1153" cy="713"/>
          </a:xfrm>
          <a:solidFill>
            <a:schemeClr val="accent1"/>
          </a:solidFill>
        </p:grpSpPr>
        <p:sp>
          <p:nvSpPr>
            <p:cNvPr id="64" name="Arc 25"/>
            <p:cNvSpPr>
              <a:spLocks/>
            </p:cNvSpPr>
            <p:nvPr/>
          </p:nvSpPr>
          <p:spPr bwMode="auto">
            <a:xfrm>
              <a:off x="2204"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grpFill/>
            <a:ln w="12700">
              <a:solidFill>
                <a:schemeClr val="bg1"/>
              </a:solidFill>
              <a:round/>
              <a:headEnd/>
              <a:tailEnd/>
            </a:ln>
          </p:spPr>
          <p:txBody>
            <a:bodyPr lIns="44450" tIns="44450" rIns="1097280" bIns="44450" anchor="ctr"/>
            <a:lstStyle/>
            <a:p>
              <a:pPr algn="ctr" eaLnBrk="1" hangingPunct="1">
                <a:spcBef>
                  <a:spcPct val="20000"/>
                </a:spcBef>
                <a:defRPr/>
              </a:pPr>
              <a:r>
                <a:rPr lang="en-GB" sz="1200" dirty="0">
                  <a:cs typeface="Arial" pitchFamily="34" charset="0"/>
                </a:rPr>
                <a:t>Text</a:t>
              </a:r>
            </a:p>
          </p:txBody>
        </p:sp>
        <p:sp>
          <p:nvSpPr>
            <p:cNvPr id="65" name="Freeform 64"/>
            <p:cNvSpPr>
              <a:spLocks/>
            </p:cNvSpPr>
            <p:nvPr/>
          </p:nvSpPr>
          <p:spPr bwMode="auto">
            <a:xfrm>
              <a:off x="2260"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8" name="Group 27"/>
          <p:cNvGrpSpPr>
            <a:grpSpLocks/>
          </p:cNvGrpSpPr>
          <p:nvPr/>
        </p:nvGrpSpPr>
        <p:grpSpPr bwMode="auto">
          <a:xfrm>
            <a:off x="4200958" y="2357241"/>
            <a:ext cx="1895732" cy="1612891"/>
            <a:chOff x="2260" y="1948"/>
            <a:chExt cx="1097" cy="933"/>
          </a:xfrm>
          <a:solidFill>
            <a:schemeClr val="accent1"/>
          </a:solidFill>
        </p:grpSpPr>
        <p:sp>
          <p:nvSpPr>
            <p:cNvPr id="62" name="Arc 28"/>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grpFill/>
            <a:ln w="12700">
              <a:solidFill>
                <a:schemeClr val="bg1"/>
              </a:solidFill>
              <a:round/>
              <a:headEnd/>
              <a:tailEnd/>
            </a:ln>
          </p:spPr>
          <p:txBody>
            <a:bodyPr lIns="45720" tIns="44450" rIns="731520" bIns="274320" anchor="ctr"/>
            <a:lstStyle/>
            <a:p>
              <a:pPr algn="ctr" eaLnBrk="1" hangingPunct="1">
                <a:spcBef>
                  <a:spcPct val="20000"/>
                </a:spcBef>
                <a:defRPr/>
              </a:pPr>
              <a:r>
                <a:rPr lang="en-GB" sz="1200" dirty="0">
                  <a:cs typeface="Arial" pitchFamily="34" charset="0"/>
                </a:rPr>
                <a:t>Text</a:t>
              </a:r>
            </a:p>
          </p:txBody>
        </p:sp>
        <p:sp>
          <p:nvSpPr>
            <p:cNvPr id="63" name="Freeform 62"/>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9" name="Group 30"/>
          <p:cNvGrpSpPr>
            <a:grpSpLocks/>
          </p:cNvGrpSpPr>
          <p:nvPr/>
        </p:nvGrpSpPr>
        <p:grpSpPr bwMode="auto">
          <a:xfrm>
            <a:off x="4925311" y="1976439"/>
            <a:ext cx="1171381" cy="1993693"/>
            <a:chOff x="2679" y="1728"/>
            <a:chExt cx="678" cy="1153"/>
          </a:xfrm>
          <a:solidFill>
            <a:schemeClr val="accent1"/>
          </a:solidFill>
        </p:grpSpPr>
        <p:sp>
          <p:nvSpPr>
            <p:cNvPr id="60" name="Arc 31"/>
            <p:cNvSpPr>
              <a:spLocks/>
            </p:cNvSpPr>
            <p:nvPr/>
          </p:nvSpPr>
          <p:spPr bwMode="auto">
            <a:xfrm>
              <a:off x="2679"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grpFill/>
            <a:ln w="12700">
              <a:solidFill>
                <a:schemeClr val="bg1"/>
              </a:solidFill>
              <a:round/>
              <a:headEnd/>
              <a:tailEnd/>
            </a:ln>
          </p:spPr>
          <p:txBody>
            <a:bodyPr lIns="274320" tIns="45720" rIns="44450" bIns="1005840" anchor="ctr"/>
            <a:lstStyle/>
            <a:p>
              <a:pPr algn="ctr" eaLnBrk="1" hangingPunct="1">
                <a:spcBef>
                  <a:spcPct val="20000"/>
                </a:spcBef>
                <a:defRPr/>
              </a:pPr>
              <a:r>
                <a:rPr lang="en-GB" sz="1200" dirty="0">
                  <a:cs typeface="Arial" pitchFamily="34" charset="0"/>
                </a:rPr>
                <a:t>Text</a:t>
              </a:r>
            </a:p>
          </p:txBody>
        </p:sp>
        <p:sp>
          <p:nvSpPr>
            <p:cNvPr id="61" name="Freeform 60"/>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sp>
        <p:nvSpPr>
          <p:cNvPr id="80" name="Oval 79"/>
          <p:cNvSpPr>
            <a:spLocks noChangeArrowheads="1"/>
          </p:cNvSpPr>
          <p:nvPr/>
        </p:nvSpPr>
        <p:spPr bwMode="auto">
          <a:xfrm>
            <a:off x="5098380" y="2971410"/>
            <a:ext cx="1992313" cy="1990933"/>
          </a:xfrm>
          <a:prstGeom prst="ellipse">
            <a:avLst/>
          </a:prstGeom>
          <a:solidFill>
            <a:schemeClr val="tx1"/>
          </a:solidFill>
          <a:ln w="57150">
            <a:solidFill>
              <a:schemeClr val="bg1"/>
            </a:solidFill>
            <a:round/>
            <a:headEnd/>
            <a:tailEnd/>
          </a:ln>
        </p:spPr>
        <p:txBody>
          <a:bodyPr lIns="44450" tIns="44450" rIns="44450" bIns="44450" anchor="ctr"/>
          <a:lstStyle/>
          <a:p>
            <a:pPr algn="ctr" eaLnBrk="1" hangingPunct="1">
              <a:lnSpc>
                <a:spcPct val="95000"/>
              </a:lnSpc>
              <a:spcBef>
                <a:spcPct val="20000"/>
              </a:spcBef>
              <a:spcAft>
                <a:spcPct val="37000"/>
              </a:spcAft>
              <a:defRPr/>
            </a:pPr>
            <a:r>
              <a:rPr lang="en-GB" sz="1400" dirty="0">
                <a:solidFill>
                  <a:schemeClr val="bg1"/>
                </a:solidFill>
                <a:ea typeface="ＭＳ Ｐゴシック" pitchFamily="50" charset="-128"/>
                <a:cs typeface="Arial" pitchFamily="34" charset="0"/>
              </a:rPr>
              <a:t>Text</a:t>
            </a:r>
          </a:p>
        </p:txBody>
      </p:sp>
      <p:sp>
        <p:nvSpPr>
          <p:cNvPr id="38" name="TextBox 37"/>
          <p:cNvSpPr txBox="1"/>
          <p:nvPr/>
        </p:nvSpPr>
        <p:spPr>
          <a:xfrm>
            <a:off x="501650" y="6108406"/>
            <a:ext cx="9772650" cy="31078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39" name="TextBox 38">
            <a:extLst>
              <a:ext uri="{FF2B5EF4-FFF2-40B4-BE49-F238E27FC236}">
                <a16:creationId xmlns:a16="http://schemas.microsoft.com/office/drawing/2014/main" id="{87E52A07-C58C-46C2-842E-C668EA718E52}"/>
              </a:ext>
            </a:extLst>
          </p:cNvPr>
          <p:cNvSpPr txBox="1"/>
          <p:nvPr/>
        </p:nvSpPr>
        <p:spPr bwMode="gray">
          <a:xfrm>
            <a:off x="501650" y="1710507"/>
            <a:ext cx="9791446"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4151701569"/>
      </p:ext>
    </p:extLst>
  </p:cSld>
  <p:clrMapOvr>
    <a:masterClrMapping/>
  </p:clrMapOvr>
  <p:transition>
    <p:fade/>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Matrices</a:t>
            </a:r>
            <a:endParaRPr lang="en-US" dirty="0"/>
          </a:p>
        </p:txBody>
      </p:sp>
      <p:sp>
        <p:nvSpPr>
          <p:cNvPr id="691201" name="Title 1"/>
          <p:cNvSpPr>
            <a:spLocks noGrp="1"/>
          </p:cNvSpPr>
          <p:nvPr>
            <p:ph type="title"/>
          </p:nvPr>
        </p:nvSpPr>
        <p:spPr/>
        <p:txBody>
          <a:bodyPr/>
          <a:lstStyle/>
          <a:p>
            <a:r>
              <a:rPr lang="en-US"/>
              <a:t>Boxes</a:t>
            </a:r>
            <a:endParaRPr lang="en-US" dirty="0"/>
          </a:p>
        </p:txBody>
      </p:sp>
      <p:grpSp>
        <p:nvGrpSpPr>
          <p:cNvPr id="2" name="Group 1">
            <a:extLst>
              <a:ext uri="{FF2B5EF4-FFF2-40B4-BE49-F238E27FC236}">
                <a16:creationId xmlns:a16="http://schemas.microsoft.com/office/drawing/2014/main" id="{8EB68819-1B5C-4341-A88E-73673E238A39}"/>
              </a:ext>
            </a:extLst>
          </p:cNvPr>
          <p:cNvGrpSpPr>
            <a:grpSpLocks noChangeAspect="1"/>
          </p:cNvGrpSpPr>
          <p:nvPr/>
        </p:nvGrpSpPr>
        <p:grpSpPr>
          <a:xfrm>
            <a:off x="520220" y="2025108"/>
            <a:ext cx="5029200" cy="3846382"/>
            <a:chOff x="1821827" y="2026695"/>
            <a:chExt cx="4104553" cy="3139203"/>
          </a:xfrm>
        </p:grpSpPr>
        <p:grpSp>
          <p:nvGrpSpPr>
            <p:cNvPr id="38" name="Group 3"/>
            <p:cNvGrpSpPr>
              <a:grpSpLocks/>
            </p:cNvGrpSpPr>
            <p:nvPr/>
          </p:nvGrpSpPr>
          <p:grpSpPr bwMode="auto">
            <a:xfrm>
              <a:off x="2634541" y="2026695"/>
              <a:ext cx="3291839" cy="2820988"/>
              <a:chOff x="470" y="1382"/>
              <a:chExt cx="2515" cy="1777"/>
            </a:xfrm>
            <a:solidFill>
              <a:schemeClr val="accent1"/>
            </a:solidFill>
          </p:grpSpPr>
          <p:sp>
            <p:nvSpPr>
              <p:cNvPr id="39" name="Rectangle 4"/>
              <p:cNvSpPr>
                <a:spLocks noChangeArrowheads="1"/>
              </p:cNvSpPr>
              <p:nvPr/>
            </p:nvSpPr>
            <p:spPr bwMode="auto">
              <a:xfrm>
                <a:off x="1727" y="2271"/>
                <a:ext cx="1258" cy="888"/>
              </a:xfrm>
              <a:prstGeom prst="rect">
                <a:avLst/>
              </a:prstGeom>
              <a:solidFill>
                <a:schemeClr val="accent2"/>
              </a:solidFill>
              <a:ln w="9525">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40" name="Rectangle 5"/>
              <p:cNvSpPr>
                <a:spLocks noChangeArrowheads="1"/>
              </p:cNvSpPr>
              <p:nvPr/>
            </p:nvSpPr>
            <p:spPr bwMode="auto">
              <a:xfrm>
                <a:off x="470" y="2271"/>
                <a:ext cx="1257" cy="888"/>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41" name="Rectangle 6"/>
              <p:cNvSpPr>
                <a:spLocks noChangeArrowheads="1"/>
              </p:cNvSpPr>
              <p:nvPr/>
            </p:nvSpPr>
            <p:spPr bwMode="auto">
              <a:xfrm>
                <a:off x="470" y="1382"/>
                <a:ext cx="1257" cy="888"/>
              </a:xfrm>
              <a:prstGeom prst="rect">
                <a:avLst/>
              </a:prstGeom>
              <a:solidFill>
                <a:schemeClr val="accent2"/>
              </a:solidFill>
              <a:ln w="9525" algn="ctr">
                <a:solidFill>
                  <a:srgbClr val="FFFFFF"/>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42" name="Rectangle 7"/>
              <p:cNvSpPr>
                <a:spLocks noChangeArrowheads="1"/>
              </p:cNvSpPr>
              <p:nvPr/>
            </p:nvSpPr>
            <p:spPr bwMode="auto">
              <a:xfrm>
                <a:off x="1727" y="1382"/>
                <a:ext cx="1258" cy="888"/>
              </a:xfrm>
              <a:prstGeom prst="rect">
                <a:avLst/>
              </a:prstGeom>
              <a:solidFill>
                <a:schemeClr val="accent2"/>
              </a:solidFill>
              <a:ln w="9525" algn="ctr">
                <a:solidFill>
                  <a:srgbClr val="FFFFFF"/>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grpSp>
        <p:sp>
          <p:nvSpPr>
            <p:cNvPr id="43" name="Text Box 8"/>
            <p:cNvSpPr txBox="1">
              <a:spLocks noChangeAspect="1" noChangeArrowheads="1"/>
            </p:cNvSpPr>
            <p:nvPr/>
          </p:nvSpPr>
          <p:spPr bwMode="auto">
            <a:xfrm>
              <a:off x="1821827" y="3360244"/>
              <a:ext cx="671591" cy="153888"/>
            </a:xfrm>
            <a:prstGeom prst="rect">
              <a:avLst/>
            </a:prstGeom>
            <a:noFill/>
            <a:ln w="9525">
              <a:noFill/>
              <a:miter lim="800000"/>
              <a:headEnd/>
              <a:tailEnd/>
            </a:ln>
          </p:spPr>
          <p:txBody>
            <a:bodyPr wrap="square" lIns="0" tIns="0" rIns="0" bIns="0" anchor="ctr" anchorCtr="0">
              <a:spAutoFit/>
            </a:bodyPr>
            <a:lstStyle/>
            <a:p>
              <a:pPr algn="ctr" eaLnBrk="1" hangingPunct="1">
                <a:spcBef>
                  <a:spcPct val="20000"/>
                </a:spcBef>
              </a:pPr>
              <a:r>
                <a:rPr lang="en-GB" sz="1000" dirty="0">
                  <a:ea typeface="ＭＳ Ｐゴシック" charset="-128"/>
                  <a:cs typeface="Arial" pitchFamily="34" charset="0"/>
                </a:rPr>
                <a:t>Vertical axis</a:t>
              </a:r>
            </a:p>
          </p:txBody>
        </p:sp>
        <p:sp>
          <p:nvSpPr>
            <p:cNvPr id="45" name="Text Box 9"/>
            <p:cNvSpPr txBox="1">
              <a:spLocks noChangeAspect="1" noChangeArrowheads="1"/>
            </p:cNvSpPr>
            <p:nvPr/>
          </p:nvSpPr>
          <p:spPr bwMode="auto">
            <a:xfrm>
              <a:off x="2353020" y="2072861"/>
              <a:ext cx="24045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High</a:t>
              </a:r>
            </a:p>
          </p:txBody>
        </p:sp>
        <p:sp>
          <p:nvSpPr>
            <p:cNvPr id="46" name="Text Box 10"/>
            <p:cNvSpPr txBox="1">
              <a:spLocks noChangeAspect="1" noChangeArrowheads="1"/>
            </p:cNvSpPr>
            <p:nvPr/>
          </p:nvSpPr>
          <p:spPr bwMode="auto">
            <a:xfrm>
              <a:off x="2627373" y="4903374"/>
              <a:ext cx="282129" cy="153888"/>
            </a:xfrm>
            <a:prstGeom prst="rect">
              <a:avLst/>
            </a:prstGeom>
            <a:noFill/>
            <a:ln w="9525">
              <a:noFill/>
              <a:miter lim="800000"/>
              <a:headEnd/>
              <a:tailEnd/>
            </a:ln>
          </p:spPr>
          <p:txBody>
            <a:bodyPr wrap="none" lIns="0" tIns="0" rIns="0" bIns="0" anchor="ctr" anchorCtr="0">
              <a:spAutoFit/>
            </a:bodyPr>
            <a:lstStyle/>
            <a:p>
              <a:pPr eaLnBrk="1" hangingPunct="1">
                <a:spcBef>
                  <a:spcPct val="20000"/>
                </a:spcBef>
              </a:pPr>
              <a:r>
                <a:rPr lang="en-GB" sz="1000" i="1" dirty="0">
                  <a:ea typeface="ＭＳ Ｐゴシック" charset="-128"/>
                  <a:cs typeface="Arial" pitchFamily="34" charset="0"/>
                </a:rPr>
                <a:t>Small</a:t>
              </a:r>
            </a:p>
          </p:txBody>
        </p:sp>
        <p:sp>
          <p:nvSpPr>
            <p:cNvPr id="47" name="Text Box 11"/>
            <p:cNvSpPr txBox="1">
              <a:spLocks noChangeAspect="1" noChangeArrowheads="1"/>
            </p:cNvSpPr>
            <p:nvPr/>
          </p:nvSpPr>
          <p:spPr bwMode="auto">
            <a:xfrm>
              <a:off x="3758968" y="5012010"/>
              <a:ext cx="1042987" cy="153888"/>
            </a:xfrm>
            <a:prstGeom prst="rect">
              <a:avLst/>
            </a:prstGeom>
            <a:noFill/>
            <a:ln w="9525">
              <a:noFill/>
              <a:miter lim="800000"/>
              <a:headEnd/>
              <a:tailEnd/>
            </a:ln>
          </p:spPr>
          <p:txBody>
            <a:bodyPr lIns="0" tIns="0" rIns="0" bIns="0" anchor="ctr" anchorCtr="0">
              <a:spAutoFit/>
            </a:bodyPr>
            <a:lstStyle/>
            <a:p>
              <a:pPr algn="ctr" eaLnBrk="1" hangingPunct="1">
                <a:spcBef>
                  <a:spcPct val="20000"/>
                </a:spcBef>
              </a:pPr>
              <a:r>
                <a:rPr lang="en-GB" sz="1000" dirty="0">
                  <a:ea typeface="ＭＳ Ｐゴシック" charset="-128"/>
                  <a:cs typeface="Arial" pitchFamily="34" charset="0"/>
                </a:rPr>
                <a:t>Horizontal axis</a:t>
              </a:r>
            </a:p>
          </p:txBody>
        </p:sp>
        <p:sp>
          <p:nvSpPr>
            <p:cNvPr id="48" name="Text Box 12"/>
            <p:cNvSpPr txBox="1">
              <a:spLocks noChangeAspect="1" noChangeArrowheads="1"/>
            </p:cNvSpPr>
            <p:nvPr/>
          </p:nvSpPr>
          <p:spPr bwMode="auto">
            <a:xfrm>
              <a:off x="2385080" y="4643367"/>
              <a:ext cx="20839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ow</a:t>
              </a:r>
            </a:p>
          </p:txBody>
        </p:sp>
        <p:sp>
          <p:nvSpPr>
            <p:cNvPr id="49" name="Text Box 13"/>
            <p:cNvSpPr txBox="1">
              <a:spLocks noChangeAspect="1" noChangeArrowheads="1"/>
            </p:cNvSpPr>
            <p:nvPr/>
          </p:nvSpPr>
          <p:spPr bwMode="auto">
            <a:xfrm>
              <a:off x="5636235" y="4903374"/>
              <a:ext cx="290144"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arge</a:t>
              </a:r>
            </a:p>
          </p:txBody>
        </p:sp>
      </p:grpSp>
      <p:grpSp>
        <p:nvGrpSpPr>
          <p:cNvPr id="3" name="Group 2">
            <a:extLst>
              <a:ext uri="{FF2B5EF4-FFF2-40B4-BE49-F238E27FC236}">
                <a16:creationId xmlns:a16="http://schemas.microsoft.com/office/drawing/2014/main" id="{4844D706-E808-4334-B7DD-EE6FF52832B5}"/>
              </a:ext>
            </a:extLst>
          </p:cNvPr>
          <p:cNvGrpSpPr>
            <a:grpSpLocks/>
          </p:cNvGrpSpPr>
          <p:nvPr/>
        </p:nvGrpSpPr>
        <p:grpSpPr>
          <a:xfrm>
            <a:off x="6175344" y="2025107"/>
            <a:ext cx="5029200" cy="3849624"/>
            <a:chOff x="6165071" y="2025108"/>
            <a:chExt cx="4109229" cy="3132851"/>
          </a:xfrm>
        </p:grpSpPr>
        <p:grpSp>
          <p:nvGrpSpPr>
            <p:cNvPr id="50" name="Group 44"/>
            <p:cNvGrpSpPr>
              <a:grpSpLocks/>
            </p:cNvGrpSpPr>
            <p:nvPr/>
          </p:nvGrpSpPr>
          <p:grpSpPr bwMode="auto">
            <a:xfrm>
              <a:off x="6982460" y="2025108"/>
              <a:ext cx="3291840" cy="2822575"/>
              <a:chOff x="5505152" y="2133600"/>
              <a:chExt cx="3992563" cy="2881313"/>
            </a:xfrm>
            <a:solidFill>
              <a:schemeClr val="accent1"/>
            </a:solidFill>
          </p:grpSpPr>
          <p:sp>
            <p:nvSpPr>
              <p:cNvPr id="51" name="Rectangle 21"/>
              <p:cNvSpPr>
                <a:spLocks noChangeArrowheads="1"/>
              </p:cNvSpPr>
              <p:nvPr/>
            </p:nvSpPr>
            <p:spPr bwMode="auto">
              <a:xfrm>
                <a:off x="6834286" y="4040970"/>
                <a:ext cx="1330854" cy="973943"/>
              </a:xfrm>
              <a:prstGeom prst="rect">
                <a:avLst/>
              </a:prstGeom>
              <a:solidFill>
                <a:schemeClr val="accent2"/>
              </a:solidFill>
              <a:ln w="9525">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2" name="Rectangle 22"/>
              <p:cNvSpPr>
                <a:spLocks noChangeArrowheads="1"/>
              </p:cNvSpPr>
              <p:nvPr/>
            </p:nvSpPr>
            <p:spPr bwMode="auto">
              <a:xfrm>
                <a:off x="5505152" y="4040970"/>
                <a:ext cx="1329134" cy="973943"/>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3" name="Rectangle 23"/>
              <p:cNvSpPr>
                <a:spLocks noChangeArrowheads="1"/>
              </p:cNvSpPr>
              <p:nvPr/>
            </p:nvSpPr>
            <p:spPr bwMode="auto">
              <a:xfrm>
                <a:off x="5505152" y="3068649"/>
                <a:ext cx="1329134" cy="972322"/>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4" name="Rectangle 24"/>
              <p:cNvSpPr>
                <a:spLocks noChangeArrowheads="1"/>
              </p:cNvSpPr>
              <p:nvPr/>
            </p:nvSpPr>
            <p:spPr bwMode="auto">
              <a:xfrm>
                <a:off x="6834286" y="3068649"/>
                <a:ext cx="1330854" cy="972322"/>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5" name="Rectangle 25"/>
              <p:cNvSpPr>
                <a:spLocks noChangeArrowheads="1"/>
              </p:cNvSpPr>
              <p:nvPr/>
            </p:nvSpPr>
            <p:spPr bwMode="auto">
              <a:xfrm>
                <a:off x="5505152" y="2133600"/>
                <a:ext cx="1328738" cy="973138"/>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6" name="Rectangle 26"/>
              <p:cNvSpPr>
                <a:spLocks noChangeArrowheads="1"/>
              </p:cNvSpPr>
              <p:nvPr/>
            </p:nvSpPr>
            <p:spPr bwMode="auto">
              <a:xfrm>
                <a:off x="6833890" y="2133600"/>
                <a:ext cx="1331913" cy="973138"/>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7" name="Rectangle 27"/>
              <p:cNvSpPr>
                <a:spLocks noChangeArrowheads="1"/>
              </p:cNvSpPr>
              <p:nvPr/>
            </p:nvSpPr>
            <p:spPr bwMode="auto">
              <a:xfrm>
                <a:off x="8166861" y="4040970"/>
                <a:ext cx="1330854" cy="973943"/>
              </a:xfrm>
              <a:prstGeom prst="rect">
                <a:avLst/>
              </a:prstGeom>
              <a:solidFill>
                <a:schemeClr val="accent2"/>
              </a:solidFill>
              <a:ln w="9525">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8" name="Rectangle 28"/>
              <p:cNvSpPr>
                <a:spLocks noChangeArrowheads="1"/>
              </p:cNvSpPr>
              <p:nvPr/>
            </p:nvSpPr>
            <p:spPr bwMode="auto">
              <a:xfrm>
                <a:off x="8166861" y="3068649"/>
                <a:ext cx="1330854" cy="972322"/>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sp>
            <p:nvSpPr>
              <p:cNvPr id="59" name="Rectangle 29"/>
              <p:cNvSpPr>
                <a:spLocks noChangeArrowheads="1"/>
              </p:cNvSpPr>
              <p:nvPr/>
            </p:nvSpPr>
            <p:spPr bwMode="auto">
              <a:xfrm>
                <a:off x="8166861" y="2133600"/>
                <a:ext cx="1330854" cy="973942"/>
              </a:xfrm>
              <a:prstGeom prst="rect">
                <a:avLst/>
              </a:prstGeom>
              <a:solidFill>
                <a:schemeClr val="accent2"/>
              </a:solidFill>
              <a:ln w="9525" algn="ctr">
                <a:solidFill>
                  <a:schemeClr val="bg1"/>
                </a:solidFill>
                <a:miter lim="800000"/>
                <a:headEnd/>
                <a:tailEnd/>
              </a:ln>
            </p:spPr>
            <p:txBody>
              <a:bodyPr lIns="88900" tIns="88900" rIns="88900" bIns="88900" anchor="ctr" anchorCtr="1"/>
              <a:lstStyle/>
              <a:p>
                <a:pPr algn="ctr" eaLnBrk="1" hangingPunct="1"/>
                <a:r>
                  <a:rPr lang="en-GB" altLang="ja-JP" sz="1000" b="1" dirty="0">
                    <a:solidFill>
                      <a:schemeClr val="bg1"/>
                    </a:solidFill>
                    <a:ea typeface="ＭＳ Ｐゴシック" charset="-128"/>
                    <a:cs typeface="Arial" pitchFamily="34" charset="0"/>
                  </a:rPr>
                  <a:t>Title:</a:t>
                </a:r>
              </a:p>
              <a:p>
                <a:pPr algn="ctr" eaLnBrk="1" hangingPunct="1"/>
                <a:r>
                  <a:rPr lang="en-GB" altLang="ja-JP" sz="1000" dirty="0">
                    <a:solidFill>
                      <a:schemeClr val="bg1"/>
                    </a:solidFill>
                    <a:ea typeface="ＭＳ Ｐゴシック" charset="-128"/>
                    <a:cs typeface="Arial" pitchFamily="34" charset="0"/>
                  </a:rPr>
                  <a:t>Text</a:t>
                </a:r>
                <a:r>
                  <a:rPr lang="en-GB" altLang="ja-JP" sz="1000" b="1" dirty="0">
                    <a:solidFill>
                      <a:schemeClr val="bg1"/>
                    </a:solidFill>
                    <a:ea typeface="ＭＳ Ｐゴシック" charset="-128"/>
                    <a:cs typeface="Arial" pitchFamily="34" charset="0"/>
                  </a:rPr>
                  <a:t> </a:t>
                </a:r>
              </a:p>
            </p:txBody>
          </p:sp>
        </p:grpSp>
        <p:sp>
          <p:nvSpPr>
            <p:cNvPr id="60" name="Text Box 9"/>
            <p:cNvSpPr txBox="1">
              <a:spLocks noChangeAspect="1" noChangeArrowheads="1"/>
            </p:cNvSpPr>
            <p:nvPr/>
          </p:nvSpPr>
          <p:spPr bwMode="auto">
            <a:xfrm>
              <a:off x="6692530" y="2087148"/>
              <a:ext cx="24045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High</a:t>
              </a:r>
            </a:p>
          </p:txBody>
        </p:sp>
        <p:sp>
          <p:nvSpPr>
            <p:cNvPr id="61" name="Text Box 10"/>
            <p:cNvSpPr txBox="1">
              <a:spLocks noChangeAspect="1" noChangeArrowheads="1"/>
            </p:cNvSpPr>
            <p:nvPr/>
          </p:nvSpPr>
          <p:spPr bwMode="auto">
            <a:xfrm>
              <a:off x="6975293" y="4895435"/>
              <a:ext cx="282129" cy="153888"/>
            </a:xfrm>
            <a:prstGeom prst="rect">
              <a:avLst/>
            </a:prstGeom>
            <a:noFill/>
            <a:ln w="9525">
              <a:noFill/>
              <a:miter lim="800000"/>
              <a:headEnd/>
              <a:tailEnd/>
            </a:ln>
          </p:spPr>
          <p:txBody>
            <a:bodyPr wrap="none" lIns="0" tIns="0" rIns="0" bIns="0" anchor="ctr" anchorCtr="0">
              <a:spAutoFit/>
            </a:bodyPr>
            <a:lstStyle/>
            <a:p>
              <a:pPr eaLnBrk="1" hangingPunct="1">
                <a:spcBef>
                  <a:spcPct val="20000"/>
                </a:spcBef>
              </a:pPr>
              <a:r>
                <a:rPr lang="en-GB" sz="1000" i="1" dirty="0">
                  <a:ea typeface="ＭＳ Ｐゴシック" charset="-128"/>
                  <a:cs typeface="Arial" pitchFamily="34" charset="0"/>
                </a:rPr>
                <a:t>Small</a:t>
              </a:r>
            </a:p>
          </p:txBody>
        </p:sp>
        <p:sp>
          <p:nvSpPr>
            <p:cNvPr id="62" name="Text Box 11"/>
            <p:cNvSpPr txBox="1">
              <a:spLocks noChangeAspect="1" noChangeArrowheads="1"/>
            </p:cNvSpPr>
            <p:nvPr/>
          </p:nvSpPr>
          <p:spPr bwMode="auto">
            <a:xfrm>
              <a:off x="8107680" y="5004071"/>
              <a:ext cx="1041400" cy="153888"/>
            </a:xfrm>
            <a:prstGeom prst="rect">
              <a:avLst/>
            </a:prstGeom>
            <a:noFill/>
            <a:ln w="9525">
              <a:noFill/>
              <a:miter lim="800000"/>
              <a:headEnd/>
              <a:tailEnd/>
            </a:ln>
          </p:spPr>
          <p:txBody>
            <a:bodyPr lIns="0" tIns="0" rIns="0" bIns="0" anchor="ctr" anchorCtr="0">
              <a:spAutoFit/>
            </a:bodyPr>
            <a:lstStyle/>
            <a:p>
              <a:pPr algn="ctr" eaLnBrk="1" hangingPunct="1">
                <a:spcBef>
                  <a:spcPct val="20000"/>
                </a:spcBef>
              </a:pPr>
              <a:r>
                <a:rPr lang="en-GB" sz="1000" dirty="0">
                  <a:ea typeface="ＭＳ Ｐゴシック" charset="-128"/>
                  <a:cs typeface="Arial" pitchFamily="34" charset="0"/>
                </a:rPr>
                <a:t>Horizontal axis</a:t>
              </a:r>
            </a:p>
          </p:txBody>
        </p:sp>
        <p:sp>
          <p:nvSpPr>
            <p:cNvPr id="63" name="Text Box 12"/>
            <p:cNvSpPr txBox="1">
              <a:spLocks noChangeAspect="1" noChangeArrowheads="1"/>
            </p:cNvSpPr>
            <p:nvPr/>
          </p:nvSpPr>
          <p:spPr bwMode="auto">
            <a:xfrm>
              <a:off x="6724590" y="4657653"/>
              <a:ext cx="208390"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ow</a:t>
              </a:r>
            </a:p>
          </p:txBody>
        </p:sp>
        <p:sp>
          <p:nvSpPr>
            <p:cNvPr id="64" name="Text Box 13"/>
            <p:cNvSpPr txBox="1">
              <a:spLocks noChangeAspect="1" noChangeArrowheads="1"/>
            </p:cNvSpPr>
            <p:nvPr/>
          </p:nvSpPr>
          <p:spPr bwMode="auto">
            <a:xfrm>
              <a:off x="9984156" y="4895435"/>
              <a:ext cx="290144" cy="153888"/>
            </a:xfrm>
            <a:prstGeom prst="rect">
              <a:avLst/>
            </a:prstGeom>
            <a:noFill/>
            <a:ln w="9525">
              <a:noFill/>
              <a:miter lim="800000"/>
              <a:headEnd/>
              <a:tailEnd/>
            </a:ln>
          </p:spPr>
          <p:txBody>
            <a:bodyPr wrap="none" lIns="0" tIns="0" rIns="0" bIns="0" anchor="ctr" anchorCtr="0">
              <a:spAutoFit/>
            </a:bodyPr>
            <a:lstStyle/>
            <a:p>
              <a:pPr algn="r" eaLnBrk="1" hangingPunct="1">
                <a:spcBef>
                  <a:spcPct val="20000"/>
                </a:spcBef>
              </a:pPr>
              <a:r>
                <a:rPr lang="en-GB" sz="1000" i="1" dirty="0">
                  <a:ea typeface="ＭＳ Ｐゴシック" charset="-128"/>
                  <a:cs typeface="Arial" pitchFamily="34" charset="0"/>
                </a:rPr>
                <a:t>Large</a:t>
              </a:r>
            </a:p>
          </p:txBody>
        </p:sp>
        <p:sp>
          <p:nvSpPr>
            <p:cNvPr id="65" name="Text Box 8"/>
            <p:cNvSpPr txBox="1">
              <a:spLocks noChangeAspect="1" noChangeArrowheads="1"/>
            </p:cNvSpPr>
            <p:nvPr/>
          </p:nvSpPr>
          <p:spPr bwMode="auto">
            <a:xfrm>
              <a:off x="6165071" y="3359450"/>
              <a:ext cx="671591" cy="153888"/>
            </a:xfrm>
            <a:prstGeom prst="rect">
              <a:avLst/>
            </a:prstGeom>
            <a:noFill/>
            <a:ln w="9525">
              <a:noFill/>
              <a:miter lim="800000"/>
              <a:headEnd/>
              <a:tailEnd/>
            </a:ln>
          </p:spPr>
          <p:txBody>
            <a:bodyPr wrap="square" lIns="0" tIns="0" rIns="0" bIns="0" anchor="ctr" anchorCtr="0">
              <a:spAutoFit/>
            </a:bodyPr>
            <a:lstStyle/>
            <a:p>
              <a:pPr algn="ctr" eaLnBrk="1" hangingPunct="1">
                <a:spcBef>
                  <a:spcPct val="20000"/>
                </a:spcBef>
              </a:pPr>
              <a:r>
                <a:rPr lang="en-GB" sz="1000" dirty="0">
                  <a:ea typeface="ＭＳ Ｐゴシック" charset="-128"/>
                  <a:cs typeface="Arial" pitchFamily="34" charset="0"/>
                </a:rPr>
                <a:t>Vertical axis</a:t>
              </a:r>
            </a:p>
          </p:txBody>
        </p:sp>
      </p:grpSp>
      <p:sp>
        <p:nvSpPr>
          <p:cNvPr id="37" name="TextBox 36"/>
          <p:cNvSpPr txBox="1"/>
          <p:nvPr/>
        </p:nvSpPr>
        <p:spPr>
          <a:xfrm>
            <a:off x="501650" y="6108406"/>
            <a:ext cx="9772650" cy="33619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68" name="TextBox 67"/>
          <p:cNvSpPr txBox="1"/>
          <p:nvPr/>
        </p:nvSpPr>
        <p:spPr bwMode="gray">
          <a:xfrm>
            <a:off x="501650" y="1710506"/>
            <a:ext cx="5395201" cy="200055"/>
          </a:xfrm>
          <a:prstGeom prst="rect">
            <a:avLst/>
          </a:prstGeom>
          <a:noFill/>
        </p:spPr>
        <p:txBody>
          <a:bodyPr wrap="square" lIns="0" tIns="0" rIns="0" bIns="0" rtlCol="0">
            <a:spAutoFit/>
          </a:bodyPr>
          <a:lstStyle/>
          <a:p>
            <a:r>
              <a:rPr lang="en-US" sz="1300" dirty="0"/>
              <a:t>Chart title runs here</a:t>
            </a:r>
          </a:p>
        </p:txBody>
      </p:sp>
      <p:sp>
        <p:nvSpPr>
          <p:cNvPr id="69" name="TextBox 68"/>
          <p:cNvSpPr txBox="1"/>
          <p:nvPr/>
        </p:nvSpPr>
        <p:spPr bwMode="gray">
          <a:xfrm>
            <a:off x="6303742" y="1710506"/>
            <a:ext cx="3996613" cy="200055"/>
          </a:xfrm>
          <a:prstGeom prst="rect">
            <a:avLst/>
          </a:prstGeom>
          <a:noFill/>
        </p:spPr>
        <p:txBody>
          <a:bodyPr wrap="square" lIns="0" tIns="0" rIns="0" bIns="0" rtlCol="0">
            <a:spAutoFit/>
          </a:bodyPr>
          <a:lstStyle/>
          <a:p>
            <a:r>
              <a:rPr lang="en-US" sz="1300" dirty="0"/>
              <a:t>Chart title runs here</a:t>
            </a:r>
          </a:p>
        </p:txBody>
      </p:sp>
      <p:sp>
        <p:nvSpPr>
          <p:cNvPr id="66" name="Rectangle 65">
            <a:extLst>
              <a:ext uri="{FF2B5EF4-FFF2-40B4-BE49-F238E27FC236}">
                <a16:creationId xmlns:a16="http://schemas.microsoft.com/office/drawing/2014/main" id="{563B0B05-F839-5941-AD12-510EF04D20A8}"/>
              </a:ext>
            </a:extLst>
          </p:cNvPr>
          <p:cNvSpPr>
            <a:spLocks noChangeArrowheads="1"/>
          </p:cNvSpPr>
          <p:nvPr/>
        </p:nvSpPr>
        <p:spPr bwMode="auto">
          <a:xfrm>
            <a:off x="8935616" y="0"/>
            <a:ext cx="3256384" cy="496275"/>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Group before changing the size of the matrix</a:t>
            </a:r>
          </a:p>
        </p:txBody>
      </p:sp>
    </p:spTree>
    <p:extLst>
      <p:ext uri="{BB962C8B-B14F-4D97-AF65-F5344CB8AC3E}">
        <p14:creationId xmlns:p14="http://schemas.microsoft.com/office/powerpoint/2010/main" val="1627899437"/>
      </p:ext>
    </p:extLst>
  </p:cSld>
  <p:clrMapOvr>
    <a:masterClrMapping/>
  </p:clrMapOvr>
  <p:transition>
    <p:fade/>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Honeycomb</a:t>
            </a:r>
            <a:endParaRPr lang="en-US" dirty="0"/>
          </a:p>
        </p:txBody>
      </p:sp>
      <p:sp>
        <p:nvSpPr>
          <p:cNvPr id="692225" name="Title 1"/>
          <p:cNvSpPr>
            <a:spLocks noGrp="1"/>
          </p:cNvSpPr>
          <p:nvPr>
            <p:ph type="title"/>
          </p:nvPr>
        </p:nvSpPr>
        <p:spPr/>
        <p:txBody>
          <a:bodyPr/>
          <a:lstStyle/>
          <a:p>
            <a:r>
              <a:rPr lang="en-US"/>
              <a:t>Boxes</a:t>
            </a:r>
            <a:endParaRPr lang="en-US" dirty="0"/>
          </a:p>
        </p:txBody>
      </p:sp>
      <p:sp>
        <p:nvSpPr>
          <p:cNvPr id="36" name="Text Placeholder 2"/>
          <p:cNvSpPr txBox="1">
            <a:spLocks/>
          </p:cNvSpPr>
          <p:nvPr/>
        </p:nvSpPr>
        <p:spPr>
          <a:xfrm>
            <a:off x="1898904" y="1700214"/>
            <a:ext cx="8394192" cy="357187"/>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sz="1300" dirty="0">
                <a:solidFill>
                  <a:sysClr val="window" lastClr="FFFFFF"/>
                </a:solidFill>
              </a:rPr>
              <a:t>Chart title runs here</a:t>
            </a:r>
          </a:p>
        </p:txBody>
      </p:sp>
      <p:grpSp>
        <p:nvGrpSpPr>
          <p:cNvPr id="37" name="Group 36"/>
          <p:cNvGrpSpPr/>
          <p:nvPr/>
        </p:nvGrpSpPr>
        <p:grpSpPr>
          <a:xfrm>
            <a:off x="4113861" y="1976439"/>
            <a:ext cx="3964278" cy="3984625"/>
            <a:chOff x="2317464" y="1644984"/>
            <a:chExt cx="4477870" cy="4500852"/>
          </a:xfrm>
          <a:solidFill>
            <a:srgbClr val="75787B"/>
          </a:solidFill>
        </p:grpSpPr>
        <p:sp>
          <p:nvSpPr>
            <p:cNvPr id="38" name="Hexagon 37"/>
            <p:cNvSpPr/>
            <p:nvPr/>
          </p:nvSpPr>
          <p:spPr bwMode="gray">
            <a:xfrm>
              <a:off x="3714005" y="3169208"/>
              <a:ext cx="1684788" cy="1452403"/>
            </a:xfrm>
            <a:prstGeom prst="hexagon">
              <a:avLst/>
            </a:prstGeom>
            <a:solidFill>
              <a:srgbClr val="86BC25"/>
            </a:solidFill>
            <a:ln w="9525" cap="flat" cmpd="sng" algn="ctr">
              <a:noFill/>
              <a:prstDash val="solid"/>
            </a:ln>
            <a:effectLst/>
          </p:spPr>
          <p:txBody>
            <a:bodyPr lIns="88900" tIns="88900" rIns="88900" bIns="88900" rtlCol="0" anchor="ctr"/>
            <a:lstStyle/>
            <a:p>
              <a:pPr algn="ctr">
                <a:spcBef>
                  <a:spcPts val="400"/>
                </a:spcBef>
                <a:defRPr/>
              </a:pPr>
              <a:r>
                <a:rPr lang="en-US" sz="1400" kern="0" dirty="0">
                  <a:solidFill>
                    <a:prstClr val="black"/>
                  </a:solidFill>
                  <a:cs typeface="Arial" pitchFamily="34" charset="0"/>
                </a:rPr>
                <a:t>Text</a:t>
              </a:r>
            </a:p>
          </p:txBody>
        </p:sp>
        <p:sp>
          <p:nvSpPr>
            <p:cNvPr id="39" name="Hexagon 38"/>
            <p:cNvSpPr/>
            <p:nvPr/>
          </p:nvSpPr>
          <p:spPr bwMode="gray">
            <a:xfrm>
              <a:off x="3714005" y="1644984"/>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defRPr/>
              </a:pPr>
              <a:r>
                <a:rPr lang="en-US" sz="1400" kern="0" dirty="0">
                  <a:solidFill>
                    <a:prstClr val="white"/>
                  </a:solidFill>
                </a:rPr>
                <a:t>Text</a:t>
              </a:r>
            </a:p>
          </p:txBody>
        </p:sp>
        <p:sp>
          <p:nvSpPr>
            <p:cNvPr id="40" name="Hexagon 39"/>
            <p:cNvSpPr/>
            <p:nvPr/>
          </p:nvSpPr>
          <p:spPr bwMode="gray">
            <a:xfrm>
              <a:off x="3714005" y="4693433"/>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sp>
          <p:nvSpPr>
            <p:cNvPr id="41" name="Hexagon 40"/>
            <p:cNvSpPr/>
            <p:nvPr/>
          </p:nvSpPr>
          <p:spPr bwMode="gray">
            <a:xfrm>
              <a:off x="5110546" y="3927331"/>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sp>
          <p:nvSpPr>
            <p:cNvPr id="42" name="Hexagon 41"/>
            <p:cNvSpPr/>
            <p:nvPr/>
          </p:nvSpPr>
          <p:spPr bwMode="gray">
            <a:xfrm>
              <a:off x="5110546" y="2411086"/>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sp>
          <p:nvSpPr>
            <p:cNvPr id="43" name="Hexagon 42"/>
            <p:cNvSpPr/>
            <p:nvPr/>
          </p:nvSpPr>
          <p:spPr bwMode="gray">
            <a:xfrm>
              <a:off x="2317464" y="3927331"/>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sp>
          <p:nvSpPr>
            <p:cNvPr id="44" name="Hexagon 43"/>
            <p:cNvSpPr/>
            <p:nvPr/>
          </p:nvSpPr>
          <p:spPr bwMode="gray">
            <a:xfrm>
              <a:off x="2317464" y="2411086"/>
              <a:ext cx="1684788" cy="1452403"/>
            </a:xfrm>
            <a:prstGeom prst="hexagon">
              <a:avLst/>
            </a:prstGeom>
            <a:noFill/>
            <a:ln w="9525" cap="flat" cmpd="sng" algn="ctr">
              <a:solidFill>
                <a:schemeClr val="tx1"/>
              </a:solidFill>
              <a:prstDash val="solid"/>
            </a:ln>
            <a:effectLst/>
          </p:spPr>
          <p:txBody>
            <a:bodyPr lIns="88900" tIns="88900" rIns="88900" bIns="88900" rtlCol="0" anchor="ctr"/>
            <a:lstStyle/>
            <a:p>
              <a:pPr algn="ctr">
                <a:spcBef>
                  <a:spcPts val="400"/>
                </a:spcBef>
                <a:defRPr/>
              </a:pPr>
              <a:r>
                <a:rPr lang="en-US" sz="1400" kern="0" dirty="0">
                  <a:solidFill>
                    <a:prstClr val="white"/>
                  </a:solidFill>
                  <a:cs typeface="Arial" pitchFamily="34" charset="0"/>
                </a:rPr>
                <a:t>Text</a:t>
              </a:r>
            </a:p>
          </p:txBody>
        </p:sp>
      </p:grpSp>
    </p:spTree>
    <p:extLst>
      <p:ext uri="{BB962C8B-B14F-4D97-AF65-F5344CB8AC3E}">
        <p14:creationId xmlns:p14="http://schemas.microsoft.com/office/powerpoint/2010/main" val="670652265"/>
      </p:ext>
    </p:extLst>
  </p:cSld>
  <p:clrMapOvr>
    <a:masterClrMapping/>
  </p:clrMapOvr>
  <p:transition>
    <p:fade/>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a:t>Basic</a:t>
            </a:r>
            <a:endParaRPr lang="en-US" dirty="0"/>
          </a:p>
        </p:txBody>
      </p:sp>
      <p:sp>
        <p:nvSpPr>
          <p:cNvPr id="693249" name="Title 1"/>
          <p:cNvSpPr>
            <a:spLocks noGrp="1"/>
          </p:cNvSpPr>
          <p:nvPr>
            <p:ph type="title"/>
          </p:nvPr>
        </p:nvSpPr>
        <p:spPr/>
        <p:txBody>
          <a:bodyPr/>
          <a:lstStyle/>
          <a:p>
            <a:r>
              <a:rPr lang="en-US"/>
              <a:t>Triangles </a:t>
            </a:r>
            <a:endParaRPr lang="en-US" dirty="0"/>
          </a:p>
        </p:txBody>
      </p:sp>
      <p:grpSp>
        <p:nvGrpSpPr>
          <p:cNvPr id="20" name="Group 19"/>
          <p:cNvGrpSpPr/>
          <p:nvPr/>
        </p:nvGrpSpPr>
        <p:grpSpPr>
          <a:xfrm>
            <a:off x="6726244" y="1990337"/>
            <a:ext cx="4089700" cy="3442089"/>
            <a:chOff x="4661544" y="1990336"/>
            <a:chExt cx="4089700" cy="3442089"/>
          </a:xfrm>
        </p:grpSpPr>
        <p:sp>
          <p:nvSpPr>
            <p:cNvPr id="21" name="AutoShape 3"/>
            <p:cNvSpPr>
              <a:spLocks noChangeArrowheads="1"/>
            </p:cNvSpPr>
            <p:nvPr/>
          </p:nvSpPr>
          <p:spPr bwMode="gray">
            <a:xfrm>
              <a:off x="4661544" y="3757341"/>
              <a:ext cx="2015944" cy="1675084"/>
            </a:xfrm>
            <a:prstGeom prst="triangle">
              <a:avLst>
                <a:gd name="adj" fmla="val 50000"/>
              </a:avLst>
            </a:prstGeom>
            <a:solidFill>
              <a:schemeClr val="accent5"/>
            </a:solidFill>
            <a:ln w="28575">
              <a:noFill/>
              <a:miter lim="800000"/>
              <a:headEnd/>
              <a:tailEnd/>
            </a:ln>
            <a:effectLst/>
          </p:spPr>
          <p:txBody>
            <a:bodyPr wrap="square" lIns="91440" tIns="91440" rIns="91440" bIns="91440" anchor="ctr"/>
            <a:lstStyle/>
            <a:p>
              <a:pPr algn="ctr"/>
              <a:r>
                <a:rPr lang="en-US" sz="1200" dirty="0">
                  <a:solidFill>
                    <a:schemeClr val="bg1"/>
                  </a:solidFill>
                </a:rPr>
                <a:t>Text</a:t>
              </a:r>
            </a:p>
          </p:txBody>
        </p:sp>
        <p:sp>
          <p:nvSpPr>
            <p:cNvPr id="22" name="AutoShape 4"/>
            <p:cNvSpPr>
              <a:spLocks noChangeArrowheads="1"/>
            </p:cNvSpPr>
            <p:nvPr/>
          </p:nvSpPr>
          <p:spPr bwMode="gray">
            <a:xfrm>
              <a:off x="6735300" y="3757341"/>
              <a:ext cx="2015944" cy="1675084"/>
            </a:xfrm>
            <a:prstGeom prst="triangle">
              <a:avLst>
                <a:gd name="adj" fmla="val 50000"/>
              </a:avLst>
            </a:prstGeom>
            <a:solidFill>
              <a:schemeClr val="accent5"/>
            </a:solidFill>
            <a:ln w="28575">
              <a:noFill/>
              <a:miter lim="800000"/>
              <a:headEnd/>
              <a:tailEnd/>
            </a:ln>
            <a:effectLst/>
          </p:spPr>
          <p:txBody>
            <a:bodyPr wrap="square" lIns="91440" tIns="91440" rIns="91440" bIns="91440" anchor="ctr"/>
            <a:lstStyle/>
            <a:p>
              <a:pPr algn="ctr"/>
              <a:r>
                <a:rPr lang="en-US" sz="1200" dirty="0">
                  <a:solidFill>
                    <a:schemeClr val="bg1"/>
                  </a:solidFill>
                </a:rPr>
                <a:t>Text</a:t>
              </a:r>
            </a:p>
          </p:txBody>
        </p:sp>
        <p:sp>
          <p:nvSpPr>
            <p:cNvPr id="25" name="AutoShape 5"/>
            <p:cNvSpPr>
              <a:spLocks noChangeArrowheads="1"/>
            </p:cNvSpPr>
            <p:nvPr/>
          </p:nvSpPr>
          <p:spPr bwMode="gray">
            <a:xfrm>
              <a:off x="5697625" y="1990336"/>
              <a:ext cx="2017537" cy="1675086"/>
            </a:xfrm>
            <a:prstGeom prst="triangle">
              <a:avLst>
                <a:gd name="adj" fmla="val 50000"/>
              </a:avLst>
            </a:prstGeom>
            <a:solidFill>
              <a:schemeClr val="accent5"/>
            </a:solidFill>
            <a:ln w="28575">
              <a:noFill/>
              <a:miter lim="800000"/>
              <a:headEnd/>
              <a:tailEnd/>
            </a:ln>
            <a:effectLst/>
          </p:spPr>
          <p:txBody>
            <a:bodyPr wrap="square" lIns="91440" tIns="91440" rIns="91440" bIns="91440" anchor="ctr"/>
            <a:lstStyle/>
            <a:p>
              <a:pPr algn="ctr"/>
              <a:r>
                <a:rPr lang="en-US" sz="1200" dirty="0">
                  <a:solidFill>
                    <a:schemeClr val="bg1"/>
                  </a:solidFill>
                </a:rPr>
                <a:t>Text</a:t>
              </a:r>
            </a:p>
          </p:txBody>
        </p:sp>
        <p:sp>
          <p:nvSpPr>
            <p:cNvPr id="26" name="AutoShape 6"/>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91440" tIns="91440" rIns="91440" bIns="91440" anchor="ctr"/>
            <a:lstStyle/>
            <a:p>
              <a:pPr algn="ctr"/>
              <a:r>
                <a:rPr lang="en-US" sz="1200" dirty="0">
                  <a:solidFill>
                    <a:schemeClr val="bg1"/>
                  </a:solidFill>
                </a:rPr>
                <a:t>Text</a:t>
              </a:r>
            </a:p>
          </p:txBody>
        </p:sp>
      </p:grpSp>
      <p:grpSp>
        <p:nvGrpSpPr>
          <p:cNvPr id="7" name="Group 6"/>
          <p:cNvGrpSpPr/>
          <p:nvPr/>
        </p:nvGrpSpPr>
        <p:grpSpPr>
          <a:xfrm>
            <a:off x="1118566" y="1976438"/>
            <a:ext cx="4117975" cy="3438144"/>
            <a:chOff x="1719374" y="1518851"/>
            <a:chExt cx="5698557" cy="4212470"/>
          </a:xfrm>
          <a:solidFill>
            <a:schemeClr val="accent1"/>
          </a:solidFill>
        </p:grpSpPr>
        <p:sp>
          <p:nvSpPr>
            <p:cNvPr id="27" name="Freeform 2"/>
            <p:cNvSpPr>
              <a:spLocks/>
            </p:cNvSpPr>
            <p:nvPr/>
          </p:nvSpPr>
          <p:spPr bwMode="blackWhite">
            <a:xfrm flipH="1">
              <a:off x="4592682"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chemeClr val="accent5"/>
            </a:solidFill>
            <a:ln w="12700">
              <a:noFill/>
              <a:round/>
              <a:headEnd/>
              <a:tailEnd/>
            </a:ln>
          </p:spPr>
          <p:txBody>
            <a:bodyPr wrap="none" lIns="45720" tIns="274320" rIns="1371600" bIns="44450" anchor="ctr">
              <a:noAutofit/>
            </a:bodyPr>
            <a:lstStyle/>
            <a:p>
              <a:pPr algn="ctr">
                <a:spcBef>
                  <a:spcPct val="20000"/>
                </a:spcBef>
              </a:pPr>
              <a:r>
                <a:rPr lang="en-GB" sz="1200" dirty="0">
                  <a:solidFill>
                    <a:schemeClr val="bg1"/>
                  </a:solidFill>
                  <a:cs typeface="Arial" pitchFamily="34" charset="0"/>
                </a:rPr>
                <a:t>Text</a:t>
              </a:r>
            </a:p>
          </p:txBody>
        </p:sp>
        <p:sp>
          <p:nvSpPr>
            <p:cNvPr id="28" name="Freeform 2"/>
            <p:cNvSpPr>
              <a:spLocks/>
            </p:cNvSpPr>
            <p:nvPr/>
          </p:nvSpPr>
          <p:spPr bwMode="blackWhite">
            <a:xfrm>
              <a:off x="1719374"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chemeClr val="accent2"/>
            </a:solidFill>
            <a:ln w="12700">
              <a:noFill/>
              <a:round/>
              <a:headEnd/>
              <a:tailEnd/>
            </a:ln>
          </p:spPr>
          <p:txBody>
            <a:bodyPr lIns="1371600" tIns="274320" rIns="44450" bIns="44450" anchor="ctr">
              <a:noAutofit/>
            </a:bodyPr>
            <a:lstStyle/>
            <a:p>
              <a:pPr algn="ctr" eaLnBrk="1" hangingPunct="1">
                <a:spcBef>
                  <a:spcPct val="20000"/>
                </a:spcBef>
              </a:pPr>
              <a:r>
                <a:rPr lang="en-GB" sz="1200" dirty="0">
                  <a:solidFill>
                    <a:schemeClr val="bg1"/>
                  </a:solidFill>
                  <a:cs typeface="Arial" pitchFamily="34" charset="0"/>
                </a:rPr>
                <a:t>Text</a:t>
              </a:r>
            </a:p>
          </p:txBody>
        </p:sp>
        <p:sp>
          <p:nvSpPr>
            <p:cNvPr id="29" name="AutoShape 13"/>
            <p:cNvSpPr>
              <a:spLocks noChangeArrowheads="1"/>
            </p:cNvSpPr>
            <p:nvPr/>
          </p:nvSpPr>
          <p:spPr bwMode="blackWhite">
            <a:xfrm>
              <a:off x="1744270" y="4211913"/>
              <a:ext cx="5655461" cy="1519408"/>
            </a:xfrm>
            <a:prstGeom prst="triangle">
              <a:avLst>
                <a:gd name="adj" fmla="val 49954"/>
              </a:avLst>
            </a:prstGeom>
            <a:solidFill>
              <a:schemeClr val="accent1"/>
            </a:solidFill>
            <a:ln w="12700">
              <a:noFill/>
              <a:miter lim="800000"/>
              <a:headEnd/>
              <a:tailEnd/>
            </a:ln>
          </p:spPr>
          <p:txBody>
            <a:bodyPr lIns="44450" tIns="44450" rIns="44450" bIns="457200" anchor="ctr">
              <a:noAutofit/>
            </a:bodyPr>
            <a:lstStyle/>
            <a:p>
              <a:pPr algn="ctr" defTabSz="762000">
                <a:lnSpc>
                  <a:spcPct val="95000"/>
                </a:lnSpc>
                <a:spcBef>
                  <a:spcPct val="20000"/>
                </a:spcBef>
              </a:pPr>
              <a:r>
                <a:rPr lang="en-US" altLang="ja-JP" sz="1200" dirty="0">
                  <a:solidFill>
                    <a:schemeClr val="bg1"/>
                  </a:solidFill>
                  <a:ea typeface="ＭＳ Ｐゴシック" charset="-128"/>
                  <a:cs typeface="Arial" pitchFamily="34" charset="0"/>
                </a:rPr>
                <a:t>Text</a:t>
              </a:r>
              <a:endParaRPr lang="ja-JP" altLang="en-US" sz="1200" dirty="0">
                <a:solidFill>
                  <a:schemeClr val="bg1"/>
                </a:solidFill>
                <a:ea typeface="ＭＳ Ｐゴシック" charset="-128"/>
                <a:cs typeface="Arial" pitchFamily="34" charset="0"/>
              </a:endParaRPr>
            </a:p>
          </p:txBody>
        </p:sp>
      </p:grpSp>
      <p:sp>
        <p:nvSpPr>
          <p:cNvPr id="16" name="Rectangle 15"/>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
        <p:nvSpPr>
          <p:cNvPr id="17" name="TextBox 16"/>
          <p:cNvSpPr txBox="1"/>
          <p:nvPr/>
        </p:nvSpPr>
        <p:spPr>
          <a:xfrm>
            <a:off x="501650" y="6108406"/>
            <a:ext cx="9772650" cy="28212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9" name="TextBox 18"/>
          <p:cNvSpPr txBox="1"/>
          <p:nvPr/>
        </p:nvSpPr>
        <p:spPr bwMode="gray">
          <a:xfrm>
            <a:off x="501650" y="1710506"/>
            <a:ext cx="3996613" cy="200055"/>
          </a:xfrm>
          <a:prstGeom prst="rect">
            <a:avLst/>
          </a:prstGeom>
          <a:noFill/>
        </p:spPr>
        <p:txBody>
          <a:bodyPr wrap="square" lIns="0" tIns="0" rIns="0" bIns="0" rtlCol="0">
            <a:spAutoFit/>
          </a:bodyPr>
          <a:lstStyle/>
          <a:p>
            <a:r>
              <a:rPr lang="en-US" sz="1300" dirty="0"/>
              <a:t>Chart title runs here</a:t>
            </a:r>
          </a:p>
        </p:txBody>
      </p:sp>
      <p:sp>
        <p:nvSpPr>
          <p:cNvPr id="23" name="TextBox 22"/>
          <p:cNvSpPr txBox="1"/>
          <p:nvPr/>
        </p:nvSpPr>
        <p:spPr bwMode="gray">
          <a:xfrm>
            <a:off x="6303742" y="1710506"/>
            <a:ext cx="3996613" cy="200055"/>
          </a:xfrm>
          <a:prstGeom prst="rect">
            <a:avLst/>
          </a:prstGeom>
          <a:noFill/>
        </p:spPr>
        <p:txBody>
          <a:bodyPr wrap="square" lIns="0" tIns="0" rIns="0" bIns="0" rtlCol="0">
            <a:spAutoFit/>
          </a:bodyPr>
          <a:lstStyle/>
          <a:p>
            <a:r>
              <a:rPr lang="en-US" sz="1300" dirty="0"/>
              <a:t>Chart title runs here</a:t>
            </a:r>
          </a:p>
        </p:txBody>
      </p:sp>
    </p:spTree>
    <p:extLst>
      <p:ext uri="{BB962C8B-B14F-4D97-AF65-F5344CB8AC3E}">
        <p14:creationId xmlns:p14="http://schemas.microsoft.com/office/powerpoint/2010/main" val="2408106223"/>
      </p:ext>
    </p:extLst>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dirty="0"/>
              <a:t>Pyramids</a:t>
            </a:r>
          </a:p>
        </p:txBody>
      </p:sp>
      <p:sp>
        <p:nvSpPr>
          <p:cNvPr id="694273" name="Title 1"/>
          <p:cNvSpPr>
            <a:spLocks noGrp="1"/>
          </p:cNvSpPr>
          <p:nvPr>
            <p:ph type="title"/>
          </p:nvPr>
        </p:nvSpPr>
        <p:spPr/>
        <p:txBody>
          <a:bodyPr/>
          <a:lstStyle/>
          <a:p>
            <a:r>
              <a:rPr lang="en-US" dirty="0"/>
              <a:t>Triangles</a:t>
            </a:r>
          </a:p>
        </p:txBody>
      </p:sp>
      <p:sp>
        <p:nvSpPr>
          <p:cNvPr id="39" name="Freeform 3"/>
          <p:cNvSpPr>
            <a:spLocks/>
          </p:cNvSpPr>
          <p:nvPr/>
        </p:nvSpPr>
        <p:spPr bwMode="blackWhite">
          <a:xfrm>
            <a:off x="6386495" y="1200107"/>
            <a:ext cx="915988" cy="795337"/>
          </a:xfrm>
          <a:custGeom>
            <a:avLst/>
            <a:gdLst>
              <a:gd name="T0" fmla="*/ 991074 w 891"/>
              <a:gd name="T1" fmla="*/ 794338 h 796"/>
              <a:gd name="T2" fmla="*/ 495537 w 891"/>
              <a:gd name="T3" fmla="*/ 0 h 796"/>
              <a:gd name="T4" fmla="*/ 0 w 891"/>
              <a:gd name="T5" fmla="*/ 794338 h 796"/>
              <a:gd name="T6" fmla="*/ 991074 w 891"/>
              <a:gd name="T7" fmla="*/ 794338 h 796"/>
              <a:gd name="T8" fmla="*/ 0 60000 65536"/>
              <a:gd name="T9" fmla="*/ 0 60000 65536"/>
              <a:gd name="T10" fmla="*/ 0 60000 65536"/>
              <a:gd name="T11" fmla="*/ 0 60000 65536"/>
              <a:gd name="T12" fmla="*/ 0 w 891"/>
              <a:gd name="T13" fmla="*/ 0 h 796"/>
              <a:gd name="T14" fmla="*/ 891 w 891"/>
              <a:gd name="T15" fmla="*/ 796 h 796"/>
            </a:gdLst>
            <a:ahLst/>
            <a:cxnLst>
              <a:cxn ang="T8">
                <a:pos x="T0" y="T1"/>
              </a:cxn>
              <a:cxn ang="T9">
                <a:pos x="T2" y="T3"/>
              </a:cxn>
              <a:cxn ang="T10">
                <a:pos x="T4" y="T5"/>
              </a:cxn>
              <a:cxn ang="T11">
                <a:pos x="T6" y="T7"/>
              </a:cxn>
            </a:cxnLst>
            <a:rect l="T12" t="T13" r="T14" b="T15"/>
            <a:pathLst>
              <a:path w="891" h="796">
                <a:moveTo>
                  <a:pt x="890" y="795"/>
                </a:moveTo>
                <a:lnTo>
                  <a:pt x="445" y="0"/>
                </a:lnTo>
                <a:lnTo>
                  <a:pt x="0" y="795"/>
                </a:lnTo>
                <a:lnTo>
                  <a:pt x="890" y="795"/>
                </a:lnTo>
              </a:path>
            </a:pathLst>
          </a:custGeom>
          <a:solidFill>
            <a:schemeClr val="accent3"/>
          </a:solidFill>
          <a:ln w="9525" cap="rnd">
            <a:noFill/>
            <a:round/>
            <a:headEnd/>
            <a:tailEnd/>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40" name="Freeform 4"/>
          <p:cNvSpPr>
            <a:spLocks/>
          </p:cNvSpPr>
          <p:nvPr/>
        </p:nvSpPr>
        <p:spPr bwMode="blackWhite">
          <a:xfrm>
            <a:off x="5467333" y="2780509"/>
            <a:ext cx="2754312" cy="796925"/>
          </a:xfrm>
          <a:custGeom>
            <a:avLst/>
            <a:gdLst>
              <a:gd name="T0" fmla="*/ 2147483647 w 2676"/>
              <a:gd name="T1" fmla="*/ 0 h 798"/>
              <a:gd name="T2" fmla="*/ 2147483647 w 2676"/>
              <a:gd name="T3" fmla="*/ 0 h 798"/>
              <a:gd name="T4" fmla="*/ 0 w 2676"/>
              <a:gd name="T5" fmla="*/ 2147483647 h 798"/>
              <a:gd name="T6" fmla="*/ 2147483647 w 2676"/>
              <a:gd name="T7" fmla="*/ 2147483647 h 798"/>
              <a:gd name="T8" fmla="*/ 2147483647 w 2676"/>
              <a:gd name="T9" fmla="*/ 0 h 798"/>
              <a:gd name="T10" fmla="*/ 0 60000 65536"/>
              <a:gd name="T11" fmla="*/ 0 60000 65536"/>
              <a:gd name="T12" fmla="*/ 0 60000 65536"/>
              <a:gd name="T13" fmla="*/ 0 60000 65536"/>
              <a:gd name="T14" fmla="*/ 0 60000 65536"/>
              <a:gd name="T15" fmla="*/ 0 w 2676"/>
              <a:gd name="T16" fmla="*/ 0 h 798"/>
              <a:gd name="T17" fmla="*/ 2676 w 2676"/>
              <a:gd name="T18" fmla="*/ 798 h 798"/>
            </a:gdLst>
            <a:ahLst/>
            <a:cxnLst>
              <a:cxn ang="T10">
                <a:pos x="T0" y="T1"/>
              </a:cxn>
              <a:cxn ang="T11">
                <a:pos x="T2" y="T3"/>
              </a:cxn>
              <a:cxn ang="T12">
                <a:pos x="T4" y="T5"/>
              </a:cxn>
              <a:cxn ang="T13">
                <a:pos x="T6" y="T7"/>
              </a:cxn>
              <a:cxn ang="T14">
                <a:pos x="T8" y="T9"/>
              </a:cxn>
            </a:cxnLst>
            <a:rect l="T15" t="T16" r="T17" b="T18"/>
            <a:pathLst>
              <a:path w="2676" h="798">
                <a:moveTo>
                  <a:pt x="2229" y="0"/>
                </a:moveTo>
                <a:lnTo>
                  <a:pt x="446" y="0"/>
                </a:lnTo>
                <a:lnTo>
                  <a:pt x="0" y="797"/>
                </a:lnTo>
                <a:lnTo>
                  <a:pt x="2675" y="797"/>
                </a:lnTo>
                <a:lnTo>
                  <a:pt x="2229" y="0"/>
                </a:lnTo>
              </a:path>
            </a:pathLst>
          </a:custGeom>
          <a:solidFill>
            <a:schemeClr val="accent1"/>
          </a:solidFill>
          <a:ln w="9525" cap="rnd">
            <a:noFill/>
            <a:round/>
            <a:headEnd/>
            <a:tailEnd/>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41" name="Freeform 5"/>
          <p:cNvSpPr>
            <a:spLocks/>
          </p:cNvSpPr>
          <p:nvPr/>
        </p:nvSpPr>
        <p:spPr bwMode="blackWhite">
          <a:xfrm>
            <a:off x="5925328" y="1983583"/>
            <a:ext cx="1838325" cy="798512"/>
          </a:xfrm>
          <a:custGeom>
            <a:avLst/>
            <a:gdLst>
              <a:gd name="T0" fmla="*/ 2147483647 w 1784"/>
              <a:gd name="T1" fmla="*/ 2147483647 h 796"/>
              <a:gd name="T2" fmla="*/ 2147483647 w 1784"/>
              <a:gd name="T3" fmla="*/ 0 h 796"/>
              <a:gd name="T4" fmla="*/ 2147483647 w 1784"/>
              <a:gd name="T5" fmla="*/ 0 h 796"/>
              <a:gd name="T6" fmla="*/ 0 w 1784"/>
              <a:gd name="T7" fmla="*/ 2147483647 h 796"/>
              <a:gd name="T8" fmla="*/ 2147483647 w 1784"/>
              <a:gd name="T9" fmla="*/ 2147483647 h 796"/>
              <a:gd name="T10" fmla="*/ 0 60000 65536"/>
              <a:gd name="T11" fmla="*/ 0 60000 65536"/>
              <a:gd name="T12" fmla="*/ 0 60000 65536"/>
              <a:gd name="T13" fmla="*/ 0 60000 65536"/>
              <a:gd name="T14" fmla="*/ 0 60000 65536"/>
              <a:gd name="T15" fmla="*/ 0 w 1784"/>
              <a:gd name="T16" fmla="*/ 0 h 796"/>
              <a:gd name="T17" fmla="*/ 1784 w 1784"/>
              <a:gd name="T18" fmla="*/ 796 h 796"/>
            </a:gdLst>
            <a:ahLst/>
            <a:cxnLst>
              <a:cxn ang="T10">
                <a:pos x="T0" y="T1"/>
              </a:cxn>
              <a:cxn ang="T11">
                <a:pos x="T2" y="T3"/>
              </a:cxn>
              <a:cxn ang="T12">
                <a:pos x="T4" y="T5"/>
              </a:cxn>
              <a:cxn ang="T13">
                <a:pos x="T6" y="T7"/>
              </a:cxn>
              <a:cxn ang="T14">
                <a:pos x="T8" y="T9"/>
              </a:cxn>
            </a:cxnLst>
            <a:rect l="T15" t="T16" r="T17" b="T18"/>
            <a:pathLst>
              <a:path w="1784" h="796">
                <a:moveTo>
                  <a:pt x="1783" y="795"/>
                </a:moveTo>
                <a:lnTo>
                  <a:pt x="1337" y="0"/>
                </a:lnTo>
                <a:lnTo>
                  <a:pt x="447" y="0"/>
                </a:lnTo>
                <a:lnTo>
                  <a:pt x="0" y="795"/>
                </a:lnTo>
                <a:lnTo>
                  <a:pt x="1783" y="795"/>
                </a:lnTo>
              </a:path>
            </a:pathLst>
          </a:custGeom>
          <a:solidFill>
            <a:schemeClr val="accent2"/>
          </a:solidFill>
          <a:ln w="9525" cap="rnd">
            <a:noFill/>
            <a:round/>
            <a:headEnd/>
            <a:tailEnd/>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42" name="Rectangle 6"/>
          <p:cNvSpPr>
            <a:spLocks noChangeArrowheads="1"/>
          </p:cNvSpPr>
          <p:nvPr/>
        </p:nvSpPr>
        <p:spPr bwMode="auto">
          <a:xfrm>
            <a:off x="6719936" y="1730119"/>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43" name="Rectangle 7"/>
          <p:cNvSpPr>
            <a:spLocks noChangeArrowheads="1"/>
          </p:cNvSpPr>
          <p:nvPr/>
        </p:nvSpPr>
        <p:spPr bwMode="auto">
          <a:xfrm>
            <a:off x="6719936" y="2290507"/>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44" name="Rectangle 8"/>
          <p:cNvSpPr>
            <a:spLocks noChangeArrowheads="1"/>
          </p:cNvSpPr>
          <p:nvPr/>
        </p:nvSpPr>
        <p:spPr bwMode="auto">
          <a:xfrm>
            <a:off x="6719936" y="3086638"/>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45" name="Freeform 9"/>
          <p:cNvSpPr>
            <a:spLocks/>
          </p:cNvSpPr>
          <p:nvPr/>
        </p:nvSpPr>
        <p:spPr bwMode="blackWhite">
          <a:xfrm>
            <a:off x="3653499" y="5480503"/>
            <a:ext cx="2660650" cy="473075"/>
          </a:xfrm>
          <a:custGeom>
            <a:avLst/>
            <a:gdLst>
              <a:gd name="T0" fmla="*/ 2147483647 w 2676"/>
              <a:gd name="T1" fmla="*/ 0 h 484"/>
              <a:gd name="T2" fmla="*/ 0 w 2676"/>
              <a:gd name="T3" fmla="*/ 2147483647 h 484"/>
              <a:gd name="T4" fmla="*/ 2147483647 w 2676"/>
              <a:gd name="T5" fmla="*/ 2147483647 h 484"/>
              <a:gd name="T6" fmla="*/ 2147483647 w 2676"/>
              <a:gd name="T7" fmla="*/ 0 h 484"/>
              <a:gd name="T8" fmla="*/ 2147483647 w 2676"/>
              <a:gd name="T9" fmla="*/ 0 h 484"/>
              <a:gd name="T10" fmla="*/ 0 60000 65536"/>
              <a:gd name="T11" fmla="*/ 0 60000 65536"/>
              <a:gd name="T12" fmla="*/ 0 60000 65536"/>
              <a:gd name="T13" fmla="*/ 0 60000 65536"/>
              <a:gd name="T14" fmla="*/ 0 60000 65536"/>
              <a:gd name="T15" fmla="*/ 0 w 2676"/>
              <a:gd name="T16" fmla="*/ 0 h 484"/>
              <a:gd name="T17" fmla="*/ 2676 w 2676"/>
              <a:gd name="T18" fmla="*/ 484 h 484"/>
            </a:gdLst>
            <a:ahLst/>
            <a:cxnLst>
              <a:cxn ang="T10">
                <a:pos x="T0" y="T1"/>
              </a:cxn>
              <a:cxn ang="T11">
                <a:pos x="T2" y="T3"/>
              </a:cxn>
              <a:cxn ang="T12">
                <a:pos x="T4" y="T5"/>
              </a:cxn>
              <a:cxn ang="T13">
                <a:pos x="T6" y="T7"/>
              </a:cxn>
              <a:cxn ang="T14">
                <a:pos x="T8" y="T9"/>
              </a:cxn>
            </a:cxnLst>
            <a:rect l="T15" t="T16" r="T17" b="T18"/>
            <a:pathLst>
              <a:path w="2676" h="484">
                <a:moveTo>
                  <a:pt x="271" y="0"/>
                </a:moveTo>
                <a:lnTo>
                  <a:pt x="0" y="483"/>
                </a:lnTo>
                <a:lnTo>
                  <a:pt x="2675" y="483"/>
                </a:lnTo>
                <a:lnTo>
                  <a:pt x="2404" y="0"/>
                </a:lnTo>
                <a:lnTo>
                  <a:pt x="271" y="0"/>
                </a:lnTo>
              </a:path>
            </a:pathLst>
          </a:custGeom>
          <a:solidFill>
            <a:schemeClr val="accent1"/>
          </a:solidFill>
          <a:ln w="9525">
            <a:noFill/>
            <a:round/>
            <a:headEnd/>
            <a:tailEnd/>
          </a:ln>
        </p:spPr>
        <p:txBody>
          <a:bodyPr lIns="44450" tIns="44450" rIns="44450" bIns="44450" anchor="ctr"/>
          <a:lstStyle/>
          <a:p>
            <a:pPr algn="ctr" eaLnBrk="0" hangingPunct="0"/>
            <a:endParaRPr lang="en-GB" sz="900" dirty="0">
              <a:solidFill>
                <a:schemeClr val="bg1"/>
              </a:solidFill>
            </a:endParaRPr>
          </a:p>
        </p:txBody>
      </p:sp>
      <p:sp>
        <p:nvSpPr>
          <p:cNvPr id="46" name="Freeform 10"/>
          <p:cNvSpPr>
            <a:spLocks/>
          </p:cNvSpPr>
          <p:nvPr/>
        </p:nvSpPr>
        <p:spPr bwMode="blackWhite">
          <a:xfrm>
            <a:off x="4516307" y="3619952"/>
            <a:ext cx="935037" cy="819150"/>
          </a:xfrm>
          <a:custGeom>
            <a:avLst/>
            <a:gdLst>
              <a:gd name="T0" fmla="*/ 0 w 939"/>
              <a:gd name="T1" fmla="*/ 818174 h 839"/>
              <a:gd name="T2" fmla="*/ 1011746 w 939"/>
              <a:gd name="T3" fmla="*/ 818174 h 839"/>
              <a:gd name="T4" fmla="*/ 505873 w 939"/>
              <a:gd name="T5" fmla="*/ 0 h 839"/>
              <a:gd name="T6" fmla="*/ 0 w 939"/>
              <a:gd name="T7" fmla="*/ 818174 h 839"/>
              <a:gd name="T8" fmla="*/ 0 60000 65536"/>
              <a:gd name="T9" fmla="*/ 0 60000 65536"/>
              <a:gd name="T10" fmla="*/ 0 60000 65536"/>
              <a:gd name="T11" fmla="*/ 0 60000 65536"/>
              <a:gd name="T12" fmla="*/ 0 w 939"/>
              <a:gd name="T13" fmla="*/ 0 h 839"/>
              <a:gd name="T14" fmla="*/ 939 w 939"/>
              <a:gd name="T15" fmla="*/ 839 h 839"/>
            </a:gdLst>
            <a:ahLst/>
            <a:cxnLst>
              <a:cxn ang="T8">
                <a:pos x="T0" y="T1"/>
              </a:cxn>
              <a:cxn ang="T9">
                <a:pos x="T2" y="T3"/>
              </a:cxn>
              <a:cxn ang="T10">
                <a:pos x="T4" y="T5"/>
              </a:cxn>
              <a:cxn ang="T11">
                <a:pos x="T6" y="T7"/>
              </a:cxn>
            </a:cxnLst>
            <a:rect l="T12" t="T13" r="T14" b="T15"/>
            <a:pathLst>
              <a:path w="939" h="839">
                <a:moveTo>
                  <a:pt x="0" y="838"/>
                </a:moveTo>
                <a:lnTo>
                  <a:pt x="938" y="838"/>
                </a:lnTo>
                <a:lnTo>
                  <a:pt x="469" y="0"/>
                </a:lnTo>
                <a:lnTo>
                  <a:pt x="0" y="838"/>
                </a:lnTo>
              </a:path>
            </a:pathLst>
          </a:custGeom>
          <a:solidFill>
            <a:schemeClr val="accent4"/>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47" name="Freeform 11"/>
          <p:cNvSpPr>
            <a:spLocks/>
          </p:cNvSpPr>
          <p:nvPr/>
        </p:nvSpPr>
        <p:spPr bwMode="blackWhite">
          <a:xfrm>
            <a:off x="4220238" y="4439102"/>
            <a:ext cx="1527175" cy="520700"/>
          </a:xfrm>
          <a:custGeom>
            <a:avLst/>
            <a:gdLst>
              <a:gd name="T0" fmla="*/ 0 w 1536"/>
              <a:gd name="T1" fmla="*/ 519723 h 533"/>
              <a:gd name="T2" fmla="*/ 1653098 w 1536"/>
              <a:gd name="T3" fmla="*/ 519723 h 533"/>
              <a:gd name="T4" fmla="*/ 1332171 w 1536"/>
              <a:gd name="T5" fmla="*/ 0 h 533"/>
              <a:gd name="T6" fmla="*/ 322004 w 1536"/>
              <a:gd name="T7" fmla="*/ 0 h 533"/>
              <a:gd name="T8" fmla="*/ 0 w 1536"/>
              <a:gd name="T9" fmla="*/ 519723 h 533"/>
              <a:gd name="T10" fmla="*/ 0 60000 65536"/>
              <a:gd name="T11" fmla="*/ 0 60000 65536"/>
              <a:gd name="T12" fmla="*/ 0 60000 65536"/>
              <a:gd name="T13" fmla="*/ 0 60000 65536"/>
              <a:gd name="T14" fmla="*/ 0 60000 65536"/>
              <a:gd name="T15" fmla="*/ 0 w 1536"/>
              <a:gd name="T16" fmla="*/ 0 h 533"/>
              <a:gd name="T17" fmla="*/ 1536 w 1536"/>
              <a:gd name="T18" fmla="*/ 533 h 533"/>
            </a:gdLst>
            <a:ahLst/>
            <a:cxnLst>
              <a:cxn ang="T10">
                <a:pos x="T0" y="T1"/>
              </a:cxn>
              <a:cxn ang="T11">
                <a:pos x="T2" y="T3"/>
              </a:cxn>
              <a:cxn ang="T12">
                <a:pos x="T4" y="T5"/>
              </a:cxn>
              <a:cxn ang="T13">
                <a:pos x="T6" y="T7"/>
              </a:cxn>
              <a:cxn ang="T14">
                <a:pos x="T8" y="T9"/>
              </a:cxn>
            </a:cxnLst>
            <a:rect l="T15" t="T16" r="T17" b="T18"/>
            <a:pathLst>
              <a:path w="1536" h="533">
                <a:moveTo>
                  <a:pt x="0" y="532"/>
                </a:moveTo>
                <a:lnTo>
                  <a:pt x="1535" y="532"/>
                </a:lnTo>
                <a:lnTo>
                  <a:pt x="1237" y="0"/>
                </a:lnTo>
                <a:lnTo>
                  <a:pt x="299" y="0"/>
                </a:lnTo>
                <a:lnTo>
                  <a:pt x="0" y="532"/>
                </a:lnTo>
              </a:path>
            </a:pathLst>
          </a:custGeom>
          <a:solidFill>
            <a:schemeClr val="accent3"/>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48" name="Freeform 12"/>
          <p:cNvSpPr>
            <a:spLocks/>
          </p:cNvSpPr>
          <p:nvPr/>
        </p:nvSpPr>
        <p:spPr bwMode="blackWhite">
          <a:xfrm>
            <a:off x="3923374" y="4958216"/>
            <a:ext cx="2120900" cy="523875"/>
          </a:xfrm>
          <a:custGeom>
            <a:avLst/>
            <a:gdLst>
              <a:gd name="T0" fmla="*/ 2147483647 w 2134"/>
              <a:gd name="T1" fmla="*/ 0 h 535"/>
              <a:gd name="T2" fmla="*/ 0 w 2134"/>
              <a:gd name="T3" fmla="*/ 2147483647 h 535"/>
              <a:gd name="T4" fmla="*/ 2147483647 w 2134"/>
              <a:gd name="T5" fmla="*/ 2147483647 h 535"/>
              <a:gd name="T6" fmla="*/ 2147483647 w 2134"/>
              <a:gd name="T7" fmla="*/ 0 h 535"/>
              <a:gd name="T8" fmla="*/ 2147483647 w 2134"/>
              <a:gd name="T9" fmla="*/ 0 h 535"/>
              <a:gd name="T10" fmla="*/ 0 60000 65536"/>
              <a:gd name="T11" fmla="*/ 0 60000 65536"/>
              <a:gd name="T12" fmla="*/ 0 60000 65536"/>
              <a:gd name="T13" fmla="*/ 0 60000 65536"/>
              <a:gd name="T14" fmla="*/ 0 60000 65536"/>
              <a:gd name="T15" fmla="*/ 0 w 2134"/>
              <a:gd name="T16" fmla="*/ 0 h 535"/>
              <a:gd name="T17" fmla="*/ 2134 w 2134"/>
              <a:gd name="T18" fmla="*/ 535 h 535"/>
            </a:gdLst>
            <a:ahLst/>
            <a:cxnLst>
              <a:cxn ang="T10">
                <a:pos x="T0" y="T1"/>
              </a:cxn>
              <a:cxn ang="T11">
                <a:pos x="T2" y="T3"/>
              </a:cxn>
              <a:cxn ang="T12">
                <a:pos x="T4" y="T5"/>
              </a:cxn>
              <a:cxn ang="T13">
                <a:pos x="T6" y="T7"/>
              </a:cxn>
              <a:cxn ang="T14">
                <a:pos x="T8" y="T9"/>
              </a:cxn>
            </a:cxnLst>
            <a:rect l="T15" t="T16" r="T17" b="T18"/>
            <a:pathLst>
              <a:path w="2134" h="535">
                <a:moveTo>
                  <a:pt x="299" y="0"/>
                </a:moveTo>
                <a:lnTo>
                  <a:pt x="0" y="534"/>
                </a:lnTo>
                <a:lnTo>
                  <a:pt x="2133" y="534"/>
                </a:lnTo>
                <a:lnTo>
                  <a:pt x="1834" y="0"/>
                </a:lnTo>
                <a:lnTo>
                  <a:pt x="299" y="0"/>
                </a:lnTo>
              </a:path>
            </a:pathLst>
          </a:custGeom>
          <a:solidFill>
            <a:schemeClr val="accent2"/>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49" name="Rectangle 13"/>
          <p:cNvSpPr>
            <a:spLocks noChangeArrowheads="1"/>
          </p:cNvSpPr>
          <p:nvPr/>
        </p:nvSpPr>
        <p:spPr bwMode="auto">
          <a:xfrm>
            <a:off x="4859271" y="4141188"/>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1" name="Rectangle 14"/>
          <p:cNvSpPr>
            <a:spLocks noChangeArrowheads="1"/>
          </p:cNvSpPr>
          <p:nvPr/>
        </p:nvSpPr>
        <p:spPr bwMode="auto">
          <a:xfrm>
            <a:off x="4859271" y="4607119"/>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4" name="Rectangle 15"/>
          <p:cNvSpPr>
            <a:spLocks noChangeArrowheads="1"/>
          </p:cNvSpPr>
          <p:nvPr/>
        </p:nvSpPr>
        <p:spPr bwMode="auto">
          <a:xfrm>
            <a:off x="4859271" y="5127819"/>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5" name="Rectangle 16"/>
          <p:cNvSpPr>
            <a:spLocks noChangeArrowheads="1"/>
          </p:cNvSpPr>
          <p:nvPr/>
        </p:nvSpPr>
        <p:spPr bwMode="auto">
          <a:xfrm>
            <a:off x="4859271" y="5624706"/>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56" name="Freeform 17"/>
          <p:cNvSpPr>
            <a:spLocks/>
          </p:cNvSpPr>
          <p:nvPr/>
        </p:nvSpPr>
        <p:spPr bwMode="blackWhite">
          <a:xfrm flipV="1">
            <a:off x="1887522" y="2567783"/>
            <a:ext cx="2625725" cy="1009650"/>
          </a:xfrm>
          <a:custGeom>
            <a:avLst/>
            <a:gdLst>
              <a:gd name="T0" fmla="*/ 2147483647 w 2676"/>
              <a:gd name="T1" fmla="*/ 2147483647 h 1025"/>
              <a:gd name="T2" fmla="*/ 2147483647 w 2676"/>
              <a:gd name="T3" fmla="*/ 2147483647 h 1025"/>
              <a:gd name="T4" fmla="*/ 2147483647 w 2676"/>
              <a:gd name="T5" fmla="*/ 0 h 1025"/>
              <a:gd name="T6" fmla="*/ 0 w 2676"/>
              <a:gd name="T7" fmla="*/ 0 h 1025"/>
              <a:gd name="T8" fmla="*/ 2147483647 w 2676"/>
              <a:gd name="T9" fmla="*/ 2147483647 h 1025"/>
              <a:gd name="T10" fmla="*/ 0 60000 65536"/>
              <a:gd name="T11" fmla="*/ 0 60000 65536"/>
              <a:gd name="T12" fmla="*/ 0 60000 65536"/>
              <a:gd name="T13" fmla="*/ 0 60000 65536"/>
              <a:gd name="T14" fmla="*/ 0 60000 65536"/>
              <a:gd name="T15" fmla="*/ 0 w 2676"/>
              <a:gd name="T16" fmla="*/ 0 h 1025"/>
              <a:gd name="T17" fmla="*/ 2676 w 2676"/>
              <a:gd name="T18" fmla="*/ 1025 h 1025"/>
            </a:gdLst>
            <a:ahLst/>
            <a:cxnLst>
              <a:cxn ang="T10">
                <a:pos x="T0" y="T1"/>
              </a:cxn>
              <a:cxn ang="T11">
                <a:pos x="T2" y="T3"/>
              </a:cxn>
              <a:cxn ang="T12">
                <a:pos x="T4" y="T5"/>
              </a:cxn>
              <a:cxn ang="T13">
                <a:pos x="T6" y="T7"/>
              </a:cxn>
              <a:cxn ang="T14">
                <a:pos x="T8" y="T9"/>
              </a:cxn>
            </a:cxnLst>
            <a:rect l="T15" t="T16" r="T17" b="T18"/>
            <a:pathLst>
              <a:path w="2676" h="1025">
                <a:moveTo>
                  <a:pt x="574" y="1024"/>
                </a:moveTo>
                <a:lnTo>
                  <a:pt x="2100" y="1024"/>
                </a:lnTo>
                <a:lnTo>
                  <a:pt x="2675" y="0"/>
                </a:lnTo>
                <a:lnTo>
                  <a:pt x="0" y="0"/>
                </a:lnTo>
                <a:lnTo>
                  <a:pt x="574" y="1024"/>
                </a:lnTo>
              </a:path>
            </a:pathLst>
          </a:custGeom>
          <a:solidFill>
            <a:schemeClr val="accent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57" name="Freeform 18"/>
          <p:cNvSpPr>
            <a:spLocks/>
          </p:cNvSpPr>
          <p:nvPr/>
        </p:nvSpPr>
        <p:spPr bwMode="blackWhite">
          <a:xfrm flipV="1">
            <a:off x="2451083" y="1227934"/>
            <a:ext cx="1498600" cy="1341437"/>
          </a:xfrm>
          <a:custGeom>
            <a:avLst/>
            <a:gdLst>
              <a:gd name="T0" fmla="*/ 0 w 1527"/>
              <a:gd name="T1" fmla="*/ 0 h 1364"/>
              <a:gd name="T2" fmla="*/ 2147483647 w 1527"/>
              <a:gd name="T3" fmla="*/ 2147483647 h 1364"/>
              <a:gd name="T4" fmla="*/ 2147483647 w 1527"/>
              <a:gd name="T5" fmla="*/ 0 h 1364"/>
              <a:gd name="T6" fmla="*/ 0 w 1527"/>
              <a:gd name="T7" fmla="*/ 0 h 1364"/>
              <a:gd name="T8" fmla="*/ 0 60000 65536"/>
              <a:gd name="T9" fmla="*/ 0 60000 65536"/>
              <a:gd name="T10" fmla="*/ 0 60000 65536"/>
              <a:gd name="T11" fmla="*/ 0 60000 65536"/>
              <a:gd name="T12" fmla="*/ 0 w 1527"/>
              <a:gd name="T13" fmla="*/ 0 h 1364"/>
              <a:gd name="T14" fmla="*/ 1527 w 1527"/>
              <a:gd name="T15" fmla="*/ 1364 h 1364"/>
            </a:gdLst>
            <a:ahLst/>
            <a:cxnLst>
              <a:cxn ang="T8">
                <a:pos x="T0" y="T1"/>
              </a:cxn>
              <a:cxn ang="T9">
                <a:pos x="T2" y="T3"/>
              </a:cxn>
              <a:cxn ang="T10">
                <a:pos x="T4" y="T5"/>
              </a:cxn>
              <a:cxn ang="T11">
                <a:pos x="T6" y="T7"/>
              </a:cxn>
            </a:cxnLst>
            <a:rect l="T12" t="T13" r="T14" b="T15"/>
            <a:pathLst>
              <a:path w="1527" h="1364">
                <a:moveTo>
                  <a:pt x="0" y="0"/>
                </a:moveTo>
                <a:lnTo>
                  <a:pt x="763" y="1363"/>
                </a:lnTo>
                <a:lnTo>
                  <a:pt x="1526" y="0"/>
                </a:lnTo>
                <a:lnTo>
                  <a:pt x="0" y="0"/>
                </a:lnTo>
              </a:path>
            </a:pathLst>
          </a:custGeom>
          <a:solidFill>
            <a:srgbClr val="0097A9"/>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58" name="Rectangle 19"/>
          <p:cNvSpPr>
            <a:spLocks noChangeArrowheads="1"/>
          </p:cNvSpPr>
          <p:nvPr/>
        </p:nvSpPr>
        <p:spPr bwMode="auto">
          <a:xfrm>
            <a:off x="3075830" y="2104954"/>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61" name="Rectangle 20"/>
          <p:cNvSpPr>
            <a:spLocks noChangeArrowheads="1"/>
          </p:cNvSpPr>
          <p:nvPr/>
        </p:nvSpPr>
        <p:spPr bwMode="auto">
          <a:xfrm>
            <a:off x="3075830" y="2980275"/>
            <a:ext cx="249107" cy="184666"/>
          </a:xfrm>
          <a:prstGeom prst="rect">
            <a:avLst/>
          </a:prstGeom>
        </p:spPr>
        <p:txBody>
          <a:bodyPr wrap="none" lIns="0" tIns="0" rIns="0" bIns="0" anchor="ctr">
            <a:spAutoFit/>
          </a:bodyPr>
          <a:lstStyle/>
          <a:p>
            <a:pPr algn="ctr"/>
            <a:r>
              <a:rPr lang="en-GB" sz="1200" dirty="0">
                <a:solidFill>
                  <a:schemeClr val="bg1"/>
                </a:solidFill>
                <a:cs typeface="Arial" pitchFamily="34" charset="0"/>
              </a:rPr>
              <a:t>Text</a:t>
            </a:r>
          </a:p>
        </p:txBody>
      </p:sp>
      <p:sp>
        <p:nvSpPr>
          <p:cNvPr id="62" name="Freeform 21"/>
          <p:cNvSpPr>
            <a:spLocks/>
          </p:cNvSpPr>
          <p:nvPr/>
        </p:nvSpPr>
        <p:spPr bwMode="blackWhite">
          <a:xfrm>
            <a:off x="8333450" y="3580266"/>
            <a:ext cx="588963" cy="517525"/>
          </a:xfrm>
          <a:custGeom>
            <a:avLst/>
            <a:gdLst>
              <a:gd name="T0" fmla="*/ 0 w 582"/>
              <a:gd name="T1" fmla="*/ 2147483647 h 520"/>
              <a:gd name="T2" fmla="*/ 2147483647 w 582"/>
              <a:gd name="T3" fmla="*/ 2147483647 h 520"/>
              <a:gd name="T4" fmla="*/ 2147483647 w 582"/>
              <a:gd name="T5" fmla="*/ 0 h 520"/>
              <a:gd name="T6" fmla="*/ 0 w 582"/>
              <a:gd name="T7" fmla="*/ 2147483647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63" name="Freeform 23"/>
          <p:cNvSpPr>
            <a:spLocks/>
          </p:cNvSpPr>
          <p:nvPr/>
        </p:nvSpPr>
        <p:spPr bwMode="blackWhite">
          <a:xfrm>
            <a:off x="8333450" y="3580266"/>
            <a:ext cx="588963" cy="517525"/>
          </a:xfrm>
          <a:custGeom>
            <a:avLst/>
            <a:gdLst>
              <a:gd name="T0" fmla="*/ 0 w 582"/>
              <a:gd name="T1" fmla="*/ 516530 h 520"/>
              <a:gd name="T2" fmla="*/ 637078 w 582"/>
              <a:gd name="T3" fmla="*/ 516530 h 520"/>
              <a:gd name="T4" fmla="*/ 319088 w 582"/>
              <a:gd name="T5" fmla="*/ 0 h 520"/>
              <a:gd name="T6" fmla="*/ 0 w 582"/>
              <a:gd name="T7" fmla="*/ 516530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rgbClr val="DDEFE8"/>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64" name="Freeform 25"/>
          <p:cNvSpPr>
            <a:spLocks/>
          </p:cNvSpPr>
          <p:nvPr/>
        </p:nvSpPr>
        <p:spPr bwMode="blackWhite">
          <a:xfrm>
            <a:off x="8200894" y="4096203"/>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200" dirty="0">
              <a:solidFill>
                <a:schemeClr val="bg1"/>
              </a:solidFill>
              <a:cs typeface="Arial" pitchFamily="34" charset="0"/>
            </a:endParaRPr>
          </a:p>
        </p:txBody>
      </p:sp>
      <p:sp>
        <p:nvSpPr>
          <p:cNvPr id="65" name="Freeform 27"/>
          <p:cNvSpPr>
            <a:spLocks/>
          </p:cNvSpPr>
          <p:nvPr/>
        </p:nvSpPr>
        <p:spPr bwMode="blackWhite">
          <a:xfrm>
            <a:off x="8200894" y="4096203"/>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rgbClr val="9DD4CF"/>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200" dirty="0">
              <a:cs typeface="Arial" pitchFamily="34" charset="0"/>
            </a:endParaRPr>
          </a:p>
        </p:txBody>
      </p:sp>
      <p:sp>
        <p:nvSpPr>
          <p:cNvPr id="66" name="Freeform 29"/>
          <p:cNvSpPr>
            <a:spLocks/>
          </p:cNvSpPr>
          <p:nvPr/>
        </p:nvSpPr>
        <p:spPr bwMode="blackWhite">
          <a:xfrm>
            <a:off x="8067544" y="4327978"/>
            <a:ext cx="1120775" cy="231775"/>
          </a:xfrm>
          <a:custGeom>
            <a:avLst/>
            <a:gdLst>
              <a:gd name="T0" fmla="*/ 2147483647 w 1106"/>
              <a:gd name="T1" fmla="*/ 0 h 233"/>
              <a:gd name="T2" fmla="*/ 0 w 1106"/>
              <a:gd name="T3" fmla="*/ 2147483647 h 233"/>
              <a:gd name="T4" fmla="*/ 2147483647 w 1106"/>
              <a:gd name="T5" fmla="*/ 2147483647 h 233"/>
              <a:gd name="T6" fmla="*/ 2147483647 w 1106"/>
              <a:gd name="T7" fmla="*/ 0 h 233"/>
              <a:gd name="T8" fmla="*/ 2147483647 w 1106"/>
              <a:gd name="T9" fmla="*/ 0 h 233"/>
              <a:gd name="T10" fmla="*/ 0 60000 65536"/>
              <a:gd name="T11" fmla="*/ 0 60000 65536"/>
              <a:gd name="T12" fmla="*/ 0 60000 65536"/>
              <a:gd name="T13" fmla="*/ 0 60000 65536"/>
              <a:gd name="T14" fmla="*/ 0 60000 65536"/>
              <a:gd name="T15" fmla="*/ 0 w 1106"/>
              <a:gd name="T16" fmla="*/ 0 h 233"/>
              <a:gd name="T17" fmla="*/ 1106 w 1106"/>
              <a:gd name="T18" fmla="*/ 233 h 233"/>
            </a:gdLst>
            <a:ahLst/>
            <a:cxnLst>
              <a:cxn ang="T10">
                <a:pos x="T0" y="T1"/>
              </a:cxn>
              <a:cxn ang="T11">
                <a:pos x="T2" y="T3"/>
              </a:cxn>
              <a:cxn ang="T12">
                <a:pos x="T4" y="T5"/>
              </a:cxn>
              <a:cxn ang="T13">
                <a:pos x="T6" y="T7"/>
              </a:cxn>
              <a:cxn ang="T14">
                <a:pos x="T8" y="T9"/>
              </a:cxn>
            </a:cxnLst>
            <a:rect l="T15" t="T16" r="T17" b="T18"/>
            <a:pathLst>
              <a:path w="1106" h="233">
                <a:moveTo>
                  <a:pt x="132" y="0"/>
                </a:moveTo>
                <a:lnTo>
                  <a:pt x="0" y="232"/>
                </a:lnTo>
                <a:lnTo>
                  <a:pt x="1105" y="232"/>
                </a:lnTo>
                <a:lnTo>
                  <a:pt x="974" y="0"/>
                </a:lnTo>
                <a:lnTo>
                  <a:pt x="132" y="0"/>
                </a:lnTo>
              </a:path>
            </a:pathLst>
          </a:custGeom>
          <a:solidFill>
            <a:srgbClr val="6FC2B4"/>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cs typeface="Arial" pitchFamily="34" charset="0"/>
            </a:endParaRPr>
          </a:p>
        </p:txBody>
      </p:sp>
      <p:sp>
        <p:nvSpPr>
          <p:cNvPr id="67" name="Freeform 31"/>
          <p:cNvSpPr>
            <a:spLocks/>
          </p:cNvSpPr>
          <p:nvPr/>
        </p:nvSpPr>
        <p:spPr bwMode="blackWhite">
          <a:xfrm>
            <a:off x="7934988" y="4559753"/>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68" name="Freeform 32"/>
          <p:cNvSpPr>
            <a:spLocks/>
          </p:cNvSpPr>
          <p:nvPr/>
        </p:nvSpPr>
        <p:spPr bwMode="blackWhite">
          <a:xfrm>
            <a:off x="7934988" y="4559753"/>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rgbClr val="00ABAB"/>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cs typeface="Arial" pitchFamily="34" charset="0"/>
            </a:endParaRPr>
          </a:p>
        </p:txBody>
      </p:sp>
      <p:sp>
        <p:nvSpPr>
          <p:cNvPr id="69" name="Freeform 34"/>
          <p:cNvSpPr>
            <a:spLocks/>
          </p:cNvSpPr>
          <p:nvPr/>
        </p:nvSpPr>
        <p:spPr bwMode="blackWhite">
          <a:xfrm>
            <a:off x="7802430" y="4791528"/>
            <a:ext cx="1651000" cy="233363"/>
          </a:xfrm>
          <a:custGeom>
            <a:avLst/>
            <a:gdLst>
              <a:gd name="T0" fmla="*/ 2147483647 w 1628"/>
              <a:gd name="T1" fmla="*/ 0 h 235"/>
              <a:gd name="T2" fmla="*/ 0 w 1628"/>
              <a:gd name="T3" fmla="*/ 2147483647 h 235"/>
              <a:gd name="T4" fmla="*/ 2147483647 w 1628"/>
              <a:gd name="T5" fmla="*/ 2147483647 h 235"/>
              <a:gd name="T6" fmla="*/ 2147483647 w 1628"/>
              <a:gd name="T7" fmla="*/ 0 h 235"/>
              <a:gd name="T8" fmla="*/ 2147483647 w 1628"/>
              <a:gd name="T9" fmla="*/ 0 h 235"/>
              <a:gd name="T10" fmla="*/ 0 60000 65536"/>
              <a:gd name="T11" fmla="*/ 0 60000 65536"/>
              <a:gd name="T12" fmla="*/ 0 60000 65536"/>
              <a:gd name="T13" fmla="*/ 0 60000 65536"/>
              <a:gd name="T14" fmla="*/ 0 60000 65536"/>
              <a:gd name="T15" fmla="*/ 0 w 1628"/>
              <a:gd name="T16" fmla="*/ 0 h 235"/>
              <a:gd name="T17" fmla="*/ 1628 w 1628"/>
              <a:gd name="T18" fmla="*/ 235 h 235"/>
            </a:gdLst>
            <a:ahLst/>
            <a:cxnLst>
              <a:cxn ang="T10">
                <a:pos x="T0" y="T1"/>
              </a:cxn>
              <a:cxn ang="T11">
                <a:pos x="T2" y="T3"/>
              </a:cxn>
              <a:cxn ang="T12">
                <a:pos x="T4" y="T5"/>
              </a:cxn>
              <a:cxn ang="T13">
                <a:pos x="T6" y="T7"/>
              </a:cxn>
              <a:cxn ang="T14">
                <a:pos x="T8" y="T9"/>
              </a:cxn>
            </a:cxnLst>
            <a:rect l="T15" t="T16" r="T17" b="T18"/>
            <a:pathLst>
              <a:path w="1628" h="235">
                <a:moveTo>
                  <a:pt x="131" y="0"/>
                </a:moveTo>
                <a:lnTo>
                  <a:pt x="0" y="234"/>
                </a:lnTo>
                <a:lnTo>
                  <a:pt x="1627" y="234"/>
                </a:lnTo>
                <a:lnTo>
                  <a:pt x="1497" y="0"/>
                </a:lnTo>
                <a:lnTo>
                  <a:pt x="131" y="0"/>
                </a:lnTo>
              </a:path>
            </a:pathLst>
          </a:custGeom>
          <a:solidFill>
            <a:srgbClr val="0097A9"/>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cs typeface="Arial" pitchFamily="34" charset="0"/>
            </a:endParaRPr>
          </a:p>
        </p:txBody>
      </p:sp>
      <p:sp>
        <p:nvSpPr>
          <p:cNvPr id="70" name="Freeform 36"/>
          <p:cNvSpPr>
            <a:spLocks/>
          </p:cNvSpPr>
          <p:nvPr/>
        </p:nvSpPr>
        <p:spPr bwMode="blackWhite">
          <a:xfrm>
            <a:off x="7670669" y="5024891"/>
            <a:ext cx="1914525" cy="231775"/>
          </a:xfrm>
          <a:custGeom>
            <a:avLst/>
            <a:gdLst>
              <a:gd name="T0" fmla="*/ 2147483647 w 1890"/>
              <a:gd name="T1" fmla="*/ 0 h 234"/>
              <a:gd name="T2" fmla="*/ 0 w 1890"/>
              <a:gd name="T3" fmla="*/ 2147483647 h 234"/>
              <a:gd name="T4" fmla="*/ 2147483647 w 1890"/>
              <a:gd name="T5" fmla="*/ 2147483647 h 234"/>
              <a:gd name="T6" fmla="*/ 2147483647 w 1890"/>
              <a:gd name="T7" fmla="*/ 0 h 234"/>
              <a:gd name="T8" fmla="*/ 2147483647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71" name="Freeform 37"/>
          <p:cNvSpPr>
            <a:spLocks/>
          </p:cNvSpPr>
          <p:nvPr/>
        </p:nvSpPr>
        <p:spPr bwMode="blackWhite">
          <a:xfrm>
            <a:off x="7670669" y="5024891"/>
            <a:ext cx="1914525" cy="231775"/>
          </a:xfrm>
          <a:custGeom>
            <a:avLst/>
            <a:gdLst>
              <a:gd name="T0" fmla="*/ 143703 w 1890"/>
              <a:gd name="T1" fmla="*/ 0 h 234"/>
              <a:gd name="T2" fmla="*/ 0 w 1890"/>
              <a:gd name="T3" fmla="*/ 230785 h 234"/>
              <a:gd name="T4" fmla="*/ 2072178 w 1890"/>
              <a:gd name="T5" fmla="*/ 230785 h 234"/>
              <a:gd name="T6" fmla="*/ 1928475 w 1890"/>
              <a:gd name="T7" fmla="*/ 0 h 234"/>
              <a:gd name="T8" fmla="*/ 143703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accent4"/>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73" name="Freeform 39"/>
          <p:cNvSpPr>
            <a:spLocks/>
          </p:cNvSpPr>
          <p:nvPr/>
        </p:nvSpPr>
        <p:spPr bwMode="blackWhite">
          <a:xfrm>
            <a:off x="7537319" y="5256666"/>
            <a:ext cx="2181225" cy="231775"/>
          </a:xfrm>
          <a:custGeom>
            <a:avLst/>
            <a:gdLst>
              <a:gd name="T0" fmla="*/ 2147483647 w 2152"/>
              <a:gd name="T1" fmla="*/ 0 h 234"/>
              <a:gd name="T2" fmla="*/ 0 w 2152"/>
              <a:gd name="T3" fmla="*/ 2147483647 h 234"/>
              <a:gd name="T4" fmla="*/ 2147483647 w 2152"/>
              <a:gd name="T5" fmla="*/ 2147483647 h 234"/>
              <a:gd name="T6" fmla="*/ 2147483647 w 2152"/>
              <a:gd name="T7" fmla="*/ 0 h 234"/>
              <a:gd name="T8" fmla="*/ 2147483647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bg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74" name="Freeform 41"/>
          <p:cNvSpPr>
            <a:spLocks/>
          </p:cNvSpPr>
          <p:nvPr/>
        </p:nvSpPr>
        <p:spPr bwMode="blackWhite">
          <a:xfrm>
            <a:off x="7537319" y="5256666"/>
            <a:ext cx="2181225" cy="231775"/>
          </a:xfrm>
          <a:custGeom>
            <a:avLst/>
            <a:gdLst>
              <a:gd name="T0" fmla="*/ 143796 w 2152"/>
              <a:gd name="T1" fmla="*/ 0 h 234"/>
              <a:gd name="T2" fmla="*/ 0 w 2152"/>
              <a:gd name="T3" fmla="*/ 230785 h 234"/>
              <a:gd name="T4" fmla="*/ 2361102 w 2152"/>
              <a:gd name="T5" fmla="*/ 230785 h 234"/>
              <a:gd name="T6" fmla="*/ 2217306 w 2152"/>
              <a:gd name="T7" fmla="*/ 0 h 234"/>
              <a:gd name="T8" fmla="*/ 143796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accent3"/>
          </a:solidFill>
          <a:ln w="9525" cap="rnd">
            <a:noFill/>
            <a:round/>
            <a:headEnd type="none" w="sm" len="sm"/>
            <a:tailEnd type="none" w="sm" len="sm"/>
          </a:ln>
        </p:spPr>
        <p:txBody>
          <a:bodyPr lIns="44450" tIns="44450" rIns="44450" bIns="44450"/>
          <a:lstStyle/>
          <a:p>
            <a:pPr algn="ctr" eaLnBrk="1" hangingPunct="1">
              <a:spcBef>
                <a:spcPct val="20000"/>
              </a:spcBef>
              <a:defRPr/>
            </a:pPr>
            <a:endParaRPr lang="en-GB" sz="1400" dirty="0">
              <a:solidFill>
                <a:schemeClr val="bg1"/>
              </a:solidFill>
              <a:cs typeface="Arial" pitchFamily="34" charset="0"/>
            </a:endParaRPr>
          </a:p>
        </p:txBody>
      </p:sp>
      <p:sp>
        <p:nvSpPr>
          <p:cNvPr id="75" name="Freeform 43"/>
          <p:cNvSpPr>
            <a:spLocks/>
          </p:cNvSpPr>
          <p:nvPr/>
        </p:nvSpPr>
        <p:spPr bwMode="blackWhite">
          <a:xfrm>
            <a:off x="7405555" y="5486852"/>
            <a:ext cx="2444750"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chemeClr val="accent2"/>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77" name="Freeform 44"/>
          <p:cNvSpPr>
            <a:spLocks/>
          </p:cNvSpPr>
          <p:nvPr/>
        </p:nvSpPr>
        <p:spPr bwMode="blackWhite">
          <a:xfrm>
            <a:off x="7405555" y="5486852"/>
            <a:ext cx="2444750"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chemeClr val="accent2"/>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79" name="Freeform 46"/>
          <p:cNvSpPr>
            <a:spLocks/>
          </p:cNvSpPr>
          <p:nvPr/>
        </p:nvSpPr>
        <p:spPr bwMode="blackWhite">
          <a:xfrm>
            <a:off x="7272205" y="5720215"/>
            <a:ext cx="2711450" cy="233362"/>
          </a:xfrm>
          <a:custGeom>
            <a:avLst/>
            <a:gdLst>
              <a:gd name="T0" fmla="*/ 2147483647 w 2676"/>
              <a:gd name="T1" fmla="*/ 0 h 235"/>
              <a:gd name="T2" fmla="*/ 0 w 2676"/>
              <a:gd name="T3" fmla="*/ 2147483647 h 235"/>
              <a:gd name="T4" fmla="*/ 2147483647 w 2676"/>
              <a:gd name="T5" fmla="*/ 2147483647 h 235"/>
              <a:gd name="T6" fmla="*/ 2147483647 w 2676"/>
              <a:gd name="T7" fmla="*/ 0 h 235"/>
              <a:gd name="T8" fmla="*/ 2147483647 w 2676"/>
              <a:gd name="T9" fmla="*/ 0 h 235"/>
              <a:gd name="T10" fmla="*/ 0 60000 65536"/>
              <a:gd name="T11" fmla="*/ 0 60000 65536"/>
              <a:gd name="T12" fmla="*/ 0 60000 65536"/>
              <a:gd name="T13" fmla="*/ 0 60000 65536"/>
              <a:gd name="T14" fmla="*/ 0 60000 65536"/>
              <a:gd name="T15" fmla="*/ 0 w 2676"/>
              <a:gd name="T16" fmla="*/ 0 h 235"/>
              <a:gd name="T17" fmla="*/ 2676 w 2676"/>
              <a:gd name="T18" fmla="*/ 235 h 235"/>
            </a:gdLst>
            <a:ahLst/>
            <a:cxnLst>
              <a:cxn ang="T10">
                <a:pos x="T0" y="T1"/>
              </a:cxn>
              <a:cxn ang="T11">
                <a:pos x="T2" y="T3"/>
              </a:cxn>
              <a:cxn ang="T12">
                <a:pos x="T4" y="T5"/>
              </a:cxn>
              <a:cxn ang="T13">
                <a:pos x="T6" y="T7"/>
              </a:cxn>
              <a:cxn ang="T14">
                <a:pos x="T8" y="T9"/>
              </a:cxn>
            </a:cxnLst>
            <a:rect l="T15" t="T16" r="T17" b="T18"/>
            <a:pathLst>
              <a:path w="2676" h="235">
                <a:moveTo>
                  <a:pt x="131" y="0"/>
                </a:moveTo>
                <a:lnTo>
                  <a:pt x="0" y="234"/>
                </a:lnTo>
                <a:lnTo>
                  <a:pt x="2675" y="234"/>
                </a:lnTo>
                <a:lnTo>
                  <a:pt x="2544" y="0"/>
                </a:lnTo>
                <a:lnTo>
                  <a:pt x="131" y="0"/>
                </a:lnTo>
              </a:path>
            </a:pathLst>
          </a:custGeom>
          <a:solidFill>
            <a:schemeClr val="accent1"/>
          </a:solidFill>
          <a:ln w="9525" cap="rnd">
            <a:noFill/>
            <a:round/>
            <a:headEnd type="none" w="sm" len="sm"/>
            <a:tailEnd type="none" w="sm" len="sm"/>
          </a:ln>
        </p:spPr>
        <p:txBody>
          <a:bodyPr lIns="44450" tIns="44450" rIns="44450" bIns="44450"/>
          <a:lstStyle/>
          <a:p>
            <a:pPr algn="ctr" eaLnBrk="1" hangingPunct="1">
              <a:spcBef>
                <a:spcPct val="20000"/>
              </a:spcBef>
            </a:pPr>
            <a:endParaRPr lang="en-GB" sz="1400" dirty="0">
              <a:solidFill>
                <a:schemeClr val="bg1"/>
              </a:solidFill>
              <a:cs typeface="Arial" pitchFamily="34" charset="0"/>
            </a:endParaRPr>
          </a:p>
        </p:txBody>
      </p:sp>
      <p:sp>
        <p:nvSpPr>
          <p:cNvPr id="80" name="Rectangle 24"/>
          <p:cNvSpPr>
            <a:spLocks noChangeArrowheads="1"/>
          </p:cNvSpPr>
          <p:nvPr/>
        </p:nvSpPr>
        <p:spPr bwMode="auto">
          <a:xfrm>
            <a:off x="8503377" y="3915763"/>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1" name="Rectangle 28"/>
          <p:cNvSpPr>
            <a:spLocks noChangeArrowheads="1"/>
          </p:cNvSpPr>
          <p:nvPr/>
        </p:nvSpPr>
        <p:spPr bwMode="auto">
          <a:xfrm>
            <a:off x="8503377" y="4120551"/>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2" name="Rectangle 30"/>
          <p:cNvSpPr>
            <a:spLocks noChangeArrowheads="1"/>
          </p:cNvSpPr>
          <p:nvPr/>
        </p:nvSpPr>
        <p:spPr bwMode="auto">
          <a:xfrm>
            <a:off x="8503377" y="4351532"/>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4" name="Rectangle 33"/>
          <p:cNvSpPr>
            <a:spLocks noChangeArrowheads="1"/>
          </p:cNvSpPr>
          <p:nvPr/>
        </p:nvSpPr>
        <p:spPr bwMode="auto">
          <a:xfrm>
            <a:off x="8503377" y="4584101"/>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5" name="Rectangle 35"/>
          <p:cNvSpPr>
            <a:spLocks noChangeArrowheads="1"/>
          </p:cNvSpPr>
          <p:nvPr/>
        </p:nvSpPr>
        <p:spPr bwMode="auto">
          <a:xfrm>
            <a:off x="8503377" y="4815876"/>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7" name="Rectangle 38"/>
          <p:cNvSpPr>
            <a:spLocks noChangeArrowheads="1"/>
          </p:cNvSpPr>
          <p:nvPr/>
        </p:nvSpPr>
        <p:spPr bwMode="auto">
          <a:xfrm>
            <a:off x="8503377" y="5048445"/>
            <a:ext cx="249107" cy="184666"/>
          </a:xfrm>
          <a:prstGeom prst="rect">
            <a:avLst/>
          </a:prstGeom>
          <a:ln>
            <a:noFill/>
          </a:ln>
        </p:spPr>
        <p:txBody>
          <a:bodyPr wrap="none" lIns="0" tIns="0" rIns="0" bIns="0" anchor="ctr">
            <a:spAutoFit/>
          </a:bodyPr>
          <a:lstStyle/>
          <a:p>
            <a:pPr algn="ctr"/>
            <a:r>
              <a:rPr lang="en-GB" sz="1200" dirty="0">
                <a:solidFill>
                  <a:schemeClr val="bg1"/>
                </a:solidFill>
                <a:cs typeface="Arial" pitchFamily="34" charset="0"/>
              </a:rPr>
              <a:t>Text</a:t>
            </a:r>
          </a:p>
        </p:txBody>
      </p:sp>
      <p:sp>
        <p:nvSpPr>
          <p:cNvPr id="88" name="Rectangle 40"/>
          <p:cNvSpPr>
            <a:spLocks noChangeArrowheads="1"/>
          </p:cNvSpPr>
          <p:nvPr/>
        </p:nvSpPr>
        <p:spPr bwMode="auto">
          <a:xfrm>
            <a:off x="8503377" y="5280220"/>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89" name="Rectangle 45"/>
          <p:cNvSpPr>
            <a:spLocks noChangeArrowheads="1"/>
          </p:cNvSpPr>
          <p:nvPr/>
        </p:nvSpPr>
        <p:spPr bwMode="auto">
          <a:xfrm>
            <a:off x="8503377" y="5511995"/>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91" name="Rectangle 49"/>
          <p:cNvSpPr>
            <a:spLocks noChangeArrowheads="1"/>
          </p:cNvSpPr>
          <p:nvPr/>
        </p:nvSpPr>
        <p:spPr bwMode="auto">
          <a:xfrm>
            <a:off x="8503377" y="5744564"/>
            <a:ext cx="249107" cy="184666"/>
          </a:xfrm>
          <a:prstGeom prst="rect">
            <a:avLst/>
          </a:prstGeom>
          <a:ln>
            <a:noFill/>
          </a:ln>
        </p:spPr>
        <p:txBody>
          <a:bodyPr wrap="none" lIns="0" tIns="0" rIns="0" bIns="0" anchor="ctr">
            <a:spAutoFit/>
          </a:bodyPr>
          <a:lstStyle/>
          <a:p>
            <a:pPr algn="ctr"/>
            <a:r>
              <a:rPr lang="en-GB" sz="1200" dirty="0">
                <a:cs typeface="Arial" pitchFamily="34" charset="0"/>
              </a:rPr>
              <a:t>Text</a:t>
            </a:r>
          </a:p>
        </p:txBody>
      </p:sp>
      <p:sp>
        <p:nvSpPr>
          <p:cNvPr id="52" name="Rectangle 51">
            <a:extLst>
              <a:ext uri="{FF2B5EF4-FFF2-40B4-BE49-F238E27FC236}">
                <a16:creationId xmlns:a16="http://schemas.microsoft.com/office/drawing/2014/main" id="{10E01B90-43F7-4449-8B77-4748822DF168}"/>
              </a:ext>
            </a:extLst>
          </p:cNvPr>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155960021"/>
      </p:ext>
    </p:extLst>
  </p:cSld>
  <p:clrMapOvr>
    <a:masterClrMapping/>
  </p:clrMapOvr>
  <p:transition>
    <p:fade/>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quare</a:t>
            </a:r>
            <a:endParaRPr lang="en-US" dirty="0"/>
          </a:p>
        </p:txBody>
      </p:sp>
      <p:sp>
        <p:nvSpPr>
          <p:cNvPr id="696321" name="Title 1"/>
          <p:cNvSpPr>
            <a:spLocks noGrp="1"/>
          </p:cNvSpPr>
          <p:nvPr>
            <p:ph type="title"/>
          </p:nvPr>
        </p:nvSpPr>
        <p:spPr/>
        <p:txBody>
          <a:bodyPr/>
          <a:lstStyle/>
          <a:p>
            <a:r>
              <a:rPr lang="en-US" dirty="0"/>
              <a:t>Puzzles </a:t>
            </a:r>
          </a:p>
        </p:txBody>
      </p:sp>
      <p:grpSp>
        <p:nvGrpSpPr>
          <p:cNvPr id="696323" name="Group 3"/>
          <p:cNvGrpSpPr>
            <a:grpSpLocks/>
          </p:cNvGrpSpPr>
          <p:nvPr/>
        </p:nvGrpSpPr>
        <p:grpSpPr bwMode="auto">
          <a:xfrm>
            <a:off x="1268825" y="1963223"/>
            <a:ext cx="4002498" cy="3996228"/>
            <a:chOff x="561" y="1281"/>
            <a:chExt cx="2287" cy="2108"/>
          </a:xfrm>
          <a:solidFill>
            <a:schemeClr val="accent1"/>
          </a:solidFill>
        </p:grpSpPr>
        <p:sp>
          <p:nvSpPr>
            <p:cNvPr id="696335" name="Freeform 4"/>
            <p:cNvSpPr>
              <a:spLocks/>
            </p:cNvSpPr>
            <p:nvPr/>
          </p:nvSpPr>
          <p:spPr bwMode="auto">
            <a:xfrm>
              <a:off x="561" y="1281"/>
              <a:ext cx="1453" cy="1054"/>
            </a:xfrm>
            <a:custGeom>
              <a:avLst/>
              <a:gdLst>
                <a:gd name="T0" fmla="*/ 0 w 2312"/>
                <a:gd name="T1" fmla="*/ 0 h 1823"/>
                <a:gd name="T2" fmla="*/ 178 w 2312"/>
                <a:gd name="T3" fmla="*/ 0 h 1823"/>
                <a:gd name="T4" fmla="*/ 178 w 2312"/>
                <a:gd name="T5" fmla="*/ 43 h 1823"/>
                <a:gd name="T6" fmla="*/ 198 w 2312"/>
                <a:gd name="T7" fmla="*/ 39 h 1823"/>
                <a:gd name="T8" fmla="*/ 226 w 2312"/>
                <a:gd name="T9" fmla="*/ 60 h 1823"/>
                <a:gd name="T10" fmla="*/ 202 w 2312"/>
                <a:gd name="T11" fmla="*/ 77 h 1823"/>
                <a:gd name="T12" fmla="*/ 178 w 2312"/>
                <a:gd name="T13" fmla="*/ 75 h 1823"/>
                <a:gd name="T14" fmla="*/ 178 w 2312"/>
                <a:gd name="T15" fmla="*/ 118 h 1823"/>
                <a:gd name="T16" fmla="*/ 112 w 2312"/>
                <a:gd name="T17" fmla="*/ 118 h 1823"/>
                <a:gd name="T18" fmla="*/ 118 w 2312"/>
                <a:gd name="T19" fmla="*/ 102 h 1823"/>
                <a:gd name="T20" fmla="*/ 90 w 2312"/>
                <a:gd name="T21" fmla="*/ 87 h 1823"/>
                <a:gd name="T22" fmla="*/ 60 w 2312"/>
                <a:gd name="T23" fmla="*/ 105 h 1823"/>
                <a:gd name="T24" fmla="*/ 66 w 2312"/>
                <a:gd name="T25" fmla="*/ 118 h 1823"/>
                <a:gd name="T26" fmla="*/ 0 w 2312"/>
                <a:gd name="T27" fmla="*/ 118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bg1"/>
            </a:solidFill>
            <a:ln w="19050">
              <a:solidFill>
                <a:schemeClr val="tx1"/>
              </a:solidFill>
              <a:round/>
              <a:headEnd/>
              <a:tailEnd/>
            </a:ln>
          </p:spPr>
          <p:txBody>
            <a:bodyPr wrap="none" lIns="88900" tIns="88900" rIns="88900" bIns="88900" anchor="ctr"/>
            <a:lstStyle/>
            <a:p>
              <a:pPr algn="ctr"/>
              <a:endParaRPr lang="en-US" sz="1400" dirty="0">
                <a:solidFill>
                  <a:schemeClr val="bg1"/>
                </a:solidFill>
              </a:endParaRPr>
            </a:p>
          </p:txBody>
        </p:sp>
        <p:sp>
          <p:nvSpPr>
            <p:cNvPr id="6" name="Freeform 5"/>
            <p:cNvSpPr>
              <a:spLocks/>
            </p:cNvSpPr>
            <p:nvPr/>
          </p:nvSpPr>
          <p:spPr bwMode="auto">
            <a:xfrm rot="16200000">
              <a:off x="465" y="2148"/>
              <a:ext cx="1337" cy="1144"/>
            </a:xfrm>
            <a:custGeom>
              <a:avLst/>
              <a:gdLst>
                <a:gd name="T0" fmla="*/ 0 w 2312"/>
                <a:gd name="T1" fmla="*/ 0 h 1823"/>
                <a:gd name="T2" fmla="*/ 1054 w 2312"/>
                <a:gd name="T3" fmla="*/ 0 h 1823"/>
                <a:gd name="T4" fmla="*/ 1054 w 2312"/>
                <a:gd name="T5" fmla="*/ 422 h 1823"/>
                <a:gd name="T6" fmla="*/ 1168 w 2312"/>
                <a:gd name="T7" fmla="*/ 380 h 1823"/>
                <a:gd name="T8" fmla="*/ 1335 w 2312"/>
                <a:gd name="T9" fmla="*/ 578 h 1823"/>
                <a:gd name="T10" fmla="*/ 1190 w 2312"/>
                <a:gd name="T11" fmla="*/ 755 h 1823"/>
                <a:gd name="T12" fmla="*/ 1054 w 2312"/>
                <a:gd name="T13" fmla="*/ 727 h 1823"/>
                <a:gd name="T14" fmla="*/ 1054 w 2312"/>
                <a:gd name="T15" fmla="*/ 1144 h 1823"/>
                <a:gd name="T16" fmla="*/ 666 w 2312"/>
                <a:gd name="T17" fmla="*/ 1144 h 1823"/>
                <a:gd name="T18" fmla="*/ 694 w 2312"/>
                <a:gd name="T19" fmla="*/ 994 h 1823"/>
                <a:gd name="T20" fmla="*/ 530 w 2312"/>
                <a:gd name="T21" fmla="*/ 843 h 1823"/>
                <a:gd name="T22" fmla="*/ 352 w 2312"/>
                <a:gd name="T23" fmla="*/ 1017 h 1823"/>
                <a:gd name="T24" fmla="*/ 388 w 2312"/>
                <a:gd name="T25" fmla="*/ 1144 h 1823"/>
                <a:gd name="T26" fmla="*/ 0 w 2312"/>
                <a:gd name="T27" fmla="*/ 114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bg1"/>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7" name="Freeform 6"/>
            <p:cNvSpPr>
              <a:spLocks/>
            </p:cNvSpPr>
            <p:nvPr/>
          </p:nvSpPr>
          <p:spPr bwMode="auto">
            <a:xfrm rot="10800000">
              <a:off x="1396" y="2335"/>
              <a:ext cx="1452" cy="1054"/>
            </a:xfrm>
            <a:custGeom>
              <a:avLst/>
              <a:gdLst>
                <a:gd name="T0" fmla="*/ 0 w 2312"/>
                <a:gd name="T1" fmla="*/ 0 h 1823"/>
                <a:gd name="T2" fmla="*/ 1144 w 2312"/>
                <a:gd name="T3" fmla="*/ 0 h 1823"/>
                <a:gd name="T4" fmla="*/ 1144 w 2312"/>
                <a:gd name="T5" fmla="*/ 389 h 1823"/>
                <a:gd name="T6" fmla="*/ 1269 w 2312"/>
                <a:gd name="T7" fmla="*/ 350 h 1823"/>
                <a:gd name="T8" fmla="*/ 1449 w 2312"/>
                <a:gd name="T9" fmla="*/ 532 h 1823"/>
                <a:gd name="T10" fmla="*/ 1292 w 2312"/>
                <a:gd name="T11" fmla="*/ 696 h 1823"/>
                <a:gd name="T12" fmla="*/ 1144 w 2312"/>
                <a:gd name="T13" fmla="*/ 670 h 1823"/>
                <a:gd name="T14" fmla="*/ 1144 w 2312"/>
                <a:gd name="T15" fmla="*/ 1054 h 1823"/>
                <a:gd name="T16" fmla="*/ 723 w 2312"/>
                <a:gd name="T17" fmla="*/ 1054 h 1823"/>
                <a:gd name="T18" fmla="*/ 754 w 2312"/>
                <a:gd name="T19" fmla="*/ 916 h 1823"/>
                <a:gd name="T20" fmla="*/ 575 w 2312"/>
                <a:gd name="T21" fmla="*/ 777 h 1823"/>
                <a:gd name="T22" fmla="*/ 382 w 2312"/>
                <a:gd name="T23" fmla="*/ 937 h 1823"/>
                <a:gd name="T24" fmla="*/ 421 w 2312"/>
                <a:gd name="T25" fmla="*/ 1054 h 1823"/>
                <a:gd name="T26" fmla="*/ 0 w 2312"/>
                <a:gd name="T27" fmla="*/ 105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1"/>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696338" name="Freeform 7"/>
            <p:cNvSpPr>
              <a:spLocks/>
            </p:cNvSpPr>
            <p:nvPr/>
          </p:nvSpPr>
          <p:spPr bwMode="auto">
            <a:xfrm rot="5400000">
              <a:off x="1608" y="1378"/>
              <a:ext cx="1337" cy="1143"/>
            </a:xfrm>
            <a:custGeom>
              <a:avLst/>
              <a:gdLst>
                <a:gd name="T0" fmla="*/ 0 w 2312"/>
                <a:gd name="T1" fmla="*/ 0 h 1823"/>
                <a:gd name="T2" fmla="*/ 118 w 2312"/>
                <a:gd name="T3" fmla="*/ 0 h 1823"/>
                <a:gd name="T4" fmla="*/ 118 w 2312"/>
                <a:gd name="T5" fmla="*/ 65 h 1823"/>
                <a:gd name="T6" fmla="*/ 131 w 2312"/>
                <a:gd name="T7" fmla="*/ 58 h 1823"/>
                <a:gd name="T8" fmla="*/ 149 w 2312"/>
                <a:gd name="T9" fmla="*/ 89 h 1823"/>
                <a:gd name="T10" fmla="*/ 133 w 2312"/>
                <a:gd name="T11" fmla="*/ 117 h 1823"/>
                <a:gd name="T12" fmla="*/ 118 w 2312"/>
                <a:gd name="T13" fmla="*/ 112 h 1823"/>
                <a:gd name="T14" fmla="*/ 118 w 2312"/>
                <a:gd name="T15" fmla="*/ 177 h 1823"/>
                <a:gd name="T16" fmla="*/ 75 w 2312"/>
                <a:gd name="T17" fmla="*/ 177 h 1823"/>
                <a:gd name="T18" fmla="*/ 77 w 2312"/>
                <a:gd name="T19" fmla="*/ 154 h 1823"/>
                <a:gd name="T20" fmla="*/ 59 w 2312"/>
                <a:gd name="T21" fmla="*/ 130 h 1823"/>
                <a:gd name="T22" fmla="*/ 39 w 2312"/>
                <a:gd name="T23" fmla="*/ 157 h 1823"/>
                <a:gd name="T24" fmla="*/ 43 w 2312"/>
                <a:gd name="T25" fmla="*/ 177 h 1823"/>
                <a:gd name="T26" fmla="*/ 0 w 2312"/>
                <a:gd name="T27" fmla="*/ 177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bg1"/>
            </a:solidFill>
            <a:ln w="19050">
              <a:solidFill>
                <a:schemeClr val="tx1"/>
              </a:solidFill>
              <a:round/>
              <a:headEnd/>
              <a:tailEnd/>
            </a:ln>
          </p:spPr>
          <p:txBody>
            <a:bodyPr wrap="none" lIns="88900" tIns="88900" rIns="88900" bIns="88900" anchor="ctr"/>
            <a:lstStyle/>
            <a:p>
              <a:pPr algn="ctr"/>
              <a:endParaRPr lang="en-US" sz="1400" dirty="0">
                <a:solidFill>
                  <a:schemeClr val="bg1"/>
                </a:solidFill>
              </a:endParaRPr>
            </a:p>
          </p:txBody>
        </p:sp>
      </p:grpSp>
      <p:grpSp>
        <p:nvGrpSpPr>
          <p:cNvPr id="696324" name="Group 8"/>
          <p:cNvGrpSpPr>
            <a:grpSpLocks/>
          </p:cNvGrpSpPr>
          <p:nvPr/>
        </p:nvGrpSpPr>
        <p:grpSpPr bwMode="auto">
          <a:xfrm>
            <a:off x="7006228" y="1963225"/>
            <a:ext cx="3997548" cy="3997841"/>
            <a:chOff x="3347" y="1272"/>
            <a:chExt cx="2303" cy="2126"/>
          </a:xfrm>
          <a:solidFill>
            <a:schemeClr val="accent1"/>
          </a:solidFill>
        </p:grpSpPr>
        <p:sp>
          <p:nvSpPr>
            <p:cNvPr id="10" name="Freeform 9"/>
            <p:cNvSpPr>
              <a:spLocks/>
            </p:cNvSpPr>
            <p:nvPr/>
          </p:nvSpPr>
          <p:spPr bwMode="auto">
            <a:xfrm>
              <a:off x="3923" y="1797"/>
              <a:ext cx="974" cy="897"/>
            </a:xfrm>
            <a:custGeom>
              <a:avLst/>
              <a:gdLst>
                <a:gd name="T0" fmla="*/ 307 w 850"/>
                <a:gd name="T1" fmla="*/ 735 h 853"/>
                <a:gd name="T2" fmla="*/ 256 w 850"/>
                <a:gd name="T3" fmla="*/ 745 h 853"/>
                <a:gd name="T4" fmla="*/ 163 w 850"/>
                <a:gd name="T5" fmla="*/ 767 h 853"/>
                <a:gd name="T6" fmla="*/ 73 w 850"/>
                <a:gd name="T7" fmla="*/ 741 h 853"/>
                <a:gd name="T8" fmla="*/ 10 w 850"/>
                <a:gd name="T9" fmla="*/ 679 h 853"/>
                <a:gd name="T10" fmla="*/ 0 w 850"/>
                <a:gd name="T11" fmla="*/ 585 h 853"/>
                <a:gd name="T12" fmla="*/ 47 w 850"/>
                <a:gd name="T13" fmla="*/ 528 h 853"/>
                <a:gd name="T14" fmla="*/ 141 w 850"/>
                <a:gd name="T15" fmla="*/ 496 h 853"/>
                <a:gd name="T16" fmla="*/ 249 w 850"/>
                <a:gd name="T17" fmla="*/ 521 h 853"/>
                <a:gd name="T18" fmla="*/ 307 w 850"/>
                <a:gd name="T19" fmla="*/ 522 h 853"/>
                <a:gd name="T20" fmla="*/ 746 w 850"/>
                <a:gd name="T21" fmla="*/ 218 h 853"/>
                <a:gd name="T22" fmla="*/ 730 w 850"/>
                <a:gd name="T23" fmla="*/ 188 h 853"/>
                <a:gd name="T24" fmla="*/ 690 w 850"/>
                <a:gd name="T25" fmla="*/ 136 h 853"/>
                <a:gd name="T26" fmla="*/ 693 w 850"/>
                <a:gd name="T27" fmla="*/ 89 h 853"/>
                <a:gd name="T28" fmla="*/ 723 w 850"/>
                <a:gd name="T29" fmla="*/ 47 h 853"/>
                <a:gd name="T30" fmla="*/ 827 w 850"/>
                <a:gd name="T31" fmla="*/ 4 h 853"/>
                <a:gd name="T32" fmla="*/ 927 w 850"/>
                <a:gd name="T33" fmla="*/ 1 h 853"/>
                <a:gd name="T34" fmla="*/ 1031 w 850"/>
                <a:gd name="T35" fmla="*/ 34 h 853"/>
                <a:gd name="T36" fmla="*/ 1066 w 850"/>
                <a:gd name="T37" fmla="*/ 103 h 853"/>
                <a:gd name="T38" fmla="*/ 1047 w 850"/>
                <a:gd name="T39" fmla="*/ 159 h 853"/>
                <a:gd name="T40" fmla="*/ 1008 w 850"/>
                <a:gd name="T41" fmla="*/ 206 h 853"/>
                <a:gd name="T42" fmla="*/ 1466 w 850"/>
                <a:gd name="T43" fmla="*/ 218 h 853"/>
                <a:gd name="T44" fmla="*/ 1443 w 850"/>
                <a:gd name="T45" fmla="*/ 533 h 853"/>
                <a:gd name="T46" fmla="*/ 1360 w 850"/>
                <a:gd name="T47" fmla="*/ 502 h 853"/>
                <a:gd name="T48" fmla="*/ 1267 w 850"/>
                <a:gd name="T49" fmla="*/ 498 h 853"/>
                <a:gd name="T50" fmla="*/ 1196 w 850"/>
                <a:gd name="T51" fmla="*/ 532 h 853"/>
                <a:gd name="T52" fmla="*/ 1160 w 850"/>
                <a:gd name="T53" fmla="*/ 588 h 853"/>
                <a:gd name="T54" fmla="*/ 1160 w 850"/>
                <a:gd name="T55" fmla="*/ 672 h 853"/>
                <a:gd name="T56" fmla="*/ 1220 w 850"/>
                <a:gd name="T57" fmla="*/ 735 h 853"/>
                <a:gd name="T58" fmla="*/ 1309 w 850"/>
                <a:gd name="T59" fmla="*/ 765 h 853"/>
                <a:gd name="T60" fmla="*/ 1392 w 850"/>
                <a:gd name="T61" fmla="*/ 753 h 853"/>
                <a:gd name="T62" fmla="*/ 1453 w 850"/>
                <a:gd name="T63" fmla="*/ 720 h 853"/>
                <a:gd name="T64" fmla="*/ 1466 w 850"/>
                <a:gd name="T65" fmla="*/ 1043 h 853"/>
                <a:gd name="T66" fmla="*/ 1014 w 850"/>
                <a:gd name="T67" fmla="*/ 1028 h 853"/>
                <a:gd name="T68" fmla="*/ 1055 w 850"/>
                <a:gd name="T69" fmla="*/ 999 h 853"/>
                <a:gd name="T70" fmla="*/ 1081 w 850"/>
                <a:gd name="T71" fmla="*/ 947 h 853"/>
                <a:gd name="T72" fmla="*/ 1061 w 850"/>
                <a:gd name="T73" fmla="*/ 897 h 853"/>
                <a:gd name="T74" fmla="*/ 1000 w 850"/>
                <a:gd name="T75" fmla="*/ 853 h 853"/>
                <a:gd name="T76" fmla="*/ 879 w 850"/>
                <a:gd name="T77" fmla="*/ 827 h 853"/>
                <a:gd name="T78" fmla="*/ 795 w 850"/>
                <a:gd name="T79" fmla="*/ 836 h 853"/>
                <a:gd name="T80" fmla="*/ 730 w 850"/>
                <a:gd name="T81" fmla="*/ 872 h 853"/>
                <a:gd name="T82" fmla="*/ 699 w 850"/>
                <a:gd name="T83" fmla="*/ 935 h 853"/>
                <a:gd name="T84" fmla="*/ 720 w 850"/>
                <a:gd name="T85" fmla="*/ 991 h 853"/>
                <a:gd name="T86" fmla="*/ 753 w 850"/>
                <a:gd name="T87" fmla="*/ 1031 h 853"/>
                <a:gd name="T88" fmla="*/ 307 w 850"/>
                <a:gd name="T89" fmla="*/ 1043 h 8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0"/>
                <a:gd name="T136" fmla="*/ 0 h 853"/>
                <a:gd name="T137" fmla="*/ 850 w 850"/>
                <a:gd name="T138" fmla="*/ 853 h 8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0" h="853">
                  <a:moveTo>
                    <a:pt x="178" y="853"/>
                  </a:moveTo>
                  <a:lnTo>
                    <a:pt x="178" y="601"/>
                  </a:lnTo>
                  <a:lnTo>
                    <a:pt x="165" y="592"/>
                  </a:lnTo>
                  <a:lnTo>
                    <a:pt x="148" y="609"/>
                  </a:lnTo>
                  <a:lnTo>
                    <a:pt x="124" y="621"/>
                  </a:lnTo>
                  <a:lnTo>
                    <a:pt x="94" y="627"/>
                  </a:lnTo>
                  <a:lnTo>
                    <a:pt x="69" y="621"/>
                  </a:lnTo>
                  <a:lnTo>
                    <a:pt x="43" y="606"/>
                  </a:lnTo>
                  <a:lnTo>
                    <a:pt x="22" y="583"/>
                  </a:lnTo>
                  <a:lnTo>
                    <a:pt x="6" y="555"/>
                  </a:lnTo>
                  <a:lnTo>
                    <a:pt x="0" y="520"/>
                  </a:lnTo>
                  <a:lnTo>
                    <a:pt x="0" y="478"/>
                  </a:lnTo>
                  <a:lnTo>
                    <a:pt x="13" y="447"/>
                  </a:lnTo>
                  <a:lnTo>
                    <a:pt x="27" y="432"/>
                  </a:lnTo>
                  <a:lnTo>
                    <a:pt x="43" y="417"/>
                  </a:lnTo>
                  <a:lnTo>
                    <a:pt x="81" y="406"/>
                  </a:lnTo>
                  <a:lnTo>
                    <a:pt x="115" y="411"/>
                  </a:lnTo>
                  <a:lnTo>
                    <a:pt x="144" y="426"/>
                  </a:lnTo>
                  <a:lnTo>
                    <a:pt x="166" y="439"/>
                  </a:lnTo>
                  <a:lnTo>
                    <a:pt x="178" y="427"/>
                  </a:lnTo>
                  <a:lnTo>
                    <a:pt x="178" y="178"/>
                  </a:lnTo>
                  <a:lnTo>
                    <a:pt x="433" y="178"/>
                  </a:lnTo>
                  <a:lnTo>
                    <a:pt x="438" y="168"/>
                  </a:lnTo>
                  <a:lnTo>
                    <a:pt x="423" y="154"/>
                  </a:lnTo>
                  <a:lnTo>
                    <a:pt x="409" y="138"/>
                  </a:lnTo>
                  <a:lnTo>
                    <a:pt x="400" y="111"/>
                  </a:lnTo>
                  <a:lnTo>
                    <a:pt x="399" y="93"/>
                  </a:lnTo>
                  <a:lnTo>
                    <a:pt x="402" y="73"/>
                  </a:lnTo>
                  <a:lnTo>
                    <a:pt x="406" y="57"/>
                  </a:lnTo>
                  <a:lnTo>
                    <a:pt x="420" y="39"/>
                  </a:lnTo>
                  <a:lnTo>
                    <a:pt x="447" y="18"/>
                  </a:lnTo>
                  <a:lnTo>
                    <a:pt x="480" y="4"/>
                  </a:lnTo>
                  <a:lnTo>
                    <a:pt x="507" y="0"/>
                  </a:lnTo>
                  <a:lnTo>
                    <a:pt x="538" y="1"/>
                  </a:lnTo>
                  <a:lnTo>
                    <a:pt x="568" y="7"/>
                  </a:lnTo>
                  <a:lnTo>
                    <a:pt x="598" y="28"/>
                  </a:lnTo>
                  <a:lnTo>
                    <a:pt x="613" y="55"/>
                  </a:lnTo>
                  <a:lnTo>
                    <a:pt x="619" y="84"/>
                  </a:lnTo>
                  <a:lnTo>
                    <a:pt x="615" y="109"/>
                  </a:lnTo>
                  <a:lnTo>
                    <a:pt x="607" y="130"/>
                  </a:lnTo>
                  <a:lnTo>
                    <a:pt x="594" y="151"/>
                  </a:lnTo>
                  <a:lnTo>
                    <a:pt x="585" y="168"/>
                  </a:lnTo>
                  <a:lnTo>
                    <a:pt x="595" y="178"/>
                  </a:lnTo>
                  <a:lnTo>
                    <a:pt x="850" y="178"/>
                  </a:lnTo>
                  <a:lnTo>
                    <a:pt x="850" y="421"/>
                  </a:lnTo>
                  <a:lnTo>
                    <a:pt x="837" y="436"/>
                  </a:lnTo>
                  <a:lnTo>
                    <a:pt x="820" y="429"/>
                  </a:lnTo>
                  <a:lnTo>
                    <a:pt x="789" y="411"/>
                  </a:lnTo>
                  <a:lnTo>
                    <a:pt x="759" y="405"/>
                  </a:lnTo>
                  <a:lnTo>
                    <a:pt x="735" y="408"/>
                  </a:lnTo>
                  <a:lnTo>
                    <a:pt x="712" y="418"/>
                  </a:lnTo>
                  <a:lnTo>
                    <a:pt x="694" y="435"/>
                  </a:lnTo>
                  <a:lnTo>
                    <a:pt x="682" y="453"/>
                  </a:lnTo>
                  <a:lnTo>
                    <a:pt x="673" y="481"/>
                  </a:lnTo>
                  <a:lnTo>
                    <a:pt x="667" y="513"/>
                  </a:lnTo>
                  <a:lnTo>
                    <a:pt x="673" y="550"/>
                  </a:lnTo>
                  <a:lnTo>
                    <a:pt x="690" y="579"/>
                  </a:lnTo>
                  <a:lnTo>
                    <a:pt x="708" y="601"/>
                  </a:lnTo>
                  <a:lnTo>
                    <a:pt x="733" y="618"/>
                  </a:lnTo>
                  <a:lnTo>
                    <a:pt x="759" y="625"/>
                  </a:lnTo>
                  <a:lnTo>
                    <a:pt x="781" y="625"/>
                  </a:lnTo>
                  <a:lnTo>
                    <a:pt x="807" y="616"/>
                  </a:lnTo>
                  <a:lnTo>
                    <a:pt x="825" y="601"/>
                  </a:lnTo>
                  <a:lnTo>
                    <a:pt x="843" y="589"/>
                  </a:lnTo>
                  <a:lnTo>
                    <a:pt x="850" y="601"/>
                  </a:lnTo>
                  <a:lnTo>
                    <a:pt x="850" y="853"/>
                  </a:lnTo>
                  <a:lnTo>
                    <a:pt x="592" y="853"/>
                  </a:lnTo>
                  <a:lnTo>
                    <a:pt x="588" y="841"/>
                  </a:lnTo>
                  <a:lnTo>
                    <a:pt x="600" y="831"/>
                  </a:lnTo>
                  <a:lnTo>
                    <a:pt x="613" y="817"/>
                  </a:lnTo>
                  <a:lnTo>
                    <a:pt x="621" y="798"/>
                  </a:lnTo>
                  <a:lnTo>
                    <a:pt x="627" y="775"/>
                  </a:lnTo>
                  <a:lnTo>
                    <a:pt x="621" y="753"/>
                  </a:lnTo>
                  <a:lnTo>
                    <a:pt x="615" y="733"/>
                  </a:lnTo>
                  <a:lnTo>
                    <a:pt x="601" y="715"/>
                  </a:lnTo>
                  <a:lnTo>
                    <a:pt x="580" y="697"/>
                  </a:lnTo>
                  <a:lnTo>
                    <a:pt x="550" y="682"/>
                  </a:lnTo>
                  <a:lnTo>
                    <a:pt x="510" y="675"/>
                  </a:lnTo>
                  <a:lnTo>
                    <a:pt x="487" y="678"/>
                  </a:lnTo>
                  <a:lnTo>
                    <a:pt x="462" y="684"/>
                  </a:lnTo>
                  <a:lnTo>
                    <a:pt x="439" y="697"/>
                  </a:lnTo>
                  <a:lnTo>
                    <a:pt x="423" y="712"/>
                  </a:lnTo>
                  <a:lnTo>
                    <a:pt x="411" y="736"/>
                  </a:lnTo>
                  <a:lnTo>
                    <a:pt x="405" y="765"/>
                  </a:lnTo>
                  <a:lnTo>
                    <a:pt x="408" y="787"/>
                  </a:lnTo>
                  <a:lnTo>
                    <a:pt x="417" y="810"/>
                  </a:lnTo>
                  <a:lnTo>
                    <a:pt x="429" y="828"/>
                  </a:lnTo>
                  <a:lnTo>
                    <a:pt x="436" y="843"/>
                  </a:lnTo>
                  <a:lnTo>
                    <a:pt x="427" y="853"/>
                  </a:lnTo>
                  <a:lnTo>
                    <a:pt x="178" y="853"/>
                  </a:lnTo>
                  <a:close/>
                </a:path>
              </a:pathLst>
            </a:custGeom>
            <a:solidFill>
              <a:schemeClr val="accent1"/>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696327" name="Freeform 10"/>
            <p:cNvSpPr>
              <a:spLocks/>
            </p:cNvSpPr>
            <p:nvPr/>
          </p:nvSpPr>
          <p:spPr bwMode="auto">
            <a:xfrm>
              <a:off x="4118" y="1273"/>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88900" tIns="88900" rIns="88900" bIns="88900" anchor="ctr"/>
            <a:lstStyle/>
            <a:p>
              <a:pPr algn="ctr"/>
              <a:endParaRPr lang="en-US" sz="1400" dirty="0">
                <a:solidFill>
                  <a:schemeClr val="bg1"/>
                </a:solidFill>
              </a:endParaRPr>
            </a:p>
          </p:txBody>
        </p:sp>
        <p:sp>
          <p:nvSpPr>
            <p:cNvPr id="696328" name="Freeform 11"/>
            <p:cNvSpPr>
              <a:spLocks/>
            </p:cNvSpPr>
            <p:nvPr/>
          </p:nvSpPr>
          <p:spPr bwMode="auto">
            <a:xfrm>
              <a:off x="3347"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88900" tIns="88900" rIns="88900" bIns="88900" anchor="ctr"/>
            <a:lstStyle/>
            <a:p>
              <a:pPr algn="ctr"/>
              <a:endParaRPr lang="en-US" sz="1400" dirty="0">
                <a:solidFill>
                  <a:schemeClr val="bg1"/>
                </a:solidFill>
              </a:endParaRPr>
            </a:p>
          </p:txBody>
        </p:sp>
        <p:sp>
          <p:nvSpPr>
            <p:cNvPr id="13" name="Freeform 12"/>
            <p:cNvSpPr>
              <a:spLocks/>
            </p:cNvSpPr>
            <p:nvPr/>
          </p:nvSpPr>
          <p:spPr bwMode="auto">
            <a:xfrm>
              <a:off x="3347" y="1787"/>
              <a:ext cx="774" cy="1090"/>
            </a:xfrm>
            <a:custGeom>
              <a:avLst/>
              <a:gdLst>
                <a:gd name="T0" fmla="*/ 0 w 673"/>
                <a:gd name="T1" fmla="*/ 904 h 1036"/>
                <a:gd name="T2" fmla="*/ 0 w 673"/>
                <a:gd name="T3" fmla="*/ 190 h 1036"/>
                <a:gd name="T4" fmla="*/ 285 w 673"/>
                <a:gd name="T5" fmla="*/ 190 h 1036"/>
                <a:gd name="T6" fmla="*/ 257 w 673"/>
                <a:gd name="T7" fmla="*/ 114 h 1036"/>
                <a:gd name="T8" fmla="*/ 391 w 673"/>
                <a:gd name="T9" fmla="*/ 1 h 1036"/>
                <a:gd name="T10" fmla="*/ 510 w 673"/>
                <a:gd name="T11" fmla="*/ 99 h 1036"/>
                <a:gd name="T12" fmla="*/ 492 w 673"/>
                <a:gd name="T13" fmla="*/ 190 h 1036"/>
                <a:gd name="T14" fmla="*/ 773 w 673"/>
                <a:gd name="T15" fmla="*/ 190 h 1036"/>
                <a:gd name="T16" fmla="*/ 773 w 673"/>
                <a:gd name="T17" fmla="*/ 450 h 1036"/>
                <a:gd name="T18" fmla="*/ 672 w 673"/>
                <a:gd name="T19" fmla="*/ 431 h 1036"/>
                <a:gd name="T20" fmla="*/ 570 w 673"/>
                <a:gd name="T21" fmla="*/ 542 h 1036"/>
                <a:gd name="T22" fmla="*/ 687 w 673"/>
                <a:gd name="T23" fmla="*/ 662 h 1036"/>
                <a:gd name="T24" fmla="*/ 773 w 673"/>
                <a:gd name="T25" fmla="*/ 637 h 1036"/>
                <a:gd name="T26" fmla="*/ 773 w 673"/>
                <a:gd name="T27" fmla="*/ 904 h 1036"/>
                <a:gd name="T28" fmla="*/ 484 w 673"/>
                <a:gd name="T29" fmla="*/ 904 h 1036"/>
                <a:gd name="T30" fmla="*/ 470 w 673"/>
                <a:gd name="T31" fmla="*/ 917 h 1036"/>
                <a:gd name="T32" fmla="*/ 482 w 673"/>
                <a:gd name="T33" fmla="*/ 935 h 1036"/>
                <a:gd name="T34" fmla="*/ 497 w 673"/>
                <a:gd name="T35" fmla="*/ 954 h 1036"/>
                <a:gd name="T36" fmla="*/ 507 w 673"/>
                <a:gd name="T37" fmla="*/ 971 h 1036"/>
                <a:gd name="T38" fmla="*/ 511 w 673"/>
                <a:gd name="T39" fmla="*/ 995 h 1036"/>
                <a:gd name="T40" fmla="*/ 508 w 673"/>
                <a:gd name="T41" fmla="*/ 1022 h 1036"/>
                <a:gd name="T42" fmla="*/ 497 w 673"/>
                <a:gd name="T43" fmla="*/ 1044 h 1036"/>
                <a:gd name="T44" fmla="*/ 480 w 673"/>
                <a:gd name="T45" fmla="*/ 1063 h 1036"/>
                <a:gd name="T46" fmla="*/ 455 w 673"/>
                <a:gd name="T47" fmla="*/ 1081 h 1036"/>
                <a:gd name="T48" fmla="*/ 417 w 673"/>
                <a:gd name="T49" fmla="*/ 1087 h 1036"/>
                <a:gd name="T50" fmla="*/ 386 w 673"/>
                <a:gd name="T51" fmla="*/ 1090 h 1036"/>
                <a:gd name="T52" fmla="*/ 355 w 673"/>
                <a:gd name="T53" fmla="*/ 1087 h 1036"/>
                <a:gd name="T54" fmla="*/ 327 w 673"/>
                <a:gd name="T55" fmla="*/ 1077 h 1036"/>
                <a:gd name="T56" fmla="*/ 301 w 673"/>
                <a:gd name="T57" fmla="*/ 1059 h 1036"/>
                <a:gd name="T58" fmla="*/ 279 w 673"/>
                <a:gd name="T59" fmla="*/ 1046 h 1036"/>
                <a:gd name="T60" fmla="*/ 263 w 673"/>
                <a:gd name="T61" fmla="*/ 1015 h 1036"/>
                <a:gd name="T62" fmla="*/ 260 w 673"/>
                <a:gd name="T63" fmla="*/ 990 h 1036"/>
                <a:gd name="T64" fmla="*/ 258 w 673"/>
                <a:gd name="T65" fmla="*/ 967 h 1036"/>
                <a:gd name="T66" fmla="*/ 272 w 673"/>
                <a:gd name="T67" fmla="*/ 933 h 1036"/>
                <a:gd name="T68" fmla="*/ 296 w 673"/>
                <a:gd name="T69" fmla="*/ 916 h 1036"/>
                <a:gd name="T70" fmla="*/ 287 w 673"/>
                <a:gd name="T71" fmla="*/ 904 h 1036"/>
                <a:gd name="T72" fmla="*/ 0 w 673"/>
                <a:gd name="T73" fmla="*/ 904 h 10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73"/>
                <a:gd name="T112" fmla="*/ 0 h 1036"/>
                <a:gd name="T113" fmla="*/ 673 w 673"/>
                <a:gd name="T114" fmla="*/ 1036 h 10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73" h="1036">
                  <a:moveTo>
                    <a:pt x="0" y="859"/>
                  </a:moveTo>
                  <a:lnTo>
                    <a:pt x="0" y="181"/>
                  </a:lnTo>
                  <a:lnTo>
                    <a:pt x="248" y="181"/>
                  </a:lnTo>
                  <a:cubicBezTo>
                    <a:pt x="285" y="169"/>
                    <a:pt x="226" y="159"/>
                    <a:pt x="224" y="108"/>
                  </a:cubicBezTo>
                  <a:cubicBezTo>
                    <a:pt x="222" y="57"/>
                    <a:pt x="272" y="0"/>
                    <a:pt x="340" y="1"/>
                  </a:cubicBezTo>
                  <a:cubicBezTo>
                    <a:pt x="408" y="3"/>
                    <a:pt x="441" y="44"/>
                    <a:pt x="444" y="94"/>
                  </a:cubicBezTo>
                  <a:cubicBezTo>
                    <a:pt x="447" y="144"/>
                    <a:pt x="389" y="165"/>
                    <a:pt x="428" y="181"/>
                  </a:cubicBezTo>
                  <a:lnTo>
                    <a:pt x="673" y="181"/>
                  </a:lnTo>
                  <a:lnTo>
                    <a:pt x="673" y="428"/>
                  </a:lnTo>
                  <a:cubicBezTo>
                    <a:pt x="658" y="467"/>
                    <a:pt x="641" y="409"/>
                    <a:pt x="585" y="410"/>
                  </a:cubicBezTo>
                  <a:cubicBezTo>
                    <a:pt x="529" y="412"/>
                    <a:pt x="496" y="453"/>
                    <a:pt x="496" y="515"/>
                  </a:cubicBezTo>
                  <a:cubicBezTo>
                    <a:pt x="497" y="577"/>
                    <a:pt x="542" y="629"/>
                    <a:pt x="598" y="629"/>
                  </a:cubicBezTo>
                  <a:cubicBezTo>
                    <a:pt x="654" y="629"/>
                    <a:pt x="661" y="570"/>
                    <a:pt x="673" y="605"/>
                  </a:cubicBezTo>
                  <a:lnTo>
                    <a:pt x="673" y="859"/>
                  </a:lnTo>
                  <a:lnTo>
                    <a:pt x="421" y="859"/>
                  </a:lnTo>
                  <a:lnTo>
                    <a:pt x="409" y="872"/>
                  </a:lnTo>
                  <a:lnTo>
                    <a:pt x="420" y="889"/>
                  </a:lnTo>
                  <a:lnTo>
                    <a:pt x="433" y="907"/>
                  </a:lnTo>
                  <a:lnTo>
                    <a:pt x="441" y="923"/>
                  </a:lnTo>
                  <a:lnTo>
                    <a:pt x="445" y="946"/>
                  </a:lnTo>
                  <a:lnTo>
                    <a:pt x="442" y="971"/>
                  </a:lnTo>
                  <a:lnTo>
                    <a:pt x="433" y="992"/>
                  </a:lnTo>
                  <a:lnTo>
                    <a:pt x="418" y="1010"/>
                  </a:lnTo>
                  <a:lnTo>
                    <a:pt x="396" y="1027"/>
                  </a:lnTo>
                  <a:lnTo>
                    <a:pt x="363" y="1033"/>
                  </a:lnTo>
                  <a:lnTo>
                    <a:pt x="336" y="1036"/>
                  </a:lnTo>
                  <a:lnTo>
                    <a:pt x="309" y="1033"/>
                  </a:lnTo>
                  <a:lnTo>
                    <a:pt x="285" y="1024"/>
                  </a:lnTo>
                  <a:lnTo>
                    <a:pt x="262" y="1007"/>
                  </a:lnTo>
                  <a:lnTo>
                    <a:pt x="243" y="994"/>
                  </a:lnTo>
                  <a:lnTo>
                    <a:pt x="229" y="965"/>
                  </a:lnTo>
                  <a:lnTo>
                    <a:pt x="226" y="941"/>
                  </a:lnTo>
                  <a:lnTo>
                    <a:pt x="225" y="919"/>
                  </a:lnTo>
                  <a:lnTo>
                    <a:pt x="237" y="887"/>
                  </a:lnTo>
                  <a:lnTo>
                    <a:pt x="258" y="871"/>
                  </a:lnTo>
                  <a:lnTo>
                    <a:pt x="250" y="859"/>
                  </a:lnTo>
                  <a:lnTo>
                    <a:pt x="0" y="859"/>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4" name="Freeform 13"/>
            <p:cNvSpPr>
              <a:spLocks/>
            </p:cNvSpPr>
            <p:nvPr/>
          </p:nvSpPr>
          <p:spPr bwMode="auto">
            <a:xfrm>
              <a:off x="3347" y="2497"/>
              <a:ext cx="771" cy="901"/>
            </a:xfrm>
            <a:custGeom>
              <a:avLst/>
              <a:gdLst>
                <a:gd name="T0" fmla="*/ 0 w 673"/>
                <a:gd name="T1" fmla="*/ 1045 h 857"/>
                <a:gd name="T2" fmla="*/ 1 w 673"/>
                <a:gd name="T3" fmla="*/ 221 h 857"/>
                <a:gd name="T4" fmla="*/ 430 w 673"/>
                <a:gd name="T5" fmla="*/ 221 h 857"/>
                <a:gd name="T6" fmla="*/ 386 w 673"/>
                <a:gd name="T7" fmla="*/ 132 h 857"/>
                <a:gd name="T8" fmla="*/ 588 w 673"/>
                <a:gd name="T9" fmla="*/ 1 h 857"/>
                <a:gd name="T10" fmla="*/ 765 w 673"/>
                <a:gd name="T11" fmla="*/ 115 h 857"/>
                <a:gd name="T12" fmla="*/ 737 w 673"/>
                <a:gd name="T13" fmla="*/ 221 h 857"/>
                <a:gd name="T14" fmla="*/ 1159 w 673"/>
                <a:gd name="T15" fmla="*/ 221 h 857"/>
                <a:gd name="T16" fmla="*/ 1159 w 673"/>
                <a:gd name="T17" fmla="*/ 524 h 857"/>
                <a:gd name="T18" fmla="*/ 1159 w 673"/>
                <a:gd name="T19" fmla="*/ 740 h 857"/>
                <a:gd name="T20" fmla="*/ 1159 w 673"/>
                <a:gd name="T21" fmla="*/ 1047 h 857"/>
                <a:gd name="T22" fmla="*/ 0 w 673"/>
                <a:gd name="T23" fmla="*/ 1045 h 8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857"/>
                <a:gd name="T38" fmla="*/ 673 w 673"/>
                <a:gd name="T39" fmla="*/ 857 h 8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857">
                  <a:moveTo>
                    <a:pt x="0" y="855"/>
                  </a:moveTo>
                  <a:lnTo>
                    <a:pt x="1" y="181"/>
                  </a:lnTo>
                  <a:lnTo>
                    <a:pt x="249" y="181"/>
                  </a:lnTo>
                  <a:cubicBezTo>
                    <a:pt x="286" y="169"/>
                    <a:pt x="227" y="159"/>
                    <a:pt x="224" y="108"/>
                  </a:cubicBezTo>
                  <a:cubicBezTo>
                    <a:pt x="222" y="57"/>
                    <a:pt x="273" y="0"/>
                    <a:pt x="341" y="1"/>
                  </a:cubicBezTo>
                  <a:cubicBezTo>
                    <a:pt x="408" y="3"/>
                    <a:pt x="442" y="44"/>
                    <a:pt x="444" y="94"/>
                  </a:cubicBezTo>
                  <a:cubicBezTo>
                    <a:pt x="447" y="144"/>
                    <a:pt x="389" y="165"/>
                    <a:pt x="428" y="181"/>
                  </a:cubicBezTo>
                  <a:lnTo>
                    <a:pt x="673" y="181"/>
                  </a:lnTo>
                  <a:lnTo>
                    <a:pt x="673" y="429"/>
                  </a:lnTo>
                  <a:cubicBezTo>
                    <a:pt x="673" y="500"/>
                    <a:pt x="673" y="535"/>
                    <a:pt x="673" y="606"/>
                  </a:cubicBezTo>
                  <a:lnTo>
                    <a:pt x="673" y="857"/>
                  </a:lnTo>
                  <a:lnTo>
                    <a:pt x="0" y="855"/>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5" name="Freeform 14"/>
            <p:cNvSpPr>
              <a:spLocks/>
            </p:cNvSpPr>
            <p:nvPr/>
          </p:nvSpPr>
          <p:spPr bwMode="auto">
            <a:xfrm>
              <a:off x="3908" y="2500"/>
              <a:ext cx="987" cy="898"/>
            </a:xfrm>
            <a:custGeom>
              <a:avLst/>
              <a:gdLst>
                <a:gd name="T0" fmla="*/ 983 w 857"/>
                <a:gd name="T1" fmla="*/ 898 h 853"/>
                <a:gd name="T2" fmla="*/ 983 w 857"/>
                <a:gd name="T3" fmla="*/ 191 h 853"/>
                <a:gd name="T4" fmla="*/ 699 w 857"/>
                <a:gd name="T5" fmla="*/ 191 h 853"/>
                <a:gd name="T6" fmla="*/ 726 w 857"/>
                <a:gd name="T7" fmla="*/ 114 h 853"/>
                <a:gd name="T8" fmla="*/ 593 w 857"/>
                <a:gd name="T9" fmla="*/ 1 h 853"/>
                <a:gd name="T10" fmla="*/ 474 w 857"/>
                <a:gd name="T11" fmla="*/ 99 h 853"/>
                <a:gd name="T12" fmla="*/ 492 w 857"/>
                <a:gd name="T13" fmla="*/ 191 h 853"/>
                <a:gd name="T14" fmla="*/ 211 w 857"/>
                <a:gd name="T15" fmla="*/ 191 h 853"/>
                <a:gd name="T16" fmla="*/ 211 w 857"/>
                <a:gd name="T17" fmla="*/ 451 h 853"/>
                <a:gd name="T18" fmla="*/ 154 w 857"/>
                <a:gd name="T19" fmla="*/ 439 h 853"/>
                <a:gd name="T20" fmla="*/ 68 w 857"/>
                <a:gd name="T21" fmla="*/ 436 h 853"/>
                <a:gd name="T22" fmla="*/ 18 w 857"/>
                <a:gd name="T23" fmla="*/ 480 h 853"/>
                <a:gd name="T24" fmla="*/ 5 w 857"/>
                <a:gd name="T25" fmla="*/ 558 h 853"/>
                <a:gd name="T26" fmla="*/ 49 w 857"/>
                <a:gd name="T27" fmla="*/ 635 h 853"/>
                <a:gd name="T28" fmla="*/ 123 w 857"/>
                <a:gd name="T29" fmla="*/ 650 h 853"/>
                <a:gd name="T30" fmla="*/ 209 w 857"/>
                <a:gd name="T31" fmla="*/ 632 h 853"/>
                <a:gd name="T32" fmla="*/ 209 w 857"/>
                <a:gd name="T33" fmla="*/ 897 h 853"/>
                <a:gd name="T34" fmla="*/ 983 w 857"/>
                <a:gd name="T35" fmla="*/ 898 h 8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57"/>
                <a:gd name="T55" fmla="*/ 0 h 853"/>
                <a:gd name="T56" fmla="*/ 857 w 857"/>
                <a:gd name="T57" fmla="*/ 853 h 85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57" h="853">
                  <a:moveTo>
                    <a:pt x="857" y="853"/>
                  </a:moveTo>
                  <a:lnTo>
                    <a:pt x="857" y="181"/>
                  </a:lnTo>
                  <a:lnTo>
                    <a:pt x="609" y="181"/>
                  </a:lnTo>
                  <a:cubicBezTo>
                    <a:pt x="572" y="169"/>
                    <a:pt x="631" y="159"/>
                    <a:pt x="633" y="108"/>
                  </a:cubicBezTo>
                  <a:cubicBezTo>
                    <a:pt x="635" y="57"/>
                    <a:pt x="585" y="0"/>
                    <a:pt x="517" y="1"/>
                  </a:cubicBezTo>
                  <a:cubicBezTo>
                    <a:pt x="449" y="3"/>
                    <a:pt x="416" y="44"/>
                    <a:pt x="413" y="94"/>
                  </a:cubicBezTo>
                  <a:cubicBezTo>
                    <a:pt x="410" y="144"/>
                    <a:pt x="468" y="165"/>
                    <a:pt x="429" y="181"/>
                  </a:cubicBezTo>
                  <a:lnTo>
                    <a:pt x="184" y="181"/>
                  </a:lnTo>
                  <a:lnTo>
                    <a:pt x="184" y="428"/>
                  </a:lnTo>
                  <a:cubicBezTo>
                    <a:pt x="176" y="467"/>
                    <a:pt x="152" y="424"/>
                    <a:pt x="134" y="417"/>
                  </a:cubicBezTo>
                  <a:cubicBezTo>
                    <a:pt x="116" y="410"/>
                    <a:pt x="83" y="404"/>
                    <a:pt x="59" y="414"/>
                  </a:cubicBezTo>
                  <a:cubicBezTo>
                    <a:pt x="40" y="421"/>
                    <a:pt x="26" y="440"/>
                    <a:pt x="16" y="456"/>
                  </a:cubicBezTo>
                  <a:cubicBezTo>
                    <a:pt x="7" y="475"/>
                    <a:pt x="0" y="506"/>
                    <a:pt x="4" y="530"/>
                  </a:cubicBezTo>
                  <a:cubicBezTo>
                    <a:pt x="8" y="554"/>
                    <a:pt x="26" y="589"/>
                    <a:pt x="43" y="603"/>
                  </a:cubicBezTo>
                  <a:cubicBezTo>
                    <a:pt x="60" y="617"/>
                    <a:pt x="84" y="617"/>
                    <a:pt x="107" y="617"/>
                  </a:cubicBezTo>
                  <a:cubicBezTo>
                    <a:pt x="130" y="617"/>
                    <a:pt x="170" y="561"/>
                    <a:pt x="182" y="600"/>
                  </a:cubicBezTo>
                  <a:lnTo>
                    <a:pt x="182" y="852"/>
                  </a:lnTo>
                  <a:lnTo>
                    <a:pt x="857" y="853"/>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6" name="Freeform 15"/>
            <p:cNvSpPr>
              <a:spLocks/>
            </p:cNvSpPr>
            <p:nvPr/>
          </p:nvSpPr>
          <p:spPr bwMode="auto">
            <a:xfrm>
              <a:off x="4687" y="1978"/>
              <a:ext cx="963" cy="898"/>
            </a:xfrm>
            <a:custGeom>
              <a:avLst/>
              <a:gdLst>
                <a:gd name="T0" fmla="*/ 1469 w 854"/>
                <a:gd name="T1" fmla="*/ 832 h 853"/>
                <a:gd name="T2" fmla="*/ 1039 w 854"/>
                <a:gd name="T3" fmla="*/ 832 h 853"/>
                <a:gd name="T4" fmla="*/ 1020 w 854"/>
                <a:gd name="T5" fmla="*/ 846 h 853"/>
                <a:gd name="T6" fmla="*/ 1046 w 854"/>
                <a:gd name="T7" fmla="*/ 860 h 853"/>
                <a:gd name="T8" fmla="*/ 1063 w 854"/>
                <a:gd name="T9" fmla="*/ 879 h 853"/>
                <a:gd name="T10" fmla="*/ 1075 w 854"/>
                <a:gd name="T11" fmla="*/ 898 h 853"/>
                <a:gd name="T12" fmla="*/ 1079 w 854"/>
                <a:gd name="T13" fmla="*/ 919 h 853"/>
                <a:gd name="T14" fmla="*/ 1082 w 854"/>
                <a:gd name="T15" fmla="*/ 941 h 853"/>
                <a:gd name="T16" fmla="*/ 1068 w 854"/>
                <a:gd name="T17" fmla="*/ 963 h 853"/>
                <a:gd name="T18" fmla="*/ 1055 w 854"/>
                <a:gd name="T19" fmla="*/ 985 h 853"/>
                <a:gd name="T20" fmla="*/ 1031 w 854"/>
                <a:gd name="T21" fmla="*/ 1003 h 853"/>
                <a:gd name="T22" fmla="*/ 1000 w 854"/>
                <a:gd name="T23" fmla="*/ 1022 h 853"/>
                <a:gd name="T24" fmla="*/ 968 w 854"/>
                <a:gd name="T25" fmla="*/ 1037 h 853"/>
                <a:gd name="T26" fmla="*/ 931 w 854"/>
                <a:gd name="T27" fmla="*/ 1046 h 853"/>
                <a:gd name="T28" fmla="*/ 889 w 854"/>
                <a:gd name="T29" fmla="*/ 1047 h 853"/>
                <a:gd name="T30" fmla="*/ 839 w 854"/>
                <a:gd name="T31" fmla="*/ 1046 h 853"/>
                <a:gd name="T32" fmla="*/ 797 w 854"/>
                <a:gd name="T33" fmla="*/ 1039 h 853"/>
                <a:gd name="T34" fmla="*/ 759 w 854"/>
                <a:gd name="T35" fmla="*/ 1024 h 853"/>
                <a:gd name="T36" fmla="*/ 734 w 854"/>
                <a:gd name="T37" fmla="*/ 1005 h 853"/>
                <a:gd name="T38" fmla="*/ 713 w 854"/>
                <a:gd name="T39" fmla="*/ 976 h 853"/>
                <a:gd name="T40" fmla="*/ 703 w 854"/>
                <a:gd name="T41" fmla="*/ 949 h 853"/>
                <a:gd name="T42" fmla="*/ 711 w 854"/>
                <a:gd name="T43" fmla="*/ 910 h 853"/>
                <a:gd name="T44" fmla="*/ 724 w 854"/>
                <a:gd name="T45" fmla="*/ 887 h 853"/>
                <a:gd name="T46" fmla="*/ 744 w 854"/>
                <a:gd name="T47" fmla="*/ 866 h 853"/>
                <a:gd name="T48" fmla="*/ 757 w 854"/>
                <a:gd name="T49" fmla="*/ 843 h 853"/>
                <a:gd name="T50" fmla="*/ 742 w 854"/>
                <a:gd name="T51" fmla="*/ 832 h 853"/>
                <a:gd name="T52" fmla="*/ 310 w 854"/>
                <a:gd name="T53" fmla="*/ 832 h 853"/>
                <a:gd name="T54" fmla="*/ 310 w 854"/>
                <a:gd name="T55" fmla="*/ 521 h 853"/>
                <a:gd name="T56" fmla="*/ 187 w 854"/>
                <a:gd name="T57" fmla="*/ 552 h 853"/>
                <a:gd name="T58" fmla="*/ 1 w 854"/>
                <a:gd name="T59" fmla="*/ 407 h 853"/>
                <a:gd name="T60" fmla="*/ 163 w 854"/>
                <a:gd name="T61" fmla="*/ 281 h 853"/>
                <a:gd name="T62" fmla="*/ 310 w 854"/>
                <a:gd name="T63" fmla="*/ 301 h 853"/>
                <a:gd name="T64" fmla="*/ 310 w 854"/>
                <a:gd name="T65" fmla="*/ 0 h 853"/>
                <a:gd name="T66" fmla="*/ 738 w 854"/>
                <a:gd name="T67" fmla="*/ 0 h 853"/>
                <a:gd name="T68" fmla="*/ 707 w 854"/>
                <a:gd name="T69" fmla="*/ 108 h 853"/>
                <a:gd name="T70" fmla="*/ 888 w 854"/>
                <a:gd name="T71" fmla="*/ 217 h 853"/>
                <a:gd name="T72" fmla="*/ 1082 w 854"/>
                <a:gd name="T73" fmla="*/ 92 h 853"/>
                <a:gd name="T74" fmla="*/ 1042 w 854"/>
                <a:gd name="T75" fmla="*/ 0 h 853"/>
                <a:gd name="T76" fmla="*/ 1469 w 854"/>
                <a:gd name="T77" fmla="*/ 0 h 853"/>
                <a:gd name="T78" fmla="*/ 1469 w 854"/>
                <a:gd name="T79" fmla="*/ 832 h 8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54"/>
                <a:gd name="T121" fmla="*/ 0 h 853"/>
                <a:gd name="T122" fmla="*/ 854 w 854"/>
                <a:gd name="T123" fmla="*/ 853 h 8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54" h="853">
                  <a:moveTo>
                    <a:pt x="854" y="676"/>
                  </a:moveTo>
                  <a:lnTo>
                    <a:pt x="604" y="676"/>
                  </a:lnTo>
                  <a:lnTo>
                    <a:pt x="593" y="690"/>
                  </a:lnTo>
                  <a:lnTo>
                    <a:pt x="608" y="700"/>
                  </a:lnTo>
                  <a:lnTo>
                    <a:pt x="617" y="715"/>
                  </a:lnTo>
                  <a:lnTo>
                    <a:pt x="625" y="730"/>
                  </a:lnTo>
                  <a:lnTo>
                    <a:pt x="628" y="748"/>
                  </a:lnTo>
                  <a:lnTo>
                    <a:pt x="629" y="766"/>
                  </a:lnTo>
                  <a:lnTo>
                    <a:pt x="622" y="784"/>
                  </a:lnTo>
                  <a:lnTo>
                    <a:pt x="613" y="802"/>
                  </a:lnTo>
                  <a:lnTo>
                    <a:pt x="599" y="817"/>
                  </a:lnTo>
                  <a:lnTo>
                    <a:pt x="581" y="832"/>
                  </a:lnTo>
                  <a:lnTo>
                    <a:pt x="562" y="844"/>
                  </a:lnTo>
                  <a:lnTo>
                    <a:pt x="541" y="852"/>
                  </a:lnTo>
                  <a:lnTo>
                    <a:pt x="517" y="853"/>
                  </a:lnTo>
                  <a:lnTo>
                    <a:pt x="488" y="852"/>
                  </a:lnTo>
                  <a:lnTo>
                    <a:pt x="464" y="846"/>
                  </a:lnTo>
                  <a:lnTo>
                    <a:pt x="442" y="834"/>
                  </a:lnTo>
                  <a:lnTo>
                    <a:pt x="427" y="819"/>
                  </a:lnTo>
                  <a:lnTo>
                    <a:pt x="415" y="795"/>
                  </a:lnTo>
                  <a:lnTo>
                    <a:pt x="409" y="772"/>
                  </a:lnTo>
                  <a:lnTo>
                    <a:pt x="413" y="741"/>
                  </a:lnTo>
                  <a:lnTo>
                    <a:pt x="421" y="723"/>
                  </a:lnTo>
                  <a:lnTo>
                    <a:pt x="433" y="706"/>
                  </a:lnTo>
                  <a:lnTo>
                    <a:pt x="440" y="687"/>
                  </a:lnTo>
                  <a:lnTo>
                    <a:pt x="431" y="676"/>
                  </a:lnTo>
                  <a:lnTo>
                    <a:pt x="181" y="676"/>
                  </a:lnTo>
                  <a:lnTo>
                    <a:pt x="181" y="424"/>
                  </a:lnTo>
                  <a:cubicBezTo>
                    <a:pt x="169" y="386"/>
                    <a:pt x="159" y="446"/>
                    <a:pt x="108" y="449"/>
                  </a:cubicBezTo>
                  <a:cubicBezTo>
                    <a:pt x="57" y="451"/>
                    <a:pt x="0" y="400"/>
                    <a:pt x="1" y="332"/>
                  </a:cubicBezTo>
                  <a:cubicBezTo>
                    <a:pt x="3" y="265"/>
                    <a:pt x="44" y="231"/>
                    <a:pt x="94" y="229"/>
                  </a:cubicBezTo>
                  <a:cubicBezTo>
                    <a:pt x="144" y="226"/>
                    <a:pt x="165" y="284"/>
                    <a:pt x="181" y="245"/>
                  </a:cubicBezTo>
                  <a:lnTo>
                    <a:pt x="181" y="0"/>
                  </a:lnTo>
                  <a:lnTo>
                    <a:pt x="429" y="0"/>
                  </a:lnTo>
                  <a:cubicBezTo>
                    <a:pt x="467" y="15"/>
                    <a:pt x="409" y="32"/>
                    <a:pt x="411" y="88"/>
                  </a:cubicBezTo>
                  <a:cubicBezTo>
                    <a:pt x="412" y="144"/>
                    <a:pt x="453" y="177"/>
                    <a:pt x="516" y="177"/>
                  </a:cubicBezTo>
                  <a:cubicBezTo>
                    <a:pt x="578" y="176"/>
                    <a:pt x="629" y="131"/>
                    <a:pt x="629" y="75"/>
                  </a:cubicBezTo>
                  <a:cubicBezTo>
                    <a:pt x="629" y="19"/>
                    <a:pt x="571" y="12"/>
                    <a:pt x="606" y="0"/>
                  </a:cubicBezTo>
                  <a:lnTo>
                    <a:pt x="854" y="0"/>
                  </a:lnTo>
                  <a:lnTo>
                    <a:pt x="854" y="676"/>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7" name="Freeform 16"/>
            <p:cNvSpPr>
              <a:spLocks/>
            </p:cNvSpPr>
            <p:nvPr/>
          </p:nvSpPr>
          <p:spPr bwMode="auto">
            <a:xfrm rot="5400000">
              <a:off x="4822" y="1342"/>
              <a:ext cx="897" cy="758"/>
            </a:xfrm>
            <a:custGeom>
              <a:avLst/>
              <a:gdLst>
                <a:gd name="T0" fmla="*/ 0 w 2312"/>
                <a:gd name="T1" fmla="*/ 0 h 1823"/>
                <a:gd name="T2" fmla="*/ 708 w 2312"/>
                <a:gd name="T3" fmla="*/ 0 h 1823"/>
                <a:gd name="T4" fmla="*/ 708 w 2312"/>
                <a:gd name="T5" fmla="*/ 284 h 1823"/>
                <a:gd name="T6" fmla="*/ 785 w 2312"/>
                <a:gd name="T7" fmla="*/ 256 h 1823"/>
                <a:gd name="T8" fmla="*/ 896 w 2312"/>
                <a:gd name="T9" fmla="*/ 390 h 1823"/>
                <a:gd name="T10" fmla="*/ 799 w 2312"/>
                <a:gd name="T11" fmla="*/ 509 h 1823"/>
                <a:gd name="T12" fmla="*/ 708 w 2312"/>
                <a:gd name="T13" fmla="*/ 490 h 1823"/>
                <a:gd name="T14" fmla="*/ 708 w 2312"/>
                <a:gd name="T15" fmla="*/ 771 h 1823"/>
                <a:gd name="T16" fmla="*/ 447 w 2312"/>
                <a:gd name="T17" fmla="*/ 771 h 1823"/>
                <a:gd name="T18" fmla="*/ 466 w 2312"/>
                <a:gd name="T19" fmla="*/ 670 h 1823"/>
                <a:gd name="T20" fmla="*/ 356 w 2312"/>
                <a:gd name="T21" fmla="*/ 568 h 1823"/>
                <a:gd name="T22" fmla="*/ 236 w 2312"/>
                <a:gd name="T23" fmla="*/ 685 h 1823"/>
                <a:gd name="T24" fmla="*/ 261 w 2312"/>
                <a:gd name="T25" fmla="*/ 771 h 1823"/>
                <a:gd name="T26" fmla="*/ 0 w 2312"/>
                <a:gd name="T27" fmla="*/ 771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8" name="Freeform 17"/>
            <p:cNvSpPr>
              <a:spLocks/>
            </p:cNvSpPr>
            <p:nvPr/>
          </p:nvSpPr>
          <p:spPr bwMode="auto">
            <a:xfrm flipH="1" flipV="1">
              <a:off x="4687" y="2692"/>
              <a:ext cx="962" cy="702"/>
            </a:xfrm>
            <a:custGeom>
              <a:avLst/>
              <a:gdLst>
                <a:gd name="T0" fmla="*/ 0 w 2312"/>
                <a:gd name="T1" fmla="*/ 0 h 1823"/>
                <a:gd name="T2" fmla="*/ 770 w 2312"/>
                <a:gd name="T3" fmla="*/ 0 h 1823"/>
                <a:gd name="T4" fmla="*/ 770 w 2312"/>
                <a:gd name="T5" fmla="*/ 261 h 1823"/>
                <a:gd name="T6" fmla="*/ 854 w 2312"/>
                <a:gd name="T7" fmla="*/ 236 h 1823"/>
                <a:gd name="T8" fmla="*/ 975 w 2312"/>
                <a:gd name="T9" fmla="*/ 358 h 1823"/>
                <a:gd name="T10" fmla="*/ 870 w 2312"/>
                <a:gd name="T11" fmla="*/ 468 h 1823"/>
                <a:gd name="T12" fmla="*/ 770 w 2312"/>
                <a:gd name="T13" fmla="*/ 451 h 1823"/>
                <a:gd name="T14" fmla="*/ 770 w 2312"/>
                <a:gd name="T15" fmla="*/ 709 h 1823"/>
                <a:gd name="T16" fmla="*/ 486 w 2312"/>
                <a:gd name="T17" fmla="*/ 709 h 1823"/>
                <a:gd name="T18" fmla="*/ 507 w 2312"/>
                <a:gd name="T19" fmla="*/ 616 h 1823"/>
                <a:gd name="T20" fmla="*/ 387 w 2312"/>
                <a:gd name="T21" fmla="*/ 523 h 1823"/>
                <a:gd name="T22" fmla="*/ 257 w 2312"/>
                <a:gd name="T23" fmla="*/ 630 h 1823"/>
                <a:gd name="T24" fmla="*/ 284 w 2312"/>
                <a:gd name="T25" fmla="*/ 709 h 1823"/>
                <a:gd name="T26" fmla="*/ 0 w 2312"/>
                <a:gd name="T27" fmla="*/ 709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C4D600"/>
            </a:solidFill>
            <a:ln w="19050">
              <a:solidFill>
                <a:schemeClr val="tx1"/>
              </a:solidFill>
              <a:round/>
              <a:headEnd/>
              <a:tailEnd/>
            </a:ln>
          </p:spPr>
          <p:txBody>
            <a:bodyPr wrap="none" lIns="88900" tIns="88900" rIns="88900" bIns="88900" anchor="ctr"/>
            <a:lstStyle/>
            <a:p>
              <a:pPr algn="ctr">
                <a:defRPr/>
              </a:pPr>
              <a:endParaRPr lang="en-US" sz="1400" dirty="0">
                <a:solidFill>
                  <a:schemeClr val="bg1"/>
                </a:solidFill>
              </a:endParaRPr>
            </a:p>
          </p:txBody>
        </p:sp>
      </p:grpSp>
      <p:sp>
        <p:nvSpPr>
          <p:cNvPr id="25" name="TextBox 24"/>
          <p:cNvSpPr txBox="1"/>
          <p:nvPr/>
        </p:nvSpPr>
        <p:spPr>
          <a:xfrm>
            <a:off x="501650" y="6108406"/>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26" name="TextBox 25"/>
          <p:cNvSpPr txBox="1"/>
          <p:nvPr/>
        </p:nvSpPr>
        <p:spPr bwMode="gray">
          <a:xfrm>
            <a:off x="501650" y="1710506"/>
            <a:ext cx="3996613" cy="200055"/>
          </a:xfrm>
          <a:prstGeom prst="rect">
            <a:avLst/>
          </a:prstGeom>
          <a:noFill/>
        </p:spPr>
        <p:txBody>
          <a:bodyPr wrap="square" lIns="0" tIns="0" rIns="0" bIns="0" rtlCol="0">
            <a:spAutoFit/>
          </a:bodyPr>
          <a:lstStyle/>
          <a:p>
            <a:r>
              <a:rPr lang="en-US" sz="1300" dirty="0"/>
              <a:t>Chart title runs here</a:t>
            </a:r>
          </a:p>
        </p:txBody>
      </p:sp>
      <p:sp>
        <p:nvSpPr>
          <p:cNvPr id="27" name="TextBox 26"/>
          <p:cNvSpPr txBox="1"/>
          <p:nvPr/>
        </p:nvSpPr>
        <p:spPr bwMode="gray">
          <a:xfrm>
            <a:off x="6277365" y="1710506"/>
            <a:ext cx="3996613" cy="200055"/>
          </a:xfrm>
          <a:prstGeom prst="rect">
            <a:avLst/>
          </a:prstGeom>
          <a:noFill/>
        </p:spPr>
        <p:txBody>
          <a:bodyPr wrap="square" lIns="0" tIns="0" rIns="0" bIns="0" rtlCol="0">
            <a:spAutoFit/>
          </a:bodyPr>
          <a:lstStyle/>
          <a:p>
            <a:r>
              <a:rPr lang="en-US" sz="1300" dirty="0"/>
              <a:t>Chart title runs</a:t>
            </a:r>
          </a:p>
        </p:txBody>
      </p:sp>
      <p:sp>
        <p:nvSpPr>
          <p:cNvPr id="23" name="Rectangle 22">
            <a:extLst>
              <a:ext uri="{FF2B5EF4-FFF2-40B4-BE49-F238E27FC236}">
                <a16:creationId xmlns:a16="http://schemas.microsoft.com/office/drawing/2014/main" id="{8C3B98C7-24CF-4AFC-9256-7F2858C522B2}"/>
              </a:ext>
            </a:extLst>
          </p:cNvPr>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209766493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19C289-1845-4CE1-832A-0C4F2317F6B9}"/>
              </a:ext>
            </a:extLst>
          </p:cNvPr>
          <p:cNvGrpSpPr/>
          <p:nvPr/>
        </p:nvGrpSpPr>
        <p:grpSpPr>
          <a:xfrm>
            <a:off x="10695928" y="1537956"/>
            <a:ext cx="288000" cy="4435807"/>
            <a:chOff x="8823325" y="1537956"/>
            <a:chExt cx="288000" cy="4435807"/>
          </a:xfrm>
        </p:grpSpPr>
        <p:sp>
          <p:nvSpPr>
            <p:cNvPr id="265" name="Oval 19"/>
            <p:cNvSpPr>
              <a:spLocks noChangeArrowheads="1"/>
            </p:cNvSpPr>
            <p:nvPr/>
          </p:nvSpPr>
          <p:spPr bwMode="auto">
            <a:xfrm>
              <a:off x="8823325" y="5685763"/>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266" name="Oval 20"/>
            <p:cNvSpPr>
              <a:spLocks noChangeArrowheads="1"/>
            </p:cNvSpPr>
            <p:nvPr/>
          </p:nvSpPr>
          <p:spPr bwMode="auto">
            <a:xfrm>
              <a:off x="8823325" y="386807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267" name="Group 266"/>
            <p:cNvGrpSpPr/>
            <p:nvPr/>
          </p:nvGrpSpPr>
          <p:grpSpPr>
            <a:xfrm>
              <a:off x="8823325" y="4776125"/>
              <a:ext cx="288000" cy="288000"/>
              <a:chOff x="7858741" y="3820267"/>
              <a:chExt cx="288000" cy="288000"/>
            </a:xfrm>
          </p:grpSpPr>
          <p:sp>
            <p:nvSpPr>
              <p:cNvPr id="268"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69"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70" name="Group 269"/>
            <p:cNvGrpSpPr/>
            <p:nvPr/>
          </p:nvGrpSpPr>
          <p:grpSpPr>
            <a:xfrm>
              <a:off x="8823325" y="5231738"/>
              <a:ext cx="288000" cy="288000"/>
              <a:chOff x="7858741" y="3007459"/>
              <a:chExt cx="288000" cy="288000"/>
            </a:xfrm>
          </p:grpSpPr>
          <p:sp>
            <p:nvSpPr>
              <p:cNvPr id="271"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72"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73" name="Group 272"/>
            <p:cNvGrpSpPr/>
            <p:nvPr/>
          </p:nvGrpSpPr>
          <p:grpSpPr>
            <a:xfrm>
              <a:off x="8823325" y="4322100"/>
              <a:ext cx="288000" cy="288000"/>
              <a:chOff x="7858741" y="4628297"/>
              <a:chExt cx="288000" cy="288000"/>
            </a:xfrm>
          </p:grpSpPr>
          <p:sp>
            <p:nvSpPr>
              <p:cNvPr id="274"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75"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254" name="Oval 19"/>
            <p:cNvSpPr>
              <a:spLocks noChangeArrowheads="1"/>
            </p:cNvSpPr>
            <p:nvPr/>
          </p:nvSpPr>
          <p:spPr bwMode="auto">
            <a:xfrm>
              <a:off x="8823325" y="3356438"/>
              <a:ext cx="288000" cy="288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255" name="Oval 20"/>
            <p:cNvSpPr>
              <a:spLocks noChangeArrowheads="1"/>
            </p:cNvSpPr>
            <p:nvPr/>
          </p:nvSpPr>
          <p:spPr bwMode="auto">
            <a:xfrm>
              <a:off x="8823325" y="1537956"/>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256" name="Group 255"/>
            <p:cNvGrpSpPr/>
            <p:nvPr/>
          </p:nvGrpSpPr>
          <p:grpSpPr>
            <a:xfrm>
              <a:off x="8823325" y="2446800"/>
              <a:ext cx="288000" cy="288000"/>
              <a:chOff x="7858741" y="3820267"/>
              <a:chExt cx="288000" cy="288000"/>
            </a:xfrm>
          </p:grpSpPr>
          <p:sp>
            <p:nvSpPr>
              <p:cNvPr id="257"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58"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59" name="Group 258"/>
            <p:cNvGrpSpPr/>
            <p:nvPr/>
          </p:nvGrpSpPr>
          <p:grpSpPr>
            <a:xfrm>
              <a:off x="8823325" y="2901619"/>
              <a:ext cx="288000" cy="288000"/>
              <a:chOff x="7858741" y="3007459"/>
              <a:chExt cx="288000" cy="288000"/>
            </a:xfrm>
          </p:grpSpPr>
          <p:sp>
            <p:nvSpPr>
              <p:cNvPr id="260"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6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62" name="Group 261"/>
            <p:cNvGrpSpPr/>
            <p:nvPr/>
          </p:nvGrpSpPr>
          <p:grpSpPr>
            <a:xfrm>
              <a:off x="8823325" y="1992775"/>
              <a:ext cx="288000" cy="288000"/>
              <a:chOff x="7858741" y="4628297"/>
              <a:chExt cx="288000" cy="288000"/>
            </a:xfrm>
          </p:grpSpPr>
          <p:sp>
            <p:nvSpPr>
              <p:cNvPr id="263"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64"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sp>
        <p:nvSpPr>
          <p:cNvPr id="5" name="Text Placeholder 4"/>
          <p:cNvSpPr>
            <a:spLocks noGrp="1"/>
          </p:cNvSpPr>
          <p:nvPr>
            <p:ph type="body" sz="quarter" idx="13"/>
          </p:nvPr>
        </p:nvSpPr>
        <p:spPr/>
        <p:txBody>
          <a:bodyPr/>
          <a:lstStyle/>
          <a:p>
            <a:r>
              <a:rPr lang="en-US"/>
              <a:t>Subtitle runs here</a:t>
            </a:r>
            <a:endParaRPr lang="en-US" dirty="0"/>
          </a:p>
        </p:txBody>
      </p:sp>
      <p:sp>
        <p:nvSpPr>
          <p:cNvPr id="794625" name="Title 1"/>
          <p:cNvSpPr>
            <a:spLocks noGrp="1"/>
          </p:cNvSpPr>
          <p:nvPr>
            <p:ph type="title"/>
          </p:nvPr>
        </p:nvSpPr>
        <p:spPr/>
        <p:txBody>
          <a:bodyPr/>
          <a:lstStyle/>
          <a:p>
            <a:r>
              <a:rPr lang="en-US" altLang="ja-JP"/>
              <a:t>More moons (a.k.a. Harvey Balls)</a:t>
            </a:r>
            <a:endParaRPr lang="en-US" dirty="0"/>
          </a:p>
        </p:txBody>
      </p:sp>
      <p:grpSp>
        <p:nvGrpSpPr>
          <p:cNvPr id="2" name="Group 1">
            <a:extLst>
              <a:ext uri="{FF2B5EF4-FFF2-40B4-BE49-F238E27FC236}">
                <a16:creationId xmlns:a16="http://schemas.microsoft.com/office/drawing/2014/main" id="{3340655C-4EC9-4976-AB0C-A1D2A7639560}"/>
              </a:ext>
            </a:extLst>
          </p:cNvPr>
          <p:cNvGrpSpPr/>
          <p:nvPr/>
        </p:nvGrpSpPr>
        <p:grpSpPr>
          <a:xfrm>
            <a:off x="1277596" y="1537956"/>
            <a:ext cx="100990" cy="4332473"/>
            <a:chOff x="3062592" y="1574006"/>
            <a:chExt cx="100990" cy="4332473"/>
          </a:xfrm>
        </p:grpSpPr>
        <p:sp>
          <p:nvSpPr>
            <p:cNvPr id="794632" name="Text Box 30"/>
            <p:cNvSpPr txBox="1">
              <a:spLocks noChangeArrowheads="1"/>
            </p:cNvSpPr>
            <p:nvPr/>
          </p:nvSpPr>
          <p:spPr bwMode="auto">
            <a:xfrm>
              <a:off x="3062592" y="2937669"/>
              <a:ext cx="10099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¾</a:t>
              </a:r>
            </a:p>
          </p:txBody>
        </p:sp>
        <p:sp>
          <p:nvSpPr>
            <p:cNvPr id="794642" name="Text Box 64"/>
            <p:cNvSpPr txBox="1">
              <a:spLocks noChangeArrowheads="1"/>
            </p:cNvSpPr>
            <p:nvPr/>
          </p:nvSpPr>
          <p:spPr bwMode="auto">
            <a:xfrm>
              <a:off x="3062592" y="2482850"/>
              <a:ext cx="10099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½</a:t>
              </a:r>
            </a:p>
          </p:txBody>
        </p:sp>
        <p:sp>
          <p:nvSpPr>
            <p:cNvPr id="794648" name="Text Box 95"/>
            <p:cNvSpPr txBox="1">
              <a:spLocks noChangeArrowheads="1"/>
            </p:cNvSpPr>
            <p:nvPr/>
          </p:nvSpPr>
          <p:spPr bwMode="auto">
            <a:xfrm>
              <a:off x="3064997" y="2028825"/>
              <a:ext cx="9618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¼</a:t>
              </a:r>
            </a:p>
          </p:txBody>
        </p:sp>
        <p:sp>
          <p:nvSpPr>
            <p:cNvPr id="794654" name="Text Box 107"/>
            <p:cNvSpPr txBox="1">
              <a:spLocks noChangeArrowheads="1"/>
            </p:cNvSpPr>
            <p:nvPr/>
          </p:nvSpPr>
          <p:spPr bwMode="auto">
            <a:xfrm>
              <a:off x="3069051" y="1574006"/>
              <a:ext cx="7854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0</a:t>
              </a:r>
            </a:p>
          </p:txBody>
        </p:sp>
        <p:sp>
          <p:nvSpPr>
            <p:cNvPr id="794661" name="Text Box 114"/>
            <p:cNvSpPr txBox="1">
              <a:spLocks noChangeArrowheads="1"/>
            </p:cNvSpPr>
            <p:nvPr/>
          </p:nvSpPr>
          <p:spPr bwMode="auto">
            <a:xfrm>
              <a:off x="3069051" y="3392488"/>
              <a:ext cx="7854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1</a:t>
              </a:r>
            </a:p>
          </p:txBody>
        </p:sp>
        <p:sp>
          <p:nvSpPr>
            <p:cNvPr id="794668" name="Text Box 141"/>
            <p:cNvSpPr txBox="1">
              <a:spLocks noChangeArrowheads="1"/>
            </p:cNvSpPr>
            <p:nvPr/>
          </p:nvSpPr>
          <p:spPr bwMode="auto">
            <a:xfrm>
              <a:off x="3062592" y="5267788"/>
              <a:ext cx="10099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¾</a:t>
              </a:r>
            </a:p>
          </p:txBody>
        </p:sp>
        <p:sp>
          <p:nvSpPr>
            <p:cNvPr id="794673" name="Text Box 166"/>
            <p:cNvSpPr txBox="1">
              <a:spLocks noChangeArrowheads="1"/>
            </p:cNvSpPr>
            <p:nvPr/>
          </p:nvSpPr>
          <p:spPr bwMode="auto">
            <a:xfrm>
              <a:off x="3062592" y="4812175"/>
              <a:ext cx="10099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½</a:t>
              </a:r>
            </a:p>
          </p:txBody>
        </p:sp>
        <p:sp>
          <p:nvSpPr>
            <p:cNvPr id="794676" name="Text Box 179"/>
            <p:cNvSpPr txBox="1">
              <a:spLocks noChangeArrowheads="1"/>
            </p:cNvSpPr>
            <p:nvPr/>
          </p:nvSpPr>
          <p:spPr bwMode="auto">
            <a:xfrm>
              <a:off x="3064997" y="4358150"/>
              <a:ext cx="96180"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¼</a:t>
              </a:r>
            </a:p>
          </p:txBody>
        </p:sp>
        <p:sp>
          <p:nvSpPr>
            <p:cNvPr id="794683" name="Text Box 198"/>
            <p:cNvSpPr txBox="1">
              <a:spLocks noChangeArrowheads="1"/>
            </p:cNvSpPr>
            <p:nvPr/>
          </p:nvSpPr>
          <p:spPr bwMode="auto">
            <a:xfrm>
              <a:off x="3069051" y="3904125"/>
              <a:ext cx="7854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0</a:t>
              </a:r>
            </a:p>
          </p:txBody>
        </p:sp>
        <p:sp>
          <p:nvSpPr>
            <p:cNvPr id="794690" name="Text Box 205"/>
            <p:cNvSpPr txBox="1">
              <a:spLocks noChangeArrowheads="1"/>
            </p:cNvSpPr>
            <p:nvPr/>
          </p:nvSpPr>
          <p:spPr bwMode="auto">
            <a:xfrm>
              <a:off x="3069051" y="5721813"/>
              <a:ext cx="78548" cy="184666"/>
            </a:xfrm>
            <a:prstGeom prst="rect">
              <a:avLst/>
            </a:prstGeom>
            <a:noFill/>
            <a:ln w="9525">
              <a:noFill/>
              <a:miter lim="800000"/>
              <a:headEnd/>
              <a:tailEnd/>
            </a:ln>
          </p:spPr>
          <p:txBody>
            <a:bodyPr wrap="none" lIns="0" tIns="0" rIns="0" bIns="0">
              <a:spAutoFit/>
            </a:bodyPr>
            <a:lstStyle/>
            <a:p>
              <a:pPr algn="ctr"/>
              <a:r>
                <a:rPr lang="en-US" altLang="ja-JP" sz="1200" dirty="0">
                  <a:solidFill>
                    <a:srgbClr val="53565A"/>
                  </a:solidFill>
                  <a:ea typeface="ＭＳ Ｐゴシック" charset="-128"/>
                </a:rPr>
                <a:t>1</a:t>
              </a:r>
            </a:p>
          </p:txBody>
        </p:sp>
      </p:grpSp>
      <p:grpSp>
        <p:nvGrpSpPr>
          <p:cNvPr id="4" name="Group 3">
            <a:extLst>
              <a:ext uri="{FF2B5EF4-FFF2-40B4-BE49-F238E27FC236}">
                <a16:creationId xmlns:a16="http://schemas.microsoft.com/office/drawing/2014/main" id="{67729976-96C7-407E-B43D-321D35560BDE}"/>
              </a:ext>
            </a:extLst>
          </p:cNvPr>
          <p:cNvGrpSpPr/>
          <p:nvPr/>
        </p:nvGrpSpPr>
        <p:grpSpPr>
          <a:xfrm>
            <a:off x="8765122" y="1537956"/>
            <a:ext cx="252000" cy="4399807"/>
            <a:chOff x="7779541" y="1555956"/>
            <a:chExt cx="252000" cy="4399807"/>
          </a:xfrm>
        </p:grpSpPr>
        <p:sp>
          <p:nvSpPr>
            <p:cNvPr id="276" name="Oval 19"/>
            <p:cNvSpPr>
              <a:spLocks noChangeArrowheads="1"/>
            </p:cNvSpPr>
            <p:nvPr/>
          </p:nvSpPr>
          <p:spPr bwMode="auto">
            <a:xfrm>
              <a:off x="7779541" y="5703763"/>
              <a:ext cx="252000" cy="252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277" name="Oval 20"/>
            <p:cNvSpPr>
              <a:spLocks noChangeArrowheads="1"/>
            </p:cNvSpPr>
            <p:nvPr/>
          </p:nvSpPr>
          <p:spPr bwMode="auto">
            <a:xfrm>
              <a:off x="7779541" y="3886075"/>
              <a:ext cx="252000" cy="252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278" name="Group 277"/>
            <p:cNvGrpSpPr/>
            <p:nvPr/>
          </p:nvGrpSpPr>
          <p:grpSpPr>
            <a:xfrm>
              <a:off x="7779541" y="4794125"/>
              <a:ext cx="252000" cy="252000"/>
              <a:chOff x="7858741" y="3820267"/>
              <a:chExt cx="288000" cy="288000"/>
            </a:xfrm>
          </p:grpSpPr>
          <p:sp>
            <p:nvSpPr>
              <p:cNvPr id="279"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80"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81" name="Group 280"/>
            <p:cNvGrpSpPr/>
            <p:nvPr/>
          </p:nvGrpSpPr>
          <p:grpSpPr>
            <a:xfrm>
              <a:off x="7779541" y="5249738"/>
              <a:ext cx="252000" cy="252000"/>
              <a:chOff x="7858741" y="3007459"/>
              <a:chExt cx="288000" cy="288000"/>
            </a:xfrm>
          </p:grpSpPr>
          <p:sp>
            <p:nvSpPr>
              <p:cNvPr id="282"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83"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284" name="Group 283"/>
            <p:cNvGrpSpPr/>
            <p:nvPr/>
          </p:nvGrpSpPr>
          <p:grpSpPr>
            <a:xfrm>
              <a:off x="7779541" y="4340100"/>
              <a:ext cx="252000" cy="252000"/>
              <a:chOff x="7858741" y="4628297"/>
              <a:chExt cx="288000" cy="288000"/>
            </a:xfrm>
          </p:grpSpPr>
          <p:sp>
            <p:nvSpPr>
              <p:cNvPr id="285"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286"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287" name="Oval 19"/>
            <p:cNvSpPr>
              <a:spLocks noChangeArrowheads="1"/>
            </p:cNvSpPr>
            <p:nvPr/>
          </p:nvSpPr>
          <p:spPr bwMode="auto">
            <a:xfrm>
              <a:off x="7779541" y="3374438"/>
              <a:ext cx="252000" cy="252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288" name="Oval 20"/>
            <p:cNvSpPr>
              <a:spLocks noChangeArrowheads="1"/>
            </p:cNvSpPr>
            <p:nvPr/>
          </p:nvSpPr>
          <p:spPr bwMode="auto">
            <a:xfrm>
              <a:off x="7779541" y="1555956"/>
              <a:ext cx="252000" cy="252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289" name="Group 288"/>
            <p:cNvGrpSpPr/>
            <p:nvPr/>
          </p:nvGrpSpPr>
          <p:grpSpPr>
            <a:xfrm>
              <a:off x="7779541" y="2464800"/>
              <a:ext cx="252000" cy="252000"/>
              <a:chOff x="7858741" y="3820267"/>
              <a:chExt cx="288000" cy="288000"/>
            </a:xfrm>
          </p:grpSpPr>
          <p:sp>
            <p:nvSpPr>
              <p:cNvPr id="290"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91"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92" name="Group 291"/>
            <p:cNvGrpSpPr/>
            <p:nvPr/>
          </p:nvGrpSpPr>
          <p:grpSpPr>
            <a:xfrm>
              <a:off x="7779541" y="2919619"/>
              <a:ext cx="252000" cy="252000"/>
              <a:chOff x="7858741" y="3007459"/>
              <a:chExt cx="288000" cy="288000"/>
            </a:xfrm>
          </p:grpSpPr>
          <p:sp>
            <p:nvSpPr>
              <p:cNvPr id="293"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94"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295" name="Group 294"/>
            <p:cNvGrpSpPr/>
            <p:nvPr/>
          </p:nvGrpSpPr>
          <p:grpSpPr>
            <a:xfrm>
              <a:off x="7779541" y="2010775"/>
              <a:ext cx="252000" cy="252000"/>
              <a:chOff x="7858741" y="4628297"/>
              <a:chExt cx="288000" cy="288000"/>
            </a:xfrm>
          </p:grpSpPr>
          <p:sp>
            <p:nvSpPr>
              <p:cNvPr id="296"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297"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grpSp>
        <p:nvGrpSpPr>
          <p:cNvPr id="6" name="Group 5">
            <a:extLst>
              <a:ext uri="{FF2B5EF4-FFF2-40B4-BE49-F238E27FC236}">
                <a16:creationId xmlns:a16="http://schemas.microsoft.com/office/drawing/2014/main" id="{C930551D-D403-4CA0-8F4B-08212A7F87E5}"/>
              </a:ext>
            </a:extLst>
          </p:cNvPr>
          <p:cNvGrpSpPr/>
          <p:nvPr/>
        </p:nvGrpSpPr>
        <p:grpSpPr>
          <a:xfrm>
            <a:off x="6962817" y="1537956"/>
            <a:ext cx="216000" cy="4363807"/>
            <a:chOff x="6771757" y="1573956"/>
            <a:chExt cx="216000" cy="4363807"/>
          </a:xfrm>
        </p:grpSpPr>
        <p:sp>
          <p:nvSpPr>
            <p:cNvPr id="298" name="Oval 19"/>
            <p:cNvSpPr>
              <a:spLocks noChangeArrowheads="1"/>
            </p:cNvSpPr>
            <p:nvPr/>
          </p:nvSpPr>
          <p:spPr bwMode="auto">
            <a:xfrm>
              <a:off x="6771757" y="5721763"/>
              <a:ext cx="216000" cy="216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299" name="Oval 20"/>
            <p:cNvSpPr>
              <a:spLocks noChangeArrowheads="1"/>
            </p:cNvSpPr>
            <p:nvPr/>
          </p:nvSpPr>
          <p:spPr bwMode="auto">
            <a:xfrm>
              <a:off x="6771757" y="3904075"/>
              <a:ext cx="216000" cy="216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00" name="Group 299"/>
            <p:cNvGrpSpPr/>
            <p:nvPr/>
          </p:nvGrpSpPr>
          <p:grpSpPr>
            <a:xfrm>
              <a:off x="6771757" y="4812125"/>
              <a:ext cx="216000" cy="216000"/>
              <a:chOff x="7858741" y="3820267"/>
              <a:chExt cx="288000" cy="288000"/>
            </a:xfrm>
          </p:grpSpPr>
          <p:sp>
            <p:nvSpPr>
              <p:cNvPr id="301"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02"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03" name="Group 302"/>
            <p:cNvGrpSpPr/>
            <p:nvPr/>
          </p:nvGrpSpPr>
          <p:grpSpPr>
            <a:xfrm>
              <a:off x="6771757" y="5267738"/>
              <a:ext cx="216000" cy="216000"/>
              <a:chOff x="7858741" y="3007459"/>
              <a:chExt cx="288000" cy="288000"/>
            </a:xfrm>
          </p:grpSpPr>
          <p:sp>
            <p:nvSpPr>
              <p:cNvPr id="304"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05"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06" name="Group 305"/>
            <p:cNvGrpSpPr/>
            <p:nvPr/>
          </p:nvGrpSpPr>
          <p:grpSpPr>
            <a:xfrm>
              <a:off x="6771757" y="4358100"/>
              <a:ext cx="216000" cy="216000"/>
              <a:chOff x="7858741" y="4628297"/>
              <a:chExt cx="288000" cy="288000"/>
            </a:xfrm>
          </p:grpSpPr>
          <p:sp>
            <p:nvSpPr>
              <p:cNvPr id="307"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08"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09" name="Oval 19"/>
            <p:cNvSpPr>
              <a:spLocks noChangeArrowheads="1"/>
            </p:cNvSpPr>
            <p:nvPr/>
          </p:nvSpPr>
          <p:spPr bwMode="auto">
            <a:xfrm>
              <a:off x="6771757" y="3392438"/>
              <a:ext cx="216000" cy="216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10" name="Oval 20"/>
            <p:cNvSpPr>
              <a:spLocks noChangeArrowheads="1"/>
            </p:cNvSpPr>
            <p:nvPr/>
          </p:nvSpPr>
          <p:spPr bwMode="auto">
            <a:xfrm>
              <a:off x="6771757" y="1573956"/>
              <a:ext cx="216000" cy="216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11" name="Group 310"/>
            <p:cNvGrpSpPr/>
            <p:nvPr/>
          </p:nvGrpSpPr>
          <p:grpSpPr>
            <a:xfrm>
              <a:off x="6771757" y="2482800"/>
              <a:ext cx="216000" cy="216000"/>
              <a:chOff x="7858741" y="3820267"/>
              <a:chExt cx="288000" cy="288000"/>
            </a:xfrm>
          </p:grpSpPr>
          <p:sp>
            <p:nvSpPr>
              <p:cNvPr id="312"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13"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14" name="Group 313"/>
            <p:cNvGrpSpPr/>
            <p:nvPr/>
          </p:nvGrpSpPr>
          <p:grpSpPr>
            <a:xfrm>
              <a:off x="6771757" y="2937619"/>
              <a:ext cx="216000" cy="216000"/>
              <a:chOff x="7858741" y="3007459"/>
              <a:chExt cx="288000" cy="288000"/>
            </a:xfrm>
          </p:grpSpPr>
          <p:sp>
            <p:nvSpPr>
              <p:cNvPr id="315"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16"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17" name="Group 316"/>
            <p:cNvGrpSpPr/>
            <p:nvPr/>
          </p:nvGrpSpPr>
          <p:grpSpPr>
            <a:xfrm>
              <a:off x="6771757" y="2028775"/>
              <a:ext cx="216000" cy="216000"/>
              <a:chOff x="7858741" y="4628297"/>
              <a:chExt cx="288000" cy="288000"/>
            </a:xfrm>
          </p:grpSpPr>
          <p:sp>
            <p:nvSpPr>
              <p:cNvPr id="318"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19"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grpSp>
        <p:nvGrpSpPr>
          <p:cNvPr id="7" name="Group 6">
            <a:extLst>
              <a:ext uri="{FF2B5EF4-FFF2-40B4-BE49-F238E27FC236}">
                <a16:creationId xmlns:a16="http://schemas.microsoft.com/office/drawing/2014/main" id="{B09A783C-E518-40B7-9621-9DE2065143BF}"/>
              </a:ext>
            </a:extLst>
          </p:cNvPr>
          <p:cNvGrpSpPr/>
          <p:nvPr/>
        </p:nvGrpSpPr>
        <p:grpSpPr>
          <a:xfrm>
            <a:off x="5535968" y="1537956"/>
            <a:ext cx="180000" cy="4327807"/>
            <a:chOff x="5802135" y="1591956"/>
            <a:chExt cx="180000" cy="4327807"/>
          </a:xfrm>
        </p:grpSpPr>
        <p:sp>
          <p:nvSpPr>
            <p:cNvPr id="320" name="Oval 19"/>
            <p:cNvSpPr>
              <a:spLocks noChangeArrowheads="1"/>
            </p:cNvSpPr>
            <p:nvPr/>
          </p:nvSpPr>
          <p:spPr bwMode="auto">
            <a:xfrm>
              <a:off x="5802135" y="5739763"/>
              <a:ext cx="180000" cy="180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321" name="Oval 20"/>
            <p:cNvSpPr>
              <a:spLocks noChangeArrowheads="1"/>
            </p:cNvSpPr>
            <p:nvPr/>
          </p:nvSpPr>
          <p:spPr bwMode="auto">
            <a:xfrm>
              <a:off x="5802135" y="3922075"/>
              <a:ext cx="180000" cy="180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22" name="Group 321"/>
            <p:cNvGrpSpPr/>
            <p:nvPr/>
          </p:nvGrpSpPr>
          <p:grpSpPr>
            <a:xfrm>
              <a:off x="5802135" y="4830125"/>
              <a:ext cx="180000" cy="180000"/>
              <a:chOff x="7858741" y="3820267"/>
              <a:chExt cx="288000" cy="288000"/>
            </a:xfrm>
          </p:grpSpPr>
          <p:sp>
            <p:nvSpPr>
              <p:cNvPr id="323"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24"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25" name="Group 324"/>
            <p:cNvGrpSpPr/>
            <p:nvPr/>
          </p:nvGrpSpPr>
          <p:grpSpPr>
            <a:xfrm>
              <a:off x="5802135" y="5285738"/>
              <a:ext cx="180000" cy="180000"/>
              <a:chOff x="7858741" y="3007459"/>
              <a:chExt cx="288000" cy="288000"/>
            </a:xfrm>
          </p:grpSpPr>
          <p:sp>
            <p:nvSpPr>
              <p:cNvPr id="326"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27"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28" name="Group 327"/>
            <p:cNvGrpSpPr/>
            <p:nvPr/>
          </p:nvGrpSpPr>
          <p:grpSpPr>
            <a:xfrm>
              <a:off x="5802135" y="4376100"/>
              <a:ext cx="180000" cy="180000"/>
              <a:chOff x="7858741" y="4628297"/>
              <a:chExt cx="288000" cy="288000"/>
            </a:xfrm>
          </p:grpSpPr>
          <p:sp>
            <p:nvSpPr>
              <p:cNvPr id="329"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30"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31" name="Oval 19"/>
            <p:cNvSpPr>
              <a:spLocks noChangeArrowheads="1"/>
            </p:cNvSpPr>
            <p:nvPr/>
          </p:nvSpPr>
          <p:spPr bwMode="auto">
            <a:xfrm>
              <a:off x="5802135" y="3410438"/>
              <a:ext cx="180000" cy="180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32" name="Oval 20"/>
            <p:cNvSpPr>
              <a:spLocks noChangeArrowheads="1"/>
            </p:cNvSpPr>
            <p:nvPr/>
          </p:nvSpPr>
          <p:spPr bwMode="auto">
            <a:xfrm>
              <a:off x="5802135" y="1591956"/>
              <a:ext cx="180000" cy="180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33" name="Group 332"/>
            <p:cNvGrpSpPr/>
            <p:nvPr/>
          </p:nvGrpSpPr>
          <p:grpSpPr>
            <a:xfrm>
              <a:off x="5802135" y="2500800"/>
              <a:ext cx="180000" cy="180000"/>
              <a:chOff x="7858741" y="3820267"/>
              <a:chExt cx="288000" cy="288000"/>
            </a:xfrm>
          </p:grpSpPr>
          <p:sp>
            <p:nvSpPr>
              <p:cNvPr id="334"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35"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36" name="Group 335"/>
            <p:cNvGrpSpPr/>
            <p:nvPr/>
          </p:nvGrpSpPr>
          <p:grpSpPr>
            <a:xfrm>
              <a:off x="5802135" y="2955619"/>
              <a:ext cx="180000" cy="180000"/>
              <a:chOff x="7858741" y="3007459"/>
              <a:chExt cx="288000" cy="288000"/>
            </a:xfrm>
          </p:grpSpPr>
          <p:sp>
            <p:nvSpPr>
              <p:cNvPr id="337"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38"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39" name="Group 338"/>
            <p:cNvGrpSpPr/>
            <p:nvPr/>
          </p:nvGrpSpPr>
          <p:grpSpPr>
            <a:xfrm>
              <a:off x="5802135" y="2046775"/>
              <a:ext cx="180000" cy="180000"/>
              <a:chOff x="7858741" y="4628297"/>
              <a:chExt cx="288000" cy="288000"/>
            </a:xfrm>
          </p:grpSpPr>
          <p:sp>
            <p:nvSpPr>
              <p:cNvPr id="340"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41"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grpSp>
        <p:nvGrpSpPr>
          <p:cNvPr id="8" name="Group 7">
            <a:extLst>
              <a:ext uri="{FF2B5EF4-FFF2-40B4-BE49-F238E27FC236}">
                <a16:creationId xmlns:a16="http://schemas.microsoft.com/office/drawing/2014/main" id="{5DBA3BA5-3596-4475-B93E-D85B4F3ACB63}"/>
              </a:ext>
            </a:extLst>
          </p:cNvPr>
          <p:cNvGrpSpPr/>
          <p:nvPr/>
        </p:nvGrpSpPr>
        <p:grpSpPr>
          <a:xfrm>
            <a:off x="4222227" y="1537956"/>
            <a:ext cx="144000" cy="4291807"/>
            <a:chOff x="4869436" y="1609956"/>
            <a:chExt cx="144000" cy="4291807"/>
          </a:xfrm>
        </p:grpSpPr>
        <p:sp>
          <p:nvSpPr>
            <p:cNvPr id="342" name="Oval 19"/>
            <p:cNvSpPr>
              <a:spLocks noChangeArrowheads="1"/>
            </p:cNvSpPr>
            <p:nvPr/>
          </p:nvSpPr>
          <p:spPr bwMode="auto">
            <a:xfrm>
              <a:off x="4869436" y="5757763"/>
              <a:ext cx="144000" cy="144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343" name="Oval 20"/>
            <p:cNvSpPr>
              <a:spLocks noChangeArrowheads="1"/>
            </p:cNvSpPr>
            <p:nvPr/>
          </p:nvSpPr>
          <p:spPr bwMode="auto">
            <a:xfrm>
              <a:off x="4869436" y="3940075"/>
              <a:ext cx="144000" cy="144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44" name="Group 343"/>
            <p:cNvGrpSpPr/>
            <p:nvPr/>
          </p:nvGrpSpPr>
          <p:grpSpPr>
            <a:xfrm>
              <a:off x="4869436" y="4848125"/>
              <a:ext cx="144000" cy="144000"/>
              <a:chOff x="7858741" y="3820267"/>
              <a:chExt cx="288000" cy="288000"/>
            </a:xfrm>
          </p:grpSpPr>
          <p:sp>
            <p:nvSpPr>
              <p:cNvPr id="345"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46"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47" name="Group 346"/>
            <p:cNvGrpSpPr/>
            <p:nvPr/>
          </p:nvGrpSpPr>
          <p:grpSpPr>
            <a:xfrm>
              <a:off x="4869436" y="5303738"/>
              <a:ext cx="144000" cy="144000"/>
              <a:chOff x="7858741" y="3007459"/>
              <a:chExt cx="288000" cy="288000"/>
            </a:xfrm>
          </p:grpSpPr>
          <p:sp>
            <p:nvSpPr>
              <p:cNvPr id="348"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49"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50" name="Group 349"/>
            <p:cNvGrpSpPr/>
            <p:nvPr/>
          </p:nvGrpSpPr>
          <p:grpSpPr>
            <a:xfrm>
              <a:off x="4869436" y="4394100"/>
              <a:ext cx="144000" cy="144000"/>
              <a:chOff x="7858741" y="4628297"/>
              <a:chExt cx="288000" cy="288000"/>
            </a:xfrm>
          </p:grpSpPr>
          <p:sp>
            <p:nvSpPr>
              <p:cNvPr id="351"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52"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53" name="Oval 19"/>
            <p:cNvSpPr>
              <a:spLocks noChangeArrowheads="1"/>
            </p:cNvSpPr>
            <p:nvPr/>
          </p:nvSpPr>
          <p:spPr bwMode="auto">
            <a:xfrm>
              <a:off x="4869436" y="3428438"/>
              <a:ext cx="144000" cy="144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54" name="Oval 20"/>
            <p:cNvSpPr>
              <a:spLocks noChangeArrowheads="1"/>
            </p:cNvSpPr>
            <p:nvPr/>
          </p:nvSpPr>
          <p:spPr bwMode="auto">
            <a:xfrm>
              <a:off x="4869436" y="1609956"/>
              <a:ext cx="144000" cy="144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55" name="Group 354"/>
            <p:cNvGrpSpPr/>
            <p:nvPr/>
          </p:nvGrpSpPr>
          <p:grpSpPr>
            <a:xfrm>
              <a:off x="4869436" y="2518800"/>
              <a:ext cx="144000" cy="144000"/>
              <a:chOff x="7858741" y="3820267"/>
              <a:chExt cx="288000" cy="288000"/>
            </a:xfrm>
          </p:grpSpPr>
          <p:sp>
            <p:nvSpPr>
              <p:cNvPr id="356"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57"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58" name="Group 357"/>
            <p:cNvGrpSpPr/>
            <p:nvPr/>
          </p:nvGrpSpPr>
          <p:grpSpPr>
            <a:xfrm>
              <a:off x="4869436" y="2973619"/>
              <a:ext cx="144000" cy="144000"/>
              <a:chOff x="7858741" y="3007459"/>
              <a:chExt cx="288000" cy="288000"/>
            </a:xfrm>
          </p:grpSpPr>
          <p:sp>
            <p:nvSpPr>
              <p:cNvPr id="359"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60"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61" name="Group 360"/>
            <p:cNvGrpSpPr/>
            <p:nvPr/>
          </p:nvGrpSpPr>
          <p:grpSpPr>
            <a:xfrm>
              <a:off x="4869436" y="2064775"/>
              <a:ext cx="144000" cy="144000"/>
              <a:chOff x="7858741" y="4628297"/>
              <a:chExt cx="288000" cy="288000"/>
            </a:xfrm>
          </p:grpSpPr>
          <p:sp>
            <p:nvSpPr>
              <p:cNvPr id="362"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63"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grpSp>
        <p:nvGrpSpPr>
          <p:cNvPr id="9" name="Group 8">
            <a:extLst>
              <a:ext uri="{FF2B5EF4-FFF2-40B4-BE49-F238E27FC236}">
                <a16:creationId xmlns:a16="http://schemas.microsoft.com/office/drawing/2014/main" id="{CF91C5AD-7652-465C-B9B0-4A622DE8A712}"/>
              </a:ext>
            </a:extLst>
          </p:cNvPr>
          <p:cNvGrpSpPr/>
          <p:nvPr/>
        </p:nvGrpSpPr>
        <p:grpSpPr>
          <a:xfrm>
            <a:off x="2854486" y="1537956"/>
            <a:ext cx="108000" cy="4255807"/>
            <a:chOff x="3974580" y="1627956"/>
            <a:chExt cx="108000" cy="4255807"/>
          </a:xfrm>
        </p:grpSpPr>
        <p:sp>
          <p:nvSpPr>
            <p:cNvPr id="364" name="Oval 19"/>
            <p:cNvSpPr>
              <a:spLocks noChangeArrowheads="1"/>
            </p:cNvSpPr>
            <p:nvPr/>
          </p:nvSpPr>
          <p:spPr bwMode="auto">
            <a:xfrm>
              <a:off x="3974580" y="5775763"/>
              <a:ext cx="108000" cy="108000"/>
            </a:xfrm>
            <a:prstGeom prst="ellipse">
              <a:avLst/>
            </a:prstGeom>
            <a:solidFill>
              <a:schemeClr val="tx2"/>
            </a:solidFill>
            <a:ln w="9525">
              <a:solidFill>
                <a:schemeClr val="tx2"/>
              </a:solidFill>
              <a:round/>
              <a:headEnd/>
              <a:tailEnd/>
            </a:ln>
          </p:spPr>
          <p:txBody>
            <a:bodyPr wrap="none" anchor="ctr"/>
            <a:lstStyle/>
            <a:p>
              <a:pPr algn="ctr">
                <a:defRPr/>
              </a:pPr>
              <a:endParaRPr lang="en-US" dirty="0"/>
            </a:p>
          </p:txBody>
        </p:sp>
        <p:sp>
          <p:nvSpPr>
            <p:cNvPr id="365" name="Oval 20"/>
            <p:cNvSpPr>
              <a:spLocks noChangeArrowheads="1"/>
            </p:cNvSpPr>
            <p:nvPr/>
          </p:nvSpPr>
          <p:spPr bwMode="auto">
            <a:xfrm>
              <a:off x="3974580" y="3958075"/>
              <a:ext cx="108000" cy="10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grpSp>
          <p:nvGrpSpPr>
            <p:cNvPr id="366" name="Group 365"/>
            <p:cNvGrpSpPr/>
            <p:nvPr/>
          </p:nvGrpSpPr>
          <p:grpSpPr>
            <a:xfrm>
              <a:off x="3974580" y="4866125"/>
              <a:ext cx="108000" cy="108000"/>
              <a:chOff x="7858741" y="3820267"/>
              <a:chExt cx="288000" cy="288000"/>
            </a:xfrm>
          </p:grpSpPr>
          <p:sp>
            <p:nvSpPr>
              <p:cNvPr id="367" name="Oval 22"/>
              <p:cNvSpPr>
                <a:spLocks noChangeArrowheads="1"/>
              </p:cNvSpPr>
              <p:nvPr/>
            </p:nvSpPr>
            <p:spPr bwMode="auto">
              <a:xfrm flipH="1">
                <a:off x="7858741" y="382026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68"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69" name="Group 368"/>
            <p:cNvGrpSpPr/>
            <p:nvPr/>
          </p:nvGrpSpPr>
          <p:grpSpPr>
            <a:xfrm>
              <a:off x="3974580" y="5321738"/>
              <a:ext cx="108000" cy="108000"/>
              <a:chOff x="7858741" y="3007459"/>
              <a:chExt cx="288000" cy="288000"/>
            </a:xfrm>
          </p:grpSpPr>
          <p:sp>
            <p:nvSpPr>
              <p:cNvPr id="370" name="Oval 25"/>
              <p:cNvSpPr>
                <a:spLocks noChangeArrowheads="1"/>
              </p:cNvSpPr>
              <p:nvPr/>
            </p:nvSpPr>
            <p:spPr bwMode="auto">
              <a:xfrm flipH="1">
                <a:off x="7858741" y="3007459"/>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7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grpSp>
          <p:nvGrpSpPr>
            <p:cNvPr id="372" name="Group 371"/>
            <p:cNvGrpSpPr/>
            <p:nvPr/>
          </p:nvGrpSpPr>
          <p:grpSpPr>
            <a:xfrm>
              <a:off x="3974580" y="4412100"/>
              <a:ext cx="108000" cy="108000"/>
              <a:chOff x="7858741" y="4628297"/>
              <a:chExt cx="288000" cy="288000"/>
            </a:xfrm>
          </p:grpSpPr>
          <p:sp>
            <p:nvSpPr>
              <p:cNvPr id="373" name="Oval 28"/>
              <p:cNvSpPr>
                <a:spLocks noChangeArrowheads="1"/>
              </p:cNvSpPr>
              <p:nvPr/>
            </p:nvSpPr>
            <p:spPr bwMode="auto">
              <a:xfrm flipH="1">
                <a:off x="7858741" y="4628297"/>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dirty="0"/>
              </a:p>
            </p:txBody>
          </p:sp>
          <p:sp>
            <p:nvSpPr>
              <p:cNvPr id="374"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dirty="0"/>
              </a:p>
            </p:txBody>
          </p:sp>
        </p:grpSp>
        <p:sp>
          <p:nvSpPr>
            <p:cNvPr id="375" name="Oval 19"/>
            <p:cNvSpPr>
              <a:spLocks noChangeArrowheads="1"/>
            </p:cNvSpPr>
            <p:nvPr/>
          </p:nvSpPr>
          <p:spPr bwMode="auto">
            <a:xfrm>
              <a:off x="3974580" y="3446438"/>
              <a:ext cx="108000" cy="108000"/>
            </a:xfrm>
            <a:prstGeom prst="ellipse">
              <a:avLst/>
            </a:prstGeom>
            <a:solidFill>
              <a:schemeClr val="accent3"/>
            </a:solidFill>
            <a:ln w="9525">
              <a:solidFill>
                <a:schemeClr val="accent3"/>
              </a:solidFill>
              <a:round/>
              <a:headEnd/>
              <a:tailEnd/>
            </a:ln>
          </p:spPr>
          <p:txBody>
            <a:bodyPr wrap="none" anchor="ctr"/>
            <a:lstStyle/>
            <a:p>
              <a:pPr algn="ctr">
                <a:defRPr/>
              </a:pPr>
              <a:endParaRPr lang="en-US" dirty="0"/>
            </a:p>
          </p:txBody>
        </p:sp>
        <p:sp>
          <p:nvSpPr>
            <p:cNvPr id="376" name="Oval 20"/>
            <p:cNvSpPr>
              <a:spLocks noChangeArrowheads="1"/>
            </p:cNvSpPr>
            <p:nvPr/>
          </p:nvSpPr>
          <p:spPr bwMode="auto">
            <a:xfrm>
              <a:off x="3974580" y="1627956"/>
              <a:ext cx="108000" cy="10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grpSp>
          <p:nvGrpSpPr>
            <p:cNvPr id="377" name="Group 376"/>
            <p:cNvGrpSpPr/>
            <p:nvPr/>
          </p:nvGrpSpPr>
          <p:grpSpPr>
            <a:xfrm>
              <a:off x="3974580" y="2536800"/>
              <a:ext cx="108000" cy="108000"/>
              <a:chOff x="7858741" y="3820267"/>
              <a:chExt cx="288000" cy="288000"/>
            </a:xfrm>
          </p:grpSpPr>
          <p:sp>
            <p:nvSpPr>
              <p:cNvPr id="378" name="Oval 22"/>
              <p:cNvSpPr>
                <a:spLocks noChangeArrowheads="1"/>
              </p:cNvSpPr>
              <p:nvPr/>
            </p:nvSpPr>
            <p:spPr bwMode="auto">
              <a:xfrm flipH="1">
                <a:off x="7858741" y="382026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79"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80" name="Group 379"/>
            <p:cNvGrpSpPr/>
            <p:nvPr/>
          </p:nvGrpSpPr>
          <p:grpSpPr>
            <a:xfrm>
              <a:off x="3974580" y="2991619"/>
              <a:ext cx="108000" cy="108000"/>
              <a:chOff x="7858741" y="3007459"/>
              <a:chExt cx="288000" cy="288000"/>
            </a:xfrm>
          </p:grpSpPr>
          <p:sp>
            <p:nvSpPr>
              <p:cNvPr id="381" name="Oval 25"/>
              <p:cNvSpPr>
                <a:spLocks noChangeArrowheads="1"/>
              </p:cNvSpPr>
              <p:nvPr/>
            </p:nvSpPr>
            <p:spPr bwMode="auto">
              <a:xfrm flipH="1">
                <a:off x="7858741" y="3007459"/>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82"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nvGrpSpPr>
            <p:cNvPr id="383" name="Group 382"/>
            <p:cNvGrpSpPr/>
            <p:nvPr/>
          </p:nvGrpSpPr>
          <p:grpSpPr>
            <a:xfrm>
              <a:off x="3974580" y="2082775"/>
              <a:ext cx="108000" cy="108000"/>
              <a:chOff x="7858741" y="4628297"/>
              <a:chExt cx="288000" cy="288000"/>
            </a:xfrm>
          </p:grpSpPr>
          <p:sp>
            <p:nvSpPr>
              <p:cNvPr id="384" name="Oval 28"/>
              <p:cNvSpPr>
                <a:spLocks noChangeArrowheads="1"/>
              </p:cNvSpPr>
              <p:nvPr/>
            </p:nvSpPr>
            <p:spPr bwMode="auto">
              <a:xfrm flipH="1">
                <a:off x="7858741" y="4628297"/>
                <a:ext cx="288000" cy="288000"/>
              </a:xfrm>
              <a:prstGeom prst="ellipse">
                <a:avLst/>
              </a:prstGeom>
              <a:solidFill>
                <a:schemeClr val="bg1"/>
              </a:solidFill>
              <a:ln w="9525">
                <a:solidFill>
                  <a:schemeClr val="accent3"/>
                </a:solidFill>
                <a:round/>
                <a:headEnd/>
                <a:tailEnd/>
              </a:ln>
            </p:spPr>
            <p:txBody>
              <a:bodyPr wrap="none" anchor="ctr"/>
              <a:lstStyle/>
              <a:p>
                <a:pPr algn="ctr">
                  <a:defRPr/>
                </a:pPr>
                <a:endParaRPr lang="en-US" dirty="0"/>
              </a:p>
            </p:txBody>
          </p:sp>
          <p:sp>
            <p:nvSpPr>
              <p:cNvPr id="385"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9525" cap="rnd">
                <a:solidFill>
                  <a:schemeClr val="accent3"/>
                </a:solidFill>
                <a:round/>
                <a:headEnd/>
                <a:tailEnd/>
              </a:ln>
            </p:spPr>
            <p:txBody>
              <a:bodyPr wrap="none" anchor="ctr"/>
              <a:lstStyle/>
              <a:p>
                <a:pPr algn="ctr">
                  <a:defRPr/>
                </a:pPr>
                <a:endParaRPr lang="en-US" dirty="0"/>
              </a:p>
            </p:txBody>
          </p:sp>
        </p:grpSp>
      </p:grpSp>
    </p:spTree>
    <p:extLst>
      <p:ext uri="{BB962C8B-B14F-4D97-AF65-F5344CB8AC3E}">
        <p14:creationId xmlns:p14="http://schemas.microsoft.com/office/powerpoint/2010/main" val="3014620660"/>
      </p:ext>
    </p:extLst>
  </p:cSld>
  <p:clrMapOvr>
    <a:masterClrMapping/>
  </p:clrMapOvr>
  <p:transition>
    <p:fade/>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Rectangular</a:t>
            </a:r>
            <a:endParaRPr lang="en-US" dirty="0"/>
          </a:p>
        </p:txBody>
      </p:sp>
      <p:sp>
        <p:nvSpPr>
          <p:cNvPr id="697345" name="Title 1"/>
          <p:cNvSpPr>
            <a:spLocks noGrp="1"/>
          </p:cNvSpPr>
          <p:nvPr>
            <p:ph type="title"/>
          </p:nvPr>
        </p:nvSpPr>
        <p:spPr/>
        <p:txBody>
          <a:bodyPr/>
          <a:lstStyle/>
          <a:p>
            <a:r>
              <a:rPr lang="en-US"/>
              <a:t>Puzzles</a:t>
            </a:r>
            <a:endParaRPr lang="en-US" dirty="0"/>
          </a:p>
        </p:txBody>
      </p:sp>
      <p:grpSp>
        <p:nvGrpSpPr>
          <p:cNvPr id="4" name="Group 3">
            <a:extLst>
              <a:ext uri="{FF2B5EF4-FFF2-40B4-BE49-F238E27FC236}">
                <a16:creationId xmlns:a16="http://schemas.microsoft.com/office/drawing/2014/main" id="{FBC26521-51DD-4166-AEB3-76D4E56CCF39}"/>
              </a:ext>
            </a:extLst>
          </p:cNvPr>
          <p:cNvGrpSpPr/>
          <p:nvPr/>
        </p:nvGrpSpPr>
        <p:grpSpPr>
          <a:xfrm>
            <a:off x="2508021" y="2091782"/>
            <a:ext cx="7175957" cy="2861219"/>
            <a:chOff x="2508021" y="1583782"/>
            <a:chExt cx="7175957" cy="2861219"/>
          </a:xfrm>
        </p:grpSpPr>
        <p:sp>
          <p:nvSpPr>
            <p:cNvPr id="25" name="Freeform 9"/>
            <p:cNvSpPr>
              <a:spLocks/>
            </p:cNvSpPr>
            <p:nvPr/>
          </p:nvSpPr>
          <p:spPr bwMode="auto">
            <a:xfrm>
              <a:off x="8245741" y="1583782"/>
              <a:ext cx="1438237" cy="1810944"/>
            </a:xfrm>
            <a:custGeom>
              <a:avLst/>
              <a:gdLst>
                <a:gd name="T0" fmla="*/ 0 w 769"/>
                <a:gd name="T1" fmla="*/ 0 h 968"/>
                <a:gd name="T2" fmla="*/ 940 w 769"/>
                <a:gd name="T3" fmla="*/ 0 h 968"/>
                <a:gd name="T4" fmla="*/ 940 w 769"/>
                <a:gd name="T5" fmla="*/ 798 h 968"/>
                <a:gd name="T6" fmla="*/ 589 w 769"/>
                <a:gd name="T7" fmla="*/ 796 h 968"/>
                <a:gd name="T8" fmla="*/ 622 w 769"/>
                <a:gd name="T9" fmla="*/ 896 h 968"/>
                <a:gd name="T10" fmla="*/ 480 w 769"/>
                <a:gd name="T11" fmla="*/ 1008 h 968"/>
                <a:gd name="T12" fmla="*/ 306 w 769"/>
                <a:gd name="T13" fmla="*/ 902 h 968"/>
                <a:gd name="T14" fmla="*/ 339 w 769"/>
                <a:gd name="T15" fmla="*/ 794 h 968"/>
                <a:gd name="T16" fmla="*/ 0 w 769"/>
                <a:gd name="T17" fmla="*/ 798 h 968"/>
                <a:gd name="T18" fmla="*/ 0 w 769"/>
                <a:gd name="T19" fmla="*/ 0 h 9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968"/>
                <a:gd name="T32" fmla="*/ 769 w 769"/>
                <a:gd name="T33" fmla="*/ 968 h 9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968">
                  <a:moveTo>
                    <a:pt x="0" y="0"/>
                  </a:moveTo>
                  <a:lnTo>
                    <a:pt x="769" y="0"/>
                  </a:ln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62B5E5"/>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26" name="Freeform 25"/>
            <p:cNvSpPr>
              <a:spLocks/>
            </p:cNvSpPr>
            <p:nvPr/>
          </p:nvSpPr>
          <p:spPr bwMode="auto">
            <a:xfrm>
              <a:off x="8245741" y="3011642"/>
              <a:ext cx="1438237" cy="1433359"/>
            </a:xfrm>
            <a:custGeom>
              <a:avLst/>
              <a:gdLst>
                <a:gd name="T0" fmla="*/ 0 w 769"/>
                <a:gd name="T1" fmla="*/ 832 h 766"/>
                <a:gd name="T2" fmla="*/ 1148 w 769"/>
                <a:gd name="T3" fmla="*/ 832 h 766"/>
                <a:gd name="T4" fmla="*/ 1148 w 769"/>
                <a:gd name="T5" fmla="*/ 0 h 766"/>
                <a:gd name="T6" fmla="*/ 726 w 769"/>
                <a:gd name="T7" fmla="*/ 0 h 766"/>
                <a:gd name="T8" fmla="*/ 756 w 769"/>
                <a:gd name="T9" fmla="*/ 108 h 766"/>
                <a:gd name="T10" fmla="*/ 578 w 769"/>
                <a:gd name="T11" fmla="*/ 217 h 766"/>
                <a:gd name="T12" fmla="*/ 384 w 769"/>
                <a:gd name="T13" fmla="*/ 93 h 766"/>
                <a:gd name="T14" fmla="*/ 422 w 769"/>
                <a:gd name="T15" fmla="*/ 0 h 766"/>
                <a:gd name="T16" fmla="*/ 0 w 769"/>
                <a:gd name="T17" fmla="*/ 0 h 766"/>
                <a:gd name="T18" fmla="*/ 0 w 769"/>
                <a:gd name="T19" fmla="*/ 832 h 7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766"/>
                <a:gd name="T32" fmla="*/ 769 w 769"/>
                <a:gd name="T33" fmla="*/ 766 h 7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766">
                  <a:moveTo>
                    <a:pt x="0" y="766"/>
                  </a:moveTo>
                  <a:lnTo>
                    <a:pt x="769" y="766"/>
                  </a:lnTo>
                  <a:lnTo>
                    <a:pt x="769" y="0"/>
                  </a:lnTo>
                  <a:lnTo>
                    <a:pt x="486" y="0"/>
                  </a:lnTo>
                  <a:cubicBezTo>
                    <a:pt x="442" y="17"/>
                    <a:pt x="508" y="37"/>
                    <a:pt x="507" y="100"/>
                  </a:cubicBezTo>
                  <a:cubicBezTo>
                    <a:pt x="505" y="164"/>
                    <a:pt x="458" y="202"/>
                    <a:pt x="387" y="201"/>
                  </a:cubicBezTo>
                  <a:cubicBezTo>
                    <a:pt x="315" y="201"/>
                    <a:pt x="257" y="149"/>
                    <a:pt x="257" y="85"/>
                  </a:cubicBezTo>
                  <a:cubicBezTo>
                    <a:pt x="257" y="21"/>
                    <a:pt x="324" y="13"/>
                    <a:pt x="283" y="0"/>
                  </a:cubicBezTo>
                  <a:lnTo>
                    <a:pt x="0" y="0"/>
                  </a:lnTo>
                  <a:lnTo>
                    <a:pt x="0" y="766"/>
                  </a:lnTo>
                  <a:close/>
                </a:path>
              </a:pathLst>
            </a:custGeom>
            <a:solidFill>
              <a:schemeClr val="bg2"/>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sp>
          <p:nvSpPr>
            <p:cNvPr id="27" name="Freeform 26"/>
            <p:cNvSpPr>
              <a:spLocks/>
            </p:cNvSpPr>
            <p:nvPr/>
          </p:nvSpPr>
          <p:spPr bwMode="auto">
            <a:xfrm>
              <a:off x="6812581" y="1583782"/>
              <a:ext cx="1825715" cy="1810944"/>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3"/>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sp>
          <p:nvSpPr>
            <p:cNvPr id="28" name="Freeform 12"/>
            <p:cNvSpPr>
              <a:spLocks/>
            </p:cNvSpPr>
            <p:nvPr/>
          </p:nvSpPr>
          <p:spPr bwMode="auto">
            <a:xfrm flipV="1">
              <a:off x="6810889" y="3011642"/>
              <a:ext cx="1825715" cy="1433359"/>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5"/>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29" name="Freeform 13"/>
            <p:cNvSpPr>
              <a:spLocks/>
            </p:cNvSpPr>
            <p:nvPr/>
          </p:nvSpPr>
          <p:spPr bwMode="auto">
            <a:xfrm>
              <a:off x="5377726" y="1583782"/>
              <a:ext cx="1824023" cy="1810944"/>
            </a:xfrm>
            <a:custGeom>
              <a:avLst/>
              <a:gdLst>
                <a:gd name="T0" fmla="*/ 0 w 976"/>
                <a:gd name="T1" fmla="*/ 0 h 968"/>
                <a:gd name="T2" fmla="*/ 938 w 976"/>
                <a:gd name="T3" fmla="*/ 0 h 968"/>
                <a:gd name="T4" fmla="*/ 938 w 976"/>
                <a:gd name="T5" fmla="*/ 294 h 968"/>
                <a:gd name="T6" fmla="*/ 1040 w 976"/>
                <a:gd name="T7" fmla="*/ 265 h 968"/>
                <a:gd name="T8" fmla="*/ 1188 w 976"/>
                <a:gd name="T9" fmla="*/ 403 h 968"/>
                <a:gd name="T10" fmla="*/ 1060 w 976"/>
                <a:gd name="T11" fmla="*/ 526 h 968"/>
                <a:gd name="T12" fmla="*/ 938 w 976"/>
                <a:gd name="T13" fmla="*/ 507 h 968"/>
                <a:gd name="T14" fmla="*/ 938 w 976"/>
                <a:gd name="T15" fmla="*/ 798 h 968"/>
                <a:gd name="T16" fmla="*/ 588 w 976"/>
                <a:gd name="T17" fmla="*/ 796 h 968"/>
                <a:gd name="T18" fmla="*/ 621 w 976"/>
                <a:gd name="T19" fmla="*/ 896 h 968"/>
                <a:gd name="T20" fmla="*/ 479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2"/>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30" name="Freeform 29"/>
            <p:cNvSpPr>
              <a:spLocks/>
            </p:cNvSpPr>
            <p:nvPr/>
          </p:nvSpPr>
          <p:spPr bwMode="auto">
            <a:xfrm flipV="1">
              <a:off x="5377726" y="3011642"/>
              <a:ext cx="1824023" cy="1433359"/>
            </a:xfrm>
            <a:custGeom>
              <a:avLst/>
              <a:gdLst>
                <a:gd name="T0" fmla="*/ 0 w 2312"/>
                <a:gd name="T1" fmla="*/ 0 h 1823"/>
                <a:gd name="T2" fmla="*/ 86 w 2312"/>
                <a:gd name="T3" fmla="*/ 0 h 1823"/>
                <a:gd name="T4" fmla="*/ 86 w 2312"/>
                <a:gd name="T5" fmla="*/ 23 h 1823"/>
                <a:gd name="T6" fmla="*/ 96 w 2312"/>
                <a:gd name="T7" fmla="*/ 21 h 1823"/>
                <a:gd name="T8" fmla="*/ 109 w 2312"/>
                <a:gd name="T9" fmla="*/ 31 h 1823"/>
                <a:gd name="T10" fmla="*/ 97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6FC2B4"/>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sp>
          <p:nvSpPr>
            <p:cNvPr id="31" name="Freeform 30"/>
            <p:cNvSpPr>
              <a:spLocks/>
            </p:cNvSpPr>
            <p:nvPr/>
          </p:nvSpPr>
          <p:spPr bwMode="auto">
            <a:xfrm>
              <a:off x="3942875" y="1583782"/>
              <a:ext cx="1825715" cy="1810944"/>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00ABAB"/>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sp>
          <p:nvSpPr>
            <p:cNvPr id="32" name="Freeform 16"/>
            <p:cNvSpPr>
              <a:spLocks/>
            </p:cNvSpPr>
            <p:nvPr/>
          </p:nvSpPr>
          <p:spPr bwMode="auto">
            <a:xfrm flipV="1">
              <a:off x="3942875" y="3011642"/>
              <a:ext cx="1825715" cy="1433359"/>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tx2"/>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33" name="Freeform 17"/>
            <p:cNvSpPr>
              <a:spLocks/>
            </p:cNvSpPr>
            <p:nvPr/>
          </p:nvSpPr>
          <p:spPr bwMode="auto">
            <a:xfrm>
              <a:off x="2508021" y="1583782"/>
              <a:ext cx="1825715" cy="1810944"/>
            </a:xfrm>
            <a:custGeom>
              <a:avLst/>
              <a:gdLst>
                <a:gd name="T0" fmla="*/ 0 w 976"/>
                <a:gd name="T1" fmla="*/ 0 h 968"/>
                <a:gd name="T2" fmla="*/ 940 w 976"/>
                <a:gd name="T3" fmla="*/ 0 h 968"/>
                <a:gd name="T4" fmla="*/ 940 w 976"/>
                <a:gd name="T5" fmla="*/ 294 h 968"/>
                <a:gd name="T6" fmla="*/ 1043 w 976"/>
                <a:gd name="T7" fmla="*/ 265 h 968"/>
                <a:gd name="T8" fmla="*/ 1191 w 976"/>
                <a:gd name="T9" fmla="*/ 403 h 968"/>
                <a:gd name="T10" fmla="*/ 1062 w 976"/>
                <a:gd name="T11" fmla="*/ 526 h 968"/>
                <a:gd name="T12" fmla="*/ 940 w 976"/>
                <a:gd name="T13" fmla="*/ 507 h 968"/>
                <a:gd name="T14" fmla="*/ 940 w 976"/>
                <a:gd name="T15" fmla="*/ 798 h 968"/>
                <a:gd name="T16" fmla="*/ 589 w 976"/>
                <a:gd name="T17" fmla="*/ 796 h 968"/>
                <a:gd name="T18" fmla="*/ 622 w 976"/>
                <a:gd name="T19" fmla="*/ 896 h 968"/>
                <a:gd name="T20" fmla="*/ 480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1"/>
            </a:solidFill>
            <a:ln w="19050">
              <a:solidFill>
                <a:schemeClr val="bg1"/>
              </a:solidFill>
              <a:round/>
              <a:headEnd/>
              <a:tailEnd/>
            </a:ln>
          </p:spPr>
          <p:txBody>
            <a:bodyPr wrap="none" lIns="0" tIns="0" rIns="0" bIns="0" anchor="ctr"/>
            <a:lstStyle/>
            <a:p>
              <a:pPr eaLnBrk="1" hangingPunct="1">
                <a:spcBef>
                  <a:spcPct val="20000"/>
                </a:spcBef>
              </a:pPr>
              <a:endParaRPr lang="en-GB" sz="1100" b="1" dirty="0">
                <a:solidFill>
                  <a:srgbClr val="002776"/>
                </a:solidFill>
                <a:cs typeface="Arial" pitchFamily="34" charset="0"/>
              </a:endParaRPr>
            </a:p>
          </p:txBody>
        </p:sp>
        <p:sp>
          <p:nvSpPr>
            <p:cNvPr id="34" name="Freeform 33"/>
            <p:cNvSpPr>
              <a:spLocks/>
            </p:cNvSpPr>
            <p:nvPr/>
          </p:nvSpPr>
          <p:spPr bwMode="auto">
            <a:xfrm flipV="1">
              <a:off x="2508021" y="3011642"/>
              <a:ext cx="1825715" cy="1433359"/>
            </a:xfrm>
            <a:custGeom>
              <a:avLst/>
              <a:gdLst>
                <a:gd name="T0" fmla="*/ 0 w 2312"/>
                <a:gd name="T1" fmla="*/ 0 h 1823"/>
                <a:gd name="T2" fmla="*/ 86 w 2312"/>
                <a:gd name="T3" fmla="*/ 0 h 1823"/>
                <a:gd name="T4" fmla="*/ 86 w 2312"/>
                <a:gd name="T5" fmla="*/ 23 h 1823"/>
                <a:gd name="T6" fmla="*/ 96 w 2312"/>
                <a:gd name="T7" fmla="*/ 21 h 1823"/>
                <a:gd name="T8" fmla="*/ 110 w 2312"/>
                <a:gd name="T9" fmla="*/ 31 h 1823"/>
                <a:gd name="T10" fmla="*/ 98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2"/>
            </a:solidFill>
            <a:ln w="19050">
              <a:solidFill>
                <a:schemeClr val="bg1"/>
              </a:solidFill>
              <a:round/>
              <a:headEnd/>
              <a:tailEnd/>
            </a:ln>
          </p:spPr>
          <p:txBody>
            <a:bodyPr wrap="none" lIns="0" tIns="0" rIns="0" bIns="0" anchor="ctr"/>
            <a:lstStyle/>
            <a:p>
              <a:pPr eaLnBrk="1" hangingPunct="1">
                <a:spcBef>
                  <a:spcPct val="20000"/>
                </a:spcBef>
                <a:defRPr/>
              </a:pPr>
              <a:endParaRPr lang="en-GB" sz="1100" b="1" dirty="0">
                <a:solidFill>
                  <a:srgbClr val="002776"/>
                </a:solidFill>
                <a:cs typeface="Arial" pitchFamily="34" charset="0"/>
              </a:endParaRPr>
            </a:p>
          </p:txBody>
        </p:sp>
      </p:grpSp>
      <p:sp>
        <p:nvSpPr>
          <p:cNvPr id="19" name="Rectangle 18">
            <a:extLst>
              <a:ext uri="{FF2B5EF4-FFF2-40B4-BE49-F238E27FC236}">
                <a16:creationId xmlns:a16="http://schemas.microsoft.com/office/drawing/2014/main" id="{7B8DD523-B749-46F2-9E78-EEE7FA23F1F1}"/>
              </a:ext>
            </a:extLst>
          </p:cNvPr>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1995794791"/>
      </p:ext>
    </p:extLst>
  </p:cSld>
  <p:clrMapOvr>
    <a:masterClrMapping/>
  </p:clrMapOvr>
  <p:transition>
    <p:fade/>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idx="1"/>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sp>
        <p:nvSpPr>
          <p:cNvPr id="698370" name="Text Placeholder 698369"/>
          <p:cNvSpPr>
            <a:spLocks noGrp="1"/>
          </p:cNvSpPr>
          <p:nvPr>
            <p:ph type="body" sz="quarter" idx="13"/>
          </p:nvPr>
        </p:nvSpPr>
        <p:spPr/>
        <p:txBody>
          <a:bodyPr/>
          <a:lstStyle/>
          <a:p>
            <a:r>
              <a:rPr lang="en-US" dirty="0"/>
              <a:t>Five pieces</a:t>
            </a:r>
          </a:p>
        </p:txBody>
      </p:sp>
      <p:sp>
        <p:nvSpPr>
          <p:cNvPr id="698369" name="Title 1"/>
          <p:cNvSpPr>
            <a:spLocks noGrp="1"/>
          </p:cNvSpPr>
          <p:nvPr>
            <p:ph type="title"/>
          </p:nvPr>
        </p:nvSpPr>
        <p:spPr/>
        <p:txBody>
          <a:bodyPr/>
          <a:lstStyle/>
          <a:p>
            <a:r>
              <a:rPr lang="en-US"/>
              <a:t>Puzzles</a:t>
            </a:r>
            <a:endParaRPr lang="en-US" dirty="0"/>
          </a:p>
        </p:txBody>
      </p:sp>
      <p:grpSp>
        <p:nvGrpSpPr>
          <p:cNvPr id="698371" name="Group 3"/>
          <p:cNvGrpSpPr>
            <a:grpSpLocks/>
          </p:cNvGrpSpPr>
          <p:nvPr/>
        </p:nvGrpSpPr>
        <p:grpSpPr bwMode="auto">
          <a:xfrm>
            <a:off x="6303742" y="2050802"/>
            <a:ext cx="3996613" cy="3410660"/>
            <a:chOff x="1489" y="1070"/>
            <a:chExt cx="3261" cy="2590"/>
          </a:xfrm>
        </p:grpSpPr>
        <p:sp>
          <p:nvSpPr>
            <p:cNvPr id="698373" name="Freeform 4"/>
            <p:cNvSpPr>
              <a:spLocks/>
            </p:cNvSpPr>
            <p:nvPr/>
          </p:nvSpPr>
          <p:spPr bwMode="auto">
            <a:xfrm>
              <a:off x="3123" y="1070"/>
              <a:ext cx="1627" cy="1584"/>
            </a:xfrm>
            <a:custGeom>
              <a:avLst/>
              <a:gdLst>
                <a:gd name="T0" fmla="*/ 0 w 1627"/>
                <a:gd name="T1" fmla="*/ 0 h 1584"/>
                <a:gd name="T2" fmla="*/ 1627 w 1627"/>
                <a:gd name="T3" fmla="*/ 1265 h 1584"/>
                <a:gd name="T4" fmla="*/ 1480 w 1627"/>
                <a:gd name="T5" fmla="*/ 1276 h 1584"/>
                <a:gd name="T6" fmla="*/ 1476 w 1627"/>
                <a:gd name="T7" fmla="*/ 1304 h 1584"/>
                <a:gd name="T8" fmla="*/ 1483 w 1627"/>
                <a:gd name="T9" fmla="*/ 1339 h 1584"/>
                <a:gd name="T10" fmla="*/ 1494 w 1627"/>
                <a:gd name="T11" fmla="*/ 1382 h 1584"/>
                <a:gd name="T12" fmla="*/ 1502 w 1627"/>
                <a:gd name="T13" fmla="*/ 1423 h 1584"/>
                <a:gd name="T14" fmla="*/ 1499 w 1627"/>
                <a:gd name="T15" fmla="*/ 1461 h 1584"/>
                <a:gd name="T16" fmla="*/ 1487 w 1627"/>
                <a:gd name="T17" fmla="*/ 1499 h 1584"/>
                <a:gd name="T18" fmla="*/ 1461 w 1627"/>
                <a:gd name="T19" fmla="*/ 1530 h 1584"/>
                <a:gd name="T20" fmla="*/ 1431 w 1627"/>
                <a:gd name="T21" fmla="*/ 1555 h 1584"/>
                <a:gd name="T22" fmla="*/ 1394 w 1627"/>
                <a:gd name="T23" fmla="*/ 1572 h 1584"/>
                <a:gd name="T24" fmla="*/ 1348 w 1627"/>
                <a:gd name="T25" fmla="*/ 1582 h 1584"/>
                <a:gd name="T26" fmla="*/ 1307 w 1627"/>
                <a:gd name="T27" fmla="*/ 1584 h 1584"/>
                <a:gd name="T28" fmla="*/ 1271 w 1627"/>
                <a:gd name="T29" fmla="*/ 1579 h 1584"/>
                <a:gd name="T30" fmla="*/ 1235 w 1627"/>
                <a:gd name="T31" fmla="*/ 1568 h 1584"/>
                <a:gd name="T32" fmla="*/ 1205 w 1627"/>
                <a:gd name="T33" fmla="*/ 1548 h 1584"/>
                <a:gd name="T34" fmla="*/ 1177 w 1627"/>
                <a:gd name="T35" fmla="*/ 1519 h 1584"/>
                <a:gd name="T36" fmla="*/ 1154 w 1627"/>
                <a:gd name="T37" fmla="*/ 1486 h 1584"/>
                <a:gd name="T38" fmla="*/ 1142 w 1627"/>
                <a:gd name="T39" fmla="*/ 1441 h 1584"/>
                <a:gd name="T40" fmla="*/ 1147 w 1627"/>
                <a:gd name="T41" fmla="*/ 1396 h 1584"/>
                <a:gd name="T42" fmla="*/ 1159 w 1627"/>
                <a:gd name="T43" fmla="*/ 1351 h 1584"/>
                <a:gd name="T44" fmla="*/ 1168 w 1627"/>
                <a:gd name="T45" fmla="*/ 1306 h 1584"/>
                <a:gd name="T46" fmla="*/ 1167 w 1627"/>
                <a:gd name="T47" fmla="*/ 1284 h 1584"/>
                <a:gd name="T48" fmla="*/ 892 w 1627"/>
                <a:gd name="T49" fmla="*/ 1273 h 1584"/>
                <a:gd name="T50" fmla="*/ 895 w 1627"/>
                <a:gd name="T51" fmla="*/ 1198 h 1584"/>
                <a:gd name="T52" fmla="*/ 889 w 1627"/>
                <a:gd name="T53" fmla="*/ 1149 h 1584"/>
                <a:gd name="T54" fmla="*/ 878 w 1627"/>
                <a:gd name="T55" fmla="*/ 1119 h 1584"/>
                <a:gd name="T56" fmla="*/ 855 w 1627"/>
                <a:gd name="T57" fmla="*/ 1095 h 1584"/>
                <a:gd name="T58" fmla="*/ 824 w 1627"/>
                <a:gd name="T59" fmla="*/ 1080 h 1584"/>
                <a:gd name="T60" fmla="*/ 786 w 1627"/>
                <a:gd name="T61" fmla="*/ 1075 h 1584"/>
                <a:gd name="T62" fmla="*/ 731 w 1627"/>
                <a:gd name="T63" fmla="*/ 1078 h 1584"/>
                <a:gd name="T64" fmla="*/ 679 w 1627"/>
                <a:gd name="T65" fmla="*/ 1082 h 1584"/>
                <a:gd name="T66" fmla="*/ 625 w 1627"/>
                <a:gd name="T67" fmla="*/ 1082 h 1584"/>
                <a:gd name="T68" fmla="*/ 571 w 1627"/>
                <a:gd name="T69" fmla="*/ 1073 h 1584"/>
                <a:gd name="T70" fmla="*/ 530 w 1627"/>
                <a:gd name="T71" fmla="*/ 1049 h 1584"/>
                <a:gd name="T72" fmla="*/ 506 w 1627"/>
                <a:gd name="T73" fmla="*/ 1016 h 1584"/>
                <a:gd name="T74" fmla="*/ 496 w 1627"/>
                <a:gd name="T75" fmla="*/ 972 h 1584"/>
                <a:gd name="T76" fmla="*/ 498 w 1627"/>
                <a:gd name="T77" fmla="*/ 923 h 1584"/>
                <a:gd name="T78" fmla="*/ 491 w 1627"/>
                <a:gd name="T79" fmla="*/ 878 h 1584"/>
                <a:gd name="T80" fmla="*/ 480 w 1627"/>
                <a:gd name="T81" fmla="*/ 849 h 1584"/>
                <a:gd name="T82" fmla="*/ 463 w 1627"/>
                <a:gd name="T83" fmla="*/ 831 h 1584"/>
                <a:gd name="T84" fmla="*/ 423 w 1627"/>
                <a:gd name="T85" fmla="*/ 813 h 1584"/>
                <a:gd name="T86" fmla="*/ 371 w 1627"/>
                <a:gd name="T87" fmla="*/ 799 h 1584"/>
                <a:gd name="T88" fmla="*/ 313 w 1627"/>
                <a:gd name="T89" fmla="*/ 789 h 1584"/>
                <a:gd name="T90" fmla="*/ 269 w 1627"/>
                <a:gd name="T91" fmla="*/ 775 h 1584"/>
                <a:gd name="T92" fmla="*/ 231 w 1627"/>
                <a:gd name="T93" fmla="*/ 753 h 1584"/>
                <a:gd name="T94" fmla="*/ 200 w 1627"/>
                <a:gd name="T95" fmla="*/ 724 h 1584"/>
                <a:gd name="T96" fmla="*/ 180 w 1627"/>
                <a:gd name="T97" fmla="*/ 687 h 1584"/>
                <a:gd name="T98" fmla="*/ 177 w 1627"/>
                <a:gd name="T99" fmla="*/ 646 h 1584"/>
                <a:gd name="T100" fmla="*/ 189 w 1627"/>
                <a:gd name="T101" fmla="*/ 601 h 1584"/>
                <a:gd name="T102" fmla="*/ 199 w 1627"/>
                <a:gd name="T103" fmla="*/ 550 h 1584"/>
                <a:gd name="T104" fmla="*/ 207 w 1627"/>
                <a:gd name="T105" fmla="*/ 502 h 1584"/>
                <a:gd name="T106" fmla="*/ 199 w 1627"/>
                <a:gd name="T107" fmla="*/ 454 h 1584"/>
                <a:gd name="T108" fmla="*/ 179 w 1627"/>
                <a:gd name="T109" fmla="*/ 410 h 1584"/>
                <a:gd name="T110" fmla="*/ 159 w 1627"/>
                <a:gd name="T111" fmla="*/ 384 h 1584"/>
                <a:gd name="T112" fmla="*/ 134 w 1627"/>
                <a:gd name="T113" fmla="*/ 360 h 1584"/>
                <a:gd name="T114" fmla="*/ 104 w 1627"/>
                <a:gd name="T115" fmla="*/ 343 h 1584"/>
                <a:gd name="T116" fmla="*/ 66 w 1627"/>
                <a:gd name="T117" fmla="*/ 331 h 1584"/>
                <a:gd name="T118" fmla="*/ 21 w 1627"/>
                <a:gd name="T119" fmla="*/ 330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solidFill>
              <a:schemeClr val="accent2"/>
            </a:solidFill>
            <a:ln w="19050">
              <a:solidFill>
                <a:schemeClr val="tx1"/>
              </a:solidFill>
              <a:round/>
              <a:headEnd/>
              <a:tailEnd/>
            </a:ln>
          </p:spPr>
          <p:txBody>
            <a:bodyPr/>
            <a:lstStyle/>
            <a:p>
              <a:endParaRPr lang="en-US" dirty="0"/>
            </a:p>
          </p:txBody>
        </p:sp>
        <p:sp>
          <p:nvSpPr>
            <p:cNvPr id="6" name="Freeform 5"/>
            <p:cNvSpPr>
              <a:spLocks/>
            </p:cNvSpPr>
            <p:nvPr/>
          </p:nvSpPr>
          <p:spPr bwMode="auto">
            <a:xfrm>
              <a:off x="3116" y="2333"/>
              <a:ext cx="1634" cy="1327"/>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solidFill>
              <a:schemeClr val="accent5"/>
            </a:solidFill>
            <a:ln w="19050">
              <a:solidFill>
                <a:schemeClr val="tx1"/>
              </a:solidFill>
              <a:round/>
              <a:headEnd/>
              <a:tailEnd/>
            </a:ln>
          </p:spPr>
          <p:txBody>
            <a:bodyPr/>
            <a:lstStyle/>
            <a:p>
              <a:pPr>
                <a:defRPr/>
              </a:pPr>
              <a:endParaRPr lang="en-US" dirty="0"/>
            </a:p>
          </p:txBody>
        </p:sp>
        <p:sp>
          <p:nvSpPr>
            <p:cNvPr id="7" name="Freeform 6"/>
            <p:cNvSpPr>
              <a:spLocks/>
            </p:cNvSpPr>
            <p:nvPr/>
          </p:nvSpPr>
          <p:spPr bwMode="auto">
            <a:xfrm>
              <a:off x="1489" y="2076"/>
              <a:ext cx="1627" cy="1584"/>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chemeClr val="accent4"/>
            </a:solidFill>
            <a:ln w="19050">
              <a:solidFill>
                <a:schemeClr val="tx1"/>
              </a:solidFill>
              <a:round/>
              <a:headEnd/>
              <a:tailEnd/>
            </a:ln>
          </p:spPr>
          <p:txBody>
            <a:bodyPr/>
            <a:lstStyle/>
            <a:p>
              <a:pPr>
                <a:defRPr/>
              </a:pPr>
              <a:endParaRPr lang="en-US" dirty="0"/>
            </a:p>
          </p:txBody>
        </p:sp>
        <p:sp>
          <p:nvSpPr>
            <p:cNvPr id="698376" name="Freeform 7"/>
            <p:cNvSpPr>
              <a:spLocks/>
            </p:cNvSpPr>
            <p:nvPr/>
          </p:nvSpPr>
          <p:spPr bwMode="auto">
            <a:xfrm>
              <a:off x="1489" y="1070"/>
              <a:ext cx="1634" cy="1327"/>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solidFill>
              <a:schemeClr val="accent1"/>
            </a:solidFill>
            <a:ln w="19050">
              <a:solidFill>
                <a:schemeClr val="tx1"/>
              </a:solidFill>
              <a:round/>
              <a:headEnd/>
              <a:tailEnd/>
            </a:ln>
          </p:spPr>
          <p:txBody>
            <a:bodyPr/>
            <a:lstStyle/>
            <a:p>
              <a:endParaRPr lang="en-US" dirty="0"/>
            </a:p>
          </p:txBody>
        </p:sp>
      </p:grpSp>
      <p:sp>
        <p:nvSpPr>
          <p:cNvPr id="17" name="TextBox 16"/>
          <p:cNvSpPr txBox="1"/>
          <p:nvPr/>
        </p:nvSpPr>
        <p:spPr bwMode="gray">
          <a:xfrm>
            <a:off x="6303742" y="1665288"/>
            <a:ext cx="3996613" cy="200055"/>
          </a:xfrm>
          <a:prstGeom prst="rect">
            <a:avLst/>
          </a:prstGeom>
          <a:noFill/>
        </p:spPr>
        <p:txBody>
          <a:bodyPr wrap="square" lIns="0" tIns="0" rIns="0" bIns="0" rtlCol="0">
            <a:spAutoFit/>
          </a:bodyPr>
          <a:lstStyle/>
          <a:p>
            <a:r>
              <a:rPr lang="en-US" sz="1300" dirty="0"/>
              <a:t>Chart title runs here</a:t>
            </a:r>
          </a:p>
        </p:txBody>
      </p:sp>
      <p:sp>
        <p:nvSpPr>
          <p:cNvPr id="18" name="TextBox 17"/>
          <p:cNvSpPr txBox="1"/>
          <p:nvPr/>
        </p:nvSpPr>
        <p:spPr>
          <a:xfrm>
            <a:off x="501650" y="6108407"/>
            <a:ext cx="9772650" cy="273346"/>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25000"/>
            </a:pPr>
            <a:r>
              <a:rPr lang="en-US" sz="900" dirty="0"/>
              <a:t>Source: </a:t>
            </a:r>
          </a:p>
          <a:p>
            <a:pPr>
              <a:buSzPct val="25000"/>
            </a:pPr>
            <a:r>
              <a:rPr lang="en-US" sz="900" dirty="0"/>
              <a:t>Note: </a:t>
            </a:r>
          </a:p>
        </p:txBody>
      </p:sp>
      <p:sp>
        <p:nvSpPr>
          <p:cNvPr id="13" name="Rectangle 12">
            <a:extLst>
              <a:ext uri="{FF2B5EF4-FFF2-40B4-BE49-F238E27FC236}">
                <a16:creationId xmlns:a16="http://schemas.microsoft.com/office/drawing/2014/main" id="{4E884A17-B658-4847-B239-B379680409E5}"/>
              </a:ext>
            </a:extLst>
          </p:cNvPr>
          <p:cNvSpPr>
            <a:spLocks noChangeArrowheads="1"/>
          </p:cNvSpPr>
          <p:nvPr/>
        </p:nvSpPr>
        <p:spPr bwMode="auto">
          <a:xfrm>
            <a:off x="8935616" y="0"/>
            <a:ext cx="3256384" cy="698501"/>
          </a:xfrm>
          <a:prstGeom prst="rect">
            <a:avLst/>
          </a:prstGeom>
          <a:solidFill>
            <a:srgbClr val="FFCD00"/>
          </a:solidFill>
          <a:ln w="6350" algn="ctr">
            <a:noFill/>
            <a:miter lim="800000"/>
            <a:headEnd/>
            <a:tailEnd/>
          </a:ln>
        </p:spPr>
        <p:txBody>
          <a:bodyPr tIns="91440" bIns="91440">
            <a:noAutofit/>
          </a:bodyPr>
          <a:lstStyle/>
          <a:p>
            <a:pPr>
              <a:defRPr/>
            </a:pPr>
            <a:r>
              <a:rPr lang="en-US" sz="1000" b="1" dirty="0">
                <a:ea typeface="ＭＳ Ｐゴシック" pitchFamily="50" charset="-128"/>
              </a:rPr>
              <a:t>Note:</a:t>
            </a:r>
          </a:p>
          <a:p>
            <a:pPr>
              <a:defRPr/>
            </a:pPr>
            <a:r>
              <a:rPr lang="en-US" sz="1000" dirty="0">
                <a:ea typeface="ＭＳ Ｐゴシック" pitchFamily="50" charset="-128"/>
              </a:rPr>
              <a:t>Hold the Shift key when resizing the pieces or group to retain the shape proportions</a:t>
            </a:r>
          </a:p>
        </p:txBody>
      </p:sp>
    </p:spTree>
    <p:extLst>
      <p:ext uri="{BB962C8B-B14F-4D97-AF65-F5344CB8AC3E}">
        <p14:creationId xmlns:p14="http://schemas.microsoft.com/office/powerpoint/2010/main" val="3425772084"/>
      </p:ext>
    </p:extLst>
  </p:cSld>
  <p:clrMapOvr>
    <a:masterClrMapping/>
  </p:clrMapOvr>
  <p:transition>
    <p:fade/>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ln>
            <a:noFill/>
          </a:ln>
        </p:spPr>
        <p:txBody>
          <a:bodyPr/>
          <a:lstStyle/>
          <a:p>
            <a:r>
              <a:rPr lang="en-US"/>
              <a:t>Trackers</a:t>
            </a:r>
            <a:endParaRPr lang="en-US" dirty="0"/>
          </a:p>
        </p:txBody>
      </p:sp>
      <p:sp>
        <p:nvSpPr>
          <p:cNvPr id="700417" name="Title 1"/>
          <p:cNvSpPr>
            <a:spLocks noGrp="1"/>
          </p:cNvSpPr>
          <p:nvPr>
            <p:ph type="title"/>
          </p:nvPr>
        </p:nvSpPr>
        <p:spPr>
          <a:ln>
            <a:noFill/>
          </a:ln>
        </p:spPr>
        <p:txBody>
          <a:bodyPr/>
          <a:lstStyle/>
          <a:p>
            <a:r>
              <a:rPr lang="en-US" altLang="ja-JP"/>
              <a:t>Others</a:t>
            </a:r>
            <a:endParaRPr lang="en-US" dirty="0"/>
          </a:p>
        </p:txBody>
      </p:sp>
      <p:sp>
        <p:nvSpPr>
          <p:cNvPr id="98" name="Rectangle 97"/>
          <p:cNvSpPr>
            <a:spLocks noChangeArrowheads="1"/>
          </p:cNvSpPr>
          <p:nvPr/>
        </p:nvSpPr>
        <p:spPr bwMode="auto">
          <a:xfrm>
            <a:off x="1549686" y="3284346"/>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99" name="Rectangle 98"/>
          <p:cNvSpPr>
            <a:spLocks noChangeArrowheads="1"/>
          </p:cNvSpPr>
          <p:nvPr/>
        </p:nvSpPr>
        <p:spPr bwMode="auto">
          <a:xfrm>
            <a:off x="2447309" y="2999197"/>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0" name="Rectangle 99"/>
          <p:cNvSpPr>
            <a:spLocks noChangeArrowheads="1"/>
          </p:cNvSpPr>
          <p:nvPr/>
        </p:nvSpPr>
        <p:spPr bwMode="auto">
          <a:xfrm>
            <a:off x="2447309" y="3282457"/>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1" name="Rectangle 100"/>
          <p:cNvSpPr>
            <a:spLocks noChangeArrowheads="1"/>
          </p:cNvSpPr>
          <p:nvPr/>
        </p:nvSpPr>
        <p:spPr bwMode="auto">
          <a:xfrm>
            <a:off x="2447309" y="356760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02" name="AutoShape 8"/>
          <p:cNvCxnSpPr>
            <a:cxnSpLocks noChangeShapeType="1"/>
            <a:stCxn id="99" idx="1"/>
            <a:endCxn id="98" idx="3"/>
          </p:cNvCxnSpPr>
          <p:nvPr/>
        </p:nvCxnSpPr>
        <p:spPr bwMode="auto">
          <a:xfrm rot="10800000" flipV="1">
            <a:off x="2077803" y="3112501"/>
            <a:ext cx="367764" cy="283259"/>
          </a:xfrm>
          <a:prstGeom prst="bentConnector3">
            <a:avLst>
              <a:gd name="adj1" fmla="val 50000"/>
            </a:avLst>
          </a:prstGeom>
          <a:noFill/>
          <a:ln w="6350">
            <a:solidFill>
              <a:schemeClr val="tx1"/>
            </a:solidFill>
            <a:miter lim="800000"/>
            <a:headEnd type="none" w="sm" len="sm"/>
            <a:tailEnd type="none" w="med" len="lg"/>
          </a:ln>
        </p:spPr>
      </p:cxnSp>
      <p:cxnSp>
        <p:nvCxnSpPr>
          <p:cNvPr id="103" name="AutoShape 9"/>
          <p:cNvCxnSpPr>
            <a:cxnSpLocks noChangeShapeType="1"/>
            <a:stCxn id="98" idx="3"/>
            <a:endCxn id="100" idx="1"/>
          </p:cNvCxnSpPr>
          <p:nvPr/>
        </p:nvCxnSpPr>
        <p:spPr bwMode="auto">
          <a:xfrm>
            <a:off x="2077803" y="3395759"/>
            <a:ext cx="367764" cy="0"/>
          </a:xfrm>
          <a:prstGeom prst="straightConnector1">
            <a:avLst/>
          </a:prstGeom>
          <a:noFill/>
          <a:ln w="6350">
            <a:solidFill>
              <a:schemeClr val="tx1"/>
            </a:solidFill>
            <a:round/>
            <a:headEnd type="none" w="sm" len="sm"/>
            <a:tailEnd type="none" w="med" len="lg"/>
          </a:ln>
        </p:spPr>
      </p:cxnSp>
      <p:cxnSp>
        <p:nvCxnSpPr>
          <p:cNvPr id="104" name="AutoShape 10"/>
          <p:cNvCxnSpPr>
            <a:cxnSpLocks noChangeShapeType="1"/>
            <a:stCxn id="98" idx="3"/>
            <a:endCxn id="101" idx="1"/>
          </p:cNvCxnSpPr>
          <p:nvPr/>
        </p:nvCxnSpPr>
        <p:spPr bwMode="auto">
          <a:xfrm>
            <a:off x="2077803" y="3395760"/>
            <a:ext cx="367764" cy="285148"/>
          </a:xfrm>
          <a:prstGeom prst="bentConnector3">
            <a:avLst>
              <a:gd name="adj1" fmla="val 50000"/>
            </a:avLst>
          </a:prstGeom>
          <a:noFill/>
          <a:ln w="6350">
            <a:solidFill>
              <a:schemeClr val="tx1"/>
            </a:solidFill>
            <a:miter lim="800000"/>
            <a:headEnd type="none" w="sm" len="sm"/>
            <a:tailEnd type="none" w="med" len="lg"/>
          </a:ln>
        </p:spPr>
      </p:cxnSp>
      <p:sp>
        <p:nvSpPr>
          <p:cNvPr id="106" name="Rectangle 105"/>
          <p:cNvSpPr>
            <a:spLocks noChangeArrowheads="1"/>
          </p:cNvSpPr>
          <p:nvPr/>
        </p:nvSpPr>
        <p:spPr bwMode="auto">
          <a:xfrm>
            <a:off x="4106574" y="3284346"/>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7" name="Rectangle 106"/>
          <p:cNvSpPr>
            <a:spLocks noChangeArrowheads="1"/>
          </p:cNvSpPr>
          <p:nvPr/>
        </p:nvSpPr>
        <p:spPr bwMode="auto">
          <a:xfrm>
            <a:off x="5004197" y="2999197"/>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8" name="Rectangle 107"/>
          <p:cNvSpPr>
            <a:spLocks noChangeArrowheads="1"/>
          </p:cNvSpPr>
          <p:nvPr/>
        </p:nvSpPr>
        <p:spPr bwMode="auto">
          <a:xfrm>
            <a:off x="5004197" y="3282457"/>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09" name="Rectangle 108"/>
          <p:cNvSpPr>
            <a:spLocks noChangeArrowheads="1"/>
          </p:cNvSpPr>
          <p:nvPr/>
        </p:nvSpPr>
        <p:spPr bwMode="auto">
          <a:xfrm>
            <a:off x="5004197" y="356760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10" name="AutoShape 16"/>
          <p:cNvCxnSpPr>
            <a:cxnSpLocks noChangeShapeType="1"/>
            <a:stCxn id="107" idx="1"/>
            <a:endCxn id="106" idx="3"/>
          </p:cNvCxnSpPr>
          <p:nvPr/>
        </p:nvCxnSpPr>
        <p:spPr bwMode="auto">
          <a:xfrm rot="10800000" flipV="1">
            <a:off x="4634691" y="3112501"/>
            <a:ext cx="367764" cy="283259"/>
          </a:xfrm>
          <a:prstGeom prst="bentConnector3">
            <a:avLst>
              <a:gd name="adj1" fmla="val 50000"/>
            </a:avLst>
          </a:prstGeom>
          <a:noFill/>
          <a:ln w="6350">
            <a:solidFill>
              <a:schemeClr val="tx1"/>
            </a:solidFill>
            <a:miter lim="800000"/>
            <a:headEnd type="none" w="sm" len="sm"/>
            <a:tailEnd type="none" w="med" len="lg"/>
          </a:ln>
        </p:spPr>
      </p:cxnSp>
      <p:cxnSp>
        <p:nvCxnSpPr>
          <p:cNvPr id="111" name="AutoShape 17"/>
          <p:cNvCxnSpPr>
            <a:cxnSpLocks noChangeShapeType="1"/>
            <a:stCxn id="106" idx="3"/>
            <a:endCxn id="108" idx="1"/>
          </p:cNvCxnSpPr>
          <p:nvPr/>
        </p:nvCxnSpPr>
        <p:spPr bwMode="auto">
          <a:xfrm>
            <a:off x="4634691" y="3395759"/>
            <a:ext cx="367764" cy="0"/>
          </a:xfrm>
          <a:prstGeom prst="straightConnector1">
            <a:avLst/>
          </a:prstGeom>
          <a:noFill/>
          <a:ln w="6350">
            <a:solidFill>
              <a:schemeClr val="tx1"/>
            </a:solidFill>
            <a:round/>
            <a:headEnd type="none" w="sm" len="sm"/>
            <a:tailEnd type="none" w="med" len="lg"/>
          </a:ln>
        </p:spPr>
      </p:cxnSp>
      <p:cxnSp>
        <p:nvCxnSpPr>
          <p:cNvPr id="112" name="AutoShape 18"/>
          <p:cNvCxnSpPr>
            <a:cxnSpLocks noChangeShapeType="1"/>
            <a:stCxn id="106" idx="3"/>
            <a:endCxn id="109" idx="1"/>
          </p:cNvCxnSpPr>
          <p:nvPr/>
        </p:nvCxnSpPr>
        <p:spPr bwMode="auto">
          <a:xfrm>
            <a:off x="4634691" y="3395760"/>
            <a:ext cx="367764" cy="285148"/>
          </a:xfrm>
          <a:prstGeom prst="bentConnector3">
            <a:avLst>
              <a:gd name="adj1" fmla="val 50000"/>
            </a:avLst>
          </a:prstGeom>
          <a:noFill/>
          <a:ln w="6350">
            <a:solidFill>
              <a:schemeClr val="tx1"/>
            </a:solidFill>
            <a:miter lim="800000"/>
            <a:headEnd type="none" w="sm" len="sm"/>
            <a:tailEnd type="none" w="med" len="lg"/>
          </a:ln>
        </p:spPr>
      </p:cxnSp>
      <p:sp>
        <p:nvSpPr>
          <p:cNvPr id="114" name="Rectangle 113"/>
          <p:cNvSpPr>
            <a:spLocks noChangeArrowheads="1"/>
          </p:cNvSpPr>
          <p:nvPr/>
        </p:nvSpPr>
        <p:spPr bwMode="auto">
          <a:xfrm>
            <a:off x="6661574" y="3282458"/>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15" name="Rectangle 114"/>
          <p:cNvSpPr>
            <a:spLocks noChangeArrowheads="1"/>
          </p:cNvSpPr>
          <p:nvPr/>
        </p:nvSpPr>
        <p:spPr bwMode="auto">
          <a:xfrm>
            <a:off x="7559198" y="2997309"/>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16" name="Rectangle 115"/>
          <p:cNvSpPr>
            <a:spLocks noChangeArrowheads="1"/>
          </p:cNvSpPr>
          <p:nvPr/>
        </p:nvSpPr>
        <p:spPr bwMode="auto">
          <a:xfrm>
            <a:off x="7559198" y="3280569"/>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17" name="Rectangle 116"/>
          <p:cNvSpPr>
            <a:spLocks noChangeArrowheads="1"/>
          </p:cNvSpPr>
          <p:nvPr/>
        </p:nvSpPr>
        <p:spPr bwMode="auto">
          <a:xfrm>
            <a:off x="7559198" y="3565717"/>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18" name="AutoShape 24"/>
          <p:cNvCxnSpPr>
            <a:cxnSpLocks noChangeShapeType="1"/>
            <a:stCxn id="115" idx="1"/>
            <a:endCxn id="114" idx="3"/>
          </p:cNvCxnSpPr>
          <p:nvPr/>
        </p:nvCxnSpPr>
        <p:spPr bwMode="auto">
          <a:xfrm rot="10800000" flipV="1">
            <a:off x="7189691" y="3110613"/>
            <a:ext cx="367764" cy="283259"/>
          </a:xfrm>
          <a:prstGeom prst="bentConnector3">
            <a:avLst>
              <a:gd name="adj1" fmla="val 50000"/>
            </a:avLst>
          </a:prstGeom>
          <a:noFill/>
          <a:ln w="6350">
            <a:solidFill>
              <a:schemeClr val="tx1"/>
            </a:solidFill>
            <a:miter lim="800000"/>
            <a:headEnd type="none" w="sm" len="sm"/>
            <a:tailEnd type="none" w="med" len="lg"/>
          </a:ln>
        </p:spPr>
      </p:cxnSp>
      <p:cxnSp>
        <p:nvCxnSpPr>
          <p:cNvPr id="119" name="AutoShape 25"/>
          <p:cNvCxnSpPr>
            <a:cxnSpLocks noChangeShapeType="1"/>
            <a:stCxn id="114" idx="3"/>
            <a:endCxn id="116" idx="1"/>
          </p:cNvCxnSpPr>
          <p:nvPr/>
        </p:nvCxnSpPr>
        <p:spPr bwMode="auto">
          <a:xfrm>
            <a:off x="7189691" y="3393871"/>
            <a:ext cx="367764" cy="0"/>
          </a:xfrm>
          <a:prstGeom prst="straightConnector1">
            <a:avLst/>
          </a:prstGeom>
          <a:noFill/>
          <a:ln w="6350">
            <a:solidFill>
              <a:schemeClr val="tx1"/>
            </a:solidFill>
            <a:round/>
            <a:headEnd type="none" w="sm" len="sm"/>
            <a:tailEnd type="none" w="med" len="lg"/>
          </a:ln>
        </p:spPr>
      </p:cxnSp>
      <p:cxnSp>
        <p:nvCxnSpPr>
          <p:cNvPr id="120" name="AutoShape 26"/>
          <p:cNvCxnSpPr>
            <a:cxnSpLocks noChangeShapeType="1"/>
            <a:stCxn id="114" idx="3"/>
            <a:endCxn id="117" idx="1"/>
          </p:cNvCxnSpPr>
          <p:nvPr/>
        </p:nvCxnSpPr>
        <p:spPr bwMode="auto">
          <a:xfrm>
            <a:off x="7189691" y="3393872"/>
            <a:ext cx="367764" cy="285148"/>
          </a:xfrm>
          <a:prstGeom prst="bentConnector3">
            <a:avLst>
              <a:gd name="adj1" fmla="val 50000"/>
            </a:avLst>
          </a:prstGeom>
          <a:noFill/>
          <a:ln w="6350">
            <a:solidFill>
              <a:schemeClr val="tx1"/>
            </a:solidFill>
            <a:miter lim="800000"/>
            <a:headEnd type="none" w="sm" len="sm"/>
            <a:tailEnd type="none" w="med" len="lg"/>
          </a:ln>
        </p:spPr>
      </p:cxnSp>
      <p:sp>
        <p:nvSpPr>
          <p:cNvPr id="122" name="Rectangle 121"/>
          <p:cNvSpPr>
            <a:spLocks noChangeArrowheads="1"/>
          </p:cNvSpPr>
          <p:nvPr/>
        </p:nvSpPr>
        <p:spPr bwMode="auto">
          <a:xfrm>
            <a:off x="9216574" y="3284346"/>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23" name="Rectangle 122"/>
          <p:cNvSpPr>
            <a:spLocks noChangeArrowheads="1"/>
          </p:cNvSpPr>
          <p:nvPr/>
        </p:nvSpPr>
        <p:spPr bwMode="auto">
          <a:xfrm>
            <a:off x="10114197" y="2999197"/>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24" name="Rectangle 123"/>
          <p:cNvSpPr>
            <a:spLocks noChangeArrowheads="1"/>
          </p:cNvSpPr>
          <p:nvPr/>
        </p:nvSpPr>
        <p:spPr bwMode="auto">
          <a:xfrm>
            <a:off x="10114197" y="3282457"/>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25" name="Rectangle 124"/>
          <p:cNvSpPr>
            <a:spLocks noChangeArrowheads="1"/>
          </p:cNvSpPr>
          <p:nvPr/>
        </p:nvSpPr>
        <p:spPr bwMode="auto">
          <a:xfrm>
            <a:off x="10114197" y="356760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26" name="AutoShape 32"/>
          <p:cNvCxnSpPr>
            <a:cxnSpLocks noChangeShapeType="1"/>
            <a:stCxn id="123" idx="1"/>
            <a:endCxn id="122" idx="3"/>
          </p:cNvCxnSpPr>
          <p:nvPr/>
        </p:nvCxnSpPr>
        <p:spPr bwMode="auto">
          <a:xfrm rot="10800000" flipV="1">
            <a:off x="9744691" y="3112501"/>
            <a:ext cx="367764" cy="283259"/>
          </a:xfrm>
          <a:prstGeom prst="bentConnector3">
            <a:avLst>
              <a:gd name="adj1" fmla="val 50000"/>
            </a:avLst>
          </a:prstGeom>
          <a:noFill/>
          <a:ln w="6350">
            <a:solidFill>
              <a:schemeClr val="tx1"/>
            </a:solidFill>
            <a:miter lim="800000"/>
            <a:headEnd type="none" w="sm" len="sm"/>
            <a:tailEnd type="none" w="med" len="lg"/>
          </a:ln>
        </p:spPr>
      </p:cxnSp>
      <p:cxnSp>
        <p:nvCxnSpPr>
          <p:cNvPr id="127" name="AutoShape 33"/>
          <p:cNvCxnSpPr>
            <a:cxnSpLocks noChangeShapeType="1"/>
            <a:stCxn id="122" idx="3"/>
            <a:endCxn id="124" idx="1"/>
          </p:cNvCxnSpPr>
          <p:nvPr/>
        </p:nvCxnSpPr>
        <p:spPr bwMode="auto">
          <a:xfrm>
            <a:off x="9744691" y="3395759"/>
            <a:ext cx="367764" cy="0"/>
          </a:xfrm>
          <a:prstGeom prst="straightConnector1">
            <a:avLst/>
          </a:prstGeom>
          <a:noFill/>
          <a:ln w="6350">
            <a:solidFill>
              <a:schemeClr val="tx1"/>
            </a:solidFill>
            <a:round/>
            <a:headEnd type="none" w="sm" len="sm"/>
            <a:tailEnd type="none" w="med" len="lg"/>
          </a:ln>
        </p:spPr>
      </p:cxnSp>
      <p:cxnSp>
        <p:nvCxnSpPr>
          <p:cNvPr id="128" name="AutoShape 34"/>
          <p:cNvCxnSpPr>
            <a:cxnSpLocks noChangeShapeType="1"/>
            <a:stCxn id="122" idx="3"/>
            <a:endCxn id="125" idx="1"/>
          </p:cNvCxnSpPr>
          <p:nvPr/>
        </p:nvCxnSpPr>
        <p:spPr bwMode="auto">
          <a:xfrm>
            <a:off x="9744691" y="3395760"/>
            <a:ext cx="367764" cy="285148"/>
          </a:xfrm>
          <a:prstGeom prst="bentConnector3">
            <a:avLst>
              <a:gd name="adj1" fmla="val 50000"/>
            </a:avLst>
          </a:prstGeom>
          <a:noFill/>
          <a:ln w="6350">
            <a:solidFill>
              <a:schemeClr val="tx1"/>
            </a:solidFill>
            <a:miter lim="800000"/>
            <a:headEnd type="none" w="sm" len="sm"/>
            <a:tailEnd type="none" w="med" len="lg"/>
          </a:ln>
        </p:spPr>
      </p:cxnSp>
      <p:sp>
        <p:nvSpPr>
          <p:cNvPr id="129" name="Rectangle 128"/>
          <p:cNvSpPr>
            <a:spLocks noChangeArrowheads="1"/>
          </p:cNvSpPr>
          <p:nvPr/>
        </p:nvSpPr>
        <p:spPr bwMode="auto">
          <a:xfrm>
            <a:off x="1549686" y="1844265"/>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0" name="Rectangle 129"/>
          <p:cNvSpPr>
            <a:spLocks noChangeArrowheads="1"/>
          </p:cNvSpPr>
          <p:nvPr/>
        </p:nvSpPr>
        <p:spPr bwMode="auto">
          <a:xfrm>
            <a:off x="2447309" y="1619545"/>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1" name="Rectangle 130"/>
          <p:cNvSpPr>
            <a:spLocks noChangeArrowheads="1"/>
          </p:cNvSpPr>
          <p:nvPr/>
        </p:nvSpPr>
        <p:spPr bwMode="auto">
          <a:xfrm>
            <a:off x="2447309" y="2068983"/>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32" name="AutoShape 39"/>
          <p:cNvCxnSpPr>
            <a:cxnSpLocks noChangeShapeType="1"/>
            <a:stCxn id="130" idx="1"/>
            <a:endCxn id="129" idx="3"/>
          </p:cNvCxnSpPr>
          <p:nvPr/>
        </p:nvCxnSpPr>
        <p:spPr bwMode="auto">
          <a:xfrm rot="10800000" flipV="1">
            <a:off x="2077803" y="1732849"/>
            <a:ext cx="367764" cy="222831"/>
          </a:xfrm>
          <a:prstGeom prst="bentConnector3">
            <a:avLst>
              <a:gd name="adj1" fmla="val 50000"/>
            </a:avLst>
          </a:prstGeom>
          <a:noFill/>
          <a:ln w="6350">
            <a:solidFill>
              <a:schemeClr val="tx1"/>
            </a:solidFill>
            <a:miter lim="800000"/>
            <a:headEnd type="none" w="sm" len="sm"/>
            <a:tailEnd type="none" w="med" len="lg"/>
          </a:ln>
        </p:spPr>
      </p:cxnSp>
      <p:cxnSp>
        <p:nvCxnSpPr>
          <p:cNvPr id="133" name="AutoShape 40"/>
          <p:cNvCxnSpPr>
            <a:cxnSpLocks noChangeShapeType="1"/>
          </p:cNvCxnSpPr>
          <p:nvPr/>
        </p:nvCxnSpPr>
        <p:spPr bwMode="auto">
          <a:xfrm>
            <a:off x="2077803" y="1953789"/>
            <a:ext cx="367764" cy="226608"/>
          </a:xfrm>
          <a:prstGeom prst="bentConnector3">
            <a:avLst>
              <a:gd name="adj1" fmla="val 50000"/>
            </a:avLst>
          </a:prstGeom>
          <a:noFill/>
          <a:ln w="6350">
            <a:solidFill>
              <a:schemeClr val="tx1"/>
            </a:solidFill>
            <a:miter lim="800000"/>
            <a:headEnd type="none" w="sm" len="sm"/>
            <a:tailEnd type="none" w="med" len="lg"/>
          </a:ln>
        </p:spPr>
      </p:cxnSp>
      <p:sp>
        <p:nvSpPr>
          <p:cNvPr id="134" name="Rectangle 133"/>
          <p:cNvSpPr>
            <a:spLocks noChangeArrowheads="1"/>
          </p:cNvSpPr>
          <p:nvPr/>
        </p:nvSpPr>
        <p:spPr bwMode="auto">
          <a:xfrm>
            <a:off x="5383130" y="1844265"/>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5" name="Rectangle 134"/>
          <p:cNvSpPr>
            <a:spLocks noChangeArrowheads="1"/>
          </p:cNvSpPr>
          <p:nvPr/>
        </p:nvSpPr>
        <p:spPr bwMode="auto">
          <a:xfrm>
            <a:off x="6280753" y="161954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36" name="Rectangle 135"/>
          <p:cNvSpPr>
            <a:spLocks noChangeArrowheads="1"/>
          </p:cNvSpPr>
          <p:nvPr/>
        </p:nvSpPr>
        <p:spPr bwMode="auto">
          <a:xfrm>
            <a:off x="6280753" y="2068983"/>
            <a:ext cx="528116" cy="224720"/>
          </a:xfrm>
          <a:prstGeom prst="rect">
            <a:avLst/>
          </a:prstGeom>
          <a:solidFill>
            <a:schemeClr val="accent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37" name="AutoShape 45"/>
          <p:cNvCxnSpPr>
            <a:cxnSpLocks noChangeShapeType="1"/>
            <a:stCxn id="135" idx="1"/>
            <a:endCxn id="134" idx="3"/>
          </p:cNvCxnSpPr>
          <p:nvPr/>
        </p:nvCxnSpPr>
        <p:spPr bwMode="auto">
          <a:xfrm rot="10800000" flipV="1">
            <a:off x="5911247" y="1732849"/>
            <a:ext cx="367764" cy="222831"/>
          </a:xfrm>
          <a:prstGeom prst="bentConnector3">
            <a:avLst>
              <a:gd name="adj1" fmla="val 50000"/>
            </a:avLst>
          </a:prstGeom>
          <a:noFill/>
          <a:ln w="6350">
            <a:solidFill>
              <a:schemeClr val="tx1"/>
            </a:solidFill>
            <a:miter lim="800000"/>
            <a:headEnd type="none" w="sm" len="sm"/>
            <a:tailEnd type="none" w="med" len="lg"/>
          </a:ln>
        </p:spPr>
      </p:cxnSp>
      <p:cxnSp>
        <p:nvCxnSpPr>
          <p:cNvPr id="138" name="AutoShape 46"/>
          <p:cNvCxnSpPr>
            <a:cxnSpLocks noChangeShapeType="1"/>
          </p:cNvCxnSpPr>
          <p:nvPr/>
        </p:nvCxnSpPr>
        <p:spPr bwMode="auto">
          <a:xfrm>
            <a:off x="5911247" y="1953789"/>
            <a:ext cx="367764" cy="226608"/>
          </a:xfrm>
          <a:prstGeom prst="bentConnector3">
            <a:avLst>
              <a:gd name="adj1" fmla="val 50000"/>
            </a:avLst>
          </a:prstGeom>
          <a:noFill/>
          <a:ln w="6350">
            <a:solidFill>
              <a:schemeClr val="tx1"/>
            </a:solidFill>
            <a:miter lim="800000"/>
            <a:headEnd type="none" w="sm" len="sm"/>
            <a:tailEnd type="none" w="med" len="lg"/>
          </a:ln>
        </p:spPr>
      </p:cxnSp>
      <p:sp>
        <p:nvSpPr>
          <p:cNvPr id="139" name="Rectangle 138"/>
          <p:cNvSpPr>
            <a:spLocks noChangeArrowheads="1"/>
          </p:cNvSpPr>
          <p:nvPr/>
        </p:nvSpPr>
        <p:spPr bwMode="auto">
          <a:xfrm>
            <a:off x="9216574" y="1844265"/>
            <a:ext cx="528116" cy="222831"/>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40" name="Rectangle 139"/>
          <p:cNvSpPr>
            <a:spLocks noChangeArrowheads="1"/>
          </p:cNvSpPr>
          <p:nvPr/>
        </p:nvSpPr>
        <p:spPr bwMode="auto">
          <a:xfrm>
            <a:off x="10114197" y="1619545"/>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sp>
        <p:nvSpPr>
          <p:cNvPr id="141" name="Rectangle 140"/>
          <p:cNvSpPr>
            <a:spLocks noChangeArrowheads="1"/>
          </p:cNvSpPr>
          <p:nvPr/>
        </p:nvSpPr>
        <p:spPr bwMode="auto">
          <a:xfrm>
            <a:off x="10114197" y="2068983"/>
            <a:ext cx="528116" cy="224720"/>
          </a:xfrm>
          <a:prstGeom prst="rect">
            <a:avLst/>
          </a:prstGeom>
          <a:solidFill>
            <a:schemeClr val="bg1"/>
          </a:solidFill>
          <a:ln w="6350" algn="ctr">
            <a:solidFill>
              <a:schemeClr val="tx1"/>
            </a:solidFill>
            <a:miter lim="800000"/>
            <a:headEnd type="none" w="sm" len="sm"/>
            <a:tailEnd type="none" w="med" len="lg"/>
          </a:ln>
        </p:spPr>
        <p:txBody>
          <a:bodyPr tIns="91440" bIns="91440" anchor="ctr"/>
          <a:lstStyle/>
          <a:p>
            <a:pPr marL="12700" indent="-12700">
              <a:lnSpc>
                <a:spcPct val="110000"/>
              </a:lnSpc>
              <a:spcBef>
                <a:spcPct val="20000"/>
              </a:spcBef>
              <a:defRPr/>
            </a:pPr>
            <a:endParaRPr lang="en-GB" sz="1400" b="1" dirty="0">
              <a:solidFill>
                <a:srgbClr val="002776"/>
              </a:solidFill>
              <a:ea typeface="ＭＳ Ｐゴシック" pitchFamily="50" charset="-128"/>
              <a:cs typeface="Arial" pitchFamily="34" charset="0"/>
            </a:endParaRPr>
          </a:p>
        </p:txBody>
      </p:sp>
      <p:cxnSp>
        <p:nvCxnSpPr>
          <p:cNvPr id="142" name="AutoShape 51"/>
          <p:cNvCxnSpPr>
            <a:cxnSpLocks noChangeShapeType="1"/>
            <a:stCxn id="140" idx="1"/>
            <a:endCxn id="139" idx="3"/>
          </p:cNvCxnSpPr>
          <p:nvPr/>
        </p:nvCxnSpPr>
        <p:spPr bwMode="auto">
          <a:xfrm rot="10800000" flipV="1">
            <a:off x="9744691" y="1732849"/>
            <a:ext cx="367764" cy="222831"/>
          </a:xfrm>
          <a:prstGeom prst="bentConnector3">
            <a:avLst>
              <a:gd name="adj1" fmla="val 50000"/>
            </a:avLst>
          </a:prstGeom>
          <a:noFill/>
          <a:ln w="6350">
            <a:solidFill>
              <a:schemeClr val="tx1"/>
            </a:solidFill>
            <a:miter lim="800000"/>
            <a:headEnd type="none" w="sm" len="sm"/>
            <a:tailEnd type="none" w="med" len="lg"/>
          </a:ln>
        </p:spPr>
      </p:cxnSp>
      <p:cxnSp>
        <p:nvCxnSpPr>
          <p:cNvPr id="143" name="AutoShape 52"/>
          <p:cNvCxnSpPr>
            <a:cxnSpLocks noChangeShapeType="1"/>
          </p:cNvCxnSpPr>
          <p:nvPr/>
        </p:nvCxnSpPr>
        <p:spPr bwMode="auto">
          <a:xfrm>
            <a:off x="9744691" y="1953789"/>
            <a:ext cx="367764" cy="226608"/>
          </a:xfrm>
          <a:prstGeom prst="bentConnector3">
            <a:avLst>
              <a:gd name="adj1" fmla="val 50000"/>
            </a:avLst>
          </a:prstGeom>
          <a:noFill/>
          <a:ln w="6350">
            <a:solidFill>
              <a:schemeClr val="tx1"/>
            </a:solidFill>
            <a:miter lim="800000"/>
            <a:headEnd type="none" w="sm" len="sm"/>
            <a:tailEnd type="none" w="med" len="lg"/>
          </a:ln>
        </p:spPr>
      </p:cxnSp>
      <p:sp>
        <p:nvSpPr>
          <p:cNvPr id="145" name="AutoShape 54"/>
          <p:cNvSpPr>
            <a:spLocks noChangeArrowheads="1"/>
          </p:cNvSpPr>
          <p:nvPr/>
        </p:nvSpPr>
        <p:spPr bwMode="auto">
          <a:xfrm>
            <a:off x="3824187" y="5714206"/>
            <a:ext cx="393803"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46" name="AutoShape 55"/>
          <p:cNvSpPr>
            <a:spLocks noChangeArrowheads="1"/>
          </p:cNvSpPr>
          <p:nvPr/>
        </p:nvSpPr>
        <p:spPr bwMode="auto">
          <a:xfrm>
            <a:off x="4217989" y="5714206"/>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47" name="AutoShape 56"/>
          <p:cNvSpPr>
            <a:spLocks noChangeArrowheads="1"/>
          </p:cNvSpPr>
          <p:nvPr/>
        </p:nvSpPr>
        <p:spPr bwMode="auto">
          <a:xfrm>
            <a:off x="4613536" y="5714206"/>
            <a:ext cx="393803"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48" name="AutoShape 57"/>
          <p:cNvSpPr>
            <a:spLocks noChangeArrowheads="1"/>
          </p:cNvSpPr>
          <p:nvPr/>
        </p:nvSpPr>
        <p:spPr bwMode="auto">
          <a:xfrm>
            <a:off x="3428640" y="5714206"/>
            <a:ext cx="395546"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0" name="AutoShape 59"/>
          <p:cNvSpPr>
            <a:spLocks noChangeArrowheads="1"/>
          </p:cNvSpPr>
          <p:nvPr/>
        </p:nvSpPr>
        <p:spPr bwMode="auto">
          <a:xfrm>
            <a:off x="5701398" y="5716094"/>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1" name="AutoShape 60"/>
          <p:cNvSpPr>
            <a:spLocks noChangeArrowheads="1"/>
          </p:cNvSpPr>
          <p:nvPr/>
        </p:nvSpPr>
        <p:spPr bwMode="auto">
          <a:xfrm>
            <a:off x="6096945" y="5716094"/>
            <a:ext cx="393803"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2" name="AutoShape 61"/>
          <p:cNvSpPr>
            <a:spLocks noChangeArrowheads="1"/>
          </p:cNvSpPr>
          <p:nvPr/>
        </p:nvSpPr>
        <p:spPr bwMode="auto">
          <a:xfrm>
            <a:off x="6490747" y="5716094"/>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3" name="AutoShape 62"/>
          <p:cNvSpPr>
            <a:spLocks noChangeArrowheads="1"/>
          </p:cNvSpPr>
          <p:nvPr/>
        </p:nvSpPr>
        <p:spPr bwMode="auto">
          <a:xfrm>
            <a:off x="5307596" y="5716094"/>
            <a:ext cx="393803"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5" name="AutoShape 64"/>
          <p:cNvSpPr>
            <a:spLocks noChangeArrowheads="1"/>
          </p:cNvSpPr>
          <p:nvPr/>
        </p:nvSpPr>
        <p:spPr bwMode="auto">
          <a:xfrm>
            <a:off x="7578464" y="5716094"/>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6" name="AutoShape 65"/>
          <p:cNvSpPr>
            <a:spLocks noChangeArrowheads="1"/>
          </p:cNvSpPr>
          <p:nvPr/>
        </p:nvSpPr>
        <p:spPr bwMode="auto">
          <a:xfrm>
            <a:off x="7974011" y="5716094"/>
            <a:ext cx="393803"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7" name="AutoShape 66"/>
          <p:cNvSpPr>
            <a:spLocks noChangeArrowheads="1"/>
          </p:cNvSpPr>
          <p:nvPr/>
        </p:nvSpPr>
        <p:spPr bwMode="auto">
          <a:xfrm>
            <a:off x="8367813" y="5716094"/>
            <a:ext cx="395546"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58" name="AutoShape 67"/>
          <p:cNvSpPr>
            <a:spLocks noChangeArrowheads="1"/>
          </p:cNvSpPr>
          <p:nvPr/>
        </p:nvSpPr>
        <p:spPr bwMode="auto">
          <a:xfrm>
            <a:off x="7184661" y="5716094"/>
            <a:ext cx="393803"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0" name="AutoShape 69"/>
          <p:cNvSpPr>
            <a:spLocks noChangeArrowheads="1"/>
          </p:cNvSpPr>
          <p:nvPr/>
        </p:nvSpPr>
        <p:spPr bwMode="auto">
          <a:xfrm>
            <a:off x="9459161" y="5716094"/>
            <a:ext cx="393803"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1" name="AutoShape 70"/>
          <p:cNvSpPr>
            <a:spLocks noChangeArrowheads="1"/>
          </p:cNvSpPr>
          <p:nvPr/>
        </p:nvSpPr>
        <p:spPr bwMode="auto">
          <a:xfrm>
            <a:off x="9852963" y="5716094"/>
            <a:ext cx="395546"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2" name="AutoShape 71"/>
          <p:cNvSpPr>
            <a:spLocks noChangeArrowheads="1"/>
          </p:cNvSpPr>
          <p:nvPr/>
        </p:nvSpPr>
        <p:spPr bwMode="auto">
          <a:xfrm>
            <a:off x="10248511" y="5716094"/>
            <a:ext cx="393803"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3" name="AutoShape 72"/>
          <p:cNvSpPr>
            <a:spLocks noChangeArrowheads="1"/>
          </p:cNvSpPr>
          <p:nvPr/>
        </p:nvSpPr>
        <p:spPr bwMode="auto">
          <a:xfrm>
            <a:off x="9063614" y="5716094"/>
            <a:ext cx="395546"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5" name="AutoShape 74"/>
          <p:cNvSpPr>
            <a:spLocks noChangeArrowheads="1"/>
          </p:cNvSpPr>
          <p:nvPr/>
        </p:nvSpPr>
        <p:spPr bwMode="auto">
          <a:xfrm>
            <a:off x="4581726" y="4623909"/>
            <a:ext cx="392350"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6" name="AutoShape 75"/>
          <p:cNvSpPr>
            <a:spLocks noChangeArrowheads="1"/>
          </p:cNvSpPr>
          <p:nvPr/>
        </p:nvSpPr>
        <p:spPr bwMode="auto">
          <a:xfrm>
            <a:off x="4975818" y="4623909"/>
            <a:ext cx="394094"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7" name="AutoShape 76"/>
          <p:cNvSpPr>
            <a:spLocks noChangeArrowheads="1"/>
          </p:cNvSpPr>
          <p:nvPr/>
        </p:nvSpPr>
        <p:spPr bwMode="auto">
          <a:xfrm>
            <a:off x="4185888" y="4623909"/>
            <a:ext cx="395838"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69" name="AutoShape 78"/>
          <p:cNvSpPr>
            <a:spLocks noChangeArrowheads="1"/>
          </p:cNvSpPr>
          <p:nvPr/>
        </p:nvSpPr>
        <p:spPr bwMode="auto">
          <a:xfrm>
            <a:off x="7217927" y="4623909"/>
            <a:ext cx="392350"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0" name="AutoShape 79"/>
          <p:cNvSpPr>
            <a:spLocks noChangeArrowheads="1"/>
          </p:cNvSpPr>
          <p:nvPr/>
        </p:nvSpPr>
        <p:spPr bwMode="auto">
          <a:xfrm>
            <a:off x="7612019" y="4623909"/>
            <a:ext cx="394094" cy="256822"/>
          </a:xfrm>
          <a:prstGeom prst="chevron">
            <a:avLst>
              <a:gd name="adj" fmla="val 41544"/>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1" name="AutoShape 80"/>
          <p:cNvSpPr>
            <a:spLocks noChangeArrowheads="1"/>
          </p:cNvSpPr>
          <p:nvPr/>
        </p:nvSpPr>
        <p:spPr bwMode="auto">
          <a:xfrm>
            <a:off x="6822089" y="4623909"/>
            <a:ext cx="395838"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3" name="AutoShape 82"/>
          <p:cNvSpPr>
            <a:spLocks noChangeArrowheads="1"/>
          </p:cNvSpPr>
          <p:nvPr/>
        </p:nvSpPr>
        <p:spPr bwMode="auto">
          <a:xfrm>
            <a:off x="9854128" y="4623909"/>
            <a:ext cx="392350"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4" name="AutoShape 83"/>
          <p:cNvSpPr>
            <a:spLocks noChangeArrowheads="1"/>
          </p:cNvSpPr>
          <p:nvPr/>
        </p:nvSpPr>
        <p:spPr bwMode="auto">
          <a:xfrm>
            <a:off x="10248220" y="4623909"/>
            <a:ext cx="394094"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5" name="AutoShape 84"/>
          <p:cNvSpPr>
            <a:spLocks noChangeArrowheads="1"/>
          </p:cNvSpPr>
          <p:nvPr/>
        </p:nvSpPr>
        <p:spPr bwMode="auto">
          <a:xfrm>
            <a:off x="9458290" y="4623909"/>
            <a:ext cx="395838" cy="256822"/>
          </a:xfrm>
          <a:prstGeom prst="homePlate">
            <a:avLst>
              <a:gd name="adj" fmla="val 41728"/>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6" name="AutoShape 86"/>
          <p:cNvSpPr>
            <a:spLocks noChangeArrowheads="1"/>
          </p:cNvSpPr>
          <p:nvPr/>
        </p:nvSpPr>
        <p:spPr bwMode="auto">
          <a:xfrm>
            <a:off x="1945525" y="4623909"/>
            <a:ext cx="392350"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7" name="AutoShape 87"/>
          <p:cNvSpPr>
            <a:spLocks noChangeArrowheads="1"/>
          </p:cNvSpPr>
          <p:nvPr/>
        </p:nvSpPr>
        <p:spPr bwMode="auto">
          <a:xfrm>
            <a:off x="2339617" y="4623909"/>
            <a:ext cx="394094" cy="256822"/>
          </a:xfrm>
          <a:prstGeom prst="chevron">
            <a:avLst>
              <a:gd name="adj" fmla="val 41544"/>
            </a:avLst>
          </a:prstGeom>
          <a:solidFill>
            <a:schemeClr val="bg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78" name="AutoShape 88"/>
          <p:cNvSpPr>
            <a:spLocks noChangeArrowheads="1"/>
          </p:cNvSpPr>
          <p:nvPr/>
        </p:nvSpPr>
        <p:spPr bwMode="auto">
          <a:xfrm>
            <a:off x="1549687" y="4623909"/>
            <a:ext cx="395838" cy="256822"/>
          </a:xfrm>
          <a:prstGeom prst="homePlate">
            <a:avLst>
              <a:gd name="adj" fmla="val 41728"/>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80" name="AutoShape 90"/>
          <p:cNvSpPr>
            <a:spLocks noChangeArrowheads="1"/>
          </p:cNvSpPr>
          <p:nvPr/>
        </p:nvSpPr>
        <p:spPr bwMode="auto">
          <a:xfrm>
            <a:off x="1945707" y="5714206"/>
            <a:ext cx="394275" cy="256822"/>
          </a:xfrm>
          <a:prstGeom prst="chevron">
            <a:avLst>
              <a:gd name="adj" fmla="val 41544"/>
            </a:avLst>
          </a:prstGeom>
          <a:no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81" name="AutoShape 91"/>
          <p:cNvSpPr>
            <a:spLocks noChangeArrowheads="1"/>
          </p:cNvSpPr>
          <p:nvPr/>
        </p:nvSpPr>
        <p:spPr bwMode="auto">
          <a:xfrm>
            <a:off x="2341724" y="5714206"/>
            <a:ext cx="392529" cy="256822"/>
          </a:xfrm>
          <a:prstGeom prst="chevron">
            <a:avLst>
              <a:gd name="adj" fmla="val 41544"/>
            </a:avLst>
          </a:prstGeom>
          <a:no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82" name="AutoShape 92"/>
          <p:cNvSpPr>
            <a:spLocks noChangeArrowheads="1"/>
          </p:cNvSpPr>
          <p:nvPr/>
        </p:nvSpPr>
        <p:spPr bwMode="auto">
          <a:xfrm>
            <a:off x="2736000" y="5714206"/>
            <a:ext cx="394275" cy="256822"/>
          </a:xfrm>
          <a:prstGeom prst="chevron">
            <a:avLst>
              <a:gd name="adj" fmla="val 41544"/>
            </a:avLst>
          </a:prstGeom>
          <a:no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
        <p:nvSpPr>
          <p:cNvPr id="183" name="AutoShape 93"/>
          <p:cNvSpPr>
            <a:spLocks noChangeArrowheads="1"/>
          </p:cNvSpPr>
          <p:nvPr/>
        </p:nvSpPr>
        <p:spPr bwMode="auto">
          <a:xfrm>
            <a:off x="1549686" y="5714206"/>
            <a:ext cx="396020" cy="256822"/>
          </a:xfrm>
          <a:prstGeom prst="homePlate">
            <a:avLst>
              <a:gd name="adj" fmla="val 41728"/>
            </a:avLst>
          </a:prstGeom>
          <a:solidFill>
            <a:schemeClr val="accent1"/>
          </a:solidFill>
          <a:ln w="6350" algn="ctr">
            <a:solidFill>
              <a:schemeClr val="tx1"/>
            </a:solidFill>
            <a:miter lim="800000"/>
            <a:headEnd type="none" w="sm" len="sm"/>
            <a:tailEnd type="none" w="med" len="lg"/>
          </a:ln>
        </p:spPr>
        <p:txBody>
          <a:bodyPr tIns="91440" bIns="91440" anchor="ctr"/>
          <a:lstStyle/>
          <a:p>
            <a:pPr eaLnBrk="1" hangingPunct="1">
              <a:spcBef>
                <a:spcPct val="20000"/>
              </a:spcBef>
              <a:defRPr/>
            </a:pPr>
            <a:endParaRPr lang="en-GB" sz="1100" b="1" dirty="0">
              <a:solidFill>
                <a:srgbClr val="002776"/>
              </a:solidFill>
              <a:cs typeface="Arial" pitchFamily="34" charset="0"/>
            </a:endParaRPr>
          </a:p>
        </p:txBody>
      </p:sp>
    </p:spTree>
    <p:extLst>
      <p:ext uri="{BB962C8B-B14F-4D97-AF65-F5344CB8AC3E}">
        <p14:creationId xmlns:p14="http://schemas.microsoft.com/office/powerpoint/2010/main" val="315975168"/>
      </p:ext>
    </p:extLst>
  </p:cSld>
  <p:clrMapOvr>
    <a:masterClrMapping/>
  </p:clrMapOvr>
  <p:transition>
    <p:fade/>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5"/>
          <p:cNvSpPr txBox="1">
            <a:spLocks/>
          </p:cNvSpPr>
          <p:nvPr/>
        </p:nvSpPr>
        <p:spPr>
          <a:xfrm>
            <a:off x="7065168" y="1976995"/>
            <a:ext cx="2155032" cy="4176714"/>
          </a:xfrm>
          <a:custGeom>
            <a:avLst/>
            <a:gdLst>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692776 w 2262188"/>
              <a:gd name="connsiteY7" fmla="*/ 2097881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2 w 2262188"/>
              <a:gd name="connsiteY7" fmla="*/ 2095499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85619 w 2262188"/>
              <a:gd name="connsiteY7" fmla="*/ 2114636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1 w 2262188"/>
              <a:gd name="connsiteY7" fmla="*/ 2105068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83237 w 2262188"/>
              <a:gd name="connsiteY7" fmla="*/ 2105068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1 w 2262188"/>
              <a:gd name="connsiteY7" fmla="*/ 2105068 h 4195762"/>
              <a:gd name="connsiteX8" fmla="*/ 0 w 2262188"/>
              <a:gd name="connsiteY8" fmla="*/ 635154 h 4195762"/>
              <a:gd name="connsiteX0" fmla="*/ 0 w 2155032"/>
              <a:gd name="connsiteY0" fmla="*/ 635154 h 4195762"/>
              <a:gd name="connsiteX1" fmla="*/ 1268590 w 2155032"/>
              <a:gd name="connsiteY1" fmla="*/ 635154 h 4195762"/>
              <a:gd name="connsiteX2" fmla="*/ 1268590 w 2155032"/>
              <a:gd name="connsiteY2" fmla="*/ 0 h 4195762"/>
              <a:gd name="connsiteX3" fmla="*/ 2155032 w 2155032"/>
              <a:gd name="connsiteY3" fmla="*/ 2105058 h 4195762"/>
              <a:gd name="connsiteX4" fmla="*/ 1268590 w 2155032"/>
              <a:gd name="connsiteY4" fmla="*/ 4195762 h 4195762"/>
              <a:gd name="connsiteX5" fmla="*/ 1268590 w 2155032"/>
              <a:gd name="connsiteY5" fmla="*/ 3560608 h 4195762"/>
              <a:gd name="connsiteX6" fmla="*/ 0 w 2155032"/>
              <a:gd name="connsiteY6" fmla="*/ 3560608 h 4195762"/>
              <a:gd name="connsiteX7" fmla="*/ 571331 w 2155032"/>
              <a:gd name="connsiteY7" fmla="*/ 2105068 h 4195762"/>
              <a:gd name="connsiteX8" fmla="*/ 0 w 2155032"/>
              <a:gd name="connsiteY8" fmla="*/ 635154 h 419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5032" h="4195762">
                <a:moveTo>
                  <a:pt x="0" y="635154"/>
                </a:moveTo>
                <a:lnTo>
                  <a:pt x="1268590" y="635154"/>
                </a:lnTo>
                <a:lnTo>
                  <a:pt x="1268590" y="0"/>
                </a:lnTo>
                <a:lnTo>
                  <a:pt x="2155032" y="2105058"/>
                </a:lnTo>
                <a:lnTo>
                  <a:pt x="1268590" y="4195762"/>
                </a:lnTo>
                <a:lnTo>
                  <a:pt x="1268590" y="3560608"/>
                </a:lnTo>
                <a:lnTo>
                  <a:pt x="0" y="3560608"/>
                </a:lnTo>
                <a:lnTo>
                  <a:pt x="571331" y="2105068"/>
                </a:lnTo>
                <a:lnTo>
                  <a:pt x="0" y="635154"/>
                </a:lnTo>
                <a:close/>
              </a:path>
            </a:pathLst>
          </a:custGeom>
          <a:noFill/>
          <a:ln w="19050">
            <a:solidFill>
              <a:schemeClr val="accent1"/>
            </a:solidFill>
          </a:ln>
        </p:spPr>
        <p:txBody>
          <a:bodyPr wrap="square" lIns="548640" tIns="91440" rIns="91440" bIns="9144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defTabSz="914400">
              <a:spcBef>
                <a:spcPts val="600"/>
              </a:spcBef>
              <a:buSzPct val="100000"/>
              <a:buFont typeface="Arial"/>
              <a:buChar char="•"/>
            </a:pPr>
            <a:r>
              <a:rPr lang="en-US" sz="1100" dirty="0">
                <a:solidFill>
                  <a:schemeClr val="tx1"/>
                </a:solidFill>
              </a:rPr>
              <a:t>Level 1 bullet</a:t>
            </a:r>
          </a:p>
          <a:p>
            <a:pPr marL="254000" lvl="2" indent="-114300" defTabSz="914400">
              <a:spcBef>
                <a:spcPts val="600"/>
              </a:spcBef>
              <a:buSzPct val="100000"/>
              <a:buFont typeface="Arial"/>
              <a:buChar char="−"/>
            </a:pPr>
            <a:r>
              <a:rPr lang="en-US" sz="1100" dirty="0">
                <a:solidFill>
                  <a:schemeClr val="tx1"/>
                </a:solidFill>
              </a:rPr>
              <a:t>Level 2 bullet</a:t>
            </a:r>
          </a:p>
          <a:p>
            <a:pPr marL="393700" lvl="3" indent="-114300" defTabSz="914400">
              <a:spcBef>
                <a:spcPts val="600"/>
              </a:spcBef>
              <a:buSzPct val="100000"/>
              <a:buFont typeface="Arial"/>
              <a:buChar char="◦"/>
            </a:pPr>
            <a:r>
              <a:rPr lang="en-US" sz="1000" dirty="0">
                <a:solidFill>
                  <a:schemeClr val="tx1"/>
                </a:solidFill>
              </a:rPr>
              <a:t>Level 3 bullet</a:t>
            </a:r>
          </a:p>
        </p:txBody>
      </p:sp>
      <p:sp>
        <p:nvSpPr>
          <p:cNvPr id="9" name="Text Placeholder 5"/>
          <p:cNvSpPr txBox="1">
            <a:spLocks/>
          </p:cNvSpPr>
          <p:nvPr/>
        </p:nvSpPr>
        <p:spPr>
          <a:xfrm>
            <a:off x="3000376" y="2613582"/>
            <a:ext cx="2271713" cy="2894014"/>
          </a:xfrm>
          <a:prstGeom prst="homePlate">
            <a:avLst>
              <a:gd name="adj" fmla="val 26427"/>
            </a:avLst>
          </a:prstGeom>
          <a:noFill/>
          <a:ln w="19050">
            <a:solidFill>
              <a:schemeClr val="accent1"/>
            </a:solidFill>
          </a:ln>
        </p:spPr>
        <p:txBody>
          <a:bodyPr wrap="square" lIns="91440" tIns="91440" rIns="91440" bIns="9144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defTabSz="914400">
              <a:spcBef>
                <a:spcPts val="600"/>
              </a:spcBef>
              <a:buSzPct val="100000"/>
              <a:buFont typeface="Arial"/>
              <a:buChar char="•"/>
            </a:pPr>
            <a:r>
              <a:rPr lang="en-US" sz="1100" dirty="0">
                <a:solidFill>
                  <a:schemeClr val="tx1"/>
                </a:solidFill>
                <a:ea typeface="+mn-ea"/>
                <a:cs typeface="+mn-cs"/>
              </a:rPr>
              <a:t>Level 1 bullet</a:t>
            </a:r>
          </a:p>
          <a:p>
            <a:pPr marL="254000" lvl="2" indent="-114300" defTabSz="914400">
              <a:spcBef>
                <a:spcPts val="600"/>
              </a:spcBef>
              <a:buSzPct val="100000"/>
              <a:buFont typeface="Arial"/>
              <a:buChar char="−"/>
            </a:pPr>
            <a:r>
              <a:rPr lang="en-US" sz="1100" dirty="0">
                <a:solidFill>
                  <a:schemeClr val="tx1"/>
                </a:solidFill>
                <a:ea typeface="+mn-ea"/>
                <a:cs typeface="+mn-cs"/>
              </a:rPr>
              <a:t>Level 2 bullet</a:t>
            </a:r>
          </a:p>
          <a:p>
            <a:pPr marL="393700" lvl="3" indent="-114300" defTabSz="914400">
              <a:spcBef>
                <a:spcPts val="600"/>
              </a:spcBef>
              <a:buSzPct val="100000"/>
              <a:buFont typeface="Arial"/>
              <a:buChar char="◦"/>
            </a:pPr>
            <a:r>
              <a:rPr lang="en-US" sz="1000" dirty="0">
                <a:solidFill>
                  <a:schemeClr val="tx1"/>
                </a:solidFill>
                <a:ea typeface="+mn-ea"/>
                <a:cs typeface="+mn-cs"/>
              </a:rPr>
              <a:t>Level 3 bullet</a:t>
            </a:r>
          </a:p>
        </p:txBody>
      </p:sp>
      <p:sp>
        <p:nvSpPr>
          <p:cNvPr id="7" name="Text Placeholder 6"/>
          <p:cNvSpPr>
            <a:spLocks noGrp="1"/>
          </p:cNvSpPr>
          <p:nvPr>
            <p:ph type="body" sz="quarter" idx="13"/>
          </p:nvPr>
        </p:nvSpPr>
        <p:spPr/>
        <p:txBody>
          <a:bodyPr/>
          <a:lstStyle/>
          <a:p>
            <a:r>
              <a:rPr lang="en-US"/>
              <a:t>Subtitle runs here</a:t>
            </a:r>
            <a:endParaRPr lang="en-US" dirty="0"/>
          </a:p>
        </p:txBody>
      </p:sp>
      <p:sp>
        <p:nvSpPr>
          <p:cNvPr id="809985" name="Title 1"/>
          <p:cNvSpPr>
            <a:spLocks noGrp="1"/>
          </p:cNvSpPr>
          <p:nvPr>
            <p:ph type="title"/>
          </p:nvPr>
        </p:nvSpPr>
        <p:spPr/>
        <p:txBody>
          <a:bodyPr/>
          <a:lstStyle/>
          <a:p>
            <a:r>
              <a:rPr lang="en-US"/>
              <a:t>Linear text</a:t>
            </a:r>
            <a:endParaRPr lang="en-US" dirty="0"/>
          </a:p>
        </p:txBody>
      </p:sp>
      <p:sp>
        <p:nvSpPr>
          <p:cNvPr id="5" name="Freeform 3"/>
          <p:cNvSpPr>
            <a:spLocks/>
          </p:cNvSpPr>
          <p:nvPr/>
        </p:nvSpPr>
        <p:spPr bwMode="blackWhite">
          <a:xfrm>
            <a:off x="4814889" y="2613582"/>
            <a:ext cx="2649537" cy="1403350"/>
          </a:xfrm>
          <a:custGeom>
            <a:avLst/>
            <a:gdLst>
              <a:gd name="T0" fmla="*/ 2147483647 w 1636"/>
              <a:gd name="T1" fmla="*/ 0 h 867"/>
              <a:gd name="T2" fmla="*/ 2147483647 w 1636"/>
              <a:gd name="T3" fmla="*/ 2147483647 h 867"/>
              <a:gd name="T4" fmla="*/ 2147483647 w 1636"/>
              <a:gd name="T5" fmla="*/ 2147483647 h 867"/>
              <a:gd name="T6" fmla="*/ 0 w 1636"/>
              <a:gd name="T7" fmla="*/ 0 h 867"/>
              <a:gd name="T8" fmla="*/ 2147483647 w 1636"/>
              <a:gd name="T9" fmla="*/ 0 h 867"/>
              <a:gd name="T10" fmla="*/ 0 60000 65536"/>
              <a:gd name="T11" fmla="*/ 0 60000 65536"/>
              <a:gd name="T12" fmla="*/ 0 60000 65536"/>
              <a:gd name="T13" fmla="*/ 0 60000 65536"/>
              <a:gd name="T14" fmla="*/ 0 60000 65536"/>
              <a:gd name="T15" fmla="*/ 0 w 1636"/>
              <a:gd name="T16" fmla="*/ 0 h 867"/>
              <a:gd name="T17" fmla="*/ 1636 w 1636"/>
              <a:gd name="T18" fmla="*/ 867 h 867"/>
            </a:gdLst>
            <a:ahLst/>
            <a:cxnLst>
              <a:cxn ang="T10">
                <a:pos x="T0" y="T1"/>
              </a:cxn>
              <a:cxn ang="T11">
                <a:pos x="T2" y="T3"/>
              </a:cxn>
              <a:cxn ang="T12">
                <a:pos x="T4" y="T5"/>
              </a:cxn>
              <a:cxn ang="T13">
                <a:pos x="T6" y="T7"/>
              </a:cxn>
              <a:cxn ang="T14">
                <a:pos x="T8" y="T9"/>
              </a:cxn>
            </a:cxnLst>
            <a:rect l="T15" t="T16" r="T17" b="T18"/>
            <a:pathLst>
              <a:path w="1636" h="867">
                <a:moveTo>
                  <a:pt x="1298" y="0"/>
                </a:moveTo>
                <a:lnTo>
                  <a:pt x="1635" y="866"/>
                </a:lnTo>
                <a:lnTo>
                  <a:pt x="368" y="866"/>
                </a:lnTo>
                <a:lnTo>
                  <a:pt x="0" y="0"/>
                </a:lnTo>
                <a:lnTo>
                  <a:pt x="1298" y="0"/>
                </a:lnTo>
              </a:path>
            </a:pathLst>
          </a:custGeom>
          <a:solidFill>
            <a:schemeClr val="accent1"/>
          </a:solidFill>
          <a:ln w="12700" cap="rnd">
            <a:noFill/>
            <a:round/>
            <a:headEnd/>
            <a:tailEnd/>
          </a:ln>
        </p:spPr>
        <p:txBody>
          <a:bodyPr lIns="365760" tIns="91440" rIns="91440" bIns="91440" anchor="ctr"/>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18" name="Text Placeholder 5"/>
          <p:cNvSpPr txBox="1">
            <a:spLocks/>
          </p:cNvSpPr>
          <p:nvPr/>
        </p:nvSpPr>
        <p:spPr>
          <a:xfrm>
            <a:off x="4814887" y="4104245"/>
            <a:ext cx="2649536" cy="1403351"/>
          </a:xfrm>
          <a:custGeom>
            <a:avLst/>
            <a:gdLst>
              <a:gd name="connsiteX0" fmla="*/ 0 w 2649536"/>
              <a:gd name="connsiteY0" fmla="*/ 0 h 1403350"/>
              <a:gd name="connsiteX1" fmla="*/ 2649536 w 2649536"/>
              <a:gd name="connsiteY1" fmla="*/ 0 h 1403350"/>
              <a:gd name="connsiteX2" fmla="*/ 2649536 w 2649536"/>
              <a:gd name="connsiteY2" fmla="*/ 1403350 h 1403350"/>
              <a:gd name="connsiteX3" fmla="*/ 0 w 2649536"/>
              <a:gd name="connsiteY3" fmla="*/ 1403350 h 1403350"/>
              <a:gd name="connsiteX4" fmla="*/ 0 w 2649536"/>
              <a:gd name="connsiteY4" fmla="*/ 0 h 1403350"/>
              <a:gd name="connsiteX0" fmla="*/ 0 w 2649536"/>
              <a:gd name="connsiteY0" fmla="*/ 0 h 1403350"/>
              <a:gd name="connsiteX1" fmla="*/ 2649536 w 2649536"/>
              <a:gd name="connsiteY1" fmla="*/ 0 h 1403350"/>
              <a:gd name="connsiteX2" fmla="*/ 2294730 w 2649536"/>
              <a:gd name="connsiteY2" fmla="*/ 1400969 h 1403350"/>
              <a:gd name="connsiteX3" fmla="*/ 0 w 2649536"/>
              <a:gd name="connsiteY3" fmla="*/ 1403350 h 1403350"/>
              <a:gd name="connsiteX4" fmla="*/ 0 w 2649536"/>
              <a:gd name="connsiteY4" fmla="*/ 0 h 1403350"/>
              <a:gd name="connsiteX0" fmla="*/ 0 w 2649536"/>
              <a:gd name="connsiteY0" fmla="*/ 0 h 1403350"/>
              <a:gd name="connsiteX1" fmla="*/ 2649536 w 2649536"/>
              <a:gd name="connsiteY1" fmla="*/ 0 h 1403350"/>
              <a:gd name="connsiteX2" fmla="*/ 2032793 w 2649536"/>
              <a:gd name="connsiteY2" fmla="*/ 1389063 h 1403350"/>
              <a:gd name="connsiteX3" fmla="*/ 0 w 2649536"/>
              <a:gd name="connsiteY3" fmla="*/ 1403350 h 1403350"/>
              <a:gd name="connsiteX4" fmla="*/ 0 w 2649536"/>
              <a:gd name="connsiteY4" fmla="*/ 0 h 1403350"/>
              <a:gd name="connsiteX0" fmla="*/ 0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0 w 2649536"/>
              <a:gd name="connsiteY4" fmla="*/ 0 h 1403351"/>
              <a:gd name="connsiteX0" fmla="*/ 771525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771525 w 2649536"/>
              <a:gd name="connsiteY4" fmla="*/ 0 h 1403351"/>
              <a:gd name="connsiteX0" fmla="*/ 595313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5313 w 2649536"/>
              <a:gd name="connsiteY4" fmla="*/ 2381 h 1403351"/>
              <a:gd name="connsiteX0" fmla="*/ 595313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5313 w 2649536"/>
              <a:gd name="connsiteY4" fmla="*/ 2381 h 1403351"/>
              <a:gd name="connsiteX0" fmla="*/ 602457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602457 w 2649536"/>
              <a:gd name="connsiteY4" fmla="*/ 2381 h 1403351"/>
              <a:gd name="connsiteX0" fmla="*/ 597694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7694 w 2649536"/>
              <a:gd name="connsiteY4" fmla="*/ 2381 h 1403351"/>
              <a:gd name="connsiteX0" fmla="*/ 600075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600075 w 2649536"/>
              <a:gd name="connsiteY4" fmla="*/ 0 h 1403351"/>
              <a:gd name="connsiteX0" fmla="*/ 597693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597693 w 2649536"/>
              <a:gd name="connsiteY4" fmla="*/ 0 h 1403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536" h="1403351">
                <a:moveTo>
                  <a:pt x="597693" y="0"/>
                </a:moveTo>
                <a:lnTo>
                  <a:pt x="2649536" y="0"/>
                </a:lnTo>
                <a:lnTo>
                  <a:pt x="2101849" y="1403351"/>
                </a:lnTo>
                <a:lnTo>
                  <a:pt x="0" y="1403350"/>
                </a:lnTo>
                <a:lnTo>
                  <a:pt x="597693" y="0"/>
                </a:lnTo>
                <a:close/>
              </a:path>
            </a:pathLst>
          </a:custGeom>
          <a:solidFill>
            <a:schemeClr val="accent1"/>
          </a:solidFill>
          <a:ln w="12700">
            <a:noFill/>
          </a:ln>
        </p:spPr>
        <p:txBody>
          <a:bodyPr wrap="square" lIns="548640" tIns="91440" rIns="91440" bIns="91440" anchor="ctr"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13" name="TextBox 12"/>
          <p:cNvSpPr txBox="1"/>
          <p:nvPr/>
        </p:nvSpPr>
        <p:spPr bwMode="gray">
          <a:xfrm>
            <a:off x="192000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903430374"/>
      </p:ext>
    </p:extLst>
  </p:cSld>
  <p:clrMapOvr>
    <a:masterClrMapping/>
  </p:clrMapOvr>
  <p:transition>
    <p:fade/>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dirty="0"/>
              <a:t>Subtitle runs here</a:t>
            </a:r>
          </a:p>
        </p:txBody>
      </p:sp>
      <p:sp>
        <p:nvSpPr>
          <p:cNvPr id="811009" name="Title 1"/>
          <p:cNvSpPr>
            <a:spLocks noGrp="1"/>
          </p:cNvSpPr>
          <p:nvPr>
            <p:ph type="title"/>
          </p:nvPr>
        </p:nvSpPr>
        <p:spPr/>
        <p:txBody>
          <a:bodyPr/>
          <a:lstStyle/>
          <a:p>
            <a:r>
              <a:rPr lang="en-US" dirty="0"/>
              <a:t>Expansion</a:t>
            </a:r>
          </a:p>
        </p:txBody>
      </p:sp>
      <p:grpSp>
        <p:nvGrpSpPr>
          <p:cNvPr id="2" name="Group 1">
            <a:extLst>
              <a:ext uri="{FF2B5EF4-FFF2-40B4-BE49-F238E27FC236}">
                <a16:creationId xmlns:a16="http://schemas.microsoft.com/office/drawing/2014/main" id="{99CA625B-BF4D-4053-B5B7-7E150ACB690B}"/>
              </a:ext>
            </a:extLst>
          </p:cNvPr>
          <p:cNvGrpSpPr/>
          <p:nvPr/>
        </p:nvGrpSpPr>
        <p:grpSpPr>
          <a:xfrm>
            <a:off x="1634372" y="909145"/>
            <a:ext cx="9164556" cy="5248689"/>
            <a:chOff x="2493044" y="1970510"/>
            <a:chExt cx="7165307" cy="4103687"/>
          </a:xfrm>
        </p:grpSpPr>
        <p:sp>
          <p:nvSpPr>
            <p:cNvPr id="4" name="Freeform 2"/>
            <p:cNvSpPr>
              <a:spLocks/>
            </p:cNvSpPr>
            <p:nvPr/>
          </p:nvSpPr>
          <p:spPr bwMode="blackWhite">
            <a:xfrm>
              <a:off x="6677026" y="1970510"/>
              <a:ext cx="2981325" cy="4103687"/>
            </a:xfrm>
            <a:custGeom>
              <a:avLst/>
              <a:gdLst>
                <a:gd name="T0" fmla="*/ 0 w 1448"/>
                <a:gd name="T1" fmla="*/ 3315273 h 1879"/>
                <a:gd name="T2" fmla="*/ 0 w 1448"/>
                <a:gd name="T3" fmla="*/ 1430503 h 1879"/>
                <a:gd name="T4" fmla="*/ 2423961 w 1448"/>
                <a:gd name="T5" fmla="*/ 856118 h 1879"/>
                <a:gd name="T6" fmla="*/ 2423961 w 1448"/>
                <a:gd name="T7" fmla="*/ 0 h 1879"/>
                <a:gd name="T8" fmla="*/ 3226745 w 1448"/>
                <a:gd name="T9" fmla="*/ 1954657 h 1879"/>
                <a:gd name="T10" fmla="*/ 2423961 w 1448"/>
                <a:gd name="T11" fmla="*/ 4101503 h 1879"/>
                <a:gd name="T12" fmla="*/ 2423961 w 1448"/>
                <a:gd name="T13" fmla="*/ 3315273 h 1879"/>
                <a:gd name="T14" fmla="*/ 0 w 1448"/>
                <a:gd name="T15" fmla="*/ 3315273 h 1879"/>
                <a:gd name="T16" fmla="*/ 0 60000 65536"/>
                <a:gd name="T17" fmla="*/ 0 60000 65536"/>
                <a:gd name="T18" fmla="*/ 0 60000 65536"/>
                <a:gd name="T19" fmla="*/ 0 60000 65536"/>
                <a:gd name="T20" fmla="*/ 0 60000 65536"/>
                <a:gd name="T21" fmla="*/ 0 60000 65536"/>
                <a:gd name="T22" fmla="*/ 0 60000 65536"/>
                <a:gd name="T23" fmla="*/ 0 60000 65536"/>
                <a:gd name="T24" fmla="*/ 0 w 1448"/>
                <a:gd name="T25" fmla="*/ 0 h 1879"/>
                <a:gd name="T26" fmla="*/ 1448 w 1448"/>
                <a:gd name="T27" fmla="*/ 1879 h 18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48" h="1879">
                  <a:moveTo>
                    <a:pt x="0" y="1518"/>
                  </a:moveTo>
                  <a:lnTo>
                    <a:pt x="0" y="655"/>
                  </a:lnTo>
                  <a:lnTo>
                    <a:pt x="1087" y="392"/>
                  </a:lnTo>
                  <a:lnTo>
                    <a:pt x="1087" y="0"/>
                  </a:lnTo>
                  <a:lnTo>
                    <a:pt x="1447" y="895"/>
                  </a:lnTo>
                  <a:lnTo>
                    <a:pt x="1087" y="1878"/>
                  </a:lnTo>
                  <a:lnTo>
                    <a:pt x="1087" y="1518"/>
                  </a:lnTo>
                  <a:lnTo>
                    <a:pt x="0" y="1518"/>
                  </a:lnTo>
                </a:path>
              </a:pathLst>
            </a:custGeom>
            <a:solidFill>
              <a:schemeClr val="accent1"/>
            </a:solidFill>
            <a:ln w="12700" cap="rnd">
              <a:noFill/>
              <a:round/>
              <a:headEnd/>
              <a:tailEnd/>
            </a:ln>
          </p:spPr>
          <p:txBody>
            <a:bodyPr lIns="914400" tIns="91440" rIns="91440" bIns="1371600" anchor="b"/>
            <a:lstStyle/>
            <a:p>
              <a:pPr marL="114300" lvl="1" indent="-114300">
                <a:spcBef>
                  <a:spcPts val="600"/>
                </a:spcBef>
                <a:buSzPct val="100000"/>
                <a:buFont typeface="Arial"/>
                <a:buChar char="•"/>
              </a:pPr>
              <a:r>
                <a:rPr lang="en-US" sz="1100" dirty="0">
                  <a:solidFill>
                    <a:schemeClr val="bg1"/>
                  </a:solidFill>
                </a:rPr>
                <a:t>Level 1 bullet</a:t>
              </a:r>
            </a:p>
            <a:p>
              <a:pPr marL="254000" lvl="2" indent="-114300">
                <a:spcBef>
                  <a:spcPts val="600"/>
                </a:spcBef>
                <a:buSzPct val="100000"/>
                <a:buFont typeface="Arial"/>
                <a:buChar char="−"/>
              </a:pPr>
              <a:r>
                <a:rPr lang="en-US" sz="1100" dirty="0">
                  <a:solidFill>
                    <a:schemeClr val="bg1"/>
                  </a:solidFill>
                </a:rPr>
                <a:t>Level 2 bullet</a:t>
              </a:r>
            </a:p>
            <a:p>
              <a:pPr marL="393700" lvl="3" indent="-114300">
                <a:spcBef>
                  <a:spcPts val="600"/>
                </a:spcBef>
                <a:buSzPct val="100000"/>
                <a:buFont typeface="Arial"/>
                <a:buChar char="◦"/>
              </a:pPr>
              <a:r>
                <a:rPr lang="en-US" sz="1000" dirty="0">
                  <a:solidFill>
                    <a:schemeClr val="bg1"/>
                  </a:solidFill>
                </a:rPr>
                <a:t>Level 3 bullet</a:t>
              </a:r>
            </a:p>
            <a:p>
              <a:pPr marL="393700" lvl="3" indent="-114300">
                <a:spcBef>
                  <a:spcPts val="600"/>
                </a:spcBef>
                <a:buSzPct val="100000"/>
                <a:buFont typeface="Arial"/>
                <a:buChar char="◦"/>
              </a:pPr>
              <a:endParaRPr lang="en-US" sz="1000" dirty="0">
                <a:solidFill>
                  <a:schemeClr val="bg1"/>
                </a:solidFill>
              </a:endParaRPr>
            </a:p>
            <a:p>
              <a:pPr marL="393700" lvl="3" indent="-114300">
                <a:spcBef>
                  <a:spcPts val="600"/>
                </a:spcBef>
                <a:buSzPct val="100000"/>
                <a:buFont typeface="Arial"/>
                <a:buChar char="◦"/>
              </a:pPr>
              <a:endParaRPr lang="en-US" sz="1000" dirty="0">
                <a:solidFill>
                  <a:schemeClr val="bg1"/>
                </a:solidFill>
              </a:endParaRPr>
            </a:p>
            <a:p>
              <a:pPr marL="393700" lvl="3" indent="-114300">
                <a:spcBef>
                  <a:spcPts val="600"/>
                </a:spcBef>
                <a:buSzPct val="100000"/>
                <a:buFont typeface="Arial"/>
                <a:buChar char="◦"/>
              </a:pPr>
              <a:endParaRPr lang="en-US" sz="1000" dirty="0">
                <a:solidFill>
                  <a:schemeClr val="bg1"/>
                </a:solidFill>
              </a:endParaRPr>
            </a:p>
          </p:txBody>
        </p:sp>
        <p:sp>
          <p:nvSpPr>
            <p:cNvPr id="811012" name="Freeform 3"/>
            <p:cNvSpPr>
              <a:spLocks/>
            </p:cNvSpPr>
            <p:nvPr/>
          </p:nvSpPr>
          <p:spPr bwMode="blackWhite">
            <a:xfrm>
              <a:off x="4584701" y="2811104"/>
              <a:ext cx="2786063" cy="3109913"/>
            </a:xfrm>
            <a:custGeom>
              <a:avLst/>
              <a:gdLst>
                <a:gd name="T0" fmla="*/ 0 w 1353"/>
                <a:gd name="T1" fmla="*/ 2147483647 h 1423"/>
                <a:gd name="T2" fmla="*/ 73478142 w 1353"/>
                <a:gd name="T3" fmla="*/ 2147483647 h 1423"/>
                <a:gd name="T4" fmla="*/ 2147483647 w 1353"/>
                <a:gd name="T5" fmla="*/ 1256153639 h 1423"/>
                <a:gd name="T6" fmla="*/ 2147483647 w 1353"/>
                <a:gd name="T7" fmla="*/ 0 h 1423"/>
                <a:gd name="T8" fmla="*/ 2147483647 w 1353"/>
                <a:gd name="T9" fmla="*/ 2147483647 h 1423"/>
                <a:gd name="T10" fmla="*/ 2147483647 w 1353"/>
                <a:gd name="T11" fmla="*/ 2147483647 h 1423"/>
                <a:gd name="T12" fmla="*/ 2147483647 w 1353"/>
                <a:gd name="T13" fmla="*/ 2147483647 h 1423"/>
                <a:gd name="T14" fmla="*/ 0 w 1353"/>
                <a:gd name="T15" fmla="*/ 2147483647 h 1423"/>
                <a:gd name="T16" fmla="*/ 0 60000 65536"/>
                <a:gd name="T17" fmla="*/ 0 60000 65536"/>
                <a:gd name="T18" fmla="*/ 0 60000 65536"/>
                <a:gd name="T19" fmla="*/ 0 60000 65536"/>
                <a:gd name="T20" fmla="*/ 0 60000 65536"/>
                <a:gd name="T21" fmla="*/ 0 60000 65536"/>
                <a:gd name="T22" fmla="*/ 0 60000 65536"/>
                <a:gd name="T23" fmla="*/ 0 60000 65536"/>
                <a:gd name="T24" fmla="*/ 0 w 1353"/>
                <a:gd name="T25" fmla="*/ 0 h 1423"/>
                <a:gd name="T26" fmla="*/ 1353 w 1353"/>
                <a:gd name="T27" fmla="*/ 1423 h 14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3" h="1423">
                  <a:moveTo>
                    <a:pt x="0" y="1118"/>
                  </a:moveTo>
                  <a:lnTo>
                    <a:pt x="16" y="511"/>
                  </a:lnTo>
                  <a:lnTo>
                    <a:pt x="1016" y="263"/>
                  </a:lnTo>
                  <a:lnTo>
                    <a:pt x="1016" y="0"/>
                  </a:lnTo>
                  <a:lnTo>
                    <a:pt x="1352" y="679"/>
                  </a:lnTo>
                  <a:lnTo>
                    <a:pt x="1016" y="1422"/>
                  </a:lnTo>
                  <a:lnTo>
                    <a:pt x="1016" y="1118"/>
                  </a:lnTo>
                  <a:lnTo>
                    <a:pt x="0" y="1118"/>
                  </a:lnTo>
                </a:path>
              </a:pathLst>
            </a:custGeom>
            <a:solidFill>
              <a:schemeClr val="tx2">
                <a:lumMod val="50000"/>
              </a:schemeClr>
            </a:solidFill>
            <a:ln w="12700" cap="rnd">
              <a:noFill/>
              <a:round/>
              <a:headEnd/>
              <a:tailEnd/>
            </a:ln>
          </p:spPr>
          <p:txBody>
            <a:bodyPr lIns="914400" tIns="91440" rIns="91440" bIns="1097280" anchor="b" anchorCtr="0"/>
            <a:lstStyle/>
            <a:p>
              <a:pPr marL="114300" lvl="1" indent="-114300">
                <a:spcBef>
                  <a:spcPts val="600"/>
                </a:spcBef>
                <a:buSzPct val="100000"/>
                <a:buFont typeface="Arial"/>
                <a:buChar char="•"/>
              </a:pPr>
              <a:r>
                <a:rPr lang="en-US" sz="1100" dirty="0">
                  <a:solidFill>
                    <a:schemeClr val="bg1"/>
                  </a:solidFill>
                </a:rPr>
                <a:t>Level 1 bullet</a:t>
              </a:r>
            </a:p>
            <a:p>
              <a:pPr marL="254000" lvl="2" indent="-114300">
                <a:spcBef>
                  <a:spcPts val="600"/>
                </a:spcBef>
                <a:buSzPct val="100000"/>
                <a:buFont typeface="Arial"/>
                <a:buChar char="−"/>
              </a:pPr>
              <a:r>
                <a:rPr lang="en-US" sz="1100" dirty="0">
                  <a:solidFill>
                    <a:schemeClr val="bg1"/>
                  </a:solidFill>
                </a:rPr>
                <a:t>Level 2 bullet</a:t>
              </a:r>
            </a:p>
            <a:p>
              <a:pPr marL="393700" lvl="3" indent="-114300">
                <a:spcBef>
                  <a:spcPts val="600"/>
                </a:spcBef>
                <a:buSzPct val="100000"/>
                <a:buFont typeface="Arial"/>
                <a:buChar char="◦"/>
              </a:pPr>
              <a:r>
                <a:rPr lang="en-US" sz="1000" dirty="0">
                  <a:solidFill>
                    <a:schemeClr val="bg1"/>
                  </a:solidFill>
                </a:rPr>
                <a:t>Level 3 bullet</a:t>
              </a:r>
            </a:p>
            <a:p>
              <a:pPr marL="393700" lvl="3" indent="-114300">
                <a:spcBef>
                  <a:spcPts val="600"/>
                </a:spcBef>
                <a:buSzPct val="100000"/>
                <a:buFont typeface="Arial"/>
                <a:buChar char="◦"/>
              </a:pPr>
              <a:endParaRPr lang="en-US" sz="1000" dirty="0">
                <a:solidFill>
                  <a:schemeClr val="bg1"/>
                </a:solidFill>
              </a:endParaRPr>
            </a:p>
            <a:p>
              <a:pPr marL="279400" lvl="3">
                <a:spcBef>
                  <a:spcPts val="600"/>
                </a:spcBef>
                <a:buSzPct val="100000"/>
              </a:pPr>
              <a:endParaRPr lang="en-US" sz="1000" dirty="0">
                <a:solidFill>
                  <a:schemeClr val="bg1"/>
                </a:solidFill>
              </a:endParaRPr>
            </a:p>
          </p:txBody>
        </p:sp>
        <p:sp>
          <p:nvSpPr>
            <p:cNvPr id="811013" name="Freeform 4"/>
            <p:cNvSpPr>
              <a:spLocks/>
            </p:cNvSpPr>
            <p:nvPr/>
          </p:nvSpPr>
          <p:spPr bwMode="blackWhite">
            <a:xfrm>
              <a:off x="2493044" y="3525478"/>
              <a:ext cx="2785032" cy="2182216"/>
            </a:xfrm>
            <a:custGeom>
              <a:avLst/>
              <a:gdLst>
                <a:gd name="T0" fmla="*/ 0 w 1352"/>
                <a:gd name="T1" fmla="*/ 2147483647 h 1000"/>
                <a:gd name="T2" fmla="*/ 0 w 1352"/>
                <a:gd name="T3" fmla="*/ 2147483647 h 1000"/>
                <a:gd name="T4" fmla="*/ 2147483647 w 1352"/>
                <a:gd name="T5" fmla="*/ 2147483647 h 1000"/>
                <a:gd name="T6" fmla="*/ 2147483647 w 1352"/>
                <a:gd name="T7" fmla="*/ 0 h 1000"/>
                <a:gd name="T8" fmla="*/ 2147483647 w 1352"/>
                <a:gd name="T9" fmla="*/ 2147483647 h 1000"/>
                <a:gd name="T10" fmla="*/ 2147483647 w 1352"/>
                <a:gd name="T11" fmla="*/ 2147483647 h 1000"/>
                <a:gd name="T12" fmla="*/ 2147483647 w 1352"/>
                <a:gd name="T13" fmla="*/ 2147483647 h 1000"/>
                <a:gd name="T14" fmla="*/ 0 w 1352"/>
                <a:gd name="T15" fmla="*/ 2147483647 h 1000"/>
                <a:gd name="T16" fmla="*/ 0 60000 65536"/>
                <a:gd name="T17" fmla="*/ 0 60000 65536"/>
                <a:gd name="T18" fmla="*/ 0 60000 65536"/>
                <a:gd name="T19" fmla="*/ 0 60000 65536"/>
                <a:gd name="T20" fmla="*/ 0 60000 65536"/>
                <a:gd name="T21" fmla="*/ 0 60000 65536"/>
                <a:gd name="T22" fmla="*/ 0 60000 65536"/>
                <a:gd name="T23" fmla="*/ 0 60000 65536"/>
                <a:gd name="T24" fmla="*/ 0 w 1352"/>
                <a:gd name="T25" fmla="*/ 0 h 1000"/>
                <a:gd name="T26" fmla="*/ 1352 w 1352"/>
                <a:gd name="T27" fmla="*/ 1000 h 1000"/>
                <a:gd name="connsiteX0" fmla="*/ 9 w 10002"/>
                <a:gd name="connsiteY0" fmla="*/ 7910 h 9990"/>
                <a:gd name="connsiteX1" fmla="*/ 0 w 10002"/>
                <a:gd name="connsiteY1" fmla="*/ 4400 h 9990"/>
                <a:gd name="connsiteX2" fmla="*/ 7576 w 10002"/>
                <a:gd name="connsiteY2" fmla="*/ 1840 h 9990"/>
                <a:gd name="connsiteX3" fmla="*/ 7576 w 10002"/>
                <a:gd name="connsiteY3" fmla="*/ 0 h 9990"/>
                <a:gd name="connsiteX4" fmla="*/ 10002 w 10002"/>
                <a:gd name="connsiteY4" fmla="*/ 4800 h 9990"/>
                <a:gd name="connsiteX5" fmla="*/ 7576 w 10002"/>
                <a:gd name="connsiteY5" fmla="*/ 9990 h 9990"/>
                <a:gd name="connsiteX6" fmla="*/ 7576 w 10002"/>
                <a:gd name="connsiteY6" fmla="*/ 7910 h 9990"/>
                <a:gd name="connsiteX7" fmla="*/ 9 w 10002"/>
                <a:gd name="connsiteY7" fmla="*/ 7910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2" h="9990">
                  <a:moveTo>
                    <a:pt x="9" y="7910"/>
                  </a:moveTo>
                  <a:lnTo>
                    <a:pt x="0" y="4400"/>
                  </a:lnTo>
                  <a:lnTo>
                    <a:pt x="7576" y="1840"/>
                  </a:lnTo>
                  <a:lnTo>
                    <a:pt x="7576" y="0"/>
                  </a:lnTo>
                  <a:lnTo>
                    <a:pt x="10002" y="4800"/>
                  </a:lnTo>
                  <a:lnTo>
                    <a:pt x="7576" y="9990"/>
                  </a:lnTo>
                  <a:lnTo>
                    <a:pt x="7576" y="7910"/>
                  </a:lnTo>
                  <a:lnTo>
                    <a:pt x="9" y="7910"/>
                  </a:lnTo>
                </a:path>
              </a:pathLst>
            </a:custGeom>
            <a:solidFill>
              <a:schemeClr val="bg2">
                <a:lumMod val="40000"/>
                <a:lumOff val="60000"/>
              </a:schemeClr>
            </a:solidFill>
            <a:ln w="12700" cap="rnd">
              <a:noFill/>
              <a:round/>
              <a:headEnd/>
              <a:tailEnd/>
            </a:ln>
          </p:spPr>
          <p:txBody>
            <a:bodyPr lIns="914400" tIns="91440" rIns="91440" bIns="731520" anchor="b" anchorCtr="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a:p>
              <a:pPr marL="393700" lvl="3" indent="-114300">
                <a:spcBef>
                  <a:spcPts val="600"/>
                </a:spcBef>
                <a:buSzPct val="100000"/>
                <a:buFont typeface="Arial"/>
                <a:buChar char="◦"/>
              </a:pPr>
              <a:endParaRPr lang="en-US" sz="1000" dirty="0"/>
            </a:p>
          </p:txBody>
        </p:sp>
      </p:grpSp>
      <p:sp>
        <p:nvSpPr>
          <p:cNvPr id="8" name="TextBox 7">
            <a:extLst>
              <a:ext uri="{FF2B5EF4-FFF2-40B4-BE49-F238E27FC236}">
                <a16:creationId xmlns:a16="http://schemas.microsoft.com/office/drawing/2014/main" id="{20EFCCDD-483D-4CEB-B109-D09ADFAA620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801367288"/>
      </p:ext>
    </p:extLst>
  </p:cSld>
  <p:clrMapOvr>
    <a:masterClrMapping/>
  </p:clrMapOvr>
  <p:transition>
    <p:fade/>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Subtitle runs here</a:t>
            </a:r>
            <a:endParaRPr lang="en-US" dirty="0"/>
          </a:p>
        </p:txBody>
      </p:sp>
      <p:sp>
        <p:nvSpPr>
          <p:cNvPr id="811009" name="Title 1"/>
          <p:cNvSpPr>
            <a:spLocks noGrp="1"/>
          </p:cNvSpPr>
          <p:nvPr>
            <p:ph type="title"/>
          </p:nvPr>
        </p:nvSpPr>
        <p:spPr/>
        <p:txBody>
          <a:bodyPr/>
          <a:lstStyle/>
          <a:p>
            <a:r>
              <a:rPr lang="en-US"/>
              <a:t>Diversion</a:t>
            </a:r>
            <a:endParaRPr lang="en-US" dirty="0"/>
          </a:p>
        </p:txBody>
      </p:sp>
      <p:sp>
        <p:nvSpPr>
          <p:cNvPr id="9" name="Freeform 2"/>
          <p:cNvSpPr>
            <a:spLocks/>
          </p:cNvSpPr>
          <p:nvPr/>
        </p:nvSpPr>
        <p:spPr bwMode="blackWhite">
          <a:xfrm>
            <a:off x="932301" y="2025958"/>
            <a:ext cx="10758049" cy="4027723"/>
          </a:xfrm>
          <a:custGeom>
            <a:avLst/>
            <a:gdLst>
              <a:gd name="T0" fmla="*/ 0 w 3447"/>
              <a:gd name="T1" fmla="*/ 2147483647 h 1499"/>
              <a:gd name="T2" fmla="*/ 0 w 3447"/>
              <a:gd name="T3" fmla="*/ 2147483647 h 1499"/>
              <a:gd name="T4" fmla="*/ 2147483647 w 3447"/>
              <a:gd name="T5" fmla="*/ 2147483647 h 1499"/>
              <a:gd name="T6" fmla="*/ 2147483647 w 3447"/>
              <a:gd name="T7" fmla="*/ 2147483647 h 1499"/>
              <a:gd name="T8" fmla="*/ 2147483647 w 3447"/>
              <a:gd name="T9" fmla="*/ 2147483647 h 1499"/>
              <a:gd name="T10" fmla="*/ 2147483647 w 3447"/>
              <a:gd name="T11" fmla="*/ 2147483647 h 1499"/>
              <a:gd name="T12" fmla="*/ 2147483647 w 3447"/>
              <a:gd name="T13" fmla="*/ 2147483647 h 1499"/>
              <a:gd name="T14" fmla="*/ 2147483647 w 3447"/>
              <a:gd name="T15" fmla="*/ 2147483647 h 1499"/>
              <a:gd name="T16" fmla="*/ 2147483647 w 3447"/>
              <a:gd name="T17" fmla="*/ 2147483647 h 1499"/>
              <a:gd name="T18" fmla="*/ 2147483647 w 3447"/>
              <a:gd name="T19" fmla="*/ 2147483647 h 1499"/>
              <a:gd name="T20" fmla="*/ 2147483647 w 3447"/>
              <a:gd name="T21" fmla="*/ 2147483647 h 1499"/>
              <a:gd name="T22" fmla="*/ 2147483647 w 3447"/>
              <a:gd name="T23" fmla="*/ 2147483647 h 1499"/>
              <a:gd name="T24" fmla="*/ 2147483647 w 3447"/>
              <a:gd name="T25" fmla="*/ 2147483647 h 1499"/>
              <a:gd name="T26" fmla="*/ 2147483647 w 3447"/>
              <a:gd name="T27" fmla="*/ 2147483647 h 1499"/>
              <a:gd name="T28" fmla="*/ 2147483647 w 3447"/>
              <a:gd name="T29" fmla="*/ 2147483647 h 1499"/>
              <a:gd name="T30" fmla="*/ 2147483647 w 3447"/>
              <a:gd name="T31" fmla="*/ 2147483647 h 1499"/>
              <a:gd name="T32" fmla="*/ 2147483647 w 3447"/>
              <a:gd name="T33" fmla="*/ 2147483647 h 1499"/>
              <a:gd name="T34" fmla="*/ 2147483647 w 3447"/>
              <a:gd name="T35" fmla="*/ 2147483647 h 1499"/>
              <a:gd name="T36" fmla="*/ 2147483647 w 3447"/>
              <a:gd name="T37" fmla="*/ 2147483647 h 1499"/>
              <a:gd name="T38" fmla="*/ 2147483647 w 3447"/>
              <a:gd name="T39" fmla="*/ 2147483647 h 1499"/>
              <a:gd name="T40" fmla="*/ 2147483647 w 3447"/>
              <a:gd name="T41" fmla="*/ 2147483647 h 1499"/>
              <a:gd name="T42" fmla="*/ 2147483647 w 3447"/>
              <a:gd name="T43" fmla="*/ 2147483647 h 1499"/>
              <a:gd name="T44" fmla="*/ 2147483647 w 3447"/>
              <a:gd name="T45" fmla="*/ 2147483647 h 1499"/>
              <a:gd name="T46" fmla="*/ 2147483647 w 3447"/>
              <a:gd name="T47" fmla="*/ 2147483647 h 1499"/>
              <a:gd name="T48" fmla="*/ 2147483647 w 3447"/>
              <a:gd name="T49" fmla="*/ 2147483647 h 1499"/>
              <a:gd name="T50" fmla="*/ 2147483647 w 3447"/>
              <a:gd name="T51" fmla="*/ 2147483647 h 1499"/>
              <a:gd name="T52" fmla="*/ 2147483647 w 3447"/>
              <a:gd name="T53" fmla="*/ 2147483647 h 1499"/>
              <a:gd name="T54" fmla="*/ 2147483647 w 3447"/>
              <a:gd name="T55" fmla="*/ 2147483647 h 1499"/>
              <a:gd name="T56" fmla="*/ 2147483647 w 3447"/>
              <a:gd name="T57" fmla="*/ 2147483647 h 1499"/>
              <a:gd name="T58" fmla="*/ 2147483647 w 3447"/>
              <a:gd name="T59" fmla="*/ 2147483647 h 1499"/>
              <a:gd name="T60" fmla="*/ 2147483647 w 3447"/>
              <a:gd name="T61" fmla="*/ 2147483647 h 1499"/>
              <a:gd name="T62" fmla="*/ 2147483647 w 3447"/>
              <a:gd name="T63" fmla="*/ 2147483647 h 1499"/>
              <a:gd name="T64" fmla="*/ 2147483647 w 3447"/>
              <a:gd name="T65" fmla="*/ 2147483647 h 1499"/>
              <a:gd name="T66" fmla="*/ 2147483647 w 3447"/>
              <a:gd name="T67" fmla="*/ 2147483647 h 1499"/>
              <a:gd name="T68" fmla="*/ 2147483647 w 3447"/>
              <a:gd name="T69" fmla="*/ 2147483647 h 1499"/>
              <a:gd name="T70" fmla="*/ 2147483647 w 3447"/>
              <a:gd name="T71" fmla="*/ 2147483647 h 1499"/>
              <a:gd name="T72" fmla="*/ 2147483647 w 3447"/>
              <a:gd name="T73" fmla="*/ 2147483647 h 1499"/>
              <a:gd name="T74" fmla="*/ 2147483647 w 3447"/>
              <a:gd name="T75" fmla="*/ 2147483647 h 1499"/>
              <a:gd name="T76" fmla="*/ 2147483647 w 3447"/>
              <a:gd name="T77" fmla="*/ 2147483647 h 1499"/>
              <a:gd name="T78" fmla="*/ 2147483647 w 3447"/>
              <a:gd name="T79" fmla="*/ 2147483647 h 1499"/>
              <a:gd name="T80" fmla="*/ 2147483647 w 3447"/>
              <a:gd name="T81" fmla="*/ 0 h 1499"/>
              <a:gd name="T82" fmla="*/ 2147483647 w 3447"/>
              <a:gd name="T83" fmla="*/ 2147483647 h 1499"/>
              <a:gd name="T84" fmla="*/ 2147483647 w 3447"/>
              <a:gd name="T85" fmla="*/ 2147483647 h 1499"/>
              <a:gd name="T86" fmla="*/ 2147483647 w 3447"/>
              <a:gd name="T87" fmla="*/ 2147483647 h 1499"/>
              <a:gd name="T88" fmla="*/ 2147483647 w 3447"/>
              <a:gd name="T89" fmla="*/ 2147483647 h 1499"/>
              <a:gd name="T90" fmla="*/ 2147483647 w 3447"/>
              <a:gd name="T91" fmla="*/ 2147483647 h 1499"/>
              <a:gd name="T92" fmla="*/ 2147483647 w 3447"/>
              <a:gd name="T93" fmla="*/ 2147483647 h 1499"/>
              <a:gd name="T94" fmla="*/ 2147483647 w 3447"/>
              <a:gd name="T95" fmla="*/ 2147483647 h 1499"/>
              <a:gd name="T96" fmla="*/ 2147483647 w 3447"/>
              <a:gd name="T97" fmla="*/ 2147483647 h 1499"/>
              <a:gd name="T98" fmla="*/ 2147483647 w 3447"/>
              <a:gd name="T99" fmla="*/ 2147483647 h 1499"/>
              <a:gd name="T100" fmla="*/ 2147483647 w 3447"/>
              <a:gd name="T101" fmla="*/ 2147483647 h 1499"/>
              <a:gd name="T102" fmla="*/ 2147483647 w 3447"/>
              <a:gd name="T103" fmla="*/ 2147483647 h 1499"/>
              <a:gd name="T104" fmla="*/ 2147483647 w 3447"/>
              <a:gd name="T105" fmla="*/ 2147483647 h 1499"/>
              <a:gd name="T106" fmla="*/ 2147483647 w 3447"/>
              <a:gd name="T107" fmla="*/ 2147483647 h 1499"/>
              <a:gd name="T108" fmla="*/ 2147483647 w 3447"/>
              <a:gd name="T109" fmla="*/ 2147483647 h 1499"/>
              <a:gd name="T110" fmla="*/ 2147483647 w 3447"/>
              <a:gd name="T111" fmla="*/ 2147483647 h 1499"/>
              <a:gd name="T112" fmla="*/ 2147483647 w 3447"/>
              <a:gd name="T113" fmla="*/ 2147483647 h 1499"/>
              <a:gd name="T114" fmla="*/ 2147483647 w 3447"/>
              <a:gd name="T115" fmla="*/ 2147483647 h 1499"/>
              <a:gd name="T116" fmla="*/ 2147483647 w 3447"/>
              <a:gd name="T117" fmla="*/ 2147483647 h 1499"/>
              <a:gd name="T118" fmla="*/ 2147483647 w 3447"/>
              <a:gd name="T119" fmla="*/ 2147483647 h 1499"/>
              <a:gd name="T120" fmla="*/ 0 w 3447"/>
              <a:gd name="T121" fmla="*/ 2147483647 h 14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447"/>
              <a:gd name="T184" fmla="*/ 0 h 1499"/>
              <a:gd name="T185" fmla="*/ 3447 w 3447"/>
              <a:gd name="T186" fmla="*/ 1499 h 149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447" h="1499">
                <a:moveTo>
                  <a:pt x="0" y="411"/>
                </a:moveTo>
                <a:lnTo>
                  <a:pt x="0" y="1360"/>
                </a:lnTo>
                <a:lnTo>
                  <a:pt x="3127" y="1359"/>
                </a:lnTo>
                <a:lnTo>
                  <a:pt x="3125" y="1498"/>
                </a:lnTo>
                <a:lnTo>
                  <a:pt x="3446" y="1121"/>
                </a:lnTo>
                <a:lnTo>
                  <a:pt x="3124" y="726"/>
                </a:lnTo>
                <a:lnTo>
                  <a:pt x="3124" y="871"/>
                </a:lnTo>
                <a:lnTo>
                  <a:pt x="2663" y="872"/>
                </a:lnTo>
                <a:lnTo>
                  <a:pt x="2202" y="872"/>
                </a:lnTo>
                <a:lnTo>
                  <a:pt x="1741" y="871"/>
                </a:lnTo>
                <a:lnTo>
                  <a:pt x="1880" y="861"/>
                </a:lnTo>
                <a:lnTo>
                  <a:pt x="2019" y="849"/>
                </a:lnTo>
                <a:lnTo>
                  <a:pt x="2157" y="834"/>
                </a:lnTo>
                <a:lnTo>
                  <a:pt x="2295" y="816"/>
                </a:lnTo>
                <a:lnTo>
                  <a:pt x="2432" y="796"/>
                </a:lnTo>
                <a:lnTo>
                  <a:pt x="2570" y="772"/>
                </a:lnTo>
                <a:lnTo>
                  <a:pt x="2706" y="747"/>
                </a:lnTo>
                <a:lnTo>
                  <a:pt x="2843" y="718"/>
                </a:lnTo>
                <a:lnTo>
                  <a:pt x="2858" y="781"/>
                </a:lnTo>
                <a:lnTo>
                  <a:pt x="2874" y="843"/>
                </a:lnTo>
                <a:lnTo>
                  <a:pt x="3037" y="496"/>
                </a:lnTo>
                <a:lnTo>
                  <a:pt x="2728" y="260"/>
                </a:lnTo>
                <a:lnTo>
                  <a:pt x="2766" y="399"/>
                </a:lnTo>
                <a:lnTo>
                  <a:pt x="2598" y="437"/>
                </a:lnTo>
                <a:lnTo>
                  <a:pt x="2431" y="473"/>
                </a:lnTo>
                <a:lnTo>
                  <a:pt x="2262" y="505"/>
                </a:lnTo>
                <a:lnTo>
                  <a:pt x="2093" y="537"/>
                </a:lnTo>
                <a:lnTo>
                  <a:pt x="1923" y="565"/>
                </a:lnTo>
                <a:lnTo>
                  <a:pt x="1754" y="591"/>
                </a:lnTo>
                <a:lnTo>
                  <a:pt x="1806" y="566"/>
                </a:lnTo>
                <a:lnTo>
                  <a:pt x="1855" y="538"/>
                </a:lnTo>
                <a:lnTo>
                  <a:pt x="1904" y="509"/>
                </a:lnTo>
                <a:lnTo>
                  <a:pt x="1951" y="476"/>
                </a:lnTo>
                <a:lnTo>
                  <a:pt x="1996" y="441"/>
                </a:lnTo>
                <a:lnTo>
                  <a:pt x="2036" y="404"/>
                </a:lnTo>
                <a:lnTo>
                  <a:pt x="2072" y="366"/>
                </a:lnTo>
                <a:lnTo>
                  <a:pt x="2107" y="324"/>
                </a:lnTo>
                <a:lnTo>
                  <a:pt x="2138" y="281"/>
                </a:lnTo>
                <a:lnTo>
                  <a:pt x="2168" y="235"/>
                </a:lnTo>
                <a:lnTo>
                  <a:pt x="2251" y="307"/>
                </a:lnTo>
                <a:lnTo>
                  <a:pt x="2181" y="0"/>
                </a:lnTo>
                <a:lnTo>
                  <a:pt x="1872" y="6"/>
                </a:lnTo>
                <a:lnTo>
                  <a:pt x="1965" y="85"/>
                </a:lnTo>
                <a:lnTo>
                  <a:pt x="1939" y="125"/>
                </a:lnTo>
                <a:lnTo>
                  <a:pt x="1911" y="163"/>
                </a:lnTo>
                <a:lnTo>
                  <a:pt x="1880" y="198"/>
                </a:lnTo>
                <a:lnTo>
                  <a:pt x="1847" y="231"/>
                </a:lnTo>
                <a:lnTo>
                  <a:pt x="1811" y="262"/>
                </a:lnTo>
                <a:lnTo>
                  <a:pt x="1773" y="290"/>
                </a:lnTo>
                <a:lnTo>
                  <a:pt x="1732" y="315"/>
                </a:lnTo>
                <a:lnTo>
                  <a:pt x="1691" y="338"/>
                </a:lnTo>
                <a:lnTo>
                  <a:pt x="1648" y="358"/>
                </a:lnTo>
                <a:lnTo>
                  <a:pt x="1605" y="375"/>
                </a:lnTo>
                <a:lnTo>
                  <a:pt x="1559" y="388"/>
                </a:lnTo>
                <a:lnTo>
                  <a:pt x="1514" y="399"/>
                </a:lnTo>
                <a:lnTo>
                  <a:pt x="1468" y="406"/>
                </a:lnTo>
                <a:lnTo>
                  <a:pt x="1420" y="410"/>
                </a:lnTo>
                <a:lnTo>
                  <a:pt x="1373" y="411"/>
                </a:lnTo>
                <a:lnTo>
                  <a:pt x="808" y="412"/>
                </a:lnTo>
                <a:lnTo>
                  <a:pt x="808" y="411"/>
                </a:lnTo>
                <a:lnTo>
                  <a:pt x="0" y="411"/>
                </a:lnTo>
              </a:path>
            </a:pathLst>
          </a:custGeom>
          <a:solidFill>
            <a:schemeClr val="accent2"/>
          </a:solidFill>
          <a:ln w="12700" cap="rnd">
            <a:noFill/>
            <a:round/>
            <a:headEnd/>
            <a:tailEnd/>
          </a:ln>
        </p:spPr>
        <p:txBody>
          <a:bodyPr lIns="91440" tIns="640080" rIns="3708000" bIns="91440" anchor="ctr"/>
          <a:lstStyle/>
          <a:p>
            <a:pPr marL="114300" lvl="1" indent="-114300">
              <a:spcBef>
                <a:spcPts val="600"/>
              </a:spcBef>
              <a:buSzPct val="100000"/>
              <a:buFont typeface="Arial"/>
              <a:buChar char="•"/>
            </a:pPr>
            <a:r>
              <a:rPr lang="en-US" sz="1100" dirty="0">
                <a:solidFill>
                  <a:schemeClr val="bg1"/>
                </a:solidFill>
              </a:rPr>
              <a:t>Level 1 bullet</a:t>
            </a:r>
          </a:p>
          <a:p>
            <a:pPr marL="254000" lvl="2" indent="-114300">
              <a:spcBef>
                <a:spcPts val="600"/>
              </a:spcBef>
              <a:buSzPct val="100000"/>
              <a:buFont typeface="Arial"/>
              <a:buChar char="−"/>
            </a:pPr>
            <a:r>
              <a:rPr lang="en-US" sz="1100" dirty="0">
                <a:solidFill>
                  <a:schemeClr val="bg1"/>
                </a:solidFill>
              </a:rPr>
              <a:t>Level 2 bullet</a:t>
            </a:r>
          </a:p>
          <a:p>
            <a:pPr marL="393700" lvl="3" indent="-114300">
              <a:spcBef>
                <a:spcPts val="600"/>
              </a:spcBef>
              <a:buSzPct val="100000"/>
              <a:buFont typeface="Arial"/>
              <a:buChar char="◦"/>
            </a:pPr>
            <a:r>
              <a:rPr lang="en-US" sz="1000" dirty="0">
                <a:solidFill>
                  <a:schemeClr val="bg1"/>
                </a:solidFill>
              </a:rPr>
              <a:t>Level 3 bullet</a:t>
            </a:r>
          </a:p>
        </p:txBody>
      </p:sp>
      <p:sp>
        <p:nvSpPr>
          <p:cNvPr id="6" name="TextBox 5">
            <a:extLst>
              <a:ext uri="{FF2B5EF4-FFF2-40B4-BE49-F238E27FC236}">
                <a16:creationId xmlns:a16="http://schemas.microsoft.com/office/drawing/2014/main" id="{EAB295A4-FF3B-4D23-8E41-082AF8CA4813}"/>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501977575"/>
      </p:ext>
    </p:extLst>
  </p:cSld>
  <p:clrMapOvr>
    <a:masterClrMapping/>
  </p:clrMapOvr>
  <p:transition>
    <p:fade/>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3"/>
          </p:nvPr>
        </p:nvSpPr>
        <p:spPr/>
        <p:txBody>
          <a:bodyPr/>
          <a:lstStyle/>
          <a:p>
            <a:r>
              <a:rPr lang="en-US" dirty="0"/>
              <a:t>Subtitle runs here</a:t>
            </a:r>
          </a:p>
        </p:txBody>
      </p:sp>
      <p:sp>
        <p:nvSpPr>
          <p:cNvPr id="813057" name="Title 1"/>
          <p:cNvSpPr>
            <a:spLocks noGrp="1"/>
          </p:cNvSpPr>
          <p:nvPr>
            <p:ph type="title"/>
          </p:nvPr>
        </p:nvSpPr>
        <p:spPr/>
        <p:txBody>
          <a:bodyPr/>
          <a:lstStyle/>
          <a:p>
            <a:r>
              <a:rPr lang="en-US" dirty="0"/>
              <a:t>Continuous</a:t>
            </a:r>
          </a:p>
        </p:txBody>
      </p:sp>
      <p:grpSp>
        <p:nvGrpSpPr>
          <p:cNvPr id="2" name="Group 1"/>
          <p:cNvGrpSpPr/>
          <p:nvPr/>
        </p:nvGrpSpPr>
        <p:grpSpPr>
          <a:xfrm>
            <a:off x="1923393" y="1926757"/>
            <a:ext cx="8671035" cy="4119877"/>
            <a:chOff x="1525588" y="2286000"/>
            <a:chExt cx="6064250" cy="2881313"/>
          </a:xfrm>
        </p:grpSpPr>
        <p:sp>
          <p:nvSpPr>
            <p:cNvPr id="5" name="Freeform 2"/>
            <p:cNvSpPr>
              <a:spLocks/>
            </p:cNvSpPr>
            <p:nvPr/>
          </p:nvSpPr>
          <p:spPr bwMode="blackWhite">
            <a:xfrm>
              <a:off x="4579938" y="4224338"/>
              <a:ext cx="1574800" cy="942975"/>
            </a:xfrm>
            <a:custGeom>
              <a:avLst/>
              <a:gdLst>
                <a:gd name="T0" fmla="*/ 2147483647 w 836"/>
                <a:gd name="T1" fmla="*/ 2147483647 h 475"/>
                <a:gd name="T2" fmla="*/ 2147483647 w 836"/>
                <a:gd name="T3" fmla="*/ 0 h 475"/>
                <a:gd name="T4" fmla="*/ 2147483647 w 836"/>
                <a:gd name="T5" fmla="*/ 0 h 475"/>
                <a:gd name="T6" fmla="*/ 2147483647 w 836"/>
                <a:gd name="T7" fmla="*/ 2147483647 h 475"/>
                <a:gd name="T8" fmla="*/ 0 w 836"/>
                <a:gd name="T9" fmla="*/ 2147483647 h 475"/>
                <a:gd name="T10" fmla="*/ 2147483647 w 836"/>
                <a:gd name="T11" fmla="*/ 2147483647 h 475"/>
                <a:gd name="T12" fmla="*/ 2147483647 w 836"/>
                <a:gd name="T13" fmla="*/ 2147483647 h 475"/>
                <a:gd name="T14" fmla="*/ 0 60000 65536"/>
                <a:gd name="T15" fmla="*/ 0 60000 65536"/>
                <a:gd name="T16" fmla="*/ 0 60000 65536"/>
                <a:gd name="T17" fmla="*/ 0 60000 65536"/>
                <a:gd name="T18" fmla="*/ 0 60000 65536"/>
                <a:gd name="T19" fmla="*/ 0 60000 65536"/>
                <a:gd name="T20" fmla="*/ 0 60000 65536"/>
                <a:gd name="T21" fmla="*/ 0 w 836"/>
                <a:gd name="T22" fmla="*/ 0 h 475"/>
                <a:gd name="T23" fmla="*/ 836 w 836"/>
                <a:gd name="T24" fmla="*/ 475 h 4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6" h="475">
                  <a:moveTo>
                    <a:pt x="835" y="232"/>
                  </a:moveTo>
                  <a:lnTo>
                    <a:pt x="748" y="0"/>
                  </a:lnTo>
                  <a:lnTo>
                    <a:pt x="2" y="0"/>
                  </a:lnTo>
                  <a:lnTo>
                    <a:pt x="79" y="233"/>
                  </a:lnTo>
                  <a:lnTo>
                    <a:pt x="0" y="473"/>
                  </a:lnTo>
                  <a:lnTo>
                    <a:pt x="741" y="474"/>
                  </a:lnTo>
                  <a:lnTo>
                    <a:pt x="835" y="232"/>
                  </a:lnTo>
                </a:path>
              </a:pathLst>
            </a:custGeom>
            <a:solidFill>
              <a:schemeClr val="accent2"/>
            </a:solidFill>
            <a:ln w="12700" cap="rnd">
              <a:noFill/>
              <a:round/>
              <a:headEnd/>
              <a:tailEnd/>
            </a:ln>
          </p:spPr>
          <p:txBody>
            <a:bodyPr lIns="36000" tIns="54864" rIns="36000" bIns="36000" anchor="ctr">
              <a:noAutofit/>
            </a:bodyPr>
            <a:lstStyle/>
            <a:p>
              <a:pPr algn="ctr">
                <a:defRPr/>
              </a:pPr>
              <a:r>
                <a:rPr lang="en-US" sz="1200" dirty="0"/>
                <a:t>Text</a:t>
              </a:r>
            </a:p>
          </p:txBody>
        </p:sp>
        <p:sp>
          <p:nvSpPr>
            <p:cNvPr id="6" name="Freeform 3"/>
            <p:cNvSpPr>
              <a:spLocks/>
            </p:cNvSpPr>
            <p:nvPr/>
          </p:nvSpPr>
          <p:spPr bwMode="blackWhite">
            <a:xfrm>
              <a:off x="3379788" y="3524250"/>
              <a:ext cx="1301750" cy="1643063"/>
            </a:xfrm>
            <a:custGeom>
              <a:avLst/>
              <a:gdLst>
                <a:gd name="T0" fmla="*/ 2147483647 w 691"/>
                <a:gd name="T1" fmla="*/ 2147483647 h 828"/>
                <a:gd name="T2" fmla="*/ 2147483647 w 691"/>
                <a:gd name="T3" fmla="*/ 2147483647 h 828"/>
                <a:gd name="T4" fmla="*/ 2147483647 w 691"/>
                <a:gd name="T5" fmla="*/ 2147483647 h 828"/>
                <a:gd name="T6" fmla="*/ 0 w 691"/>
                <a:gd name="T7" fmla="*/ 0 h 828"/>
                <a:gd name="T8" fmla="*/ 0 w 691"/>
                <a:gd name="T9" fmla="*/ 2147483647 h 828"/>
                <a:gd name="T10" fmla="*/ 0 w 691"/>
                <a:gd name="T11" fmla="*/ 2147483647 h 828"/>
                <a:gd name="T12" fmla="*/ 0 w 691"/>
                <a:gd name="T13" fmla="*/ 2147483647 h 828"/>
                <a:gd name="T14" fmla="*/ 2147483647 w 691"/>
                <a:gd name="T15" fmla="*/ 2147483647 h 828"/>
                <a:gd name="T16" fmla="*/ 2147483647 w 691"/>
                <a:gd name="T17" fmla="*/ 2147483647 h 828"/>
                <a:gd name="T18" fmla="*/ 2147483647 w 691"/>
                <a:gd name="T19" fmla="*/ 2147483647 h 828"/>
                <a:gd name="T20" fmla="*/ 2147483647 w 691"/>
                <a:gd name="T21" fmla="*/ 2147483647 h 828"/>
                <a:gd name="T22" fmla="*/ 2147483647 w 691"/>
                <a:gd name="T23" fmla="*/ 2147483647 h 828"/>
                <a:gd name="T24" fmla="*/ 2147483647 w 691"/>
                <a:gd name="T25" fmla="*/ 2147483647 h 828"/>
                <a:gd name="T26" fmla="*/ 2147483647 w 691"/>
                <a:gd name="T27" fmla="*/ 2147483647 h 828"/>
                <a:gd name="T28" fmla="*/ 2147483647 w 691"/>
                <a:gd name="T29" fmla="*/ 2147483647 h 828"/>
                <a:gd name="T30" fmla="*/ 2147483647 w 691"/>
                <a:gd name="T31" fmla="*/ 2147483647 h 828"/>
                <a:gd name="T32" fmla="*/ 2147483647 w 691"/>
                <a:gd name="T33" fmla="*/ 2147483647 h 828"/>
                <a:gd name="T34" fmla="*/ 2147483647 w 691"/>
                <a:gd name="T35" fmla="*/ 2147483647 h 828"/>
                <a:gd name="T36" fmla="*/ 2147483647 w 691"/>
                <a:gd name="T37" fmla="*/ 2147483647 h 828"/>
                <a:gd name="T38" fmla="*/ 2147483647 w 691"/>
                <a:gd name="T39" fmla="*/ 2147483647 h 828"/>
                <a:gd name="T40" fmla="*/ 2147483647 w 691"/>
                <a:gd name="T41" fmla="*/ 2147483647 h 828"/>
                <a:gd name="T42" fmla="*/ 2147483647 w 691"/>
                <a:gd name="T43" fmla="*/ 2147483647 h 828"/>
                <a:gd name="T44" fmla="*/ 2147483647 w 691"/>
                <a:gd name="T45" fmla="*/ 2147483647 h 828"/>
                <a:gd name="T46" fmla="*/ 2147483647 w 691"/>
                <a:gd name="T47" fmla="*/ 2147483647 h 828"/>
                <a:gd name="T48" fmla="*/ 2147483647 w 691"/>
                <a:gd name="T49" fmla="*/ 2147483647 h 828"/>
                <a:gd name="T50" fmla="*/ 2147483647 w 691"/>
                <a:gd name="T51" fmla="*/ 2147483647 h 828"/>
                <a:gd name="T52" fmla="*/ 2147483647 w 691"/>
                <a:gd name="T53" fmla="*/ 2147483647 h 828"/>
                <a:gd name="T54" fmla="*/ 2147483647 w 691"/>
                <a:gd name="T55" fmla="*/ 2147483647 h 828"/>
                <a:gd name="T56" fmla="*/ 2147483647 w 691"/>
                <a:gd name="T57" fmla="*/ 2147483647 h 828"/>
                <a:gd name="T58" fmla="*/ 2147483647 w 691"/>
                <a:gd name="T59" fmla="*/ 2147483647 h 828"/>
                <a:gd name="T60" fmla="*/ 2147483647 w 691"/>
                <a:gd name="T61" fmla="*/ 2147483647 h 82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91"/>
                <a:gd name="T94" fmla="*/ 0 h 828"/>
                <a:gd name="T95" fmla="*/ 691 w 691"/>
                <a:gd name="T96" fmla="*/ 828 h 82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91" h="828">
                  <a:moveTo>
                    <a:pt x="472" y="310"/>
                  </a:moveTo>
                  <a:lnTo>
                    <a:pt x="474" y="6"/>
                  </a:lnTo>
                  <a:lnTo>
                    <a:pt x="243" y="98"/>
                  </a:lnTo>
                  <a:lnTo>
                    <a:pt x="0" y="0"/>
                  </a:lnTo>
                  <a:lnTo>
                    <a:pt x="0" y="309"/>
                  </a:lnTo>
                  <a:lnTo>
                    <a:pt x="0" y="618"/>
                  </a:lnTo>
                  <a:lnTo>
                    <a:pt x="0" y="640"/>
                  </a:lnTo>
                  <a:lnTo>
                    <a:pt x="4" y="661"/>
                  </a:lnTo>
                  <a:lnTo>
                    <a:pt x="9" y="681"/>
                  </a:lnTo>
                  <a:lnTo>
                    <a:pt x="17" y="701"/>
                  </a:lnTo>
                  <a:lnTo>
                    <a:pt x="28" y="720"/>
                  </a:lnTo>
                  <a:lnTo>
                    <a:pt x="41" y="738"/>
                  </a:lnTo>
                  <a:lnTo>
                    <a:pt x="58" y="754"/>
                  </a:lnTo>
                  <a:lnTo>
                    <a:pt x="75" y="768"/>
                  </a:lnTo>
                  <a:lnTo>
                    <a:pt x="95" y="782"/>
                  </a:lnTo>
                  <a:lnTo>
                    <a:pt x="118" y="794"/>
                  </a:lnTo>
                  <a:lnTo>
                    <a:pt x="142" y="804"/>
                  </a:lnTo>
                  <a:lnTo>
                    <a:pt x="167" y="812"/>
                  </a:lnTo>
                  <a:lnTo>
                    <a:pt x="194" y="819"/>
                  </a:lnTo>
                  <a:lnTo>
                    <a:pt x="223" y="824"/>
                  </a:lnTo>
                  <a:lnTo>
                    <a:pt x="252" y="827"/>
                  </a:lnTo>
                  <a:lnTo>
                    <a:pt x="614" y="827"/>
                  </a:lnTo>
                  <a:lnTo>
                    <a:pt x="690" y="586"/>
                  </a:lnTo>
                  <a:lnTo>
                    <a:pt x="609" y="355"/>
                  </a:lnTo>
                  <a:lnTo>
                    <a:pt x="512" y="355"/>
                  </a:lnTo>
                  <a:lnTo>
                    <a:pt x="501" y="352"/>
                  </a:lnTo>
                  <a:lnTo>
                    <a:pt x="492" y="346"/>
                  </a:lnTo>
                  <a:lnTo>
                    <a:pt x="484" y="339"/>
                  </a:lnTo>
                  <a:lnTo>
                    <a:pt x="478" y="330"/>
                  </a:lnTo>
                  <a:lnTo>
                    <a:pt x="474" y="321"/>
                  </a:lnTo>
                  <a:lnTo>
                    <a:pt x="472" y="310"/>
                  </a:lnTo>
                </a:path>
              </a:pathLst>
            </a:custGeom>
            <a:solidFill>
              <a:schemeClr val="tx2"/>
            </a:solidFill>
            <a:ln w="12700" cap="rnd">
              <a:noFill/>
              <a:round/>
              <a:headEnd/>
              <a:tailEnd/>
            </a:ln>
          </p:spPr>
          <p:txBody>
            <a:bodyPr lIns="36000" tIns="756000" rIns="36000" bIns="36000" anchor="ctr">
              <a:noAutofit/>
            </a:bodyPr>
            <a:lstStyle/>
            <a:p>
              <a:pPr algn="ctr">
                <a:defRPr/>
              </a:pPr>
              <a:r>
                <a:rPr lang="en-US" sz="1200" dirty="0">
                  <a:solidFill>
                    <a:schemeClr val="bg1"/>
                  </a:solidFill>
                </a:rPr>
                <a:t>Text</a:t>
              </a:r>
            </a:p>
          </p:txBody>
        </p:sp>
        <p:sp>
          <p:nvSpPr>
            <p:cNvPr id="7" name="Freeform 4"/>
            <p:cNvSpPr>
              <a:spLocks/>
            </p:cNvSpPr>
            <p:nvPr/>
          </p:nvSpPr>
          <p:spPr bwMode="blackWhite">
            <a:xfrm>
              <a:off x="6032500" y="3803650"/>
              <a:ext cx="1557338" cy="1362075"/>
            </a:xfrm>
            <a:custGeom>
              <a:avLst/>
              <a:gdLst>
                <a:gd name="T0" fmla="*/ 2147483647 w 824"/>
                <a:gd name="T1" fmla="*/ 2147483647 h 687"/>
                <a:gd name="T2" fmla="*/ 2147483647 w 824"/>
                <a:gd name="T3" fmla="*/ 2147483647 h 687"/>
                <a:gd name="T4" fmla="*/ 2147483647 w 824"/>
                <a:gd name="T5" fmla="*/ 2147483647 h 687"/>
                <a:gd name="T6" fmla="*/ 2147483647 w 824"/>
                <a:gd name="T7" fmla="*/ 2147483647 h 687"/>
                <a:gd name="T8" fmla="*/ 0 w 824"/>
                <a:gd name="T9" fmla="*/ 2147483647 h 687"/>
                <a:gd name="T10" fmla="*/ 2147483647 w 824"/>
                <a:gd name="T11" fmla="*/ 2147483647 h 687"/>
                <a:gd name="T12" fmla="*/ 2147483647 w 824"/>
                <a:gd name="T13" fmla="*/ 2147483647 h 687"/>
                <a:gd name="T14" fmla="*/ 2147483647 w 824"/>
                <a:gd name="T15" fmla="*/ 2147483647 h 687"/>
                <a:gd name="T16" fmla="*/ 2147483647 w 824"/>
                <a:gd name="T17" fmla="*/ 2147483647 h 687"/>
                <a:gd name="T18" fmla="*/ 2147483647 w 824"/>
                <a:gd name="T19" fmla="*/ 2147483647 h 687"/>
                <a:gd name="T20" fmla="*/ 2147483647 w 824"/>
                <a:gd name="T21" fmla="*/ 2147483647 h 687"/>
                <a:gd name="T22" fmla="*/ 2147483647 w 824"/>
                <a:gd name="T23" fmla="*/ 2147483647 h 687"/>
                <a:gd name="T24" fmla="*/ 2147483647 w 824"/>
                <a:gd name="T25" fmla="*/ 2147483647 h 687"/>
                <a:gd name="T26" fmla="*/ 2147483647 w 824"/>
                <a:gd name="T27" fmla="*/ 2147483647 h 687"/>
                <a:gd name="T28" fmla="*/ 2147483647 w 824"/>
                <a:gd name="T29" fmla="*/ 2147483647 h 687"/>
                <a:gd name="T30" fmla="*/ 2147483647 w 824"/>
                <a:gd name="T31" fmla="*/ 2147483647 h 687"/>
                <a:gd name="T32" fmla="*/ 2147483647 w 824"/>
                <a:gd name="T33" fmla="*/ 2147483647 h 687"/>
                <a:gd name="T34" fmla="*/ 2147483647 w 824"/>
                <a:gd name="T35" fmla="*/ 2147483647 h 687"/>
                <a:gd name="T36" fmla="*/ 2147483647 w 824"/>
                <a:gd name="T37" fmla="*/ 2147483647 h 687"/>
                <a:gd name="T38" fmla="*/ 2147483647 w 824"/>
                <a:gd name="T39" fmla="*/ 2147483647 h 687"/>
                <a:gd name="T40" fmla="*/ 2147483647 w 824"/>
                <a:gd name="T41" fmla="*/ 2147483647 h 687"/>
                <a:gd name="T42" fmla="*/ 2147483647 w 824"/>
                <a:gd name="T43" fmla="*/ 0 h 687"/>
                <a:gd name="T44" fmla="*/ 2147483647 w 824"/>
                <a:gd name="T45" fmla="*/ 2147483647 h 687"/>
                <a:gd name="T46" fmla="*/ 2147483647 w 824"/>
                <a:gd name="T47" fmla="*/ 2147483647 h 687"/>
                <a:gd name="T48" fmla="*/ 2147483647 w 824"/>
                <a:gd name="T49" fmla="*/ 2147483647 h 687"/>
                <a:gd name="T50" fmla="*/ 2147483647 w 824"/>
                <a:gd name="T51" fmla="*/ 2147483647 h 687"/>
                <a:gd name="T52" fmla="*/ 2147483647 w 824"/>
                <a:gd name="T53" fmla="*/ 2147483647 h 687"/>
                <a:gd name="T54" fmla="*/ 2147483647 w 824"/>
                <a:gd name="T55" fmla="*/ 2147483647 h 687"/>
                <a:gd name="T56" fmla="*/ 2147483647 w 824"/>
                <a:gd name="T57" fmla="*/ 2147483647 h 687"/>
                <a:gd name="T58" fmla="*/ 2147483647 w 824"/>
                <a:gd name="T59" fmla="*/ 2147483647 h 6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24"/>
                <a:gd name="T91" fmla="*/ 0 h 687"/>
                <a:gd name="T92" fmla="*/ 824 w 824"/>
                <a:gd name="T93" fmla="*/ 687 h 68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24" h="687">
                  <a:moveTo>
                    <a:pt x="292" y="213"/>
                  </a:moveTo>
                  <a:lnTo>
                    <a:pt x="149" y="213"/>
                  </a:lnTo>
                  <a:lnTo>
                    <a:pt x="6" y="213"/>
                  </a:lnTo>
                  <a:lnTo>
                    <a:pt x="89" y="439"/>
                  </a:lnTo>
                  <a:lnTo>
                    <a:pt x="0" y="686"/>
                  </a:lnTo>
                  <a:lnTo>
                    <a:pt x="659" y="686"/>
                  </a:lnTo>
                  <a:lnTo>
                    <a:pt x="682" y="682"/>
                  </a:lnTo>
                  <a:lnTo>
                    <a:pt x="703" y="676"/>
                  </a:lnTo>
                  <a:lnTo>
                    <a:pt x="724" y="668"/>
                  </a:lnTo>
                  <a:lnTo>
                    <a:pt x="742" y="658"/>
                  </a:lnTo>
                  <a:lnTo>
                    <a:pt x="758" y="645"/>
                  </a:lnTo>
                  <a:lnTo>
                    <a:pt x="773" y="629"/>
                  </a:lnTo>
                  <a:lnTo>
                    <a:pt x="786" y="611"/>
                  </a:lnTo>
                  <a:lnTo>
                    <a:pt x="797" y="592"/>
                  </a:lnTo>
                  <a:lnTo>
                    <a:pt x="806" y="569"/>
                  </a:lnTo>
                  <a:lnTo>
                    <a:pt x="813" y="545"/>
                  </a:lnTo>
                  <a:lnTo>
                    <a:pt x="818" y="519"/>
                  </a:lnTo>
                  <a:lnTo>
                    <a:pt x="822" y="490"/>
                  </a:lnTo>
                  <a:lnTo>
                    <a:pt x="823" y="460"/>
                  </a:lnTo>
                  <a:lnTo>
                    <a:pt x="823" y="428"/>
                  </a:lnTo>
                  <a:lnTo>
                    <a:pt x="823" y="82"/>
                  </a:lnTo>
                  <a:lnTo>
                    <a:pt x="580" y="0"/>
                  </a:lnTo>
                  <a:lnTo>
                    <a:pt x="352" y="80"/>
                  </a:lnTo>
                  <a:lnTo>
                    <a:pt x="352" y="171"/>
                  </a:lnTo>
                  <a:lnTo>
                    <a:pt x="346" y="183"/>
                  </a:lnTo>
                  <a:lnTo>
                    <a:pt x="339" y="193"/>
                  </a:lnTo>
                  <a:lnTo>
                    <a:pt x="329" y="202"/>
                  </a:lnTo>
                  <a:lnTo>
                    <a:pt x="318" y="209"/>
                  </a:lnTo>
                  <a:lnTo>
                    <a:pt x="305" y="213"/>
                  </a:lnTo>
                  <a:lnTo>
                    <a:pt x="292" y="213"/>
                  </a:lnTo>
                </a:path>
              </a:pathLst>
            </a:custGeom>
            <a:solidFill>
              <a:schemeClr val="bg2"/>
            </a:solidFill>
            <a:ln w="12700" cap="rnd">
              <a:noFill/>
              <a:round/>
              <a:headEnd/>
              <a:tailEnd/>
            </a:ln>
          </p:spPr>
          <p:txBody>
            <a:bodyPr lIns="324000" tIns="468000" rIns="36000" bIns="36000" anchor="ctr">
              <a:noAutofit/>
            </a:bodyPr>
            <a:lstStyle/>
            <a:p>
              <a:pPr algn="ctr">
                <a:defRPr/>
              </a:pPr>
              <a:r>
                <a:rPr lang="en-US" sz="1200" dirty="0">
                  <a:solidFill>
                    <a:schemeClr val="tx2"/>
                  </a:solidFill>
                </a:rPr>
                <a:t>Text</a:t>
              </a:r>
            </a:p>
          </p:txBody>
        </p:sp>
        <p:sp>
          <p:nvSpPr>
            <p:cNvPr id="8" name="Freeform 5"/>
            <p:cNvSpPr>
              <a:spLocks/>
            </p:cNvSpPr>
            <p:nvPr/>
          </p:nvSpPr>
          <p:spPr bwMode="blackWhite">
            <a:xfrm>
              <a:off x="4875213" y="2630488"/>
              <a:ext cx="1555750" cy="1363662"/>
            </a:xfrm>
            <a:custGeom>
              <a:avLst/>
              <a:gdLst>
                <a:gd name="T0" fmla="*/ 2147483647 w 824"/>
                <a:gd name="T1" fmla="*/ 2147483647 h 688"/>
                <a:gd name="T2" fmla="*/ 2147483647 w 824"/>
                <a:gd name="T3" fmla="*/ 2147483647 h 688"/>
                <a:gd name="T4" fmla="*/ 2147483647 w 824"/>
                <a:gd name="T5" fmla="*/ 2147483647 h 688"/>
                <a:gd name="T6" fmla="*/ 2147483647 w 824"/>
                <a:gd name="T7" fmla="*/ 2147483647 h 688"/>
                <a:gd name="T8" fmla="*/ 2147483647 w 824"/>
                <a:gd name="T9" fmla="*/ 0 h 688"/>
                <a:gd name="T10" fmla="*/ 2147483647 w 824"/>
                <a:gd name="T11" fmla="*/ 0 h 688"/>
                <a:gd name="T12" fmla="*/ 2147483647 w 824"/>
                <a:gd name="T13" fmla="*/ 2147483647 h 688"/>
                <a:gd name="T14" fmla="*/ 2147483647 w 824"/>
                <a:gd name="T15" fmla="*/ 2147483647 h 688"/>
                <a:gd name="T16" fmla="*/ 2147483647 w 824"/>
                <a:gd name="T17" fmla="*/ 2147483647 h 688"/>
                <a:gd name="T18" fmla="*/ 2147483647 w 824"/>
                <a:gd name="T19" fmla="*/ 2147483647 h 688"/>
                <a:gd name="T20" fmla="*/ 2147483647 w 824"/>
                <a:gd name="T21" fmla="*/ 2147483647 h 688"/>
                <a:gd name="T22" fmla="*/ 2147483647 w 824"/>
                <a:gd name="T23" fmla="*/ 2147483647 h 688"/>
                <a:gd name="T24" fmla="*/ 2147483647 w 824"/>
                <a:gd name="T25" fmla="*/ 2147483647 h 688"/>
                <a:gd name="T26" fmla="*/ 2147483647 w 824"/>
                <a:gd name="T27" fmla="*/ 2147483647 h 688"/>
                <a:gd name="T28" fmla="*/ 2147483647 w 824"/>
                <a:gd name="T29" fmla="*/ 2147483647 h 688"/>
                <a:gd name="T30" fmla="*/ 2147483647 w 824"/>
                <a:gd name="T31" fmla="*/ 2147483647 h 688"/>
                <a:gd name="T32" fmla="*/ 2147483647 w 824"/>
                <a:gd name="T33" fmla="*/ 2147483647 h 688"/>
                <a:gd name="T34" fmla="*/ 2147483647 w 824"/>
                <a:gd name="T35" fmla="*/ 2147483647 h 688"/>
                <a:gd name="T36" fmla="*/ 0 w 824"/>
                <a:gd name="T37" fmla="*/ 2147483647 h 688"/>
                <a:gd name="T38" fmla="*/ 2147483647 w 824"/>
                <a:gd name="T39" fmla="*/ 2147483647 h 688"/>
                <a:gd name="T40" fmla="*/ 2147483647 w 824"/>
                <a:gd name="T41" fmla="*/ 2147483647 h 688"/>
                <a:gd name="T42" fmla="*/ 2147483647 w 824"/>
                <a:gd name="T43" fmla="*/ 2147483647 h 688"/>
                <a:gd name="T44" fmla="*/ 2147483647 w 824"/>
                <a:gd name="T45" fmla="*/ 2147483647 h 688"/>
                <a:gd name="T46" fmla="*/ 2147483647 w 824"/>
                <a:gd name="T47" fmla="*/ 2147483647 h 688"/>
                <a:gd name="T48" fmla="*/ 2147483647 w 824"/>
                <a:gd name="T49" fmla="*/ 2147483647 h 688"/>
                <a:gd name="T50" fmla="*/ 2147483647 w 824"/>
                <a:gd name="T51" fmla="*/ 2147483647 h 688"/>
                <a:gd name="T52" fmla="*/ 2147483647 w 824"/>
                <a:gd name="T53" fmla="*/ 2147483647 h 688"/>
                <a:gd name="T54" fmla="*/ 2147483647 w 824"/>
                <a:gd name="T55" fmla="*/ 2147483647 h 688"/>
                <a:gd name="T56" fmla="*/ 2147483647 w 824"/>
                <a:gd name="T57" fmla="*/ 2147483647 h 688"/>
                <a:gd name="T58" fmla="*/ 2147483647 w 824"/>
                <a:gd name="T59" fmla="*/ 2147483647 h 68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24"/>
                <a:gd name="T91" fmla="*/ 0 h 688"/>
                <a:gd name="T92" fmla="*/ 824 w 824"/>
                <a:gd name="T93" fmla="*/ 688 h 68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24" h="688">
                  <a:moveTo>
                    <a:pt x="531" y="473"/>
                  </a:moveTo>
                  <a:lnTo>
                    <a:pt x="675" y="474"/>
                  </a:lnTo>
                  <a:lnTo>
                    <a:pt x="819" y="473"/>
                  </a:lnTo>
                  <a:lnTo>
                    <a:pt x="729" y="244"/>
                  </a:lnTo>
                  <a:lnTo>
                    <a:pt x="823" y="0"/>
                  </a:lnTo>
                  <a:lnTo>
                    <a:pt x="164" y="0"/>
                  </a:lnTo>
                  <a:lnTo>
                    <a:pt x="141" y="4"/>
                  </a:lnTo>
                  <a:lnTo>
                    <a:pt x="120" y="10"/>
                  </a:lnTo>
                  <a:lnTo>
                    <a:pt x="100" y="19"/>
                  </a:lnTo>
                  <a:lnTo>
                    <a:pt x="82" y="30"/>
                  </a:lnTo>
                  <a:lnTo>
                    <a:pt x="66" y="43"/>
                  </a:lnTo>
                  <a:lnTo>
                    <a:pt x="51" y="58"/>
                  </a:lnTo>
                  <a:lnTo>
                    <a:pt x="38" y="76"/>
                  </a:lnTo>
                  <a:lnTo>
                    <a:pt x="27" y="96"/>
                  </a:lnTo>
                  <a:lnTo>
                    <a:pt x="18" y="118"/>
                  </a:lnTo>
                  <a:lnTo>
                    <a:pt x="10" y="142"/>
                  </a:lnTo>
                  <a:lnTo>
                    <a:pt x="5" y="168"/>
                  </a:lnTo>
                  <a:lnTo>
                    <a:pt x="1" y="196"/>
                  </a:lnTo>
                  <a:lnTo>
                    <a:pt x="0" y="227"/>
                  </a:lnTo>
                  <a:lnTo>
                    <a:pt x="1" y="259"/>
                  </a:lnTo>
                  <a:lnTo>
                    <a:pt x="1" y="611"/>
                  </a:lnTo>
                  <a:lnTo>
                    <a:pt x="244" y="687"/>
                  </a:lnTo>
                  <a:lnTo>
                    <a:pt x="472" y="607"/>
                  </a:lnTo>
                  <a:lnTo>
                    <a:pt x="472" y="517"/>
                  </a:lnTo>
                  <a:lnTo>
                    <a:pt x="477" y="504"/>
                  </a:lnTo>
                  <a:lnTo>
                    <a:pt x="485" y="493"/>
                  </a:lnTo>
                  <a:lnTo>
                    <a:pt x="495" y="485"/>
                  </a:lnTo>
                  <a:lnTo>
                    <a:pt x="506" y="479"/>
                  </a:lnTo>
                  <a:lnTo>
                    <a:pt x="519" y="475"/>
                  </a:lnTo>
                  <a:lnTo>
                    <a:pt x="531" y="473"/>
                  </a:lnTo>
                </a:path>
              </a:pathLst>
            </a:custGeom>
            <a:solidFill>
              <a:schemeClr val="bg2"/>
            </a:solidFill>
            <a:ln w="12700" cap="rnd">
              <a:noFill/>
              <a:round/>
              <a:headEnd/>
              <a:tailEnd/>
            </a:ln>
          </p:spPr>
          <p:txBody>
            <a:bodyPr lIns="36000" tIns="36000" rIns="36000" bIns="432000" anchor="ctr">
              <a:noAutofit/>
            </a:bodyPr>
            <a:lstStyle/>
            <a:p>
              <a:pPr algn="ctr">
                <a:defRPr/>
              </a:pPr>
              <a:r>
                <a:rPr lang="en-US" sz="1200" dirty="0">
                  <a:solidFill>
                    <a:schemeClr val="tx2"/>
                  </a:solidFill>
                </a:rPr>
                <a:t>Text</a:t>
              </a:r>
            </a:p>
          </p:txBody>
        </p:sp>
        <p:sp>
          <p:nvSpPr>
            <p:cNvPr id="9" name="Freeform 6"/>
            <p:cNvSpPr>
              <a:spLocks/>
            </p:cNvSpPr>
            <p:nvPr/>
          </p:nvSpPr>
          <p:spPr bwMode="blackWhite">
            <a:xfrm>
              <a:off x="6307138" y="2628900"/>
              <a:ext cx="1282700" cy="1292225"/>
            </a:xfrm>
            <a:custGeom>
              <a:avLst/>
              <a:gdLst>
                <a:gd name="T0" fmla="*/ 2147483647 w 678"/>
                <a:gd name="T1" fmla="*/ 2147483647 h 652"/>
                <a:gd name="T2" fmla="*/ 2147483647 w 678"/>
                <a:gd name="T3" fmla="*/ 2147483647 h 652"/>
                <a:gd name="T4" fmla="*/ 2147483647 w 678"/>
                <a:gd name="T5" fmla="*/ 2147483647 h 652"/>
                <a:gd name="T6" fmla="*/ 2147483647 w 678"/>
                <a:gd name="T7" fmla="*/ 2147483647 h 652"/>
                <a:gd name="T8" fmla="*/ 2147483647 w 678"/>
                <a:gd name="T9" fmla="*/ 2147483647 h 652"/>
                <a:gd name="T10" fmla="*/ 2147483647 w 678"/>
                <a:gd name="T11" fmla="*/ 2147483647 h 652"/>
                <a:gd name="T12" fmla="*/ 2147483647 w 678"/>
                <a:gd name="T13" fmla="*/ 2147483647 h 652"/>
                <a:gd name="T14" fmla="*/ 2147483647 w 678"/>
                <a:gd name="T15" fmla="*/ 2147483647 h 652"/>
                <a:gd name="T16" fmla="*/ 2147483647 w 678"/>
                <a:gd name="T17" fmla="*/ 2147483647 h 652"/>
                <a:gd name="T18" fmla="*/ 2147483647 w 678"/>
                <a:gd name="T19" fmla="*/ 2147483647 h 652"/>
                <a:gd name="T20" fmla="*/ 2147483647 w 678"/>
                <a:gd name="T21" fmla="*/ 2147483647 h 652"/>
                <a:gd name="T22" fmla="*/ 2147483647 w 678"/>
                <a:gd name="T23" fmla="*/ 2147483647 h 652"/>
                <a:gd name="T24" fmla="*/ 2147483647 w 678"/>
                <a:gd name="T25" fmla="*/ 2147483647 h 652"/>
                <a:gd name="T26" fmla="*/ 2147483647 w 678"/>
                <a:gd name="T27" fmla="*/ 2147483647 h 652"/>
                <a:gd name="T28" fmla="*/ 2147483647 w 678"/>
                <a:gd name="T29" fmla="*/ 2147483647 h 652"/>
                <a:gd name="T30" fmla="*/ 2147483647 w 678"/>
                <a:gd name="T31" fmla="*/ 2147483647 h 652"/>
                <a:gd name="T32" fmla="*/ 2147483647 w 678"/>
                <a:gd name="T33" fmla="*/ 2147483647 h 652"/>
                <a:gd name="T34" fmla="*/ 2147483647 w 678"/>
                <a:gd name="T35" fmla="*/ 2147483647 h 652"/>
                <a:gd name="T36" fmla="*/ 2147483647 w 678"/>
                <a:gd name="T37" fmla="*/ 2147483647 h 652"/>
                <a:gd name="T38" fmla="*/ 2147483647 w 678"/>
                <a:gd name="T39" fmla="*/ 0 h 652"/>
                <a:gd name="T40" fmla="*/ 0 w 678"/>
                <a:gd name="T41" fmla="*/ 2147483647 h 652"/>
                <a:gd name="T42" fmla="*/ 2147483647 w 678"/>
                <a:gd name="T43" fmla="*/ 2147483647 h 652"/>
                <a:gd name="T44" fmla="*/ 2147483647 w 678"/>
                <a:gd name="T45" fmla="*/ 2147483647 h 652"/>
                <a:gd name="T46" fmla="*/ 2147483647 w 678"/>
                <a:gd name="T47" fmla="*/ 2147483647 h 652"/>
                <a:gd name="T48" fmla="*/ 2147483647 w 678"/>
                <a:gd name="T49" fmla="*/ 2147483647 h 652"/>
                <a:gd name="T50" fmla="*/ 2147483647 w 678"/>
                <a:gd name="T51" fmla="*/ 2147483647 h 652"/>
                <a:gd name="T52" fmla="*/ 2147483647 w 678"/>
                <a:gd name="T53" fmla="*/ 2147483647 h 652"/>
                <a:gd name="T54" fmla="*/ 2147483647 w 678"/>
                <a:gd name="T55" fmla="*/ 2147483647 h 652"/>
                <a:gd name="T56" fmla="*/ 2147483647 w 678"/>
                <a:gd name="T57" fmla="*/ 2147483647 h 652"/>
                <a:gd name="T58" fmla="*/ 2147483647 w 678"/>
                <a:gd name="T59" fmla="*/ 2147483647 h 652"/>
                <a:gd name="T60" fmla="*/ 2147483647 w 678"/>
                <a:gd name="T61" fmla="*/ 2147483647 h 652"/>
                <a:gd name="T62" fmla="*/ 2147483647 w 678"/>
                <a:gd name="T63" fmla="*/ 2147483647 h 6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8"/>
                <a:gd name="T97" fmla="*/ 0 h 652"/>
                <a:gd name="T98" fmla="*/ 678 w 678"/>
                <a:gd name="T99" fmla="*/ 652 h 6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8" h="652">
                  <a:moveTo>
                    <a:pt x="205" y="545"/>
                  </a:moveTo>
                  <a:lnTo>
                    <a:pt x="205" y="651"/>
                  </a:lnTo>
                  <a:lnTo>
                    <a:pt x="435" y="569"/>
                  </a:lnTo>
                  <a:lnTo>
                    <a:pt x="677" y="649"/>
                  </a:lnTo>
                  <a:lnTo>
                    <a:pt x="677" y="180"/>
                  </a:lnTo>
                  <a:lnTo>
                    <a:pt x="674" y="156"/>
                  </a:lnTo>
                  <a:lnTo>
                    <a:pt x="669" y="133"/>
                  </a:lnTo>
                  <a:lnTo>
                    <a:pt x="661" y="113"/>
                  </a:lnTo>
                  <a:lnTo>
                    <a:pt x="650" y="93"/>
                  </a:lnTo>
                  <a:lnTo>
                    <a:pt x="637" y="75"/>
                  </a:lnTo>
                  <a:lnTo>
                    <a:pt x="622" y="60"/>
                  </a:lnTo>
                  <a:lnTo>
                    <a:pt x="604" y="46"/>
                  </a:lnTo>
                  <a:lnTo>
                    <a:pt x="583" y="34"/>
                  </a:lnTo>
                  <a:lnTo>
                    <a:pt x="561" y="24"/>
                  </a:lnTo>
                  <a:lnTo>
                    <a:pt x="536" y="15"/>
                  </a:lnTo>
                  <a:lnTo>
                    <a:pt x="508" y="8"/>
                  </a:lnTo>
                  <a:lnTo>
                    <a:pt x="479" y="4"/>
                  </a:lnTo>
                  <a:lnTo>
                    <a:pt x="448" y="1"/>
                  </a:lnTo>
                  <a:lnTo>
                    <a:pt x="414" y="1"/>
                  </a:lnTo>
                  <a:lnTo>
                    <a:pt x="89" y="0"/>
                  </a:lnTo>
                  <a:lnTo>
                    <a:pt x="0" y="245"/>
                  </a:lnTo>
                  <a:lnTo>
                    <a:pt x="86" y="475"/>
                  </a:lnTo>
                  <a:lnTo>
                    <a:pt x="136" y="475"/>
                  </a:lnTo>
                  <a:lnTo>
                    <a:pt x="149" y="475"/>
                  </a:lnTo>
                  <a:lnTo>
                    <a:pt x="161" y="477"/>
                  </a:lnTo>
                  <a:lnTo>
                    <a:pt x="173" y="482"/>
                  </a:lnTo>
                  <a:lnTo>
                    <a:pt x="183" y="489"/>
                  </a:lnTo>
                  <a:lnTo>
                    <a:pt x="192" y="498"/>
                  </a:lnTo>
                  <a:lnTo>
                    <a:pt x="199" y="508"/>
                  </a:lnTo>
                  <a:lnTo>
                    <a:pt x="203" y="520"/>
                  </a:lnTo>
                  <a:lnTo>
                    <a:pt x="206" y="532"/>
                  </a:lnTo>
                  <a:lnTo>
                    <a:pt x="205" y="545"/>
                  </a:lnTo>
                </a:path>
              </a:pathLst>
            </a:custGeom>
            <a:solidFill>
              <a:schemeClr val="bg2"/>
            </a:solidFill>
            <a:ln w="12700" cap="rnd">
              <a:noFill/>
              <a:round/>
              <a:headEnd/>
              <a:tailEnd/>
            </a:ln>
          </p:spPr>
          <p:txBody>
            <a:bodyPr lIns="36000" tIns="54864" rIns="36000" bIns="365760" anchor="ctr">
              <a:noAutofit/>
            </a:bodyPr>
            <a:lstStyle/>
            <a:p>
              <a:pPr algn="ctr">
                <a:defRPr/>
              </a:pPr>
              <a:r>
                <a:rPr lang="en-US" sz="1200" dirty="0">
                  <a:solidFill>
                    <a:schemeClr val="tx2"/>
                  </a:solidFill>
                </a:rPr>
                <a:t>Text</a:t>
              </a:r>
            </a:p>
          </p:txBody>
        </p:sp>
        <p:sp>
          <p:nvSpPr>
            <p:cNvPr id="10" name="Freeform 7"/>
            <p:cNvSpPr>
              <a:spLocks/>
            </p:cNvSpPr>
            <p:nvPr/>
          </p:nvSpPr>
          <p:spPr bwMode="blackWhite">
            <a:xfrm>
              <a:off x="2693988" y="2286000"/>
              <a:ext cx="1577975" cy="1379538"/>
            </a:xfrm>
            <a:custGeom>
              <a:avLst/>
              <a:gdLst>
                <a:gd name="T0" fmla="*/ 2147483647 w 836"/>
                <a:gd name="T1" fmla="*/ 2147483647 h 696"/>
                <a:gd name="T2" fmla="*/ 2147483647 w 836"/>
                <a:gd name="T3" fmla="*/ 2147483647 h 696"/>
                <a:gd name="T4" fmla="*/ 2147483647 w 836"/>
                <a:gd name="T5" fmla="*/ 2147483647 h 696"/>
                <a:gd name="T6" fmla="*/ 2147483647 w 836"/>
                <a:gd name="T7" fmla="*/ 2147483647 h 696"/>
                <a:gd name="T8" fmla="*/ 2147483647 w 836"/>
                <a:gd name="T9" fmla="*/ 2147483647 h 696"/>
                <a:gd name="T10" fmla="*/ 2147483647 w 836"/>
                <a:gd name="T11" fmla="*/ 2147483647 h 696"/>
                <a:gd name="T12" fmla="*/ 2147483647 w 836"/>
                <a:gd name="T13" fmla="*/ 2147483647 h 696"/>
                <a:gd name="T14" fmla="*/ 2147483647 w 836"/>
                <a:gd name="T15" fmla="*/ 2147483647 h 696"/>
                <a:gd name="T16" fmla="*/ 2147483647 w 836"/>
                <a:gd name="T17" fmla="*/ 2147483647 h 696"/>
                <a:gd name="T18" fmla="*/ 2147483647 w 836"/>
                <a:gd name="T19" fmla="*/ 2147483647 h 696"/>
                <a:gd name="T20" fmla="*/ 2147483647 w 836"/>
                <a:gd name="T21" fmla="*/ 2147483647 h 696"/>
                <a:gd name="T22" fmla="*/ 2147483647 w 836"/>
                <a:gd name="T23" fmla="*/ 2147483647 h 696"/>
                <a:gd name="T24" fmla="*/ 2147483647 w 836"/>
                <a:gd name="T25" fmla="*/ 2147483647 h 696"/>
                <a:gd name="T26" fmla="*/ 2147483647 w 836"/>
                <a:gd name="T27" fmla="*/ 2147483647 h 696"/>
                <a:gd name="T28" fmla="*/ 2147483647 w 836"/>
                <a:gd name="T29" fmla="*/ 2147483647 h 696"/>
                <a:gd name="T30" fmla="*/ 2147483647 w 836"/>
                <a:gd name="T31" fmla="*/ 2147483647 h 696"/>
                <a:gd name="T32" fmla="*/ 2147483647 w 836"/>
                <a:gd name="T33" fmla="*/ 2147483647 h 696"/>
                <a:gd name="T34" fmla="*/ 2147483647 w 836"/>
                <a:gd name="T35" fmla="*/ 2147483647 h 696"/>
                <a:gd name="T36" fmla="*/ 2147483647 w 836"/>
                <a:gd name="T37" fmla="*/ 2147483647 h 696"/>
                <a:gd name="T38" fmla="*/ 2147483647 w 836"/>
                <a:gd name="T39" fmla="*/ 2147483647 h 696"/>
                <a:gd name="T40" fmla="*/ 2147483647 w 836"/>
                <a:gd name="T41" fmla="*/ 2147483647 h 696"/>
                <a:gd name="T42" fmla="*/ 2147483647 w 836"/>
                <a:gd name="T43" fmla="*/ 2147483647 h 696"/>
                <a:gd name="T44" fmla="*/ 2147483647 w 836"/>
                <a:gd name="T45" fmla="*/ 2147483647 h 696"/>
                <a:gd name="T46" fmla="*/ 2147483647 w 836"/>
                <a:gd name="T47" fmla="*/ 2147483647 h 696"/>
                <a:gd name="T48" fmla="*/ 2147483647 w 836"/>
                <a:gd name="T49" fmla="*/ 2147483647 h 696"/>
                <a:gd name="T50" fmla="*/ 2147483647 w 836"/>
                <a:gd name="T51" fmla="*/ 2147483647 h 696"/>
                <a:gd name="T52" fmla="*/ 2147483647 w 836"/>
                <a:gd name="T53" fmla="*/ 0 h 696"/>
                <a:gd name="T54" fmla="*/ 2147483647 w 836"/>
                <a:gd name="T55" fmla="*/ 0 h 696"/>
                <a:gd name="T56" fmla="*/ 2147483647 w 836"/>
                <a:gd name="T57" fmla="*/ 2147483647 h 696"/>
                <a:gd name="T58" fmla="*/ 0 w 836"/>
                <a:gd name="T59" fmla="*/ 2147483647 h 696"/>
                <a:gd name="T60" fmla="*/ 2147483647 w 836"/>
                <a:gd name="T61" fmla="*/ 2147483647 h 696"/>
                <a:gd name="T62" fmla="*/ 2147483647 w 836"/>
                <a:gd name="T63" fmla="*/ 2147483647 h 6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6"/>
                <a:gd name="T97" fmla="*/ 0 h 696"/>
                <a:gd name="T98" fmla="*/ 836 w 836"/>
                <a:gd name="T99" fmla="*/ 696 h 69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6" h="696">
                  <a:moveTo>
                    <a:pt x="304" y="473"/>
                  </a:moveTo>
                  <a:lnTo>
                    <a:pt x="316" y="475"/>
                  </a:lnTo>
                  <a:lnTo>
                    <a:pt x="327" y="478"/>
                  </a:lnTo>
                  <a:lnTo>
                    <a:pt x="338" y="484"/>
                  </a:lnTo>
                  <a:lnTo>
                    <a:pt x="347" y="491"/>
                  </a:lnTo>
                  <a:lnTo>
                    <a:pt x="355" y="501"/>
                  </a:lnTo>
                  <a:lnTo>
                    <a:pt x="361" y="512"/>
                  </a:lnTo>
                  <a:lnTo>
                    <a:pt x="363" y="523"/>
                  </a:lnTo>
                  <a:lnTo>
                    <a:pt x="365" y="535"/>
                  </a:lnTo>
                  <a:lnTo>
                    <a:pt x="365" y="602"/>
                  </a:lnTo>
                  <a:lnTo>
                    <a:pt x="604" y="695"/>
                  </a:lnTo>
                  <a:lnTo>
                    <a:pt x="834" y="610"/>
                  </a:lnTo>
                  <a:lnTo>
                    <a:pt x="834" y="259"/>
                  </a:lnTo>
                  <a:lnTo>
                    <a:pt x="835" y="227"/>
                  </a:lnTo>
                  <a:lnTo>
                    <a:pt x="833" y="197"/>
                  </a:lnTo>
                  <a:lnTo>
                    <a:pt x="830" y="168"/>
                  </a:lnTo>
                  <a:lnTo>
                    <a:pt x="825" y="142"/>
                  </a:lnTo>
                  <a:lnTo>
                    <a:pt x="817" y="117"/>
                  </a:lnTo>
                  <a:lnTo>
                    <a:pt x="808" y="96"/>
                  </a:lnTo>
                  <a:lnTo>
                    <a:pt x="797" y="76"/>
                  </a:lnTo>
                  <a:lnTo>
                    <a:pt x="784" y="58"/>
                  </a:lnTo>
                  <a:lnTo>
                    <a:pt x="769" y="43"/>
                  </a:lnTo>
                  <a:lnTo>
                    <a:pt x="753" y="29"/>
                  </a:lnTo>
                  <a:lnTo>
                    <a:pt x="735" y="19"/>
                  </a:lnTo>
                  <a:lnTo>
                    <a:pt x="715" y="10"/>
                  </a:lnTo>
                  <a:lnTo>
                    <a:pt x="694" y="4"/>
                  </a:lnTo>
                  <a:lnTo>
                    <a:pt x="671" y="0"/>
                  </a:lnTo>
                  <a:lnTo>
                    <a:pt x="12" y="0"/>
                  </a:lnTo>
                  <a:lnTo>
                    <a:pt x="97" y="231"/>
                  </a:lnTo>
                  <a:lnTo>
                    <a:pt x="0" y="473"/>
                  </a:lnTo>
                  <a:lnTo>
                    <a:pt x="152" y="474"/>
                  </a:lnTo>
                  <a:lnTo>
                    <a:pt x="304" y="473"/>
                  </a:lnTo>
                </a:path>
              </a:pathLst>
            </a:custGeom>
            <a:solidFill>
              <a:schemeClr val="tx2">
                <a:lumMod val="75000"/>
                <a:lumOff val="25000"/>
              </a:schemeClr>
            </a:solidFill>
            <a:ln w="12700" cap="rnd">
              <a:noFill/>
              <a:round/>
              <a:headEnd/>
              <a:tailEnd/>
            </a:ln>
          </p:spPr>
          <p:txBody>
            <a:bodyPr lIns="36000" tIns="36000" rIns="36000" bIns="504000" anchor="ctr">
              <a:noAutofit/>
            </a:bodyPr>
            <a:lstStyle/>
            <a:p>
              <a:pPr algn="ctr">
                <a:defRPr/>
              </a:pPr>
              <a:r>
                <a:rPr lang="en-US" sz="1200" dirty="0">
                  <a:solidFill>
                    <a:schemeClr val="bg1"/>
                  </a:solidFill>
                </a:rPr>
                <a:t>Text</a:t>
              </a:r>
            </a:p>
          </p:txBody>
        </p:sp>
        <p:sp>
          <p:nvSpPr>
            <p:cNvPr id="11" name="Freeform 8"/>
            <p:cNvSpPr>
              <a:spLocks/>
            </p:cNvSpPr>
            <p:nvPr/>
          </p:nvSpPr>
          <p:spPr bwMode="blackWhite">
            <a:xfrm>
              <a:off x="1525588" y="3476625"/>
              <a:ext cx="1766887" cy="1379538"/>
            </a:xfrm>
            <a:custGeom>
              <a:avLst/>
              <a:gdLst>
                <a:gd name="T0" fmla="*/ 2147483647 w 936"/>
                <a:gd name="T1" fmla="*/ 2147483647 h 696"/>
                <a:gd name="T2" fmla="*/ 2147483647 w 936"/>
                <a:gd name="T3" fmla="*/ 2147483647 h 696"/>
                <a:gd name="T4" fmla="*/ 2147483647 w 936"/>
                <a:gd name="T5" fmla="*/ 2147483647 h 696"/>
                <a:gd name="T6" fmla="*/ 2147483647 w 936"/>
                <a:gd name="T7" fmla="*/ 2147483647 h 696"/>
                <a:gd name="T8" fmla="*/ 2147483647 w 936"/>
                <a:gd name="T9" fmla="*/ 2147483647 h 696"/>
                <a:gd name="T10" fmla="*/ 2147483647 w 936"/>
                <a:gd name="T11" fmla="*/ 2147483647 h 696"/>
                <a:gd name="T12" fmla="*/ 2147483647 w 936"/>
                <a:gd name="T13" fmla="*/ 2147483647 h 696"/>
                <a:gd name="T14" fmla="*/ 2147483647 w 936"/>
                <a:gd name="T15" fmla="*/ 2147483647 h 696"/>
                <a:gd name="T16" fmla="*/ 2147483647 w 936"/>
                <a:gd name="T17" fmla="*/ 2147483647 h 696"/>
                <a:gd name="T18" fmla="*/ 2147483647 w 936"/>
                <a:gd name="T19" fmla="*/ 0 h 696"/>
                <a:gd name="T20" fmla="*/ 0 w 936"/>
                <a:gd name="T21" fmla="*/ 2147483647 h 696"/>
                <a:gd name="T22" fmla="*/ 2147483647 w 936"/>
                <a:gd name="T23" fmla="*/ 2147483647 h 696"/>
                <a:gd name="T24" fmla="*/ 2147483647 w 936"/>
                <a:gd name="T25" fmla="*/ 2147483647 h 696"/>
                <a:gd name="T26" fmla="*/ 2147483647 w 936"/>
                <a:gd name="T27" fmla="*/ 2147483647 h 696"/>
                <a:gd name="T28" fmla="*/ 2147483647 w 936"/>
                <a:gd name="T29" fmla="*/ 2147483647 h 696"/>
                <a:gd name="T30" fmla="*/ 2147483647 w 936"/>
                <a:gd name="T31" fmla="*/ 2147483647 h 696"/>
                <a:gd name="T32" fmla="*/ 2147483647 w 936"/>
                <a:gd name="T33" fmla="*/ 2147483647 h 696"/>
                <a:gd name="T34" fmla="*/ 2147483647 w 936"/>
                <a:gd name="T35" fmla="*/ 2147483647 h 696"/>
                <a:gd name="T36" fmla="*/ 2147483647 w 936"/>
                <a:gd name="T37" fmla="*/ 2147483647 h 696"/>
                <a:gd name="T38" fmla="*/ 2147483647 w 936"/>
                <a:gd name="T39" fmla="*/ 2147483647 h 696"/>
                <a:gd name="T40" fmla="*/ 2147483647 w 936"/>
                <a:gd name="T41" fmla="*/ 2147483647 h 696"/>
                <a:gd name="T42" fmla="*/ 2147483647 w 936"/>
                <a:gd name="T43" fmla="*/ 2147483647 h 696"/>
                <a:gd name="T44" fmla="*/ 2147483647 w 936"/>
                <a:gd name="T45" fmla="*/ 2147483647 h 696"/>
                <a:gd name="T46" fmla="*/ 2147483647 w 936"/>
                <a:gd name="T47" fmla="*/ 2147483647 h 696"/>
                <a:gd name="T48" fmla="*/ 2147483647 w 936"/>
                <a:gd name="T49" fmla="*/ 2147483647 h 696"/>
                <a:gd name="T50" fmla="*/ 2147483647 w 936"/>
                <a:gd name="T51" fmla="*/ 2147483647 h 696"/>
                <a:gd name="T52" fmla="*/ 2147483647 w 936"/>
                <a:gd name="T53" fmla="*/ 2147483647 h 696"/>
                <a:gd name="T54" fmla="*/ 2147483647 w 936"/>
                <a:gd name="T55" fmla="*/ 2147483647 h 696"/>
                <a:gd name="T56" fmla="*/ 2147483647 w 936"/>
                <a:gd name="T57" fmla="*/ 2147483647 h 696"/>
                <a:gd name="T58" fmla="*/ 2147483647 w 936"/>
                <a:gd name="T59" fmla="*/ 2147483647 h 69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36"/>
                <a:gd name="T91" fmla="*/ 0 h 696"/>
                <a:gd name="T92" fmla="*/ 936 w 936"/>
                <a:gd name="T93" fmla="*/ 696 h 69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36" h="696">
                  <a:moveTo>
                    <a:pt x="532" y="222"/>
                  </a:moveTo>
                  <a:lnTo>
                    <a:pt x="519" y="220"/>
                  </a:lnTo>
                  <a:lnTo>
                    <a:pt x="507" y="216"/>
                  </a:lnTo>
                  <a:lnTo>
                    <a:pt x="496" y="210"/>
                  </a:lnTo>
                  <a:lnTo>
                    <a:pt x="487" y="201"/>
                  </a:lnTo>
                  <a:lnTo>
                    <a:pt x="479" y="190"/>
                  </a:lnTo>
                  <a:lnTo>
                    <a:pt x="474" y="179"/>
                  </a:lnTo>
                  <a:lnTo>
                    <a:pt x="472" y="165"/>
                  </a:lnTo>
                  <a:lnTo>
                    <a:pt x="472" y="94"/>
                  </a:lnTo>
                  <a:lnTo>
                    <a:pt x="231" y="0"/>
                  </a:lnTo>
                  <a:lnTo>
                    <a:pt x="0" y="91"/>
                  </a:lnTo>
                  <a:lnTo>
                    <a:pt x="1" y="435"/>
                  </a:lnTo>
                  <a:lnTo>
                    <a:pt x="1" y="468"/>
                  </a:lnTo>
                  <a:lnTo>
                    <a:pt x="2" y="498"/>
                  </a:lnTo>
                  <a:lnTo>
                    <a:pt x="5" y="527"/>
                  </a:lnTo>
                  <a:lnTo>
                    <a:pt x="11" y="553"/>
                  </a:lnTo>
                  <a:lnTo>
                    <a:pt x="18" y="577"/>
                  </a:lnTo>
                  <a:lnTo>
                    <a:pt x="28" y="599"/>
                  </a:lnTo>
                  <a:lnTo>
                    <a:pt x="39" y="619"/>
                  </a:lnTo>
                  <a:lnTo>
                    <a:pt x="52" y="637"/>
                  </a:lnTo>
                  <a:lnTo>
                    <a:pt x="66" y="652"/>
                  </a:lnTo>
                  <a:lnTo>
                    <a:pt x="82" y="665"/>
                  </a:lnTo>
                  <a:lnTo>
                    <a:pt x="100" y="676"/>
                  </a:lnTo>
                  <a:lnTo>
                    <a:pt x="120" y="685"/>
                  </a:lnTo>
                  <a:lnTo>
                    <a:pt x="142" y="691"/>
                  </a:lnTo>
                  <a:lnTo>
                    <a:pt x="165" y="694"/>
                  </a:lnTo>
                  <a:lnTo>
                    <a:pt x="935" y="695"/>
                  </a:lnTo>
                  <a:lnTo>
                    <a:pt x="935" y="221"/>
                  </a:lnTo>
                  <a:lnTo>
                    <a:pt x="734" y="220"/>
                  </a:lnTo>
                  <a:lnTo>
                    <a:pt x="532" y="222"/>
                  </a:lnTo>
                </a:path>
              </a:pathLst>
            </a:custGeom>
            <a:solidFill>
              <a:schemeClr val="bg2"/>
            </a:solidFill>
            <a:ln w="12700" cap="rnd">
              <a:noFill/>
              <a:round/>
              <a:headEnd/>
              <a:tailEnd/>
            </a:ln>
          </p:spPr>
          <p:txBody>
            <a:bodyPr lIns="36000" tIns="36000" rIns="504000" bIns="36000" anchor="ctr">
              <a:noAutofit/>
            </a:bodyPr>
            <a:lstStyle/>
            <a:p>
              <a:pPr algn="ctr">
                <a:defRPr/>
              </a:pPr>
              <a:r>
                <a:rPr lang="en-US" sz="1200" dirty="0">
                  <a:solidFill>
                    <a:schemeClr val="tx2"/>
                  </a:solidFill>
                </a:rPr>
                <a:t>Text</a:t>
              </a:r>
            </a:p>
          </p:txBody>
        </p:sp>
        <p:sp>
          <p:nvSpPr>
            <p:cNvPr id="12" name="Freeform 9"/>
            <p:cNvSpPr>
              <a:spLocks/>
            </p:cNvSpPr>
            <p:nvPr/>
          </p:nvSpPr>
          <p:spPr bwMode="blackWhite">
            <a:xfrm>
              <a:off x="1527175" y="2287588"/>
              <a:ext cx="1296988" cy="1335087"/>
            </a:xfrm>
            <a:custGeom>
              <a:avLst/>
              <a:gdLst>
                <a:gd name="T0" fmla="*/ 2147483647 w 686"/>
                <a:gd name="T1" fmla="*/ 2147483647 h 673"/>
                <a:gd name="T2" fmla="*/ 2147483647 w 686"/>
                <a:gd name="T3" fmla="*/ 2147483647 h 673"/>
                <a:gd name="T4" fmla="*/ 2147483647 w 686"/>
                <a:gd name="T5" fmla="*/ 2147483647 h 673"/>
                <a:gd name="T6" fmla="*/ 2147483647 w 686"/>
                <a:gd name="T7" fmla="*/ 2147483647 h 673"/>
                <a:gd name="T8" fmla="*/ 2147483647 w 686"/>
                <a:gd name="T9" fmla="*/ 2147483647 h 673"/>
                <a:gd name="T10" fmla="*/ 2147483647 w 686"/>
                <a:gd name="T11" fmla="*/ 2147483647 h 673"/>
                <a:gd name="T12" fmla="*/ 2147483647 w 686"/>
                <a:gd name="T13" fmla="*/ 2147483647 h 673"/>
                <a:gd name="T14" fmla="*/ 2147483647 w 686"/>
                <a:gd name="T15" fmla="*/ 2147483647 h 673"/>
                <a:gd name="T16" fmla="*/ 2147483647 w 686"/>
                <a:gd name="T17" fmla="*/ 2147483647 h 673"/>
                <a:gd name="T18" fmla="*/ 2147483647 w 686"/>
                <a:gd name="T19" fmla="*/ 2147483647 h 673"/>
                <a:gd name="T20" fmla="*/ 2147483647 w 686"/>
                <a:gd name="T21" fmla="*/ 2147483647 h 673"/>
                <a:gd name="T22" fmla="*/ 2147483647 w 686"/>
                <a:gd name="T23" fmla="*/ 2147483647 h 673"/>
                <a:gd name="T24" fmla="*/ 2147483647 w 686"/>
                <a:gd name="T25" fmla="*/ 0 h 673"/>
                <a:gd name="T26" fmla="*/ 2147483647 w 686"/>
                <a:gd name="T27" fmla="*/ 2147483647 h 673"/>
                <a:gd name="T28" fmla="*/ 2147483647 w 686"/>
                <a:gd name="T29" fmla="*/ 2147483647 h 673"/>
                <a:gd name="T30" fmla="*/ 2147483647 w 686"/>
                <a:gd name="T31" fmla="*/ 2147483647 h 673"/>
                <a:gd name="T32" fmla="*/ 2147483647 w 686"/>
                <a:gd name="T33" fmla="*/ 2147483647 h 673"/>
                <a:gd name="T34" fmla="*/ 2147483647 w 686"/>
                <a:gd name="T35" fmla="*/ 2147483647 h 673"/>
                <a:gd name="T36" fmla="*/ 2147483647 w 686"/>
                <a:gd name="T37" fmla="*/ 2147483647 h 673"/>
                <a:gd name="T38" fmla="*/ 2147483647 w 686"/>
                <a:gd name="T39" fmla="*/ 2147483647 h 673"/>
                <a:gd name="T40" fmla="*/ 2147483647 w 686"/>
                <a:gd name="T41" fmla="*/ 2147483647 h 673"/>
                <a:gd name="T42" fmla="*/ 2147483647 w 686"/>
                <a:gd name="T43" fmla="*/ 2147483647 h 673"/>
                <a:gd name="T44" fmla="*/ 2147483647 w 686"/>
                <a:gd name="T45" fmla="*/ 2147483647 h 673"/>
                <a:gd name="T46" fmla="*/ 2147483647 w 686"/>
                <a:gd name="T47" fmla="*/ 2147483647 h 673"/>
                <a:gd name="T48" fmla="*/ 2147483647 w 686"/>
                <a:gd name="T49" fmla="*/ 2147483647 h 673"/>
                <a:gd name="T50" fmla="*/ 0 w 686"/>
                <a:gd name="T51" fmla="*/ 2147483647 h 673"/>
                <a:gd name="T52" fmla="*/ 0 w 686"/>
                <a:gd name="T53" fmla="*/ 2147483647 h 673"/>
                <a:gd name="T54" fmla="*/ 2147483647 w 686"/>
                <a:gd name="T55" fmla="*/ 2147483647 h 673"/>
                <a:gd name="T56" fmla="*/ 2147483647 w 686"/>
                <a:gd name="T57" fmla="*/ 2147483647 h 673"/>
                <a:gd name="T58" fmla="*/ 2147483647 w 686"/>
                <a:gd name="T59" fmla="*/ 2147483647 h 6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86"/>
                <a:gd name="T91" fmla="*/ 0 h 673"/>
                <a:gd name="T92" fmla="*/ 686 w 686"/>
                <a:gd name="T93" fmla="*/ 673 h 6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86" h="673">
                  <a:moveTo>
                    <a:pt x="466" y="525"/>
                  </a:moveTo>
                  <a:lnTo>
                    <a:pt x="468" y="514"/>
                  </a:lnTo>
                  <a:lnTo>
                    <a:pt x="473" y="502"/>
                  </a:lnTo>
                  <a:lnTo>
                    <a:pt x="479" y="492"/>
                  </a:lnTo>
                  <a:lnTo>
                    <a:pt x="489" y="484"/>
                  </a:lnTo>
                  <a:lnTo>
                    <a:pt x="499" y="477"/>
                  </a:lnTo>
                  <a:lnTo>
                    <a:pt x="511" y="474"/>
                  </a:lnTo>
                  <a:lnTo>
                    <a:pt x="523" y="472"/>
                  </a:lnTo>
                  <a:lnTo>
                    <a:pt x="592" y="471"/>
                  </a:lnTo>
                  <a:lnTo>
                    <a:pt x="685" y="231"/>
                  </a:lnTo>
                  <a:lnTo>
                    <a:pt x="601" y="1"/>
                  </a:lnTo>
                  <a:lnTo>
                    <a:pt x="255" y="1"/>
                  </a:lnTo>
                  <a:lnTo>
                    <a:pt x="223" y="0"/>
                  </a:lnTo>
                  <a:lnTo>
                    <a:pt x="194" y="1"/>
                  </a:lnTo>
                  <a:lnTo>
                    <a:pt x="166" y="4"/>
                  </a:lnTo>
                  <a:lnTo>
                    <a:pt x="140" y="10"/>
                  </a:lnTo>
                  <a:lnTo>
                    <a:pt x="116" y="18"/>
                  </a:lnTo>
                  <a:lnTo>
                    <a:pt x="93" y="27"/>
                  </a:lnTo>
                  <a:lnTo>
                    <a:pt x="75" y="38"/>
                  </a:lnTo>
                  <a:lnTo>
                    <a:pt x="57" y="50"/>
                  </a:lnTo>
                  <a:lnTo>
                    <a:pt x="42" y="64"/>
                  </a:lnTo>
                  <a:lnTo>
                    <a:pt x="30" y="81"/>
                  </a:lnTo>
                  <a:lnTo>
                    <a:pt x="19" y="99"/>
                  </a:lnTo>
                  <a:lnTo>
                    <a:pt x="10" y="119"/>
                  </a:lnTo>
                  <a:lnTo>
                    <a:pt x="4" y="141"/>
                  </a:lnTo>
                  <a:lnTo>
                    <a:pt x="0" y="164"/>
                  </a:lnTo>
                  <a:lnTo>
                    <a:pt x="0" y="666"/>
                  </a:lnTo>
                  <a:lnTo>
                    <a:pt x="224" y="575"/>
                  </a:lnTo>
                  <a:lnTo>
                    <a:pt x="466" y="672"/>
                  </a:lnTo>
                  <a:lnTo>
                    <a:pt x="466" y="525"/>
                  </a:lnTo>
                </a:path>
              </a:pathLst>
            </a:custGeom>
            <a:solidFill>
              <a:schemeClr val="accent6"/>
            </a:solidFill>
            <a:ln w="12700" cap="rnd">
              <a:noFill/>
              <a:round/>
              <a:headEnd/>
              <a:tailEnd/>
            </a:ln>
          </p:spPr>
          <p:txBody>
            <a:bodyPr lIns="36000" tIns="36000" rIns="36000" bIns="468000" anchor="ctr">
              <a:noAutofit/>
            </a:bodyPr>
            <a:lstStyle/>
            <a:p>
              <a:pPr algn="ctr">
                <a:defRPr/>
              </a:pPr>
              <a:r>
                <a:rPr lang="en-US" sz="1200" dirty="0"/>
                <a:t>Text</a:t>
              </a:r>
            </a:p>
          </p:txBody>
        </p:sp>
      </p:grpSp>
      <p:sp>
        <p:nvSpPr>
          <p:cNvPr id="14" name="TextBox 13">
            <a:extLst>
              <a:ext uri="{FF2B5EF4-FFF2-40B4-BE49-F238E27FC236}">
                <a16:creationId xmlns:a16="http://schemas.microsoft.com/office/drawing/2014/main" id="{77734618-784D-45B3-A11B-26B7106C4DE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4039015507"/>
      </p:ext>
    </p:extLst>
  </p:cSld>
  <p:clrMapOvr>
    <a:masterClrMapping/>
  </p:clrMapOvr>
  <p:transition>
    <p:fade/>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16129" name="Title 1"/>
          <p:cNvSpPr>
            <a:spLocks noGrp="1"/>
          </p:cNvSpPr>
          <p:nvPr>
            <p:ph type="title"/>
          </p:nvPr>
        </p:nvSpPr>
        <p:spPr/>
        <p:txBody>
          <a:bodyPr/>
          <a:lstStyle/>
          <a:p>
            <a:r>
              <a:rPr lang="en-US" dirty="0"/>
              <a:t>Cutout</a:t>
            </a:r>
          </a:p>
        </p:txBody>
      </p:sp>
      <p:grpSp>
        <p:nvGrpSpPr>
          <p:cNvPr id="2" name="Group 1">
            <a:extLst>
              <a:ext uri="{FF2B5EF4-FFF2-40B4-BE49-F238E27FC236}">
                <a16:creationId xmlns:a16="http://schemas.microsoft.com/office/drawing/2014/main" id="{361ADF74-2060-42FA-8FB7-85406A5BBB0C}"/>
              </a:ext>
            </a:extLst>
          </p:cNvPr>
          <p:cNvGrpSpPr/>
          <p:nvPr/>
        </p:nvGrpSpPr>
        <p:grpSpPr>
          <a:xfrm>
            <a:off x="1776248" y="2010528"/>
            <a:ext cx="9196552" cy="4286119"/>
            <a:chOff x="3773489" y="2286000"/>
            <a:chExt cx="4575175" cy="3162300"/>
          </a:xfrm>
        </p:grpSpPr>
        <p:sp>
          <p:nvSpPr>
            <p:cNvPr id="13" name="Freeform 2"/>
            <p:cNvSpPr>
              <a:spLocks/>
            </p:cNvSpPr>
            <p:nvPr/>
          </p:nvSpPr>
          <p:spPr bwMode="blackWhite">
            <a:xfrm>
              <a:off x="3773489" y="2286000"/>
              <a:ext cx="4575175" cy="3162300"/>
            </a:xfrm>
            <a:custGeom>
              <a:avLst/>
              <a:gdLst>
                <a:gd name="T0" fmla="*/ 0 w 3059"/>
                <a:gd name="T1" fmla="*/ 0 h 1952"/>
                <a:gd name="T2" fmla="*/ 2147483647 w 3059"/>
                <a:gd name="T3" fmla="*/ 0 h 1952"/>
                <a:gd name="T4" fmla="*/ 2147483647 w 3059"/>
                <a:gd name="T5" fmla="*/ 2147483647 h 1952"/>
                <a:gd name="T6" fmla="*/ 2147483647 w 3059"/>
                <a:gd name="T7" fmla="*/ 2147483647 h 1952"/>
                <a:gd name="T8" fmla="*/ 2147483647 w 3059"/>
                <a:gd name="T9" fmla="*/ 2147483647 h 1952"/>
                <a:gd name="T10" fmla="*/ 2147483647 w 3059"/>
                <a:gd name="T11" fmla="*/ 2147483647 h 1952"/>
                <a:gd name="T12" fmla="*/ 2147483647 w 3059"/>
                <a:gd name="T13" fmla="*/ 2147483647 h 1952"/>
                <a:gd name="T14" fmla="*/ 2147483647 w 3059"/>
                <a:gd name="T15" fmla="*/ 2147483647 h 1952"/>
                <a:gd name="T16" fmla="*/ 2147483647 w 3059"/>
                <a:gd name="T17" fmla="*/ 2147483647 h 1952"/>
                <a:gd name="T18" fmla="*/ 2147483647 w 3059"/>
                <a:gd name="T19" fmla="*/ 2147483647 h 1952"/>
                <a:gd name="T20" fmla="*/ 2147483647 w 3059"/>
                <a:gd name="T21" fmla="*/ 2147483647 h 1952"/>
                <a:gd name="T22" fmla="*/ 0 w 3059"/>
                <a:gd name="T23" fmla="*/ 2147483647 h 1952"/>
                <a:gd name="T24" fmla="*/ 0 w 3059"/>
                <a:gd name="T25" fmla="*/ 2147483647 h 1952"/>
                <a:gd name="T26" fmla="*/ 2147483647 w 3059"/>
                <a:gd name="T27" fmla="*/ 2147483647 h 1952"/>
                <a:gd name="T28" fmla="*/ 2147483647 w 3059"/>
                <a:gd name="T29" fmla="*/ 2147483647 h 1952"/>
                <a:gd name="T30" fmla="*/ 2147483647 w 3059"/>
                <a:gd name="T31" fmla="*/ 2147483647 h 1952"/>
                <a:gd name="T32" fmla="*/ 2147483647 w 3059"/>
                <a:gd name="T33" fmla="*/ 2147483647 h 1952"/>
                <a:gd name="T34" fmla="*/ 2147483647 w 3059"/>
                <a:gd name="T35" fmla="*/ 2147483647 h 1952"/>
                <a:gd name="T36" fmla="*/ 0 w 3059"/>
                <a:gd name="T37" fmla="*/ 2147483647 h 1952"/>
                <a:gd name="T38" fmla="*/ 0 w 3059"/>
                <a:gd name="T39" fmla="*/ 0 h 19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59"/>
                <a:gd name="T61" fmla="*/ 0 h 1952"/>
                <a:gd name="T62" fmla="*/ 3059 w 3059"/>
                <a:gd name="T63" fmla="*/ 1952 h 19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59" h="1952">
                  <a:moveTo>
                    <a:pt x="0" y="0"/>
                  </a:moveTo>
                  <a:lnTo>
                    <a:pt x="2250" y="0"/>
                  </a:lnTo>
                  <a:lnTo>
                    <a:pt x="2250" y="478"/>
                  </a:lnTo>
                  <a:lnTo>
                    <a:pt x="2855" y="478"/>
                  </a:lnTo>
                  <a:lnTo>
                    <a:pt x="2855" y="243"/>
                  </a:lnTo>
                  <a:lnTo>
                    <a:pt x="3058" y="971"/>
                  </a:lnTo>
                  <a:lnTo>
                    <a:pt x="2848" y="1684"/>
                  </a:lnTo>
                  <a:lnTo>
                    <a:pt x="2841" y="1684"/>
                  </a:lnTo>
                  <a:lnTo>
                    <a:pt x="2841" y="1450"/>
                  </a:lnTo>
                  <a:lnTo>
                    <a:pt x="2250" y="1450"/>
                  </a:lnTo>
                  <a:lnTo>
                    <a:pt x="2250" y="1951"/>
                  </a:lnTo>
                  <a:lnTo>
                    <a:pt x="0" y="1951"/>
                  </a:lnTo>
                  <a:lnTo>
                    <a:pt x="0" y="1450"/>
                  </a:lnTo>
                  <a:lnTo>
                    <a:pt x="606" y="1450"/>
                  </a:lnTo>
                  <a:lnTo>
                    <a:pt x="606" y="1676"/>
                  </a:lnTo>
                  <a:lnTo>
                    <a:pt x="807" y="971"/>
                  </a:lnTo>
                  <a:lnTo>
                    <a:pt x="606" y="250"/>
                  </a:lnTo>
                  <a:lnTo>
                    <a:pt x="606" y="478"/>
                  </a:lnTo>
                  <a:lnTo>
                    <a:pt x="0" y="478"/>
                  </a:lnTo>
                  <a:lnTo>
                    <a:pt x="0" y="0"/>
                  </a:lnTo>
                </a:path>
              </a:pathLst>
            </a:custGeom>
            <a:solidFill>
              <a:schemeClr val="accent3"/>
            </a:solidFill>
            <a:ln w="12700" cap="rnd">
              <a:noFill/>
              <a:round/>
              <a:headEnd/>
              <a:tailEnd/>
            </a:ln>
          </p:spPr>
          <p:txBody>
            <a:bodyPr wrap="square" lIns="36000" tIns="36000" rIns="36000" bIns="36000">
              <a:noAutofit/>
            </a:bodyPr>
            <a:lstStyle/>
            <a:p>
              <a:pPr>
                <a:defRPr/>
              </a:pPr>
              <a:endParaRPr lang="en-US" sz="1400" dirty="0"/>
            </a:p>
          </p:txBody>
        </p:sp>
        <p:sp>
          <p:nvSpPr>
            <p:cNvPr id="16" name="Rectangle 3"/>
            <p:cNvSpPr>
              <a:spLocks noChangeArrowheads="1"/>
            </p:cNvSpPr>
            <p:nvPr/>
          </p:nvSpPr>
          <p:spPr bwMode="auto">
            <a:xfrm>
              <a:off x="3913188" y="2361003"/>
              <a:ext cx="321945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17" name="Rectangle 4"/>
            <p:cNvSpPr>
              <a:spLocks noChangeArrowheads="1"/>
            </p:cNvSpPr>
            <p:nvPr/>
          </p:nvSpPr>
          <p:spPr bwMode="auto">
            <a:xfrm>
              <a:off x="3913188" y="3779434"/>
              <a:ext cx="85090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t>Text</a:t>
              </a:r>
            </a:p>
          </p:txBody>
        </p:sp>
        <p:sp>
          <p:nvSpPr>
            <p:cNvPr id="18" name="Rectangle 5"/>
            <p:cNvSpPr>
              <a:spLocks noChangeArrowheads="1"/>
            </p:cNvSpPr>
            <p:nvPr/>
          </p:nvSpPr>
          <p:spPr bwMode="auto">
            <a:xfrm>
              <a:off x="5124450" y="3779434"/>
              <a:ext cx="294640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19" name="Rectangle 6"/>
            <p:cNvSpPr>
              <a:spLocks noChangeArrowheads="1"/>
            </p:cNvSpPr>
            <p:nvPr/>
          </p:nvSpPr>
          <p:spPr bwMode="auto">
            <a:xfrm>
              <a:off x="3913188" y="5183578"/>
              <a:ext cx="3219450" cy="175433"/>
            </a:xfrm>
            <a:prstGeom prst="rect">
              <a:avLst/>
            </a:prstGeom>
            <a:noFill/>
            <a:ln w="9525">
              <a:noFill/>
              <a:miter lim="800000"/>
              <a:headEnd/>
              <a:tailEnd/>
            </a:ln>
          </p:spPr>
          <p:txBody>
            <a:bodyPr wrap="square" lIns="0" tIns="0" rIns="0" bIns="0" anchor="ctr" anchorCtr="0">
              <a:spAutoFit/>
            </a:bodyPr>
            <a:lstStyle/>
            <a:p>
              <a:pPr defTabSz="787400">
                <a:lnSpc>
                  <a:spcPct val="95000"/>
                </a:lnSpc>
                <a:spcBef>
                  <a:spcPct val="80000"/>
                </a:spcBef>
              </a:pPr>
              <a:r>
                <a:rPr lang="en-US" sz="1200" dirty="0">
                  <a:solidFill>
                    <a:schemeClr val="bg1"/>
                  </a:solidFill>
                </a:rPr>
                <a:t>Text</a:t>
              </a:r>
            </a:p>
          </p:txBody>
        </p:sp>
      </p:grpSp>
      <p:sp>
        <p:nvSpPr>
          <p:cNvPr id="14" name="TextBox 13">
            <a:extLst>
              <a:ext uri="{FF2B5EF4-FFF2-40B4-BE49-F238E27FC236}">
                <a16:creationId xmlns:a16="http://schemas.microsoft.com/office/drawing/2014/main" id="{495273F4-92BA-4FC5-A093-1B0DD3AF2BF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87788268"/>
      </p:ext>
    </p:extLst>
  </p:cSld>
  <p:clrMapOvr>
    <a:masterClrMapping/>
  </p:clrMapOvr>
  <p:transition>
    <p:fade/>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Subtitle runs here</a:t>
            </a:r>
          </a:p>
        </p:txBody>
      </p:sp>
      <p:sp>
        <p:nvSpPr>
          <p:cNvPr id="816129" name="Title 1"/>
          <p:cNvSpPr>
            <a:spLocks noGrp="1"/>
          </p:cNvSpPr>
          <p:nvPr>
            <p:ph type="title"/>
          </p:nvPr>
        </p:nvSpPr>
        <p:spPr/>
        <p:txBody>
          <a:bodyPr/>
          <a:lstStyle/>
          <a:p>
            <a:r>
              <a:rPr lang="en-US" dirty="0"/>
              <a:t>Linear</a:t>
            </a:r>
          </a:p>
        </p:txBody>
      </p:sp>
      <p:grpSp>
        <p:nvGrpSpPr>
          <p:cNvPr id="2" name="Group 1">
            <a:extLst>
              <a:ext uri="{FF2B5EF4-FFF2-40B4-BE49-F238E27FC236}">
                <a16:creationId xmlns:a16="http://schemas.microsoft.com/office/drawing/2014/main" id="{FFD9D0BB-D1A6-4A7C-8964-164A4469E356}"/>
              </a:ext>
            </a:extLst>
          </p:cNvPr>
          <p:cNvGrpSpPr/>
          <p:nvPr/>
        </p:nvGrpSpPr>
        <p:grpSpPr>
          <a:xfrm>
            <a:off x="590231" y="1910322"/>
            <a:ext cx="10676859" cy="4009287"/>
            <a:chOff x="1963738" y="2286001"/>
            <a:chExt cx="8142287" cy="3057525"/>
          </a:xfrm>
        </p:grpSpPr>
        <p:sp>
          <p:nvSpPr>
            <p:cNvPr id="14" name="Freeform 3"/>
            <p:cNvSpPr>
              <a:spLocks/>
            </p:cNvSpPr>
            <p:nvPr/>
          </p:nvSpPr>
          <p:spPr bwMode="blackWhite">
            <a:xfrm>
              <a:off x="3836746" y="2286001"/>
              <a:ext cx="2259254" cy="3057525"/>
            </a:xfrm>
            <a:custGeom>
              <a:avLst/>
              <a:gdLst>
                <a:gd name="T0" fmla="*/ 0 w 1978"/>
                <a:gd name="T1" fmla="*/ 368 h 2696"/>
                <a:gd name="T2" fmla="*/ 1695 w 1978"/>
                <a:gd name="T3" fmla="*/ 368 h 2696"/>
                <a:gd name="T4" fmla="*/ 1695 w 1978"/>
                <a:gd name="T5" fmla="*/ 0 h 2696"/>
                <a:gd name="T6" fmla="*/ 2142 w 1978"/>
                <a:gd name="T7" fmla="*/ 1473 h 2696"/>
                <a:gd name="T8" fmla="*/ 1695 w 1978"/>
                <a:gd name="T9" fmla="*/ 2917 h 2696"/>
                <a:gd name="T10" fmla="*/ 1695 w 1978"/>
                <a:gd name="T11" fmla="*/ 2590 h 2696"/>
                <a:gd name="T12" fmla="*/ 0 w 1978"/>
                <a:gd name="T13" fmla="*/ 2590 h 2696"/>
                <a:gd name="T14" fmla="*/ 0 60000 65536"/>
                <a:gd name="T15" fmla="*/ 0 60000 65536"/>
                <a:gd name="T16" fmla="*/ 0 60000 65536"/>
                <a:gd name="T17" fmla="*/ 0 60000 65536"/>
                <a:gd name="T18" fmla="*/ 0 60000 65536"/>
                <a:gd name="T19" fmla="*/ 0 60000 65536"/>
                <a:gd name="T20" fmla="*/ 0 60000 65536"/>
                <a:gd name="T21" fmla="*/ 0 w 1978"/>
                <a:gd name="T22" fmla="*/ 0 h 2696"/>
                <a:gd name="T23" fmla="*/ 1978 w 1978"/>
                <a:gd name="T24" fmla="*/ 2696 h 26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78" h="2696">
                  <a:moveTo>
                    <a:pt x="0" y="340"/>
                  </a:moveTo>
                  <a:lnTo>
                    <a:pt x="1564" y="340"/>
                  </a:lnTo>
                  <a:lnTo>
                    <a:pt x="1564" y="0"/>
                  </a:lnTo>
                  <a:lnTo>
                    <a:pt x="1977" y="1361"/>
                  </a:lnTo>
                  <a:lnTo>
                    <a:pt x="1564" y="2695"/>
                  </a:lnTo>
                  <a:lnTo>
                    <a:pt x="1564" y="2392"/>
                  </a:lnTo>
                  <a:lnTo>
                    <a:pt x="0" y="2392"/>
                  </a:lnTo>
                </a:path>
              </a:pathLst>
            </a:custGeom>
            <a:noFill/>
            <a:ln w="9525" cap="rnd">
              <a:solidFill>
                <a:schemeClr val="accent3"/>
              </a:solidFill>
              <a:round/>
              <a:headEnd type="none" w="sm" len="sm"/>
              <a:tailEnd type="none" w="sm" len="sm"/>
            </a:ln>
          </p:spPr>
          <p:txBody>
            <a:bodyPr lIns="36000" tIns="36000" rIns="36000" bIns="36000">
              <a:noAutofit/>
            </a:bodyPr>
            <a:lstStyle/>
            <a:p>
              <a:pPr>
                <a:defRPr/>
              </a:pPr>
              <a:endParaRPr lang="en-US" dirty="0"/>
            </a:p>
          </p:txBody>
        </p:sp>
        <p:sp>
          <p:nvSpPr>
            <p:cNvPr id="15" name="Freeform 4"/>
            <p:cNvSpPr>
              <a:spLocks/>
            </p:cNvSpPr>
            <p:nvPr/>
          </p:nvSpPr>
          <p:spPr bwMode="blackWhite">
            <a:xfrm>
              <a:off x="1963738" y="2671805"/>
              <a:ext cx="2311872" cy="1127393"/>
            </a:xfrm>
            <a:custGeom>
              <a:avLst/>
              <a:gdLst>
                <a:gd name="T0" fmla="*/ 1775 w 2024"/>
                <a:gd name="T1" fmla="*/ 470 h 994"/>
                <a:gd name="T2" fmla="*/ 1775 w 2024"/>
                <a:gd name="T3" fmla="*/ 0 h 994"/>
                <a:gd name="T4" fmla="*/ 2193 w 2024"/>
                <a:gd name="T5" fmla="*/ 1075 h 994"/>
                <a:gd name="T6" fmla="*/ 0 w 2024"/>
                <a:gd name="T7" fmla="*/ 1075 h 994"/>
                <a:gd name="T8" fmla="*/ 0 w 2024"/>
                <a:gd name="T9" fmla="*/ 470 h 994"/>
                <a:gd name="T10" fmla="*/ 1775 w 2024"/>
                <a:gd name="T11" fmla="*/ 470 h 994"/>
                <a:gd name="T12" fmla="*/ 0 60000 65536"/>
                <a:gd name="T13" fmla="*/ 0 60000 65536"/>
                <a:gd name="T14" fmla="*/ 0 60000 65536"/>
                <a:gd name="T15" fmla="*/ 0 60000 65536"/>
                <a:gd name="T16" fmla="*/ 0 60000 65536"/>
                <a:gd name="T17" fmla="*/ 0 60000 65536"/>
                <a:gd name="T18" fmla="*/ 0 w 2024"/>
                <a:gd name="T19" fmla="*/ 0 h 994"/>
                <a:gd name="T20" fmla="*/ 2024 w 2024"/>
                <a:gd name="T21" fmla="*/ 994 h 994"/>
              </a:gdLst>
              <a:ahLst/>
              <a:cxnLst>
                <a:cxn ang="T12">
                  <a:pos x="T0" y="T1"/>
                </a:cxn>
                <a:cxn ang="T13">
                  <a:pos x="T2" y="T3"/>
                </a:cxn>
                <a:cxn ang="T14">
                  <a:pos x="T4" y="T5"/>
                </a:cxn>
                <a:cxn ang="T15">
                  <a:pos x="T6" y="T7"/>
                </a:cxn>
                <a:cxn ang="T16">
                  <a:pos x="T8" y="T9"/>
                </a:cxn>
                <a:cxn ang="T17">
                  <a:pos x="T10" y="T11"/>
                </a:cxn>
              </a:cxnLst>
              <a:rect l="T18" t="T19" r="T20" b="T21"/>
              <a:pathLst>
                <a:path w="2024" h="994">
                  <a:moveTo>
                    <a:pt x="1638" y="434"/>
                  </a:moveTo>
                  <a:lnTo>
                    <a:pt x="1638" y="0"/>
                  </a:lnTo>
                  <a:lnTo>
                    <a:pt x="2023" y="993"/>
                  </a:lnTo>
                  <a:lnTo>
                    <a:pt x="0" y="993"/>
                  </a:lnTo>
                  <a:lnTo>
                    <a:pt x="0" y="434"/>
                  </a:lnTo>
                  <a:lnTo>
                    <a:pt x="1638" y="434"/>
                  </a:lnTo>
                </a:path>
              </a:pathLst>
            </a:custGeom>
            <a:solidFill>
              <a:schemeClr val="accent3"/>
            </a:solidFill>
            <a:ln w="12700" cap="rnd">
              <a:noFill/>
              <a:round/>
              <a:headEnd/>
              <a:tailEnd/>
            </a:ln>
          </p:spPr>
          <p:txBody>
            <a:bodyPr lIns="36000" tIns="36000" rIns="36000" bIns="36000">
              <a:noAutofit/>
            </a:bodyPr>
            <a:lstStyle/>
            <a:p>
              <a:pPr>
                <a:defRPr/>
              </a:pPr>
              <a:endParaRPr lang="en-US" sz="1400" dirty="0"/>
            </a:p>
          </p:txBody>
        </p:sp>
        <p:sp>
          <p:nvSpPr>
            <p:cNvPr id="20" name="Freeform 5"/>
            <p:cNvSpPr>
              <a:spLocks/>
            </p:cNvSpPr>
            <p:nvPr/>
          </p:nvSpPr>
          <p:spPr bwMode="blackWhite">
            <a:xfrm>
              <a:off x="1963738" y="3874802"/>
              <a:ext cx="2311872" cy="1125169"/>
            </a:xfrm>
            <a:custGeom>
              <a:avLst/>
              <a:gdLst>
                <a:gd name="T0" fmla="*/ 1775 w 2024"/>
                <a:gd name="T1" fmla="*/ 604 h 993"/>
                <a:gd name="T2" fmla="*/ 1775 w 2024"/>
                <a:gd name="T3" fmla="*/ 1074 h 993"/>
                <a:gd name="T4" fmla="*/ 2193 w 2024"/>
                <a:gd name="T5" fmla="*/ 0 h 993"/>
                <a:gd name="T6" fmla="*/ 0 w 2024"/>
                <a:gd name="T7" fmla="*/ 0 h 993"/>
                <a:gd name="T8" fmla="*/ 0 w 2024"/>
                <a:gd name="T9" fmla="*/ 604 h 993"/>
                <a:gd name="T10" fmla="*/ 1775 w 2024"/>
                <a:gd name="T11" fmla="*/ 604 h 993"/>
                <a:gd name="T12" fmla="*/ 0 60000 65536"/>
                <a:gd name="T13" fmla="*/ 0 60000 65536"/>
                <a:gd name="T14" fmla="*/ 0 60000 65536"/>
                <a:gd name="T15" fmla="*/ 0 60000 65536"/>
                <a:gd name="T16" fmla="*/ 0 60000 65536"/>
                <a:gd name="T17" fmla="*/ 0 60000 65536"/>
                <a:gd name="T18" fmla="*/ 0 w 2024"/>
                <a:gd name="T19" fmla="*/ 0 h 993"/>
                <a:gd name="T20" fmla="*/ 2024 w 2024"/>
                <a:gd name="T21" fmla="*/ 993 h 993"/>
              </a:gdLst>
              <a:ahLst/>
              <a:cxnLst>
                <a:cxn ang="T12">
                  <a:pos x="T0" y="T1"/>
                </a:cxn>
                <a:cxn ang="T13">
                  <a:pos x="T2" y="T3"/>
                </a:cxn>
                <a:cxn ang="T14">
                  <a:pos x="T4" y="T5"/>
                </a:cxn>
                <a:cxn ang="T15">
                  <a:pos x="T6" y="T7"/>
                </a:cxn>
                <a:cxn ang="T16">
                  <a:pos x="T8" y="T9"/>
                </a:cxn>
                <a:cxn ang="T17">
                  <a:pos x="T10" y="T11"/>
                </a:cxn>
              </a:cxnLst>
              <a:rect l="T18" t="T19" r="T20" b="T21"/>
              <a:pathLst>
                <a:path w="2024" h="993">
                  <a:moveTo>
                    <a:pt x="1638" y="558"/>
                  </a:moveTo>
                  <a:lnTo>
                    <a:pt x="1638" y="992"/>
                  </a:lnTo>
                  <a:lnTo>
                    <a:pt x="2023" y="0"/>
                  </a:lnTo>
                  <a:lnTo>
                    <a:pt x="0" y="0"/>
                  </a:lnTo>
                  <a:lnTo>
                    <a:pt x="0" y="558"/>
                  </a:lnTo>
                  <a:lnTo>
                    <a:pt x="1638" y="558"/>
                  </a:lnTo>
                </a:path>
              </a:pathLst>
            </a:custGeom>
            <a:solidFill>
              <a:schemeClr val="accent3"/>
            </a:solidFill>
            <a:ln w="12700" cap="rnd">
              <a:noFill/>
              <a:round/>
              <a:headEnd/>
              <a:tailEnd/>
            </a:ln>
          </p:spPr>
          <p:txBody>
            <a:bodyPr lIns="36000" tIns="36000" rIns="36000" bIns="36000">
              <a:noAutofit/>
            </a:bodyPr>
            <a:lstStyle/>
            <a:p>
              <a:pPr>
                <a:defRPr/>
              </a:pPr>
              <a:endParaRPr lang="en-US" sz="1400" dirty="0"/>
            </a:p>
          </p:txBody>
        </p:sp>
        <p:sp>
          <p:nvSpPr>
            <p:cNvPr id="22" name="Rectangle 6"/>
            <p:cNvSpPr>
              <a:spLocks noChangeArrowheads="1"/>
            </p:cNvSpPr>
            <p:nvPr/>
          </p:nvSpPr>
          <p:spPr bwMode="auto">
            <a:xfrm>
              <a:off x="2052183" y="3272866"/>
              <a:ext cx="1405036"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23" name="Rectangle 7"/>
            <p:cNvSpPr>
              <a:spLocks noChangeArrowheads="1"/>
            </p:cNvSpPr>
            <p:nvPr/>
          </p:nvSpPr>
          <p:spPr bwMode="auto">
            <a:xfrm>
              <a:off x="2052183" y="3988882"/>
              <a:ext cx="1405036"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24" name="Rectangle 8"/>
            <p:cNvSpPr>
              <a:spLocks noChangeArrowheads="1"/>
            </p:cNvSpPr>
            <p:nvPr/>
          </p:nvSpPr>
          <p:spPr bwMode="auto">
            <a:xfrm>
              <a:off x="4356219" y="2784773"/>
              <a:ext cx="1283005"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t>Text</a:t>
              </a:r>
            </a:p>
          </p:txBody>
        </p:sp>
        <p:sp>
          <p:nvSpPr>
            <p:cNvPr id="26" name="Freeform 25"/>
            <p:cNvSpPr>
              <a:spLocks/>
            </p:cNvSpPr>
            <p:nvPr/>
          </p:nvSpPr>
          <p:spPr bwMode="blackWhite">
            <a:xfrm>
              <a:off x="6272213" y="3873238"/>
              <a:ext cx="3833812" cy="1441712"/>
            </a:xfrm>
            <a:custGeom>
              <a:avLst/>
              <a:gdLst>
                <a:gd name="T0" fmla="*/ 0 w 3656"/>
                <a:gd name="T1" fmla="*/ 307 h 1272"/>
                <a:gd name="T2" fmla="*/ 0 w 3656"/>
                <a:gd name="T3" fmla="*/ 1020 h 1272"/>
                <a:gd name="T4" fmla="*/ 3583 w 3656"/>
                <a:gd name="T5" fmla="*/ 1017 h 1272"/>
                <a:gd name="T6" fmla="*/ 3583 w 3656"/>
                <a:gd name="T7" fmla="*/ 1379 h 1272"/>
                <a:gd name="T8" fmla="*/ 3965 w 3656"/>
                <a:gd name="T9" fmla="*/ 0 h 1272"/>
                <a:gd name="T10" fmla="*/ 3583 w 3656"/>
                <a:gd name="T11" fmla="*/ 0 h 1272"/>
                <a:gd name="T12" fmla="*/ 3365 w 3656"/>
                <a:gd name="T13" fmla="*/ 668 h 1272"/>
                <a:gd name="T14" fmla="*/ 3365 w 3656"/>
                <a:gd name="T15" fmla="*/ 310 h 1272"/>
                <a:gd name="T16" fmla="*/ 0 w 3656"/>
                <a:gd name="T17" fmla="*/ 307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283"/>
                  </a:moveTo>
                  <a:lnTo>
                    <a:pt x="0" y="941"/>
                  </a:lnTo>
                  <a:lnTo>
                    <a:pt x="3303" y="938"/>
                  </a:lnTo>
                  <a:lnTo>
                    <a:pt x="3303" y="1271"/>
                  </a:lnTo>
                  <a:lnTo>
                    <a:pt x="3655" y="0"/>
                  </a:lnTo>
                  <a:lnTo>
                    <a:pt x="3303" y="0"/>
                  </a:lnTo>
                  <a:lnTo>
                    <a:pt x="3102" y="616"/>
                  </a:lnTo>
                  <a:lnTo>
                    <a:pt x="3102" y="286"/>
                  </a:lnTo>
                  <a:lnTo>
                    <a:pt x="0" y="283"/>
                  </a:lnTo>
                </a:path>
              </a:pathLst>
            </a:custGeom>
            <a:solidFill>
              <a:schemeClr val="accent3"/>
            </a:solidFill>
            <a:ln w="12700" cap="rnd">
              <a:noFill/>
              <a:round/>
              <a:headEnd type="none" w="sm" len="sm"/>
              <a:tailEnd type="none" w="sm" len="sm"/>
            </a:ln>
          </p:spPr>
          <p:txBody>
            <a:bodyPr lIns="36000" tIns="36000" rIns="36000" bIns="36000">
              <a:noAutofit/>
            </a:bodyPr>
            <a:lstStyle/>
            <a:p>
              <a:pPr>
                <a:defRPr/>
              </a:pPr>
              <a:endParaRPr lang="en-US" sz="1400" dirty="0"/>
            </a:p>
          </p:txBody>
        </p:sp>
        <p:sp>
          <p:nvSpPr>
            <p:cNvPr id="27" name="Freeform 26"/>
            <p:cNvSpPr>
              <a:spLocks/>
            </p:cNvSpPr>
            <p:nvPr/>
          </p:nvSpPr>
          <p:spPr bwMode="blackWhite">
            <a:xfrm>
              <a:off x="6272213" y="2330450"/>
              <a:ext cx="3833812" cy="1441712"/>
            </a:xfrm>
            <a:custGeom>
              <a:avLst/>
              <a:gdLst>
                <a:gd name="T0" fmla="*/ 0 w 3656"/>
                <a:gd name="T1" fmla="*/ 1070 h 1272"/>
                <a:gd name="T2" fmla="*/ 0 w 3656"/>
                <a:gd name="T3" fmla="*/ 357 h 1272"/>
                <a:gd name="T4" fmla="*/ 3583 w 3656"/>
                <a:gd name="T5" fmla="*/ 359 h 1272"/>
                <a:gd name="T6" fmla="*/ 3583 w 3656"/>
                <a:gd name="T7" fmla="*/ 0 h 1272"/>
                <a:gd name="T8" fmla="*/ 3965 w 3656"/>
                <a:gd name="T9" fmla="*/ 1379 h 1272"/>
                <a:gd name="T10" fmla="*/ 3583 w 3656"/>
                <a:gd name="T11" fmla="*/ 1379 h 1272"/>
                <a:gd name="T12" fmla="*/ 3365 w 3656"/>
                <a:gd name="T13" fmla="*/ 709 h 1272"/>
                <a:gd name="T14" fmla="*/ 3365 w 3656"/>
                <a:gd name="T15" fmla="*/ 1068 h 1272"/>
                <a:gd name="T16" fmla="*/ 0 w 3656"/>
                <a:gd name="T17" fmla="*/ 1070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987"/>
                  </a:moveTo>
                  <a:lnTo>
                    <a:pt x="0" y="329"/>
                  </a:lnTo>
                  <a:lnTo>
                    <a:pt x="3303" y="331"/>
                  </a:lnTo>
                  <a:lnTo>
                    <a:pt x="3303" y="0"/>
                  </a:lnTo>
                  <a:lnTo>
                    <a:pt x="3655" y="1271"/>
                  </a:lnTo>
                  <a:lnTo>
                    <a:pt x="3303" y="1271"/>
                  </a:lnTo>
                  <a:lnTo>
                    <a:pt x="3102" y="654"/>
                  </a:lnTo>
                  <a:lnTo>
                    <a:pt x="3102" y="985"/>
                  </a:lnTo>
                  <a:lnTo>
                    <a:pt x="0" y="987"/>
                  </a:lnTo>
                </a:path>
              </a:pathLst>
            </a:custGeom>
            <a:solidFill>
              <a:schemeClr val="accent3"/>
            </a:solidFill>
            <a:ln w="12700" cap="rnd">
              <a:noFill/>
              <a:round/>
              <a:headEnd type="none" w="sm" len="sm"/>
              <a:tailEnd type="none" w="sm" len="sm"/>
            </a:ln>
          </p:spPr>
          <p:txBody>
            <a:bodyPr lIns="36000" tIns="36000" rIns="36000" bIns="36000">
              <a:noAutofit/>
            </a:bodyPr>
            <a:lstStyle/>
            <a:p>
              <a:pPr>
                <a:defRPr/>
              </a:pPr>
              <a:endParaRPr lang="en-US" dirty="0"/>
            </a:p>
          </p:txBody>
        </p:sp>
        <p:sp>
          <p:nvSpPr>
            <p:cNvPr id="28" name="Rectangle 13"/>
            <p:cNvSpPr>
              <a:spLocks noChangeArrowheads="1"/>
            </p:cNvSpPr>
            <p:nvPr/>
          </p:nvSpPr>
          <p:spPr bwMode="auto">
            <a:xfrm>
              <a:off x="6393465" y="2833636"/>
              <a:ext cx="2626434"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solidFill>
                    <a:schemeClr val="bg1"/>
                  </a:solidFill>
                </a:rPr>
                <a:t>Text</a:t>
              </a:r>
            </a:p>
          </p:txBody>
        </p:sp>
        <p:sp>
          <p:nvSpPr>
            <p:cNvPr id="29" name="Rectangle 14"/>
            <p:cNvSpPr>
              <a:spLocks noChangeArrowheads="1"/>
            </p:cNvSpPr>
            <p:nvPr/>
          </p:nvSpPr>
          <p:spPr bwMode="auto">
            <a:xfrm>
              <a:off x="6393465" y="3736650"/>
              <a:ext cx="2626434"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t>Text</a:t>
              </a:r>
            </a:p>
          </p:txBody>
        </p:sp>
        <p:sp>
          <p:nvSpPr>
            <p:cNvPr id="30" name="Rectangle 15"/>
            <p:cNvSpPr>
              <a:spLocks noChangeArrowheads="1"/>
            </p:cNvSpPr>
            <p:nvPr/>
          </p:nvSpPr>
          <p:spPr bwMode="auto">
            <a:xfrm>
              <a:off x="6393465" y="4318667"/>
              <a:ext cx="2626434" cy="175433"/>
            </a:xfrm>
            <a:prstGeom prst="rect">
              <a:avLst/>
            </a:prstGeom>
            <a:noFill/>
            <a:ln w="9525">
              <a:noFill/>
              <a:miter lim="800000"/>
              <a:headEnd/>
              <a:tailEnd/>
            </a:ln>
          </p:spPr>
          <p:txBody>
            <a:bodyPr lIns="0" tIns="0" rIns="0" bIns="0" anchor="ctr" anchorCtr="0">
              <a:spAutoFit/>
            </a:bodyPr>
            <a:lstStyle/>
            <a:p>
              <a:pPr defTabSz="787400">
                <a:lnSpc>
                  <a:spcPct val="95000"/>
                </a:lnSpc>
                <a:spcBef>
                  <a:spcPct val="80000"/>
                </a:spcBef>
              </a:pPr>
              <a:r>
                <a:rPr lang="en-US" sz="1200" dirty="0">
                  <a:solidFill>
                    <a:schemeClr val="bg1"/>
                  </a:solidFill>
                </a:rPr>
                <a:t>Text</a:t>
              </a:r>
            </a:p>
          </p:txBody>
        </p:sp>
      </p:grpSp>
      <p:sp>
        <p:nvSpPr>
          <p:cNvPr id="16" name="TextBox 15">
            <a:extLst>
              <a:ext uri="{FF2B5EF4-FFF2-40B4-BE49-F238E27FC236}">
                <a16:creationId xmlns:a16="http://schemas.microsoft.com/office/drawing/2014/main" id="{616BDAEC-0382-4CA3-B306-F66A2EEE5E76}"/>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405585663"/>
      </p:ext>
    </p:extLst>
  </p:cSld>
  <p:clrMapOvr>
    <a:masterClrMapping/>
  </p:clrMapOvr>
  <p:transition>
    <p:fade/>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16129" name="Title 1"/>
          <p:cNvSpPr>
            <a:spLocks noGrp="1"/>
          </p:cNvSpPr>
          <p:nvPr>
            <p:ph type="title"/>
          </p:nvPr>
        </p:nvSpPr>
        <p:spPr/>
        <p:txBody>
          <a:bodyPr/>
          <a:lstStyle/>
          <a:p>
            <a:r>
              <a:rPr lang="en-US" dirty="0"/>
              <a:t>Linear</a:t>
            </a:r>
          </a:p>
        </p:txBody>
      </p:sp>
      <p:grpSp>
        <p:nvGrpSpPr>
          <p:cNvPr id="2" name="Group 1"/>
          <p:cNvGrpSpPr/>
          <p:nvPr/>
        </p:nvGrpSpPr>
        <p:grpSpPr>
          <a:xfrm>
            <a:off x="786130" y="1995982"/>
            <a:ext cx="6410325" cy="2105024"/>
            <a:chOff x="376238" y="1976438"/>
            <a:chExt cx="6410325" cy="2105024"/>
          </a:xfrm>
        </p:grpSpPr>
        <p:sp>
          <p:nvSpPr>
            <p:cNvPr id="5" name="Freeform 3"/>
            <p:cNvSpPr>
              <a:spLocks/>
            </p:cNvSpPr>
            <p:nvPr/>
          </p:nvSpPr>
          <p:spPr bwMode="blackWhite">
            <a:xfrm>
              <a:off x="4245831" y="1976438"/>
              <a:ext cx="2540732" cy="2105024"/>
            </a:xfrm>
            <a:custGeom>
              <a:avLst/>
              <a:gdLst>
                <a:gd name="T0" fmla="*/ 0 w 1660"/>
                <a:gd name="T1" fmla="*/ 261 h 2567"/>
                <a:gd name="T2" fmla="*/ 1102 w 1660"/>
                <a:gd name="T3" fmla="*/ 261 h 2567"/>
                <a:gd name="T4" fmla="*/ 1102 w 1660"/>
                <a:gd name="T5" fmla="*/ 0 h 2567"/>
                <a:gd name="T6" fmla="*/ 1693 w 1660"/>
                <a:gd name="T7" fmla="*/ 1309 h 2567"/>
                <a:gd name="T8" fmla="*/ 1102 w 1660"/>
                <a:gd name="T9" fmla="*/ 2618 h 2567"/>
                <a:gd name="T10" fmla="*/ 1102 w 1660"/>
                <a:gd name="T11" fmla="*/ 2356 h 2567"/>
                <a:gd name="T12" fmla="*/ 0 w 1660"/>
                <a:gd name="T13" fmla="*/ 2356 h 2567"/>
                <a:gd name="T14" fmla="*/ 0 w 1660"/>
                <a:gd name="T15" fmla="*/ 1309 h 2567"/>
                <a:gd name="T16" fmla="*/ 0 w 1660"/>
                <a:gd name="T17" fmla="*/ 261 h 25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60"/>
                <a:gd name="T28" fmla="*/ 0 h 2567"/>
                <a:gd name="T29" fmla="*/ 1660 w 1660"/>
                <a:gd name="T30" fmla="*/ 2567 h 25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60" h="2567">
                  <a:moveTo>
                    <a:pt x="0" y="256"/>
                  </a:moveTo>
                  <a:lnTo>
                    <a:pt x="1080" y="256"/>
                  </a:lnTo>
                  <a:lnTo>
                    <a:pt x="1080" y="0"/>
                  </a:lnTo>
                  <a:lnTo>
                    <a:pt x="1659" y="1283"/>
                  </a:lnTo>
                  <a:lnTo>
                    <a:pt x="1080" y="2566"/>
                  </a:lnTo>
                  <a:lnTo>
                    <a:pt x="1080" y="2309"/>
                  </a:lnTo>
                  <a:lnTo>
                    <a:pt x="0" y="2309"/>
                  </a:lnTo>
                  <a:lnTo>
                    <a:pt x="0" y="1283"/>
                  </a:lnTo>
                  <a:lnTo>
                    <a:pt x="0" y="256"/>
                  </a:lnTo>
                </a:path>
              </a:pathLst>
            </a:custGeom>
            <a:solidFill>
              <a:schemeClr val="tx2">
                <a:lumMod val="60000"/>
                <a:lumOff val="40000"/>
              </a:schemeClr>
            </a:solidFill>
            <a:ln w="9525" cap="rnd">
              <a:noFill/>
              <a:round/>
              <a:headEnd/>
              <a:tailEnd/>
            </a:ln>
          </p:spPr>
          <p:txBody>
            <a:bodyPr lIns="792000" tIns="36000" rIns="792000" bIns="36000" anchor="ctr">
              <a:noAutofit/>
            </a:bodyPr>
            <a:lstStyle/>
            <a:p>
              <a:pPr>
                <a:defRPr/>
              </a:pPr>
              <a:r>
                <a:rPr lang="en-US" sz="1200" dirty="0"/>
                <a:t>Text</a:t>
              </a:r>
            </a:p>
          </p:txBody>
        </p:sp>
        <p:sp>
          <p:nvSpPr>
            <p:cNvPr id="6" name="Freeform 4"/>
            <p:cNvSpPr>
              <a:spLocks/>
            </p:cNvSpPr>
            <p:nvPr/>
          </p:nvSpPr>
          <p:spPr bwMode="blackWhite">
            <a:xfrm>
              <a:off x="2642499" y="2186217"/>
              <a:ext cx="2311257" cy="1684662"/>
            </a:xfrm>
            <a:custGeom>
              <a:avLst/>
              <a:gdLst>
                <a:gd name="T0" fmla="*/ 0 w 1511"/>
                <a:gd name="T1" fmla="*/ 207 h 2054"/>
                <a:gd name="T2" fmla="*/ 1070 w 1511"/>
                <a:gd name="T3" fmla="*/ 207 h 2054"/>
                <a:gd name="T4" fmla="*/ 1070 w 1511"/>
                <a:gd name="T5" fmla="*/ 0 h 2054"/>
                <a:gd name="T6" fmla="*/ 1541 w 1511"/>
                <a:gd name="T7" fmla="*/ 1047 h 2054"/>
                <a:gd name="T8" fmla="*/ 1070 w 1511"/>
                <a:gd name="T9" fmla="*/ 2095 h 2054"/>
                <a:gd name="T10" fmla="*/ 1070 w 1511"/>
                <a:gd name="T11" fmla="*/ 1887 h 2054"/>
                <a:gd name="T12" fmla="*/ 0 w 1511"/>
                <a:gd name="T13" fmla="*/ 1887 h 2054"/>
                <a:gd name="T14" fmla="*/ 0 w 1511"/>
                <a:gd name="T15" fmla="*/ 1047 h 2054"/>
                <a:gd name="T16" fmla="*/ 0 w 1511"/>
                <a:gd name="T17" fmla="*/ 207 h 20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11"/>
                <a:gd name="T28" fmla="*/ 0 h 2054"/>
                <a:gd name="T29" fmla="*/ 1511 w 1511"/>
                <a:gd name="T30" fmla="*/ 2054 h 20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11" h="2054">
                  <a:moveTo>
                    <a:pt x="0" y="203"/>
                  </a:moveTo>
                  <a:lnTo>
                    <a:pt x="1048" y="203"/>
                  </a:lnTo>
                  <a:lnTo>
                    <a:pt x="1048" y="0"/>
                  </a:lnTo>
                  <a:lnTo>
                    <a:pt x="1510" y="1026"/>
                  </a:lnTo>
                  <a:lnTo>
                    <a:pt x="1048" y="2053"/>
                  </a:lnTo>
                  <a:lnTo>
                    <a:pt x="1048" y="1849"/>
                  </a:lnTo>
                  <a:lnTo>
                    <a:pt x="0" y="1849"/>
                  </a:lnTo>
                  <a:lnTo>
                    <a:pt x="0" y="1026"/>
                  </a:lnTo>
                  <a:lnTo>
                    <a:pt x="0" y="203"/>
                  </a:lnTo>
                </a:path>
              </a:pathLst>
            </a:custGeom>
            <a:solidFill>
              <a:schemeClr val="tx2">
                <a:lumMod val="40000"/>
                <a:lumOff val="60000"/>
              </a:schemeClr>
            </a:solidFill>
            <a:ln w="9525" cap="rnd">
              <a:noFill/>
              <a:round/>
              <a:headEnd/>
              <a:tailEnd/>
            </a:ln>
          </p:spPr>
          <p:txBody>
            <a:bodyPr lIns="648000" tIns="36000" rIns="684000" bIns="36000" anchor="ctr">
              <a:noAutofit/>
            </a:bodyPr>
            <a:lstStyle/>
            <a:p>
              <a:pPr>
                <a:defRPr/>
              </a:pPr>
              <a:r>
                <a:rPr lang="en-US" sz="1200" dirty="0"/>
                <a:t>Text</a:t>
              </a:r>
            </a:p>
          </p:txBody>
        </p:sp>
        <p:sp>
          <p:nvSpPr>
            <p:cNvPr id="816142" name="Freeform 5"/>
            <p:cNvSpPr>
              <a:spLocks/>
            </p:cNvSpPr>
            <p:nvPr/>
          </p:nvSpPr>
          <p:spPr bwMode="blackWhite">
            <a:xfrm>
              <a:off x="1363134" y="2363042"/>
              <a:ext cx="1847805" cy="1341461"/>
            </a:xfrm>
            <a:custGeom>
              <a:avLst/>
              <a:gdLst>
                <a:gd name="T0" fmla="*/ 0 w 1207"/>
                <a:gd name="T1" fmla="*/ 269 h 1636"/>
                <a:gd name="T2" fmla="*/ 927 w 1207"/>
                <a:gd name="T3" fmla="*/ 269 h 1636"/>
                <a:gd name="T4" fmla="*/ 927 w 1207"/>
                <a:gd name="T5" fmla="*/ 0 h 1636"/>
                <a:gd name="T6" fmla="*/ 1336 w 1207"/>
                <a:gd name="T7" fmla="*/ 897 h 1636"/>
                <a:gd name="T8" fmla="*/ 927 w 1207"/>
                <a:gd name="T9" fmla="*/ 1807 h 1636"/>
                <a:gd name="T10" fmla="*/ 927 w 1207"/>
                <a:gd name="T11" fmla="*/ 1536 h 1636"/>
                <a:gd name="T12" fmla="*/ 0 w 1207"/>
                <a:gd name="T13" fmla="*/ 1536 h 1636"/>
                <a:gd name="T14" fmla="*/ 0 w 1207"/>
                <a:gd name="T15" fmla="*/ 897 h 1636"/>
                <a:gd name="T16" fmla="*/ 0 w 1207"/>
                <a:gd name="T17" fmla="*/ 269 h 16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07"/>
                <a:gd name="T28" fmla="*/ 0 h 1636"/>
                <a:gd name="T29" fmla="*/ 1207 w 1207"/>
                <a:gd name="T30" fmla="*/ 1636 h 16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07" h="1636">
                  <a:moveTo>
                    <a:pt x="0" y="244"/>
                  </a:moveTo>
                  <a:lnTo>
                    <a:pt x="837" y="244"/>
                  </a:lnTo>
                  <a:lnTo>
                    <a:pt x="837" y="0"/>
                  </a:lnTo>
                  <a:lnTo>
                    <a:pt x="1206" y="812"/>
                  </a:lnTo>
                  <a:lnTo>
                    <a:pt x="837" y="1635"/>
                  </a:lnTo>
                  <a:lnTo>
                    <a:pt x="837" y="1390"/>
                  </a:lnTo>
                  <a:lnTo>
                    <a:pt x="0" y="1390"/>
                  </a:lnTo>
                  <a:lnTo>
                    <a:pt x="0" y="812"/>
                  </a:lnTo>
                  <a:lnTo>
                    <a:pt x="0" y="244"/>
                  </a:lnTo>
                </a:path>
              </a:pathLst>
            </a:custGeom>
            <a:solidFill>
              <a:schemeClr val="tx2">
                <a:lumMod val="20000"/>
                <a:lumOff val="80000"/>
              </a:schemeClr>
            </a:solidFill>
            <a:ln w="9525" cap="rnd">
              <a:noFill/>
              <a:round/>
              <a:headEnd/>
              <a:tailEnd/>
            </a:ln>
          </p:spPr>
          <p:txBody>
            <a:bodyPr lIns="468000" tIns="36000" rIns="504000" bIns="36000" anchor="ctr">
              <a:noAutofit/>
            </a:bodyPr>
            <a:lstStyle/>
            <a:p>
              <a:r>
                <a:rPr lang="en-US" sz="1200" dirty="0"/>
                <a:t>Text</a:t>
              </a:r>
            </a:p>
          </p:txBody>
        </p:sp>
        <p:sp>
          <p:nvSpPr>
            <p:cNvPr id="816143" name="Freeform 6"/>
            <p:cNvSpPr>
              <a:spLocks/>
            </p:cNvSpPr>
            <p:nvPr/>
          </p:nvSpPr>
          <p:spPr bwMode="blackWhite">
            <a:xfrm>
              <a:off x="376238" y="2563980"/>
              <a:ext cx="1385854" cy="939585"/>
            </a:xfrm>
            <a:custGeom>
              <a:avLst/>
              <a:gdLst>
                <a:gd name="T0" fmla="*/ 0 w 906"/>
                <a:gd name="T1" fmla="*/ 248 h 1146"/>
                <a:gd name="T2" fmla="*/ 712 w 906"/>
                <a:gd name="T3" fmla="*/ 248 h 1146"/>
                <a:gd name="T4" fmla="*/ 712 w 906"/>
                <a:gd name="T5" fmla="*/ 0 h 1146"/>
                <a:gd name="T6" fmla="*/ 998 w 906"/>
                <a:gd name="T7" fmla="*/ 626 h 1146"/>
                <a:gd name="T8" fmla="*/ 712 w 906"/>
                <a:gd name="T9" fmla="*/ 1264 h 1146"/>
                <a:gd name="T10" fmla="*/ 712 w 906"/>
                <a:gd name="T11" fmla="*/ 1016 h 1146"/>
                <a:gd name="T12" fmla="*/ 0 w 906"/>
                <a:gd name="T13" fmla="*/ 1016 h 1146"/>
                <a:gd name="T14" fmla="*/ 0 w 906"/>
                <a:gd name="T15" fmla="*/ 626 h 1146"/>
                <a:gd name="T16" fmla="*/ 0 w 906"/>
                <a:gd name="T17" fmla="*/ 248 h 1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6"/>
                <a:gd name="T28" fmla="*/ 0 h 1146"/>
                <a:gd name="T29" fmla="*/ 906 w 906"/>
                <a:gd name="T30" fmla="*/ 1146 h 1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6" h="1146">
                  <a:moveTo>
                    <a:pt x="0" y="224"/>
                  </a:moveTo>
                  <a:lnTo>
                    <a:pt x="645" y="224"/>
                  </a:lnTo>
                  <a:lnTo>
                    <a:pt x="645" y="0"/>
                  </a:lnTo>
                  <a:lnTo>
                    <a:pt x="905" y="567"/>
                  </a:lnTo>
                  <a:lnTo>
                    <a:pt x="645" y="1145"/>
                  </a:lnTo>
                  <a:lnTo>
                    <a:pt x="645" y="920"/>
                  </a:lnTo>
                  <a:lnTo>
                    <a:pt x="0" y="920"/>
                  </a:lnTo>
                  <a:lnTo>
                    <a:pt x="0" y="567"/>
                  </a:lnTo>
                  <a:lnTo>
                    <a:pt x="0" y="224"/>
                  </a:lnTo>
                </a:path>
              </a:pathLst>
            </a:custGeom>
            <a:solidFill>
              <a:schemeClr val="accent3"/>
            </a:solidFill>
            <a:ln w="9525" cap="rnd">
              <a:noFill/>
              <a:round/>
              <a:headEnd/>
              <a:tailEnd/>
            </a:ln>
          </p:spPr>
          <p:txBody>
            <a:bodyPr lIns="91440" tIns="36000" rIns="396000" bIns="36000" anchor="ctr">
              <a:noAutofit/>
            </a:bodyPr>
            <a:lstStyle/>
            <a:p>
              <a:r>
                <a:rPr lang="en-US" sz="1200" dirty="0">
                  <a:solidFill>
                    <a:schemeClr val="bg1"/>
                  </a:solidFill>
                </a:rPr>
                <a:t>Text</a:t>
              </a:r>
            </a:p>
          </p:txBody>
        </p:sp>
      </p:grpSp>
      <p:grpSp>
        <p:nvGrpSpPr>
          <p:cNvPr id="4" name="Group 3"/>
          <p:cNvGrpSpPr/>
          <p:nvPr/>
        </p:nvGrpSpPr>
        <p:grpSpPr>
          <a:xfrm>
            <a:off x="4905693" y="3890423"/>
            <a:ext cx="6297613" cy="2172335"/>
            <a:chOff x="2467292" y="4168887"/>
            <a:chExt cx="6297613" cy="2172335"/>
          </a:xfrm>
        </p:grpSpPr>
        <p:sp>
          <p:nvSpPr>
            <p:cNvPr id="14" name="Freeform 13"/>
            <p:cNvSpPr>
              <a:spLocks/>
            </p:cNvSpPr>
            <p:nvPr/>
          </p:nvSpPr>
          <p:spPr bwMode="blackWhite">
            <a:xfrm>
              <a:off x="5664452" y="4168887"/>
              <a:ext cx="3100453" cy="2074751"/>
            </a:xfrm>
            <a:custGeom>
              <a:avLst/>
              <a:gdLst>
                <a:gd name="T0" fmla="*/ 0 w 1800"/>
                <a:gd name="T1" fmla="*/ 146 h 1303"/>
                <a:gd name="T2" fmla="*/ 1673 w 1800"/>
                <a:gd name="T3" fmla="*/ 146 h 1303"/>
                <a:gd name="T4" fmla="*/ 1673 w 1800"/>
                <a:gd name="T5" fmla="*/ 0 h 1303"/>
                <a:gd name="T6" fmla="*/ 2115 w 1800"/>
                <a:gd name="T7" fmla="*/ 747 h 1303"/>
                <a:gd name="T8" fmla="*/ 1673 w 1800"/>
                <a:gd name="T9" fmla="*/ 1485 h 1303"/>
                <a:gd name="T10" fmla="*/ 1673 w 1800"/>
                <a:gd name="T11" fmla="*/ 1339 h 1303"/>
                <a:gd name="T12" fmla="*/ 0 w 1800"/>
                <a:gd name="T13" fmla="*/ 1339 h 1303"/>
                <a:gd name="T14" fmla="*/ 0 w 1800"/>
                <a:gd name="T15" fmla="*/ 747 h 1303"/>
                <a:gd name="T16" fmla="*/ 0 w 1800"/>
                <a:gd name="T17" fmla="*/ 146 h 13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00"/>
                <a:gd name="T28" fmla="*/ 0 h 1303"/>
                <a:gd name="T29" fmla="*/ 1800 w 1800"/>
                <a:gd name="T30" fmla="*/ 1303 h 13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00" h="1303">
                  <a:moveTo>
                    <a:pt x="0" y="128"/>
                  </a:moveTo>
                  <a:lnTo>
                    <a:pt x="1423" y="128"/>
                  </a:lnTo>
                  <a:lnTo>
                    <a:pt x="1423" y="0"/>
                  </a:lnTo>
                  <a:lnTo>
                    <a:pt x="1799" y="655"/>
                  </a:lnTo>
                  <a:lnTo>
                    <a:pt x="1423" y="1302"/>
                  </a:lnTo>
                  <a:lnTo>
                    <a:pt x="1423" y="1174"/>
                  </a:lnTo>
                  <a:lnTo>
                    <a:pt x="0" y="1174"/>
                  </a:lnTo>
                  <a:lnTo>
                    <a:pt x="0" y="655"/>
                  </a:lnTo>
                  <a:lnTo>
                    <a:pt x="0" y="128"/>
                  </a:lnTo>
                </a:path>
              </a:pathLst>
            </a:custGeom>
            <a:solidFill>
              <a:schemeClr val="bg1">
                <a:lumMod val="75000"/>
              </a:schemeClr>
            </a:solidFill>
            <a:ln w="9525" cap="rnd">
              <a:noFill/>
              <a:round/>
              <a:headEnd/>
              <a:tailEnd/>
            </a:ln>
          </p:spPr>
          <p:txBody>
            <a:bodyPr lIns="684000" tIns="36000" rIns="612000" bIns="36000" anchor="ctr">
              <a:noAutofit/>
            </a:bodyPr>
            <a:lstStyle/>
            <a:p>
              <a:pPr>
                <a:defRPr/>
              </a:pPr>
              <a:r>
                <a:rPr lang="en-US" sz="1200" dirty="0"/>
                <a:t> Text</a:t>
              </a:r>
            </a:p>
          </p:txBody>
        </p:sp>
        <p:sp>
          <p:nvSpPr>
            <p:cNvPr id="15" name="Freeform 14"/>
            <p:cNvSpPr>
              <a:spLocks/>
            </p:cNvSpPr>
            <p:nvPr/>
          </p:nvSpPr>
          <p:spPr bwMode="blackWhite">
            <a:xfrm>
              <a:off x="3788836" y="4352653"/>
              <a:ext cx="2480656" cy="1958867"/>
            </a:xfrm>
            <a:custGeom>
              <a:avLst/>
              <a:gdLst>
                <a:gd name="T0" fmla="*/ 0 w 1440"/>
                <a:gd name="T1" fmla="*/ 208 h 1239"/>
                <a:gd name="T2" fmla="*/ 1269 w 1440"/>
                <a:gd name="T3" fmla="*/ 208 h 1239"/>
                <a:gd name="T4" fmla="*/ 1269 w 1440"/>
                <a:gd name="T5" fmla="*/ 0 h 1239"/>
                <a:gd name="T6" fmla="*/ 1692 w 1440"/>
                <a:gd name="T7" fmla="*/ 696 h 1239"/>
                <a:gd name="T8" fmla="*/ 1269 w 1440"/>
                <a:gd name="T9" fmla="*/ 1402 h 1239"/>
                <a:gd name="T10" fmla="*/ 1269 w 1440"/>
                <a:gd name="T11" fmla="*/ 1194 h 1239"/>
                <a:gd name="T12" fmla="*/ 0 w 1440"/>
                <a:gd name="T13" fmla="*/ 1194 h 1239"/>
                <a:gd name="T14" fmla="*/ 0 w 1440"/>
                <a:gd name="T15" fmla="*/ 696 h 1239"/>
                <a:gd name="T16" fmla="*/ 0 w 1440"/>
                <a:gd name="T17" fmla="*/ 208 h 12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40"/>
                <a:gd name="T28" fmla="*/ 0 h 1239"/>
                <a:gd name="T29" fmla="*/ 1440 w 1440"/>
                <a:gd name="T30" fmla="*/ 1239 h 12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40" h="1239">
                  <a:moveTo>
                    <a:pt x="0" y="184"/>
                  </a:moveTo>
                  <a:lnTo>
                    <a:pt x="1079" y="184"/>
                  </a:lnTo>
                  <a:lnTo>
                    <a:pt x="1079" y="0"/>
                  </a:lnTo>
                  <a:lnTo>
                    <a:pt x="1439" y="615"/>
                  </a:lnTo>
                  <a:lnTo>
                    <a:pt x="1079" y="1238"/>
                  </a:lnTo>
                  <a:lnTo>
                    <a:pt x="1079" y="1054"/>
                  </a:lnTo>
                  <a:lnTo>
                    <a:pt x="0" y="1054"/>
                  </a:lnTo>
                  <a:lnTo>
                    <a:pt x="0" y="615"/>
                  </a:lnTo>
                  <a:lnTo>
                    <a:pt x="0" y="184"/>
                  </a:lnTo>
                </a:path>
              </a:pathLst>
            </a:custGeom>
            <a:solidFill>
              <a:schemeClr val="bg1">
                <a:lumMod val="85000"/>
              </a:schemeClr>
            </a:solidFill>
            <a:ln w="9525" cap="rnd">
              <a:noFill/>
              <a:round/>
              <a:headEnd/>
              <a:tailEnd/>
            </a:ln>
          </p:spPr>
          <p:txBody>
            <a:bodyPr lIns="612000" tIns="36000" rIns="612000" bIns="36000" anchor="ctr">
              <a:noAutofit/>
            </a:bodyPr>
            <a:lstStyle/>
            <a:p>
              <a:pPr>
                <a:defRPr/>
              </a:pPr>
              <a:r>
                <a:rPr lang="en-US" sz="1200" dirty="0"/>
                <a:t> Text</a:t>
              </a:r>
            </a:p>
          </p:txBody>
        </p:sp>
        <p:sp>
          <p:nvSpPr>
            <p:cNvPr id="816136" name="Freeform 15"/>
            <p:cNvSpPr>
              <a:spLocks/>
            </p:cNvSpPr>
            <p:nvPr/>
          </p:nvSpPr>
          <p:spPr bwMode="blackWhite">
            <a:xfrm>
              <a:off x="2467292" y="4623898"/>
              <a:ext cx="1860858" cy="1717324"/>
            </a:xfrm>
            <a:custGeom>
              <a:avLst/>
              <a:gdLst>
                <a:gd name="T0" fmla="*/ 0 w 1080"/>
                <a:gd name="T1" fmla="*/ 414 h 1079"/>
                <a:gd name="T2" fmla="*/ 1727 w 1080"/>
                <a:gd name="T3" fmla="*/ 414 h 1079"/>
                <a:gd name="T4" fmla="*/ 1727 w 1080"/>
                <a:gd name="T5" fmla="*/ 0 h 1079"/>
                <a:gd name="T6" fmla="*/ 2426 w 1080"/>
                <a:gd name="T7" fmla="*/ 1046 h 1079"/>
                <a:gd name="T8" fmla="*/ 1727 w 1080"/>
                <a:gd name="T9" fmla="*/ 2075 h 1079"/>
                <a:gd name="T10" fmla="*/ 1727 w 1080"/>
                <a:gd name="T11" fmla="*/ 1661 h 1079"/>
                <a:gd name="T12" fmla="*/ 0 w 1080"/>
                <a:gd name="T13" fmla="*/ 1661 h 1079"/>
                <a:gd name="T14" fmla="*/ 0 w 1080"/>
                <a:gd name="T15" fmla="*/ 1046 h 1079"/>
                <a:gd name="T16" fmla="*/ 0 w 1080"/>
                <a:gd name="T17" fmla="*/ 414 h 10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0"/>
                <a:gd name="T28" fmla="*/ 0 h 1079"/>
                <a:gd name="T29" fmla="*/ 1080 w 1080"/>
                <a:gd name="T30" fmla="*/ 1079 h 107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0" h="1079">
                  <a:moveTo>
                    <a:pt x="0" y="215"/>
                  </a:moveTo>
                  <a:lnTo>
                    <a:pt x="768" y="215"/>
                  </a:lnTo>
                  <a:lnTo>
                    <a:pt x="768" y="0"/>
                  </a:lnTo>
                  <a:lnTo>
                    <a:pt x="1079" y="543"/>
                  </a:lnTo>
                  <a:lnTo>
                    <a:pt x="768" y="1078"/>
                  </a:lnTo>
                  <a:lnTo>
                    <a:pt x="768" y="862"/>
                  </a:lnTo>
                  <a:lnTo>
                    <a:pt x="0" y="862"/>
                  </a:lnTo>
                  <a:lnTo>
                    <a:pt x="0" y="543"/>
                  </a:lnTo>
                  <a:lnTo>
                    <a:pt x="0" y="215"/>
                  </a:lnTo>
                </a:path>
              </a:pathLst>
            </a:custGeom>
            <a:solidFill>
              <a:schemeClr val="accent2"/>
            </a:solidFill>
            <a:ln w="9525" cap="rnd">
              <a:noFill/>
              <a:round/>
              <a:headEnd/>
              <a:tailEnd/>
            </a:ln>
          </p:spPr>
          <p:txBody>
            <a:bodyPr lIns="91440" tIns="36000" rIns="540000" bIns="36000" anchor="ctr">
              <a:noAutofit/>
            </a:bodyPr>
            <a:lstStyle/>
            <a:p>
              <a:r>
                <a:rPr lang="en-US" sz="1200" dirty="0">
                  <a:solidFill>
                    <a:schemeClr val="bg1"/>
                  </a:solidFill>
                </a:rPr>
                <a:t>Text</a:t>
              </a:r>
            </a:p>
          </p:txBody>
        </p:sp>
      </p:grpSp>
      <p:sp>
        <p:nvSpPr>
          <p:cNvPr id="18" name="TextBox 17">
            <a:extLst>
              <a:ext uri="{FF2B5EF4-FFF2-40B4-BE49-F238E27FC236}">
                <a16:creationId xmlns:a16="http://schemas.microsoft.com/office/drawing/2014/main" id="{D9D54276-D55E-4E07-A939-2AB54A68D9D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7562398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ubtitle runs here</a:t>
            </a:r>
            <a:endParaRPr lang="en-US" dirty="0"/>
          </a:p>
        </p:txBody>
      </p:sp>
      <p:sp>
        <p:nvSpPr>
          <p:cNvPr id="795649" name="Title 1"/>
          <p:cNvSpPr>
            <a:spLocks noGrp="1"/>
          </p:cNvSpPr>
          <p:nvPr>
            <p:ph type="title"/>
          </p:nvPr>
        </p:nvSpPr>
        <p:spPr/>
        <p:txBody>
          <a:bodyPr/>
          <a:lstStyle/>
          <a:p>
            <a:r>
              <a:rPr lang="en-US" altLang="ja-JP" dirty="0"/>
              <a:t>Table with traffic lights</a:t>
            </a:r>
            <a:endParaRPr lang="en-US" dirty="0"/>
          </a:p>
        </p:txBody>
      </p:sp>
      <p:graphicFrame>
        <p:nvGraphicFramePr>
          <p:cNvPr id="42" name="Group 8"/>
          <p:cNvGraphicFramePr>
            <a:graphicFrameLocks noGrp="1"/>
          </p:cNvGraphicFramePr>
          <p:nvPr>
            <p:extLst>
              <p:ext uri="{D42A27DB-BD31-4B8C-83A1-F6EECF244321}">
                <p14:modId xmlns:p14="http://schemas.microsoft.com/office/powerpoint/2010/main" val="2035886930"/>
              </p:ext>
            </p:extLst>
          </p:nvPr>
        </p:nvGraphicFramePr>
        <p:xfrm>
          <a:off x="501650" y="2011064"/>
          <a:ext cx="11188699" cy="3582225"/>
        </p:xfrm>
        <a:graphic>
          <a:graphicData uri="http://schemas.openxmlformats.org/drawingml/2006/table">
            <a:tbl>
              <a:tblPr/>
              <a:tblGrid>
                <a:gridCol w="2134609">
                  <a:extLst>
                    <a:ext uri="{9D8B030D-6E8A-4147-A177-3AD203B41FA5}">
                      <a16:colId xmlns:a16="http://schemas.microsoft.com/office/drawing/2014/main" val="20000"/>
                    </a:ext>
                  </a:extLst>
                </a:gridCol>
                <a:gridCol w="1509015">
                  <a:extLst>
                    <a:ext uri="{9D8B030D-6E8A-4147-A177-3AD203B41FA5}">
                      <a16:colId xmlns:a16="http://schemas.microsoft.com/office/drawing/2014/main" val="20001"/>
                    </a:ext>
                  </a:extLst>
                </a:gridCol>
                <a:gridCol w="1509015">
                  <a:extLst>
                    <a:ext uri="{9D8B030D-6E8A-4147-A177-3AD203B41FA5}">
                      <a16:colId xmlns:a16="http://schemas.microsoft.com/office/drawing/2014/main" val="20002"/>
                    </a:ext>
                  </a:extLst>
                </a:gridCol>
                <a:gridCol w="1509015">
                  <a:extLst>
                    <a:ext uri="{9D8B030D-6E8A-4147-A177-3AD203B41FA5}">
                      <a16:colId xmlns:a16="http://schemas.microsoft.com/office/drawing/2014/main" val="20003"/>
                    </a:ext>
                  </a:extLst>
                </a:gridCol>
                <a:gridCol w="1509015">
                  <a:extLst>
                    <a:ext uri="{9D8B030D-6E8A-4147-A177-3AD203B41FA5}">
                      <a16:colId xmlns:a16="http://schemas.microsoft.com/office/drawing/2014/main" val="20004"/>
                    </a:ext>
                  </a:extLst>
                </a:gridCol>
                <a:gridCol w="1509015">
                  <a:extLst>
                    <a:ext uri="{9D8B030D-6E8A-4147-A177-3AD203B41FA5}">
                      <a16:colId xmlns:a16="http://schemas.microsoft.com/office/drawing/2014/main" val="20005"/>
                    </a:ext>
                  </a:extLst>
                </a:gridCol>
                <a:gridCol w="1509015">
                  <a:extLst>
                    <a:ext uri="{9D8B030D-6E8A-4147-A177-3AD203B41FA5}">
                      <a16:colId xmlns:a16="http://schemas.microsoft.com/office/drawing/2014/main" val="20006"/>
                    </a:ext>
                  </a:extLst>
                </a:gridCol>
              </a:tblGrid>
              <a:tr h="411480">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43" name="Oval 19"/>
          <p:cNvSpPr>
            <a:spLocks noChangeArrowheads="1"/>
          </p:cNvSpPr>
          <p:nvPr/>
        </p:nvSpPr>
        <p:spPr bwMode="auto">
          <a:xfrm>
            <a:off x="10806824"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54" name="Oval 53"/>
          <p:cNvSpPr>
            <a:spLocks noChangeArrowheads="1"/>
          </p:cNvSpPr>
          <p:nvPr/>
        </p:nvSpPr>
        <p:spPr bwMode="auto">
          <a:xfrm>
            <a:off x="7780158"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65" name="Oval 64"/>
          <p:cNvSpPr>
            <a:spLocks noChangeArrowheads="1"/>
          </p:cNvSpPr>
          <p:nvPr/>
        </p:nvSpPr>
        <p:spPr bwMode="auto">
          <a:xfrm>
            <a:off x="6239445"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76" name="Oval 75"/>
          <p:cNvSpPr>
            <a:spLocks noChangeArrowheads="1"/>
          </p:cNvSpPr>
          <p:nvPr/>
        </p:nvSpPr>
        <p:spPr bwMode="auto">
          <a:xfrm>
            <a:off x="4742537"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87" name="Oval 86"/>
          <p:cNvSpPr>
            <a:spLocks noChangeArrowheads="1"/>
          </p:cNvSpPr>
          <p:nvPr/>
        </p:nvSpPr>
        <p:spPr bwMode="auto">
          <a:xfrm>
            <a:off x="3256588"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98" name="Oval 19"/>
          <p:cNvSpPr>
            <a:spLocks noChangeArrowheads="1"/>
          </p:cNvSpPr>
          <p:nvPr/>
        </p:nvSpPr>
        <p:spPr bwMode="auto">
          <a:xfrm>
            <a:off x="9277066" y="2588603"/>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44" name="Oval 20"/>
          <p:cNvSpPr>
            <a:spLocks noChangeArrowheads="1"/>
          </p:cNvSpPr>
          <p:nvPr/>
        </p:nvSpPr>
        <p:spPr bwMode="auto">
          <a:xfrm>
            <a:off x="10806824"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55" name="Oval 54"/>
          <p:cNvSpPr>
            <a:spLocks noChangeArrowheads="1"/>
          </p:cNvSpPr>
          <p:nvPr/>
        </p:nvSpPr>
        <p:spPr bwMode="auto">
          <a:xfrm>
            <a:off x="7780158"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66" name="Oval 65"/>
          <p:cNvSpPr>
            <a:spLocks noChangeArrowheads="1"/>
          </p:cNvSpPr>
          <p:nvPr/>
        </p:nvSpPr>
        <p:spPr bwMode="auto">
          <a:xfrm>
            <a:off x="6239445"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77" name="Oval 76"/>
          <p:cNvSpPr>
            <a:spLocks noChangeArrowheads="1"/>
          </p:cNvSpPr>
          <p:nvPr/>
        </p:nvSpPr>
        <p:spPr bwMode="auto">
          <a:xfrm>
            <a:off x="4742537"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88" name="Oval 87"/>
          <p:cNvSpPr>
            <a:spLocks noChangeArrowheads="1"/>
          </p:cNvSpPr>
          <p:nvPr/>
        </p:nvSpPr>
        <p:spPr bwMode="auto">
          <a:xfrm>
            <a:off x="3256588"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99" name="Oval 20"/>
          <p:cNvSpPr>
            <a:spLocks noChangeArrowheads="1"/>
          </p:cNvSpPr>
          <p:nvPr/>
        </p:nvSpPr>
        <p:spPr bwMode="auto">
          <a:xfrm>
            <a:off x="9277066" y="5131053"/>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5" name="Oval 19"/>
          <p:cNvSpPr>
            <a:spLocks noChangeArrowheads="1"/>
          </p:cNvSpPr>
          <p:nvPr/>
        </p:nvSpPr>
        <p:spPr bwMode="auto">
          <a:xfrm>
            <a:off x="10806824"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6" name="Oval 115"/>
          <p:cNvSpPr>
            <a:spLocks noChangeArrowheads="1"/>
          </p:cNvSpPr>
          <p:nvPr/>
        </p:nvSpPr>
        <p:spPr bwMode="auto">
          <a:xfrm>
            <a:off x="7780158"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7" name="Oval 116"/>
          <p:cNvSpPr>
            <a:spLocks noChangeArrowheads="1"/>
          </p:cNvSpPr>
          <p:nvPr/>
        </p:nvSpPr>
        <p:spPr bwMode="auto">
          <a:xfrm>
            <a:off x="6239445"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8" name="Oval 117"/>
          <p:cNvSpPr>
            <a:spLocks noChangeArrowheads="1"/>
          </p:cNvSpPr>
          <p:nvPr/>
        </p:nvSpPr>
        <p:spPr bwMode="auto">
          <a:xfrm>
            <a:off x="4742537"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19" name="Oval 118"/>
          <p:cNvSpPr>
            <a:spLocks noChangeArrowheads="1"/>
          </p:cNvSpPr>
          <p:nvPr/>
        </p:nvSpPr>
        <p:spPr bwMode="auto">
          <a:xfrm>
            <a:off x="3256588"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20" name="Oval 19"/>
          <p:cNvSpPr>
            <a:spLocks noChangeArrowheads="1"/>
          </p:cNvSpPr>
          <p:nvPr/>
        </p:nvSpPr>
        <p:spPr bwMode="auto">
          <a:xfrm>
            <a:off x="9277066" y="3224215"/>
            <a:ext cx="288000" cy="288000"/>
          </a:xfrm>
          <a:prstGeom prst="ellipse">
            <a:avLst/>
          </a:prstGeom>
          <a:solidFill>
            <a:srgbClr val="ED8B00"/>
          </a:solidFill>
          <a:ln w="6350">
            <a:noFill/>
            <a:round/>
            <a:headEnd/>
            <a:tailEnd/>
          </a:ln>
        </p:spPr>
        <p:txBody>
          <a:bodyPr wrap="none" anchor="ctr"/>
          <a:lstStyle/>
          <a:p>
            <a:pPr algn="ctr">
              <a:defRPr/>
            </a:pPr>
            <a:endParaRPr lang="en-US" sz="1000" dirty="0"/>
          </a:p>
        </p:txBody>
      </p:sp>
      <p:sp>
        <p:nvSpPr>
          <p:cNvPr id="122" name="Oval 19"/>
          <p:cNvSpPr>
            <a:spLocks noChangeArrowheads="1"/>
          </p:cNvSpPr>
          <p:nvPr/>
        </p:nvSpPr>
        <p:spPr bwMode="auto">
          <a:xfrm>
            <a:off x="10806824"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3" name="Oval 122"/>
          <p:cNvSpPr>
            <a:spLocks noChangeArrowheads="1"/>
          </p:cNvSpPr>
          <p:nvPr/>
        </p:nvSpPr>
        <p:spPr bwMode="auto">
          <a:xfrm>
            <a:off x="7780158"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4" name="Oval 123"/>
          <p:cNvSpPr>
            <a:spLocks noChangeArrowheads="1"/>
          </p:cNvSpPr>
          <p:nvPr/>
        </p:nvSpPr>
        <p:spPr bwMode="auto">
          <a:xfrm>
            <a:off x="6239445"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5" name="Oval 124"/>
          <p:cNvSpPr>
            <a:spLocks noChangeArrowheads="1"/>
          </p:cNvSpPr>
          <p:nvPr/>
        </p:nvSpPr>
        <p:spPr bwMode="auto">
          <a:xfrm>
            <a:off x="4742537"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6" name="Oval 125"/>
          <p:cNvSpPr>
            <a:spLocks noChangeArrowheads="1"/>
          </p:cNvSpPr>
          <p:nvPr/>
        </p:nvSpPr>
        <p:spPr bwMode="auto">
          <a:xfrm>
            <a:off x="3256588"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7" name="Oval 19"/>
          <p:cNvSpPr>
            <a:spLocks noChangeArrowheads="1"/>
          </p:cNvSpPr>
          <p:nvPr/>
        </p:nvSpPr>
        <p:spPr bwMode="auto">
          <a:xfrm>
            <a:off x="9277066" y="3859827"/>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sp>
        <p:nvSpPr>
          <p:cNvPr id="129" name="Oval 19"/>
          <p:cNvSpPr>
            <a:spLocks noChangeArrowheads="1"/>
          </p:cNvSpPr>
          <p:nvPr/>
        </p:nvSpPr>
        <p:spPr bwMode="auto">
          <a:xfrm>
            <a:off x="10806824"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0" name="Oval 129"/>
          <p:cNvSpPr>
            <a:spLocks noChangeArrowheads="1"/>
          </p:cNvSpPr>
          <p:nvPr/>
        </p:nvSpPr>
        <p:spPr bwMode="auto">
          <a:xfrm>
            <a:off x="7780158"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1" name="Oval 130"/>
          <p:cNvSpPr>
            <a:spLocks noChangeArrowheads="1"/>
          </p:cNvSpPr>
          <p:nvPr/>
        </p:nvSpPr>
        <p:spPr bwMode="auto">
          <a:xfrm>
            <a:off x="6239445"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2" name="Oval 131"/>
          <p:cNvSpPr>
            <a:spLocks noChangeArrowheads="1"/>
          </p:cNvSpPr>
          <p:nvPr/>
        </p:nvSpPr>
        <p:spPr bwMode="auto">
          <a:xfrm>
            <a:off x="4742537"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3" name="Oval 132"/>
          <p:cNvSpPr>
            <a:spLocks noChangeArrowheads="1"/>
          </p:cNvSpPr>
          <p:nvPr/>
        </p:nvSpPr>
        <p:spPr bwMode="auto">
          <a:xfrm>
            <a:off x="3256588"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sp>
        <p:nvSpPr>
          <p:cNvPr id="134" name="Oval 19"/>
          <p:cNvSpPr>
            <a:spLocks noChangeArrowheads="1"/>
          </p:cNvSpPr>
          <p:nvPr/>
        </p:nvSpPr>
        <p:spPr bwMode="auto">
          <a:xfrm>
            <a:off x="9277066" y="4495439"/>
            <a:ext cx="288000" cy="288000"/>
          </a:xfrm>
          <a:prstGeom prst="ellipse">
            <a:avLst/>
          </a:prstGeom>
          <a:solidFill>
            <a:srgbClr val="DA291C"/>
          </a:solidFill>
          <a:ln w="6350">
            <a:noFill/>
            <a:round/>
            <a:headEnd/>
            <a:tailEnd/>
          </a:ln>
        </p:spPr>
        <p:txBody>
          <a:bodyPr wrap="none" anchor="ctr"/>
          <a:lstStyle/>
          <a:p>
            <a:pPr algn="ctr">
              <a:defRPr/>
            </a:pPr>
            <a:endParaRPr lang="en-US" sz="1000" dirty="0"/>
          </a:p>
        </p:txBody>
      </p:sp>
      <p:grpSp>
        <p:nvGrpSpPr>
          <p:cNvPr id="2" name="Group 1"/>
          <p:cNvGrpSpPr/>
          <p:nvPr/>
        </p:nvGrpSpPr>
        <p:grpSpPr>
          <a:xfrm>
            <a:off x="4840214" y="6168718"/>
            <a:ext cx="2466688" cy="178112"/>
            <a:chOff x="4660695" y="5744680"/>
            <a:chExt cx="3988689" cy="288010"/>
          </a:xfrm>
        </p:grpSpPr>
        <p:grpSp>
          <p:nvGrpSpPr>
            <p:cNvPr id="10" name="Group 9"/>
            <p:cNvGrpSpPr/>
            <p:nvPr/>
          </p:nvGrpSpPr>
          <p:grpSpPr>
            <a:xfrm>
              <a:off x="6136607" y="5744681"/>
              <a:ext cx="964971" cy="288000"/>
              <a:chOff x="6131279" y="5634953"/>
              <a:chExt cx="964971" cy="288000"/>
            </a:xfrm>
          </p:grpSpPr>
          <p:sp>
            <p:nvSpPr>
              <p:cNvPr id="109" name="Text Box 32"/>
              <p:cNvSpPr txBox="1">
                <a:spLocks noChangeArrowheads="1"/>
              </p:cNvSpPr>
              <p:nvPr/>
            </p:nvSpPr>
            <p:spPr bwMode="auto">
              <a:xfrm>
                <a:off x="6466371" y="5654542"/>
                <a:ext cx="629879" cy="248839"/>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solidFill>
                      <a:srgbClr val="313131"/>
                    </a:solidFill>
                    <a:ea typeface="ＭＳ Ｐゴシック" charset="-128"/>
                  </a:rPr>
                  <a:t>Neutral</a:t>
                </a:r>
              </a:p>
            </p:txBody>
          </p:sp>
          <p:sp>
            <p:nvSpPr>
              <p:cNvPr id="111" name="Oval 110"/>
              <p:cNvSpPr>
                <a:spLocks noChangeArrowheads="1"/>
              </p:cNvSpPr>
              <p:nvPr/>
            </p:nvSpPr>
            <p:spPr bwMode="auto">
              <a:xfrm>
                <a:off x="6131279" y="5634953"/>
                <a:ext cx="287998" cy="288000"/>
              </a:xfrm>
              <a:prstGeom prst="ellipse">
                <a:avLst/>
              </a:prstGeom>
              <a:solidFill>
                <a:srgbClr val="ED8B00"/>
              </a:solidFill>
              <a:ln w="6350">
                <a:noFill/>
                <a:round/>
                <a:headEnd/>
                <a:tailEnd/>
              </a:ln>
            </p:spPr>
            <p:txBody>
              <a:bodyPr wrap="none" anchor="ctr"/>
              <a:lstStyle/>
              <a:p>
                <a:pPr algn="ctr">
                  <a:defRPr/>
                </a:pPr>
                <a:endParaRPr lang="en-US" sz="1000" dirty="0"/>
              </a:p>
            </p:txBody>
          </p:sp>
        </p:grpSp>
        <p:grpSp>
          <p:nvGrpSpPr>
            <p:cNvPr id="11" name="Group 10"/>
            <p:cNvGrpSpPr/>
            <p:nvPr/>
          </p:nvGrpSpPr>
          <p:grpSpPr>
            <a:xfrm>
              <a:off x="7568604" y="5744689"/>
              <a:ext cx="1080780" cy="288001"/>
              <a:chOff x="7562943" y="5634961"/>
              <a:chExt cx="1080780" cy="288001"/>
            </a:xfrm>
          </p:grpSpPr>
          <p:sp>
            <p:nvSpPr>
              <p:cNvPr id="110" name="Text Box 34"/>
              <p:cNvSpPr txBox="1">
                <a:spLocks noChangeArrowheads="1"/>
              </p:cNvSpPr>
              <p:nvPr/>
            </p:nvSpPr>
            <p:spPr bwMode="auto">
              <a:xfrm>
                <a:off x="7902384" y="5654541"/>
                <a:ext cx="741339" cy="248840"/>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solidFill>
                      <a:srgbClr val="313131"/>
                    </a:solidFill>
                    <a:ea typeface="ＭＳ Ｐゴシック" charset="-128"/>
                  </a:rPr>
                  <a:t>Negative</a:t>
                </a:r>
              </a:p>
            </p:txBody>
          </p:sp>
          <p:sp>
            <p:nvSpPr>
              <p:cNvPr id="112" name="Oval 111"/>
              <p:cNvSpPr>
                <a:spLocks noChangeArrowheads="1"/>
              </p:cNvSpPr>
              <p:nvPr/>
            </p:nvSpPr>
            <p:spPr bwMode="auto">
              <a:xfrm>
                <a:off x="7562943" y="5634961"/>
                <a:ext cx="287998" cy="288001"/>
              </a:xfrm>
              <a:prstGeom prst="ellipse">
                <a:avLst/>
              </a:prstGeom>
              <a:solidFill>
                <a:srgbClr val="C00000"/>
              </a:solidFill>
              <a:ln w="6350">
                <a:noFill/>
                <a:round/>
                <a:headEnd/>
                <a:tailEnd/>
              </a:ln>
            </p:spPr>
            <p:txBody>
              <a:bodyPr wrap="none" anchor="ctr"/>
              <a:lstStyle/>
              <a:p>
                <a:pPr algn="ctr">
                  <a:defRPr/>
                </a:pPr>
                <a:endParaRPr lang="en-US" sz="1000" dirty="0"/>
              </a:p>
            </p:txBody>
          </p:sp>
        </p:grpSp>
        <p:grpSp>
          <p:nvGrpSpPr>
            <p:cNvPr id="9" name="Group 8"/>
            <p:cNvGrpSpPr/>
            <p:nvPr/>
          </p:nvGrpSpPr>
          <p:grpSpPr>
            <a:xfrm>
              <a:off x="4660695" y="5744680"/>
              <a:ext cx="985706" cy="288000"/>
              <a:chOff x="4655700" y="5634952"/>
              <a:chExt cx="985706" cy="288000"/>
            </a:xfrm>
          </p:grpSpPr>
          <p:sp>
            <p:nvSpPr>
              <p:cNvPr id="136" name="Text Box 32"/>
              <p:cNvSpPr txBox="1">
                <a:spLocks noChangeArrowheads="1"/>
              </p:cNvSpPr>
              <p:nvPr/>
            </p:nvSpPr>
            <p:spPr bwMode="auto">
              <a:xfrm>
                <a:off x="4990791" y="5654532"/>
                <a:ext cx="650615" cy="248839"/>
              </a:xfrm>
              <a:prstGeom prst="rect">
                <a:avLst/>
              </a:prstGeom>
              <a:noFill/>
              <a:ln w="9525">
                <a:noFill/>
                <a:miter lim="800000"/>
                <a:headEnd type="none" w="sm" len="sm"/>
                <a:tailEnd type="none" w="sm" len="sm"/>
              </a:ln>
            </p:spPr>
            <p:txBody>
              <a:bodyPr wrap="none" lIns="0" tIns="0" rIns="0" bIns="0" anchor="ctr">
                <a:spAutoFit/>
              </a:bodyPr>
              <a:lstStyle/>
              <a:p>
                <a:r>
                  <a:rPr lang="en-US" altLang="ja-JP" sz="1000" dirty="0">
                    <a:solidFill>
                      <a:srgbClr val="313131"/>
                    </a:solidFill>
                    <a:ea typeface="ＭＳ Ｐゴシック" charset="-128"/>
                  </a:rPr>
                  <a:t>Positive</a:t>
                </a:r>
              </a:p>
            </p:txBody>
          </p:sp>
          <p:sp>
            <p:nvSpPr>
              <p:cNvPr id="137" name="Oval 136"/>
              <p:cNvSpPr>
                <a:spLocks noChangeArrowheads="1"/>
              </p:cNvSpPr>
              <p:nvPr/>
            </p:nvSpPr>
            <p:spPr bwMode="auto">
              <a:xfrm>
                <a:off x="4655700" y="5634952"/>
                <a:ext cx="288000" cy="288000"/>
              </a:xfrm>
              <a:prstGeom prst="ellipse">
                <a:avLst/>
              </a:prstGeom>
              <a:solidFill>
                <a:srgbClr val="009A44"/>
              </a:solidFill>
              <a:ln w="6350">
                <a:noFill/>
                <a:round/>
                <a:headEnd/>
                <a:tailEnd/>
              </a:ln>
            </p:spPr>
            <p:txBody>
              <a:bodyPr wrap="none" anchor="ctr"/>
              <a:lstStyle/>
              <a:p>
                <a:pPr algn="ctr">
                  <a:defRPr/>
                </a:pPr>
                <a:endParaRPr lang="en-US" sz="1000" dirty="0"/>
              </a:p>
            </p:txBody>
          </p:sp>
        </p:grpSp>
      </p:grpSp>
      <p:sp>
        <p:nvSpPr>
          <p:cNvPr id="46" name="TextBox 45">
            <a:extLst>
              <a:ext uri="{FF2B5EF4-FFF2-40B4-BE49-F238E27FC236}">
                <a16:creationId xmlns:a16="http://schemas.microsoft.com/office/drawing/2014/main" id="{F50C10EC-9BB1-4004-9F5D-3A4CC5E3AE2D}"/>
              </a:ext>
            </a:extLst>
          </p:cNvPr>
          <p:cNvSpPr txBox="1"/>
          <p:nvPr/>
        </p:nvSpPr>
        <p:spPr bwMode="gray">
          <a:xfrm>
            <a:off x="541951" y="1710507"/>
            <a:ext cx="8348472" cy="200055"/>
          </a:xfrm>
          <a:prstGeom prst="rect">
            <a:avLst/>
          </a:prstGeom>
          <a:noFill/>
        </p:spPr>
        <p:txBody>
          <a:bodyPr wrap="square" lIns="0" tIns="0" rIns="0" bIns="0" rtlCol="0">
            <a:spAutoFit/>
          </a:bodyPr>
          <a:lstStyle/>
          <a:p>
            <a:r>
              <a:rPr lang="en-US" sz="1300" dirty="0"/>
              <a:t>Table title runs here</a:t>
            </a:r>
          </a:p>
        </p:txBody>
      </p:sp>
    </p:spTree>
    <p:extLst>
      <p:ext uri="{BB962C8B-B14F-4D97-AF65-F5344CB8AC3E}">
        <p14:creationId xmlns:p14="http://schemas.microsoft.com/office/powerpoint/2010/main" val="2510758372"/>
      </p:ext>
    </p:extLst>
  </p:cSld>
  <p:clrMapOvr>
    <a:masterClrMapping/>
  </p:clrMapOvr>
  <p:transition>
    <p:fade/>
  </p:transition>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dirty="0"/>
              <a:t>Subtitle runs here</a:t>
            </a:r>
          </a:p>
        </p:txBody>
      </p:sp>
      <p:sp>
        <p:nvSpPr>
          <p:cNvPr id="817153" name="Title 1"/>
          <p:cNvSpPr>
            <a:spLocks noGrp="1"/>
          </p:cNvSpPr>
          <p:nvPr>
            <p:ph type="title"/>
          </p:nvPr>
        </p:nvSpPr>
        <p:spPr/>
        <p:txBody>
          <a:bodyPr/>
          <a:lstStyle/>
          <a:p>
            <a:r>
              <a:rPr lang="en-US" dirty="0"/>
              <a:t>Radiating outward</a:t>
            </a:r>
          </a:p>
        </p:txBody>
      </p:sp>
      <p:grpSp>
        <p:nvGrpSpPr>
          <p:cNvPr id="2" name="Group 1"/>
          <p:cNvGrpSpPr/>
          <p:nvPr/>
        </p:nvGrpSpPr>
        <p:grpSpPr>
          <a:xfrm>
            <a:off x="3473493" y="1583782"/>
            <a:ext cx="5245013" cy="4694201"/>
            <a:chOff x="992464" y="1923256"/>
            <a:chExt cx="6656111" cy="4200663"/>
          </a:xfrm>
        </p:grpSpPr>
        <p:sp>
          <p:nvSpPr>
            <p:cNvPr id="817155" name="Arc 2"/>
            <p:cNvSpPr>
              <a:spLocks/>
            </p:cNvSpPr>
            <p:nvPr/>
          </p:nvSpPr>
          <p:spPr bwMode="auto">
            <a:xfrm>
              <a:off x="1473200" y="1976438"/>
              <a:ext cx="6156325" cy="3870325"/>
            </a:xfrm>
            <a:custGeom>
              <a:avLst/>
              <a:gdLst>
                <a:gd name="T0" fmla="*/ 0 w 21604"/>
                <a:gd name="T1" fmla="*/ 0 h 21600"/>
                <a:gd name="T2" fmla="*/ 2147483647 w 21604"/>
                <a:gd name="T3" fmla="*/ 2147483647 h 21600"/>
                <a:gd name="T4" fmla="*/ 2147483647 w 21604"/>
                <a:gd name="T5" fmla="*/ 2147483647 h 21600"/>
                <a:gd name="T6" fmla="*/ 0 60000 65536"/>
                <a:gd name="T7" fmla="*/ 0 60000 65536"/>
                <a:gd name="T8" fmla="*/ 0 60000 65536"/>
                <a:gd name="T9" fmla="*/ 0 w 21604"/>
                <a:gd name="T10" fmla="*/ 0 h 21600"/>
                <a:gd name="T11" fmla="*/ 21604 w 21604"/>
                <a:gd name="T12" fmla="*/ 21600 h 21600"/>
              </a:gdLst>
              <a:ahLst/>
              <a:cxnLst>
                <a:cxn ang="T6">
                  <a:pos x="T0" y="T1"/>
                </a:cxn>
                <a:cxn ang="T7">
                  <a:pos x="T2" y="T3"/>
                </a:cxn>
                <a:cxn ang="T8">
                  <a:pos x="T4" y="T5"/>
                </a:cxn>
              </a:cxnLst>
              <a:rect l="T9" t="T10" r="T11" b="T12"/>
              <a:pathLst>
                <a:path w="21604" h="21600" fill="none" extrusionOk="0">
                  <a:moveTo>
                    <a:pt x="0" y="0"/>
                  </a:moveTo>
                  <a:cubicBezTo>
                    <a:pt x="1" y="0"/>
                    <a:pt x="2" y="-1"/>
                    <a:pt x="4" y="0"/>
                  </a:cubicBezTo>
                  <a:cubicBezTo>
                    <a:pt x="11930" y="0"/>
                    <a:pt x="21600" y="9666"/>
                    <a:pt x="21603" y="21593"/>
                  </a:cubicBezTo>
                </a:path>
                <a:path w="21604" h="21600" stroke="0" extrusionOk="0">
                  <a:moveTo>
                    <a:pt x="0" y="0"/>
                  </a:moveTo>
                  <a:cubicBezTo>
                    <a:pt x="1" y="0"/>
                    <a:pt x="2" y="-1"/>
                    <a:pt x="4" y="0"/>
                  </a:cubicBezTo>
                  <a:cubicBezTo>
                    <a:pt x="11930" y="0"/>
                    <a:pt x="21600" y="9666"/>
                    <a:pt x="21603" y="21593"/>
                  </a:cubicBezTo>
                  <a:lnTo>
                    <a:pt x="4" y="21600"/>
                  </a:lnTo>
                  <a:close/>
                </a:path>
              </a:pathLst>
            </a:custGeom>
            <a:solidFill>
              <a:schemeClr val="bg2"/>
            </a:solidFill>
            <a:ln w="9525" cap="rnd">
              <a:noFill/>
              <a:round/>
              <a:headEnd type="none" w="sm" len="sm"/>
              <a:tailEnd type="none" w="sm" len="sm"/>
            </a:ln>
          </p:spPr>
          <p:txBody>
            <a:bodyPr wrap="none" anchor="ctr"/>
            <a:lstStyle/>
            <a:p>
              <a:pPr algn="ctr"/>
              <a:endParaRPr lang="en-US" dirty="0"/>
            </a:p>
          </p:txBody>
        </p:sp>
        <p:sp>
          <p:nvSpPr>
            <p:cNvPr id="5" name="Arc 3"/>
            <p:cNvSpPr>
              <a:spLocks/>
            </p:cNvSpPr>
            <p:nvPr/>
          </p:nvSpPr>
          <p:spPr bwMode="auto">
            <a:xfrm>
              <a:off x="1471613" y="3051175"/>
              <a:ext cx="4646612" cy="2795588"/>
            </a:xfrm>
            <a:custGeom>
              <a:avLst/>
              <a:gdLst>
                <a:gd name="T0" fmla="*/ 0 w 21606"/>
                <a:gd name="T1" fmla="*/ 0 h 21600"/>
                <a:gd name="T2" fmla="*/ 1172857969 w 21606"/>
                <a:gd name="T3" fmla="*/ 361669101 h 21600"/>
                <a:gd name="T4" fmla="*/ 325719 w 21606"/>
                <a:gd name="T5" fmla="*/ 361820011 h 21600"/>
                <a:gd name="T6" fmla="*/ 0 60000 65536"/>
                <a:gd name="T7" fmla="*/ 0 60000 65536"/>
                <a:gd name="T8" fmla="*/ 0 60000 65536"/>
                <a:gd name="T9" fmla="*/ 0 w 21606"/>
                <a:gd name="T10" fmla="*/ 0 h 21600"/>
                <a:gd name="T11" fmla="*/ 21606 w 21606"/>
                <a:gd name="T12" fmla="*/ 21600 h 21600"/>
              </a:gdLst>
              <a:ahLst/>
              <a:cxnLst>
                <a:cxn ang="T6">
                  <a:pos x="T0" y="T1"/>
                </a:cxn>
                <a:cxn ang="T7">
                  <a:pos x="T2" y="T3"/>
                </a:cxn>
                <a:cxn ang="T8">
                  <a:pos x="T4" y="T5"/>
                </a:cxn>
              </a:cxnLst>
              <a:rect l="T9" t="T10" r="T11" b="T12"/>
              <a:pathLst>
                <a:path w="21606" h="21600" fill="none" extrusionOk="0">
                  <a:moveTo>
                    <a:pt x="0" y="0"/>
                  </a:moveTo>
                  <a:cubicBezTo>
                    <a:pt x="2" y="0"/>
                    <a:pt x="4" y="-1"/>
                    <a:pt x="6" y="0"/>
                  </a:cubicBezTo>
                  <a:cubicBezTo>
                    <a:pt x="11931" y="0"/>
                    <a:pt x="21601" y="9665"/>
                    <a:pt x="21605" y="21591"/>
                  </a:cubicBezTo>
                </a:path>
                <a:path w="21606" h="21600" stroke="0" extrusionOk="0">
                  <a:moveTo>
                    <a:pt x="0" y="0"/>
                  </a:moveTo>
                  <a:cubicBezTo>
                    <a:pt x="2" y="0"/>
                    <a:pt x="4" y="-1"/>
                    <a:pt x="6" y="0"/>
                  </a:cubicBezTo>
                  <a:cubicBezTo>
                    <a:pt x="11931" y="0"/>
                    <a:pt x="21601" y="9665"/>
                    <a:pt x="21605" y="21591"/>
                  </a:cubicBezTo>
                  <a:lnTo>
                    <a:pt x="6" y="21600"/>
                  </a:lnTo>
                  <a:close/>
                </a:path>
              </a:pathLst>
            </a:custGeom>
            <a:solidFill>
              <a:schemeClr val="bg2">
                <a:lumMod val="60000"/>
                <a:lumOff val="40000"/>
              </a:schemeClr>
            </a:solidFill>
            <a:ln w="12700" cap="rnd">
              <a:noFill/>
              <a:round/>
              <a:headEnd type="none" w="sm" len="sm"/>
              <a:tailEnd type="none" w="sm" len="sm"/>
            </a:ln>
          </p:spPr>
          <p:txBody>
            <a:bodyPr wrap="none" anchor="ctr"/>
            <a:lstStyle/>
            <a:p>
              <a:pPr algn="ctr">
                <a:defRPr/>
              </a:pPr>
              <a:endParaRPr lang="en-US" dirty="0"/>
            </a:p>
          </p:txBody>
        </p:sp>
        <p:sp>
          <p:nvSpPr>
            <p:cNvPr id="817157" name="Arc 4"/>
            <p:cNvSpPr>
              <a:spLocks/>
            </p:cNvSpPr>
            <p:nvPr/>
          </p:nvSpPr>
          <p:spPr bwMode="auto">
            <a:xfrm>
              <a:off x="1473200" y="4056063"/>
              <a:ext cx="3005138" cy="1790700"/>
            </a:xfrm>
            <a:custGeom>
              <a:avLst/>
              <a:gdLst>
                <a:gd name="T0" fmla="*/ 2147483647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51" y="0"/>
                  </a:moveTo>
                  <a:cubicBezTo>
                    <a:pt x="11955" y="28"/>
                    <a:pt x="21592" y="9682"/>
                    <a:pt x="21599" y="21586"/>
                  </a:cubicBezTo>
                </a:path>
                <a:path w="21600" h="21600" stroke="0" extrusionOk="0">
                  <a:moveTo>
                    <a:pt x="51" y="0"/>
                  </a:moveTo>
                  <a:cubicBezTo>
                    <a:pt x="11955" y="28"/>
                    <a:pt x="21592" y="9682"/>
                    <a:pt x="21599" y="21586"/>
                  </a:cubicBezTo>
                  <a:lnTo>
                    <a:pt x="0" y="21600"/>
                  </a:lnTo>
                  <a:close/>
                </a:path>
              </a:pathLst>
            </a:custGeom>
            <a:solidFill>
              <a:schemeClr val="bg2">
                <a:lumMod val="40000"/>
                <a:lumOff val="60000"/>
              </a:schemeClr>
            </a:solidFill>
            <a:ln w="12700" cap="rnd">
              <a:noFill/>
              <a:round/>
              <a:headEnd type="none" w="sm" len="sm"/>
              <a:tailEnd type="none" w="sm" len="sm"/>
            </a:ln>
          </p:spPr>
          <p:txBody>
            <a:bodyPr wrap="none" anchor="ctr"/>
            <a:lstStyle/>
            <a:p>
              <a:pPr algn="ctr"/>
              <a:endParaRPr lang="en-US" dirty="0"/>
            </a:p>
          </p:txBody>
        </p:sp>
        <p:sp>
          <p:nvSpPr>
            <p:cNvPr id="817158" name="Arc 5"/>
            <p:cNvSpPr>
              <a:spLocks/>
            </p:cNvSpPr>
            <p:nvPr/>
          </p:nvSpPr>
          <p:spPr bwMode="auto">
            <a:xfrm>
              <a:off x="1473200" y="4977606"/>
              <a:ext cx="1311275" cy="871538"/>
            </a:xfrm>
            <a:custGeom>
              <a:avLst/>
              <a:gdLst>
                <a:gd name="T0" fmla="*/ 0 w 21620"/>
                <a:gd name="T1" fmla="*/ 0 h 21600"/>
                <a:gd name="T2" fmla="*/ 2147483647 w 21620"/>
                <a:gd name="T3" fmla="*/ 2147483647 h 21600"/>
                <a:gd name="T4" fmla="*/ 2147483647 w 21620"/>
                <a:gd name="T5" fmla="*/ 2147483647 h 21600"/>
                <a:gd name="T6" fmla="*/ 0 60000 65536"/>
                <a:gd name="T7" fmla="*/ 0 60000 65536"/>
                <a:gd name="T8" fmla="*/ 0 60000 65536"/>
                <a:gd name="T9" fmla="*/ 0 w 21620"/>
                <a:gd name="T10" fmla="*/ 0 h 21600"/>
                <a:gd name="T11" fmla="*/ 21620 w 21620"/>
                <a:gd name="T12" fmla="*/ 21600 h 21600"/>
              </a:gdLst>
              <a:ahLst/>
              <a:cxnLst>
                <a:cxn ang="T6">
                  <a:pos x="T0" y="T1"/>
                </a:cxn>
                <a:cxn ang="T7">
                  <a:pos x="T2" y="T3"/>
                </a:cxn>
                <a:cxn ang="T8">
                  <a:pos x="T4" y="T5"/>
                </a:cxn>
              </a:cxnLst>
              <a:rect l="T9" t="T10" r="T11" b="T12"/>
              <a:pathLst>
                <a:path w="21620" h="21600" fill="none" extrusionOk="0">
                  <a:moveTo>
                    <a:pt x="0" y="0"/>
                  </a:moveTo>
                  <a:cubicBezTo>
                    <a:pt x="6" y="0"/>
                    <a:pt x="13" y="-1"/>
                    <a:pt x="20" y="0"/>
                  </a:cubicBezTo>
                  <a:cubicBezTo>
                    <a:pt x="11937" y="0"/>
                    <a:pt x="21603" y="9652"/>
                    <a:pt x="21619" y="21570"/>
                  </a:cubicBezTo>
                </a:path>
                <a:path w="21620" h="21600" stroke="0" extrusionOk="0">
                  <a:moveTo>
                    <a:pt x="0" y="0"/>
                  </a:moveTo>
                  <a:cubicBezTo>
                    <a:pt x="6" y="0"/>
                    <a:pt x="13" y="-1"/>
                    <a:pt x="20" y="0"/>
                  </a:cubicBezTo>
                  <a:cubicBezTo>
                    <a:pt x="11937" y="0"/>
                    <a:pt x="21603" y="9652"/>
                    <a:pt x="21619" y="21570"/>
                  </a:cubicBezTo>
                  <a:lnTo>
                    <a:pt x="20" y="21600"/>
                  </a:lnTo>
                  <a:close/>
                </a:path>
              </a:pathLst>
            </a:custGeom>
            <a:solidFill>
              <a:schemeClr val="accent1"/>
            </a:solidFill>
            <a:ln w="12700" cap="rnd">
              <a:noFill/>
              <a:round/>
              <a:headEnd type="none" w="sm" len="sm"/>
              <a:tailEnd type="none" w="sm" len="sm"/>
            </a:ln>
          </p:spPr>
          <p:txBody>
            <a:bodyPr wrap="none" anchor="ctr"/>
            <a:lstStyle/>
            <a:p>
              <a:pPr algn="ctr"/>
              <a:endParaRPr lang="en-US" dirty="0"/>
            </a:p>
          </p:txBody>
        </p:sp>
        <p:sp>
          <p:nvSpPr>
            <p:cNvPr id="817159" name="Rectangle 6"/>
            <p:cNvSpPr>
              <a:spLocks noChangeArrowheads="1"/>
            </p:cNvSpPr>
            <p:nvPr/>
          </p:nvSpPr>
          <p:spPr bwMode="auto">
            <a:xfrm>
              <a:off x="992464" y="1923256"/>
              <a:ext cx="299762" cy="187463"/>
            </a:xfrm>
            <a:prstGeom prst="rect">
              <a:avLst/>
            </a:prstGeom>
            <a:noFill/>
            <a:ln w="9525">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High</a:t>
              </a:r>
            </a:p>
          </p:txBody>
        </p:sp>
        <p:sp>
          <p:nvSpPr>
            <p:cNvPr id="817160" name="Rectangle 7"/>
            <p:cNvSpPr>
              <a:spLocks noChangeArrowheads="1"/>
            </p:cNvSpPr>
            <p:nvPr/>
          </p:nvSpPr>
          <p:spPr bwMode="auto">
            <a:xfrm>
              <a:off x="1024117" y="5622131"/>
              <a:ext cx="268108" cy="18746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Low</a:t>
              </a:r>
            </a:p>
          </p:txBody>
        </p:sp>
        <p:sp>
          <p:nvSpPr>
            <p:cNvPr id="817161" name="Rectangle 8"/>
            <p:cNvSpPr>
              <a:spLocks noChangeArrowheads="1"/>
            </p:cNvSpPr>
            <p:nvPr/>
          </p:nvSpPr>
          <p:spPr bwMode="auto">
            <a:xfrm>
              <a:off x="7336113" y="5936456"/>
              <a:ext cx="299762" cy="18746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High</a:t>
              </a:r>
            </a:p>
          </p:txBody>
        </p:sp>
        <p:sp>
          <p:nvSpPr>
            <p:cNvPr id="817162" name="Rectangle 9"/>
            <p:cNvSpPr>
              <a:spLocks noChangeArrowheads="1"/>
            </p:cNvSpPr>
            <p:nvPr/>
          </p:nvSpPr>
          <p:spPr bwMode="auto">
            <a:xfrm>
              <a:off x="1694042" y="5936456"/>
              <a:ext cx="268108" cy="187463"/>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200" dirty="0">
                  <a:ea typeface="ＭＳ Ｐゴシック" charset="-128"/>
                </a:rPr>
                <a:t>Low</a:t>
              </a:r>
            </a:p>
          </p:txBody>
        </p:sp>
        <p:cxnSp>
          <p:nvCxnSpPr>
            <p:cNvPr id="3" name="Straight Arrow Connector 2"/>
            <p:cNvCxnSpPr/>
            <p:nvPr/>
          </p:nvCxnSpPr>
          <p:spPr>
            <a:xfrm flipV="1">
              <a:off x="2046288" y="3409918"/>
              <a:ext cx="3376455" cy="2102675"/>
            </a:xfrm>
            <a:prstGeom prst="straightConnector1">
              <a:avLst/>
            </a:prstGeom>
            <a:ln w="9525">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817164" name="Freeform 13"/>
            <p:cNvSpPr>
              <a:spLocks/>
            </p:cNvSpPr>
            <p:nvPr/>
          </p:nvSpPr>
          <p:spPr bwMode="auto">
            <a:xfrm>
              <a:off x="1473200" y="1974056"/>
              <a:ext cx="6175375" cy="3879850"/>
            </a:xfrm>
            <a:custGeom>
              <a:avLst/>
              <a:gdLst>
                <a:gd name="T0" fmla="*/ 0 w 4992"/>
                <a:gd name="T1" fmla="*/ 0 h 3188"/>
                <a:gd name="T2" fmla="*/ 0 w 4992"/>
                <a:gd name="T3" fmla="*/ 2147483647 h 3188"/>
                <a:gd name="T4" fmla="*/ 2147483647 w 4992"/>
                <a:gd name="T5" fmla="*/ 2147483647 h 3188"/>
                <a:gd name="T6" fmla="*/ 0 60000 65536"/>
                <a:gd name="T7" fmla="*/ 0 60000 65536"/>
                <a:gd name="T8" fmla="*/ 0 60000 65536"/>
                <a:gd name="T9" fmla="*/ 0 w 4992"/>
                <a:gd name="T10" fmla="*/ 0 h 3188"/>
                <a:gd name="T11" fmla="*/ 4992 w 4992"/>
                <a:gd name="T12" fmla="*/ 3188 h 3188"/>
              </a:gdLst>
              <a:ahLst/>
              <a:cxnLst>
                <a:cxn ang="T6">
                  <a:pos x="T0" y="T1"/>
                </a:cxn>
                <a:cxn ang="T7">
                  <a:pos x="T2" y="T3"/>
                </a:cxn>
                <a:cxn ang="T8">
                  <a:pos x="T4" y="T5"/>
                </a:cxn>
              </a:cxnLst>
              <a:rect l="T9" t="T10" r="T11" b="T12"/>
              <a:pathLst>
                <a:path w="4992" h="3188">
                  <a:moveTo>
                    <a:pt x="0" y="0"/>
                  </a:moveTo>
                  <a:lnTo>
                    <a:pt x="0" y="3187"/>
                  </a:lnTo>
                  <a:lnTo>
                    <a:pt x="4991" y="3187"/>
                  </a:lnTo>
                </a:path>
              </a:pathLst>
            </a:custGeom>
            <a:noFill/>
            <a:ln w="9525" cap="rnd">
              <a:solidFill>
                <a:schemeClr val="tx2"/>
              </a:solidFill>
              <a:round/>
              <a:headEnd type="none" w="sm" len="sm"/>
              <a:tailEnd type="none" w="sm" len="sm"/>
            </a:ln>
          </p:spPr>
          <p:txBody>
            <a:bodyPr/>
            <a:lstStyle/>
            <a:p>
              <a:endParaRPr lang="en-US" dirty="0"/>
            </a:p>
          </p:txBody>
        </p:sp>
      </p:grpSp>
      <p:sp>
        <p:nvSpPr>
          <p:cNvPr id="17" name="TextBox 16">
            <a:extLst>
              <a:ext uri="{FF2B5EF4-FFF2-40B4-BE49-F238E27FC236}">
                <a16:creationId xmlns:a16="http://schemas.microsoft.com/office/drawing/2014/main" id="{A892CA0F-2D98-4534-AFCB-9576E7016D71}"/>
              </a:ext>
            </a:extLst>
          </p:cNvPr>
          <p:cNvSpPr txBox="1"/>
          <p:nvPr/>
        </p:nvSpPr>
        <p:spPr bwMode="gray">
          <a:xfrm>
            <a:off x="511211" y="1365769"/>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502339627"/>
      </p:ext>
    </p:extLst>
  </p:cSld>
  <p:clrMapOvr>
    <a:masterClrMapping/>
  </p:clrMapOvr>
  <p:transition>
    <p:fade/>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43113" y="2435066"/>
            <a:ext cx="6292850" cy="2543335"/>
            <a:chOff x="519113" y="2435065"/>
            <a:chExt cx="6292850" cy="2543335"/>
          </a:xfrm>
        </p:grpSpPr>
        <p:sp>
          <p:nvSpPr>
            <p:cNvPr id="21" name="Oval 3"/>
            <p:cNvSpPr>
              <a:spLocks noChangeArrowheads="1"/>
            </p:cNvSpPr>
            <p:nvPr/>
          </p:nvSpPr>
          <p:spPr bwMode="auto">
            <a:xfrm rot="3480929">
              <a:off x="2427288" y="593725"/>
              <a:ext cx="2476500" cy="6292850"/>
            </a:xfrm>
            <a:prstGeom prst="ellipse">
              <a:avLst/>
            </a:prstGeom>
            <a:solidFill>
              <a:schemeClr val="bg2"/>
            </a:solidFill>
            <a:ln w="9525">
              <a:solidFill>
                <a:schemeClr val="accent1"/>
              </a:solidFill>
              <a:round/>
              <a:headEnd/>
              <a:tailEnd/>
            </a:ln>
          </p:spPr>
          <p:txBody>
            <a:bodyPr rot="10800000" vert="eaVert" wrap="none" anchor="ctr"/>
            <a:lstStyle/>
            <a:p>
              <a:pPr algn="ctr">
                <a:defRPr/>
              </a:pPr>
              <a:endParaRPr lang="en-US" dirty="0"/>
            </a:p>
          </p:txBody>
        </p:sp>
        <p:sp>
          <p:nvSpPr>
            <p:cNvPr id="818186" name="Text Box 10"/>
            <p:cNvSpPr txBox="1">
              <a:spLocks noChangeArrowheads="1"/>
            </p:cNvSpPr>
            <p:nvPr/>
          </p:nvSpPr>
          <p:spPr bwMode="auto">
            <a:xfrm>
              <a:off x="5204355" y="2435065"/>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grpSp>
        <p:nvGrpSpPr>
          <p:cNvPr id="6" name="Group 5"/>
          <p:cNvGrpSpPr/>
          <p:nvPr/>
        </p:nvGrpSpPr>
        <p:grpSpPr>
          <a:xfrm>
            <a:off x="2177318" y="3203282"/>
            <a:ext cx="4606925" cy="2001838"/>
            <a:chOff x="644525" y="3405505"/>
            <a:chExt cx="4606925" cy="2001838"/>
          </a:xfrm>
        </p:grpSpPr>
        <p:sp>
          <p:nvSpPr>
            <p:cNvPr id="22" name="Oval 4"/>
            <p:cNvSpPr>
              <a:spLocks noChangeArrowheads="1"/>
            </p:cNvSpPr>
            <p:nvPr/>
          </p:nvSpPr>
          <p:spPr bwMode="auto">
            <a:xfrm rot="3480929">
              <a:off x="1947069" y="2102961"/>
              <a:ext cx="2001838" cy="4606925"/>
            </a:xfrm>
            <a:prstGeom prst="ellipse">
              <a:avLst/>
            </a:prstGeom>
            <a:solidFill>
              <a:schemeClr val="bg2">
                <a:lumMod val="60000"/>
                <a:lumOff val="40000"/>
              </a:schemeClr>
            </a:solidFill>
            <a:ln w="9525" algn="ctr">
              <a:noFill/>
              <a:round/>
              <a:headEnd/>
              <a:tailEnd/>
            </a:ln>
          </p:spPr>
          <p:txBody>
            <a:bodyPr rot="10800000" vert="eaVert" tIns="91440" bIns="91440" anchor="ctr"/>
            <a:lstStyle/>
            <a:p>
              <a:pPr algn="ctr">
                <a:defRPr/>
              </a:pPr>
              <a:endParaRPr lang="en-US" dirty="0">
                <a:ea typeface="ＭＳ Ｐゴシック" pitchFamily="50" charset="-128"/>
              </a:endParaRPr>
            </a:p>
          </p:txBody>
        </p:sp>
        <p:sp>
          <p:nvSpPr>
            <p:cNvPr id="818185" name="Text Box 9"/>
            <p:cNvSpPr txBox="1">
              <a:spLocks noChangeArrowheads="1"/>
            </p:cNvSpPr>
            <p:nvPr/>
          </p:nvSpPr>
          <p:spPr bwMode="auto">
            <a:xfrm>
              <a:off x="3750205" y="3524407"/>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sp>
        <p:nvSpPr>
          <p:cNvPr id="5" name="Text Placeholder 4"/>
          <p:cNvSpPr>
            <a:spLocks noGrp="1"/>
          </p:cNvSpPr>
          <p:nvPr>
            <p:ph type="body" sz="quarter" idx="13"/>
          </p:nvPr>
        </p:nvSpPr>
        <p:spPr/>
        <p:txBody>
          <a:bodyPr/>
          <a:lstStyle/>
          <a:p>
            <a:r>
              <a:rPr lang="en-US" dirty="0"/>
              <a:t>Subtitle runs here</a:t>
            </a:r>
          </a:p>
        </p:txBody>
      </p:sp>
      <p:sp>
        <p:nvSpPr>
          <p:cNvPr id="818177" name="Title 1"/>
          <p:cNvSpPr>
            <a:spLocks noGrp="1"/>
          </p:cNvSpPr>
          <p:nvPr>
            <p:ph type="title"/>
          </p:nvPr>
        </p:nvSpPr>
        <p:spPr/>
        <p:txBody>
          <a:bodyPr/>
          <a:lstStyle/>
          <a:p>
            <a:r>
              <a:rPr lang="en-US" altLang="ja-JP" dirty="0"/>
              <a:t>Expansion</a:t>
            </a:r>
            <a:endParaRPr lang="en-US" dirty="0"/>
          </a:p>
        </p:txBody>
      </p:sp>
      <p:grpSp>
        <p:nvGrpSpPr>
          <p:cNvPr id="3" name="Group 2"/>
          <p:cNvGrpSpPr/>
          <p:nvPr/>
        </p:nvGrpSpPr>
        <p:grpSpPr>
          <a:xfrm>
            <a:off x="2333748" y="4084956"/>
            <a:ext cx="2765425" cy="1266825"/>
            <a:chOff x="792163" y="4313555"/>
            <a:chExt cx="2765425" cy="1266825"/>
          </a:xfrm>
        </p:grpSpPr>
        <p:sp>
          <p:nvSpPr>
            <p:cNvPr id="818181" name="Oval 5"/>
            <p:cNvSpPr>
              <a:spLocks noChangeArrowheads="1"/>
            </p:cNvSpPr>
            <p:nvPr/>
          </p:nvSpPr>
          <p:spPr bwMode="auto">
            <a:xfrm rot="3480929">
              <a:off x="1541463" y="3564255"/>
              <a:ext cx="1266825" cy="2765425"/>
            </a:xfrm>
            <a:prstGeom prst="ellipse">
              <a:avLst/>
            </a:prstGeom>
            <a:solidFill>
              <a:schemeClr val="bg2">
                <a:lumMod val="40000"/>
                <a:lumOff val="60000"/>
              </a:schemeClr>
            </a:solidFill>
            <a:ln w="9525" algn="ctr">
              <a:noFill/>
              <a:round/>
              <a:headEnd/>
              <a:tailEnd/>
            </a:ln>
          </p:spPr>
          <p:txBody>
            <a:bodyPr rot="10800000" vert="eaVert" lIns="36000" tIns="36000" rIns="36000" bIns="36000" anchor="ctr"/>
            <a:lstStyle/>
            <a:p>
              <a:pPr algn="ctr"/>
              <a:endParaRPr lang="en-US" sz="1400" b="1" dirty="0"/>
            </a:p>
          </p:txBody>
        </p:sp>
        <p:sp>
          <p:nvSpPr>
            <p:cNvPr id="818184" name="Text Box 8"/>
            <p:cNvSpPr txBox="1">
              <a:spLocks noChangeArrowheads="1"/>
            </p:cNvSpPr>
            <p:nvPr/>
          </p:nvSpPr>
          <p:spPr bwMode="auto">
            <a:xfrm>
              <a:off x="2525290" y="4442935"/>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grpSp>
        <p:nvGrpSpPr>
          <p:cNvPr id="2" name="Group 1"/>
          <p:cNvGrpSpPr/>
          <p:nvPr/>
        </p:nvGrpSpPr>
        <p:grpSpPr>
          <a:xfrm>
            <a:off x="2447437" y="4687498"/>
            <a:ext cx="1601788" cy="731837"/>
            <a:chOff x="879475" y="4995228"/>
            <a:chExt cx="1601788" cy="731837"/>
          </a:xfrm>
        </p:grpSpPr>
        <p:sp>
          <p:nvSpPr>
            <p:cNvPr id="818182" name="Oval 6"/>
            <p:cNvSpPr>
              <a:spLocks noChangeArrowheads="1"/>
            </p:cNvSpPr>
            <p:nvPr/>
          </p:nvSpPr>
          <p:spPr bwMode="auto">
            <a:xfrm rot="3480929">
              <a:off x="1314450" y="4560253"/>
              <a:ext cx="731837" cy="1601788"/>
            </a:xfrm>
            <a:prstGeom prst="ellipse">
              <a:avLst/>
            </a:prstGeom>
            <a:solidFill>
              <a:schemeClr val="accent1"/>
            </a:solidFill>
            <a:ln w="9525" algn="ctr">
              <a:noFill/>
              <a:round/>
              <a:headEnd/>
              <a:tailEnd/>
            </a:ln>
          </p:spPr>
          <p:txBody>
            <a:bodyPr rot="10800000" vert="eaVert" lIns="36000" tIns="36000" rIns="36000" bIns="36000" anchor="ctr"/>
            <a:lstStyle/>
            <a:p>
              <a:pPr algn="ctr"/>
              <a:endParaRPr lang="en-US" dirty="0">
                <a:solidFill>
                  <a:schemeClr val="bg1"/>
                </a:solidFill>
                <a:ea typeface="ＭＳ Ｐゴシック" charset="-128"/>
              </a:endParaRPr>
            </a:p>
          </p:txBody>
        </p:sp>
        <p:sp>
          <p:nvSpPr>
            <p:cNvPr id="818183" name="Text Box 7"/>
            <p:cNvSpPr txBox="1">
              <a:spLocks noChangeArrowheads="1"/>
            </p:cNvSpPr>
            <p:nvPr/>
          </p:nvSpPr>
          <p:spPr bwMode="gray">
            <a:xfrm>
              <a:off x="1458160" y="5280182"/>
              <a:ext cx="377082" cy="184666"/>
            </a:xfrm>
            <a:prstGeom prst="rect">
              <a:avLst/>
            </a:prstGeom>
            <a:noFill/>
            <a:ln w="9525" algn="ctr">
              <a:noFill/>
              <a:miter lim="800000"/>
              <a:headEnd/>
              <a:tailEnd/>
            </a:ln>
          </p:spPr>
          <p:txBody>
            <a:bodyPr wrap="square" lIns="0" tIns="0" rIns="0" bIns="0" anchor="ctr" anchorCtr="0">
              <a:spAutoFit/>
            </a:bodyPr>
            <a:lstStyle/>
            <a:p>
              <a:pPr algn="ctr"/>
              <a:r>
                <a:rPr lang="en-US" altLang="ja-JP" sz="1200" dirty="0">
                  <a:solidFill>
                    <a:schemeClr val="bg1"/>
                  </a:solidFill>
                  <a:ea typeface="ＭＳ Ｐゴシック" charset="-128"/>
                </a:rPr>
                <a:t>Text</a:t>
              </a:r>
            </a:p>
          </p:txBody>
        </p:sp>
      </p:grpSp>
      <p:grpSp>
        <p:nvGrpSpPr>
          <p:cNvPr id="8" name="Group 7"/>
          <p:cNvGrpSpPr/>
          <p:nvPr/>
        </p:nvGrpSpPr>
        <p:grpSpPr>
          <a:xfrm>
            <a:off x="3496995" y="5200650"/>
            <a:ext cx="3393349" cy="994729"/>
            <a:chOff x="1972994" y="5200649"/>
            <a:chExt cx="3393349" cy="994729"/>
          </a:xfrm>
        </p:grpSpPr>
        <p:sp>
          <p:nvSpPr>
            <p:cNvPr id="51" name="Text Placeholder 15"/>
            <p:cNvSpPr txBox="1">
              <a:spLocks/>
            </p:cNvSpPr>
            <p:nvPr>
              <p:custDataLst>
                <p:tags r:id="rId4"/>
              </p:custDataLst>
            </p:nvPr>
          </p:nvSpPr>
          <p:spPr bwMode="auto">
            <a:xfrm>
              <a:off x="3126153" y="5444490"/>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29" name="Line 11"/>
            <p:cNvSpPr>
              <a:spLocks noChangeShapeType="1"/>
            </p:cNvSpPr>
            <p:nvPr/>
          </p:nvSpPr>
          <p:spPr bwMode="auto">
            <a:xfrm flipH="1" flipV="1">
              <a:off x="1972994" y="5200649"/>
              <a:ext cx="1153160" cy="534353"/>
            </a:xfrm>
            <a:prstGeom prst="line">
              <a:avLst/>
            </a:prstGeom>
            <a:noFill/>
            <a:ln w="9525">
              <a:solidFill>
                <a:schemeClr val="tx2"/>
              </a:solidFill>
              <a:round/>
              <a:headEnd/>
              <a:tailEnd type="triangle" w="lg" len="lg"/>
            </a:ln>
          </p:spPr>
          <p:txBody>
            <a:bodyPr lIns="36000" tIns="36000" rIns="36000" bIns="36000" anchor="ctr"/>
            <a:lstStyle/>
            <a:p>
              <a:pPr>
                <a:defRPr/>
              </a:pPr>
              <a:endParaRPr lang="en-US" dirty="0"/>
            </a:p>
          </p:txBody>
        </p:sp>
      </p:grpSp>
      <p:grpSp>
        <p:nvGrpSpPr>
          <p:cNvPr id="9" name="Group 8"/>
          <p:cNvGrpSpPr/>
          <p:nvPr/>
        </p:nvGrpSpPr>
        <p:grpSpPr>
          <a:xfrm>
            <a:off x="4570291" y="4383308"/>
            <a:ext cx="3756025" cy="1058863"/>
            <a:chOff x="3046290" y="4383307"/>
            <a:chExt cx="3756025" cy="1058863"/>
          </a:xfrm>
        </p:grpSpPr>
        <p:sp>
          <p:nvSpPr>
            <p:cNvPr id="45" name="Text Placeholder 15"/>
            <p:cNvSpPr txBox="1">
              <a:spLocks/>
            </p:cNvSpPr>
            <p:nvPr>
              <p:custDataLst>
                <p:tags r:id="rId3"/>
              </p:custDataLst>
            </p:nvPr>
          </p:nvSpPr>
          <p:spPr bwMode="auto">
            <a:xfrm>
              <a:off x="4562125" y="4691282"/>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30" name="Line 12"/>
            <p:cNvSpPr>
              <a:spLocks noChangeShapeType="1"/>
            </p:cNvSpPr>
            <p:nvPr/>
          </p:nvSpPr>
          <p:spPr bwMode="auto">
            <a:xfrm flipH="1" flipV="1">
              <a:off x="3046290" y="4383307"/>
              <a:ext cx="1504950" cy="544513"/>
            </a:xfrm>
            <a:prstGeom prst="line">
              <a:avLst/>
            </a:prstGeom>
            <a:noFill/>
            <a:ln w="9525">
              <a:solidFill>
                <a:schemeClr val="tx2"/>
              </a:solidFill>
              <a:round/>
              <a:headEnd type="none" w="sm" len="sm"/>
              <a:tailEnd type="triangle" w="lg" len="lg"/>
            </a:ln>
          </p:spPr>
          <p:txBody>
            <a:bodyPr lIns="36000" tIns="36000" rIns="36000" bIns="36000" anchor="ctr"/>
            <a:lstStyle/>
            <a:p>
              <a:pPr>
                <a:defRPr/>
              </a:pPr>
              <a:endParaRPr lang="en-US" dirty="0"/>
            </a:p>
          </p:txBody>
        </p:sp>
      </p:grpSp>
      <p:grpSp>
        <p:nvGrpSpPr>
          <p:cNvPr id="10" name="Group 9"/>
          <p:cNvGrpSpPr/>
          <p:nvPr/>
        </p:nvGrpSpPr>
        <p:grpSpPr>
          <a:xfrm>
            <a:off x="5741745" y="3544130"/>
            <a:ext cx="3616881" cy="1037432"/>
            <a:chOff x="4252913" y="3676015"/>
            <a:chExt cx="3616881" cy="1037432"/>
          </a:xfrm>
        </p:grpSpPr>
        <p:sp>
          <p:nvSpPr>
            <p:cNvPr id="44" name="Text Placeholder 15"/>
            <p:cNvSpPr txBox="1">
              <a:spLocks/>
            </p:cNvSpPr>
            <p:nvPr>
              <p:custDataLst>
                <p:tags r:id="rId2"/>
              </p:custDataLst>
            </p:nvPr>
          </p:nvSpPr>
          <p:spPr bwMode="auto">
            <a:xfrm>
              <a:off x="5629604" y="3962559"/>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31" name="Line 13"/>
            <p:cNvSpPr>
              <a:spLocks noChangeShapeType="1"/>
            </p:cNvSpPr>
            <p:nvPr/>
          </p:nvSpPr>
          <p:spPr bwMode="auto">
            <a:xfrm flipH="1" flipV="1">
              <a:off x="4252913" y="3676015"/>
              <a:ext cx="1381125" cy="544513"/>
            </a:xfrm>
            <a:prstGeom prst="line">
              <a:avLst/>
            </a:prstGeom>
            <a:noFill/>
            <a:ln w="9525">
              <a:solidFill>
                <a:schemeClr val="tx2"/>
              </a:solidFill>
              <a:round/>
              <a:headEnd type="none" w="sm" len="sm"/>
              <a:tailEnd type="triangle" w="lg" len="lg"/>
            </a:ln>
          </p:spPr>
          <p:txBody>
            <a:bodyPr lIns="36000" tIns="36000" rIns="36000" bIns="36000" anchor="ctr"/>
            <a:lstStyle/>
            <a:p>
              <a:pPr>
                <a:defRPr/>
              </a:pPr>
              <a:endParaRPr lang="en-US" dirty="0"/>
            </a:p>
          </p:txBody>
        </p:sp>
      </p:grpSp>
      <p:grpSp>
        <p:nvGrpSpPr>
          <p:cNvPr id="11" name="Group 10"/>
          <p:cNvGrpSpPr/>
          <p:nvPr/>
        </p:nvGrpSpPr>
        <p:grpSpPr>
          <a:xfrm>
            <a:off x="7271117" y="2591753"/>
            <a:ext cx="3022570" cy="827119"/>
            <a:chOff x="5747117" y="2591752"/>
            <a:chExt cx="3022570" cy="827119"/>
          </a:xfrm>
        </p:grpSpPr>
        <p:sp>
          <p:nvSpPr>
            <p:cNvPr id="43" name="Text Placeholder 15"/>
            <p:cNvSpPr txBox="1">
              <a:spLocks/>
            </p:cNvSpPr>
            <p:nvPr>
              <p:custDataLst>
                <p:tags r:id="rId1"/>
              </p:custDataLst>
            </p:nvPr>
          </p:nvSpPr>
          <p:spPr bwMode="auto">
            <a:xfrm>
              <a:off x="6529497" y="2667983"/>
              <a:ext cx="2240190" cy="750888"/>
            </a:xfrm>
            <a:prstGeom prst="rect">
              <a:avLst/>
            </a:prstGeom>
            <a:noFill/>
            <a:ln>
              <a:miter lim="800000"/>
              <a:headEnd/>
              <a:tailEnd/>
            </a:ln>
          </p:spPr>
          <p:txBody>
            <a:bodyPr lIns="0" tIns="0" rIns="0" bIns="0"/>
            <a:lstStyle/>
            <a:p>
              <a:pPr marL="114300" lvl="1" indent="-114300">
                <a:spcBef>
                  <a:spcPts val="600"/>
                </a:spcBef>
                <a:buSzPct val="100000"/>
                <a:buFont typeface="Arial"/>
                <a:buChar char="•"/>
              </a:pPr>
              <a:r>
                <a:rPr lang="en-US" sz="1100" dirty="0"/>
                <a:t>Level 1 bullet</a:t>
              </a:r>
            </a:p>
            <a:p>
              <a:pPr marL="254000" lvl="2" indent="-114300">
                <a:spcBef>
                  <a:spcPts val="600"/>
                </a:spcBef>
                <a:buSzPct val="100000"/>
                <a:buFont typeface="Arial"/>
                <a:buChar char="−"/>
              </a:pPr>
              <a:r>
                <a:rPr lang="en-US" sz="1100" dirty="0"/>
                <a:t>Level 2 bullet</a:t>
              </a:r>
            </a:p>
            <a:p>
              <a:pPr marL="393700" lvl="3" indent="-114300">
                <a:spcBef>
                  <a:spcPts val="600"/>
                </a:spcBef>
                <a:buSzPct val="100000"/>
                <a:buFont typeface="Arial"/>
                <a:buChar char="◦"/>
              </a:pPr>
              <a:r>
                <a:rPr lang="en-US" sz="1000" dirty="0"/>
                <a:t>Level 3 bullet</a:t>
              </a:r>
            </a:p>
          </p:txBody>
        </p:sp>
        <p:sp>
          <p:nvSpPr>
            <p:cNvPr id="32" name="Line 14"/>
            <p:cNvSpPr>
              <a:spLocks noChangeShapeType="1"/>
            </p:cNvSpPr>
            <p:nvPr/>
          </p:nvSpPr>
          <p:spPr bwMode="auto">
            <a:xfrm flipH="1" flipV="1">
              <a:off x="5747117" y="2591752"/>
              <a:ext cx="770639" cy="308012"/>
            </a:xfrm>
            <a:prstGeom prst="line">
              <a:avLst/>
            </a:prstGeom>
            <a:noFill/>
            <a:ln w="9525">
              <a:solidFill>
                <a:schemeClr val="tx2"/>
              </a:solidFill>
              <a:round/>
              <a:headEnd type="none" w="sm" len="sm"/>
              <a:tailEnd type="triangle" w="lg" len="lg"/>
            </a:ln>
          </p:spPr>
          <p:txBody>
            <a:bodyPr lIns="36000" tIns="36000" rIns="36000" bIns="36000" anchor="ctr"/>
            <a:lstStyle/>
            <a:p>
              <a:pPr>
                <a:defRPr/>
              </a:pPr>
              <a:endParaRPr lang="en-US" dirty="0"/>
            </a:p>
          </p:txBody>
        </p:sp>
      </p:grpSp>
      <p:sp>
        <p:nvSpPr>
          <p:cNvPr id="33" name="TextBox 32">
            <a:extLst>
              <a:ext uri="{FF2B5EF4-FFF2-40B4-BE49-F238E27FC236}">
                <a16:creationId xmlns:a16="http://schemas.microsoft.com/office/drawing/2014/main" id="{DA289AC5-E545-4F82-B4F7-0BC98987BA9E}"/>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581023381"/>
      </p:ext>
    </p:extLst>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Subtitle runs here</a:t>
            </a:r>
          </a:p>
        </p:txBody>
      </p:sp>
      <p:sp>
        <p:nvSpPr>
          <p:cNvPr id="819201" name="Title 1"/>
          <p:cNvSpPr>
            <a:spLocks noGrp="1"/>
          </p:cNvSpPr>
          <p:nvPr>
            <p:ph type="title"/>
          </p:nvPr>
        </p:nvSpPr>
        <p:spPr/>
        <p:txBody>
          <a:bodyPr/>
          <a:lstStyle/>
          <a:p>
            <a:r>
              <a:rPr lang="en-US" dirty="0"/>
              <a:t>Step-by-step actions</a:t>
            </a:r>
          </a:p>
        </p:txBody>
      </p:sp>
      <p:grpSp>
        <p:nvGrpSpPr>
          <p:cNvPr id="2" name="Group 1"/>
          <p:cNvGrpSpPr/>
          <p:nvPr/>
        </p:nvGrpSpPr>
        <p:grpSpPr>
          <a:xfrm>
            <a:off x="777766" y="2208457"/>
            <a:ext cx="10741572" cy="3838575"/>
            <a:chOff x="904875" y="1944687"/>
            <a:chExt cx="7273925" cy="3838575"/>
          </a:xfrm>
        </p:grpSpPr>
        <p:sp>
          <p:nvSpPr>
            <p:cNvPr id="4" name="AutoShape 3"/>
            <p:cNvSpPr>
              <a:spLocks noChangeArrowheads="1"/>
            </p:cNvSpPr>
            <p:nvPr/>
          </p:nvSpPr>
          <p:spPr bwMode="auto">
            <a:xfrm rot="-5400000">
              <a:off x="6623050" y="3341687"/>
              <a:ext cx="2066925" cy="10445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50000"/>
              </a:schemeClr>
            </a:solidFill>
            <a:ln w="9525">
              <a:noFill/>
              <a:miter lim="800000"/>
              <a:headEnd/>
              <a:tailEnd/>
            </a:ln>
          </p:spPr>
          <p:txBody>
            <a:bodyPr vert="vert" lIns="91440" tIns="91440" rIns="91440" bIns="91440" anchor="ctr"/>
            <a:lstStyle/>
            <a:p>
              <a:pPr algn="ctr">
                <a:defRPr/>
              </a:pPr>
              <a:r>
                <a:rPr lang="en-US" altLang="ja-JP" sz="1200" dirty="0">
                  <a:solidFill>
                    <a:schemeClr val="bg1"/>
                  </a:solidFill>
                  <a:ea typeface="ＭＳ Ｐゴシック" pitchFamily="50" charset="-128"/>
                </a:rPr>
                <a:t>Step 5</a:t>
              </a:r>
            </a:p>
          </p:txBody>
        </p:sp>
        <p:sp>
          <p:nvSpPr>
            <p:cNvPr id="5" name="AutoShape 4"/>
            <p:cNvSpPr>
              <a:spLocks noChangeArrowheads="1"/>
            </p:cNvSpPr>
            <p:nvPr/>
          </p:nvSpPr>
          <p:spPr bwMode="auto">
            <a:xfrm rot="-5400000">
              <a:off x="5324476" y="3211512"/>
              <a:ext cx="2355850" cy="1304925"/>
            </a:xfrm>
            <a:custGeom>
              <a:avLst/>
              <a:gdLst>
                <a:gd name="T0" fmla="*/ 252318315 w 21600"/>
                <a:gd name="T1" fmla="*/ 46312661 h 21600"/>
                <a:gd name="T2" fmla="*/ 128472907 w 21600"/>
                <a:gd name="T3" fmla="*/ 92625257 h 21600"/>
                <a:gd name="T4" fmla="*/ 4627391 w 21600"/>
                <a:gd name="T5" fmla="*/ 46312661 h 21600"/>
                <a:gd name="T6" fmla="*/ 12847290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65000"/>
              </a:schemeClr>
            </a:solidFill>
            <a:ln w="9525">
              <a:noFill/>
              <a:miter lim="800000"/>
              <a:headEnd/>
              <a:tailEnd/>
            </a:ln>
          </p:spPr>
          <p:txBody>
            <a:bodyPr vert="vert" lIns="91440" tIns="91440" rIns="91440" bIns="91440" anchor="ctr"/>
            <a:lstStyle/>
            <a:p>
              <a:pPr algn="ctr">
                <a:defRPr/>
              </a:pPr>
              <a:r>
                <a:rPr lang="en-US" altLang="ja-JP" sz="1200" dirty="0">
                  <a:ea typeface="ＭＳ Ｐゴシック" pitchFamily="50" charset="-128"/>
                </a:rPr>
                <a:t>Step 4</a:t>
              </a:r>
            </a:p>
          </p:txBody>
        </p:sp>
        <p:sp>
          <p:nvSpPr>
            <p:cNvPr id="6" name="AutoShape 5"/>
            <p:cNvSpPr>
              <a:spLocks noChangeArrowheads="1"/>
            </p:cNvSpPr>
            <p:nvPr/>
          </p:nvSpPr>
          <p:spPr bwMode="auto">
            <a:xfrm rot="-5400000">
              <a:off x="3694113" y="3079750"/>
              <a:ext cx="2787650" cy="1568450"/>
            </a:xfrm>
            <a:custGeom>
              <a:avLst/>
              <a:gdLst>
                <a:gd name="T0" fmla="*/ 353288952 w 21600"/>
                <a:gd name="T1" fmla="*/ 66790009 h 21600"/>
                <a:gd name="T2" fmla="*/ 179884086 w 21600"/>
                <a:gd name="T3" fmla="*/ 133579940 h 21600"/>
                <a:gd name="T4" fmla="*/ 6479221 w 21600"/>
                <a:gd name="T5" fmla="*/ 66790009 h 21600"/>
                <a:gd name="T6" fmla="*/ 179884086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75000"/>
              </a:schemeClr>
            </a:solidFill>
            <a:ln w="9525">
              <a:noFill/>
              <a:miter lim="800000"/>
              <a:headEnd/>
              <a:tailEnd/>
            </a:ln>
          </p:spPr>
          <p:txBody>
            <a:bodyPr vert="vert" lIns="91440" tIns="91440" rIns="91440" bIns="91440" anchor="ctr"/>
            <a:lstStyle/>
            <a:p>
              <a:pPr algn="ctr">
                <a:defRPr/>
              </a:pPr>
              <a:r>
                <a:rPr lang="en-US" altLang="ja-JP" sz="1200" dirty="0">
                  <a:ea typeface="ＭＳ Ｐゴシック" pitchFamily="50" charset="-128"/>
                </a:rPr>
                <a:t>Step 3</a:t>
              </a:r>
            </a:p>
          </p:txBody>
        </p:sp>
        <p:sp>
          <p:nvSpPr>
            <p:cNvPr id="819206" name="AutoShape 6"/>
            <p:cNvSpPr>
              <a:spLocks noChangeArrowheads="1"/>
            </p:cNvSpPr>
            <p:nvPr/>
          </p:nvSpPr>
          <p:spPr bwMode="auto">
            <a:xfrm rot="-5400000">
              <a:off x="1853407" y="3037681"/>
              <a:ext cx="3290887" cy="16541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85000"/>
              </a:schemeClr>
            </a:solidFill>
            <a:ln w="9525">
              <a:noFill/>
              <a:miter lim="800000"/>
              <a:headEnd/>
              <a:tailEnd/>
            </a:ln>
          </p:spPr>
          <p:txBody>
            <a:bodyPr vert="vert" lIns="91440" tIns="91440" rIns="91440" bIns="91440" anchor="ctr"/>
            <a:lstStyle/>
            <a:p>
              <a:pPr algn="ctr"/>
              <a:r>
                <a:rPr lang="en-US" altLang="ja-JP" sz="1200" dirty="0">
                  <a:ea typeface="ＭＳ Ｐゴシック" charset="-128"/>
                </a:rPr>
                <a:t>Step 2</a:t>
              </a:r>
            </a:p>
          </p:txBody>
        </p:sp>
        <p:sp>
          <p:nvSpPr>
            <p:cNvPr id="819207" name="AutoShape 7"/>
            <p:cNvSpPr>
              <a:spLocks noChangeArrowheads="1"/>
            </p:cNvSpPr>
            <p:nvPr/>
          </p:nvSpPr>
          <p:spPr bwMode="auto">
            <a:xfrm rot="-5400000">
              <a:off x="-119063" y="2968625"/>
              <a:ext cx="3838575" cy="179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accent3"/>
            </a:solidFill>
            <a:ln w="9525">
              <a:noFill/>
              <a:miter lim="800000"/>
              <a:headEnd/>
              <a:tailEnd/>
            </a:ln>
          </p:spPr>
          <p:txBody>
            <a:bodyPr vert="vert" lIns="91440" tIns="91440" rIns="91440" bIns="91440" anchor="ctr"/>
            <a:lstStyle/>
            <a:p>
              <a:pPr algn="ctr"/>
              <a:r>
                <a:rPr lang="en-US" altLang="ja-JP" sz="1200" dirty="0">
                  <a:ea typeface="ＭＳ Ｐゴシック" charset="-128"/>
                </a:rPr>
                <a:t>Step 1</a:t>
              </a:r>
            </a:p>
          </p:txBody>
        </p:sp>
      </p:grpSp>
      <p:sp>
        <p:nvSpPr>
          <p:cNvPr id="12" name="TextBox 11">
            <a:extLst>
              <a:ext uri="{FF2B5EF4-FFF2-40B4-BE49-F238E27FC236}">
                <a16:creationId xmlns:a16="http://schemas.microsoft.com/office/drawing/2014/main" id="{5C163466-9DD6-4CCE-A21E-887A7567C349}"/>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309690821"/>
      </p:ext>
    </p:extLst>
  </p:cSld>
  <p:clrMapOvr>
    <a:masterClrMapping/>
  </p:clrMapOvr>
  <p:transition>
    <p:fade/>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0225" name="Title 1"/>
          <p:cNvSpPr>
            <a:spLocks noGrp="1"/>
          </p:cNvSpPr>
          <p:nvPr>
            <p:ph type="title"/>
          </p:nvPr>
        </p:nvSpPr>
        <p:spPr/>
        <p:txBody>
          <a:bodyPr/>
          <a:lstStyle/>
          <a:p>
            <a:r>
              <a:rPr lang="en-US" altLang="ja-JP" dirty="0"/>
              <a:t>Interrelated stages</a:t>
            </a:r>
            <a:endParaRPr lang="en-US" dirty="0"/>
          </a:p>
        </p:txBody>
      </p:sp>
      <p:grpSp>
        <p:nvGrpSpPr>
          <p:cNvPr id="2" name="Group 1"/>
          <p:cNvGrpSpPr/>
          <p:nvPr/>
        </p:nvGrpSpPr>
        <p:grpSpPr>
          <a:xfrm>
            <a:off x="693683" y="2279015"/>
            <a:ext cx="10373710" cy="3580502"/>
            <a:chOff x="876300" y="1976438"/>
            <a:chExt cx="7407275" cy="2882900"/>
          </a:xfrm>
        </p:grpSpPr>
        <p:sp>
          <p:nvSpPr>
            <p:cNvPr id="5" name="Freeform 3"/>
            <p:cNvSpPr>
              <a:spLocks/>
            </p:cNvSpPr>
            <p:nvPr/>
          </p:nvSpPr>
          <p:spPr bwMode="auto">
            <a:xfrm>
              <a:off x="6223000" y="3622676"/>
              <a:ext cx="2060575" cy="1236662"/>
            </a:xfrm>
            <a:custGeom>
              <a:avLst/>
              <a:gdLst>
                <a:gd name="T0" fmla="*/ 0 w 1297"/>
                <a:gd name="T1" fmla="*/ 0 h 779"/>
                <a:gd name="T2" fmla="*/ 1486869 w 1297"/>
                <a:gd name="T3" fmla="*/ 0 h 779"/>
                <a:gd name="T4" fmla="*/ 1486869 w 1297"/>
                <a:gd name="T5" fmla="*/ 544512 h 779"/>
                <a:gd name="T6" fmla="*/ 1930865 w 1297"/>
                <a:gd name="T7" fmla="*/ 550862 h 779"/>
                <a:gd name="T8" fmla="*/ 1930865 w 1297"/>
                <a:gd name="T9" fmla="*/ 411162 h 779"/>
                <a:gd name="T10" fmla="*/ 2230304 w 1297"/>
                <a:gd name="T11" fmla="*/ 800100 h 779"/>
                <a:gd name="T12" fmla="*/ 1930865 w 1297"/>
                <a:gd name="T13" fmla="*/ 1235075 h 779"/>
                <a:gd name="T14" fmla="*/ 1932586 w 1297"/>
                <a:gd name="T15" fmla="*/ 1098550 h 779"/>
                <a:gd name="T16" fmla="*/ 817434 w 1297"/>
                <a:gd name="T17" fmla="*/ 1093787 h 779"/>
                <a:gd name="T18" fmla="*/ 817434 w 1297"/>
                <a:gd name="T19" fmla="*/ 549275 h 779"/>
                <a:gd name="T20" fmla="*/ 0 w 1297"/>
                <a:gd name="T21" fmla="*/ 549275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bg1">
                <a:lumMod val="50000"/>
              </a:schemeClr>
            </a:solidFill>
            <a:ln w="9525">
              <a:noFill/>
              <a:round/>
              <a:headEnd type="none" w="sm" len="sm"/>
              <a:tailEnd type="none" w="sm" len="sm"/>
            </a:ln>
          </p:spPr>
          <p:txBody>
            <a:bodyPr lIns="36000" tIns="36000" rIns="36000" bIns="36000" anchor="ctr"/>
            <a:lstStyle/>
            <a:p>
              <a:pPr>
                <a:defRPr/>
              </a:pPr>
              <a:endParaRPr lang="en-US" sz="1400" dirty="0"/>
            </a:p>
          </p:txBody>
        </p:sp>
        <p:sp>
          <p:nvSpPr>
            <p:cNvPr id="820228" name="Rectangle 4"/>
            <p:cNvSpPr>
              <a:spLocks noChangeArrowheads="1"/>
            </p:cNvSpPr>
            <p:nvPr/>
          </p:nvSpPr>
          <p:spPr bwMode="auto">
            <a:xfrm>
              <a:off x="6515099" y="3771901"/>
              <a:ext cx="1078992" cy="133818"/>
            </a:xfrm>
            <a:prstGeom prst="rect">
              <a:avLst/>
            </a:prstGeom>
            <a:noFill/>
            <a:ln w="9525">
              <a:noFill/>
              <a:miter lim="800000"/>
              <a:headEnd/>
              <a:tailEnd/>
            </a:ln>
          </p:spPr>
          <p:txBody>
            <a:bodyPr wrap="square" lIns="0" tIns="0" rIns="0" bIns="0">
              <a:spAutoFit/>
            </a:bodyPr>
            <a:lstStyle/>
            <a:p>
              <a:pPr algn="ctr" defTabSz="536575">
                <a:lnSpc>
                  <a:spcPct val="90000"/>
                </a:lnSpc>
              </a:pPr>
              <a:r>
                <a:rPr lang="en-US" altLang="ja-JP" sz="1200" dirty="0">
                  <a:solidFill>
                    <a:schemeClr val="bg1"/>
                  </a:solidFill>
                  <a:ea typeface="ＭＳ Ｐゴシック" charset="-128"/>
                </a:rPr>
                <a:t>Text</a:t>
              </a:r>
            </a:p>
          </p:txBody>
        </p:sp>
        <p:sp>
          <p:nvSpPr>
            <p:cNvPr id="7" name="Freeform 5"/>
            <p:cNvSpPr>
              <a:spLocks/>
            </p:cNvSpPr>
            <p:nvPr/>
          </p:nvSpPr>
          <p:spPr bwMode="auto">
            <a:xfrm>
              <a:off x="4441825" y="3074988"/>
              <a:ext cx="2058988" cy="1235075"/>
            </a:xfrm>
            <a:custGeom>
              <a:avLst/>
              <a:gdLst>
                <a:gd name="T0" fmla="*/ 0 w 1297"/>
                <a:gd name="T1" fmla="*/ 0 h 778"/>
                <a:gd name="T2" fmla="*/ 1485811 w 1297"/>
                <a:gd name="T3" fmla="*/ 0 h 778"/>
                <a:gd name="T4" fmla="*/ 1485811 w 1297"/>
                <a:gd name="T5" fmla="*/ 544513 h 778"/>
                <a:gd name="T6" fmla="*/ 1929491 w 1297"/>
                <a:gd name="T7" fmla="*/ 549275 h 778"/>
                <a:gd name="T8" fmla="*/ 1929491 w 1297"/>
                <a:gd name="T9" fmla="*/ 411163 h 778"/>
                <a:gd name="T10" fmla="*/ 2228717 w 1297"/>
                <a:gd name="T11" fmla="*/ 800100 h 778"/>
                <a:gd name="T12" fmla="*/ 1929491 w 1297"/>
                <a:gd name="T13" fmla="*/ 1233488 h 778"/>
                <a:gd name="T14" fmla="*/ 1931211 w 1297"/>
                <a:gd name="T15" fmla="*/ 1096963 h 778"/>
                <a:gd name="T16" fmla="*/ 816852 w 1297"/>
                <a:gd name="T17" fmla="*/ 1092200 h 778"/>
                <a:gd name="T18" fmla="*/ 816852 w 1297"/>
                <a:gd name="T19" fmla="*/ 547688 h 778"/>
                <a:gd name="T20" fmla="*/ 0 w 1297"/>
                <a:gd name="T21" fmla="*/ 547688 h 778"/>
                <a:gd name="T22" fmla="*/ 0 w 1297"/>
                <a:gd name="T23" fmla="*/ 0 h 7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8"/>
                <a:gd name="T38" fmla="*/ 1297 w 1297"/>
                <a:gd name="T39" fmla="*/ 778 h 7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8">
                  <a:moveTo>
                    <a:pt x="0" y="0"/>
                  </a:moveTo>
                  <a:lnTo>
                    <a:pt x="864" y="0"/>
                  </a:lnTo>
                  <a:lnTo>
                    <a:pt x="864" y="343"/>
                  </a:lnTo>
                  <a:lnTo>
                    <a:pt x="1122" y="346"/>
                  </a:lnTo>
                  <a:lnTo>
                    <a:pt x="1122" y="259"/>
                  </a:lnTo>
                  <a:lnTo>
                    <a:pt x="1296" y="504"/>
                  </a:lnTo>
                  <a:lnTo>
                    <a:pt x="1122" y="777"/>
                  </a:lnTo>
                  <a:lnTo>
                    <a:pt x="1123" y="691"/>
                  </a:lnTo>
                  <a:lnTo>
                    <a:pt x="475" y="688"/>
                  </a:lnTo>
                  <a:lnTo>
                    <a:pt x="475" y="345"/>
                  </a:lnTo>
                  <a:lnTo>
                    <a:pt x="0" y="345"/>
                  </a:lnTo>
                  <a:lnTo>
                    <a:pt x="0" y="0"/>
                  </a:lnTo>
                </a:path>
              </a:pathLst>
            </a:custGeom>
            <a:solidFill>
              <a:schemeClr val="bg1">
                <a:lumMod val="65000"/>
              </a:schemeClr>
            </a:solidFill>
            <a:ln w="9525">
              <a:noFill/>
              <a:round/>
              <a:headEnd type="none" w="sm" len="sm"/>
              <a:tailEnd type="none" w="sm" len="sm"/>
            </a:ln>
          </p:spPr>
          <p:txBody>
            <a:bodyPr wrap="none" lIns="36000" tIns="36000" rIns="36000" bIns="36000" anchor="ctr"/>
            <a:lstStyle/>
            <a:p>
              <a:pPr>
                <a:defRPr/>
              </a:pPr>
              <a:endParaRPr lang="en-US" sz="1400" dirty="0"/>
            </a:p>
          </p:txBody>
        </p:sp>
        <p:sp>
          <p:nvSpPr>
            <p:cNvPr id="820230" name="Rectangle 6"/>
            <p:cNvSpPr>
              <a:spLocks noChangeArrowheads="1"/>
            </p:cNvSpPr>
            <p:nvPr/>
          </p:nvSpPr>
          <p:spPr bwMode="auto">
            <a:xfrm>
              <a:off x="4724400" y="3219451"/>
              <a:ext cx="1078992" cy="166199"/>
            </a:xfrm>
            <a:prstGeom prst="rect">
              <a:avLst/>
            </a:prstGeom>
            <a:noFill/>
            <a:ln w="9525">
              <a:noFill/>
              <a:miter lim="800000"/>
              <a:headEnd/>
              <a:tailEnd/>
            </a:ln>
          </p:spPr>
          <p:txBody>
            <a:bodyPr wrap="square" lIns="0" tIns="0" rIns="0" bIns="0">
              <a:spAutoFit/>
            </a:bodyPr>
            <a:lstStyle/>
            <a:p>
              <a:pPr algn="ctr" defTabSz="536575">
                <a:lnSpc>
                  <a:spcPct val="90000"/>
                </a:lnSpc>
              </a:pPr>
              <a:r>
                <a:rPr lang="en-US" altLang="ja-JP" sz="1200" dirty="0">
                  <a:ea typeface="ＭＳ Ｐゴシック" charset="-128"/>
                </a:rPr>
                <a:t>Text</a:t>
              </a:r>
            </a:p>
          </p:txBody>
        </p:sp>
        <p:sp>
          <p:nvSpPr>
            <p:cNvPr id="820231" name="Freeform 7"/>
            <p:cNvSpPr>
              <a:spLocks/>
            </p:cNvSpPr>
            <p:nvPr/>
          </p:nvSpPr>
          <p:spPr bwMode="auto">
            <a:xfrm>
              <a:off x="2657475" y="2525713"/>
              <a:ext cx="2058988" cy="1236663"/>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bg1">
                <a:lumMod val="75000"/>
              </a:schemeClr>
            </a:solidFill>
            <a:ln w="9525">
              <a:noFill/>
              <a:round/>
              <a:headEnd type="none" w="sm" len="sm"/>
              <a:tailEnd type="none" w="sm" len="sm"/>
            </a:ln>
          </p:spPr>
          <p:txBody>
            <a:bodyPr wrap="none" lIns="36000" tIns="36000" rIns="36000" bIns="36000" anchor="ctr"/>
            <a:lstStyle/>
            <a:p>
              <a:endParaRPr lang="en-US" sz="1400" dirty="0"/>
            </a:p>
          </p:txBody>
        </p:sp>
        <p:sp>
          <p:nvSpPr>
            <p:cNvPr id="820232" name="Rectangle 8"/>
            <p:cNvSpPr>
              <a:spLocks noChangeArrowheads="1"/>
            </p:cNvSpPr>
            <p:nvPr/>
          </p:nvSpPr>
          <p:spPr bwMode="auto">
            <a:xfrm>
              <a:off x="2943224" y="2670176"/>
              <a:ext cx="1078992" cy="166199"/>
            </a:xfrm>
            <a:prstGeom prst="rect">
              <a:avLst/>
            </a:prstGeom>
            <a:noFill/>
            <a:ln w="9525">
              <a:noFill/>
              <a:miter lim="800000"/>
              <a:headEnd/>
              <a:tailEnd/>
            </a:ln>
          </p:spPr>
          <p:txBody>
            <a:bodyPr lIns="0" tIns="0" rIns="0" bIns="0">
              <a:spAutoFit/>
            </a:bodyPr>
            <a:lstStyle/>
            <a:p>
              <a:pPr algn="ctr" defTabSz="536575">
                <a:lnSpc>
                  <a:spcPct val="90000"/>
                </a:lnSpc>
              </a:pPr>
              <a:r>
                <a:rPr lang="en-US" altLang="ja-JP" sz="1200" dirty="0">
                  <a:ea typeface="ＭＳ Ｐゴシック" charset="-128"/>
                </a:rPr>
                <a:t>Text</a:t>
              </a:r>
            </a:p>
          </p:txBody>
        </p:sp>
        <p:sp>
          <p:nvSpPr>
            <p:cNvPr id="820233" name="Freeform 9"/>
            <p:cNvSpPr>
              <a:spLocks/>
            </p:cNvSpPr>
            <p:nvPr/>
          </p:nvSpPr>
          <p:spPr bwMode="auto">
            <a:xfrm>
              <a:off x="876300" y="1976438"/>
              <a:ext cx="2058988" cy="1236663"/>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accent3"/>
            </a:solidFill>
            <a:ln w="9525">
              <a:noFill/>
              <a:round/>
              <a:headEnd type="none" w="sm" len="sm"/>
              <a:tailEnd type="none" w="sm" len="sm"/>
            </a:ln>
          </p:spPr>
          <p:txBody>
            <a:bodyPr lIns="36000" tIns="36000" rIns="36000" bIns="36000" anchor="ctr"/>
            <a:lstStyle/>
            <a:p>
              <a:endParaRPr lang="en-US" sz="1400" dirty="0"/>
            </a:p>
          </p:txBody>
        </p:sp>
        <p:sp>
          <p:nvSpPr>
            <p:cNvPr id="820234" name="Rectangle 10"/>
            <p:cNvSpPr>
              <a:spLocks noChangeArrowheads="1"/>
            </p:cNvSpPr>
            <p:nvPr/>
          </p:nvSpPr>
          <p:spPr bwMode="gray">
            <a:xfrm>
              <a:off x="895350" y="2122488"/>
              <a:ext cx="1338263" cy="166199"/>
            </a:xfrm>
            <a:prstGeom prst="rect">
              <a:avLst/>
            </a:prstGeom>
            <a:noFill/>
            <a:ln w="9525">
              <a:noFill/>
              <a:miter lim="800000"/>
              <a:headEnd/>
              <a:tailEnd/>
            </a:ln>
          </p:spPr>
          <p:txBody>
            <a:bodyPr wrap="square" lIns="0" tIns="0" rIns="0" bIns="0">
              <a:spAutoFit/>
            </a:bodyPr>
            <a:lstStyle/>
            <a:p>
              <a:pPr algn="ctr" defTabSz="536575">
                <a:lnSpc>
                  <a:spcPct val="90000"/>
                </a:lnSpc>
              </a:pPr>
              <a:r>
                <a:rPr lang="en-US" altLang="ja-JP" sz="1200" dirty="0">
                  <a:ea typeface="ＭＳ Ｐゴシック" charset="-128"/>
                </a:rPr>
                <a:t>Text</a:t>
              </a:r>
            </a:p>
          </p:txBody>
        </p:sp>
      </p:grpSp>
      <p:sp>
        <p:nvSpPr>
          <p:cNvPr id="15" name="TextBox 14">
            <a:extLst>
              <a:ext uri="{FF2B5EF4-FFF2-40B4-BE49-F238E27FC236}">
                <a16:creationId xmlns:a16="http://schemas.microsoft.com/office/drawing/2014/main" id="{B9DFBE04-B2EC-47D5-AE79-18777BE794C0}"/>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747527880"/>
      </p:ext>
    </p:extLst>
  </p:cSld>
  <p:clrMapOvr>
    <a:masterClrMapping/>
  </p:clrMapOvr>
  <p:transition>
    <p:fade/>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21250" name="Title 1"/>
          <p:cNvSpPr>
            <a:spLocks noGrp="1"/>
          </p:cNvSpPr>
          <p:nvPr>
            <p:ph type="title"/>
          </p:nvPr>
        </p:nvSpPr>
        <p:spPr/>
        <p:txBody>
          <a:bodyPr/>
          <a:lstStyle/>
          <a:p>
            <a:r>
              <a:rPr lang="en-US"/>
              <a:t>Heptagon</a:t>
            </a:r>
            <a:endParaRPr lang="en-US" dirty="0"/>
          </a:p>
        </p:txBody>
      </p:sp>
      <p:grpSp>
        <p:nvGrpSpPr>
          <p:cNvPr id="2" name="Group 1"/>
          <p:cNvGrpSpPr/>
          <p:nvPr/>
        </p:nvGrpSpPr>
        <p:grpSpPr>
          <a:xfrm>
            <a:off x="2869337" y="1346578"/>
            <a:ext cx="6387456" cy="4909795"/>
            <a:chOff x="1902083" y="1888263"/>
            <a:chExt cx="5278889" cy="3688801"/>
          </a:xfrm>
        </p:grpSpPr>
        <p:sp>
          <p:nvSpPr>
            <p:cNvPr id="54" name="Oval 2"/>
            <p:cNvSpPr>
              <a:spLocks noChangeArrowheads="1"/>
            </p:cNvSpPr>
            <p:nvPr/>
          </p:nvSpPr>
          <p:spPr bwMode="auto">
            <a:xfrm>
              <a:off x="5514097" y="3837924"/>
              <a:ext cx="1666875" cy="766763"/>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57" name="Oval 56"/>
            <p:cNvSpPr>
              <a:spLocks noChangeArrowheads="1"/>
            </p:cNvSpPr>
            <p:nvPr/>
          </p:nvSpPr>
          <p:spPr bwMode="auto">
            <a:xfrm>
              <a:off x="2714932" y="4810125"/>
              <a:ext cx="1666875" cy="766763"/>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58" name="Oval 57"/>
            <p:cNvSpPr>
              <a:spLocks noChangeArrowheads="1"/>
            </p:cNvSpPr>
            <p:nvPr/>
          </p:nvSpPr>
          <p:spPr bwMode="auto">
            <a:xfrm>
              <a:off x="4755688" y="4810301"/>
              <a:ext cx="1668463" cy="766763"/>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59" name="Oval 58"/>
            <p:cNvSpPr>
              <a:spLocks noChangeArrowheads="1"/>
            </p:cNvSpPr>
            <p:nvPr/>
          </p:nvSpPr>
          <p:spPr bwMode="auto">
            <a:xfrm>
              <a:off x="3897013" y="3078163"/>
              <a:ext cx="1377682" cy="1233487"/>
            </a:xfrm>
            <a:prstGeom prst="ellipse">
              <a:avLst/>
            </a:prstGeom>
            <a:solidFill>
              <a:schemeClr val="accent1"/>
            </a:solidFill>
            <a:ln w="38100">
              <a:noFill/>
              <a:round/>
              <a:headEnd/>
              <a:tailEnd/>
            </a:ln>
          </p:spPr>
          <p:txBody>
            <a:bodyPr lIns="36000" tIns="36000" rIns="36000" bIns="36000" anchor="ctr" anchorCtr="1"/>
            <a:lstStyle/>
            <a:p>
              <a:pPr algn="ctr" eaLnBrk="1" hangingPunct="1">
                <a:lnSpc>
                  <a:spcPct val="106000"/>
                </a:lnSpc>
                <a:spcBef>
                  <a:spcPct val="80000"/>
                </a:spcBef>
                <a:defRPr/>
              </a:pPr>
              <a:r>
                <a:rPr lang="en-US" altLang="ja-JP" sz="1200" dirty="0">
                  <a:ea typeface="ＭＳ Ｐゴシック" pitchFamily="50" charset="-128"/>
                </a:rPr>
                <a:t>Text</a:t>
              </a:r>
            </a:p>
          </p:txBody>
        </p:sp>
        <p:sp>
          <p:nvSpPr>
            <p:cNvPr id="60" name="Oval 59"/>
            <p:cNvSpPr>
              <a:spLocks noChangeArrowheads="1"/>
            </p:cNvSpPr>
            <p:nvPr/>
          </p:nvSpPr>
          <p:spPr bwMode="auto">
            <a:xfrm>
              <a:off x="3751601" y="1888263"/>
              <a:ext cx="1666875" cy="766762"/>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61" name="Oval 60"/>
            <p:cNvSpPr>
              <a:spLocks noChangeArrowheads="1"/>
            </p:cNvSpPr>
            <p:nvPr/>
          </p:nvSpPr>
          <p:spPr bwMode="auto">
            <a:xfrm>
              <a:off x="5514097" y="2673120"/>
              <a:ext cx="1666875" cy="768350"/>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62" name="Oval 61"/>
            <p:cNvSpPr>
              <a:spLocks noChangeArrowheads="1"/>
            </p:cNvSpPr>
            <p:nvPr/>
          </p:nvSpPr>
          <p:spPr bwMode="auto">
            <a:xfrm>
              <a:off x="1905307" y="2678012"/>
              <a:ext cx="1666875" cy="768350"/>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sp>
          <p:nvSpPr>
            <p:cNvPr id="63" name="Oval 62"/>
            <p:cNvSpPr>
              <a:spLocks noChangeArrowheads="1"/>
            </p:cNvSpPr>
            <p:nvPr/>
          </p:nvSpPr>
          <p:spPr bwMode="auto">
            <a:xfrm>
              <a:off x="1902083" y="3837924"/>
              <a:ext cx="1666875" cy="766763"/>
            </a:xfrm>
            <a:prstGeom prst="ellipse">
              <a:avLst/>
            </a:prstGeom>
            <a:solidFill>
              <a:schemeClr val="tx1"/>
            </a:solidFill>
            <a:ln w="6350" algn="ctr">
              <a:noFill/>
              <a:round/>
              <a:headEnd/>
              <a:tailEnd/>
            </a:ln>
          </p:spPr>
          <p:txBody>
            <a:bodyPr lIns="36000" tIns="36000" rIns="36000" bIns="36000" anchor="ctr" anchorCtr="1"/>
            <a:lstStyle/>
            <a:p>
              <a:pPr algn="ctr" eaLnBrk="1" hangingPunct="1">
                <a:lnSpc>
                  <a:spcPct val="106000"/>
                </a:lnSpc>
                <a:spcBef>
                  <a:spcPct val="80000"/>
                </a:spcBef>
              </a:pPr>
              <a:r>
                <a:rPr lang="en-US" altLang="ja-JP" sz="1200" dirty="0">
                  <a:solidFill>
                    <a:schemeClr val="bg1"/>
                  </a:solidFill>
                  <a:ea typeface="ＭＳ Ｐゴシック" pitchFamily="50" charset="-128"/>
                </a:rPr>
                <a:t>Text</a:t>
              </a:r>
            </a:p>
          </p:txBody>
        </p:sp>
        <p:cxnSp>
          <p:nvCxnSpPr>
            <p:cNvPr id="64" name="AutoShape 13"/>
            <p:cNvCxnSpPr>
              <a:cxnSpLocks noChangeShapeType="1"/>
              <a:stCxn id="59" idx="0"/>
              <a:endCxn id="60" idx="4"/>
            </p:cNvCxnSpPr>
            <p:nvPr/>
          </p:nvCxnSpPr>
          <p:spPr bwMode="auto">
            <a:xfrm flipH="1" flipV="1">
              <a:off x="4585039" y="2655025"/>
              <a:ext cx="815" cy="423138"/>
            </a:xfrm>
            <a:prstGeom prst="straightConnector1">
              <a:avLst/>
            </a:prstGeom>
            <a:noFill/>
            <a:ln w="6350">
              <a:solidFill>
                <a:srgbClr val="BBBCBC"/>
              </a:solidFill>
              <a:round/>
              <a:headEnd type="triangle" w="med" len="med"/>
              <a:tailEnd type="triangle" w="med" len="med"/>
            </a:ln>
          </p:spPr>
        </p:cxnSp>
        <p:cxnSp>
          <p:nvCxnSpPr>
            <p:cNvPr id="65" name="AutoShape 14"/>
            <p:cNvCxnSpPr>
              <a:cxnSpLocks noChangeShapeType="1"/>
              <a:stCxn id="58" idx="2"/>
              <a:endCxn id="57" idx="6"/>
            </p:cNvCxnSpPr>
            <p:nvPr/>
          </p:nvCxnSpPr>
          <p:spPr bwMode="auto">
            <a:xfrm flipH="1" flipV="1">
              <a:off x="4381807" y="5193507"/>
              <a:ext cx="373881" cy="176"/>
            </a:xfrm>
            <a:prstGeom prst="straightConnector1">
              <a:avLst/>
            </a:prstGeom>
            <a:noFill/>
            <a:ln w="6350">
              <a:solidFill>
                <a:srgbClr val="BBBCBC"/>
              </a:solidFill>
              <a:round/>
              <a:headEnd type="triangle" w="med" len="med"/>
              <a:tailEnd type="triangle" w="med" len="med"/>
            </a:ln>
          </p:spPr>
        </p:cxnSp>
        <p:cxnSp>
          <p:nvCxnSpPr>
            <p:cNvPr id="66" name="AutoShape 15"/>
            <p:cNvCxnSpPr>
              <a:cxnSpLocks noChangeShapeType="1"/>
              <a:stCxn id="60" idx="6"/>
              <a:endCxn id="61" idx="0"/>
            </p:cNvCxnSpPr>
            <p:nvPr/>
          </p:nvCxnSpPr>
          <p:spPr bwMode="auto">
            <a:xfrm>
              <a:off x="5418476" y="2271644"/>
              <a:ext cx="929059" cy="401476"/>
            </a:xfrm>
            <a:prstGeom prst="straightConnector1">
              <a:avLst/>
            </a:prstGeom>
            <a:noFill/>
            <a:ln w="6350">
              <a:solidFill>
                <a:srgbClr val="BBBCBC"/>
              </a:solidFill>
              <a:round/>
              <a:headEnd type="triangle" w="med" len="med"/>
              <a:tailEnd type="triangle" w="med" len="med"/>
            </a:ln>
          </p:spPr>
        </p:cxnSp>
        <p:cxnSp>
          <p:nvCxnSpPr>
            <p:cNvPr id="67" name="AutoShape 16"/>
            <p:cNvCxnSpPr>
              <a:cxnSpLocks noChangeShapeType="1"/>
              <a:stCxn id="61" idx="4"/>
              <a:endCxn id="54" idx="0"/>
            </p:cNvCxnSpPr>
            <p:nvPr/>
          </p:nvCxnSpPr>
          <p:spPr bwMode="auto">
            <a:xfrm>
              <a:off x="6347535" y="3441470"/>
              <a:ext cx="0" cy="396454"/>
            </a:xfrm>
            <a:prstGeom prst="straightConnector1">
              <a:avLst/>
            </a:prstGeom>
            <a:noFill/>
            <a:ln w="6350">
              <a:solidFill>
                <a:srgbClr val="BBBCBC"/>
              </a:solidFill>
              <a:round/>
              <a:headEnd type="triangle" w="med" len="med"/>
              <a:tailEnd type="triangle" w="med" len="med"/>
            </a:ln>
          </p:spPr>
        </p:cxnSp>
        <p:cxnSp>
          <p:nvCxnSpPr>
            <p:cNvPr id="68" name="AutoShape 17"/>
            <p:cNvCxnSpPr>
              <a:cxnSpLocks noChangeShapeType="1"/>
              <a:stCxn id="54" idx="4"/>
              <a:endCxn id="58" idx="7"/>
            </p:cNvCxnSpPr>
            <p:nvPr/>
          </p:nvCxnSpPr>
          <p:spPr bwMode="auto">
            <a:xfrm flipH="1">
              <a:off x="6179810" y="4604687"/>
              <a:ext cx="167725" cy="317904"/>
            </a:xfrm>
            <a:prstGeom prst="straightConnector1">
              <a:avLst/>
            </a:prstGeom>
            <a:noFill/>
            <a:ln w="6350">
              <a:solidFill>
                <a:srgbClr val="BBBCBC"/>
              </a:solidFill>
              <a:round/>
              <a:headEnd type="triangle" w="med" len="med"/>
              <a:tailEnd type="triangle" w="med" len="med"/>
            </a:ln>
          </p:spPr>
        </p:cxnSp>
        <p:cxnSp>
          <p:nvCxnSpPr>
            <p:cNvPr id="69" name="AutoShape 18"/>
            <p:cNvCxnSpPr>
              <a:cxnSpLocks noChangeShapeType="1"/>
              <a:stCxn id="57" idx="1"/>
              <a:endCxn id="63" idx="4"/>
            </p:cNvCxnSpPr>
            <p:nvPr/>
          </p:nvCxnSpPr>
          <p:spPr bwMode="auto">
            <a:xfrm flipH="1" flipV="1">
              <a:off x="2735521" y="4604687"/>
              <a:ext cx="223519" cy="317728"/>
            </a:xfrm>
            <a:prstGeom prst="straightConnector1">
              <a:avLst/>
            </a:prstGeom>
            <a:noFill/>
            <a:ln w="6350">
              <a:solidFill>
                <a:srgbClr val="BBBCBC"/>
              </a:solidFill>
              <a:round/>
              <a:headEnd type="triangle" w="med" len="med"/>
              <a:tailEnd type="triangle" w="med" len="med"/>
            </a:ln>
          </p:spPr>
        </p:cxnSp>
        <p:cxnSp>
          <p:nvCxnSpPr>
            <p:cNvPr id="70" name="AutoShape 19"/>
            <p:cNvCxnSpPr>
              <a:cxnSpLocks noChangeShapeType="1"/>
              <a:stCxn id="62" idx="4"/>
              <a:endCxn id="63" idx="0"/>
            </p:cNvCxnSpPr>
            <p:nvPr/>
          </p:nvCxnSpPr>
          <p:spPr bwMode="auto">
            <a:xfrm flipH="1">
              <a:off x="2735521" y="3446362"/>
              <a:ext cx="3224" cy="391562"/>
            </a:xfrm>
            <a:prstGeom prst="straightConnector1">
              <a:avLst/>
            </a:prstGeom>
            <a:noFill/>
            <a:ln w="6350">
              <a:solidFill>
                <a:srgbClr val="BBBCBC"/>
              </a:solidFill>
              <a:round/>
              <a:headEnd type="triangle" w="med" len="med"/>
              <a:tailEnd type="triangle" w="med" len="med"/>
            </a:ln>
          </p:spPr>
        </p:cxnSp>
        <p:cxnSp>
          <p:nvCxnSpPr>
            <p:cNvPr id="71" name="AutoShape 20"/>
            <p:cNvCxnSpPr>
              <a:cxnSpLocks noChangeShapeType="1"/>
              <a:stCxn id="62" idx="0"/>
              <a:endCxn id="60" idx="2"/>
            </p:cNvCxnSpPr>
            <p:nvPr/>
          </p:nvCxnSpPr>
          <p:spPr bwMode="auto">
            <a:xfrm flipV="1">
              <a:off x="2738745" y="2271644"/>
              <a:ext cx="1012856" cy="406368"/>
            </a:xfrm>
            <a:prstGeom prst="straightConnector1">
              <a:avLst/>
            </a:prstGeom>
            <a:noFill/>
            <a:ln w="6350">
              <a:solidFill>
                <a:srgbClr val="BBBCBC"/>
              </a:solidFill>
              <a:round/>
              <a:headEnd type="triangle" w="med" len="med"/>
              <a:tailEnd type="triangle" w="med" len="med"/>
            </a:ln>
          </p:spPr>
        </p:cxnSp>
        <p:cxnSp>
          <p:nvCxnSpPr>
            <p:cNvPr id="72" name="AutoShape 21"/>
            <p:cNvCxnSpPr>
              <a:cxnSpLocks noChangeShapeType="1"/>
              <a:stCxn id="59" idx="3"/>
              <a:endCxn id="63" idx="6"/>
            </p:cNvCxnSpPr>
            <p:nvPr/>
          </p:nvCxnSpPr>
          <p:spPr bwMode="auto">
            <a:xfrm flipH="1">
              <a:off x="3568958" y="4131010"/>
              <a:ext cx="529812" cy="90295"/>
            </a:xfrm>
            <a:prstGeom prst="straightConnector1">
              <a:avLst/>
            </a:prstGeom>
            <a:noFill/>
            <a:ln w="6350">
              <a:solidFill>
                <a:srgbClr val="BBBCBC"/>
              </a:solidFill>
              <a:round/>
              <a:headEnd type="triangle" w="med" len="med"/>
              <a:tailEnd type="triangle" w="med" len="med"/>
            </a:ln>
          </p:spPr>
        </p:cxnSp>
        <p:cxnSp>
          <p:nvCxnSpPr>
            <p:cNvPr id="73" name="AutoShape 22"/>
            <p:cNvCxnSpPr>
              <a:cxnSpLocks noChangeShapeType="1"/>
              <a:stCxn id="59" idx="5"/>
              <a:endCxn id="54" idx="2"/>
            </p:cNvCxnSpPr>
            <p:nvPr/>
          </p:nvCxnSpPr>
          <p:spPr bwMode="auto">
            <a:xfrm>
              <a:off x="5072937" y="4131010"/>
              <a:ext cx="441159" cy="90295"/>
            </a:xfrm>
            <a:prstGeom prst="straightConnector1">
              <a:avLst/>
            </a:prstGeom>
            <a:noFill/>
            <a:ln w="6350">
              <a:solidFill>
                <a:srgbClr val="BBBCBC"/>
              </a:solidFill>
              <a:round/>
              <a:headEnd type="triangle" w="med" len="med"/>
              <a:tailEnd type="triangle" w="med" len="med"/>
            </a:ln>
          </p:spPr>
        </p:cxnSp>
        <p:cxnSp>
          <p:nvCxnSpPr>
            <p:cNvPr id="74" name="AutoShape 23"/>
            <p:cNvCxnSpPr>
              <a:cxnSpLocks noChangeShapeType="1"/>
              <a:stCxn id="59" idx="7"/>
              <a:endCxn id="61" idx="2"/>
            </p:cNvCxnSpPr>
            <p:nvPr/>
          </p:nvCxnSpPr>
          <p:spPr bwMode="auto">
            <a:xfrm flipV="1">
              <a:off x="5072938" y="3057295"/>
              <a:ext cx="441160" cy="201508"/>
            </a:xfrm>
            <a:prstGeom prst="straightConnector1">
              <a:avLst/>
            </a:prstGeom>
            <a:noFill/>
            <a:ln w="6350">
              <a:solidFill>
                <a:srgbClr val="BBBCBC"/>
              </a:solidFill>
              <a:round/>
              <a:headEnd type="triangle" w="med" len="med"/>
              <a:tailEnd type="triangle" w="med" len="med"/>
            </a:ln>
          </p:spPr>
        </p:cxnSp>
        <p:cxnSp>
          <p:nvCxnSpPr>
            <p:cNvPr id="75" name="AutoShape 24"/>
            <p:cNvCxnSpPr>
              <a:cxnSpLocks noChangeShapeType="1"/>
              <a:stCxn id="62" idx="6"/>
              <a:endCxn id="59" idx="1"/>
            </p:cNvCxnSpPr>
            <p:nvPr/>
          </p:nvCxnSpPr>
          <p:spPr bwMode="auto">
            <a:xfrm>
              <a:off x="3572182" y="3062187"/>
              <a:ext cx="526588" cy="196616"/>
            </a:xfrm>
            <a:prstGeom prst="straightConnector1">
              <a:avLst/>
            </a:prstGeom>
            <a:noFill/>
            <a:ln w="6350">
              <a:solidFill>
                <a:srgbClr val="BBBCBC"/>
              </a:solidFill>
              <a:round/>
              <a:headEnd type="triangle" w="med" len="med"/>
              <a:tailEnd type="triangle" w="med" len="med"/>
            </a:ln>
          </p:spPr>
        </p:cxnSp>
        <p:cxnSp>
          <p:nvCxnSpPr>
            <p:cNvPr id="76" name="AutoShape 25"/>
            <p:cNvCxnSpPr>
              <a:cxnSpLocks noChangeShapeType="1"/>
            </p:cNvCxnSpPr>
            <p:nvPr/>
          </p:nvCxnSpPr>
          <p:spPr bwMode="auto">
            <a:xfrm rot="5400000" flipH="1" flipV="1">
              <a:off x="4028555" y="4402507"/>
              <a:ext cx="610765" cy="429052"/>
            </a:xfrm>
            <a:prstGeom prst="straightConnector1">
              <a:avLst/>
            </a:prstGeom>
            <a:noFill/>
            <a:ln w="6350">
              <a:solidFill>
                <a:srgbClr val="BBBCBC"/>
              </a:solidFill>
              <a:round/>
              <a:headEnd type="triangle" w="med" len="med"/>
              <a:tailEnd type="triangle" w="med" len="med"/>
            </a:ln>
          </p:spPr>
        </p:cxnSp>
        <p:cxnSp>
          <p:nvCxnSpPr>
            <p:cNvPr id="77" name="AutoShape 26"/>
            <p:cNvCxnSpPr>
              <a:cxnSpLocks noChangeShapeType="1"/>
            </p:cNvCxnSpPr>
            <p:nvPr/>
          </p:nvCxnSpPr>
          <p:spPr bwMode="auto">
            <a:xfrm rot="16200000" flipV="1">
              <a:off x="4482393" y="4414297"/>
              <a:ext cx="610765" cy="405472"/>
            </a:xfrm>
            <a:prstGeom prst="straightConnector1">
              <a:avLst/>
            </a:prstGeom>
            <a:noFill/>
            <a:ln w="6350">
              <a:solidFill>
                <a:srgbClr val="BBBCBC"/>
              </a:solidFill>
              <a:round/>
              <a:headEnd type="triangle" w="med" len="med"/>
              <a:tailEnd type="triangle" w="med" len="med"/>
            </a:ln>
          </p:spPr>
        </p:cxnSp>
      </p:grpSp>
      <p:sp>
        <p:nvSpPr>
          <p:cNvPr id="28" name="TextBox 27">
            <a:extLst>
              <a:ext uri="{FF2B5EF4-FFF2-40B4-BE49-F238E27FC236}">
                <a16:creationId xmlns:a16="http://schemas.microsoft.com/office/drawing/2014/main" id="{65FFAC07-C455-42FA-81B5-6B5A79D2086C}"/>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235153719"/>
      </p:ext>
    </p:extLst>
  </p:cSld>
  <p:clrMapOvr>
    <a:masterClrMapping/>
  </p:clrMapOvr>
  <p:transition>
    <p:fade/>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2273" name="Title 1"/>
          <p:cNvSpPr>
            <a:spLocks noGrp="1"/>
          </p:cNvSpPr>
          <p:nvPr>
            <p:ph type="title"/>
          </p:nvPr>
        </p:nvSpPr>
        <p:spPr/>
        <p:txBody>
          <a:bodyPr/>
          <a:lstStyle/>
          <a:p>
            <a:r>
              <a:rPr lang="en-US" dirty="0"/>
              <a:t>Leverage</a:t>
            </a:r>
          </a:p>
        </p:txBody>
      </p:sp>
      <p:grpSp>
        <p:nvGrpSpPr>
          <p:cNvPr id="2" name="Group 1">
            <a:extLst>
              <a:ext uri="{FF2B5EF4-FFF2-40B4-BE49-F238E27FC236}">
                <a16:creationId xmlns:a16="http://schemas.microsoft.com/office/drawing/2014/main" id="{AFA57B68-FA9E-4EE2-942B-15415A53FD07}"/>
              </a:ext>
            </a:extLst>
          </p:cNvPr>
          <p:cNvGrpSpPr/>
          <p:nvPr/>
        </p:nvGrpSpPr>
        <p:grpSpPr>
          <a:xfrm>
            <a:off x="2803726" y="1749973"/>
            <a:ext cx="6655583" cy="4447216"/>
            <a:chOff x="3640139" y="2308857"/>
            <a:chExt cx="4908904" cy="3280097"/>
          </a:xfrm>
        </p:grpSpPr>
        <p:sp>
          <p:nvSpPr>
            <p:cNvPr id="10" name="Freeform 3"/>
            <p:cNvSpPr>
              <a:spLocks/>
            </p:cNvSpPr>
            <p:nvPr/>
          </p:nvSpPr>
          <p:spPr bwMode="blackWhite">
            <a:xfrm>
              <a:off x="5691189" y="5088890"/>
              <a:ext cx="561975" cy="439738"/>
            </a:xfrm>
            <a:custGeom>
              <a:avLst/>
              <a:gdLst>
                <a:gd name="T0" fmla="*/ 0 w 321"/>
                <a:gd name="T1" fmla="*/ 2147483647 h 241"/>
                <a:gd name="T2" fmla="*/ 2147483647 w 321"/>
                <a:gd name="T3" fmla="*/ 2147483647 h 241"/>
                <a:gd name="T4" fmla="*/ 2147483647 w 321"/>
                <a:gd name="T5" fmla="*/ 0 h 241"/>
                <a:gd name="T6" fmla="*/ 0 w 321"/>
                <a:gd name="T7" fmla="*/ 2147483647 h 241"/>
                <a:gd name="T8" fmla="*/ 0 60000 65536"/>
                <a:gd name="T9" fmla="*/ 0 60000 65536"/>
                <a:gd name="T10" fmla="*/ 0 60000 65536"/>
                <a:gd name="T11" fmla="*/ 0 60000 65536"/>
                <a:gd name="T12" fmla="*/ 0 w 321"/>
                <a:gd name="T13" fmla="*/ 0 h 241"/>
                <a:gd name="T14" fmla="*/ 321 w 321"/>
                <a:gd name="T15" fmla="*/ 241 h 241"/>
              </a:gdLst>
              <a:ahLst/>
              <a:cxnLst>
                <a:cxn ang="T8">
                  <a:pos x="T0" y="T1"/>
                </a:cxn>
                <a:cxn ang="T9">
                  <a:pos x="T2" y="T3"/>
                </a:cxn>
                <a:cxn ang="T10">
                  <a:pos x="T4" y="T5"/>
                </a:cxn>
                <a:cxn ang="T11">
                  <a:pos x="T6" y="T7"/>
                </a:cxn>
              </a:cxnLst>
              <a:rect l="T12" t="T13" r="T14" b="T15"/>
              <a:pathLst>
                <a:path w="321" h="241">
                  <a:moveTo>
                    <a:pt x="0" y="240"/>
                  </a:moveTo>
                  <a:lnTo>
                    <a:pt x="320" y="240"/>
                  </a:lnTo>
                  <a:lnTo>
                    <a:pt x="160" y="0"/>
                  </a:lnTo>
                  <a:lnTo>
                    <a:pt x="0" y="240"/>
                  </a:lnTo>
                </a:path>
              </a:pathLst>
            </a:custGeom>
            <a:solidFill>
              <a:schemeClr val="tx1"/>
            </a:solidFill>
            <a:ln w="12700" cap="rnd">
              <a:solidFill>
                <a:schemeClr val="bg1"/>
              </a:solidFill>
              <a:round/>
              <a:headEnd/>
              <a:tailEnd/>
            </a:ln>
          </p:spPr>
          <p:txBody>
            <a:bodyPr lIns="36000" tIns="36000" rIns="36000" bIns="36000"/>
            <a:lstStyle/>
            <a:p>
              <a:pPr>
                <a:defRPr/>
              </a:pPr>
              <a:endParaRPr lang="en-US" dirty="0"/>
            </a:p>
          </p:txBody>
        </p:sp>
        <p:sp>
          <p:nvSpPr>
            <p:cNvPr id="11" name="Freeform 4"/>
            <p:cNvSpPr>
              <a:spLocks/>
            </p:cNvSpPr>
            <p:nvPr/>
          </p:nvSpPr>
          <p:spPr bwMode="blackWhite">
            <a:xfrm>
              <a:off x="3640139" y="4296729"/>
              <a:ext cx="4537075" cy="1292225"/>
            </a:xfrm>
            <a:custGeom>
              <a:avLst/>
              <a:gdLst>
                <a:gd name="T0" fmla="*/ 2147483647 w 2599"/>
                <a:gd name="T1" fmla="*/ 0 h 704"/>
                <a:gd name="T2" fmla="*/ 0 w 2599"/>
                <a:gd name="T3" fmla="*/ 2147483647 h 704"/>
                <a:gd name="T4" fmla="*/ 2147483647 w 2599"/>
                <a:gd name="T5" fmla="*/ 2147483647 h 704"/>
                <a:gd name="T6" fmla="*/ 2147483647 w 2599"/>
                <a:gd name="T7" fmla="*/ 2147483647 h 704"/>
                <a:gd name="T8" fmla="*/ 2147483647 w 2599"/>
                <a:gd name="T9" fmla="*/ 0 h 704"/>
                <a:gd name="T10" fmla="*/ 0 60000 65536"/>
                <a:gd name="T11" fmla="*/ 0 60000 65536"/>
                <a:gd name="T12" fmla="*/ 0 60000 65536"/>
                <a:gd name="T13" fmla="*/ 0 60000 65536"/>
                <a:gd name="T14" fmla="*/ 0 60000 65536"/>
                <a:gd name="T15" fmla="*/ 0 w 2599"/>
                <a:gd name="T16" fmla="*/ 0 h 704"/>
                <a:gd name="T17" fmla="*/ 2599 w 2599"/>
                <a:gd name="T18" fmla="*/ 704 h 704"/>
              </a:gdLst>
              <a:ahLst/>
              <a:cxnLst>
                <a:cxn ang="T10">
                  <a:pos x="T0" y="T1"/>
                </a:cxn>
                <a:cxn ang="T11">
                  <a:pos x="T2" y="T3"/>
                </a:cxn>
                <a:cxn ang="T12">
                  <a:pos x="T4" y="T5"/>
                </a:cxn>
                <a:cxn ang="T13">
                  <a:pos x="T6" y="T7"/>
                </a:cxn>
                <a:cxn ang="T14">
                  <a:pos x="T8" y="T9"/>
                </a:cxn>
              </a:cxnLst>
              <a:rect l="T15" t="T16" r="T17" b="T18"/>
              <a:pathLst>
                <a:path w="2599" h="704">
                  <a:moveTo>
                    <a:pt x="16" y="0"/>
                  </a:moveTo>
                  <a:lnTo>
                    <a:pt x="0" y="72"/>
                  </a:lnTo>
                  <a:lnTo>
                    <a:pt x="2582" y="703"/>
                  </a:lnTo>
                  <a:lnTo>
                    <a:pt x="2598" y="631"/>
                  </a:lnTo>
                  <a:lnTo>
                    <a:pt x="16" y="0"/>
                  </a:lnTo>
                </a:path>
              </a:pathLst>
            </a:custGeom>
            <a:solidFill>
              <a:schemeClr val="tx1"/>
            </a:solidFill>
            <a:ln w="12700" cap="rnd">
              <a:solidFill>
                <a:schemeClr val="bg1"/>
              </a:solidFill>
              <a:round/>
              <a:headEnd/>
              <a:tailEnd/>
            </a:ln>
          </p:spPr>
          <p:txBody>
            <a:bodyPr lIns="36000" tIns="36000" rIns="36000" bIns="36000"/>
            <a:lstStyle/>
            <a:p>
              <a:pPr>
                <a:defRPr/>
              </a:pPr>
              <a:endParaRPr lang="en-US" dirty="0"/>
            </a:p>
          </p:txBody>
        </p:sp>
        <p:sp>
          <p:nvSpPr>
            <p:cNvPr id="822277" name="Oval 5"/>
            <p:cNvSpPr>
              <a:spLocks noChangeArrowheads="1"/>
            </p:cNvSpPr>
            <p:nvPr/>
          </p:nvSpPr>
          <p:spPr bwMode="blackWhite">
            <a:xfrm>
              <a:off x="7325043" y="4079558"/>
              <a:ext cx="1224000" cy="1224000"/>
            </a:xfrm>
            <a:prstGeom prst="ellipse">
              <a:avLst/>
            </a:prstGeom>
            <a:solidFill>
              <a:schemeClr val="accent3"/>
            </a:solidFill>
            <a:ln w="12700">
              <a:solidFill>
                <a:schemeClr val="bg1"/>
              </a:solidFill>
              <a:round/>
              <a:headEnd/>
              <a:tailEnd/>
            </a:ln>
          </p:spPr>
          <p:txBody>
            <a:bodyPr wrap="square" lIns="91440" tIns="91440" rIns="91440" bIns="91440" anchor="ctr"/>
            <a:lstStyle/>
            <a:p>
              <a:pPr algn="ctr"/>
              <a:r>
                <a:rPr lang="en-US" sz="1200" dirty="0">
                  <a:solidFill>
                    <a:schemeClr val="bg1"/>
                  </a:solidFill>
                </a:rPr>
                <a:t>Text</a:t>
              </a:r>
            </a:p>
          </p:txBody>
        </p:sp>
        <p:sp>
          <p:nvSpPr>
            <p:cNvPr id="13" name="Arc 6"/>
            <p:cNvSpPr>
              <a:spLocks/>
            </p:cNvSpPr>
            <p:nvPr/>
          </p:nvSpPr>
          <p:spPr bwMode="blackWhite">
            <a:xfrm>
              <a:off x="3759200" y="2898140"/>
              <a:ext cx="1449388" cy="1981200"/>
            </a:xfrm>
            <a:custGeom>
              <a:avLst/>
              <a:gdLst>
                <a:gd name="T0" fmla="*/ 0 w 20759"/>
                <a:gd name="T1" fmla="*/ 2147483647 h 20020"/>
                <a:gd name="T2" fmla="*/ 2147483647 w 20759"/>
                <a:gd name="T3" fmla="*/ 0 h 20020"/>
                <a:gd name="T4" fmla="*/ 2147483647 w 20759"/>
                <a:gd name="T5" fmla="*/ 2147483647 h 20020"/>
                <a:gd name="T6" fmla="*/ 0 60000 65536"/>
                <a:gd name="T7" fmla="*/ 0 60000 65536"/>
                <a:gd name="T8" fmla="*/ 0 60000 65536"/>
                <a:gd name="T9" fmla="*/ 0 w 20759"/>
                <a:gd name="T10" fmla="*/ 0 h 20020"/>
                <a:gd name="T11" fmla="*/ 20759 w 20759"/>
                <a:gd name="T12" fmla="*/ 20020 h 20020"/>
              </a:gdLst>
              <a:ahLst/>
              <a:cxnLst>
                <a:cxn ang="T6">
                  <a:pos x="T0" y="T1"/>
                </a:cxn>
                <a:cxn ang="T7">
                  <a:pos x="T2" y="T3"/>
                </a:cxn>
                <a:cxn ang="T8">
                  <a:pos x="T4" y="T5"/>
                </a:cxn>
              </a:cxnLst>
              <a:rect l="T9" t="T10" r="T11" b="T12"/>
              <a:pathLst>
                <a:path w="20759" h="20020" fill="none" extrusionOk="0">
                  <a:moveTo>
                    <a:pt x="0" y="14051"/>
                  </a:moveTo>
                  <a:cubicBezTo>
                    <a:pt x="1834" y="7672"/>
                    <a:pt x="6499" y="2491"/>
                    <a:pt x="12650" y="-1"/>
                  </a:cubicBezTo>
                </a:path>
                <a:path w="20759" h="20020" stroke="0" extrusionOk="0">
                  <a:moveTo>
                    <a:pt x="0" y="14051"/>
                  </a:moveTo>
                  <a:cubicBezTo>
                    <a:pt x="1834" y="7672"/>
                    <a:pt x="6499" y="2491"/>
                    <a:pt x="12650" y="-1"/>
                  </a:cubicBezTo>
                  <a:lnTo>
                    <a:pt x="20759" y="20020"/>
                  </a:lnTo>
                  <a:close/>
                </a:path>
              </a:pathLst>
            </a:custGeom>
            <a:noFill/>
            <a:ln w="28575" cap="rnd">
              <a:solidFill>
                <a:schemeClr val="bg1">
                  <a:lumMod val="50000"/>
                </a:schemeClr>
              </a:solidFill>
              <a:prstDash val="sysDot"/>
              <a:round/>
              <a:headEnd type="none" w="sm" len="sm"/>
              <a:tailEnd type="none" w="sm" len="sm"/>
            </a:ln>
          </p:spPr>
          <p:txBody>
            <a:bodyPr wrap="none" lIns="36000" tIns="36000" rIns="36000" bIns="36000" anchor="ctr"/>
            <a:lstStyle/>
            <a:p>
              <a:pPr algn="ctr">
                <a:defRPr/>
              </a:pPr>
              <a:endParaRPr lang="en-US" sz="1400" dirty="0"/>
            </a:p>
          </p:txBody>
        </p:sp>
        <p:sp>
          <p:nvSpPr>
            <p:cNvPr id="822279" name="Oval 7"/>
            <p:cNvSpPr>
              <a:spLocks noChangeArrowheads="1"/>
            </p:cNvSpPr>
            <p:nvPr/>
          </p:nvSpPr>
          <p:spPr bwMode="blackWhite">
            <a:xfrm>
              <a:off x="4622800" y="2629853"/>
              <a:ext cx="338138" cy="355600"/>
            </a:xfrm>
            <a:prstGeom prst="ellipse">
              <a:avLst/>
            </a:prstGeom>
            <a:solidFill>
              <a:schemeClr val="accent3"/>
            </a:solidFill>
            <a:ln w="12700">
              <a:solidFill>
                <a:schemeClr val="bg1"/>
              </a:solidFill>
              <a:round/>
              <a:headEnd/>
              <a:tailEnd/>
            </a:ln>
          </p:spPr>
          <p:txBody>
            <a:bodyPr wrap="none" lIns="36000" tIns="36000" rIns="36000" bIns="36000" anchor="ctr"/>
            <a:lstStyle/>
            <a:p>
              <a:pPr algn="ctr"/>
              <a:endParaRPr lang="en-US" sz="1400" dirty="0"/>
            </a:p>
          </p:txBody>
        </p:sp>
        <p:sp>
          <p:nvSpPr>
            <p:cNvPr id="822280" name="Rectangle 8"/>
            <p:cNvSpPr>
              <a:spLocks noChangeArrowheads="1"/>
            </p:cNvSpPr>
            <p:nvPr/>
          </p:nvSpPr>
          <p:spPr bwMode="auto">
            <a:xfrm>
              <a:off x="4425950" y="2308857"/>
              <a:ext cx="731838" cy="175433"/>
            </a:xfrm>
            <a:prstGeom prst="rect">
              <a:avLst/>
            </a:prstGeom>
            <a:noFill/>
            <a:ln w="9525">
              <a:noFill/>
              <a:miter lim="800000"/>
              <a:headEnd/>
              <a:tailEnd/>
            </a:ln>
          </p:spPr>
          <p:txBody>
            <a:bodyPr lIns="0" tIns="0" rIns="0" bIns="0" anchor="b" anchorCtr="0">
              <a:spAutoFit/>
            </a:bodyPr>
            <a:lstStyle/>
            <a:p>
              <a:pPr algn="ctr" defTabSz="787400">
                <a:lnSpc>
                  <a:spcPct val="95000"/>
                </a:lnSpc>
                <a:spcBef>
                  <a:spcPct val="80000"/>
                </a:spcBef>
                <a:buClr>
                  <a:schemeClr val="tx1"/>
                </a:buClr>
              </a:pPr>
              <a:r>
                <a:rPr lang="en-US" sz="1200" dirty="0"/>
                <a:t>Text</a:t>
              </a:r>
            </a:p>
          </p:txBody>
        </p:sp>
      </p:grpSp>
      <p:sp>
        <p:nvSpPr>
          <p:cNvPr id="15" name="TextBox 14">
            <a:extLst>
              <a:ext uri="{FF2B5EF4-FFF2-40B4-BE49-F238E27FC236}">
                <a16:creationId xmlns:a16="http://schemas.microsoft.com/office/drawing/2014/main" id="{86D51115-6C45-42B9-BD49-728CDEAE8102}"/>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4203088623"/>
      </p:ext>
    </p:extLst>
  </p:cSld>
  <p:clrMapOvr>
    <a:masterClrMapping/>
  </p:clrMapOvr>
  <p:transition>
    <p:fade/>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5"/>
          <p:cNvSpPr txBox="1">
            <a:spLocks/>
          </p:cNvSpPr>
          <p:nvPr/>
        </p:nvSpPr>
        <p:spPr>
          <a:xfrm>
            <a:off x="2340927" y="3051618"/>
            <a:ext cx="2898648" cy="2286000"/>
          </a:xfrm>
          <a:prstGeom prst="rect">
            <a:avLst/>
          </a:prstGeom>
          <a:noFill/>
          <a:ln w="12700">
            <a:solidFill>
              <a:schemeClr val="tx1"/>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chemeClr val="tx1"/>
                </a:solidFill>
              </a:rPr>
              <a:t>This is dummy text it is not here to be read </a:t>
            </a:r>
          </a:p>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21" name="Text Placeholder 5"/>
          <p:cNvSpPr txBox="1">
            <a:spLocks/>
          </p:cNvSpPr>
          <p:nvPr/>
        </p:nvSpPr>
        <p:spPr>
          <a:xfrm>
            <a:off x="7000874" y="2226117"/>
            <a:ext cx="2898648" cy="2286000"/>
          </a:xfrm>
          <a:prstGeom prst="rect">
            <a:avLst/>
          </a:prstGeom>
          <a:noFill/>
          <a:ln w="12700">
            <a:solidFill>
              <a:schemeClr val="accent3"/>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chemeClr val="tx1"/>
                </a:solidFill>
              </a:rPr>
              <a:t>This is dummy text it is not here to be read </a:t>
            </a:r>
          </a:p>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5" name="AutoShape 3"/>
          <p:cNvSpPr>
            <a:spLocks noChangeArrowheads="1"/>
          </p:cNvSpPr>
          <p:nvPr/>
        </p:nvSpPr>
        <p:spPr bwMode="auto">
          <a:xfrm flipV="1">
            <a:off x="5781675" y="5407200"/>
            <a:ext cx="598488" cy="52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chemeClr val="bg1">
              <a:lumMod val="95000"/>
            </a:schemeClr>
          </a:solidFill>
          <a:ln w="12700">
            <a:solidFill>
              <a:schemeClr val="bg1"/>
            </a:solidFill>
            <a:miter lim="800000"/>
            <a:headEnd/>
            <a:tailEnd/>
          </a:ln>
        </p:spPr>
        <p:txBody>
          <a:bodyPr rot="10800000" wrap="none" lIns="36000" tIns="36000" rIns="36000" bIns="36000" anchor="ctr"/>
          <a:lstStyle/>
          <a:p>
            <a:pPr algn="ctr">
              <a:defRPr/>
            </a:pPr>
            <a:endParaRPr lang="en-US" sz="1400" dirty="0"/>
          </a:p>
        </p:txBody>
      </p:sp>
      <p:grpSp>
        <p:nvGrpSpPr>
          <p:cNvPr id="823302" name="Group 6"/>
          <p:cNvGrpSpPr>
            <a:grpSpLocks/>
          </p:cNvGrpSpPr>
          <p:nvPr/>
        </p:nvGrpSpPr>
        <p:grpSpPr bwMode="auto">
          <a:xfrm>
            <a:off x="3795714" y="4562651"/>
            <a:ext cx="4649787" cy="1220787"/>
            <a:chOff x="1390" y="2928"/>
            <a:chExt cx="2929" cy="769"/>
          </a:xfrm>
        </p:grpSpPr>
        <p:sp>
          <p:nvSpPr>
            <p:cNvPr id="9" name="Freeform 7"/>
            <p:cNvSpPr>
              <a:spLocks/>
            </p:cNvSpPr>
            <p:nvPr/>
          </p:nvSpPr>
          <p:spPr bwMode="auto">
            <a:xfrm>
              <a:off x="1390" y="2928"/>
              <a:ext cx="2929" cy="769"/>
            </a:xfrm>
            <a:custGeom>
              <a:avLst/>
              <a:gdLst>
                <a:gd name="T0" fmla="*/ 0 w 2929"/>
                <a:gd name="T1" fmla="*/ 528 h 769"/>
                <a:gd name="T2" fmla="*/ 0 w 2929"/>
                <a:gd name="T3" fmla="*/ 768 h 769"/>
                <a:gd name="T4" fmla="*/ 2928 w 2929"/>
                <a:gd name="T5" fmla="*/ 240 h 769"/>
                <a:gd name="T6" fmla="*/ 2928 w 2929"/>
                <a:gd name="T7" fmla="*/ 0 h 769"/>
                <a:gd name="T8" fmla="*/ 0 60000 65536"/>
                <a:gd name="T9" fmla="*/ 0 60000 65536"/>
                <a:gd name="T10" fmla="*/ 0 60000 65536"/>
                <a:gd name="T11" fmla="*/ 0 60000 65536"/>
                <a:gd name="T12" fmla="*/ 0 w 2929"/>
                <a:gd name="T13" fmla="*/ 0 h 769"/>
                <a:gd name="T14" fmla="*/ 2929 w 2929"/>
                <a:gd name="T15" fmla="*/ 769 h 769"/>
              </a:gdLst>
              <a:ahLst/>
              <a:cxnLst>
                <a:cxn ang="T8">
                  <a:pos x="T0" y="T1"/>
                </a:cxn>
                <a:cxn ang="T9">
                  <a:pos x="T2" y="T3"/>
                </a:cxn>
                <a:cxn ang="T10">
                  <a:pos x="T4" y="T5"/>
                </a:cxn>
                <a:cxn ang="T11">
                  <a:pos x="T6" y="T7"/>
                </a:cxn>
              </a:cxnLst>
              <a:rect l="T12" t="T13" r="T14" b="T15"/>
              <a:pathLst>
                <a:path w="2929" h="769">
                  <a:moveTo>
                    <a:pt x="0" y="528"/>
                  </a:moveTo>
                  <a:lnTo>
                    <a:pt x="0" y="768"/>
                  </a:lnTo>
                  <a:lnTo>
                    <a:pt x="2928" y="240"/>
                  </a:lnTo>
                  <a:lnTo>
                    <a:pt x="2928" y="0"/>
                  </a:lnTo>
                </a:path>
              </a:pathLst>
            </a:custGeom>
            <a:noFill/>
            <a:ln w="57150" cap="rnd">
              <a:solidFill>
                <a:schemeClr val="bg1">
                  <a:lumMod val="95000"/>
                </a:schemeClr>
              </a:solidFill>
              <a:round/>
              <a:headEnd type="none" w="sm" len="sm"/>
              <a:tailEnd type="none" w="sm" len="sm"/>
            </a:ln>
          </p:spPr>
          <p:txBody>
            <a:bodyPr lIns="36000" tIns="36000" rIns="36000" bIns="36000"/>
            <a:lstStyle/>
            <a:p>
              <a:pPr>
                <a:defRPr/>
              </a:pPr>
              <a:endParaRPr lang="en-US" dirty="0"/>
            </a:p>
          </p:txBody>
        </p:sp>
        <p:sp>
          <p:nvSpPr>
            <p:cNvPr id="10" name="Line 8"/>
            <p:cNvSpPr>
              <a:spLocks noChangeShapeType="1"/>
            </p:cNvSpPr>
            <p:nvPr/>
          </p:nvSpPr>
          <p:spPr bwMode="auto">
            <a:xfrm rot="20993914" flipV="1">
              <a:off x="2822" y="3168"/>
              <a:ext cx="0" cy="480"/>
            </a:xfrm>
            <a:prstGeom prst="line">
              <a:avLst/>
            </a:prstGeom>
            <a:noFill/>
            <a:ln w="57150">
              <a:solidFill>
                <a:schemeClr val="bg1">
                  <a:lumMod val="95000"/>
                </a:schemeClr>
              </a:solidFill>
              <a:round/>
              <a:headEnd/>
              <a:tailEnd type="triangle" w="med" len="med"/>
            </a:ln>
          </p:spPr>
          <p:txBody>
            <a:bodyPr wrap="none" lIns="36000" tIns="36000" rIns="36000" bIns="36000" anchor="ctr"/>
            <a:lstStyle/>
            <a:p>
              <a:pPr>
                <a:defRPr/>
              </a:pPr>
              <a:endParaRPr lang="en-US" dirty="0"/>
            </a:p>
          </p:txBody>
        </p:sp>
      </p:grpSp>
      <p:sp>
        <p:nvSpPr>
          <p:cNvPr id="27" name="Text Box 10"/>
          <p:cNvSpPr txBox="1">
            <a:spLocks noChangeArrowheads="1"/>
          </p:cNvSpPr>
          <p:nvPr/>
        </p:nvSpPr>
        <p:spPr bwMode="auto">
          <a:xfrm>
            <a:off x="2340927" y="2801939"/>
            <a:ext cx="2898648" cy="249678"/>
          </a:xfrm>
          <a:prstGeom prst="rect">
            <a:avLst/>
          </a:prstGeom>
          <a:solidFill>
            <a:schemeClr val="accent3"/>
          </a:solidFill>
          <a:ln w="12700" algn="ctr">
            <a:solidFill>
              <a:schemeClr val="accent3"/>
            </a:solidFill>
            <a:miter lim="800000"/>
            <a:headEnd/>
            <a:tailEnd type="none" w="sm" len="med"/>
          </a:ln>
        </p:spPr>
        <p:txBody>
          <a:bodyPr lIns="91440" tIns="91440" rIns="91440" bIns="91440" anchor="ctr" anchorCtr="0"/>
          <a:lstStyle/>
          <a:p>
            <a:pPr defTabSz="957263"/>
            <a:r>
              <a:rPr lang="en-US" sz="1400" dirty="0">
                <a:solidFill>
                  <a:schemeClr val="bg1"/>
                </a:solidFill>
              </a:rPr>
              <a:t>Costs</a:t>
            </a:r>
          </a:p>
        </p:txBody>
      </p:sp>
      <p:sp>
        <p:nvSpPr>
          <p:cNvPr id="20" name="Text Box 10"/>
          <p:cNvSpPr txBox="1">
            <a:spLocks noChangeArrowheads="1"/>
          </p:cNvSpPr>
          <p:nvPr/>
        </p:nvSpPr>
        <p:spPr bwMode="auto">
          <a:xfrm>
            <a:off x="7000874" y="1976438"/>
            <a:ext cx="2898648" cy="249678"/>
          </a:xfrm>
          <a:prstGeom prst="rect">
            <a:avLst/>
          </a:prstGeom>
          <a:solidFill>
            <a:schemeClr val="accent3"/>
          </a:solidFill>
          <a:ln w="12700" algn="ctr">
            <a:solidFill>
              <a:schemeClr val="accent3"/>
            </a:solidFill>
            <a:miter lim="800000"/>
            <a:headEnd/>
            <a:tailEnd type="none" w="sm" len="med"/>
          </a:ln>
        </p:spPr>
        <p:txBody>
          <a:bodyPr lIns="91440" tIns="91440" rIns="91440" bIns="91440" anchor="ctr" anchorCtr="0"/>
          <a:lstStyle/>
          <a:p>
            <a:pPr defTabSz="957263"/>
            <a:r>
              <a:rPr lang="en-US" sz="1400" dirty="0">
                <a:solidFill>
                  <a:schemeClr val="bg1"/>
                </a:solidFill>
              </a:rPr>
              <a:t>Benefits</a:t>
            </a:r>
          </a:p>
        </p:txBody>
      </p:sp>
      <p:sp>
        <p:nvSpPr>
          <p:cNvPr id="4" name="Text Placeholder 3"/>
          <p:cNvSpPr>
            <a:spLocks noGrp="1"/>
          </p:cNvSpPr>
          <p:nvPr>
            <p:ph type="body" sz="quarter" idx="13"/>
          </p:nvPr>
        </p:nvSpPr>
        <p:spPr/>
        <p:txBody>
          <a:bodyPr/>
          <a:lstStyle/>
          <a:p>
            <a:r>
              <a:rPr lang="en-US" dirty="0"/>
              <a:t>Subtitle runs here</a:t>
            </a:r>
          </a:p>
        </p:txBody>
      </p:sp>
      <p:sp>
        <p:nvSpPr>
          <p:cNvPr id="823297" name="Title 1"/>
          <p:cNvSpPr>
            <a:spLocks noGrp="1"/>
          </p:cNvSpPr>
          <p:nvPr>
            <p:ph type="title"/>
          </p:nvPr>
        </p:nvSpPr>
        <p:spPr/>
        <p:txBody>
          <a:bodyPr/>
          <a:lstStyle/>
          <a:p>
            <a:r>
              <a:rPr lang="en-US" dirty="0"/>
              <a:t>Balance 1</a:t>
            </a:r>
          </a:p>
        </p:txBody>
      </p:sp>
      <p:sp>
        <p:nvSpPr>
          <p:cNvPr id="15" name="TextBox 14">
            <a:extLst>
              <a:ext uri="{FF2B5EF4-FFF2-40B4-BE49-F238E27FC236}">
                <a16:creationId xmlns:a16="http://schemas.microsoft.com/office/drawing/2014/main" id="{95455ACC-3BC9-491A-9EB4-37BBC9B0F3A5}"/>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663375121"/>
      </p:ext>
    </p:extLst>
  </p:cSld>
  <p:clrMapOvr>
    <a:masterClrMapping/>
  </p:clrMapOvr>
  <p:transition>
    <p:fade/>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Subtitle runs here</a:t>
            </a:r>
          </a:p>
        </p:txBody>
      </p:sp>
      <p:sp>
        <p:nvSpPr>
          <p:cNvPr id="824321" name="Title 1"/>
          <p:cNvSpPr>
            <a:spLocks noGrp="1"/>
          </p:cNvSpPr>
          <p:nvPr>
            <p:ph type="title"/>
          </p:nvPr>
        </p:nvSpPr>
        <p:spPr/>
        <p:txBody>
          <a:bodyPr/>
          <a:lstStyle/>
          <a:p>
            <a:r>
              <a:rPr lang="en-US" dirty="0"/>
              <a:t>Jumping point</a:t>
            </a:r>
          </a:p>
        </p:txBody>
      </p:sp>
      <p:grpSp>
        <p:nvGrpSpPr>
          <p:cNvPr id="2" name="Group 1">
            <a:extLst>
              <a:ext uri="{FF2B5EF4-FFF2-40B4-BE49-F238E27FC236}">
                <a16:creationId xmlns:a16="http://schemas.microsoft.com/office/drawing/2014/main" id="{674110BF-0343-4358-88A6-2D82FED1DFEB}"/>
              </a:ext>
            </a:extLst>
          </p:cNvPr>
          <p:cNvGrpSpPr/>
          <p:nvPr/>
        </p:nvGrpSpPr>
        <p:grpSpPr>
          <a:xfrm>
            <a:off x="1755228" y="1665288"/>
            <a:ext cx="8597462" cy="4309242"/>
            <a:chOff x="3860801" y="2266584"/>
            <a:chExt cx="4651375" cy="3195637"/>
          </a:xfrm>
        </p:grpSpPr>
        <p:sp>
          <p:nvSpPr>
            <p:cNvPr id="17" name="Text Box 10"/>
            <p:cNvSpPr txBox="1">
              <a:spLocks noChangeArrowheads="1"/>
            </p:cNvSpPr>
            <p:nvPr/>
          </p:nvSpPr>
          <p:spPr bwMode="auto">
            <a:xfrm>
              <a:off x="6462715" y="3132971"/>
              <a:ext cx="2049461" cy="249678"/>
            </a:xfrm>
            <a:prstGeom prst="rect">
              <a:avLst/>
            </a:prstGeom>
            <a:solidFill>
              <a:schemeClr val="accent3"/>
            </a:solidFill>
            <a:ln w="12700" algn="ctr">
              <a:solidFill>
                <a:schemeClr val="accent3"/>
              </a:solidFill>
              <a:miter lim="800000"/>
              <a:headEnd/>
              <a:tailEnd type="none" w="sm" len="med"/>
            </a:ln>
          </p:spPr>
          <p:txBody>
            <a:bodyPr wrap="square" lIns="91440" tIns="91440" rIns="91440" bIns="91440" anchor="ctr" anchorCtr="0"/>
            <a:lstStyle/>
            <a:p>
              <a:pPr defTabSz="957263"/>
              <a:r>
                <a:rPr lang="en-US" sz="1200" dirty="0">
                  <a:solidFill>
                    <a:schemeClr val="bg1"/>
                  </a:solidFill>
                </a:rPr>
                <a:t>Text</a:t>
              </a:r>
            </a:p>
          </p:txBody>
        </p:sp>
        <p:sp>
          <p:nvSpPr>
            <p:cNvPr id="18" name="Text Placeholder 5"/>
            <p:cNvSpPr txBox="1">
              <a:spLocks/>
            </p:cNvSpPr>
            <p:nvPr/>
          </p:nvSpPr>
          <p:spPr>
            <a:xfrm>
              <a:off x="6462714" y="3382651"/>
              <a:ext cx="2049461" cy="1966859"/>
            </a:xfrm>
            <a:prstGeom prst="rect">
              <a:avLst/>
            </a:prstGeom>
            <a:noFill/>
            <a:ln w="12700">
              <a:solidFill>
                <a:schemeClr val="accent3"/>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chemeClr val="tx1"/>
                  </a:solidFill>
                </a:rPr>
                <a:t>This is dummy text it is not here to be read </a:t>
              </a:r>
            </a:p>
            <a:p>
              <a:pPr marL="114300" lvl="1" indent="-114300">
                <a:spcBef>
                  <a:spcPts val="600"/>
                </a:spcBef>
                <a:buSzPct val="100000"/>
                <a:buFont typeface="Arial"/>
                <a:buChar char="•"/>
              </a:pPr>
              <a:r>
                <a:rPr lang="en-US" sz="1100" dirty="0">
                  <a:solidFill>
                    <a:schemeClr val="tx1"/>
                  </a:solidFill>
                </a:rPr>
                <a:t>Level 1 bullet</a:t>
              </a:r>
            </a:p>
            <a:p>
              <a:pPr marL="254000" lvl="2" indent="-114300">
                <a:spcBef>
                  <a:spcPts val="600"/>
                </a:spcBef>
                <a:buSzPct val="100000"/>
                <a:buFont typeface="Arial"/>
                <a:buChar char="−"/>
              </a:pPr>
              <a:r>
                <a:rPr lang="en-US" sz="1100" dirty="0">
                  <a:solidFill>
                    <a:schemeClr val="tx1"/>
                  </a:solidFill>
                </a:rPr>
                <a:t>Level 2 bullet</a:t>
              </a:r>
            </a:p>
            <a:p>
              <a:pPr marL="393700" lvl="3" indent="-114300">
                <a:spcBef>
                  <a:spcPts val="600"/>
                </a:spcBef>
                <a:buSzPct val="100000"/>
                <a:buFont typeface="Arial"/>
                <a:buChar char="◦"/>
              </a:pPr>
              <a:r>
                <a:rPr lang="en-US" sz="1000" dirty="0">
                  <a:solidFill>
                    <a:schemeClr val="tx1"/>
                  </a:solidFill>
                </a:rPr>
                <a:t>Level 3 bullet</a:t>
              </a:r>
            </a:p>
          </p:txBody>
        </p:sp>
        <p:sp>
          <p:nvSpPr>
            <p:cNvPr id="824323" name="Oval 3"/>
            <p:cNvSpPr>
              <a:spLocks noChangeArrowheads="1"/>
            </p:cNvSpPr>
            <p:nvPr/>
          </p:nvSpPr>
          <p:spPr bwMode="auto">
            <a:xfrm>
              <a:off x="6396038" y="2572971"/>
              <a:ext cx="346294" cy="474669"/>
            </a:xfrm>
            <a:prstGeom prst="ellipse">
              <a:avLst/>
            </a:prstGeom>
            <a:solidFill>
              <a:schemeClr val="accent1"/>
            </a:solidFill>
            <a:ln w="9525">
              <a:solidFill>
                <a:schemeClr val="bg1"/>
              </a:solidFill>
              <a:round/>
              <a:headEnd/>
              <a:tailEnd/>
            </a:ln>
          </p:spPr>
          <p:txBody>
            <a:bodyPr wrap="none" anchor="ctr"/>
            <a:lstStyle/>
            <a:p>
              <a:pPr algn="ctr"/>
              <a:endParaRPr lang="en-US" sz="1400" dirty="0"/>
            </a:p>
          </p:txBody>
        </p:sp>
        <p:grpSp>
          <p:nvGrpSpPr>
            <p:cNvPr id="824324" name="Group 15"/>
            <p:cNvGrpSpPr>
              <a:grpSpLocks/>
            </p:cNvGrpSpPr>
            <p:nvPr/>
          </p:nvGrpSpPr>
          <p:grpSpPr bwMode="auto">
            <a:xfrm>
              <a:off x="3900488" y="2266584"/>
              <a:ext cx="2349500" cy="3048000"/>
              <a:chOff x="2574925" y="2636838"/>
              <a:chExt cx="2544763" cy="3048000"/>
            </a:xfrm>
          </p:grpSpPr>
          <p:sp>
            <p:nvSpPr>
              <p:cNvPr id="7" name="Arc 5"/>
              <p:cNvSpPr>
                <a:spLocks/>
              </p:cNvSpPr>
              <p:nvPr/>
            </p:nvSpPr>
            <p:spPr bwMode="auto">
              <a:xfrm>
                <a:off x="2574925" y="4278313"/>
                <a:ext cx="854558" cy="1406525"/>
              </a:xfrm>
              <a:custGeom>
                <a:avLst/>
                <a:gdLst>
                  <a:gd name="T0" fmla="*/ 0 w 28334"/>
                  <a:gd name="T1" fmla="*/ 791053597 h 21600"/>
                  <a:gd name="T2" fmla="*/ 444155411 w 28334"/>
                  <a:gd name="T3" fmla="*/ 2147483647 h 21600"/>
                  <a:gd name="T4" fmla="*/ 105663734 w 28334"/>
                  <a:gd name="T5" fmla="*/ 2147483647 h 21600"/>
                  <a:gd name="T6" fmla="*/ 0 60000 65536"/>
                  <a:gd name="T7" fmla="*/ 0 60000 65536"/>
                  <a:gd name="T8" fmla="*/ 0 60000 65536"/>
                  <a:gd name="T9" fmla="*/ 0 w 28334"/>
                  <a:gd name="T10" fmla="*/ 0 h 21600"/>
                  <a:gd name="T11" fmla="*/ 28334 w 28334"/>
                  <a:gd name="T12" fmla="*/ 21600 h 21600"/>
                </a:gdLst>
                <a:ahLst/>
                <a:cxnLst>
                  <a:cxn ang="T6">
                    <a:pos x="T0" y="T1"/>
                  </a:cxn>
                  <a:cxn ang="T7">
                    <a:pos x="T2" y="T3"/>
                  </a:cxn>
                  <a:cxn ang="T8">
                    <a:pos x="T4" y="T5"/>
                  </a:cxn>
                </a:cxnLst>
                <a:rect l="T9" t="T10" r="T11" b="T12"/>
                <a:pathLst>
                  <a:path w="28334" h="21600" fill="none" extrusionOk="0">
                    <a:moveTo>
                      <a:pt x="-1" y="1076"/>
                    </a:moveTo>
                    <a:cubicBezTo>
                      <a:pt x="2173" y="363"/>
                      <a:pt x="4446" y="-1"/>
                      <a:pt x="6734" y="0"/>
                    </a:cubicBezTo>
                    <a:cubicBezTo>
                      <a:pt x="18663" y="0"/>
                      <a:pt x="28334" y="9670"/>
                      <a:pt x="28334" y="21600"/>
                    </a:cubicBezTo>
                  </a:path>
                  <a:path w="28334" h="21600" stroke="0" extrusionOk="0">
                    <a:moveTo>
                      <a:pt x="-1" y="1076"/>
                    </a:moveTo>
                    <a:cubicBezTo>
                      <a:pt x="2173" y="363"/>
                      <a:pt x="4446" y="-1"/>
                      <a:pt x="6734" y="0"/>
                    </a:cubicBezTo>
                    <a:cubicBezTo>
                      <a:pt x="18663" y="0"/>
                      <a:pt x="28334" y="9670"/>
                      <a:pt x="28334" y="21600"/>
                    </a:cubicBezTo>
                    <a:lnTo>
                      <a:pt x="6734" y="21600"/>
                    </a:lnTo>
                    <a:close/>
                  </a:path>
                </a:pathLst>
              </a:custGeom>
              <a:noFill/>
              <a:ln w="28575" cap="rnd">
                <a:solidFill>
                  <a:schemeClr val="accent1"/>
                </a:solidFill>
                <a:prstDash val="sysDot"/>
                <a:round/>
                <a:headEnd type="none" w="sm" len="sm"/>
                <a:tailEnd type="none" w="sm" len="sm"/>
              </a:ln>
            </p:spPr>
            <p:txBody>
              <a:bodyPr wrap="none" anchor="ctr"/>
              <a:lstStyle/>
              <a:p>
                <a:pPr algn="ctr">
                  <a:defRPr/>
                </a:pPr>
                <a:endParaRPr lang="en-US" sz="1400" dirty="0"/>
              </a:p>
            </p:txBody>
          </p:sp>
          <p:sp>
            <p:nvSpPr>
              <p:cNvPr id="8" name="Arc 6"/>
              <p:cNvSpPr>
                <a:spLocks/>
              </p:cNvSpPr>
              <p:nvPr/>
            </p:nvSpPr>
            <p:spPr bwMode="auto">
              <a:xfrm>
                <a:off x="3429483" y="2636838"/>
                <a:ext cx="1690205" cy="3048000"/>
              </a:xfrm>
              <a:custGeom>
                <a:avLst/>
                <a:gdLst>
                  <a:gd name="T0" fmla="*/ 0 w 28293"/>
                  <a:gd name="T1" fmla="*/ 2147483647 h 21600"/>
                  <a:gd name="T2" fmla="*/ 2147483647 w 28293"/>
                  <a:gd name="T3" fmla="*/ 2147483647 h 21600"/>
                  <a:gd name="T4" fmla="*/ 2147483647 w 28293"/>
                  <a:gd name="T5" fmla="*/ 2147483647 h 21600"/>
                  <a:gd name="T6" fmla="*/ 0 60000 65536"/>
                  <a:gd name="T7" fmla="*/ 0 60000 65536"/>
                  <a:gd name="T8" fmla="*/ 0 60000 65536"/>
                  <a:gd name="T9" fmla="*/ 0 w 28293"/>
                  <a:gd name="T10" fmla="*/ 0 h 21600"/>
                  <a:gd name="T11" fmla="*/ 28293 w 28293"/>
                  <a:gd name="T12" fmla="*/ 21600 h 21600"/>
                </a:gdLst>
                <a:ahLst/>
                <a:cxnLst>
                  <a:cxn ang="T6">
                    <a:pos x="T0" y="T1"/>
                  </a:cxn>
                  <a:cxn ang="T7">
                    <a:pos x="T2" y="T3"/>
                  </a:cxn>
                  <a:cxn ang="T8">
                    <a:pos x="T4" y="T5"/>
                  </a:cxn>
                </a:cxnLst>
                <a:rect l="T9" t="T10" r="T11" b="T12"/>
                <a:pathLst>
                  <a:path w="28293" h="21600" fill="none" extrusionOk="0">
                    <a:moveTo>
                      <a:pt x="0" y="21544"/>
                    </a:moveTo>
                    <a:cubicBezTo>
                      <a:pt x="30" y="9636"/>
                      <a:pt x="9692" y="-1"/>
                      <a:pt x="21600" y="0"/>
                    </a:cubicBezTo>
                    <a:cubicBezTo>
                      <a:pt x="23873" y="0"/>
                      <a:pt x="26131" y="358"/>
                      <a:pt x="28292" y="1063"/>
                    </a:cubicBezTo>
                  </a:path>
                  <a:path w="28293" h="21600" stroke="0" extrusionOk="0">
                    <a:moveTo>
                      <a:pt x="0" y="21544"/>
                    </a:moveTo>
                    <a:cubicBezTo>
                      <a:pt x="30" y="9636"/>
                      <a:pt x="9692" y="-1"/>
                      <a:pt x="21600" y="0"/>
                    </a:cubicBezTo>
                    <a:cubicBezTo>
                      <a:pt x="23873" y="0"/>
                      <a:pt x="26131" y="358"/>
                      <a:pt x="28292" y="1063"/>
                    </a:cubicBezTo>
                    <a:lnTo>
                      <a:pt x="21600" y="21600"/>
                    </a:lnTo>
                    <a:close/>
                  </a:path>
                </a:pathLst>
              </a:custGeom>
              <a:noFill/>
              <a:ln w="28575" cap="rnd">
                <a:solidFill>
                  <a:schemeClr val="accent1"/>
                </a:solidFill>
                <a:prstDash val="sysDot"/>
                <a:round/>
                <a:headEnd type="none" w="sm" len="sm"/>
                <a:tailEnd type="none" w="sm" len="sm"/>
              </a:ln>
            </p:spPr>
            <p:txBody>
              <a:bodyPr wrap="none" anchor="ctr"/>
              <a:lstStyle/>
              <a:p>
                <a:pPr algn="ctr">
                  <a:defRPr/>
                </a:pPr>
                <a:endParaRPr lang="en-US" sz="1400" dirty="0"/>
              </a:p>
            </p:txBody>
          </p:sp>
        </p:grpSp>
        <p:sp>
          <p:nvSpPr>
            <p:cNvPr id="9" name="Line 7"/>
            <p:cNvSpPr>
              <a:spLocks noChangeShapeType="1"/>
            </p:cNvSpPr>
            <p:nvPr/>
          </p:nvSpPr>
          <p:spPr bwMode="auto">
            <a:xfrm flipH="1">
              <a:off x="3860801" y="5462221"/>
              <a:ext cx="4640263" cy="0"/>
            </a:xfrm>
            <a:prstGeom prst="line">
              <a:avLst/>
            </a:prstGeom>
            <a:noFill/>
            <a:ln w="38100">
              <a:solidFill>
                <a:schemeClr val="tx1"/>
              </a:solidFill>
              <a:round/>
              <a:headEnd type="none" w="sm" len="sm"/>
              <a:tailEnd type="none" w="sm" len="sm"/>
            </a:ln>
          </p:spPr>
          <p:txBody>
            <a:bodyPr wrap="none" anchor="ctr"/>
            <a:lstStyle/>
            <a:p>
              <a:pPr>
                <a:defRPr/>
              </a:pPr>
              <a:endParaRPr lang="en-US" dirty="0"/>
            </a:p>
          </p:txBody>
        </p:sp>
      </p:grpSp>
      <p:sp>
        <p:nvSpPr>
          <p:cNvPr id="12" name="TextBox 11">
            <a:extLst>
              <a:ext uri="{FF2B5EF4-FFF2-40B4-BE49-F238E27FC236}">
                <a16:creationId xmlns:a16="http://schemas.microsoft.com/office/drawing/2014/main" id="{C9533D23-CBC4-4D51-B156-BB6639A048CC}"/>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104253722"/>
      </p:ext>
    </p:extLst>
  </p:cSld>
  <p:clrMapOvr>
    <a:masterClrMapping/>
  </p:clrMapOvr>
  <p:transition>
    <p:fade/>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5345" name="Title 1"/>
          <p:cNvSpPr>
            <a:spLocks noGrp="1"/>
          </p:cNvSpPr>
          <p:nvPr>
            <p:ph type="title"/>
          </p:nvPr>
        </p:nvSpPr>
        <p:spPr/>
        <p:txBody>
          <a:bodyPr/>
          <a:lstStyle/>
          <a:p>
            <a:r>
              <a:rPr lang="en-US" dirty="0"/>
              <a:t>Forces at work</a:t>
            </a:r>
          </a:p>
        </p:txBody>
      </p:sp>
      <p:grpSp>
        <p:nvGrpSpPr>
          <p:cNvPr id="2" name="Group 1">
            <a:extLst>
              <a:ext uri="{FF2B5EF4-FFF2-40B4-BE49-F238E27FC236}">
                <a16:creationId xmlns:a16="http://schemas.microsoft.com/office/drawing/2014/main" id="{BC4D1477-5306-4DB0-A626-C3A30CB71F2F}"/>
              </a:ext>
            </a:extLst>
          </p:cNvPr>
          <p:cNvGrpSpPr/>
          <p:nvPr/>
        </p:nvGrpSpPr>
        <p:grpSpPr>
          <a:xfrm>
            <a:off x="1933904" y="1355651"/>
            <a:ext cx="8086396" cy="5026099"/>
            <a:chOff x="2665945" y="2128014"/>
            <a:chExt cx="6682972" cy="4153801"/>
          </a:xfrm>
        </p:grpSpPr>
        <p:sp>
          <p:nvSpPr>
            <p:cNvPr id="5" name="Freeform 2"/>
            <p:cNvSpPr>
              <a:spLocks/>
            </p:cNvSpPr>
            <p:nvPr/>
          </p:nvSpPr>
          <p:spPr bwMode="blackWhite">
            <a:xfrm>
              <a:off x="4722813" y="3138853"/>
              <a:ext cx="2747962" cy="2170620"/>
            </a:xfrm>
            <a:custGeom>
              <a:avLst/>
              <a:gdLst>
                <a:gd name="T0" fmla="*/ 0 w 1749"/>
                <a:gd name="T1" fmla="*/ 0 h 1710"/>
                <a:gd name="T2" fmla="*/ 0 w 1749"/>
                <a:gd name="T3" fmla="*/ 2147483647 h 1710"/>
                <a:gd name="T4" fmla="*/ 2147483647 w 1749"/>
                <a:gd name="T5" fmla="*/ 2147483647 h 1710"/>
                <a:gd name="T6" fmla="*/ 0 w 1749"/>
                <a:gd name="T7" fmla="*/ 2147483647 h 1710"/>
                <a:gd name="T8" fmla="*/ 0 w 1749"/>
                <a:gd name="T9" fmla="*/ 2147483647 h 1710"/>
                <a:gd name="T10" fmla="*/ 2147483647 w 1749"/>
                <a:gd name="T11" fmla="*/ 2147483647 h 1710"/>
                <a:gd name="T12" fmla="*/ 2147483647 w 1749"/>
                <a:gd name="T13" fmla="*/ 0 h 1710"/>
                <a:gd name="T14" fmla="*/ 0 w 1749"/>
                <a:gd name="T15" fmla="*/ 0 h 1710"/>
                <a:gd name="T16" fmla="*/ 0 60000 65536"/>
                <a:gd name="T17" fmla="*/ 0 60000 65536"/>
                <a:gd name="T18" fmla="*/ 0 60000 65536"/>
                <a:gd name="T19" fmla="*/ 0 60000 65536"/>
                <a:gd name="T20" fmla="*/ 0 60000 65536"/>
                <a:gd name="T21" fmla="*/ 0 60000 65536"/>
                <a:gd name="T22" fmla="*/ 0 60000 65536"/>
                <a:gd name="T23" fmla="*/ 0 60000 65536"/>
                <a:gd name="T24" fmla="*/ 0 w 1749"/>
                <a:gd name="T25" fmla="*/ 0 h 1710"/>
                <a:gd name="T26" fmla="*/ 1749 w 1749"/>
                <a:gd name="T27" fmla="*/ 1710 h 17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49" h="1710">
                  <a:moveTo>
                    <a:pt x="0" y="0"/>
                  </a:moveTo>
                  <a:lnTo>
                    <a:pt x="0" y="352"/>
                  </a:lnTo>
                  <a:lnTo>
                    <a:pt x="299" y="853"/>
                  </a:lnTo>
                  <a:lnTo>
                    <a:pt x="0" y="1368"/>
                  </a:lnTo>
                  <a:lnTo>
                    <a:pt x="0" y="1708"/>
                  </a:lnTo>
                  <a:lnTo>
                    <a:pt x="1748" y="1710"/>
                  </a:lnTo>
                  <a:lnTo>
                    <a:pt x="1749" y="0"/>
                  </a:lnTo>
                  <a:lnTo>
                    <a:pt x="0" y="0"/>
                  </a:lnTo>
                </a:path>
              </a:pathLst>
            </a:custGeom>
            <a:solidFill>
              <a:schemeClr val="bg1"/>
            </a:solidFill>
            <a:ln w="9525" cap="rnd">
              <a:solidFill>
                <a:schemeClr val="tx1"/>
              </a:solidFill>
              <a:round/>
              <a:headEnd/>
              <a:tailEnd/>
            </a:ln>
          </p:spPr>
          <p:txBody>
            <a:bodyPr/>
            <a:lstStyle/>
            <a:p>
              <a:pPr>
                <a:defRPr/>
              </a:pPr>
              <a:endParaRPr lang="en-US" sz="1400" dirty="0">
                <a:solidFill>
                  <a:schemeClr val="tx2"/>
                </a:solidFill>
              </a:endParaRPr>
            </a:p>
          </p:txBody>
        </p:sp>
        <p:sp>
          <p:nvSpPr>
            <p:cNvPr id="6" name="AutoShape 3"/>
            <p:cNvSpPr>
              <a:spLocks noChangeArrowheads="1"/>
            </p:cNvSpPr>
            <p:nvPr/>
          </p:nvSpPr>
          <p:spPr bwMode="blackWhite">
            <a:xfrm>
              <a:off x="4202113" y="4003502"/>
              <a:ext cx="1008062" cy="441325"/>
            </a:xfrm>
            <a:prstGeom prst="rightArrow">
              <a:avLst>
                <a:gd name="adj1" fmla="val 48481"/>
                <a:gd name="adj2" fmla="val 73387"/>
              </a:avLst>
            </a:prstGeom>
            <a:solidFill>
              <a:schemeClr val="accent1"/>
            </a:solidFill>
            <a:ln w="12700">
              <a:noFill/>
              <a:miter lim="800000"/>
              <a:headEnd type="none" w="sm" len="sm"/>
              <a:tailEnd type="none" w="sm" len="sm"/>
            </a:ln>
          </p:spPr>
          <p:txBody>
            <a:bodyPr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8" name="AutoShape 5"/>
            <p:cNvSpPr>
              <a:spLocks noChangeArrowheads="1"/>
            </p:cNvSpPr>
            <p:nvPr/>
          </p:nvSpPr>
          <p:spPr bwMode="blackWhite">
            <a:xfrm rot="16200000" flipH="1">
              <a:off x="5955735" y="2890358"/>
              <a:ext cx="282119" cy="404812"/>
            </a:xfrm>
            <a:prstGeom prst="rightArrow">
              <a:avLst>
                <a:gd name="adj1" fmla="val 48481"/>
                <a:gd name="adj2" fmla="val 49389"/>
              </a:avLst>
            </a:prstGeom>
            <a:solidFill>
              <a:schemeClr val="tx2">
                <a:lumMod val="75000"/>
                <a:lumOff val="25000"/>
              </a:schemeClr>
            </a:solidFill>
            <a:ln w="12700">
              <a:noFill/>
              <a:miter lim="800000"/>
              <a:headEnd type="none" w="sm" len="sm"/>
              <a:tailEnd type="none" w="sm" len="sm"/>
            </a:ln>
          </p:spPr>
          <p:txBody>
            <a:bodyPr vert="eaVert"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9" name="AutoShape 6"/>
            <p:cNvSpPr>
              <a:spLocks noChangeArrowheads="1"/>
            </p:cNvSpPr>
            <p:nvPr/>
          </p:nvSpPr>
          <p:spPr bwMode="blackWhite">
            <a:xfrm rot="5400000" flipH="1" flipV="1">
              <a:off x="5955735" y="5173916"/>
              <a:ext cx="282119" cy="404812"/>
            </a:xfrm>
            <a:prstGeom prst="rightArrow">
              <a:avLst>
                <a:gd name="adj1" fmla="val 48481"/>
                <a:gd name="adj2" fmla="val 49389"/>
              </a:avLst>
            </a:prstGeom>
            <a:solidFill>
              <a:schemeClr val="tx2">
                <a:lumMod val="75000"/>
                <a:lumOff val="25000"/>
              </a:schemeClr>
            </a:solidFill>
            <a:ln w="12700">
              <a:noFill/>
              <a:miter lim="800000"/>
              <a:headEnd type="none" w="sm" len="sm"/>
              <a:tailEnd type="none" w="sm" len="sm"/>
            </a:ln>
          </p:spPr>
          <p:txBody>
            <a:bodyPr vert="eaVert"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23" name="Text Placeholder 5"/>
            <p:cNvSpPr txBox="1">
              <a:spLocks/>
            </p:cNvSpPr>
            <p:nvPr/>
          </p:nvSpPr>
          <p:spPr>
            <a:xfrm>
              <a:off x="5418411" y="2128014"/>
              <a:ext cx="2715305"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26" name="AutoShape 3"/>
            <p:cNvSpPr>
              <a:spLocks noChangeArrowheads="1"/>
            </p:cNvSpPr>
            <p:nvPr/>
          </p:nvSpPr>
          <p:spPr bwMode="blackWhite">
            <a:xfrm flipH="1">
              <a:off x="7211568" y="4003502"/>
              <a:ext cx="776732" cy="441325"/>
            </a:xfrm>
            <a:prstGeom prst="rightArrow">
              <a:avLst>
                <a:gd name="adj1" fmla="val 48481"/>
                <a:gd name="adj2" fmla="val 73387"/>
              </a:avLst>
            </a:prstGeom>
            <a:solidFill>
              <a:schemeClr val="tx2">
                <a:lumMod val="75000"/>
                <a:lumOff val="25000"/>
              </a:schemeClr>
            </a:solidFill>
            <a:ln w="12700">
              <a:noFill/>
              <a:miter lim="800000"/>
              <a:headEnd type="none" w="sm" len="sm"/>
              <a:tailEnd type="none" w="sm" len="sm"/>
            </a:ln>
          </p:spPr>
          <p:txBody>
            <a:bodyPr wrap="square" lIns="0" tIns="0" rIns="0" bIns="0" anchor="ctr">
              <a:spAutoFit/>
            </a:bodyPr>
            <a:lstStyle/>
            <a:p>
              <a:pPr algn="ctr">
                <a:buFont typeface="Wingdings 2" pitchFamily="18" charset="2"/>
                <a:buChar char="¡"/>
                <a:defRPr/>
              </a:pPr>
              <a:endParaRPr lang="en-US" sz="1400" dirty="0">
                <a:solidFill>
                  <a:schemeClr val="tx2"/>
                </a:solidFill>
              </a:endParaRPr>
            </a:p>
          </p:txBody>
        </p:sp>
        <p:sp>
          <p:nvSpPr>
            <p:cNvPr id="27" name="Text Placeholder 5"/>
            <p:cNvSpPr txBox="1">
              <a:spLocks/>
            </p:cNvSpPr>
            <p:nvPr/>
          </p:nvSpPr>
          <p:spPr>
            <a:xfrm>
              <a:off x="8042910" y="3893303"/>
              <a:ext cx="1306007" cy="54687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28" name="Text Placeholder 5"/>
            <p:cNvSpPr txBox="1">
              <a:spLocks/>
            </p:cNvSpPr>
            <p:nvPr/>
          </p:nvSpPr>
          <p:spPr>
            <a:xfrm>
              <a:off x="5418411" y="5604707"/>
              <a:ext cx="2715305"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29" name="Text Placeholder 5"/>
            <p:cNvSpPr txBox="1">
              <a:spLocks/>
            </p:cNvSpPr>
            <p:nvPr/>
          </p:nvSpPr>
          <p:spPr>
            <a:xfrm>
              <a:off x="5286058" y="3893303"/>
              <a:ext cx="1952943"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0" name="Text Placeholder 5"/>
            <p:cNvSpPr txBox="1">
              <a:spLocks/>
            </p:cNvSpPr>
            <p:nvPr/>
          </p:nvSpPr>
          <p:spPr>
            <a:xfrm>
              <a:off x="2665945" y="3893303"/>
              <a:ext cx="1522125" cy="54687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grpSp>
      <p:sp>
        <p:nvSpPr>
          <p:cNvPr id="15" name="TextBox 14">
            <a:extLst>
              <a:ext uri="{FF2B5EF4-FFF2-40B4-BE49-F238E27FC236}">
                <a16:creationId xmlns:a16="http://schemas.microsoft.com/office/drawing/2014/main" id="{52E3537E-ECB4-4A83-9CD7-629B495594D5}"/>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676774795"/>
      </p:ext>
    </p:extLst>
  </p:cSld>
  <p:clrMapOvr>
    <a:masterClrMapping/>
  </p:clrMapOvr>
  <p:transition>
    <p:fade/>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280580" name="Title 1"/>
          <p:cNvSpPr>
            <a:spLocks noGrp="1"/>
          </p:cNvSpPr>
          <p:nvPr>
            <p:ph type="title"/>
          </p:nvPr>
        </p:nvSpPr>
        <p:spPr/>
        <p:txBody>
          <a:bodyPr/>
          <a:lstStyle/>
          <a:p>
            <a:r>
              <a:rPr lang="en-US" dirty="0"/>
              <a:t>Force</a:t>
            </a:r>
            <a:r>
              <a:rPr lang="en-US" altLang="ja-JP" dirty="0"/>
              <a:t>d</a:t>
            </a:r>
            <a:endParaRPr lang="en-US" dirty="0"/>
          </a:p>
        </p:txBody>
      </p:sp>
      <p:sp>
        <p:nvSpPr>
          <p:cNvPr id="16" name="Text Placeholder 12"/>
          <p:cNvSpPr>
            <a:spLocks/>
          </p:cNvSpPr>
          <p:nvPr/>
        </p:nvSpPr>
        <p:spPr bwMode="auto">
          <a:xfrm>
            <a:off x="5864024" y="3927656"/>
            <a:ext cx="469010" cy="276999"/>
          </a:xfrm>
          <a:prstGeom prst="rect">
            <a:avLst/>
          </a:prstGeom>
          <a:noFill/>
          <a:ln w="9525">
            <a:noFill/>
            <a:miter lim="800000"/>
            <a:headEnd/>
            <a:tailEnd/>
          </a:ln>
        </p:spPr>
        <p:txBody>
          <a:bodyPr wrap="square" lIns="0" tIns="0" rIns="0" bIns="0" anchor="ctr" anchorCtr="0">
            <a:spAutoFit/>
          </a:bodyPr>
          <a:lstStyle/>
          <a:p>
            <a:pPr algn="ctr" defTabSz="1019175">
              <a:spcAft>
                <a:spcPts val="300"/>
              </a:spcAft>
            </a:pPr>
            <a:r>
              <a:rPr lang="en-US" dirty="0"/>
              <a:t>Text</a:t>
            </a:r>
          </a:p>
        </p:txBody>
      </p:sp>
      <p:sp>
        <p:nvSpPr>
          <p:cNvPr id="17" name="Freeform 3"/>
          <p:cNvSpPr>
            <a:spLocks/>
          </p:cNvSpPr>
          <p:nvPr/>
        </p:nvSpPr>
        <p:spPr bwMode="blackWhite">
          <a:xfrm>
            <a:off x="6424760" y="2371500"/>
            <a:ext cx="1446212" cy="1373187"/>
          </a:xfrm>
          <a:custGeom>
            <a:avLst/>
            <a:gdLst>
              <a:gd name="T0" fmla="*/ 2147483647 w 671"/>
              <a:gd name="T1" fmla="*/ 2147483647 h 658"/>
              <a:gd name="T2" fmla="*/ 2147483647 w 671"/>
              <a:gd name="T3" fmla="*/ 2147483647 h 658"/>
              <a:gd name="T4" fmla="*/ 0 w 671"/>
              <a:gd name="T5" fmla="*/ 2147483647 h 658"/>
              <a:gd name="T6" fmla="*/ 0 w 671"/>
              <a:gd name="T7" fmla="*/ 2147483647 h 658"/>
              <a:gd name="T8" fmla="*/ 2147483647 w 671"/>
              <a:gd name="T9" fmla="*/ 2147483647 h 658"/>
              <a:gd name="T10" fmla="*/ 2147483647 w 671"/>
              <a:gd name="T11" fmla="*/ 2147483647 h 658"/>
              <a:gd name="T12" fmla="*/ 2147483647 w 671"/>
              <a:gd name="T13" fmla="*/ 0 h 658"/>
              <a:gd name="T14" fmla="*/ 2147483647 w 671"/>
              <a:gd name="T15" fmla="*/ 2147483647 h 658"/>
              <a:gd name="T16" fmla="*/ 2147483647 w 671"/>
              <a:gd name="T17" fmla="*/ 2147483647 h 658"/>
              <a:gd name="T18" fmla="*/ 2147483647 w 671"/>
              <a:gd name="T19" fmla="*/ 2147483647 h 658"/>
              <a:gd name="T20" fmla="*/ 2147483647 w 671"/>
              <a:gd name="T21" fmla="*/ 2147483647 h 658"/>
              <a:gd name="T22" fmla="*/ 2147483647 w 671"/>
              <a:gd name="T23" fmla="*/ 2147483647 h 6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1"/>
              <a:gd name="T37" fmla="*/ 0 h 658"/>
              <a:gd name="T38" fmla="*/ 671 w 671"/>
              <a:gd name="T39" fmla="*/ 658 h 6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1" h="658">
                <a:moveTo>
                  <a:pt x="491" y="578"/>
                </a:moveTo>
                <a:lnTo>
                  <a:pt x="491" y="657"/>
                </a:lnTo>
                <a:lnTo>
                  <a:pt x="0" y="657"/>
                </a:lnTo>
                <a:lnTo>
                  <a:pt x="0" y="166"/>
                </a:lnTo>
                <a:lnTo>
                  <a:pt x="95" y="166"/>
                </a:lnTo>
                <a:lnTo>
                  <a:pt x="95" y="506"/>
                </a:lnTo>
                <a:lnTo>
                  <a:pt x="602" y="0"/>
                </a:lnTo>
                <a:lnTo>
                  <a:pt x="670" y="63"/>
                </a:lnTo>
                <a:lnTo>
                  <a:pt x="166" y="570"/>
                </a:lnTo>
                <a:lnTo>
                  <a:pt x="491" y="570"/>
                </a:lnTo>
                <a:lnTo>
                  <a:pt x="491" y="657"/>
                </a:lnTo>
                <a:lnTo>
                  <a:pt x="491" y="578"/>
                </a:lnTo>
              </a:path>
            </a:pathLst>
          </a:custGeom>
          <a:solidFill>
            <a:schemeClr val="accent3"/>
          </a:solidFill>
          <a:ln w="12700" cap="rnd">
            <a:solidFill>
              <a:schemeClr val="bg1"/>
            </a:solidFill>
            <a:round/>
            <a:headEnd/>
            <a:tailEnd/>
          </a:ln>
        </p:spPr>
        <p:txBody>
          <a:bodyPr lIns="36000" tIns="36000" rIns="36000" bIns="36000"/>
          <a:lstStyle/>
          <a:p>
            <a:endParaRPr lang="en-US" dirty="0"/>
          </a:p>
        </p:txBody>
      </p:sp>
      <p:sp>
        <p:nvSpPr>
          <p:cNvPr id="18" name="Freeform 4"/>
          <p:cNvSpPr>
            <a:spLocks/>
          </p:cNvSpPr>
          <p:nvPr/>
        </p:nvSpPr>
        <p:spPr bwMode="blackWhite">
          <a:xfrm>
            <a:off x="6424760" y="4387624"/>
            <a:ext cx="1454150" cy="1389062"/>
          </a:xfrm>
          <a:custGeom>
            <a:avLst/>
            <a:gdLst>
              <a:gd name="T0" fmla="*/ 2147483647 w 674"/>
              <a:gd name="T1" fmla="*/ 2147483647 h 666"/>
              <a:gd name="T2" fmla="*/ 2147483647 w 674"/>
              <a:gd name="T3" fmla="*/ 0 h 666"/>
              <a:gd name="T4" fmla="*/ 0 w 674"/>
              <a:gd name="T5" fmla="*/ 0 h 666"/>
              <a:gd name="T6" fmla="*/ 0 w 674"/>
              <a:gd name="T7" fmla="*/ 2147483647 h 666"/>
              <a:gd name="T8" fmla="*/ 2147483647 w 674"/>
              <a:gd name="T9" fmla="*/ 2147483647 h 666"/>
              <a:gd name="T10" fmla="*/ 2147483647 w 674"/>
              <a:gd name="T11" fmla="*/ 2147483647 h 666"/>
              <a:gd name="T12" fmla="*/ 2147483647 w 674"/>
              <a:gd name="T13" fmla="*/ 2147483647 h 666"/>
              <a:gd name="T14" fmla="*/ 2147483647 w 674"/>
              <a:gd name="T15" fmla="*/ 2147483647 h 666"/>
              <a:gd name="T16" fmla="*/ 2147483647 w 674"/>
              <a:gd name="T17" fmla="*/ 2147483647 h 666"/>
              <a:gd name="T18" fmla="*/ 2147483647 w 674"/>
              <a:gd name="T19" fmla="*/ 2147483647 h 666"/>
              <a:gd name="T20" fmla="*/ 2147483647 w 674"/>
              <a:gd name="T21" fmla="*/ 0 h 666"/>
              <a:gd name="T22" fmla="*/ 2147483647 w 674"/>
              <a:gd name="T23" fmla="*/ 2147483647 h 6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4"/>
              <a:gd name="T37" fmla="*/ 0 h 666"/>
              <a:gd name="T38" fmla="*/ 674 w 674"/>
              <a:gd name="T39" fmla="*/ 666 h 6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4" h="666">
                <a:moveTo>
                  <a:pt x="491" y="79"/>
                </a:moveTo>
                <a:lnTo>
                  <a:pt x="491" y="0"/>
                </a:lnTo>
                <a:lnTo>
                  <a:pt x="0" y="0"/>
                </a:lnTo>
                <a:lnTo>
                  <a:pt x="0" y="491"/>
                </a:lnTo>
                <a:lnTo>
                  <a:pt x="95" y="491"/>
                </a:lnTo>
                <a:lnTo>
                  <a:pt x="95" y="159"/>
                </a:lnTo>
                <a:lnTo>
                  <a:pt x="602" y="665"/>
                </a:lnTo>
                <a:lnTo>
                  <a:pt x="673" y="594"/>
                </a:lnTo>
                <a:lnTo>
                  <a:pt x="174" y="95"/>
                </a:lnTo>
                <a:lnTo>
                  <a:pt x="491" y="95"/>
                </a:lnTo>
                <a:lnTo>
                  <a:pt x="491" y="0"/>
                </a:lnTo>
                <a:lnTo>
                  <a:pt x="491" y="79"/>
                </a:lnTo>
              </a:path>
            </a:pathLst>
          </a:custGeom>
          <a:solidFill>
            <a:schemeClr val="accent3"/>
          </a:solidFill>
          <a:ln w="12700" cap="rnd">
            <a:solidFill>
              <a:schemeClr val="bg1"/>
            </a:solidFill>
            <a:round/>
            <a:headEnd/>
            <a:tailEnd/>
          </a:ln>
        </p:spPr>
        <p:txBody>
          <a:bodyPr lIns="36000" tIns="36000" rIns="36000" bIns="36000"/>
          <a:lstStyle/>
          <a:p>
            <a:endParaRPr lang="en-US" dirty="0"/>
          </a:p>
        </p:txBody>
      </p:sp>
      <p:sp>
        <p:nvSpPr>
          <p:cNvPr id="19" name="Freeform 5"/>
          <p:cNvSpPr>
            <a:spLocks/>
          </p:cNvSpPr>
          <p:nvPr/>
        </p:nvSpPr>
        <p:spPr bwMode="blackWhite">
          <a:xfrm>
            <a:off x="4307035" y="4387624"/>
            <a:ext cx="1465262" cy="1403350"/>
          </a:xfrm>
          <a:custGeom>
            <a:avLst/>
            <a:gdLst>
              <a:gd name="T0" fmla="*/ 2147483647 w 680"/>
              <a:gd name="T1" fmla="*/ 2147483647 h 672"/>
              <a:gd name="T2" fmla="*/ 2147483647 w 680"/>
              <a:gd name="T3" fmla="*/ 0 h 672"/>
              <a:gd name="T4" fmla="*/ 2147483647 w 680"/>
              <a:gd name="T5" fmla="*/ 0 h 672"/>
              <a:gd name="T6" fmla="*/ 2147483647 w 680"/>
              <a:gd name="T7" fmla="*/ 2147483647 h 672"/>
              <a:gd name="T8" fmla="*/ 2147483647 w 680"/>
              <a:gd name="T9" fmla="*/ 2147483647 h 672"/>
              <a:gd name="T10" fmla="*/ 2147483647 w 680"/>
              <a:gd name="T11" fmla="*/ 2147483647 h 672"/>
              <a:gd name="T12" fmla="*/ 2147483647 w 680"/>
              <a:gd name="T13" fmla="*/ 2147483647 h 672"/>
              <a:gd name="T14" fmla="*/ 0 w 680"/>
              <a:gd name="T15" fmla="*/ 2147483647 h 672"/>
              <a:gd name="T16" fmla="*/ 2147483647 w 680"/>
              <a:gd name="T17" fmla="*/ 2147483647 h 672"/>
              <a:gd name="T18" fmla="*/ 2147483647 w 680"/>
              <a:gd name="T19" fmla="*/ 2147483647 h 672"/>
              <a:gd name="T20" fmla="*/ 2147483647 w 680"/>
              <a:gd name="T21" fmla="*/ 0 h 6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72"/>
              <a:gd name="T35" fmla="*/ 680 w 680"/>
              <a:gd name="T36" fmla="*/ 672 h 6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72">
                <a:moveTo>
                  <a:pt x="184" y="80"/>
                </a:moveTo>
                <a:lnTo>
                  <a:pt x="184" y="0"/>
                </a:lnTo>
                <a:lnTo>
                  <a:pt x="679" y="0"/>
                </a:lnTo>
                <a:lnTo>
                  <a:pt x="679" y="495"/>
                </a:lnTo>
                <a:lnTo>
                  <a:pt x="583" y="495"/>
                </a:lnTo>
                <a:lnTo>
                  <a:pt x="583" y="160"/>
                </a:lnTo>
                <a:lnTo>
                  <a:pt x="72" y="671"/>
                </a:lnTo>
                <a:lnTo>
                  <a:pt x="0" y="599"/>
                </a:lnTo>
                <a:lnTo>
                  <a:pt x="503" y="96"/>
                </a:lnTo>
                <a:lnTo>
                  <a:pt x="184" y="96"/>
                </a:lnTo>
                <a:lnTo>
                  <a:pt x="184" y="0"/>
                </a:lnTo>
              </a:path>
            </a:pathLst>
          </a:custGeom>
          <a:solidFill>
            <a:schemeClr val="accent3"/>
          </a:solidFill>
          <a:ln w="12700" cap="rnd">
            <a:solidFill>
              <a:schemeClr val="bg1"/>
            </a:solidFill>
            <a:round/>
            <a:headEnd type="none" w="sm" len="sm"/>
            <a:tailEnd type="none" w="sm" len="sm"/>
          </a:ln>
        </p:spPr>
        <p:txBody>
          <a:bodyPr lIns="36000" tIns="36000" rIns="36000" bIns="36000"/>
          <a:lstStyle/>
          <a:p>
            <a:endParaRPr lang="en-US" dirty="0"/>
          </a:p>
        </p:txBody>
      </p:sp>
      <p:sp>
        <p:nvSpPr>
          <p:cNvPr id="20" name="Freeform 6"/>
          <p:cNvSpPr>
            <a:spLocks/>
          </p:cNvSpPr>
          <p:nvPr/>
        </p:nvSpPr>
        <p:spPr bwMode="blackWhite">
          <a:xfrm>
            <a:off x="4307035" y="2358800"/>
            <a:ext cx="1465262" cy="1385887"/>
          </a:xfrm>
          <a:custGeom>
            <a:avLst/>
            <a:gdLst>
              <a:gd name="T0" fmla="*/ 2147483647 w 680"/>
              <a:gd name="T1" fmla="*/ 2147483647 h 664"/>
              <a:gd name="T2" fmla="*/ 2147483647 w 680"/>
              <a:gd name="T3" fmla="*/ 2147483647 h 664"/>
              <a:gd name="T4" fmla="*/ 2147483647 w 680"/>
              <a:gd name="T5" fmla="*/ 2147483647 h 664"/>
              <a:gd name="T6" fmla="*/ 2147483647 w 680"/>
              <a:gd name="T7" fmla="*/ 2147483647 h 664"/>
              <a:gd name="T8" fmla="*/ 2147483647 w 680"/>
              <a:gd name="T9" fmla="*/ 2147483647 h 664"/>
              <a:gd name="T10" fmla="*/ 2147483647 w 680"/>
              <a:gd name="T11" fmla="*/ 2147483647 h 664"/>
              <a:gd name="T12" fmla="*/ 2147483647 w 680"/>
              <a:gd name="T13" fmla="*/ 0 h 664"/>
              <a:gd name="T14" fmla="*/ 0 w 680"/>
              <a:gd name="T15" fmla="*/ 2147483647 h 664"/>
              <a:gd name="T16" fmla="*/ 2147483647 w 680"/>
              <a:gd name="T17" fmla="*/ 2147483647 h 664"/>
              <a:gd name="T18" fmla="*/ 2147483647 w 680"/>
              <a:gd name="T19" fmla="*/ 2147483647 h 664"/>
              <a:gd name="T20" fmla="*/ 2147483647 w 680"/>
              <a:gd name="T21" fmla="*/ 2147483647 h 6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64"/>
              <a:gd name="T35" fmla="*/ 680 w 680"/>
              <a:gd name="T36" fmla="*/ 664 h 6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64">
                <a:moveTo>
                  <a:pt x="184" y="583"/>
                </a:moveTo>
                <a:lnTo>
                  <a:pt x="184" y="663"/>
                </a:lnTo>
                <a:lnTo>
                  <a:pt x="679" y="663"/>
                </a:lnTo>
                <a:lnTo>
                  <a:pt x="679" y="168"/>
                </a:lnTo>
                <a:lnTo>
                  <a:pt x="583" y="168"/>
                </a:lnTo>
                <a:lnTo>
                  <a:pt x="583" y="511"/>
                </a:lnTo>
                <a:lnTo>
                  <a:pt x="72" y="0"/>
                </a:lnTo>
                <a:lnTo>
                  <a:pt x="0" y="72"/>
                </a:lnTo>
                <a:lnTo>
                  <a:pt x="511" y="575"/>
                </a:lnTo>
                <a:lnTo>
                  <a:pt x="184" y="575"/>
                </a:lnTo>
                <a:lnTo>
                  <a:pt x="184" y="663"/>
                </a:lnTo>
              </a:path>
            </a:pathLst>
          </a:custGeom>
          <a:solidFill>
            <a:schemeClr val="accent3"/>
          </a:solidFill>
          <a:ln w="12700" cap="rnd">
            <a:solidFill>
              <a:schemeClr val="bg1"/>
            </a:solidFill>
            <a:round/>
            <a:headEnd type="none" w="sm" len="sm"/>
            <a:tailEnd type="none" w="sm" len="sm"/>
          </a:ln>
        </p:spPr>
        <p:txBody>
          <a:bodyPr lIns="36000" tIns="36000" rIns="36000" bIns="36000"/>
          <a:lstStyle/>
          <a:p>
            <a:endParaRPr lang="en-US" dirty="0"/>
          </a:p>
        </p:txBody>
      </p:sp>
      <p:sp>
        <p:nvSpPr>
          <p:cNvPr id="32" name="Text Placeholder 5"/>
          <p:cNvSpPr txBox="1">
            <a:spLocks/>
          </p:cNvSpPr>
          <p:nvPr/>
        </p:nvSpPr>
        <p:spPr>
          <a:xfrm>
            <a:off x="7992191" y="2310546"/>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3" name="Text Placeholder 5"/>
          <p:cNvSpPr txBox="1">
            <a:spLocks/>
          </p:cNvSpPr>
          <p:nvPr/>
        </p:nvSpPr>
        <p:spPr>
          <a:xfrm>
            <a:off x="1931761" y="5119402"/>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4" name="Text Placeholder 5"/>
          <p:cNvSpPr txBox="1">
            <a:spLocks/>
          </p:cNvSpPr>
          <p:nvPr/>
        </p:nvSpPr>
        <p:spPr>
          <a:xfrm>
            <a:off x="7992191" y="5119402"/>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35" name="Text Placeholder 5"/>
          <p:cNvSpPr txBox="1">
            <a:spLocks/>
          </p:cNvSpPr>
          <p:nvPr/>
        </p:nvSpPr>
        <p:spPr>
          <a:xfrm>
            <a:off x="1931761" y="2310546"/>
            <a:ext cx="2377440" cy="6771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0"/>
              </a:spcBef>
              <a:spcAft>
                <a:spcPts val="600"/>
              </a:spcAft>
              <a:buSzPct val="100000"/>
              <a:buFont typeface="Arial"/>
              <a:buChar char="•"/>
            </a:pPr>
            <a:r>
              <a:rPr lang="en-US" sz="1100" dirty="0">
                <a:solidFill>
                  <a:schemeClr val="tx1"/>
                </a:solidFill>
              </a:rPr>
              <a:t>Level 1 bullet</a:t>
            </a:r>
          </a:p>
          <a:p>
            <a:pPr marL="254000" lvl="2" indent="-114300">
              <a:spcBef>
                <a:spcPts val="0"/>
              </a:spcBef>
              <a:spcAft>
                <a:spcPts val="600"/>
              </a:spcAft>
              <a:buSzPct val="100000"/>
              <a:buFont typeface="Arial"/>
              <a:buChar char="−"/>
            </a:pPr>
            <a:r>
              <a:rPr lang="en-US" sz="1100" dirty="0">
                <a:solidFill>
                  <a:schemeClr val="tx1"/>
                </a:solidFill>
              </a:rPr>
              <a:t>Level 2 bullet</a:t>
            </a:r>
          </a:p>
          <a:p>
            <a:pPr marL="532800" lvl="4" indent="-176400" defTabSz="798513">
              <a:spcBef>
                <a:spcPts val="0"/>
              </a:spcBef>
              <a:spcAft>
                <a:spcPts val="600"/>
              </a:spcAft>
              <a:buSzPct val="100000"/>
              <a:buFont typeface="Verdana" panose="020B0604030504040204" pitchFamily="34" charset="0"/>
              <a:buChar char="−"/>
            </a:pPr>
            <a:r>
              <a:rPr lang="en-US" sz="1100" dirty="0">
                <a:solidFill>
                  <a:schemeClr val="tx1"/>
                </a:solidFill>
                <a:ea typeface="+mn-ea"/>
                <a:cs typeface="+mn-cs"/>
              </a:rPr>
              <a:t>Level 3 bullet</a:t>
            </a:r>
          </a:p>
        </p:txBody>
      </p:sp>
      <p:sp>
        <p:nvSpPr>
          <p:cNvPr id="15" name="TextBox 14">
            <a:extLst>
              <a:ext uri="{FF2B5EF4-FFF2-40B4-BE49-F238E27FC236}">
                <a16:creationId xmlns:a16="http://schemas.microsoft.com/office/drawing/2014/main" id="{13612576-26E5-4F55-87C9-7725AFE77E1A}"/>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806947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dirty="0">
                <a:solidFill>
                  <a:schemeClr val="bg1"/>
                </a:solidFill>
              </a:rPr>
              <a:t>Contents</a:t>
            </a:r>
          </a:p>
        </p:txBody>
      </p:sp>
      <p:sp>
        <p:nvSpPr>
          <p:cNvPr id="2" name="Rectangle 1">
            <a:hlinkClick r:id="rId3" action="ppaction://hlinksldjump"/>
            <a:extLst>
              <a:ext uri="{FF2B5EF4-FFF2-40B4-BE49-F238E27FC236}">
                <a16:creationId xmlns:a16="http://schemas.microsoft.com/office/drawing/2014/main" id="{29AAFBA2-FC8F-4650-86AD-46C95B937B46}"/>
              </a:ext>
            </a:extLst>
          </p:cNvPr>
          <p:cNvSpPr/>
          <p:nvPr/>
        </p:nvSpPr>
        <p:spPr bwMode="gray">
          <a:xfrm>
            <a:off x="528000" y="3265714"/>
            <a:ext cx="1371600" cy="217924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4000" dirty="0"/>
              <a:t>3</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Tables and structured text</a:t>
            </a:r>
          </a:p>
        </p:txBody>
      </p:sp>
      <p:sp>
        <p:nvSpPr>
          <p:cNvPr id="5" name="Rectangle 4">
            <a:hlinkClick r:id="rId4" action="ppaction://hlinksldjump"/>
            <a:extLst>
              <a:ext uri="{FF2B5EF4-FFF2-40B4-BE49-F238E27FC236}">
                <a16:creationId xmlns:a16="http://schemas.microsoft.com/office/drawing/2014/main" id="{A8955FF1-0CD5-4A56-BCD3-08FD69929E07}"/>
              </a:ext>
            </a:extLst>
          </p:cNvPr>
          <p:cNvSpPr/>
          <p:nvPr/>
        </p:nvSpPr>
        <p:spPr bwMode="gray">
          <a:xfrm>
            <a:off x="2155400" y="3265714"/>
            <a:ext cx="1371600" cy="2179246"/>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pPr>
            <a:r>
              <a:rPr lang="en-US" sz="4000" dirty="0"/>
              <a:t>51</a:t>
            </a:r>
          </a:p>
          <a:p>
            <a:pPr algn="ctr">
              <a:lnSpc>
                <a:spcPct val="106000"/>
              </a:lnSpc>
            </a:pPr>
            <a:endParaRPr lang="en-US" dirty="0"/>
          </a:p>
          <a:p>
            <a:pPr algn="ctr">
              <a:lnSpc>
                <a:spcPct val="106000"/>
              </a:lnSpc>
            </a:pPr>
            <a:r>
              <a:rPr lang="en-US" dirty="0"/>
              <a:t>Charts and graphs</a:t>
            </a:r>
          </a:p>
          <a:p>
            <a:pPr algn="ctr">
              <a:lnSpc>
                <a:spcPct val="106000"/>
              </a:lnSpc>
            </a:pPr>
            <a:endParaRPr lang="en-US" dirty="0"/>
          </a:p>
        </p:txBody>
      </p:sp>
      <p:sp>
        <p:nvSpPr>
          <p:cNvPr id="6" name="Rectangle 5">
            <a:hlinkClick r:id="rId5" action="ppaction://hlinksldjump"/>
            <a:extLst>
              <a:ext uri="{FF2B5EF4-FFF2-40B4-BE49-F238E27FC236}">
                <a16:creationId xmlns:a16="http://schemas.microsoft.com/office/drawing/2014/main" id="{C41F7D27-8EDD-4566-9BA4-EB0FE55BC221}"/>
              </a:ext>
            </a:extLst>
          </p:cNvPr>
          <p:cNvSpPr/>
          <p:nvPr/>
        </p:nvSpPr>
        <p:spPr bwMode="gray">
          <a:xfrm>
            <a:off x="3782800" y="3265714"/>
            <a:ext cx="1371600" cy="2179246"/>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r>
              <a:rPr lang="en-US" sz="4000" dirty="0"/>
              <a:t>110</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Diagrams</a:t>
            </a:r>
          </a:p>
          <a:p>
            <a:pPr algn="ctr">
              <a:lnSpc>
                <a:spcPct val="106000"/>
              </a:lnSpc>
              <a:buFont typeface="Wingdings 2" pitchFamily="18" charset="2"/>
              <a:buNone/>
            </a:pPr>
            <a:endParaRPr lang="en-US" dirty="0"/>
          </a:p>
          <a:p>
            <a:pPr algn="ctr">
              <a:lnSpc>
                <a:spcPct val="106000"/>
              </a:lnSpc>
              <a:buFont typeface="Wingdings 2" pitchFamily="18" charset="2"/>
              <a:buNone/>
            </a:pPr>
            <a:endParaRPr lang="en-US" dirty="0"/>
          </a:p>
        </p:txBody>
      </p:sp>
      <p:sp>
        <p:nvSpPr>
          <p:cNvPr id="7" name="Rectangle 6">
            <a:hlinkClick r:id="rId6" action="ppaction://hlinksldjump"/>
            <a:extLst>
              <a:ext uri="{FF2B5EF4-FFF2-40B4-BE49-F238E27FC236}">
                <a16:creationId xmlns:a16="http://schemas.microsoft.com/office/drawing/2014/main" id="{B35E0EB8-22CF-4E45-AEA0-02D21C8467F4}"/>
              </a:ext>
            </a:extLst>
          </p:cNvPr>
          <p:cNvSpPr/>
          <p:nvPr/>
        </p:nvSpPr>
        <p:spPr bwMode="gray">
          <a:xfrm>
            <a:off x="5410200" y="3265714"/>
            <a:ext cx="1371600" cy="2179246"/>
          </a:xfrm>
          <a:prstGeom prst="rect">
            <a:avLst/>
          </a:prstGeom>
          <a:solidFill>
            <a:srgbClr val="C4D600"/>
          </a:solidFill>
          <a:ln w="19050" algn="ctr">
            <a:noFill/>
            <a:miter lim="800000"/>
            <a:headEnd/>
            <a:tailEnd/>
          </a:ln>
        </p:spPr>
        <p:txBody>
          <a:bodyPr wrap="square" lIns="88900" tIns="88900" rIns="88900" bIns="88900" rtlCol="0" anchor="ctr"/>
          <a:lstStyle/>
          <a:p>
            <a:pPr algn="ctr">
              <a:lnSpc>
                <a:spcPct val="106000"/>
              </a:lnSpc>
            </a:pPr>
            <a:r>
              <a:rPr lang="en-US" sz="4000" dirty="0"/>
              <a:t>210</a:t>
            </a:r>
            <a:endParaRPr lang="en-US" dirty="0"/>
          </a:p>
          <a:p>
            <a:pPr algn="ctr">
              <a:lnSpc>
                <a:spcPct val="106000"/>
              </a:lnSpc>
              <a:buFont typeface="Wingdings 2" pitchFamily="18" charset="2"/>
              <a:buNone/>
            </a:pPr>
            <a:r>
              <a:rPr lang="en-US" dirty="0"/>
              <a:t>Illustrative graphics, charts and diagrams</a:t>
            </a:r>
          </a:p>
        </p:txBody>
      </p:sp>
      <p:sp>
        <p:nvSpPr>
          <p:cNvPr id="9" name="Rectangle 8">
            <a:hlinkClick r:id="rId7" action="ppaction://hlinksldjump"/>
            <a:extLst>
              <a:ext uri="{FF2B5EF4-FFF2-40B4-BE49-F238E27FC236}">
                <a16:creationId xmlns:a16="http://schemas.microsoft.com/office/drawing/2014/main" id="{2C6BE2B8-370E-4B27-8AD2-EB5751308E8B}"/>
              </a:ext>
            </a:extLst>
          </p:cNvPr>
          <p:cNvSpPr/>
          <p:nvPr/>
        </p:nvSpPr>
        <p:spPr bwMode="gray">
          <a:xfrm>
            <a:off x="7037600" y="3265714"/>
            <a:ext cx="1371600" cy="2179246"/>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pPr>
            <a:r>
              <a:rPr lang="en-US" sz="4000" dirty="0"/>
              <a:t>291</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Animations</a:t>
            </a:r>
          </a:p>
          <a:p>
            <a:pPr algn="ctr">
              <a:lnSpc>
                <a:spcPct val="106000"/>
              </a:lnSpc>
              <a:buFont typeface="Wingdings 2" pitchFamily="18" charset="2"/>
              <a:buNone/>
            </a:pPr>
            <a:endParaRPr lang="en-US" dirty="0"/>
          </a:p>
          <a:p>
            <a:pPr algn="ctr">
              <a:lnSpc>
                <a:spcPct val="106000"/>
              </a:lnSpc>
              <a:buFont typeface="Wingdings 2" pitchFamily="18" charset="2"/>
              <a:buNone/>
            </a:pPr>
            <a:endParaRPr lang="en-US" dirty="0"/>
          </a:p>
        </p:txBody>
      </p:sp>
      <p:sp>
        <p:nvSpPr>
          <p:cNvPr id="10" name="Rectangle 9">
            <a:hlinkClick r:id="rId8" action="ppaction://hlinksldjump"/>
            <a:extLst>
              <a:ext uri="{FF2B5EF4-FFF2-40B4-BE49-F238E27FC236}">
                <a16:creationId xmlns:a16="http://schemas.microsoft.com/office/drawing/2014/main" id="{6C839582-0F66-44BB-8E97-F79AE635E472}"/>
              </a:ext>
            </a:extLst>
          </p:cNvPr>
          <p:cNvSpPr/>
          <p:nvPr/>
        </p:nvSpPr>
        <p:spPr bwMode="gray">
          <a:xfrm>
            <a:off x="8665000" y="3265714"/>
            <a:ext cx="1371600" cy="2179246"/>
          </a:xfrm>
          <a:prstGeom prst="rect">
            <a:avLst/>
          </a:prstGeom>
          <a:solidFill>
            <a:srgbClr val="6FC2B4"/>
          </a:solidFill>
          <a:ln w="19050" algn="ctr">
            <a:noFill/>
            <a:miter lim="800000"/>
            <a:headEnd/>
            <a:tailEnd/>
          </a:ln>
        </p:spPr>
        <p:txBody>
          <a:bodyPr wrap="square" lIns="88900" tIns="88900" rIns="88900" bIns="88900" rtlCol="0" anchor="ctr"/>
          <a:lstStyle/>
          <a:p>
            <a:pPr algn="ctr">
              <a:lnSpc>
                <a:spcPct val="106000"/>
              </a:lnSpc>
            </a:pPr>
            <a:r>
              <a:rPr lang="en-US" sz="4000" dirty="0"/>
              <a:t>295</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Iconography</a:t>
            </a:r>
          </a:p>
          <a:p>
            <a:pPr algn="ctr">
              <a:lnSpc>
                <a:spcPct val="106000"/>
              </a:lnSpc>
              <a:buFont typeface="Wingdings 2" pitchFamily="18" charset="2"/>
              <a:buNone/>
            </a:pPr>
            <a:endParaRPr lang="en-US" dirty="0"/>
          </a:p>
          <a:p>
            <a:pPr algn="ctr">
              <a:lnSpc>
                <a:spcPct val="106000"/>
              </a:lnSpc>
              <a:buFont typeface="Wingdings 2" pitchFamily="18" charset="2"/>
              <a:buNone/>
            </a:pPr>
            <a:endParaRPr lang="en-US" dirty="0"/>
          </a:p>
        </p:txBody>
      </p:sp>
      <p:sp>
        <p:nvSpPr>
          <p:cNvPr id="11" name="Rectangle 10">
            <a:hlinkClick r:id="rId9" action="ppaction://hlinksldjump"/>
            <a:extLst>
              <a:ext uri="{FF2B5EF4-FFF2-40B4-BE49-F238E27FC236}">
                <a16:creationId xmlns:a16="http://schemas.microsoft.com/office/drawing/2014/main" id="{B6878C4C-3FAB-4BB8-A1F3-3C7F004303F2}"/>
              </a:ext>
            </a:extLst>
          </p:cNvPr>
          <p:cNvSpPr/>
          <p:nvPr/>
        </p:nvSpPr>
        <p:spPr bwMode="gray">
          <a:xfrm>
            <a:off x="10292400" y="3265714"/>
            <a:ext cx="1371600" cy="2179246"/>
          </a:xfrm>
          <a:prstGeom prst="rect">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pPr>
            <a:r>
              <a:rPr lang="en-US" sz="4000" dirty="0"/>
              <a:t>317</a:t>
            </a:r>
          </a:p>
          <a:p>
            <a:pPr algn="ctr">
              <a:lnSpc>
                <a:spcPct val="106000"/>
              </a:lnSpc>
              <a:buFont typeface="Wingdings 2" pitchFamily="18" charset="2"/>
              <a:buNone/>
            </a:pPr>
            <a:endParaRPr lang="en-US" dirty="0"/>
          </a:p>
          <a:p>
            <a:pPr algn="ctr">
              <a:lnSpc>
                <a:spcPct val="106000"/>
              </a:lnSpc>
              <a:buFont typeface="Wingdings 2" pitchFamily="18" charset="2"/>
              <a:buNone/>
            </a:pPr>
            <a:r>
              <a:rPr lang="en-US" dirty="0"/>
              <a:t>Appendix</a:t>
            </a:r>
          </a:p>
          <a:p>
            <a:pPr algn="ctr">
              <a:lnSpc>
                <a:spcPct val="106000"/>
              </a:lnSpc>
              <a:buFont typeface="Wingdings 2" pitchFamily="18" charset="2"/>
              <a:buNone/>
            </a:pPr>
            <a:endParaRPr lang="en-US" dirty="0"/>
          </a:p>
          <a:p>
            <a:pPr algn="ctr">
              <a:lnSpc>
                <a:spcPct val="106000"/>
              </a:lnSpc>
              <a:buFont typeface="Wingdings 2" pitchFamily="18" charset="2"/>
              <a:buNone/>
            </a:pPr>
            <a:endParaRPr lang="en-US" dirty="0"/>
          </a:p>
        </p:txBody>
      </p:sp>
      <p:sp>
        <p:nvSpPr>
          <p:cNvPr id="23" name="TextBox 22">
            <a:extLst>
              <a:ext uri="{FF2B5EF4-FFF2-40B4-BE49-F238E27FC236}">
                <a16:creationId xmlns:a16="http://schemas.microsoft.com/office/drawing/2014/main" id="{F9DECBF3-53D4-444F-AC54-88556B6EDE19}"/>
              </a:ext>
            </a:extLst>
          </p:cNvPr>
          <p:cNvSpPr txBox="1"/>
          <p:nvPr/>
        </p:nvSpPr>
        <p:spPr>
          <a:xfrm>
            <a:off x="483809" y="1954810"/>
            <a:ext cx="11224382" cy="738664"/>
          </a:xfrm>
          <a:prstGeom prst="rect">
            <a:avLst/>
          </a:prstGeom>
          <a:noFill/>
        </p:spPr>
        <p:txBody>
          <a:bodyPr wrap="square" lIns="0" tIns="0" rIns="0" bIns="0" rtlCol="0">
            <a:spAutoFit/>
          </a:bodyPr>
          <a:lstStyle/>
          <a:p>
            <a:pPr>
              <a:spcBef>
                <a:spcPts val="600"/>
              </a:spcBef>
              <a:buSzPct val="100000"/>
            </a:pPr>
            <a:r>
              <a:rPr lang="en-US" sz="2400" dirty="0">
                <a:solidFill>
                  <a:schemeClr val="bg1"/>
                </a:solidFill>
              </a:rPr>
              <a:t>In Normal view, click on any of the section names in the thumbnail panel to the left to navigate this document. In Slide Show view, click on any of the sections below.</a:t>
            </a:r>
          </a:p>
        </p:txBody>
      </p:sp>
    </p:spTree>
    <p:extLst>
      <p:ext uri="{BB962C8B-B14F-4D97-AF65-F5344CB8AC3E}">
        <p14:creationId xmlns:p14="http://schemas.microsoft.com/office/powerpoint/2010/main" val="90327148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ubtitle runs here</a:t>
            </a:r>
          </a:p>
        </p:txBody>
      </p:sp>
      <p:sp>
        <p:nvSpPr>
          <p:cNvPr id="796673" name="Title 1"/>
          <p:cNvSpPr>
            <a:spLocks noGrp="1"/>
          </p:cNvSpPr>
          <p:nvPr>
            <p:ph type="title"/>
          </p:nvPr>
        </p:nvSpPr>
        <p:spPr/>
        <p:txBody>
          <a:bodyPr/>
          <a:lstStyle/>
          <a:p>
            <a:r>
              <a:rPr lang="en-US" altLang="ja-JP" dirty="0"/>
              <a:t>Table with arrows</a:t>
            </a:r>
            <a:endParaRPr lang="en-US" dirty="0"/>
          </a:p>
        </p:txBody>
      </p:sp>
      <p:graphicFrame>
        <p:nvGraphicFramePr>
          <p:cNvPr id="106" name="Group 8"/>
          <p:cNvGraphicFramePr>
            <a:graphicFrameLocks noGrp="1"/>
          </p:cNvGraphicFramePr>
          <p:nvPr>
            <p:extLst>
              <p:ext uri="{D42A27DB-BD31-4B8C-83A1-F6EECF244321}">
                <p14:modId xmlns:p14="http://schemas.microsoft.com/office/powerpoint/2010/main" val="3802793337"/>
              </p:ext>
            </p:extLst>
          </p:nvPr>
        </p:nvGraphicFramePr>
        <p:xfrm>
          <a:off x="501650" y="2011064"/>
          <a:ext cx="11188699" cy="3582225"/>
        </p:xfrm>
        <a:graphic>
          <a:graphicData uri="http://schemas.openxmlformats.org/drawingml/2006/table">
            <a:tbl>
              <a:tblPr/>
              <a:tblGrid>
                <a:gridCol w="2134609">
                  <a:extLst>
                    <a:ext uri="{9D8B030D-6E8A-4147-A177-3AD203B41FA5}">
                      <a16:colId xmlns:a16="http://schemas.microsoft.com/office/drawing/2014/main" val="20000"/>
                    </a:ext>
                  </a:extLst>
                </a:gridCol>
                <a:gridCol w="1509015">
                  <a:extLst>
                    <a:ext uri="{9D8B030D-6E8A-4147-A177-3AD203B41FA5}">
                      <a16:colId xmlns:a16="http://schemas.microsoft.com/office/drawing/2014/main" val="20001"/>
                    </a:ext>
                  </a:extLst>
                </a:gridCol>
                <a:gridCol w="1509015">
                  <a:extLst>
                    <a:ext uri="{9D8B030D-6E8A-4147-A177-3AD203B41FA5}">
                      <a16:colId xmlns:a16="http://schemas.microsoft.com/office/drawing/2014/main" val="20002"/>
                    </a:ext>
                  </a:extLst>
                </a:gridCol>
                <a:gridCol w="1509015">
                  <a:extLst>
                    <a:ext uri="{9D8B030D-6E8A-4147-A177-3AD203B41FA5}">
                      <a16:colId xmlns:a16="http://schemas.microsoft.com/office/drawing/2014/main" val="20003"/>
                    </a:ext>
                  </a:extLst>
                </a:gridCol>
                <a:gridCol w="1509015">
                  <a:extLst>
                    <a:ext uri="{9D8B030D-6E8A-4147-A177-3AD203B41FA5}">
                      <a16:colId xmlns:a16="http://schemas.microsoft.com/office/drawing/2014/main" val="20004"/>
                    </a:ext>
                  </a:extLst>
                </a:gridCol>
                <a:gridCol w="1509015">
                  <a:extLst>
                    <a:ext uri="{9D8B030D-6E8A-4147-A177-3AD203B41FA5}">
                      <a16:colId xmlns:a16="http://schemas.microsoft.com/office/drawing/2014/main" val="20005"/>
                    </a:ext>
                  </a:extLst>
                </a:gridCol>
                <a:gridCol w="1509015">
                  <a:extLst>
                    <a:ext uri="{9D8B030D-6E8A-4147-A177-3AD203B41FA5}">
                      <a16:colId xmlns:a16="http://schemas.microsoft.com/office/drawing/2014/main" val="20006"/>
                    </a:ext>
                  </a:extLst>
                </a:gridCol>
              </a:tblGrid>
              <a:tr h="411480">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300" b="0" i="0" u="none" strike="noStrike" cap="none" normalizeH="0" baseline="0" dirty="0">
                          <a:ln>
                            <a:noFill/>
                          </a:ln>
                          <a:solidFill>
                            <a:schemeClr val="bg1"/>
                          </a:solidFill>
                          <a:effectLst/>
                          <a:latin typeface="+mn-lt"/>
                        </a:rPr>
                        <a:t>Column</a:t>
                      </a: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341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300" b="0" i="0" u="none" strike="noStrike" cap="none" normalizeH="0" baseline="0" dirty="0">
                          <a:ln>
                            <a:noFill/>
                          </a:ln>
                          <a:solidFill>
                            <a:schemeClr val="tx1"/>
                          </a:solidFill>
                          <a:effectLst/>
                          <a:latin typeface="+mn-lt"/>
                        </a:rPr>
                        <a:t>Row description</a:t>
                      </a: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3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148" name="AutoShape 85"/>
          <p:cNvSpPr>
            <a:spLocks noChangeArrowheads="1"/>
          </p:cNvSpPr>
          <p:nvPr/>
        </p:nvSpPr>
        <p:spPr bwMode="grayWhite">
          <a:xfrm>
            <a:off x="3239052"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49" name="AutoShape 90"/>
          <p:cNvSpPr>
            <a:spLocks noChangeArrowheads="1"/>
          </p:cNvSpPr>
          <p:nvPr/>
        </p:nvSpPr>
        <p:spPr bwMode="grayWhite">
          <a:xfrm>
            <a:off x="4814419"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0" name="AutoShape 95"/>
          <p:cNvSpPr>
            <a:spLocks noChangeArrowheads="1"/>
          </p:cNvSpPr>
          <p:nvPr/>
        </p:nvSpPr>
        <p:spPr bwMode="grayWhite">
          <a:xfrm>
            <a:off x="6232605"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1" name="AutoShape 100"/>
          <p:cNvSpPr>
            <a:spLocks noChangeArrowheads="1"/>
          </p:cNvSpPr>
          <p:nvPr/>
        </p:nvSpPr>
        <p:spPr bwMode="grayWhite">
          <a:xfrm>
            <a:off x="7785112"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2" name="AutoShape 105"/>
          <p:cNvSpPr>
            <a:spLocks noChangeArrowheads="1"/>
          </p:cNvSpPr>
          <p:nvPr/>
        </p:nvSpPr>
        <p:spPr bwMode="grayWhite">
          <a:xfrm>
            <a:off x="9276528"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3" name="AutoShape 110"/>
          <p:cNvSpPr>
            <a:spLocks noChangeArrowheads="1"/>
          </p:cNvSpPr>
          <p:nvPr/>
        </p:nvSpPr>
        <p:spPr bwMode="grayWhite">
          <a:xfrm>
            <a:off x="10790804" y="2602874"/>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5" name="AutoShape 85"/>
          <p:cNvSpPr>
            <a:spLocks noChangeArrowheads="1"/>
          </p:cNvSpPr>
          <p:nvPr/>
        </p:nvSpPr>
        <p:spPr bwMode="grayWhite">
          <a:xfrm>
            <a:off x="3239052"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6" name="AutoShape 90"/>
          <p:cNvSpPr>
            <a:spLocks noChangeArrowheads="1"/>
          </p:cNvSpPr>
          <p:nvPr/>
        </p:nvSpPr>
        <p:spPr bwMode="grayWhite">
          <a:xfrm>
            <a:off x="4814419"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7" name="AutoShape 95"/>
          <p:cNvSpPr>
            <a:spLocks noChangeArrowheads="1"/>
          </p:cNvSpPr>
          <p:nvPr/>
        </p:nvSpPr>
        <p:spPr bwMode="grayWhite">
          <a:xfrm>
            <a:off x="6232605"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8" name="AutoShape 100"/>
          <p:cNvSpPr>
            <a:spLocks noChangeArrowheads="1"/>
          </p:cNvSpPr>
          <p:nvPr/>
        </p:nvSpPr>
        <p:spPr bwMode="grayWhite">
          <a:xfrm>
            <a:off x="7785112"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9" name="AutoShape 105"/>
          <p:cNvSpPr>
            <a:spLocks noChangeArrowheads="1"/>
          </p:cNvSpPr>
          <p:nvPr/>
        </p:nvSpPr>
        <p:spPr bwMode="grayWhite">
          <a:xfrm>
            <a:off x="9276528"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60" name="AutoShape 110"/>
          <p:cNvSpPr>
            <a:spLocks noChangeArrowheads="1"/>
          </p:cNvSpPr>
          <p:nvPr/>
        </p:nvSpPr>
        <p:spPr bwMode="grayWhite">
          <a:xfrm>
            <a:off x="10790804" y="4502981"/>
            <a:ext cx="320040" cy="274320"/>
          </a:xfrm>
          <a:prstGeom prst="upArrow">
            <a:avLst>
              <a:gd name="adj1" fmla="val 49880"/>
              <a:gd name="adj2" fmla="val 49801"/>
            </a:avLst>
          </a:prstGeom>
          <a:solidFill>
            <a:srgbClr val="009A44"/>
          </a:solidFill>
          <a:ln w="12700" algn="ctr">
            <a:noFill/>
            <a:miter lim="800000"/>
            <a:headEnd/>
            <a:tailEnd/>
          </a:ln>
        </p:spPr>
        <p:txBody>
          <a:bodyPr wrap="none" anchor="ctr"/>
          <a:lstStyle/>
          <a:p>
            <a:pPr algn="ctr"/>
            <a:endParaRPr lang="en-US" sz="1400" dirty="0"/>
          </a:p>
        </p:txBody>
      </p:sp>
      <p:sp>
        <p:nvSpPr>
          <p:cNvPr id="154" name="AutoShape 85"/>
          <p:cNvSpPr>
            <a:spLocks noChangeArrowheads="1"/>
          </p:cNvSpPr>
          <p:nvPr/>
        </p:nvSpPr>
        <p:spPr bwMode="grayWhite">
          <a:xfrm rot="5400000">
            <a:off x="3239052"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1" name="AutoShape 85"/>
          <p:cNvSpPr>
            <a:spLocks noChangeArrowheads="1"/>
          </p:cNvSpPr>
          <p:nvPr/>
        </p:nvSpPr>
        <p:spPr bwMode="grayWhite">
          <a:xfrm rot="5400000">
            <a:off x="10790804"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2" name="AutoShape 85"/>
          <p:cNvSpPr>
            <a:spLocks noChangeArrowheads="1"/>
          </p:cNvSpPr>
          <p:nvPr/>
        </p:nvSpPr>
        <p:spPr bwMode="grayWhite">
          <a:xfrm rot="5400000">
            <a:off x="4814419"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3" name="AutoShape 85"/>
          <p:cNvSpPr>
            <a:spLocks noChangeArrowheads="1"/>
          </p:cNvSpPr>
          <p:nvPr/>
        </p:nvSpPr>
        <p:spPr bwMode="grayWhite">
          <a:xfrm rot="5400000">
            <a:off x="6232605"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4" name="AutoShape 85"/>
          <p:cNvSpPr>
            <a:spLocks noChangeArrowheads="1"/>
          </p:cNvSpPr>
          <p:nvPr/>
        </p:nvSpPr>
        <p:spPr bwMode="grayWhite">
          <a:xfrm rot="5400000">
            <a:off x="7785112"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5" name="AutoShape 85"/>
          <p:cNvSpPr>
            <a:spLocks noChangeArrowheads="1"/>
          </p:cNvSpPr>
          <p:nvPr/>
        </p:nvSpPr>
        <p:spPr bwMode="grayWhite">
          <a:xfrm rot="5400000">
            <a:off x="9276528" y="3243863"/>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7" name="AutoShape 85"/>
          <p:cNvSpPr>
            <a:spLocks noChangeArrowheads="1"/>
          </p:cNvSpPr>
          <p:nvPr/>
        </p:nvSpPr>
        <p:spPr bwMode="grayWhite">
          <a:xfrm rot="5400000">
            <a:off x="3239052"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8" name="AutoShape 85"/>
          <p:cNvSpPr>
            <a:spLocks noChangeArrowheads="1"/>
          </p:cNvSpPr>
          <p:nvPr/>
        </p:nvSpPr>
        <p:spPr bwMode="grayWhite">
          <a:xfrm rot="5400000">
            <a:off x="10790804"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69" name="AutoShape 85"/>
          <p:cNvSpPr>
            <a:spLocks noChangeArrowheads="1"/>
          </p:cNvSpPr>
          <p:nvPr/>
        </p:nvSpPr>
        <p:spPr bwMode="grayWhite">
          <a:xfrm rot="5400000">
            <a:off x="4814419"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0" name="AutoShape 85"/>
          <p:cNvSpPr>
            <a:spLocks noChangeArrowheads="1"/>
          </p:cNvSpPr>
          <p:nvPr/>
        </p:nvSpPr>
        <p:spPr bwMode="grayWhite">
          <a:xfrm rot="5400000">
            <a:off x="6232605"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1" name="AutoShape 85"/>
          <p:cNvSpPr>
            <a:spLocks noChangeArrowheads="1"/>
          </p:cNvSpPr>
          <p:nvPr/>
        </p:nvSpPr>
        <p:spPr bwMode="grayWhite">
          <a:xfrm rot="5400000">
            <a:off x="7785112"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2" name="AutoShape 85"/>
          <p:cNvSpPr>
            <a:spLocks noChangeArrowheads="1"/>
          </p:cNvSpPr>
          <p:nvPr/>
        </p:nvSpPr>
        <p:spPr bwMode="grayWhite">
          <a:xfrm rot="5400000">
            <a:off x="9276528" y="5143971"/>
            <a:ext cx="320040" cy="274320"/>
          </a:xfrm>
          <a:prstGeom prst="upArrow">
            <a:avLst>
              <a:gd name="adj1" fmla="val 49880"/>
              <a:gd name="adj2" fmla="val 49801"/>
            </a:avLst>
          </a:prstGeom>
          <a:solidFill>
            <a:srgbClr val="ED8B00"/>
          </a:solidFill>
          <a:ln w="12700" algn="ctr">
            <a:noFill/>
            <a:miter lim="800000"/>
            <a:headEnd/>
            <a:tailEnd/>
          </a:ln>
        </p:spPr>
        <p:txBody>
          <a:bodyPr wrap="none" anchor="ctr"/>
          <a:lstStyle/>
          <a:p>
            <a:pPr algn="ctr"/>
            <a:endParaRPr lang="en-US" sz="1400" dirty="0"/>
          </a:p>
        </p:txBody>
      </p:sp>
      <p:sp>
        <p:nvSpPr>
          <p:cNvPr id="173" name="AutoShape 85"/>
          <p:cNvSpPr>
            <a:spLocks noChangeArrowheads="1"/>
          </p:cNvSpPr>
          <p:nvPr/>
        </p:nvSpPr>
        <p:spPr bwMode="grayWhite">
          <a:xfrm rot="10800000">
            <a:off x="3239053"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4" name="AutoShape 85"/>
          <p:cNvSpPr>
            <a:spLocks noChangeArrowheads="1"/>
          </p:cNvSpPr>
          <p:nvPr/>
        </p:nvSpPr>
        <p:spPr bwMode="grayWhite">
          <a:xfrm rot="10800000">
            <a:off x="4814420"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5" name="AutoShape 85"/>
          <p:cNvSpPr>
            <a:spLocks noChangeArrowheads="1"/>
          </p:cNvSpPr>
          <p:nvPr/>
        </p:nvSpPr>
        <p:spPr bwMode="grayWhite">
          <a:xfrm rot="10800000">
            <a:off x="6232606"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6" name="AutoShape 85"/>
          <p:cNvSpPr>
            <a:spLocks noChangeArrowheads="1"/>
          </p:cNvSpPr>
          <p:nvPr/>
        </p:nvSpPr>
        <p:spPr bwMode="grayWhite">
          <a:xfrm rot="10800000">
            <a:off x="7785113"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7" name="AutoShape 85"/>
          <p:cNvSpPr>
            <a:spLocks noChangeArrowheads="1"/>
          </p:cNvSpPr>
          <p:nvPr/>
        </p:nvSpPr>
        <p:spPr bwMode="grayWhite">
          <a:xfrm rot="10800000">
            <a:off x="9276529"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sp>
        <p:nvSpPr>
          <p:cNvPr id="178" name="AutoShape 85"/>
          <p:cNvSpPr>
            <a:spLocks noChangeArrowheads="1"/>
          </p:cNvSpPr>
          <p:nvPr/>
        </p:nvSpPr>
        <p:spPr bwMode="grayWhite">
          <a:xfrm rot="10800000">
            <a:off x="10790805" y="3902958"/>
            <a:ext cx="320040" cy="274320"/>
          </a:xfrm>
          <a:prstGeom prst="upArrow">
            <a:avLst>
              <a:gd name="adj1" fmla="val 49880"/>
              <a:gd name="adj2" fmla="val 49801"/>
            </a:avLst>
          </a:prstGeom>
          <a:solidFill>
            <a:srgbClr val="DA291C"/>
          </a:solidFill>
          <a:ln w="12700" algn="ctr">
            <a:noFill/>
            <a:miter lim="800000"/>
            <a:headEnd/>
            <a:tailEnd/>
          </a:ln>
        </p:spPr>
        <p:txBody>
          <a:bodyPr wrap="none" anchor="ctr"/>
          <a:lstStyle/>
          <a:p>
            <a:pPr algn="ctr"/>
            <a:endParaRPr lang="en-US" sz="1400" dirty="0"/>
          </a:p>
        </p:txBody>
      </p:sp>
      <p:grpSp>
        <p:nvGrpSpPr>
          <p:cNvPr id="43" name="Group 42"/>
          <p:cNvGrpSpPr/>
          <p:nvPr/>
        </p:nvGrpSpPr>
        <p:grpSpPr>
          <a:xfrm>
            <a:off x="4863005" y="6129407"/>
            <a:ext cx="2528562" cy="226386"/>
            <a:chOff x="5649426" y="6058564"/>
            <a:chExt cx="3623173" cy="324388"/>
          </a:xfrm>
        </p:grpSpPr>
        <p:sp>
          <p:nvSpPr>
            <p:cNvPr id="44" name="AutoShape 11"/>
            <p:cNvSpPr>
              <a:spLocks noChangeArrowheads="1"/>
            </p:cNvSpPr>
            <p:nvPr/>
          </p:nvSpPr>
          <p:spPr bwMode="gray">
            <a:xfrm>
              <a:off x="8261908" y="6088054"/>
              <a:ext cx="324388" cy="265408"/>
            </a:xfrm>
            <a:prstGeom prst="downArrow">
              <a:avLst>
                <a:gd name="adj1" fmla="val 49815"/>
                <a:gd name="adj2" fmla="val 54667"/>
              </a:avLst>
            </a:prstGeom>
            <a:solidFill>
              <a:srgbClr val="DA291C"/>
            </a:solidFill>
            <a:ln w="28575" algn="ctr">
              <a:noFill/>
              <a:miter lim="800000"/>
              <a:headEnd type="none" w="sm" len="sm"/>
              <a:tailEnd type="none" w="sm" len="sm"/>
            </a:ln>
          </p:spPr>
          <p:txBody>
            <a:bodyPr rot="10800000" vert="eaVert" wrap="none" lIns="44450" tIns="44450" rIns="44450" bIns="44450" anchor="ctr"/>
            <a:lstStyle/>
            <a:p>
              <a:pPr>
                <a:spcBef>
                  <a:spcPct val="20000"/>
                </a:spcBef>
              </a:pPr>
              <a:endParaRPr lang="en-US" sz="1000" b="1" dirty="0">
                <a:solidFill>
                  <a:schemeClr val="tx2"/>
                </a:solidFill>
                <a:cs typeface="Arial" pitchFamily="34" charset="0"/>
              </a:endParaRPr>
            </a:p>
          </p:txBody>
        </p:sp>
        <p:sp>
          <p:nvSpPr>
            <p:cNvPr id="45" name="AutoShape 11"/>
            <p:cNvSpPr>
              <a:spLocks noChangeArrowheads="1"/>
            </p:cNvSpPr>
            <p:nvPr/>
          </p:nvSpPr>
          <p:spPr bwMode="gray">
            <a:xfrm rot="16200000">
              <a:off x="6985537" y="6088053"/>
              <a:ext cx="324388" cy="265409"/>
            </a:xfrm>
            <a:prstGeom prst="downArrow">
              <a:avLst>
                <a:gd name="adj1" fmla="val 49815"/>
                <a:gd name="adj2" fmla="val 54667"/>
              </a:avLst>
            </a:prstGeom>
            <a:solidFill>
              <a:srgbClr val="ED8B00"/>
            </a:solidFill>
            <a:ln w="28575" algn="ctr">
              <a:noFill/>
              <a:miter lim="800000"/>
              <a:headEnd type="none" w="sm" len="sm"/>
              <a:tailEnd type="none" w="sm" len="sm"/>
            </a:ln>
          </p:spPr>
          <p:txBody>
            <a:bodyPr wrap="none" lIns="44450" tIns="44450" rIns="44450" bIns="44450" anchor="ctr"/>
            <a:lstStyle/>
            <a:p>
              <a:pPr>
                <a:spcBef>
                  <a:spcPct val="20000"/>
                </a:spcBef>
              </a:pPr>
              <a:endParaRPr lang="en-US" sz="1000" b="1" dirty="0">
                <a:solidFill>
                  <a:schemeClr val="tx2"/>
                </a:solidFill>
                <a:cs typeface="Arial" pitchFamily="34" charset="0"/>
              </a:endParaRPr>
            </a:p>
          </p:txBody>
        </p:sp>
        <p:sp>
          <p:nvSpPr>
            <p:cNvPr id="46" name="AutoShape 11"/>
            <p:cNvSpPr>
              <a:spLocks noChangeArrowheads="1"/>
            </p:cNvSpPr>
            <p:nvPr/>
          </p:nvSpPr>
          <p:spPr bwMode="gray">
            <a:xfrm rot="10800000">
              <a:off x="5649426" y="6088044"/>
              <a:ext cx="324388" cy="265408"/>
            </a:xfrm>
            <a:prstGeom prst="downArrow">
              <a:avLst>
                <a:gd name="adj1" fmla="val 49815"/>
                <a:gd name="adj2" fmla="val 54667"/>
              </a:avLst>
            </a:prstGeom>
            <a:solidFill>
              <a:srgbClr val="009A44"/>
            </a:solidFill>
            <a:ln w="28575" algn="ctr">
              <a:noFill/>
              <a:miter lim="800000"/>
              <a:headEnd type="none" w="sm" len="sm"/>
              <a:tailEnd type="none" w="sm" len="sm"/>
            </a:ln>
          </p:spPr>
          <p:txBody>
            <a:bodyPr vert="eaVert" wrap="none" lIns="44450" tIns="44450" rIns="44450" bIns="44450" anchor="ctr"/>
            <a:lstStyle/>
            <a:p>
              <a:pPr>
                <a:spcBef>
                  <a:spcPct val="20000"/>
                </a:spcBef>
              </a:pPr>
              <a:endParaRPr lang="en-US" sz="1000" b="1" dirty="0">
                <a:solidFill>
                  <a:schemeClr val="tx2"/>
                </a:solidFill>
                <a:cs typeface="Arial" pitchFamily="34" charset="0"/>
              </a:endParaRPr>
            </a:p>
          </p:txBody>
        </p:sp>
        <p:sp>
          <p:nvSpPr>
            <p:cNvPr id="47" name="Text Box 26"/>
            <p:cNvSpPr txBox="1">
              <a:spLocks noChangeArrowheads="1"/>
            </p:cNvSpPr>
            <p:nvPr/>
          </p:nvSpPr>
          <p:spPr bwMode="auto">
            <a:xfrm>
              <a:off x="6038393" y="6128416"/>
              <a:ext cx="576532"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Positive</a:t>
              </a:r>
            </a:p>
          </p:txBody>
        </p:sp>
        <p:sp>
          <p:nvSpPr>
            <p:cNvPr id="48" name="Text Box 26"/>
            <p:cNvSpPr txBox="1">
              <a:spLocks noChangeArrowheads="1"/>
            </p:cNvSpPr>
            <p:nvPr/>
          </p:nvSpPr>
          <p:spPr bwMode="auto">
            <a:xfrm>
              <a:off x="7329203" y="6128421"/>
              <a:ext cx="558157"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utral</a:t>
              </a:r>
            </a:p>
          </p:txBody>
        </p:sp>
        <p:sp>
          <p:nvSpPr>
            <p:cNvPr id="49" name="Text Box 26"/>
            <p:cNvSpPr txBox="1">
              <a:spLocks noChangeArrowheads="1"/>
            </p:cNvSpPr>
            <p:nvPr/>
          </p:nvSpPr>
          <p:spPr bwMode="auto">
            <a:xfrm>
              <a:off x="8615674" y="6128421"/>
              <a:ext cx="656925" cy="220506"/>
            </a:xfrm>
            <a:prstGeom prst="rect">
              <a:avLst/>
            </a:prstGeom>
            <a:noFill/>
            <a:ln w="9525">
              <a:noFill/>
              <a:miter lim="800000"/>
              <a:headEnd type="none" w="sm" len="sm"/>
              <a:tailEnd type="none" w="sm" len="sm"/>
            </a:ln>
          </p:spPr>
          <p:txBody>
            <a:bodyPr wrap="none" lIns="0" tIns="0" rIns="0" bIns="0">
              <a:spAutoFit/>
            </a:bodyPr>
            <a:lstStyle/>
            <a:p>
              <a:pPr eaLnBrk="1" hangingPunct="1">
                <a:spcBef>
                  <a:spcPct val="20000"/>
                </a:spcBef>
              </a:pPr>
              <a:r>
                <a:rPr lang="en-GB" altLang="ja-JP" sz="1000" dirty="0">
                  <a:ea typeface="ＭＳ Ｐゴシック" charset="-128"/>
                  <a:cs typeface="Arial" pitchFamily="34" charset="0"/>
                </a:rPr>
                <a:t>Negative</a:t>
              </a:r>
            </a:p>
          </p:txBody>
        </p:sp>
      </p:grpSp>
      <p:sp>
        <p:nvSpPr>
          <p:cNvPr id="52" name="TextBox 51"/>
          <p:cNvSpPr txBox="1"/>
          <p:nvPr/>
        </p:nvSpPr>
        <p:spPr bwMode="gray">
          <a:xfrm>
            <a:off x="541951" y="1710507"/>
            <a:ext cx="8348472" cy="200055"/>
          </a:xfrm>
          <a:prstGeom prst="rect">
            <a:avLst/>
          </a:prstGeom>
          <a:noFill/>
        </p:spPr>
        <p:txBody>
          <a:bodyPr wrap="square" lIns="0" tIns="0" rIns="0" bIns="0" rtlCol="0">
            <a:noAutofit/>
          </a:bodyPr>
          <a:lstStyle/>
          <a:p>
            <a:r>
              <a:rPr lang="en-US" sz="1300" dirty="0"/>
              <a:t>Table title runs here</a:t>
            </a:r>
          </a:p>
        </p:txBody>
      </p:sp>
    </p:spTree>
    <p:extLst>
      <p:ext uri="{BB962C8B-B14F-4D97-AF65-F5344CB8AC3E}">
        <p14:creationId xmlns:p14="http://schemas.microsoft.com/office/powerpoint/2010/main" val="1418847183"/>
      </p:ext>
    </p:extLst>
  </p:cSld>
  <p:clrMapOvr>
    <a:masterClrMapping/>
  </p:clrMapOvr>
  <p:transition>
    <p:fade/>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27393" name="Title 1"/>
          <p:cNvSpPr>
            <a:spLocks noGrp="1"/>
          </p:cNvSpPr>
          <p:nvPr>
            <p:ph type="title"/>
          </p:nvPr>
        </p:nvSpPr>
        <p:spPr/>
        <p:txBody>
          <a:bodyPr/>
          <a:lstStyle/>
          <a:p>
            <a:r>
              <a:rPr lang="en-US"/>
              <a:t>Surround</a:t>
            </a:r>
            <a:endParaRPr lang="en-US" dirty="0"/>
          </a:p>
        </p:txBody>
      </p:sp>
      <p:sp>
        <p:nvSpPr>
          <p:cNvPr id="15" name="Freeform 3"/>
          <p:cNvSpPr>
            <a:spLocks/>
          </p:cNvSpPr>
          <p:nvPr/>
        </p:nvSpPr>
        <p:spPr bwMode="auto">
          <a:xfrm>
            <a:off x="5568915" y="5012055"/>
            <a:ext cx="1101725" cy="1192212"/>
          </a:xfrm>
          <a:custGeom>
            <a:avLst/>
            <a:gdLst>
              <a:gd name="T0" fmla="*/ 605650 w 553"/>
              <a:gd name="T1" fmla="*/ 1190277 h 616"/>
              <a:gd name="T2" fmla="*/ 478145 w 553"/>
              <a:gd name="T3" fmla="*/ 1190277 h 616"/>
              <a:gd name="T4" fmla="*/ 478145 w 553"/>
              <a:gd name="T5" fmla="*/ 230314 h 616"/>
              <a:gd name="T6" fmla="*/ 79691 w 553"/>
              <a:gd name="T7" fmla="*/ 601912 h 616"/>
              <a:gd name="T8" fmla="*/ 0 w 553"/>
              <a:gd name="T9" fmla="*/ 539979 h 616"/>
              <a:gd name="T10" fmla="*/ 573774 w 553"/>
              <a:gd name="T11" fmla="*/ 0 h 616"/>
              <a:gd name="T12" fmla="*/ 1099733 w 553"/>
              <a:gd name="T13" fmla="*/ 524496 h 616"/>
              <a:gd name="T14" fmla="*/ 1020042 w 553"/>
              <a:gd name="T15" fmla="*/ 601912 h 616"/>
              <a:gd name="T16" fmla="*/ 605650 w 553"/>
              <a:gd name="T17" fmla="*/ 230314 h 616"/>
              <a:gd name="T18" fmla="*/ 605650 w 553"/>
              <a:gd name="T19" fmla="*/ 1190277 h 6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16"/>
              <a:gd name="T32" fmla="*/ 553 w 553"/>
              <a:gd name="T33" fmla="*/ 616 h 6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16">
                <a:moveTo>
                  <a:pt x="304" y="615"/>
                </a:moveTo>
                <a:lnTo>
                  <a:pt x="240" y="615"/>
                </a:lnTo>
                <a:lnTo>
                  <a:pt x="240" y="119"/>
                </a:lnTo>
                <a:lnTo>
                  <a:pt x="40" y="311"/>
                </a:lnTo>
                <a:lnTo>
                  <a:pt x="0" y="279"/>
                </a:lnTo>
                <a:lnTo>
                  <a:pt x="288" y="0"/>
                </a:lnTo>
                <a:lnTo>
                  <a:pt x="552" y="271"/>
                </a:lnTo>
                <a:lnTo>
                  <a:pt x="512" y="311"/>
                </a:lnTo>
                <a:lnTo>
                  <a:pt x="304" y="119"/>
                </a:lnTo>
                <a:lnTo>
                  <a:pt x="304" y="615"/>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16" name="Oval 4"/>
          <p:cNvSpPr>
            <a:spLocks noChangeArrowheads="1"/>
          </p:cNvSpPr>
          <p:nvPr/>
        </p:nvSpPr>
        <p:spPr bwMode="auto">
          <a:xfrm>
            <a:off x="5425245" y="3319780"/>
            <a:ext cx="1371600" cy="1371600"/>
          </a:xfrm>
          <a:prstGeom prst="ellipse">
            <a:avLst/>
          </a:prstGeom>
          <a:noFill/>
          <a:ln w="38100">
            <a:solidFill>
              <a:schemeClr val="tx1"/>
            </a:solidFill>
            <a:round/>
            <a:headEnd/>
            <a:tailEnd/>
          </a:ln>
        </p:spPr>
        <p:txBody>
          <a:bodyPr wrap="square" lIns="91440" tIns="91440" rIns="91440" bIns="91440" anchor="ctr"/>
          <a:lstStyle/>
          <a:p>
            <a:pPr algn="ctr">
              <a:spcBef>
                <a:spcPct val="0"/>
              </a:spcBef>
            </a:pPr>
            <a:r>
              <a:rPr lang="en-US" dirty="0"/>
              <a:t>Text</a:t>
            </a:r>
          </a:p>
        </p:txBody>
      </p:sp>
      <p:sp>
        <p:nvSpPr>
          <p:cNvPr id="17" name="Freeform 5"/>
          <p:cNvSpPr>
            <a:spLocks/>
          </p:cNvSpPr>
          <p:nvPr/>
        </p:nvSpPr>
        <p:spPr bwMode="auto">
          <a:xfrm>
            <a:off x="6859552" y="4750117"/>
            <a:ext cx="955675" cy="896938"/>
          </a:xfrm>
          <a:custGeom>
            <a:avLst/>
            <a:gdLst>
              <a:gd name="T0" fmla="*/ 698837 w 480"/>
              <a:gd name="T1" fmla="*/ 92787 h 464"/>
              <a:gd name="T2" fmla="*/ 698837 w 480"/>
              <a:gd name="T3" fmla="*/ 0 h 464"/>
              <a:gd name="T4" fmla="*/ 0 w 480"/>
              <a:gd name="T5" fmla="*/ 0 h 464"/>
              <a:gd name="T6" fmla="*/ 0 w 480"/>
              <a:gd name="T7" fmla="*/ 663038 h 464"/>
              <a:gd name="T8" fmla="*/ 127423 w 480"/>
              <a:gd name="T9" fmla="*/ 663038 h 464"/>
              <a:gd name="T10" fmla="*/ 127423 w 480"/>
              <a:gd name="T11" fmla="*/ 201038 h 464"/>
              <a:gd name="T12" fmla="*/ 842189 w 480"/>
              <a:gd name="T13" fmla="*/ 895005 h 464"/>
              <a:gd name="T14" fmla="*/ 953684 w 480"/>
              <a:gd name="T15" fmla="*/ 786754 h 464"/>
              <a:gd name="T16" fmla="*/ 238919 w 480"/>
              <a:gd name="T17" fmla="*/ 123716 h 464"/>
              <a:gd name="T18" fmla="*/ 698837 w 480"/>
              <a:gd name="T19" fmla="*/ 123716 h 464"/>
              <a:gd name="T20" fmla="*/ 698837 w 480"/>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0"/>
              <a:gd name="T34" fmla="*/ 0 h 464"/>
              <a:gd name="T35" fmla="*/ 480 w 480"/>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0" h="464">
                <a:moveTo>
                  <a:pt x="351" y="48"/>
                </a:moveTo>
                <a:lnTo>
                  <a:pt x="351" y="0"/>
                </a:lnTo>
                <a:lnTo>
                  <a:pt x="0" y="0"/>
                </a:lnTo>
                <a:lnTo>
                  <a:pt x="0" y="343"/>
                </a:lnTo>
                <a:lnTo>
                  <a:pt x="64" y="343"/>
                </a:lnTo>
                <a:lnTo>
                  <a:pt x="64" y="104"/>
                </a:lnTo>
                <a:lnTo>
                  <a:pt x="423" y="463"/>
                </a:lnTo>
                <a:lnTo>
                  <a:pt x="479" y="407"/>
                </a:lnTo>
                <a:lnTo>
                  <a:pt x="120" y="64"/>
                </a:lnTo>
                <a:lnTo>
                  <a:pt x="351" y="64"/>
                </a:lnTo>
                <a:lnTo>
                  <a:pt x="351" y="0"/>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18" name="Freeform 6"/>
          <p:cNvSpPr>
            <a:spLocks/>
          </p:cNvSpPr>
          <p:nvPr/>
        </p:nvSpPr>
        <p:spPr bwMode="auto">
          <a:xfrm>
            <a:off x="6845264" y="2427606"/>
            <a:ext cx="938212" cy="884237"/>
          </a:xfrm>
          <a:custGeom>
            <a:avLst/>
            <a:gdLst>
              <a:gd name="T0" fmla="*/ 681794 w 472"/>
              <a:gd name="T1" fmla="*/ 789220 h 456"/>
              <a:gd name="T2" fmla="*/ 681794 w 472"/>
              <a:gd name="T3" fmla="*/ 882298 h 456"/>
              <a:gd name="T4" fmla="*/ 0 w 472"/>
              <a:gd name="T5" fmla="*/ 882298 h 456"/>
              <a:gd name="T6" fmla="*/ 0 w 472"/>
              <a:gd name="T7" fmla="*/ 217181 h 456"/>
              <a:gd name="T8" fmla="*/ 127215 w 472"/>
              <a:gd name="T9" fmla="*/ 217181 h 456"/>
              <a:gd name="T10" fmla="*/ 127215 w 472"/>
              <a:gd name="T11" fmla="*/ 680630 h 456"/>
              <a:gd name="T12" fmla="*/ 840813 w 472"/>
              <a:gd name="T13" fmla="*/ 0 h 456"/>
              <a:gd name="T14" fmla="*/ 936224 w 472"/>
              <a:gd name="T15" fmla="*/ 93078 h 456"/>
              <a:gd name="T16" fmla="*/ 222627 w 472"/>
              <a:gd name="T17" fmla="*/ 758194 h 456"/>
              <a:gd name="T18" fmla="*/ 681794 w 472"/>
              <a:gd name="T19" fmla="*/ 758194 h 456"/>
              <a:gd name="T20" fmla="*/ 681794 w 472"/>
              <a:gd name="T21" fmla="*/ 882298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56"/>
              <a:gd name="T35" fmla="*/ 472 w 472"/>
              <a:gd name="T36" fmla="*/ 456 h 4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56">
                <a:moveTo>
                  <a:pt x="343" y="407"/>
                </a:moveTo>
                <a:lnTo>
                  <a:pt x="343" y="455"/>
                </a:lnTo>
                <a:lnTo>
                  <a:pt x="0" y="455"/>
                </a:lnTo>
                <a:lnTo>
                  <a:pt x="0" y="112"/>
                </a:lnTo>
                <a:lnTo>
                  <a:pt x="64" y="112"/>
                </a:lnTo>
                <a:lnTo>
                  <a:pt x="64" y="351"/>
                </a:lnTo>
                <a:lnTo>
                  <a:pt x="423" y="0"/>
                </a:lnTo>
                <a:lnTo>
                  <a:pt x="471" y="48"/>
                </a:lnTo>
                <a:lnTo>
                  <a:pt x="112" y="391"/>
                </a:lnTo>
                <a:lnTo>
                  <a:pt x="343" y="391"/>
                </a:lnTo>
                <a:lnTo>
                  <a:pt x="343" y="455"/>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19" name="Freeform 7"/>
          <p:cNvSpPr>
            <a:spLocks/>
          </p:cNvSpPr>
          <p:nvPr/>
        </p:nvSpPr>
        <p:spPr bwMode="auto">
          <a:xfrm>
            <a:off x="4424327" y="4716780"/>
            <a:ext cx="936625" cy="900112"/>
          </a:xfrm>
          <a:custGeom>
            <a:avLst/>
            <a:gdLst>
              <a:gd name="T0" fmla="*/ 254000 w 472"/>
              <a:gd name="T1" fmla="*/ 108634 h 464"/>
              <a:gd name="T2" fmla="*/ 254000 w 472"/>
              <a:gd name="T3" fmla="*/ 0 h 464"/>
              <a:gd name="T4" fmla="*/ 934641 w 472"/>
              <a:gd name="T5" fmla="*/ 0 h 464"/>
              <a:gd name="T6" fmla="*/ 934641 w 472"/>
              <a:gd name="T7" fmla="*/ 665385 h 464"/>
              <a:gd name="T8" fmla="*/ 807641 w 472"/>
              <a:gd name="T9" fmla="*/ 665385 h 464"/>
              <a:gd name="T10" fmla="*/ 807641 w 472"/>
              <a:gd name="T11" fmla="*/ 201749 h 464"/>
              <a:gd name="T12" fmla="*/ 95250 w 472"/>
              <a:gd name="T13" fmla="*/ 898172 h 464"/>
              <a:gd name="T14" fmla="*/ 0 w 472"/>
              <a:gd name="T15" fmla="*/ 789538 h 464"/>
              <a:gd name="T16" fmla="*/ 696516 w 472"/>
              <a:gd name="T17" fmla="*/ 124153 h 464"/>
              <a:gd name="T18" fmla="*/ 254000 w 472"/>
              <a:gd name="T19" fmla="*/ 124153 h 464"/>
              <a:gd name="T20" fmla="*/ 254000 w 472"/>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56"/>
                </a:moveTo>
                <a:lnTo>
                  <a:pt x="128" y="0"/>
                </a:lnTo>
                <a:lnTo>
                  <a:pt x="471" y="0"/>
                </a:lnTo>
                <a:lnTo>
                  <a:pt x="471" y="343"/>
                </a:lnTo>
                <a:lnTo>
                  <a:pt x="407" y="343"/>
                </a:lnTo>
                <a:lnTo>
                  <a:pt x="407" y="104"/>
                </a:lnTo>
                <a:lnTo>
                  <a:pt x="48" y="463"/>
                </a:lnTo>
                <a:lnTo>
                  <a:pt x="0" y="407"/>
                </a:lnTo>
                <a:lnTo>
                  <a:pt x="351" y="64"/>
                </a:lnTo>
                <a:lnTo>
                  <a:pt x="128" y="64"/>
                </a:lnTo>
                <a:lnTo>
                  <a:pt x="128" y="0"/>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20" name="Freeform 8"/>
          <p:cNvSpPr>
            <a:spLocks/>
          </p:cNvSpPr>
          <p:nvPr/>
        </p:nvSpPr>
        <p:spPr bwMode="auto">
          <a:xfrm>
            <a:off x="4438614" y="2397442"/>
            <a:ext cx="938212" cy="896938"/>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dirty="0"/>
          </a:p>
        </p:txBody>
      </p:sp>
      <p:sp>
        <p:nvSpPr>
          <p:cNvPr id="21" name="Freeform 9"/>
          <p:cNvSpPr>
            <a:spLocks/>
          </p:cNvSpPr>
          <p:nvPr/>
        </p:nvSpPr>
        <p:spPr bwMode="auto">
          <a:xfrm>
            <a:off x="5535577" y="1840231"/>
            <a:ext cx="1101725" cy="1177925"/>
          </a:xfrm>
          <a:custGeom>
            <a:avLst/>
            <a:gdLst>
              <a:gd name="T0" fmla="*/ 637526 w 553"/>
              <a:gd name="T1" fmla="*/ 0 h 608"/>
              <a:gd name="T2" fmla="*/ 494083 w 553"/>
              <a:gd name="T3" fmla="*/ 0 h 608"/>
              <a:gd name="T4" fmla="*/ 494083 w 553"/>
              <a:gd name="T5" fmla="*/ 960939 h 608"/>
              <a:gd name="T6" fmla="*/ 79691 w 553"/>
              <a:gd name="T7" fmla="*/ 588963 h 608"/>
              <a:gd name="T8" fmla="*/ 0 w 553"/>
              <a:gd name="T9" fmla="*/ 635460 h 608"/>
              <a:gd name="T10" fmla="*/ 589712 w 553"/>
              <a:gd name="T11" fmla="*/ 1175988 h 608"/>
              <a:gd name="T12" fmla="*/ 1099733 w 553"/>
              <a:gd name="T13" fmla="*/ 666458 h 608"/>
              <a:gd name="T14" fmla="*/ 1020042 w 553"/>
              <a:gd name="T15" fmla="*/ 588963 h 608"/>
              <a:gd name="T16" fmla="*/ 637526 w 553"/>
              <a:gd name="T17" fmla="*/ 960939 h 608"/>
              <a:gd name="T18" fmla="*/ 637526 w 553"/>
              <a:gd name="T19" fmla="*/ 0 h 6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08"/>
              <a:gd name="T32" fmla="*/ 553 w 553"/>
              <a:gd name="T33" fmla="*/ 608 h 6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08">
                <a:moveTo>
                  <a:pt x="320" y="0"/>
                </a:moveTo>
                <a:lnTo>
                  <a:pt x="248" y="0"/>
                </a:lnTo>
                <a:lnTo>
                  <a:pt x="248" y="496"/>
                </a:lnTo>
                <a:lnTo>
                  <a:pt x="40" y="304"/>
                </a:lnTo>
                <a:lnTo>
                  <a:pt x="0" y="328"/>
                </a:lnTo>
                <a:lnTo>
                  <a:pt x="296" y="607"/>
                </a:lnTo>
                <a:lnTo>
                  <a:pt x="552" y="344"/>
                </a:lnTo>
                <a:lnTo>
                  <a:pt x="512" y="304"/>
                </a:lnTo>
                <a:lnTo>
                  <a:pt x="320" y="496"/>
                </a:lnTo>
                <a:lnTo>
                  <a:pt x="320" y="0"/>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22" name="Freeform 10"/>
          <p:cNvSpPr>
            <a:spLocks/>
          </p:cNvSpPr>
          <p:nvPr/>
        </p:nvSpPr>
        <p:spPr bwMode="auto">
          <a:xfrm>
            <a:off x="3848065" y="3469799"/>
            <a:ext cx="1228725" cy="1071562"/>
          </a:xfrm>
          <a:custGeom>
            <a:avLst/>
            <a:gdLst>
              <a:gd name="T0" fmla="*/ 0 w 616"/>
              <a:gd name="T1" fmla="*/ 449552 h 553"/>
              <a:gd name="T2" fmla="*/ 0 w 616"/>
              <a:gd name="T3" fmla="*/ 589068 h 553"/>
              <a:gd name="T4" fmla="*/ 989363 w 616"/>
              <a:gd name="T5" fmla="*/ 589068 h 553"/>
              <a:gd name="T6" fmla="*/ 606384 w 616"/>
              <a:gd name="T7" fmla="*/ 992115 h 553"/>
              <a:gd name="T8" fmla="*/ 654256 w 616"/>
              <a:gd name="T9" fmla="*/ 1069624 h 553"/>
              <a:gd name="T10" fmla="*/ 1226730 w 616"/>
              <a:gd name="T11" fmla="*/ 496058 h 553"/>
              <a:gd name="T12" fmla="*/ 686171 w 616"/>
              <a:gd name="T13" fmla="*/ 0 h 553"/>
              <a:gd name="T14" fmla="*/ 606384 w 616"/>
              <a:gd name="T15" fmla="*/ 77509 h 553"/>
              <a:gd name="T16" fmla="*/ 989363 w 616"/>
              <a:gd name="T17" fmla="*/ 449552 h 553"/>
              <a:gd name="T18" fmla="*/ 0 w 616"/>
              <a:gd name="T19" fmla="*/ 449552 h 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53"/>
              <a:gd name="T32" fmla="*/ 616 w 616"/>
              <a:gd name="T33" fmla="*/ 553 h 5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53">
                <a:moveTo>
                  <a:pt x="0" y="232"/>
                </a:moveTo>
                <a:lnTo>
                  <a:pt x="0" y="304"/>
                </a:lnTo>
                <a:lnTo>
                  <a:pt x="496" y="304"/>
                </a:lnTo>
                <a:lnTo>
                  <a:pt x="304" y="512"/>
                </a:lnTo>
                <a:lnTo>
                  <a:pt x="328" y="552"/>
                </a:lnTo>
                <a:lnTo>
                  <a:pt x="615" y="256"/>
                </a:lnTo>
                <a:lnTo>
                  <a:pt x="344" y="0"/>
                </a:lnTo>
                <a:lnTo>
                  <a:pt x="304" y="40"/>
                </a:lnTo>
                <a:lnTo>
                  <a:pt x="496" y="232"/>
                </a:lnTo>
                <a:lnTo>
                  <a:pt x="0" y="232"/>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23" name="Freeform 11"/>
          <p:cNvSpPr>
            <a:spLocks/>
          </p:cNvSpPr>
          <p:nvPr/>
        </p:nvSpPr>
        <p:spPr bwMode="auto">
          <a:xfrm>
            <a:off x="7129427" y="3476944"/>
            <a:ext cx="1228725" cy="1057275"/>
          </a:xfrm>
          <a:custGeom>
            <a:avLst/>
            <a:gdLst>
              <a:gd name="T0" fmla="*/ 1226730 w 616"/>
              <a:gd name="T1" fmla="*/ 465589 h 545"/>
              <a:gd name="T2" fmla="*/ 1226730 w 616"/>
              <a:gd name="T3" fmla="*/ 589746 h 545"/>
              <a:gd name="T4" fmla="*/ 237367 w 616"/>
              <a:gd name="T5" fmla="*/ 589746 h 545"/>
              <a:gd name="T6" fmla="*/ 620347 w 616"/>
              <a:gd name="T7" fmla="*/ 977737 h 545"/>
              <a:gd name="T8" fmla="*/ 556517 w 616"/>
              <a:gd name="T9" fmla="*/ 1055335 h 545"/>
              <a:gd name="T10" fmla="*/ 0 w 616"/>
              <a:gd name="T11" fmla="*/ 496628 h 545"/>
              <a:gd name="T12" fmla="*/ 540559 w 616"/>
              <a:gd name="T13" fmla="*/ 0 h 545"/>
              <a:gd name="T14" fmla="*/ 620347 w 616"/>
              <a:gd name="T15" fmla="*/ 77598 h 545"/>
              <a:gd name="T16" fmla="*/ 237367 w 616"/>
              <a:gd name="T17" fmla="*/ 465589 h 545"/>
              <a:gd name="T18" fmla="*/ 1226730 w 616"/>
              <a:gd name="T19" fmla="*/ 465589 h 5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45"/>
              <a:gd name="T32" fmla="*/ 616 w 616"/>
              <a:gd name="T33" fmla="*/ 545 h 5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45">
                <a:moveTo>
                  <a:pt x="615" y="240"/>
                </a:moveTo>
                <a:lnTo>
                  <a:pt x="615" y="304"/>
                </a:lnTo>
                <a:lnTo>
                  <a:pt x="119" y="304"/>
                </a:lnTo>
                <a:lnTo>
                  <a:pt x="311" y="504"/>
                </a:lnTo>
                <a:lnTo>
                  <a:pt x="279" y="544"/>
                </a:lnTo>
                <a:lnTo>
                  <a:pt x="0" y="256"/>
                </a:lnTo>
                <a:lnTo>
                  <a:pt x="271" y="0"/>
                </a:lnTo>
                <a:lnTo>
                  <a:pt x="311" y="40"/>
                </a:lnTo>
                <a:lnTo>
                  <a:pt x="119" y="240"/>
                </a:lnTo>
                <a:lnTo>
                  <a:pt x="615" y="240"/>
                </a:lnTo>
              </a:path>
            </a:pathLst>
          </a:custGeom>
          <a:solidFill>
            <a:schemeClr val="accent1"/>
          </a:solidFill>
          <a:ln w="12700" cap="rnd">
            <a:noFill/>
            <a:round/>
            <a:headEnd/>
            <a:tailEnd/>
          </a:ln>
        </p:spPr>
        <p:txBody>
          <a:bodyPr wrap="square" lIns="36000" tIns="36000" rIns="36000" bIns="36000"/>
          <a:lstStyle/>
          <a:p>
            <a:pPr>
              <a:defRPr/>
            </a:pPr>
            <a:endParaRPr lang="en-US" dirty="0"/>
          </a:p>
        </p:txBody>
      </p:sp>
      <p:sp>
        <p:nvSpPr>
          <p:cNvPr id="25" name="TextBox 24"/>
          <p:cNvSpPr txBox="1"/>
          <p:nvPr/>
        </p:nvSpPr>
        <p:spPr bwMode="gray">
          <a:xfrm>
            <a:off x="52800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217485956"/>
      </p:ext>
    </p:extLst>
  </p:cSld>
  <p:clrMapOvr>
    <a:masterClrMapping/>
  </p:clrMapOvr>
  <p:transition>
    <p:fade/>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8417" name="Title 1"/>
          <p:cNvSpPr>
            <a:spLocks noGrp="1"/>
          </p:cNvSpPr>
          <p:nvPr>
            <p:ph type="title"/>
          </p:nvPr>
        </p:nvSpPr>
        <p:spPr/>
        <p:txBody>
          <a:bodyPr/>
          <a:lstStyle/>
          <a:p>
            <a:r>
              <a:rPr lang="en-US" dirty="0"/>
              <a:t>Flow down</a:t>
            </a:r>
          </a:p>
        </p:txBody>
      </p:sp>
      <p:grpSp>
        <p:nvGrpSpPr>
          <p:cNvPr id="2" name="Group 1"/>
          <p:cNvGrpSpPr/>
          <p:nvPr/>
        </p:nvGrpSpPr>
        <p:grpSpPr>
          <a:xfrm>
            <a:off x="4117976" y="2205039"/>
            <a:ext cx="3941763" cy="3957637"/>
            <a:chOff x="2593975" y="1976438"/>
            <a:chExt cx="3941763" cy="3957637"/>
          </a:xfrm>
        </p:grpSpPr>
        <p:sp>
          <p:nvSpPr>
            <p:cNvPr id="5" name="Freeform 3"/>
            <p:cNvSpPr>
              <a:spLocks/>
            </p:cNvSpPr>
            <p:nvPr/>
          </p:nvSpPr>
          <p:spPr bwMode="blackWhite">
            <a:xfrm>
              <a:off x="2595563" y="1976438"/>
              <a:ext cx="3937000" cy="3957637"/>
            </a:xfrm>
            <a:custGeom>
              <a:avLst/>
              <a:gdLst>
                <a:gd name="T0" fmla="*/ 2147483647 w 2634"/>
                <a:gd name="T1" fmla="*/ 2147483647 h 2443"/>
                <a:gd name="T2" fmla="*/ 2147483647 w 2634"/>
                <a:gd name="T3" fmla="*/ 2147483647 h 2443"/>
                <a:gd name="T4" fmla="*/ 2147483647 w 2634"/>
                <a:gd name="T5" fmla="*/ 2147483647 h 2443"/>
                <a:gd name="T6" fmla="*/ 2147483647 w 2634"/>
                <a:gd name="T7" fmla="*/ 2147483647 h 2443"/>
                <a:gd name="T8" fmla="*/ 2147483647 w 2634"/>
                <a:gd name="T9" fmla="*/ 2147483647 h 2443"/>
                <a:gd name="T10" fmla="*/ 2147483647 w 2634"/>
                <a:gd name="T11" fmla="*/ 0 h 2443"/>
                <a:gd name="T12" fmla="*/ 0 w 2634"/>
                <a:gd name="T13" fmla="*/ 0 h 2443"/>
                <a:gd name="T14" fmla="*/ 2147483647 w 2634"/>
                <a:gd name="T15" fmla="*/ 2147483647 h 2443"/>
                <a:gd name="T16" fmla="*/ 0 60000 65536"/>
                <a:gd name="T17" fmla="*/ 0 60000 65536"/>
                <a:gd name="T18" fmla="*/ 0 60000 65536"/>
                <a:gd name="T19" fmla="*/ 0 60000 65536"/>
                <a:gd name="T20" fmla="*/ 0 60000 65536"/>
                <a:gd name="T21" fmla="*/ 0 60000 65536"/>
                <a:gd name="T22" fmla="*/ 0 60000 65536"/>
                <a:gd name="T23" fmla="*/ 0 60000 65536"/>
                <a:gd name="T24" fmla="*/ 0 w 2634"/>
                <a:gd name="T25" fmla="*/ 0 h 2443"/>
                <a:gd name="T26" fmla="*/ 2634 w 2634"/>
                <a:gd name="T27" fmla="*/ 2443 h 24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4" h="2443">
                  <a:moveTo>
                    <a:pt x="791" y="2042"/>
                  </a:moveTo>
                  <a:lnTo>
                    <a:pt x="495" y="2042"/>
                  </a:lnTo>
                  <a:lnTo>
                    <a:pt x="1318" y="2443"/>
                  </a:lnTo>
                  <a:lnTo>
                    <a:pt x="2141" y="2042"/>
                  </a:lnTo>
                  <a:lnTo>
                    <a:pt x="1799" y="2042"/>
                  </a:lnTo>
                  <a:lnTo>
                    <a:pt x="2634" y="0"/>
                  </a:lnTo>
                  <a:lnTo>
                    <a:pt x="0" y="0"/>
                  </a:lnTo>
                  <a:lnTo>
                    <a:pt x="791" y="2042"/>
                  </a:lnTo>
                  <a:close/>
                </a:path>
              </a:pathLst>
            </a:custGeom>
            <a:noFill/>
            <a:ln w="38100" cap="rnd">
              <a:solidFill>
                <a:schemeClr val="accent1"/>
              </a:solidFill>
              <a:round/>
              <a:headEnd/>
              <a:tailEnd/>
            </a:ln>
          </p:spPr>
          <p:txBody>
            <a:bodyPr lIns="36000" tIns="36000" rIns="36000" bIns="36000"/>
            <a:lstStyle/>
            <a:p>
              <a:pPr>
                <a:defRPr/>
              </a:pPr>
              <a:endParaRPr lang="en-US" dirty="0"/>
            </a:p>
          </p:txBody>
        </p:sp>
        <p:sp>
          <p:nvSpPr>
            <p:cNvPr id="828420" name="Rectangle 4"/>
            <p:cNvSpPr>
              <a:spLocks noChangeArrowheads="1"/>
            </p:cNvSpPr>
            <p:nvPr/>
          </p:nvSpPr>
          <p:spPr bwMode="blackWhite">
            <a:xfrm>
              <a:off x="2593975" y="4156075"/>
              <a:ext cx="3941763" cy="215900"/>
            </a:xfrm>
            <a:prstGeom prst="rect">
              <a:avLst/>
            </a:prstGeom>
            <a:solidFill>
              <a:schemeClr val="tx1"/>
            </a:solidFill>
            <a:ln w="9525">
              <a:noFill/>
              <a:miter lim="800000"/>
              <a:headEnd/>
              <a:tailEnd/>
            </a:ln>
          </p:spPr>
          <p:txBody>
            <a:bodyPr wrap="none" lIns="36000" tIns="36000" rIns="36000" bIns="36000" anchor="ctr"/>
            <a:lstStyle/>
            <a:p>
              <a:pPr algn="ctr"/>
              <a:endParaRPr lang="en-US" dirty="0"/>
            </a:p>
          </p:txBody>
        </p:sp>
        <p:sp>
          <p:nvSpPr>
            <p:cNvPr id="828421" name="Rectangle 5"/>
            <p:cNvSpPr>
              <a:spLocks noChangeArrowheads="1"/>
            </p:cNvSpPr>
            <p:nvPr/>
          </p:nvSpPr>
          <p:spPr bwMode="blackWhite">
            <a:xfrm>
              <a:off x="2593975" y="3043238"/>
              <a:ext cx="3941763" cy="217487"/>
            </a:xfrm>
            <a:prstGeom prst="rect">
              <a:avLst/>
            </a:prstGeom>
            <a:solidFill>
              <a:schemeClr val="tx1"/>
            </a:solidFill>
            <a:ln w="9525">
              <a:noFill/>
              <a:miter lim="800000"/>
              <a:headEnd/>
              <a:tailEnd/>
            </a:ln>
          </p:spPr>
          <p:txBody>
            <a:bodyPr wrap="none" lIns="36000" tIns="36000" rIns="36000" bIns="36000" anchor="ctr"/>
            <a:lstStyle/>
            <a:p>
              <a:pPr algn="ctr"/>
              <a:endParaRPr lang="en-US" dirty="0"/>
            </a:p>
          </p:txBody>
        </p:sp>
        <p:sp>
          <p:nvSpPr>
            <p:cNvPr id="828422" name="Rectangle 6"/>
            <p:cNvSpPr>
              <a:spLocks noChangeArrowheads="1"/>
            </p:cNvSpPr>
            <p:nvPr>
              <p:custDataLst>
                <p:tags r:id="rId1"/>
              </p:custDataLst>
            </p:nvPr>
          </p:nvSpPr>
          <p:spPr bwMode="auto">
            <a:xfrm>
              <a:off x="4333441" y="2459375"/>
              <a:ext cx="477118" cy="204671"/>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400" dirty="0"/>
                <a:t>Text</a:t>
              </a:r>
            </a:p>
          </p:txBody>
        </p:sp>
        <p:sp>
          <p:nvSpPr>
            <p:cNvPr id="828423" name="Rectangle 7"/>
            <p:cNvSpPr>
              <a:spLocks noChangeArrowheads="1"/>
            </p:cNvSpPr>
            <p:nvPr>
              <p:custDataLst>
                <p:tags r:id="rId2"/>
              </p:custDataLst>
            </p:nvPr>
          </p:nvSpPr>
          <p:spPr bwMode="auto">
            <a:xfrm>
              <a:off x="4333441" y="3667463"/>
              <a:ext cx="477118" cy="204671"/>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400" dirty="0"/>
                <a:t>Text</a:t>
              </a:r>
            </a:p>
          </p:txBody>
        </p:sp>
        <p:sp>
          <p:nvSpPr>
            <p:cNvPr id="828424" name="Rectangle 8"/>
            <p:cNvSpPr>
              <a:spLocks noChangeArrowheads="1"/>
            </p:cNvSpPr>
            <p:nvPr>
              <p:custDataLst>
                <p:tags r:id="rId3"/>
              </p:custDataLst>
            </p:nvPr>
          </p:nvSpPr>
          <p:spPr bwMode="auto">
            <a:xfrm>
              <a:off x="4333441" y="4845388"/>
              <a:ext cx="477118" cy="204671"/>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400" dirty="0"/>
                <a:t>Text</a:t>
              </a:r>
            </a:p>
          </p:txBody>
        </p:sp>
      </p:grpSp>
      <p:sp>
        <p:nvSpPr>
          <p:cNvPr id="13" name="TextBox 12">
            <a:extLst>
              <a:ext uri="{FF2B5EF4-FFF2-40B4-BE49-F238E27FC236}">
                <a16:creationId xmlns:a16="http://schemas.microsoft.com/office/drawing/2014/main" id="{6ACFEC93-168E-4630-88AB-0C28AC111103}"/>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4128314513"/>
      </p:ext>
    </p:extLst>
  </p:cSld>
  <p:clrMapOvr>
    <a:masterClrMapping/>
  </p:clrMapOvr>
  <p:transition>
    <p:fade/>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29441" name="Title 1"/>
          <p:cNvSpPr>
            <a:spLocks noGrp="1"/>
          </p:cNvSpPr>
          <p:nvPr>
            <p:ph type="title"/>
          </p:nvPr>
        </p:nvSpPr>
        <p:spPr/>
        <p:txBody>
          <a:bodyPr/>
          <a:lstStyle/>
          <a:p>
            <a:r>
              <a:rPr lang="en-US" altLang="ja-JP" dirty="0"/>
              <a:t>History</a:t>
            </a:r>
            <a:endParaRPr lang="en-US" dirty="0"/>
          </a:p>
        </p:txBody>
      </p:sp>
      <p:grpSp>
        <p:nvGrpSpPr>
          <p:cNvPr id="4" name="Group 3">
            <a:extLst>
              <a:ext uri="{FF2B5EF4-FFF2-40B4-BE49-F238E27FC236}">
                <a16:creationId xmlns:a16="http://schemas.microsoft.com/office/drawing/2014/main" id="{88C8881D-8722-463E-ACD7-4BCA215F45D2}"/>
              </a:ext>
            </a:extLst>
          </p:cNvPr>
          <p:cNvGrpSpPr/>
          <p:nvPr/>
        </p:nvGrpSpPr>
        <p:grpSpPr>
          <a:xfrm>
            <a:off x="558866" y="1910322"/>
            <a:ext cx="11105965" cy="2666835"/>
            <a:chOff x="1910345" y="1998437"/>
            <a:chExt cx="8341250" cy="2002954"/>
          </a:xfrm>
        </p:grpSpPr>
        <p:sp>
          <p:nvSpPr>
            <p:cNvPr id="48" name="Rectangle 47"/>
            <p:cNvSpPr/>
            <p:nvPr/>
          </p:nvSpPr>
          <p:spPr>
            <a:xfrm rot="16200000">
              <a:off x="8039705" y="2492331"/>
              <a:ext cx="1161269" cy="173482"/>
            </a:xfrm>
            <a:prstGeom prst="rect">
              <a:avLst/>
            </a:prstGeom>
          </p:spPr>
          <p:txBody>
            <a:bodyPr wrap="square" lIns="0" tIns="0" rIns="0" bIns="0" anchor="ctr" anchorCtr="0">
              <a:spAutoFit/>
            </a:bodyPr>
            <a:lstStyle/>
            <a:p>
              <a:r>
                <a:rPr lang="en-US" sz="1100" dirty="0">
                  <a:solidFill>
                    <a:srgbClr val="53565A"/>
                  </a:solidFill>
                </a:rPr>
                <a:t>Detail Seven</a:t>
              </a:r>
            </a:p>
          </p:txBody>
        </p:sp>
        <p:sp>
          <p:nvSpPr>
            <p:cNvPr id="21" name="Rectangle 20"/>
            <p:cNvSpPr/>
            <p:nvPr/>
          </p:nvSpPr>
          <p:spPr>
            <a:xfrm>
              <a:off x="3467503" y="3306808"/>
              <a:ext cx="5212080" cy="101846"/>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22" name="TextBox 21"/>
            <p:cNvSpPr txBox="1"/>
            <p:nvPr/>
          </p:nvSpPr>
          <p:spPr>
            <a:xfrm>
              <a:off x="3118913" y="2817355"/>
              <a:ext cx="366457" cy="307777"/>
            </a:xfrm>
            <a:prstGeom prst="rect">
              <a:avLst/>
            </a:prstGeom>
            <a:noFill/>
          </p:spPr>
          <p:txBody>
            <a:bodyPr wrap="square" lIns="0" tIns="0" rIns="0" bIns="0" rtlCol="0">
              <a:spAutoFit/>
            </a:bodyPr>
            <a:lstStyle/>
            <a:p>
              <a:pPr algn="ctr"/>
              <a:r>
                <a:rPr lang="en-US" sz="2000" dirty="0">
                  <a:solidFill>
                    <a:schemeClr val="accent1"/>
                  </a:solidFill>
                </a:rPr>
                <a:t>01</a:t>
              </a:r>
            </a:p>
          </p:txBody>
        </p:sp>
        <p:sp>
          <p:nvSpPr>
            <p:cNvPr id="23" name="Oval 22"/>
            <p:cNvSpPr/>
            <p:nvPr/>
          </p:nvSpPr>
          <p:spPr>
            <a:xfrm>
              <a:off x="3441072"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4" name="Oval 23"/>
            <p:cNvSpPr/>
            <p:nvPr/>
          </p:nvSpPr>
          <p:spPr>
            <a:xfrm>
              <a:off x="4285212"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5" name="Oval 24"/>
            <p:cNvSpPr/>
            <p:nvPr/>
          </p:nvSpPr>
          <p:spPr>
            <a:xfrm>
              <a:off x="5129352" y="3248856"/>
              <a:ext cx="201168" cy="203689"/>
            </a:xfrm>
            <a:prstGeom prst="ellipse">
              <a:avLst/>
            </a:prstGeom>
            <a:solidFill>
              <a:schemeClr val="tx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6" name="Oval 25"/>
            <p:cNvSpPr/>
            <p:nvPr/>
          </p:nvSpPr>
          <p:spPr>
            <a:xfrm>
              <a:off x="5973492" y="3248856"/>
              <a:ext cx="201168" cy="203689"/>
            </a:xfrm>
            <a:prstGeom prst="ellipse">
              <a:avLst/>
            </a:prstGeom>
            <a:solidFill>
              <a:schemeClr val="tx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7" name="Oval 26"/>
            <p:cNvSpPr/>
            <p:nvPr/>
          </p:nvSpPr>
          <p:spPr>
            <a:xfrm>
              <a:off x="6817632"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8" name="Oval 27"/>
            <p:cNvSpPr/>
            <p:nvPr/>
          </p:nvSpPr>
          <p:spPr>
            <a:xfrm>
              <a:off x="7661772" y="3248856"/>
              <a:ext cx="201168" cy="203689"/>
            </a:xfrm>
            <a:prstGeom prst="ellipse">
              <a:avLst/>
            </a:prstGeom>
            <a:solidFill>
              <a:schemeClr val="tx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9" name="Oval 28"/>
            <p:cNvSpPr/>
            <p:nvPr/>
          </p:nvSpPr>
          <p:spPr>
            <a:xfrm>
              <a:off x="8505910" y="3248856"/>
              <a:ext cx="201168" cy="203689"/>
            </a:xfrm>
            <a:prstGeom prst="ellipse">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30" name="Pentagon 29"/>
            <p:cNvSpPr/>
            <p:nvPr/>
          </p:nvSpPr>
          <p:spPr>
            <a:xfrm>
              <a:off x="1910345" y="3030376"/>
              <a:ext cx="1484008" cy="64008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1" name="Pentagon 30"/>
            <p:cNvSpPr/>
            <p:nvPr/>
          </p:nvSpPr>
          <p:spPr>
            <a:xfrm flipH="1">
              <a:off x="8767587" y="3030376"/>
              <a:ext cx="1484008" cy="64008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2" name="Isosceles Triangle 31"/>
            <p:cNvSpPr/>
            <p:nvPr/>
          </p:nvSpPr>
          <p:spPr>
            <a:xfrm flipV="1">
              <a:off x="3475638"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3" name="Isosceles Triangle 32"/>
            <p:cNvSpPr/>
            <p:nvPr/>
          </p:nvSpPr>
          <p:spPr>
            <a:xfrm flipV="1">
              <a:off x="4328113"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4" name="Isosceles Triangle 33"/>
            <p:cNvSpPr/>
            <p:nvPr/>
          </p:nvSpPr>
          <p:spPr>
            <a:xfrm flipV="1">
              <a:off x="6863433"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35" name="Isosceles Triangle 34"/>
            <p:cNvSpPr/>
            <p:nvPr/>
          </p:nvSpPr>
          <p:spPr>
            <a:xfrm flipV="1">
              <a:off x="8554056" y="3487291"/>
              <a:ext cx="132843" cy="138989"/>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40" name="Rectangle 39"/>
            <p:cNvSpPr/>
            <p:nvPr/>
          </p:nvSpPr>
          <p:spPr>
            <a:xfrm>
              <a:off x="1967602" y="3265777"/>
              <a:ext cx="1151310" cy="169277"/>
            </a:xfrm>
            <a:prstGeom prst="rect">
              <a:avLst/>
            </a:prstGeom>
          </p:spPr>
          <p:txBody>
            <a:bodyPr wrap="square" lIns="0" tIns="0" rIns="0" bIns="0" anchor="ctr" anchorCtr="0">
              <a:spAutoFit/>
            </a:bodyPr>
            <a:lstStyle/>
            <a:p>
              <a:r>
                <a:rPr lang="en-US" sz="1100" dirty="0"/>
                <a:t>Call out detail 1</a:t>
              </a:r>
            </a:p>
          </p:txBody>
        </p:sp>
        <p:sp>
          <p:nvSpPr>
            <p:cNvPr id="41" name="Rectangle 40"/>
            <p:cNvSpPr/>
            <p:nvPr/>
          </p:nvSpPr>
          <p:spPr>
            <a:xfrm>
              <a:off x="9099090" y="3265777"/>
              <a:ext cx="1151310" cy="169277"/>
            </a:xfrm>
            <a:prstGeom prst="rect">
              <a:avLst/>
            </a:prstGeom>
          </p:spPr>
          <p:txBody>
            <a:bodyPr wrap="square" lIns="0" tIns="0" rIns="0" bIns="0" anchor="ctr" anchorCtr="0">
              <a:spAutoFit/>
            </a:bodyPr>
            <a:lstStyle/>
            <a:p>
              <a:r>
                <a:rPr lang="en-US" sz="1100" dirty="0"/>
                <a:t>Call out detail 1</a:t>
              </a:r>
            </a:p>
          </p:txBody>
        </p:sp>
        <p:sp>
          <p:nvSpPr>
            <p:cNvPr id="42" name="Rectangle 41"/>
            <p:cNvSpPr/>
            <p:nvPr/>
          </p:nvSpPr>
          <p:spPr>
            <a:xfrm rot="16200000">
              <a:off x="3113247" y="2641390"/>
              <a:ext cx="867356" cy="169277"/>
            </a:xfrm>
            <a:prstGeom prst="rect">
              <a:avLst/>
            </a:prstGeom>
          </p:spPr>
          <p:txBody>
            <a:bodyPr wrap="square" lIns="0" tIns="0" rIns="0" bIns="0" anchor="ctr" anchorCtr="0">
              <a:spAutoFit/>
            </a:bodyPr>
            <a:lstStyle/>
            <a:p>
              <a:r>
                <a:rPr lang="en-US" sz="1100" dirty="0">
                  <a:solidFill>
                    <a:srgbClr val="53565A"/>
                  </a:solidFill>
                </a:rPr>
                <a:t>Detail One</a:t>
              </a:r>
            </a:p>
          </p:txBody>
        </p:sp>
        <p:sp>
          <p:nvSpPr>
            <p:cNvPr id="43" name="Rectangle 42"/>
            <p:cNvSpPr/>
            <p:nvPr/>
          </p:nvSpPr>
          <p:spPr>
            <a:xfrm rot="16200000">
              <a:off x="3958465" y="2641390"/>
              <a:ext cx="867356" cy="169277"/>
            </a:xfrm>
            <a:prstGeom prst="rect">
              <a:avLst/>
            </a:prstGeom>
          </p:spPr>
          <p:txBody>
            <a:bodyPr wrap="square" lIns="0" tIns="0" rIns="0" bIns="0" anchor="ctr" anchorCtr="0">
              <a:spAutoFit/>
            </a:bodyPr>
            <a:lstStyle/>
            <a:p>
              <a:r>
                <a:rPr lang="en-US" sz="1100" dirty="0">
                  <a:solidFill>
                    <a:srgbClr val="53565A"/>
                  </a:solidFill>
                </a:rPr>
                <a:t>Detail Two</a:t>
              </a:r>
            </a:p>
          </p:txBody>
        </p:sp>
        <p:sp>
          <p:nvSpPr>
            <p:cNvPr id="44" name="Rectangle 43"/>
            <p:cNvSpPr/>
            <p:nvPr/>
          </p:nvSpPr>
          <p:spPr>
            <a:xfrm rot="16200000">
              <a:off x="4803683" y="2641390"/>
              <a:ext cx="867356" cy="169277"/>
            </a:xfrm>
            <a:prstGeom prst="rect">
              <a:avLst/>
            </a:prstGeom>
          </p:spPr>
          <p:txBody>
            <a:bodyPr wrap="square" lIns="0" tIns="0" rIns="0" bIns="0" anchor="ctr" anchorCtr="0">
              <a:spAutoFit/>
            </a:bodyPr>
            <a:lstStyle/>
            <a:p>
              <a:r>
                <a:rPr lang="en-US" sz="1100" dirty="0">
                  <a:solidFill>
                    <a:srgbClr val="53565A"/>
                  </a:solidFill>
                </a:rPr>
                <a:t>Detail Three</a:t>
              </a:r>
            </a:p>
          </p:txBody>
        </p:sp>
        <p:sp>
          <p:nvSpPr>
            <p:cNvPr id="45" name="Rectangle 44"/>
            <p:cNvSpPr/>
            <p:nvPr/>
          </p:nvSpPr>
          <p:spPr>
            <a:xfrm rot="16200000">
              <a:off x="5648902" y="2641390"/>
              <a:ext cx="867356" cy="169277"/>
            </a:xfrm>
            <a:prstGeom prst="rect">
              <a:avLst/>
            </a:prstGeom>
          </p:spPr>
          <p:txBody>
            <a:bodyPr wrap="square" lIns="0" tIns="0" rIns="0" bIns="0" anchor="ctr" anchorCtr="0">
              <a:spAutoFit/>
            </a:bodyPr>
            <a:lstStyle/>
            <a:p>
              <a:r>
                <a:rPr lang="en-US" sz="1100" dirty="0">
                  <a:solidFill>
                    <a:srgbClr val="53565A"/>
                  </a:solidFill>
                </a:rPr>
                <a:t>Detail Four</a:t>
              </a:r>
            </a:p>
          </p:txBody>
        </p:sp>
        <p:sp>
          <p:nvSpPr>
            <p:cNvPr id="46" name="Rectangle 45"/>
            <p:cNvSpPr/>
            <p:nvPr/>
          </p:nvSpPr>
          <p:spPr>
            <a:xfrm rot="16200000">
              <a:off x="6494121" y="2641390"/>
              <a:ext cx="867356" cy="169277"/>
            </a:xfrm>
            <a:prstGeom prst="rect">
              <a:avLst/>
            </a:prstGeom>
          </p:spPr>
          <p:txBody>
            <a:bodyPr wrap="square" lIns="0" tIns="0" rIns="0" bIns="0" anchor="ctr" anchorCtr="0">
              <a:spAutoFit/>
            </a:bodyPr>
            <a:lstStyle/>
            <a:p>
              <a:r>
                <a:rPr lang="en-US" sz="1100" dirty="0">
                  <a:solidFill>
                    <a:srgbClr val="53565A"/>
                  </a:solidFill>
                </a:rPr>
                <a:t>Detail Five</a:t>
              </a:r>
            </a:p>
          </p:txBody>
        </p:sp>
        <p:sp>
          <p:nvSpPr>
            <p:cNvPr id="47" name="Rectangle 46"/>
            <p:cNvSpPr/>
            <p:nvPr/>
          </p:nvSpPr>
          <p:spPr>
            <a:xfrm rot="16200000">
              <a:off x="7332909" y="2641390"/>
              <a:ext cx="867356" cy="169277"/>
            </a:xfrm>
            <a:prstGeom prst="rect">
              <a:avLst/>
            </a:prstGeom>
          </p:spPr>
          <p:txBody>
            <a:bodyPr wrap="square" lIns="0" tIns="0" rIns="0" bIns="0" anchor="ctr" anchorCtr="0">
              <a:spAutoFit/>
            </a:bodyPr>
            <a:lstStyle/>
            <a:p>
              <a:r>
                <a:rPr lang="en-US" sz="1100" dirty="0">
                  <a:solidFill>
                    <a:srgbClr val="53565A"/>
                  </a:solidFill>
                </a:rPr>
                <a:t>Detail Six</a:t>
              </a:r>
            </a:p>
          </p:txBody>
        </p:sp>
        <p:sp>
          <p:nvSpPr>
            <p:cNvPr id="49" name="TextBox 48"/>
            <p:cNvSpPr txBox="1"/>
            <p:nvPr/>
          </p:nvSpPr>
          <p:spPr>
            <a:xfrm>
              <a:off x="3951551" y="2817355"/>
              <a:ext cx="366457" cy="307777"/>
            </a:xfrm>
            <a:prstGeom prst="rect">
              <a:avLst/>
            </a:prstGeom>
            <a:noFill/>
          </p:spPr>
          <p:txBody>
            <a:bodyPr wrap="square" lIns="0" tIns="0" rIns="0" bIns="0" rtlCol="0">
              <a:spAutoFit/>
            </a:bodyPr>
            <a:lstStyle/>
            <a:p>
              <a:pPr algn="ctr"/>
              <a:r>
                <a:rPr lang="en-US" sz="2000" dirty="0">
                  <a:solidFill>
                    <a:schemeClr val="accent1"/>
                  </a:solidFill>
                </a:rPr>
                <a:t>02</a:t>
              </a:r>
            </a:p>
          </p:txBody>
        </p:sp>
        <p:sp>
          <p:nvSpPr>
            <p:cNvPr id="50" name="TextBox 49"/>
            <p:cNvSpPr txBox="1"/>
            <p:nvPr/>
          </p:nvSpPr>
          <p:spPr>
            <a:xfrm>
              <a:off x="4811808" y="2817355"/>
              <a:ext cx="366457" cy="307777"/>
            </a:xfrm>
            <a:prstGeom prst="rect">
              <a:avLst/>
            </a:prstGeom>
            <a:noFill/>
          </p:spPr>
          <p:txBody>
            <a:bodyPr wrap="square" lIns="0" tIns="0" rIns="0" bIns="0" rtlCol="0">
              <a:spAutoFit/>
            </a:bodyPr>
            <a:lstStyle/>
            <a:p>
              <a:pPr algn="ctr"/>
              <a:r>
                <a:rPr lang="en-US" sz="2000" dirty="0">
                  <a:solidFill>
                    <a:schemeClr val="accent1"/>
                  </a:solidFill>
                </a:rPr>
                <a:t>03</a:t>
              </a:r>
            </a:p>
          </p:txBody>
        </p:sp>
        <p:sp>
          <p:nvSpPr>
            <p:cNvPr id="51" name="TextBox 50"/>
            <p:cNvSpPr txBox="1"/>
            <p:nvPr/>
          </p:nvSpPr>
          <p:spPr>
            <a:xfrm>
              <a:off x="5654568" y="2817355"/>
              <a:ext cx="366457" cy="307777"/>
            </a:xfrm>
            <a:prstGeom prst="rect">
              <a:avLst/>
            </a:prstGeom>
            <a:noFill/>
          </p:spPr>
          <p:txBody>
            <a:bodyPr wrap="square" lIns="0" tIns="0" rIns="0" bIns="0" rtlCol="0">
              <a:spAutoFit/>
            </a:bodyPr>
            <a:lstStyle/>
            <a:p>
              <a:pPr algn="ctr"/>
              <a:r>
                <a:rPr lang="en-US" sz="2000" dirty="0">
                  <a:solidFill>
                    <a:schemeClr val="accent1"/>
                  </a:solidFill>
                </a:rPr>
                <a:t>04</a:t>
              </a:r>
            </a:p>
          </p:txBody>
        </p:sp>
        <p:sp>
          <p:nvSpPr>
            <p:cNvPr id="52" name="TextBox 51"/>
            <p:cNvSpPr txBox="1"/>
            <p:nvPr/>
          </p:nvSpPr>
          <p:spPr>
            <a:xfrm>
              <a:off x="6496976" y="2817355"/>
              <a:ext cx="366457" cy="307777"/>
            </a:xfrm>
            <a:prstGeom prst="rect">
              <a:avLst/>
            </a:prstGeom>
            <a:noFill/>
          </p:spPr>
          <p:txBody>
            <a:bodyPr wrap="square" lIns="0" tIns="0" rIns="0" bIns="0" rtlCol="0">
              <a:spAutoFit/>
            </a:bodyPr>
            <a:lstStyle/>
            <a:p>
              <a:pPr algn="ctr"/>
              <a:r>
                <a:rPr lang="en-US" sz="2000" dirty="0">
                  <a:solidFill>
                    <a:schemeClr val="accent1"/>
                  </a:solidFill>
                </a:rPr>
                <a:t>05</a:t>
              </a:r>
            </a:p>
          </p:txBody>
        </p:sp>
        <p:sp>
          <p:nvSpPr>
            <p:cNvPr id="53" name="TextBox 52"/>
            <p:cNvSpPr txBox="1"/>
            <p:nvPr/>
          </p:nvSpPr>
          <p:spPr>
            <a:xfrm>
              <a:off x="7344229" y="2817355"/>
              <a:ext cx="366457" cy="307777"/>
            </a:xfrm>
            <a:prstGeom prst="rect">
              <a:avLst/>
            </a:prstGeom>
            <a:noFill/>
          </p:spPr>
          <p:txBody>
            <a:bodyPr wrap="square" lIns="0" tIns="0" rIns="0" bIns="0" rtlCol="0">
              <a:spAutoFit/>
            </a:bodyPr>
            <a:lstStyle/>
            <a:p>
              <a:pPr algn="ctr"/>
              <a:r>
                <a:rPr lang="en-US" sz="2000" dirty="0">
                  <a:solidFill>
                    <a:schemeClr val="accent1"/>
                  </a:solidFill>
                </a:rPr>
                <a:t>06</a:t>
              </a:r>
            </a:p>
          </p:txBody>
        </p:sp>
        <p:sp>
          <p:nvSpPr>
            <p:cNvPr id="54" name="TextBox 53"/>
            <p:cNvSpPr txBox="1"/>
            <p:nvPr/>
          </p:nvSpPr>
          <p:spPr>
            <a:xfrm>
              <a:off x="8186961" y="2817355"/>
              <a:ext cx="366457" cy="307777"/>
            </a:xfrm>
            <a:prstGeom prst="rect">
              <a:avLst/>
            </a:prstGeom>
            <a:noFill/>
          </p:spPr>
          <p:txBody>
            <a:bodyPr wrap="square" lIns="0" tIns="0" rIns="0" bIns="0" rtlCol="0">
              <a:spAutoFit/>
            </a:bodyPr>
            <a:lstStyle/>
            <a:p>
              <a:pPr algn="ctr"/>
              <a:r>
                <a:rPr lang="en-US" sz="2000" dirty="0">
                  <a:solidFill>
                    <a:schemeClr val="accent1"/>
                  </a:solidFill>
                </a:rPr>
                <a:t>07</a:t>
              </a:r>
            </a:p>
          </p:txBody>
        </p:sp>
        <p:sp>
          <p:nvSpPr>
            <p:cNvPr id="58" name="Freeform 13"/>
            <p:cNvSpPr>
              <a:spLocks noChangeAspect="1" noEditPoints="1"/>
            </p:cNvSpPr>
            <p:nvPr/>
          </p:nvSpPr>
          <p:spPr bwMode="auto">
            <a:xfrm>
              <a:off x="3424950" y="3723369"/>
              <a:ext cx="238746" cy="259115"/>
            </a:xfrm>
            <a:custGeom>
              <a:avLst/>
              <a:gdLst/>
              <a:ahLst/>
              <a:cxnLst>
                <a:cxn ang="0">
                  <a:pos x="54" y="31"/>
                </a:cxn>
                <a:cxn ang="0">
                  <a:pos x="25" y="4"/>
                </a:cxn>
                <a:cxn ang="0">
                  <a:pos x="17" y="1"/>
                </a:cxn>
                <a:cxn ang="0">
                  <a:pos x="12" y="8"/>
                </a:cxn>
                <a:cxn ang="0">
                  <a:pos x="7" y="49"/>
                </a:cxn>
                <a:cxn ang="0">
                  <a:pos x="4" y="67"/>
                </a:cxn>
                <a:cxn ang="0">
                  <a:pos x="41" y="69"/>
                </a:cxn>
                <a:cxn ang="0">
                  <a:pos x="68" y="43"/>
                </a:cxn>
                <a:cxn ang="0">
                  <a:pos x="54" y="31"/>
                </a:cxn>
                <a:cxn ang="0">
                  <a:pos x="39" y="64"/>
                </a:cxn>
                <a:cxn ang="0">
                  <a:pos x="10" y="65"/>
                </a:cxn>
                <a:cxn ang="0">
                  <a:pos x="33" y="47"/>
                </a:cxn>
                <a:cxn ang="0">
                  <a:pos x="62" y="45"/>
                </a:cxn>
                <a:cxn ang="0">
                  <a:pos x="39" y="64"/>
                </a:cxn>
                <a:cxn ang="0">
                  <a:pos x="34" y="50"/>
                </a:cxn>
                <a:cxn ang="0">
                  <a:pos x="16" y="60"/>
                </a:cxn>
                <a:cxn ang="0">
                  <a:pos x="29" y="61"/>
                </a:cxn>
                <a:cxn ang="0">
                  <a:pos x="37" y="49"/>
                </a:cxn>
                <a:cxn ang="0">
                  <a:pos x="37" y="49"/>
                </a:cxn>
                <a:cxn ang="0">
                  <a:pos x="34" y="50"/>
                </a:cxn>
              </a:cxnLst>
              <a:rect l="0" t="0" r="r" b="b"/>
              <a:pathLst>
                <a:path w="70" h="76">
                  <a:moveTo>
                    <a:pt x="54" y="31"/>
                  </a:moveTo>
                  <a:cubicBezTo>
                    <a:pt x="45" y="11"/>
                    <a:pt x="40" y="3"/>
                    <a:pt x="25" y="4"/>
                  </a:cubicBezTo>
                  <a:cubicBezTo>
                    <a:pt x="20" y="4"/>
                    <a:pt x="21" y="0"/>
                    <a:pt x="17" y="1"/>
                  </a:cubicBezTo>
                  <a:cubicBezTo>
                    <a:pt x="13" y="3"/>
                    <a:pt x="16" y="5"/>
                    <a:pt x="12" y="8"/>
                  </a:cubicBezTo>
                  <a:cubicBezTo>
                    <a:pt x="0" y="18"/>
                    <a:pt x="1" y="27"/>
                    <a:pt x="7" y="49"/>
                  </a:cubicBezTo>
                  <a:cubicBezTo>
                    <a:pt x="9" y="58"/>
                    <a:pt x="1" y="58"/>
                    <a:pt x="4" y="67"/>
                  </a:cubicBezTo>
                  <a:cubicBezTo>
                    <a:pt x="6" y="73"/>
                    <a:pt x="23" y="76"/>
                    <a:pt x="41" y="69"/>
                  </a:cubicBezTo>
                  <a:cubicBezTo>
                    <a:pt x="59" y="63"/>
                    <a:pt x="70" y="50"/>
                    <a:pt x="68" y="43"/>
                  </a:cubicBezTo>
                  <a:cubicBezTo>
                    <a:pt x="65" y="35"/>
                    <a:pt x="58" y="39"/>
                    <a:pt x="54" y="31"/>
                  </a:cubicBezTo>
                  <a:close/>
                  <a:moveTo>
                    <a:pt x="39" y="64"/>
                  </a:moveTo>
                  <a:cubicBezTo>
                    <a:pt x="23" y="70"/>
                    <a:pt x="10" y="67"/>
                    <a:pt x="10" y="65"/>
                  </a:cubicBezTo>
                  <a:cubicBezTo>
                    <a:pt x="9" y="62"/>
                    <a:pt x="15" y="53"/>
                    <a:pt x="33" y="47"/>
                  </a:cubicBezTo>
                  <a:cubicBezTo>
                    <a:pt x="51" y="40"/>
                    <a:pt x="61" y="42"/>
                    <a:pt x="62" y="45"/>
                  </a:cubicBezTo>
                  <a:cubicBezTo>
                    <a:pt x="63" y="47"/>
                    <a:pt x="55" y="58"/>
                    <a:pt x="39" y="64"/>
                  </a:cubicBezTo>
                  <a:close/>
                  <a:moveTo>
                    <a:pt x="34" y="50"/>
                  </a:moveTo>
                  <a:cubicBezTo>
                    <a:pt x="26" y="53"/>
                    <a:pt x="20" y="56"/>
                    <a:pt x="16" y="60"/>
                  </a:cubicBezTo>
                  <a:cubicBezTo>
                    <a:pt x="19" y="62"/>
                    <a:pt x="24" y="63"/>
                    <a:pt x="29" y="61"/>
                  </a:cubicBezTo>
                  <a:cubicBezTo>
                    <a:pt x="35" y="58"/>
                    <a:pt x="39" y="53"/>
                    <a:pt x="37" y="49"/>
                  </a:cubicBezTo>
                  <a:cubicBezTo>
                    <a:pt x="37" y="49"/>
                    <a:pt x="37" y="49"/>
                    <a:pt x="37" y="49"/>
                  </a:cubicBezTo>
                  <a:cubicBezTo>
                    <a:pt x="36" y="49"/>
                    <a:pt x="35" y="49"/>
                    <a:pt x="34" y="50"/>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9" name="Freeform 38"/>
            <p:cNvSpPr>
              <a:spLocks noChangeAspect="1" noEditPoints="1"/>
            </p:cNvSpPr>
            <p:nvPr/>
          </p:nvSpPr>
          <p:spPr bwMode="auto">
            <a:xfrm>
              <a:off x="4191285" y="3723053"/>
              <a:ext cx="395955" cy="259744"/>
            </a:xfrm>
            <a:custGeom>
              <a:avLst/>
              <a:gdLst/>
              <a:ahLst/>
              <a:cxnLst>
                <a:cxn ang="0">
                  <a:pos x="81" y="8"/>
                </a:cxn>
                <a:cxn ang="0">
                  <a:pos x="72" y="7"/>
                </a:cxn>
                <a:cxn ang="0">
                  <a:pos x="79" y="0"/>
                </a:cxn>
                <a:cxn ang="0">
                  <a:pos x="84" y="7"/>
                </a:cxn>
                <a:cxn ang="0">
                  <a:pos x="57" y="21"/>
                </a:cxn>
                <a:cxn ang="0">
                  <a:pos x="28" y="21"/>
                </a:cxn>
                <a:cxn ang="0">
                  <a:pos x="55" y="26"/>
                </a:cxn>
                <a:cxn ang="0">
                  <a:pos x="111" y="53"/>
                </a:cxn>
                <a:cxn ang="0">
                  <a:pos x="102" y="71"/>
                </a:cxn>
                <a:cxn ang="0">
                  <a:pos x="87" y="64"/>
                </a:cxn>
                <a:cxn ang="0">
                  <a:pos x="117" y="54"/>
                </a:cxn>
                <a:cxn ang="0">
                  <a:pos x="102" y="67"/>
                </a:cxn>
                <a:cxn ang="0">
                  <a:pos x="95" y="58"/>
                </a:cxn>
                <a:cxn ang="0">
                  <a:pos x="110" y="61"/>
                </a:cxn>
                <a:cxn ang="0">
                  <a:pos x="109" y="61"/>
                </a:cxn>
                <a:cxn ang="0">
                  <a:pos x="117" y="51"/>
                </a:cxn>
                <a:cxn ang="0">
                  <a:pos x="86" y="61"/>
                </a:cxn>
                <a:cxn ang="0">
                  <a:pos x="80" y="64"/>
                </a:cxn>
                <a:cxn ang="0">
                  <a:pos x="79" y="63"/>
                </a:cxn>
                <a:cxn ang="0">
                  <a:pos x="99" y="41"/>
                </a:cxn>
                <a:cxn ang="0">
                  <a:pos x="117" y="49"/>
                </a:cxn>
                <a:cxn ang="0">
                  <a:pos x="117" y="51"/>
                </a:cxn>
                <a:cxn ang="0">
                  <a:pos x="77" y="12"/>
                </a:cxn>
                <a:cxn ang="0">
                  <a:pos x="74" y="12"/>
                </a:cxn>
                <a:cxn ang="0">
                  <a:pos x="83" y="31"/>
                </a:cxn>
                <a:cxn ang="0">
                  <a:pos x="73" y="53"/>
                </a:cxn>
                <a:cxn ang="0">
                  <a:pos x="70" y="56"/>
                </a:cxn>
                <a:cxn ang="0">
                  <a:pos x="47" y="44"/>
                </a:cxn>
                <a:cxn ang="0">
                  <a:pos x="57" y="31"/>
                </a:cxn>
                <a:cxn ang="0">
                  <a:pos x="31" y="29"/>
                </a:cxn>
                <a:cxn ang="0">
                  <a:pos x="27" y="30"/>
                </a:cxn>
                <a:cxn ang="0">
                  <a:pos x="9" y="36"/>
                </a:cxn>
                <a:cxn ang="0">
                  <a:pos x="6" y="38"/>
                </a:cxn>
                <a:cxn ang="0">
                  <a:pos x="6" y="43"/>
                </a:cxn>
                <a:cxn ang="0">
                  <a:pos x="0" y="60"/>
                </a:cxn>
                <a:cxn ang="0">
                  <a:pos x="6" y="61"/>
                </a:cxn>
                <a:cxn ang="0">
                  <a:pos x="38" y="62"/>
                </a:cxn>
                <a:cxn ang="0">
                  <a:pos x="72" y="62"/>
                </a:cxn>
                <a:cxn ang="0">
                  <a:pos x="76" y="60"/>
                </a:cxn>
                <a:cxn ang="0">
                  <a:pos x="91" y="41"/>
                </a:cxn>
                <a:cxn ang="0">
                  <a:pos x="93" y="38"/>
                </a:cxn>
                <a:cxn ang="0">
                  <a:pos x="29" y="62"/>
                </a:cxn>
                <a:cxn ang="0">
                  <a:pos x="29" y="62"/>
                </a:cxn>
                <a:cxn ang="0">
                  <a:pos x="15" y="62"/>
                </a:cxn>
                <a:cxn ang="0">
                  <a:pos x="33" y="62"/>
                </a:cxn>
              </a:cxnLst>
              <a:rect l="0" t="0" r="r" b="b"/>
              <a:pathLst>
                <a:path w="118" h="77">
                  <a:moveTo>
                    <a:pt x="82" y="0"/>
                  </a:moveTo>
                  <a:cubicBezTo>
                    <a:pt x="82" y="8"/>
                    <a:pt x="82" y="8"/>
                    <a:pt x="82" y="8"/>
                  </a:cubicBezTo>
                  <a:cubicBezTo>
                    <a:pt x="81" y="8"/>
                    <a:pt x="81" y="8"/>
                    <a:pt x="81" y="8"/>
                  </a:cubicBezTo>
                  <a:cubicBezTo>
                    <a:pt x="78" y="8"/>
                    <a:pt x="76" y="8"/>
                    <a:pt x="74" y="8"/>
                  </a:cubicBezTo>
                  <a:cubicBezTo>
                    <a:pt x="74" y="8"/>
                    <a:pt x="74" y="9"/>
                    <a:pt x="73" y="9"/>
                  </a:cubicBezTo>
                  <a:cubicBezTo>
                    <a:pt x="72" y="9"/>
                    <a:pt x="72" y="8"/>
                    <a:pt x="72" y="7"/>
                  </a:cubicBezTo>
                  <a:cubicBezTo>
                    <a:pt x="72" y="7"/>
                    <a:pt x="72" y="7"/>
                    <a:pt x="72" y="7"/>
                  </a:cubicBezTo>
                  <a:cubicBezTo>
                    <a:pt x="72" y="6"/>
                    <a:pt x="71" y="6"/>
                    <a:pt x="71" y="5"/>
                  </a:cubicBezTo>
                  <a:cubicBezTo>
                    <a:pt x="71" y="3"/>
                    <a:pt x="75" y="1"/>
                    <a:pt x="79" y="0"/>
                  </a:cubicBezTo>
                  <a:cubicBezTo>
                    <a:pt x="80" y="0"/>
                    <a:pt x="81" y="0"/>
                    <a:pt x="82" y="0"/>
                  </a:cubicBezTo>
                  <a:close/>
                  <a:moveTo>
                    <a:pt x="84" y="0"/>
                  </a:moveTo>
                  <a:cubicBezTo>
                    <a:pt x="84" y="7"/>
                    <a:pt x="84" y="7"/>
                    <a:pt x="84" y="7"/>
                  </a:cubicBezTo>
                  <a:cubicBezTo>
                    <a:pt x="85" y="7"/>
                    <a:pt x="86" y="6"/>
                    <a:pt x="86" y="4"/>
                  </a:cubicBezTo>
                  <a:cubicBezTo>
                    <a:pt x="86" y="2"/>
                    <a:pt x="85" y="0"/>
                    <a:pt x="84" y="0"/>
                  </a:cubicBezTo>
                  <a:close/>
                  <a:moveTo>
                    <a:pt x="57" y="21"/>
                  </a:moveTo>
                  <a:cubicBezTo>
                    <a:pt x="57" y="20"/>
                    <a:pt x="56" y="19"/>
                    <a:pt x="55" y="19"/>
                  </a:cubicBezTo>
                  <a:cubicBezTo>
                    <a:pt x="30" y="19"/>
                    <a:pt x="30" y="19"/>
                    <a:pt x="30" y="19"/>
                  </a:cubicBezTo>
                  <a:cubicBezTo>
                    <a:pt x="29" y="19"/>
                    <a:pt x="28" y="20"/>
                    <a:pt x="28" y="21"/>
                  </a:cubicBezTo>
                  <a:cubicBezTo>
                    <a:pt x="28" y="24"/>
                    <a:pt x="28" y="24"/>
                    <a:pt x="28" y="24"/>
                  </a:cubicBezTo>
                  <a:cubicBezTo>
                    <a:pt x="28" y="25"/>
                    <a:pt x="29" y="26"/>
                    <a:pt x="30" y="26"/>
                  </a:cubicBezTo>
                  <a:cubicBezTo>
                    <a:pt x="55" y="26"/>
                    <a:pt x="55" y="26"/>
                    <a:pt x="55" y="26"/>
                  </a:cubicBezTo>
                  <a:cubicBezTo>
                    <a:pt x="56" y="26"/>
                    <a:pt x="57" y="25"/>
                    <a:pt x="57" y="24"/>
                  </a:cubicBezTo>
                  <a:lnTo>
                    <a:pt x="57" y="21"/>
                  </a:lnTo>
                  <a:close/>
                  <a:moveTo>
                    <a:pt x="111" y="53"/>
                  </a:moveTo>
                  <a:cubicBezTo>
                    <a:pt x="111" y="53"/>
                    <a:pt x="110" y="53"/>
                    <a:pt x="110" y="53"/>
                  </a:cubicBezTo>
                  <a:cubicBezTo>
                    <a:pt x="112" y="55"/>
                    <a:pt x="113" y="58"/>
                    <a:pt x="113" y="61"/>
                  </a:cubicBezTo>
                  <a:cubicBezTo>
                    <a:pt x="113" y="66"/>
                    <a:pt x="108" y="71"/>
                    <a:pt x="102" y="71"/>
                  </a:cubicBezTo>
                  <a:cubicBezTo>
                    <a:pt x="97" y="71"/>
                    <a:pt x="92" y="66"/>
                    <a:pt x="92" y="61"/>
                  </a:cubicBezTo>
                  <a:cubicBezTo>
                    <a:pt x="92" y="60"/>
                    <a:pt x="92" y="60"/>
                    <a:pt x="92" y="60"/>
                  </a:cubicBezTo>
                  <a:cubicBezTo>
                    <a:pt x="91" y="61"/>
                    <a:pt x="87" y="64"/>
                    <a:pt x="87" y="64"/>
                  </a:cubicBezTo>
                  <a:cubicBezTo>
                    <a:pt x="88" y="71"/>
                    <a:pt x="95" y="77"/>
                    <a:pt x="102" y="77"/>
                  </a:cubicBezTo>
                  <a:cubicBezTo>
                    <a:pt x="111" y="77"/>
                    <a:pt x="118" y="69"/>
                    <a:pt x="118" y="61"/>
                  </a:cubicBezTo>
                  <a:cubicBezTo>
                    <a:pt x="118" y="58"/>
                    <a:pt x="118" y="56"/>
                    <a:pt x="117" y="54"/>
                  </a:cubicBezTo>
                  <a:cubicBezTo>
                    <a:pt x="117" y="54"/>
                    <a:pt x="113" y="53"/>
                    <a:pt x="111" y="53"/>
                  </a:cubicBezTo>
                  <a:close/>
                  <a:moveTo>
                    <a:pt x="109" y="61"/>
                  </a:moveTo>
                  <a:cubicBezTo>
                    <a:pt x="109" y="64"/>
                    <a:pt x="106" y="67"/>
                    <a:pt x="102" y="67"/>
                  </a:cubicBezTo>
                  <a:cubicBezTo>
                    <a:pt x="99" y="67"/>
                    <a:pt x="96" y="64"/>
                    <a:pt x="96" y="61"/>
                  </a:cubicBezTo>
                  <a:cubicBezTo>
                    <a:pt x="96" y="59"/>
                    <a:pt x="96" y="58"/>
                    <a:pt x="97" y="57"/>
                  </a:cubicBezTo>
                  <a:cubicBezTo>
                    <a:pt x="96" y="58"/>
                    <a:pt x="95" y="58"/>
                    <a:pt x="95" y="58"/>
                  </a:cubicBezTo>
                  <a:cubicBezTo>
                    <a:pt x="94" y="59"/>
                    <a:pt x="94" y="60"/>
                    <a:pt x="94" y="61"/>
                  </a:cubicBezTo>
                  <a:cubicBezTo>
                    <a:pt x="94" y="65"/>
                    <a:pt x="98" y="69"/>
                    <a:pt x="102" y="69"/>
                  </a:cubicBezTo>
                  <a:cubicBezTo>
                    <a:pt x="107" y="69"/>
                    <a:pt x="110" y="65"/>
                    <a:pt x="110" y="61"/>
                  </a:cubicBezTo>
                  <a:cubicBezTo>
                    <a:pt x="110" y="58"/>
                    <a:pt x="109" y="55"/>
                    <a:pt x="106" y="54"/>
                  </a:cubicBezTo>
                  <a:cubicBezTo>
                    <a:pt x="106" y="54"/>
                    <a:pt x="105" y="54"/>
                    <a:pt x="104" y="54"/>
                  </a:cubicBezTo>
                  <a:cubicBezTo>
                    <a:pt x="107" y="55"/>
                    <a:pt x="109" y="58"/>
                    <a:pt x="109" y="61"/>
                  </a:cubicBezTo>
                  <a:close/>
                  <a:moveTo>
                    <a:pt x="117" y="51"/>
                  </a:moveTo>
                  <a:cubicBezTo>
                    <a:pt x="117" y="51"/>
                    <a:pt x="117" y="51"/>
                    <a:pt x="117" y="51"/>
                  </a:cubicBezTo>
                  <a:cubicBezTo>
                    <a:pt x="117" y="51"/>
                    <a:pt x="117" y="51"/>
                    <a:pt x="117" y="51"/>
                  </a:cubicBezTo>
                  <a:cubicBezTo>
                    <a:pt x="115" y="51"/>
                    <a:pt x="113" y="50"/>
                    <a:pt x="111" y="50"/>
                  </a:cubicBezTo>
                  <a:cubicBezTo>
                    <a:pt x="107" y="50"/>
                    <a:pt x="102" y="52"/>
                    <a:pt x="97" y="54"/>
                  </a:cubicBezTo>
                  <a:cubicBezTo>
                    <a:pt x="93" y="56"/>
                    <a:pt x="89" y="58"/>
                    <a:pt x="86" y="61"/>
                  </a:cubicBezTo>
                  <a:cubicBezTo>
                    <a:pt x="86" y="61"/>
                    <a:pt x="86" y="61"/>
                    <a:pt x="86" y="61"/>
                  </a:cubicBezTo>
                  <a:cubicBezTo>
                    <a:pt x="86" y="61"/>
                    <a:pt x="86" y="61"/>
                    <a:pt x="85" y="61"/>
                  </a:cubicBezTo>
                  <a:cubicBezTo>
                    <a:pt x="83" y="63"/>
                    <a:pt x="81" y="64"/>
                    <a:pt x="80" y="64"/>
                  </a:cubicBezTo>
                  <a:cubicBezTo>
                    <a:pt x="80" y="64"/>
                    <a:pt x="80" y="64"/>
                    <a:pt x="80" y="64"/>
                  </a:cubicBezTo>
                  <a:cubicBezTo>
                    <a:pt x="79" y="64"/>
                    <a:pt x="79" y="64"/>
                    <a:pt x="79" y="63"/>
                  </a:cubicBezTo>
                  <a:cubicBezTo>
                    <a:pt x="79" y="63"/>
                    <a:pt x="79" y="63"/>
                    <a:pt x="79" y="63"/>
                  </a:cubicBezTo>
                  <a:cubicBezTo>
                    <a:pt x="79" y="63"/>
                    <a:pt x="79" y="62"/>
                    <a:pt x="79" y="62"/>
                  </a:cubicBezTo>
                  <a:cubicBezTo>
                    <a:pt x="80" y="60"/>
                    <a:pt x="80" y="58"/>
                    <a:pt x="82" y="56"/>
                  </a:cubicBezTo>
                  <a:cubicBezTo>
                    <a:pt x="86" y="48"/>
                    <a:pt x="93" y="42"/>
                    <a:pt x="99" y="41"/>
                  </a:cubicBezTo>
                  <a:cubicBezTo>
                    <a:pt x="101" y="41"/>
                    <a:pt x="102" y="41"/>
                    <a:pt x="103" y="41"/>
                  </a:cubicBezTo>
                  <a:cubicBezTo>
                    <a:pt x="103" y="41"/>
                    <a:pt x="104" y="41"/>
                    <a:pt x="104" y="41"/>
                  </a:cubicBezTo>
                  <a:cubicBezTo>
                    <a:pt x="109" y="41"/>
                    <a:pt x="115" y="44"/>
                    <a:pt x="117" y="49"/>
                  </a:cubicBezTo>
                  <a:cubicBezTo>
                    <a:pt x="117" y="49"/>
                    <a:pt x="117" y="49"/>
                    <a:pt x="117" y="49"/>
                  </a:cubicBezTo>
                  <a:cubicBezTo>
                    <a:pt x="118" y="49"/>
                    <a:pt x="118" y="50"/>
                    <a:pt x="118" y="51"/>
                  </a:cubicBezTo>
                  <a:cubicBezTo>
                    <a:pt x="118" y="51"/>
                    <a:pt x="118" y="51"/>
                    <a:pt x="117" y="51"/>
                  </a:cubicBezTo>
                  <a:close/>
                  <a:moveTo>
                    <a:pt x="92" y="36"/>
                  </a:moveTo>
                  <a:cubicBezTo>
                    <a:pt x="92" y="36"/>
                    <a:pt x="92" y="36"/>
                    <a:pt x="92" y="36"/>
                  </a:cubicBezTo>
                  <a:cubicBezTo>
                    <a:pt x="77" y="12"/>
                    <a:pt x="77" y="12"/>
                    <a:pt x="77" y="12"/>
                  </a:cubicBezTo>
                  <a:cubicBezTo>
                    <a:pt x="77" y="12"/>
                    <a:pt x="77" y="12"/>
                    <a:pt x="77" y="12"/>
                  </a:cubicBezTo>
                  <a:cubicBezTo>
                    <a:pt x="76" y="11"/>
                    <a:pt x="76" y="11"/>
                    <a:pt x="75" y="11"/>
                  </a:cubicBezTo>
                  <a:cubicBezTo>
                    <a:pt x="74" y="11"/>
                    <a:pt x="74" y="12"/>
                    <a:pt x="74" y="12"/>
                  </a:cubicBezTo>
                  <a:cubicBezTo>
                    <a:pt x="74" y="13"/>
                    <a:pt x="74" y="13"/>
                    <a:pt x="74" y="13"/>
                  </a:cubicBezTo>
                  <a:cubicBezTo>
                    <a:pt x="74" y="13"/>
                    <a:pt x="74" y="13"/>
                    <a:pt x="74" y="13"/>
                  </a:cubicBezTo>
                  <a:cubicBezTo>
                    <a:pt x="83" y="31"/>
                    <a:pt x="83" y="31"/>
                    <a:pt x="83" y="31"/>
                  </a:cubicBezTo>
                  <a:cubicBezTo>
                    <a:pt x="83" y="32"/>
                    <a:pt x="84" y="34"/>
                    <a:pt x="84" y="35"/>
                  </a:cubicBezTo>
                  <a:cubicBezTo>
                    <a:pt x="84" y="37"/>
                    <a:pt x="83" y="39"/>
                    <a:pt x="82" y="40"/>
                  </a:cubicBezTo>
                  <a:cubicBezTo>
                    <a:pt x="73" y="53"/>
                    <a:pt x="73" y="53"/>
                    <a:pt x="73" y="53"/>
                  </a:cubicBezTo>
                  <a:cubicBezTo>
                    <a:pt x="73" y="54"/>
                    <a:pt x="73" y="54"/>
                    <a:pt x="73" y="54"/>
                  </a:cubicBezTo>
                  <a:cubicBezTo>
                    <a:pt x="72" y="55"/>
                    <a:pt x="71" y="56"/>
                    <a:pt x="70" y="56"/>
                  </a:cubicBezTo>
                  <a:cubicBezTo>
                    <a:pt x="70" y="56"/>
                    <a:pt x="70" y="56"/>
                    <a:pt x="70" y="56"/>
                  </a:cubicBezTo>
                  <a:cubicBezTo>
                    <a:pt x="58" y="56"/>
                    <a:pt x="58" y="56"/>
                    <a:pt x="58" y="56"/>
                  </a:cubicBezTo>
                  <a:cubicBezTo>
                    <a:pt x="58" y="56"/>
                    <a:pt x="58" y="56"/>
                    <a:pt x="58" y="56"/>
                  </a:cubicBezTo>
                  <a:cubicBezTo>
                    <a:pt x="52" y="55"/>
                    <a:pt x="47" y="50"/>
                    <a:pt x="47" y="44"/>
                  </a:cubicBezTo>
                  <a:cubicBezTo>
                    <a:pt x="47" y="38"/>
                    <a:pt x="51" y="34"/>
                    <a:pt x="56" y="32"/>
                  </a:cubicBezTo>
                  <a:cubicBezTo>
                    <a:pt x="56" y="32"/>
                    <a:pt x="56" y="32"/>
                    <a:pt x="56" y="32"/>
                  </a:cubicBezTo>
                  <a:cubicBezTo>
                    <a:pt x="57" y="32"/>
                    <a:pt x="57" y="31"/>
                    <a:pt x="57" y="31"/>
                  </a:cubicBezTo>
                  <a:cubicBezTo>
                    <a:pt x="57" y="30"/>
                    <a:pt x="56" y="29"/>
                    <a:pt x="55" y="29"/>
                  </a:cubicBezTo>
                  <a:cubicBezTo>
                    <a:pt x="55" y="29"/>
                    <a:pt x="55" y="29"/>
                    <a:pt x="55" y="29"/>
                  </a:cubicBezTo>
                  <a:cubicBezTo>
                    <a:pt x="31" y="29"/>
                    <a:pt x="31" y="29"/>
                    <a:pt x="31" y="29"/>
                  </a:cubicBezTo>
                  <a:cubicBezTo>
                    <a:pt x="31" y="29"/>
                    <a:pt x="31" y="29"/>
                    <a:pt x="31" y="29"/>
                  </a:cubicBezTo>
                  <a:cubicBezTo>
                    <a:pt x="31" y="29"/>
                    <a:pt x="31" y="29"/>
                    <a:pt x="31" y="29"/>
                  </a:cubicBezTo>
                  <a:cubicBezTo>
                    <a:pt x="30" y="29"/>
                    <a:pt x="28" y="29"/>
                    <a:pt x="27" y="30"/>
                  </a:cubicBezTo>
                  <a:cubicBezTo>
                    <a:pt x="26" y="30"/>
                    <a:pt x="25" y="30"/>
                    <a:pt x="25" y="30"/>
                  </a:cubicBezTo>
                  <a:cubicBezTo>
                    <a:pt x="21" y="31"/>
                    <a:pt x="18" y="33"/>
                    <a:pt x="14" y="36"/>
                  </a:cubicBezTo>
                  <a:cubicBezTo>
                    <a:pt x="9" y="36"/>
                    <a:pt x="9" y="36"/>
                    <a:pt x="9" y="36"/>
                  </a:cubicBezTo>
                  <a:cubicBezTo>
                    <a:pt x="9" y="36"/>
                    <a:pt x="8" y="36"/>
                    <a:pt x="8" y="37"/>
                  </a:cubicBezTo>
                  <a:cubicBezTo>
                    <a:pt x="7" y="38"/>
                    <a:pt x="7" y="38"/>
                    <a:pt x="7" y="38"/>
                  </a:cubicBezTo>
                  <a:cubicBezTo>
                    <a:pt x="6" y="38"/>
                    <a:pt x="6" y="38"/>
                    <a:pt x="6" y="38"/>
                  </a:cubicBezTo>
                  <a:cubicBezTo>
                    <a:pt x="6" y="38"/>
                    <a:pt x="5" y="39"/>
                    <a:pt x="5" y="39"/>
                  </a:cubicBezTo>
                  <a:cubicBezTo>
                    <a:pt x="5" y="42"/>
                    <a:pt x="5" y="42"/>
                    <a:pt x="5" y="42"/>
                  </a:cubicBezTo>
                  <a:cubicBezTo>
                    <a:pt x="5" y="42"/>
                    <a:pt x="6" y="43"/>
                    <a:pt x="6" y="43"/>
                  </a:cubicBezTo>
                  <a:cubicBezTo>
                    <a:pt x="8" y="43"/>
                    <a:pt x="8" y="43"/>
                    <a:pt x="8" y="43"/>
                  </a:cubicBezTo>
                  <a:cubicBezTo>
                    <a:pt x="4" y="48"/>
                    <a:pt x="1" y="54"/>
                    <a:pt x="0" y="59"/>
                  </a:cubicBezTo>
                  <a:cubicBezTo>
                    <a:pt x="0" y="60"/>
                    <a:pt x="0" y="60"/>
                    <a:pt x="0" y="60"/>
                  </a:cubicBezTo>
                  <a:cubicBezTo>
                    <a:pt x="0" y="61"/>
                    <a:pt x="0" y="61"/>
                    <a:pt x="0" y="61"/>
                  </a:cubicBezTo>
                  <a:cubicBezTo>
                    <a:pt x="0" y="61"/>
                    <a:pt x="0" y="61"/>
                    <a:pt x="1" y="61"/>
                  </a:cubicBezTo>
                  <a:cubicBezTo>
                    <a:pt x="6" y="61"/>
                    <a:pt x="6" y="61"/>
                    <a:pt x="6" y="61"/>
                  </a:cubicBezTo>
                  <a:cubicBezTo>
                    <a:pt x="7" y="70"/>
                    <a:pt x="14" y="77"/>
                    <a:pt x="22" y="77"/>
                  </a:cubicBezTo>
                  <a:cubicBezTo>
                    <a:pt x="31" y="77"/>
                    <a:pt x="37" y="70"/>
                    <a:pt x="38" y="62"/>
                  </a:cubicBezTo>
                  <a:cubicBezTo>
                    <a:pt x="38" y="62"/>
                    <a:pt x="38" y="62"/>
                    <a:pt x="38" y="62"/>
                  </a:cubicBezTo>
                  <a:cubicBezTo>
                    <a:pt x="58" y="62"/>
                    <a:pt x="58" y="62"/>
                    <a:pt x="58" y="62"/>
                  </a:cubicBezTo>
                  <a:cubicBezTo>
                    <a:pt x="68" y="62"/>
                    <a:pt x="68" y="62"/>
                    <a:pt x="68" y="62"/>
                  </a:cubicBezTo>
                  <a:cubicBezTo>
                    <a:pt x="72" y="62"/>
                    <a:pt x="72" y="62"/>
                    <a:pt x="72" y="62"/>
                  </a:cubicBezTo>
                  <a:cubicBezTo>
                    <a:pt x="74" y="62"/>
                    <a:pt x="75" y="62"/>
                    <a:pt x="75" y="61"/>
                  </a:cubicBezTo>
                  <a:cubicBezTo>
                    <a:pt x="76" y="60"/>
                    <a:pt x="76" y="60"/>
                    <a:pt x="76" y="60"/>
                  </a:cubicBezTo>
                  <a:cubicBezTo>
                    <a:pt x="76" y="60"/>
                    <a:pt x="76" y="60"/>
                    <a:pt x="76" y="60"/>
                  </a:cubicBezTo>
                  <a:cubicBezTo>
                    <a:pt x="76" y="60"/>
                    <a:pt x="78" y="56"/>
                    <a:pt x="80" y="52"/>
                  </a:cubicBezTo>
                  <a:cubicBezTo>
                    <a:pt x="82" y="49"/>
                    <a:pt x="85" y="46"/>
                    <a:pt x="85" y="46"/>
                  </a:cubicBezTo>
                  <a:cubicBezTo>
                    <a:pt x="87" y="44"/>
                    <a:pt x="89" y="42"/>
                    <a:pt x="91" y="41"/>
                  </a:cubicBezTo>
                  <a:cubicBezTo>
                    <a:pt x="91" y="41"/>
                    <a:pt x="91" y="41"/>
                    <a:pt x="91" y="41"/>
                  </a:cubicBezTo>
                  <a:cubicBezTo>
                    <a:pt x="92" y="40"/>
                    <a:pt x="92" y="39"/>
                    <a:pt x="93" y="38"/>
                  </a:cubicBezTo>
                  <a:cubicBezTo>
                    <a:pt x="93" y="38"/>
                    <a:pt x="93" y="38"/>
                    <a:pt x="93" y="38"/>
                  </a:cubicBezTo>
                  <a:cubicBezTo>
                    <a:pt x="93" y="38"/>
                    <a:pt x="93" y="38"/>
                    <a:pt x="93" y="38"/>
                  </a:cubicBezTo>
                  <a:cubicBezTo>
                    <a:pt x="93" y="37"/>
                    <a:pt x="93" y="37"/>
                    <a:pt x="92" y="36"/>
                  </a:cubicBezTo>
                  <a:close/>
                  <a:moveTo>
                    <a:pt x="29" y="62"/>
                  </a:moveTo>
                  <a:cubicBezTo>
                    <a:pt x="28" y="65"/>
                    <a:pt x="25" y="67"/>
                    <a:pt x="22" y="67"/>
                  </a:cubicBezTo>
                  <a:cubicBezTo>
                    <a:pt x="19" y="67"/>
                    <a:pt x="17" y="65"/>
                    <a:pt x="16" y="62"/>
                  </a:cubicBezTo>
                  <a:lnTo>
                    <a:pt x="29" y="62"/>
                  </a:lnTo>
                  <a:close/>
                  <a:moveTo>
                    <a:pt x="22" y="71"/>
                  </a:moveTo>
                  <a:cubicBezTo>
                    <a:pt x="17" y="71"/>
                    <a:pt x="13" y="67"/>
                    <a:pt x="12" y="62"/>
                  </a:cubicBezTo>
                  <a:cubicBezTo>
                    <a:pt x="15" y="62"/>
                    <a:pt x="15" y="62"/>
                    <a:pt x="15" y="62"/>
                  </a:cubicBezTo>
                  <a:cubicBezTo>
                    <a:pt x="15" y="66"/>
                    <a:pt x="19" y="69"/>
                    <a:pt x="22" y="69"/>
                  </a:cubicBezTo>
                  <a:cubicBezTo>
                    <a:pt x="26" y="69"/>
                    <a:pt x="29" y="66"/>
                    <a:pt x="30" y="62"/>
                  </a:cubicBezTo>
                  <a:cubicBezTo>
                    <a:pt x="33" y="62"/>
                    <a:pt x="33" y="62"/>
                    <a:pt x="33" y="62"/>
                  </a:cubicBezTo>
                  <a:cubicBezTo>
                    <a:pt x="32" y="67"/>
                    <a:pt x="27" y="71"/>
                    <a:pt x="22" y="71"/>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0" name="Freeform 59"/>
            <p:cNvSpPr>
              <a:spLocks noChangeAspect="1" noEditPoints="1"/>
            </p:cNvSpPr>
            <p:nvPr/>
          </p:nvSpPr>
          <p:spPr bwMode="auto">
            <a:xfrm>
              <a:off x="6790623" y="3704459"/>
              <a:ext cx="294057" cy="296932"/>
            </a:xfrm>
            <a:custGeom>
              <a:avLst/>
              <a:gdLst/>
              <a:ahLst/>
              <a:cxnLst>
                <a:cxn ang="0">
                  <a:pos x="86" y="24"/>
                </a:cxn>
                <a:cxn ang="0">
                  <a:pos x="53" y="24"/>
                </a:cxn>
                <a:cxn ang="0">
                  <a:pos x="50" y="21"/>
                </a:cxn>
                <a:cxn ang="0">
                  <a:pos x="61" y="3"/>
                </a:cxn>
                <a:cxn ang="0">
                  <a:pos x="60" y="1"/>
                </a:cxn>
                <a:cxn ang="0">
                  <a:pos x="57" y="1"/>
                </a:cxn>
                <a:cxn ang="0">
                  <a:pos x="46" y="20"/>
                </a:cxn>
                <a:cxn ang="0">
                  <a:pos x="43" y="19"/>
                </a:cxn>
                <a:cxn ang="0">
                  <a:pos x="39" y="20"/>
                </a:cxn>
                <a:cxn ang="0">
                  <a:pos x="28" y="1"/>
                </a:cxn>
                <a:cxn ang="0">
                  <a:pos x="26" y="1"/>
                </a:cxn>
                <a:cxn ang="0">
                  <a:pos x="25" y="3"/>
                </a:cxn>
                <a:cxn ang="0">
                  <a:pos x="35" y="21"/>
                </a:cxn>
                <a:cxn ang="0">
                  <a:pos x="32" y="24"/>
                </a:cxn>
                <a:cxn ang="0">
                  <a:pos x="17" y="24"/>
                </a:cxn>
                <a:cxn ang="0">
                  <a:pos x="1" y="36"/>
                </a:cxn>
                <a:cxn ang="0">
                  <a:pos x="1" y="90"/>
                </a:cxn>
                <a:cxn ang="0">
                  <a:pos x="17" y="100"/>
                </a:cxn>
                <a:cxn ang="0">
                  <a:pos x="83" y="100"/>
                </a:cxn>
                <a:cxn ang="0">
                  <a:pos x="99" y="90"/>
                </a:cxn>
                <a:cxn ang="0">
                  <a:pos x="99" y="36"/>
                </a:cxn>
                <a:cxn ang="0">
                  <a:pos x="86" y="24"/>
                </a:cxn>
                <a:cxn ang="0">
                  <a:pos x="72" y="82"/>
                </a:cxn>
                <a:cxn ang="0">
                  <a:pos x="62" y="90"/>
                </a:cxn>
                <a:cxn ang="0">
                  <a:pos x="21" y="90"/>
                </a:cxn>
                <a:cxn ang="0">
                  <a:pos x="11" y="82"/>
                </a:cxn>
                <a:cxn ang="0">
                  <a:pos x="11" y="42"/>
                </a:cxn>
                <a:cxn ang="0">
                  <a:pos x="21" y="33"/>
                </a:cxn>
                <a:cxn ang="0">
                  <a:pos x="64" y="33"/>
                </a:cxn>
                <a:cxn ang="0">
                  <a:pos x="72" y="42"/>
                </a:cxn>
                <a:cxn ang="0">
                  <a:pos x="72" y="82"/>
                </a:cxn>
                <a:cxn ang="0">
                  <a:pos x="84" y="82"/>
                </a:cxn>
                <a:cxn ang="0">
                  <a:pos x="78" y="76"/>
                </a:cxn>
                <a:cxn ang="0">
                  <a:pos x="84" y="70"/>
                </a:cxn>
                <a:cxn ang="0">
                  <a:pos x="90" y="76"/>
                </a:cxn>
                <a:cxn ang="0">
                  <a:pos x="84" y="82"/>
                </a:cxn>
                <a:cxn ang="0">
                  <a:pos x="84" y="59"/>
                </a:cxn>
                <a:cxn ang="0">
                  <a:pos x="78" y="53"/>
                </a:cxn>
                <a:cxn ang="0">
                  <a:pos x="84" y="47"/>
                </a:cxn>
                <a:cxn ang="0">
                  <a:pos x="90" y="53"/>
                </a:cxn>
                <a:cxn ang="0">
                  <a:pos x="84" y="59"/>
                </a:cxn>
              </a:cxnLst>
              <a:rect l="0" t="0" r="r" b="b"/>
              <a:pathLst>
                <a:path w="100" h="101">
                  <a:moveTo>
                    <a:pt x="86" y="24"/>
                  </a:moveTo>
                  <a:cubicBezTo>
                    <a:pt x="53" y="24"/>
                    <a:pt x="53" y="24"/>
                    <a:pt x="53" y="24"/>
                  </a:cubicBezTo>
                  <a:cubicBezTo>
                    <a:pt x="53" y="23"/>
                    <a:pt x="52" y="22"/>
                    <a:pt x="50" y="21"/>
                  </a:cubicBezTo>
                  <a:cubicBezTo>
                    <a:pt x="61" y="3"/>
                    <a:pt x="61" y="3"/>
                    <a:pt x="61" y="3"/>
                  </a:cubicBezTo>
                  <a:cubicBezTo>
                    <a:pt x="61" y="2"/>
                    <a:pt x="60" y="1"/>
                    <a:pt x="60" y="1"/>
                  </a:cubicBezTo>
                  <a:cubicBezTo>
                    <a:pt x="59" y="0"/>
                    <a:pt x="57" y="0"/>
                    <a:pt x="57" y="1"/>
                  </a:cubicBezTo>
                  <a:cubicBezTo>
                    <a:pt x="46" y="20"/>
                    <a:pt x="46" y="20"/>
                    <a:pt x="46" y="20"/>
                  </a:cubicBezTo>
                  <a:cubicBezTo>
                    <a:pt x="45" y="19"/>
                    <a:pt x="44" y="19"/>
                    <a:pt x="43" y="19"/>
                  </a:cubicBezTo>
                  <a:cubicBezTo>
                    <a:pt x="41" y="19"/>
                    <a:pt x="40" y="20"/>
                    <a:pt x="39" y="20"/>
                  </a:cubicBezTo>
                  <a:cubicBezTo>
                    <a:pt x="28" y="1"/>
                    <a:pt x="28" y="1"/>
                    <a:pt x="28" y="1"/>
                  </a:cubicBezTo>
                  <a:cubicBezTo>
                    <a:pt x="28" y="0"/>
                    <a:pt x="27" y="0"/>
                    <a:pt x="26" y="1"/>
                  </a:cubicBezTo>
                  <a:cubicBezTo>
                    <a:pt x="25" y="1"/>
                    <a:pt x="24" y="2"/>
                    <a:pt x="25" y="3"/>
                  </a:cubicBezTo>
                  <a:cubicBezTo>
                    <a:pt x="35" y="21"/>
                    <a:pt x="35" y="21"/>
                    <a:pt x="35" y="21"/>
                  </a:cubicBezTo>
                  <a:cubicBezTo>
                    <a:pt x="33" y="22"/>
                    <a:pt x="32" y="23"/>
                    <a:pt x="32" y="24"/>
                  </a:cubicBezTo>
                  <a:cubicBezTo>
                    <a:pt x="17" y="24"/>
                    <a:pt x="17" y="24"/>
                    <a:pt x="17" y="24"/>
                  </a:cubicBezTo>
                  <a:cubicBezTo>
                    <a:pt x="0" y="23"/>
                    <a:pt x="1" y="36"/>
                    <a:pt x="1" y="36"/>
                  </a:cubicBezTo>
                  <a:cubicBezTo>
                    <a:pt x="1" y="90"/>
                    <a:pt x="1" y="90"/>
                    <a:pt x="1" y="90"/>
                  </a:cubicBezTo>
                  <a:cubicBezTo>
                    <a:pt x="2" y="101"/>
                    <a:pt x="17" y="100"/>
                    <a:pt x="17" y="100"/>
                  </a:cubicBezTo>
                  <a:cubicBezTo>
                    <a:pt x="83" y="100"/>
                    <a:pt x="83" y="100"/>
                    <a:pt x="83" y="100"/>
                  </a:cubicBezTo>
                  <a:cubicBezTo>
                    <a:pt x="83" y="100"/>
                    <a:pt x="98" y="101"/>
                    <a:pt x="99" y="90"/>
                  </a:cubicBezTo>
                  <a:cubicBezTo>
                    <a:pt x="99" y="36"/>
                    <a:pt x="99" y="36"/>
                    <a:pt x="99" y="36"/>
                  </a:cubicBezTo>
                  <a:cubicBezTo>
                    <a:pt x="99" y="36"/>
                    <a:pt x="100" y="25"/>
                    <a:pt x="86" y="24"/>
                  </a:cubicBezTo>
                  <a:close/>
                  <a:moveTo>
                    <a:pt x="72" y="82"/>
                  </a:moveTo>
                  <a:cubicBezTo>
                    <a:pt x="71" y="90"/>
                    <a:pt x="62" y="90"/>
                    <a:pt x="62" y="90"/>
                  </a:cubicBezTo>
                  <a:cubicBezTo>
                    <a:pt x="21" y="90"/>
                    <a:pt x="21" y="90"/>
                    <a:pt x="21" y="90"/>
                  </a:cubicBezTo>
                  <a:cubicBezTo>
                    <a:pt x="21" y="90"/>
                    <a:pt x="12" y="90"/>
                    <a:pt x="11" y="82"/>
                  </a:cubicBezTo>
                  <a:cubicBezTo>
                    <a:pt x="11" y="42"/>
                    <a:pt x="11" y="42"/>
                    <a:pt x="11" y="42"/>
                  </a:cubicBezTo>
                  <a:cubicBezTo>
                    <a:pt x="11" y="42"/>
                    <a:pt x="10" y="33"/>
                    <a:pt x="21" y="33"/>
                  </a:cubicBezTo>
                  <a:cubicBezTo>
                    <a:pt x="64" y="33"/>
                    <a:pt x="64" y="33"/>
                    <a:pt x="64" y="33"/>
                  </a:cubicBezTo>
                  <a:cubicBezTo>
                    <a:pt x="73" y="34"/>
                    <a:pt x="72" y="42"/>
                    <a:pt x="72" y="42"/>
                  </a:cubicBezTo>
                  <a:lnTo>
                    <a:pt x="72" y="82"/>
                  </a:lnTo>
                  <a:close/>
                  <a:moveTo>
                    <a:pt x="84" y="82"/>
                  </a:moveTo>
                  <a:cubicBezTo>
                    <a:pt x="81" y="82"/>
                    <a:pt x="78" y="80"/>
                    <a:pt x="78" y="76"/>
                  </a:cubicBezTo>
                  <a:cubicBezTo>
                    <a:pt x="78" y="73"/>
                    <a:pt x="81" y="70"/>
                    <a:pt x="84" y="70"/>
                  </a:cubicBezTo>
                  <a:cubicBezTo>
                    <a:pt x="88" y="70"/>
                    <a:pt x="90" y="73"/>
                    <a:pt x="90" y="76"/>
                  </a:cubicBezTo>
                  <a:cubicBezTo>
                    <a:pt x="90" y="80"/>
                    <a:pt x="88" y="82"/>
                    <a:pt x="84" y="82"/>
                  </a:cubicBezTo>
                  <a:close/>
                  <a:moveTo>
                    <a:pt x="84" y="59"/>
                  </a:moveTo>
                  <a:cubicBezTo>
                    <a:pt x="81" y="59"/>
                    <a:pt x="78" y="57"/>
                    <a:pt x="78" y="53"/>
                  </a:cubicBezTo>
                  <a:cubicBezTo>
                    <a:pt x="78" y="50"/>
                    <a:pt x="81" y="47"/>
                    <a:pt x="84" y="47"/>
                  </a:cubicBezTo>
                  <a:cubicBezTo>
                    <a:pt x="88" y="47"/>
                    <a:pt x="90" y="50"/>
                    <a:pt x="90" y="53"/>
                  </a:cubicBezTo>
                  <a:cubicBezTo>
                    <a:pt x="90" y="57"/>
                    <a:pt x="88" y="59"/>
                    <a:pt x="84" y="59"/>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1" name="Freeform 39"/>
            <p:cNvSpPr>
              <a:spLocks noChangeAspect="1"/>
            </p:cNvSpPr>
            <p:nvPr/>
          </p:nvSpPr>
          <p:spPr bwMode="auto">
            <a:xfrm>
              <a:off x="8430772" y="3761328"/>
              <a:ext cx="395987" cy="183197"/>
            </a:xfrm>
            <a:custGeom>
              <a:avLst/>
              <a:gdLst/>
              <a:ahLst/>
              <a:cxnLst>
                <a:cxn ang="0">
                  <a:pos x="117" y="19"/>
                </a:cxn>
                <a:cxn ang="0">
                  <a:pos x="62" y="0"/>
                </a:cxn>
                <a:cxn ang="0">
                  <a:pos x="57" y="0"/>
                </a:cxn>
                <a:cxn ang="0">
                  <a:pos x="1" y="20"/>
                </a:cxn>
                <a:cxn ang="0">
                  <a:pos x="1" y="21"/>
                </a:cxn>
                <a:cxn ang="0">
                  <a:pos x="24" y="29"/>
                </a:cxn>
                <a:cxn ang="0">
                  <a:pos x="24" y="46"/>
                </a:cxn>
                <a:cxn ang="0">
                  <a:pos x="42" y="46"/>
                </a:cxn>
                <a:cxn ang="0">
                  <a:pos x="58" y="54"/>
                </a:cxn>
                <a:cxn ang="0">
                  <a:pos x="59" y="54"/>
                </a:cxn>
                <a:cxn ang="0">
                  <a:pos x="75" y="46"/>
                </a:cxn>
                <a:cxn ang="0">
                  <a:pos x="92" y="45"/>
                </a:cxn>
                <a:cxn ang="0">
                  <a:pos x="92" y="30"/>
                </a:cxn>
                <a:cxn ang="0">
                  <a:pos x="101" y="26"/>
                </a:cxn>
                <a:cxn ang="0">
                  <a:pos x="101" y="30"/>
                </a:cxn>
                <a:cxn ang="0">
                  <a:pos x="99" y="33"/>
                </a:cxn>
                <a:cxn ang="0">
                  <a:pos x="100" y="36"/>
                </a:cxn>
                <a:cxn ang="0">
                  <a:pos x="98" y="52"/>
                </a:cxn>
                <a:cxn ang="0">
                  <a:pos x="107" y="52"/>
                </a:cxn>
                <a:cxn ang="0">
                  <a:pos x="105" y="36"/>
                </a:cxn>
                <a:cxn ang="0">
                  <a:pos x="106" y="33"/>
                </a:cxn>
                <a:cxn ang="0">
                  <a:pos x="104" y="30"/>
                </a:cxn>
                <a:cxn ang="0">
                  <a:pos x="104" y="25"/>
                </a:cxn>
                <a:cxn ang="0">
                  <a:pos x="117" y="21"/>
                </a:cxn>
                <a:cxn ang="0">
                  <a:pos x="117" y="19"/>
                </a:cxn>
              </a:cxnLst>
              <a:rect l="0" t="0" r="r" b="b"/>
              <a:pathLst>
                <a:path w="118" h="54">
                  <a:moveTo>
                    <a:pt x="117" y="19"/>
                  </a:moveTo>
                  <a:cubicBezTo>
                    <a:pt x="62" y="0"/>
                    <a:pt x="62" y="0"/>
                    <a:pt x="62" y="0"/>
                  </a:cubicBezTo>
                  <a:cubicBezTo>
                    <a:pt x="60" y="0"/>
                    <a:pt x="58" y="0"/>
                    <a:pt x="57" y="0"/>
                  </a:cubicBezTo>
                  <a:cubicBezTo>
                    <a:pt x="1" y="20"/>
                    <a:pt x="1" y="20"/>
                    <a:pt x="1" y="20"/>
                  </a:cubicBezTo>
                  <a:cubicBezTo>
                    <a:pt x="0" y="20"/>
                    <a:pt x="0" y="21"/>
                    <a:pt x="1" y="21"/>
                  </a:cubicBezTo>
                  <a:cubicBezTo>
                    <a:pt x="24" y="29"/>
                    <a:pt x="24" y="29"/>
                    <a:pt x="24" y="29"/>
                  </a:cubicBezTo>
                  <a:cubicBezTo>
                    <a:pt x="24" y="46"/>
                    <a:pt x="24" y="46"/>
                    <a:pt x="24" y="46"/>
                  </a:cubicBezTo>
                  <a:cubicBezTo>
                    <a:pt x="27" y="44"/>
                    <a:pt x="34" y="44"/>
                    <a:pt x="42" y="46"/>
                  </a:cubicBezTo>
                  <a:cubicBezTo>
                    <a:pt x="49" y="48"/>
                    <a:pt x="55" y="51"/>
                    <a:pt x="58" y="54"/>
                  </a:cubicBezTo>
                  <a:cubicBezTo>
                    <a:pt x="58" y="54"/>
                    <a:pt x="59" y="54"/>
                    <a:pt x="59" y="54"/>
                  </a:cubicBezTo>
                  <a:cubicBezTo>
                    <a:pt x="62" y="51"/>
                    <a:pt x="68" y="48"/>
                    <a:pt x="75" y="46"/>
                  </a:cubicBezTo>
                  <a:cubicBezTo>
                    <a:pt x="81" y="44"/>
                    <a:pt x="88" y="44"/>
                    <a:pt x="92" y="45"/>
                  </a:cubicBezTo>
                  <a:cubicBezTo>
                    <a:pt x="92" y="30"/>
                    <a:pt x="92" y="30"/>
                    <a:pt x="92" y="30"/>
                  </a:cubicBezTo>
                  <a:cubicBezTo>
                    <a:pt x="101" y="26"/>
                    <a:pt x="101" y="26"/>
                    <a:pt x="101" y="26"/>
                  </a:cubicBezTo>
                  <a:cubicBezTo>
                    <a:pt x="101" y="30"/>
                    <a:pt x="101" y="30"/>
                    <a:pt x="101" y="30"/>
                  </a:cubicBezTo>
                  <a:cubicBezTo>
                    <a:pt x="100" y="31"/>
                    <a:pt x="99" y="32"/>
                    <a:pt x="99" y="33"/>
                  </a:cubicBezTo>
                  <a:cubicBezTo>
                    <a:pt x="99" y="34"/>
                    <a:pt x="100" y="35"/>
                    <a:pt x="100" y="36"/>
                  </a:cubicBezTo>
                  <a:cubicBezTo>
                    <a:pt x="98" y="52"/>
                    <a:pt x="98" y="52"/>
                    <a:pt x="98" y="52"/>
                  </a:cubicBezTo>
                  <a:cubicBezTo>
                    <a:pt x="107" y="52"/>
                    <a:pt x="107" y="52"/>
                    <a:pt x="107" y="52"/>
                  </a:cubicBezTo>
                  <a:cubicBezTo>
                    <a:pt x="105" y="36"/>
                    <a:pt x="105" y="36"/>
                    <a:pt x="105" y="36"/>
                  </a:cubicBezTo>
                  <a:cubicBezTo>
                    <a:pt x="105" y="35"/>
                    <a:pt x="106" y="34"/>
                    <a:pt x="106" y="33"/>
                  </a:cubicBezTo>
                  <a:cubicBezTo>
                    <a:pt x="106" y="32"/>
                    <a:pt x="105" y="31"/>
                    <a:pt x="104" y="30"/>
                  </a:cubicBezTo>
                  <a:cubicBezTo>
                    <a:pt x="104" y="25"/>
                    <a:pt x="104" y="25"/>
                    <a:pt x="104" y="25"/>
                  </a:cubicBezTo>
                  <a:cubicBezTo>
                    <a:pt x="117" y="21"/>
                    <a:pt x="117" y="21"/>
                    <a:pt x="117" y="21"/>
                  </a:cubicBezTo>
                  <a:cubicBezTo>
                    <a:pt x="118" y="20"/>
                    <a:pt x="118" y="20"/>
                    <a:pt x="117" y="19"/>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39" name="TextBox 38">
            <a:extLst>
              <a:ext uri="{FF2B5EF4-FFF2-40B4-BE49-F238E27FC236}">
                <a16:creationId xmlns:a16="http://schemas.microsoft.com/office/drawing/2014/main" id="{D4EE49E0-E921-4791-AADD-514482A72123}"/>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805331678"/>
      </p:ext>
    </p:extLst>
  </p:cSld>
  <p:clrMapOvr>
    <a:masterClrMapping/>
  </p:clrMapOvr>
  <p:transition>
    <p:fade/>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Subtitle runs here</a:t>
            </a:r>
          </a:p>
        </p:txBody>
      </p:sp>
      <p:sp>
        <p:nvSpPr>
          <p:cNvPr id="830465" name="Title 1"/>
          <p:cNvSpPr>
            <a:spLocks noGrp="1"/>
          </p:cNvSpPr>
          <p:nvPr>
            <p:ph type="title"/>
          </p:nvPr>
        </p:nvSpPr>
        <p:spPr/>
        <p:txBody>
          <a:bodyPr/>
          <a:lstStyle/>
          <a:p>
            <a:r>
              <a:rPr lang="en-US" altLang="de-DE" dirty="0"/>
              <a:t>Timelines</a:t>
            </a:r>
            <a:endParaRPr lang="en-US" dirty="0"/>
          </a:p>
        </p:txBody>
      </p:sp>
      <p:sp>
        <p:nvSpPr>
          <p:cNvPr id="830467" name="Text Box 3"/>
          <p:cNvSpPr txBox="1">
            <a:spLocks noChangeArrowheads="1"/>
          </p:cNvSpPr>
          <p:nvPr/>
        </p:nvSpPr>
        <p:spPr bwMode="auto">
          <a:xfrm>
            <a:off x="787009"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68" name="Text Box 4"/>
          <p:cNvSpPr txBox="1">
            <a:spLocks noChangeArrowheads="1"/>
          </p:cNvSpPr>
          <p:nvPr/>
        </p:nvSpPr>
        <p:spPr bwMode="auto">
          <a:xfrm>
            <a:off x="1744353"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69" name="Text Box 5"/>
          <p:cNvSpPr txBox="1">
            <a:spLocks noChangeArrowheads="1"/>
          </p:cNvSpPr>
          <p:nvPr/>
        </p:nvSpPr>
        <p:spPr bwMode="auto">
          <a:xfrm>
            <a:off x="2701697"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0" name="Text Box 6"/>
          <p:cNvSpPr txBox="1">
            <a:spLocks noChangeArrowheads="1"/>
          </p:cNvSpPr>
          <p:nvPr/>
        </p:nvSpPr>
        <p:spPr bwMode="auto">
          <a:xfrm>
            <a:off x="3659041"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1" name="Text Box 7"/>
          <p:cNvSpPr txBox="1">
            <a:spLocks noChangeArrowheads="1"/>
          </p:cNvSpPr>
          <p:nvPr/>
        </p:nvSpPr>
        <p:spPr bwMode="auto">
          <a:xfrm>
            <a:off x="4616385"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2" name="Text Box 8"/>
          <p:cNvSpPr txBox="1">
            <a:spLocks noChangeArrowheads="1"/>
          </p:cNvSpPr>
          <p:nvPr/>
        </p:nvSpPr>
        <p:spPr bwMode="auto">
          <a:xfrm>
            <a:off x="5573729"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3" name="Text Box 9"/>
          <p:cNvSpPr txBox="1">
            <a:spLocks noChangeArrowheads="1"/>
          </p:cNvSpPr>
          <p:nvPr/>
        </p:nvSpPr>
        <p:spPr bwMode="auto">
          <a:xfrm>
            <a:off x="6531072"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4" name="Text Box 10"/>
          <p:cNvSpPr txBox="1">
            <a:spLocks noChangeArrowheads="1"/>
          </p:cNvSpPr>
          <p:nvPr/>
        </p:nvSpPr>
        <p:spPr bwMode="auto">
          <a:xfrm>
            <a:off x="7488416"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5" name="Text Box 11"/>
          <p:cNvSpPr txBox="1">
            <a:spLocks noChangeArrowheads="1"/>
          </p:cNvSpPr>
          <p:nvPr/>
        </p:nvSpPr>
        <p:spPr bwMode="auto">
          <a:xfrm>
            <a:off x="8445760"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6" name="Text Box 12"/>
          <p:cNvSpPr txBox="1">
            <a:spLocks noChangeArrowheads="1"/>
          </p:cNvSpPr>
          <p:nvPr/>
        </p:nvSpPr>
        <p:spPr bwMode="auto">
          <a:xfrm>
            <a:off x="9403104"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477" name="Text Box 13"/>
          <p:cNvSpPr txBox="1">
            <a:spLocks noChangeArrowheads="1"/>
          </p:cNvSpPr>
          <p:nvPr/>
        </p:nvSpPr>
        <p:spPr bwMode="auto">
          <a:xfrm>
            <a:off x="10360453" y="1966144"/>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16" name="Freeform 14"/>
          <p:cNvSpPr>
            <a:spLocks/>
          </p:cNvSpPr>
          <p:nvPr/>
        </p:nvSpPr>
        <p:spPr bwMode="auto">
          <a:xfrm>
            <a:off x="787009" y="2253482"/>
            <a:ext cx="10534092" cy="144462"/>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dirty="0"/>
          </a:p>
        </p:txBody>
      </p:sp>
      <p:sp>
        <p:nvSpPr>
          <p:cNvPr id="17" name="AutoShape 15"/>
          <p:cNvSpPr>
            <a:spLocks noChangeArrowheads="1"/>
          </p:cNvSpPr>
          <p:nvPr/>
        </p:nvSpPr>
        <p:spPr bwMode="auto">
          <a:xfrm>
            <a:off x="1156020"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18" name="AutoShape 16"/>
          <p:cNvSpPr>
            <a:spLocks noChangeArrowheads="1"/>
          </p:cNvSpPr>
          <p:nvPr/>
        </p:nvSpPr>
        <p:spPr bwMode="auto">
          <a:xfrm>
            <a:off x="2113364"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19" name="AutoShape 17"/>
          <p:cNvSpPr>
            <a:spLocks noChangeArrowheads="1"/>
          </p:cNvSpPr>
          <p:nvPr/>
        </p:nvSpPr>
        <p:spPr bwMode="auto">
          <a:xfrm>
            <a:off x="3070708"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0" name="AutoShape 18"/>
          <p:cNvSpPr>
            <a:spLocks noChangeArrowheads="1"/>
          </p:cNvSpPr>
          <p:nvPr/>
        </p:nvSpPr>
        <p:spPr bwMode="auto">
          <a:xfrm>
            <a:off x="4028052"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1" name="AutoShape 19"/>
          <p:cNvSpPr>
            <a:spLocks noChangeArrowheads="1"/>
          </p:cNvSpPr>
          <p:nvPr/>
        </p:nvSpPr>
        <p:spPr bwMode="auto">
          <a:xfrm>
            <a:off x="4985395"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2" name="AutoShape 20"/>
          <p:cNvSpPr>
            <a:spLocks noChangeArrowheads="1"/>
          </p:cNvSpPr>
          <p:nvPr/>
        </p:nvSpPr>
        <p:spPr bwMode="auto">
          <a:xfrm>
            <a:off x="5942739"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3" name="AutoShape 21"/>
          <p:cNvSpPr>
            <a:spLocks noChangeArrowheads="1"/>
          </p:cNvSpPr>
          <p:nvPr/>
        </p:nvSpPr>
        <p:spPr bwMode="auto">
          <a:xfrm>
            <a:off x="6900083"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4" name="AutoShape 22"/>
          <p:cNvSpPr>
            <a:spLocks noChangeArrowheads="1"/>
          </p:cNvSpPr>
          <p:nvPr/>
        </p:nvSpPr>
        <p:spPr bwMode="auto">
          <a:xfrm>
            <a:off x="7857427"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5" name="AutoShape 23"/>
          <p:cNvSpPr>
            <a:spLocks noChangeArrowheads="1"/>
          </p:cNvSpPr>
          <p:nvPr/>
        </p:nvSpPr>
        <p:spPr bwMode="auto">
          <a:xfrm>
            <a:off x="8814771"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6" name="AutoShape 24"/>
          <p:cNvSpPr>
            <a:spLocks noChangeArrowheads="1"/>
          </p:cNvSpPr>
          <p:nvPr/>
        </p:nvSpPr>
        <p:spPr bwMode="auto">
          <a:xfrm>
            <a:off x="9772115"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7" name="AutoShape 25"/>
          <p:cNvSpPr>
            <a:spLocks noChangeArrowheads="1"/>
          </p:cNvSpPr>
          <p:nvPr/>
        </p:nvSpPr>
        <p:spPr bwMode="auto">
          <a:xfrm>
            <a:off x="10729464" y="2182044"/>
            <a:ext cx="213477" cy="137160"/>
          </a:xfrm>
          <a:prstGeom prst="diamond">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p>
        </p:txBody>
      </p:sp>
      <p:sp>
        <p:nvSpPr>
          <p:cNvPr id="28" name="Freeform 26"/>
          <p:cNvSpPr>
            <a:spLocks/>
          </p:cNvSpPr>
          <p:nvPr/>
        </p:nvSpPr>
        <p:spPr bwMode="auto">
          <a:xfrm>
            <a:off x="787011" y="4475761"/>
            <a:ext cx="10534090" cy="144462"/>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dirty="0">
              <a:solidFill>
                <a:srgbClr val="53565A"/>
              </a:solidFill>
            </a:endParaRPr>
          </a:p>
        </p:txBody>
      </p:sp>
      <p:sp>
        <p:nvSpPr>
          <p:cNvPr id="29" name="Rectangle 27"/>
          <p:cNvSpPr>
            <a:spLocks noChangeArrowheads="1"/>
          </p:cNvSpPr>
          <p:nvPr/>
        </p:nvSpPr>
        <p:spPr bwMode="auto">
          <a:xfrm>
            <a:off x="1152970"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0" name="Rectangle 28"/>
          <p:cNvSpPr>
            <a:spLocks noChangeArrowheads="1"/>
          </p:cNvSpPr>
          <p:nvPr/>
        </p:nvSpPr>
        <p:spPr bwMode="auto">
          <a:xfrm>
            <a:off x="2110314"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1" name="Rectangle 29"/>
          <p:cNvSpPr>
            <a:spLocks noChangeArrowheads="1"/>
          </p:cNvSpPr>
          <p:nvPr/>
        </p:nvSpPr>
        <p:spPr bwMode="auto">
          <a:xfrm>
            <a:off x="3067658"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2" name="Rectangle 30"/>
          <p:cNvSpPr>
            <a:spLocks noChangeArrowheads="1"/>
          </p:cNvSpPr>
          <p:nvPr/>
        </p:nvSpPr>
        <p:spPr bwMode="auto">
          <a:xfrm>
            <a:off x="4025002"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3" name="Rectangle 31"/>
          <p:cNvSpPr>
            <a:spLocks noChangeArrowheads="1"/>
          </p:cNvSpPr>
          <p:nvPr/>
        </p:nvSpPr>
        <p:spPr bwMode="auto">
          <a:xfrm>
            <a:off x="4982346"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4" name="Rectangle 32"/>
          <p:cNvSpPr>
            <a:spLocks noChangeArrowheads="1"/>
          </p:cNvSpPr>
          <p:nvPr/>
        </p:nvSpPr>
        <p:spPr bwMode="auto">
          <a:xfrm>
            <a:off x="5939690"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5" name="Rectangle 33"/>
          <p:cNvSpPr>
            <a:spLocks noChangeArrowheads="1"/>
          </p:cNvSpPr>
          <p:nvPr/>
        </p:nvSpPr>
        <p:spPr bwMode="auto">
          <a:xfrm>
            <a:off x="6897034"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6" name="Rectangle 34"/>
          <p:cNvSpPr>
            <a:spLocks noChangeArrowheads="1"/>
          </p:cNvSpPr>
          <p:nvPr/>
        </p:nvSpPr>
        <p:spPr bwMode="auto">
          <a:xfrm>
            <a:off x="7854378"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7" name="Rectangle 35"/>
          <p:cNvSpPr>
            <a:spLocks noChangeArrowheads="1"/>
          </p:cNvSpPr>
          <p:nvPr/>
        </p:nvSpPr>
        <p:spPr bwMode="auto">
          <a:xfrm>
            <a:off x="8811721"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8" name="Rectangle 36"/>
          <p:cNvSpPr>
            <a:spLocks noChangeArrowheads="1"/>
          </p:cNvSpPr>
          <p:nvPr/>
        </p:nvSpPr>
        <p:spPr bwMode="auto">
          <a:xfrm>
            <a:off x="9769065"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39" name="Rectangle 37"/>
          <p:cNvSpPr>
            <a:spLocks noChangeArrowheads="1"/>
          </p:cNvSpPr>
          <p:nvPr/>
        </p:nvSpPr>
        <p:spPr bwMode="auto">
          <a:xfrm>
            <a:off x="10726414" y="4404323"/>
            <a:ext cx="219577" cy="137160"/>
          </a:xfrm>
          <a:prstGeom prst="rect">
            <a:avLst/>
          </a:prstGeom>
          <a:solidFill>
            <a:schemeClr val="accent3"/>
          </a:solidFill>
          <a:ln w="6350" algn="ctr">
            <a:solidFill>
              <a:schemeClr val="bg1"/>
            </a:solidFill>
            <a:miter lim="800000"/>
            <a:headEnd/>
            <a:tailEnd/>
          </a:ln>
        </p:spPr>
        <p:txBody>
          <a:bodyPr wrap="none" lIns="0" tIns="0" rIns="0" bIns="0" anchor="ctr"/>
          <a:lstStyle/>
          <a:p>
            <a:pPr algn="ctr">
              <a:defRPr/>
            </a:pPr>
            <a:endParaRPr lang="en-US" sz="1000" dirty="0">
              <a:solidFill>
                <a:srgbClr val="53565A"/>
              </a:solidFill>
            </a:endParaRPr>
          </a:p>
        </p:txBody>
      </p:sp>
      <p:sp>
        <p:nvSpPr>
          <p:cNvPr id="830502" name="Text Box 38"/>
          <p:cNvSpPr txBox="1">
            <a:spLocks noChangeArrowheads="1"/>
          </p:cNvSpPr>
          <p:nvPr/>
        </p:nvSpPr>
        <p:spPr bwMode="auto">
          <a:xfrm>
            <a:off x="787009"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3" name="Text Box 39"/>
          <p:cNvSpPr txBox="1">
            <a:spLocks noChangeArrowheads="1"/>
          </p:cNvSpPr>
          <p:nvPr/>
        </p:nvSpPr>
        <p:spPr bwMode="auto">
          <a:xfrm>
            <a:off x="1744353"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4" name="Text Box 40"/>
          <p:cNvSpPr txBox="1">
            <a:spLocks noChangeArrowheads="1"/>
          </p:cNvSpPr>
          <p:nvPr/>
        </p:nvSpPr>
        <p:spPr bwMode="auto">
          <a:xfrm>
            <a:off x="2701697"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5" name="Text Box 41"/>
          <p:cNvSpPr txBox="1">
            <a:spLocks noChangeArrowheads="1"/>
          </p:cNvSpPr>
          <p:nvPr/>
        </p:nvSpPr>
        <p:spPr bwMode="auto">
          <a:xfrm>
            <a:off x="3659041"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6" name="Text Box 42"/>
          <p:cNvSpPr txBox="1">
            <a:spLocks noChangeArrowheads="1"/>
          </p:cNvSpPr>
          <p:nvPr/>
        </p:nvSpPr>
        <p:spPr bwMode="auto">
          <a:xfrm>
            <a:off x="4616385"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7" name="Text Box 43"/>
          <p:cNvSpPr txBox="1">
            <a:spLocks noChangeArrowheads="1"/>
          </p:cNvSpPr>
          <p:nvPr/>
        </p:nvSpPr>
        <p:spPr bwMode="auto">
          <a:xfrm>
            <a:off x="5573729"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8" name="Text Box 44"/>
          <p:cNvSpPr txBox="1">
            <a:spLocks noChangeArrowheads="1"/>
          </p:cNvSpPr>
          <p:nvPr/>
        </p:nvSpPr>
        <p:spPr bwMode="auto">
          <a:xfrm>
            <a:off x="6531072"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09" name="Text Box 45"/>
          <p:cNvSpPr txBox="1">
            <a:spLocks noChangeArrowheads="1"/>
          </p:cNvSpPr>
          <p:nvPr/>
        </p:nvSpPr>
        <p:spPr bwMode="auto">
          <a:xfrm>
            <a:off x="7488416"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0" name="Text Box 46"/>
          <p:cNvSpPr txBox="1">
            <a:spLocks noChangeArrowheads="1"/>
          </p:cNvSpPr>
          <p:nvPr/>
        </p:nvSpPr>
        <p:spPr bwMode="auto">
          <a:xfrm>
            <a:off x="8445760"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1" name="Text Box 47"/>
          <p:cNvSpPr txBox="1">
            <a:spLocks noChangeArrowheads="1"/>
          </p:cNvSpPr>
          <p:nvPr/>
        </p:nvSpPr>
        <p:spPr bwMode="auto">
          <a:xfrm>
            <a:off x="9403104"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2" name="Text Box 48"/>
          <p:cNvSpPr txBox="1">
            <a:spLocks noChangeArrowheads="1"/>
          </p:cNvSpPr>
          <p:nvPr/>
        </p:nvSpPr>
        <p:spPr bwMode="auto">
          <a:xfrm>
            <a:off x="10360453" y="4188423"/>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3" name="Text Box 49"/>
          <p:cNvSpPr txBox="1">
            <a:spLocks noChangeArrowheads="1"/>
          </p:cNvSpPr>
          <p:nvPr/>
        </p:nvSpPr>
        <p:spPr bwMode="auto">
          <a:xfrm>
            <a:off x="787009"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4" name="Text Box 50"/>
          <p:cNvSpPr txBox="1">
            <a:spLocks noChangeArrowheads="1"/>
          </p:cNvSpPr>
          <p:nvPr/>
        </p:nvSpPr>
        <p:spPr bwMode="auto">
          <a:xfrm>
            <a:off x="1744353"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5" name="Text Box 51"/>
          <p:cNvSpPr txBox="1">
            <a:spLocks noChangeArrowheads="1"/>
          </p:cNvSpPr>
          <p:nvPr/>
        </p:nvSpPr>
        <p:spPr bwMode="auto">
          <a:xfrm>
            <a:off x="2701697"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6" name="Text Box 52"/>
          <p:cNvSpPr txBox="1">
            <a:spLocks noChangeArrowheads="1"/>
          </p:cNvSpPr>
          <p:nvPr/>
        </p:nvSpPr>
        <p:spPr bwMode="auto">
          <a:xfrm>
            <a:off x="3659041"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7" name="Text Box 53"/>
          <p:cNvSpPr txBox="1">
            <a:spLocks noChangeArrowheads="1"/>
          </p:cNvSpPr>
          <p:nvPr/>
        </p:nvSpPr>
        <p:spPr bwMode="auto">
          <a:xfrm>
            <a:off x="4616385"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8" name="Text Box 54"/>
          <p:cNvSpPr txBox="1">
            <a:spLocks noChangeArrowheads="1"/>
          </p:cNvSpPr>
          <p:nvPr/>
        </p:nvSpPr>
        <p:spPr bwMode="auto">
          <a:xfrm>
            <a:off x="5573729"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19" name="Text Box 55"/>
          <p:cNvSpPr txBox="1">
            <a:spLocks noChangeArrowheads="1"/>
          </p:cNvSpPr>
          <p:nvPr/>
        </p:nvSpPr>
        <p:spPr bwMode="auto">
          <a:xfrm>
            <a:off x="6531072"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0" name="Text Box 56"/>
          <p:cNvSpPr txBox="1">
            <a:spLocks noChangeArrowheads="1"/>
          </p:cNvSpPr>
          <p:nvPr/>
        </p:nvSpPr>
        <p:spPr bwMode="auto">
          <a:xfrm>
            <a:off x="7488416"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1" name="Text Box 57"/>
          <p:cNvSpPr txBox="1">
            <a:spLocks noChangeArrowheads="1"/>
          </p:cNvSpPr>
          <p:nvPr/>
        </p:nvSpPr>
        <p:spPr bwMode="auto">
          <a:xfrm>
            <a:off x="8445760"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2" name="Text Box 58"/>
          <p:cNvSpPr txBox="1">
            <a:spLocks noChangeArrowheads="1"/>
          </p:cNvSpPr>
          <p:nvPr/>
        </p:nvSpPr>
        <p:spPr bwMode="auto">
          <a:xfrm>
            <a:off x="9403104"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830523" name="Text Box 59"/>
          <p:cNvSpPr txBox="1">
            <a:spLocks noChangeArrowheads="1"/>
          </p:cNvSpPr>
          <p:nvPr/>
        </p:nvSpPr>
        <p:spPr bwMode="auto">
          <a:xfrm>
            <a:off x="10360453" y="3098549"/>
            <a:ext cx="951499" cy="146050"/>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1000" dirty="0">
                <a:solidFill>
                  <a:srgbClr val="53565A"/>
                </a:solidFill>
                <a:ea typeface="ＭＳ Ｐゴシック" charset="-128"/>
              </a:rPr>
              <a:t>x</a:t>
            </a:r>
          </a:p>
        </p:txBody>
      </p:sp>
      <p:sp>
        <p:nvSpPr>
          <p:cNvPr id="62" name="Freeform 60"/>
          <p:cNvSpPr>
            <a:spLocks/>
          </p:cNvSpPr>
          <p:nvPr/>
        </p:nvSpPr>
        <p:spPr bwMode="auto">
          <a:xfrm>
            <a:off x="787009" y="3385887"/>
            <a:ext cx="10534092" cy="144463"/>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BBBCBC"/>
            </a:solidFill>
            <a:round/>
            <a:headEnd/>
            <a:tailEnd/>
          </a:ln>
        </p:spPr>
        <p:txBody>
          <a:bodyPr wrap="none" lIns="0" tIns="0" rIns="0" bIns="0" anchor="ctr"/>
          <a:lstStyle/>
          <a:p>
            <a:pPr>
              <a:defRPr/>
            </a:pPr>
            <a:endParaRPr lang="en-US" dirty="0">
              <a:solidFill>
                <a:srgbClr val="53565A"/>
              </a:solidFill>
            </a:endParaRPr>
          </a:p>
        </p:txBody>
      </p:sp>
      <p:sp>
        <p:nvSpPr>
          <p:cNvPr id="63" name="Oval 61"/>
          <p:cNvSpPr>
            <a:spLocks noChangeArrowheads="1"/>
          </p:cNvSpPr>
          <p:nvPr/>
        </p:nvSpPr>
        <p:spPr bwMode="auto">
          <a:xfrm>
            <a:off x="1152970"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4" name="Oval 62"/>
          <p:cNvSpPr>
            <a:spLocks noChangeArrowheads="1"/>
          </p:cNvSpPr>
          <p:nvPr/>
        </p:nvSpPr>
        <p:spPr bwMode="auto">
          <a:xfrm>
            <a:off x="2110314"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5" name="Oval 63"/>
          <p:cNvSpPr>
            <a:spLocks noChangeArrowheads="1"/>
          </p:cNvSpPr>
          <p:nvPr/>
        </p:nvSpPr>
        <p:spPr bwMode="auto">
          <a:xfrm>
            <a:off x="3067658"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6" name="Oval 64"/>
          <p:cNvSpPr>
            <a:spLocks noChangeArrowheads="1"/>
          </p:cNvSpPr>
          <p:nvPr/>
        </p:nvSpPr>
        <p:spPr bwMode="auto">
          <a:xfrm>
            <a:off x="4025002"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7" name="Oval 65"/>
          <p:cNvSpPr>
            <a:spLocks noChangeArrowheads="1"/>
          </p:cNvSpPr>
          <p:nvPr/>
        </p:nvSpPr>
        <p:spPr bwMode="auto">
          <a:xfrm>
            <a:off x="4982346"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8" name="Oval 66"/>
          <p:cNvSpPr>
            <a:spLocks noChangeArrowheads="1"/>
          </p:cNvSpPr>
          <p:nvPr/>
        </p:nvSpPr>
        <p:spPr bwMode="auto">
          <a:xfrm>
            <a:off x="5939690"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69" name="Oval 67"/>
          <p:cNvSpPr>
            <a:spLocks noChangeArrowheads="1"/>
          </p:cNvSpPr>
          <p:nvPr/>
        </p:nvSpPr>
        <p:spPr bwMode="auto">
          <a:xfrm>
            <a:off x="7854378"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0" name="Oval 68"/>
          <p:cNvSpPr>
            <a:spLocks noChangeArrowheads="1"/>
          </p:cNvSpPr>
          <p:nvPr/>
        </p:nvSpPr>
        <p:spPr bwMode="auto">
          <a:xfrm>
            <a:off x="8811721"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1" name="Oval 69"/>
          <p:cNvSpPr>
            <a:spLocks noChangeArrowheads="1"/>
          </p:cNvSpPr>
          <p:nvPr/>
        </p:nvSpPr>
        <p:spPr bwMode="auto">
          <a:xfrm>
            <a:off x="9769065"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2" name="Oval 70"/>
          <p:cNvSpPr>
            <a:spLocks noChangeArrowheads="1"/>
          </p:cNvSpPr>
          <p:nvPr/>
        </p:nvSpPr>
        <p:spPr bwMode="auto">
          <a:xfrm>
            <a:off x="10726414"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sp>
        <p:nvSpPr>
          <p:cNvPr id="73" name="Oval 71"/>
          <p:cNvSpPr>
            <a:spLocks noChangeArrowheads="1"/>
          </p:cNvSpPr>
          <p:nvPr/>
        </p:nvSpPr>
        <p:spPr bwMode="auto">
          <a:xfrm>
            <a:off x="6897034" y="3314449"/>
            <a:ext cx="182880" cy="182880"/>
          </a:xfrm>
          <a:prstGeom prst="ellipse">
            <a:avLst/>
          </a:prstGeom>
          <a:solidFill>
            <a:schemeClr val="accent3"/>
          </a:solidFill>
          <a:ln w="6350" algn="ctr">
            <a:solidFill>
              <a:schemeClr val="bg1"/>
            </a:solidFill>
            <a:round/>
            <a:headEnd/>
            <a:tailEnd/>
          </a:ln>
        </p:spPr>
        <p:txBody>
          <a:bodyPr wrap="none" lIns="0" tIns="0" rIns="0" bIns="0" anchor="ctr"/>
          <a:lstStyle/>
          <a:p>
            <a:pPr algn="ctr">
              <a:defRPr/>
            </a:pPr>
            <a:endParaRPr lang="en-US" sz="1000" dirty="0">
              <a:solidFill>
                <a:srgbClr val="53565A"/>
              </a:solidFill>
            </a:endParaRPr>
          </a:p>
        </p:txBody>
      </p:sp>
      <p:grpSp>
        <p:nvGrpSpPr>
          <p:cNvPr id="2" name="Group 1">
            <a:extLst>
              <a:ext uri="{FF2B5EF4-FFF2-40B4-BE49-F238E27FC236}">
                <a16:creationId xmlns:a16="http://schemas.microsoft.com/office/drawing/2014/main" id="{F1C51EE3-9D5D-4964-8EB1-74C9B3FDB8F1}"/>
              </a:ext>
            </a:extLst>
          </p:cNvPr>
          <p:cNvGrpSpPr/>
          <p:nvPr/>
        </p:nvGrpSpPr>
        <p:grpSpPr>
          <a:xfrm>
            <a:off x="630811" y="5165854"/>
            <a:ext cx="10846485" cy="829782"/>
            <a:chOff x="630812" y="5165854"/>
            <a:chExt cx="8386872" cy="641616"/>
          </a:xfrm>
        </p:grpSpPr>
        <p:sp>
          <p:nvSpPr>
            <p:cNvPr id="75" name="Line 73"/>
            <p:cNvSpPr>
              <a:spLocks noChangeShapeType="1"/>
            </p:cNvSpPr>
            <p:nvPr/>
          </p:nvSpPr>
          <p:spPr bwMode="auto">
            <a:xfrm>
              <a:off x="751590" y="5475595"/>
              <a:ext cx="8145319" cy="0"/>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6" name="Line 74"/>
            <p:cNvSpPr>
              <a:spLocks noChangeShapeType="1"/>
            </p:cNvSpPr>
            <p:nvPr/>
          </p:nvSpPr>
          <p:spPr bwMode="auto">
            <a:xfrm>
              <a:off x="1651644"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7" name="Line 75"/>
            <p:cNvSpPr>
              <a:spLocks noChangeShapeType="1"/>
            </p:cNvSpPr>
            <p:nvPr/>
          </p:nvSpPr>
          <p:spPr bwMode="auto">
            <a:xfrm>
              <a:off x="2356667"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8" name="Line 76"/>
            <p:cNvSpPr>
              <a:spLocks noChangeShapeType="1"/>
            </p:cNvSpPr>
            <p:nvPr/>
          </p:nvSpPr>
          <p:spPr bwMode="auto">
            <a:xfrm>
              <a:off x="3061690"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79" name="Line 77"/>
            <p:cNvSpPr>
              <a:spLocks noChangeShapeType="1"/>
            </p:cNvSpPr>
            <p:nvPr/>
          </p:nvSpPr>
          <p:spPr bwMode="auto">
            <a:xfrm>
              <a:off x="3766713"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0" name="Line 78"/>
            <p:cNvSpPr>
              <a:spLocks noChangeShapeType="1"/>
            </p:cNvSpPr>
            <p:nvPr/>
          </p:nvSpPr>
          <p:spPr bwMode="auto">
            <a:xfrm>
              <a:off x="4471736"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1" name="Line 79"/>
            <p:cNvSpPr>
              <a:spLocks noChangeShapeType="1"/>
            </p:cNvSpPr>
            <p:nvPr/>
          </p:nvSpPr>
          <p:spPr bwMode="auto">
            <a:xfrm>
              <a:off x="5176759"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2" name="Line 80"/>
            <p:cNvSpPr>
              <a:spLocks noChangeShapeType="1"/>
            </p:cNvSpPr>
            <p:nvPr/>
          </p:nvSpPr>
          <p:spPr bwMode="auto">
            <a:xfrm>
              <a:off x="5881782"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3" name="Line 81"/>
            <p:cNvSpPr>
              <a:spLocks noChangeShapeType="1"/>
            </p:cNvSpPr>
            <p:nvPr/>
          </p:nvSpPr>
          <p:spPr bwMode="auto">
            <a:xfrm>
              <a:off x="6586805"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4" name="Line 82"/>
            <p:cNvSpPr>
              <a:spLocks noChangeShapeType="1"/>
            </p:cNvSpPr>
            <p:nvPr/>
          </p:nvSpPr>
          <p:spPr bwMode="auto">
            <a:xfrm>
              <a:off x="7291828"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5" name="Line 83"/>
            <p:cNvSpPr>
              <a:spLocks noChangeShapeType="1"/>
            </p:cNvSpPr>
            <p:nvPr/>
          </p:nvSpPr>
          <p:spPr bwMode="auto">
            <a:xfrm>
              <a:off x="7996851"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6" name="Line 84"/>
            <p:cNvSpPr>
              <a:spLocks noChangeShapeType="1"/>
            </p:cNvSpPr>
            <p:nvPr/>
          </p:nvSpPr>
          <p:spPr bwMode="auto">
            <a:xfrm>
              <a:off x="8701875"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7" name="Line 85"/>
            <p:cNvSpPr>
              <a:spLocks noChangeShapeType="1"/>
            </p:cNvSpPr>
            <p:nvPr/>
          </p:nvSpPr>
          <p:spPr bwMode="auto">
            <a:xfrm>
              <a:off x="946621" y="5403365"/>
              <a:ext cx="0" cy="144463"/>
            </a:xfrm>
            <a:prstGeom prst="line">
              <a:avLst/>
            </a:prstGeom>
            <a:noFill/>
            <a:ln w="9525">
              <a:solidFill>
                <a:schemeClr val="accent3"/>
              </a:solidFill>
              <a:round/>
              <a:headEnd/>
              <a:tailEnd/>
            </a:ln>
          </p:spPr>
          <p:txBody>
            <a:bodyPr wrap="none" lIns="0" tIns="0" rIns="0" bIns="0" anchor="ctr"/>
            <a:lstStyle/>
            <a:p>
              <a:pPr>
                <a:defRPr/>
              </a:pPr>
              <a:endParaRPr lang="en-US" sz="800" dirty="0">
                <a:solidFill>
                  <a:srgbClr val="53565A"/>
                </a:solidFill>
              </a:endParaRPr>
            </a:p>
          </p:txBody>
        </p:sp>
        <p:sp>
          <p:nvSpPr>
            <p:cNvPr id="830551" name="Text Box 86"/>
            <p:cNvSpPr txBox="1">
              <a:spLocks noChangeArrowheads="1"/>
            </p:cNvSpPr>
            <p:nvPr/>
          </p:nvSpPr>
          <p:spPr bwMode="auto">
            <a:xfrm>
              <a:off x="630812"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anuary</a:t>
              </a:r>
            </a:p>
          </p:txBody>
        </p:sp>
        <p:sp>
          <p:nvSpPr>
            <p:cNvPr id="830552" name="Text Box 87"/>
            <p:cNvSpPr txBox="1">
              <a:spLocks noChangeArrowheads="1"/>
            </p:cNvSpPr>
            <p:nvPr/>
          </p:nvSpPr>
          <p:spPr bwMode="auto">
            <a:xfrm>
              <a:off x="1335835"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February</a:t>
              </a:r>
            </a:p>
          </p:txBody>
        </p:sp>
        <p:sp>
          <p:nvSpPr>
            <p:cNvPr id="830553" name="Text Box 88"/>
            <p:cNvSpPr txBox="1">
              <a:spLocks noChangeArrowheads="1"/>
            </p:cNvSpPr>
            <p:nvPr/>
          </p:nvSpPr>
          <p:spPr bwMode="auto">
            <a:xfrm>
              <a:off x="2040858"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March</a:t>
              </a:r>
            </a:p>
          </p:txBody>
        </p:sp>
        <p:sp>
          <p:nvSpPr>
            <p:cNvPr id="830554" name="Text Box 89"/>
            <p:cNvSpPr txBox="1">
              <a:spLocks noChangeArrowheads="1"/>
            </p:cNvSpPr>
            <p:nvPr/>
          </p:nvSpPr>
          <p:spPr bwMode="auto">
            <a:xfrm>
              <a:off x="2745881"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April</a:t>
              </a:r>
            </a:p>
          </p:txBody>
        </p:sp>
        <p:sp>
          <p:nvSpPr>
            <p:cNvPr id="830555" name="Text Box 90"/>
            <p:cNvSpPr txBox="1">
              <a:spLocks noChangeArrowheads="1"/>
            </p:cNvSpPr>
            <p:nvPr/>
          </p:nvSpPr>
          <p:spPr bwMode="auto">
            <a:xfrm>
              <a:off x="3450904"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May</a:t>
              </a:r>
            </a:p>
          </p:txBody>
        </p:sp>
        <p:sp>
          <p:nvSpPr>
            <p:cNvPr id="830556" name="Text Box 91"/>
            <p:cNvSpPr txBox="1">
              <a:spLocks noChangeArrowheads="1"/>
            </p:cNvSpPr>
            <p:nvPr/>
          </p:nvSpPr>
          <p:spPr bwMode="auto">
            <a:xfrm>
              <a:off x="4155927"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une</a:t>
              </a:r>
            </a:p>
          </p:txBody>
        </p:sp>
        <p:sp>
          <p:nvSpPr>
            <p:cNvPr id="830557" name="Text Box 92"/>
            <p:cNvSpPr txBox="1">
              <a:spLocks noChangeArrowheads="1"/>
            </p:cNvSpPr>
            <p:nvPr/>
          </p:nvSpPr>
          <p:spPr bwMode="auto">
            <a:xfrm>
              <a:off x="4860950"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July</a:t>
              </a:r>
            </a:p>
          </p:txBody>
        </p:sp>
        <p:sp>
          <p:nvSpPr>
            <p:cNvPr id="830558" name="Text Box 93"/>
            <p:cNvSpPr txBox="1">
              <a:spLocks noChangeArrowheads="1"/>
            </p:cNvSpPr>
            <p:nvPr/>
          </p:nvSpPr>
          <p:spPr bwMode="auto">
            <a:xfrm>
              <a:off x="5565973"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August</a:t>
              </a:r>
            </a:p>
          </p:txBody>
        </p:sp>
        <p:sp>
          <p:nvSpPr>
            <p:cNvPr id="830559" name="Text Box 94"/>
            <p:cNvSpPr txBox="1">
              <a:spLocks noChangeArrowheads="1"/>
            </p:cNvSpPr>
            <p:nvPr/>
          </p:nvSpPr>
          <p:spPr bwMode="auto">
            <a:xfrm>
              <a:off x="6270996"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September</a:t>
              </a:r>
            </a:p>
          </p:txBody>
        </p:sp>
        <p:sp>
          <p:nvSpPr>
            <p:cNvPr id="830560" name="Text Box 95"/>
            <p:cNvSpPr txBox="1">
              <a:spLocks noChangeArrowheads="1"/>
            </p:cNvSpPr>
            <p:nvPr/>
          </p:nvSpPr>
          <p:spPr bwMode="auto">
            <a:xfrm>
              <a:off x="6976019"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October</a:t>
              </a:r>
            </a:p>
          </p:txBody>
        </p:sp>
        <p:sp>
          <p:nvSpPr>
            <p:cNvPr id="830561" name="Text Box 96"/>
            <p:cNvSpPr txBox="1">
              <a:spLocks noChangeArrowheads="1"/>
            </p:cNvSpPr>
            <p:nvPr/>
          </p:nvSpPr>
          <p:spPr bwMode="auto">
            <a:xfrm>
              <a:off x="7681042"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November</a:t>
              </a:r>
            </a:p>
          </p:txBody>
        </p:sp>
        <p:sp>
          <p:nvSpPr>
            <p:cNvPr id="830562" name="Text Box 97"/>
            <p:cNvSpPr txBox="1">
              <a:spLocks noChangeArrowheads="1"/>
            </p:cNvSpPr>
            <p:nvPr/>
          </p:nvSpPr>
          <p:spPr bwMode="auto">
            <a:xfrm>
              <a:off x="8386066" y="5165854"/>
              <a:ext cx="631618" cy="116955"/>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800" dirty="0">
                  <a:solidFill>
                    <a:srgbClr val="53565A"/>
                  </a:solidFill>
                  <a:ea typeface="ＭＳ Ｐゴシック" charset="-128"/>
                </a:rPr>
                <a:t>December</a:t>
              </a:r>
            </a:p>
          </p:txBody>
        </p:sp>
        <p:sp>
          <p:nvSpPr>
            <p:cNvPr id="830563" name="Text Box 98"/>
            <p:cNvSpPr txBox="1">
              <a:spLocks noChangeArrowheads="1"/>
            </p:cNvSpPr>
            <p:nvPr/>
          </p:nvSpPr>
          <p:spPr bwMode="auto">
            <a:xfrm>
              <a:off x="630812"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anuary</a:t>
              </a:r>
            </a:p>
          </p:txBody>
        </p:sp>
        <p:sp>
          <p:nvSpPr>
            <p:cNvPr id="830564" name="Text Box 99"/>
            <p:cNvSpPr txBox="1">
              <a:spLocks noChangeArrowheads="1"/>
            </p:cNvSpPr>
            <p:nvPr/>
          </p:nvSpPr>
          <p:spPr bwMode="auto">
            <a:xfrm>
              <a:off x="1335835"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February</a:t>
              </a:r>
            </a:p>
          </p:txBody>
        </p:sp>
        <p:sp>
          <p:nvSpPr>
            <p:cNvPr id="830565" name="Text Box 100"/>
            <p:cNvSpPr txBox="1">
              <a:spLocks noChangeArrowheads="1"/>
            </p:cNvSpPr>
            <p:nvPr/>
          </p:nvSpPr>
          <p:spPr bwMode="auto">
            <a:xfrm>
              <a:off x="2040858"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March</a:t>
              </a:r>
            </a:p>
          </p:txBody>
        </p:sp>
        <p:sp>
          <p:nvSpPr>
            <p:cNvPr id="830566" name="Text Box 101"/>
            <p:cNvSpPr txBox="1">
              <a:spLocks noChangeArrowheads="1"/>
            </p:cNvSpPr>
            <p:nvPr/>
          </p:nvSpPr>
          <p:spPr bwMode="auto">
            <a:xfrm>
              <a:off x="2745881"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April</a:t>
              </a:r>
            </a:p>
          </p:txBody>
        </p:sp>
        <p:sp>
          <p:nvSpPr>
            <p:cNvPr id="830567" name="Text Box 102"/>
            <p:cNvSpPr txBox="1">
              <a:spLocks noChangeArrowheads="1"/>
            </p:cNvSpPr>
            <p:nvPr/>
          </p:nvSpPr>
          <p:spPr bwMode="auto">
            <a:xfrm>
              <a:off x="3450904"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May</a:t>
              </a:r>
            </a:p>
          </p:txBody>
        </p:sp>
        <p:sp>
          <p:nvSpPr>
            <p:cNvPr id="830568" name="Text Box 103"/>
            <p:cNvSpPr txBox="1">
              <a:spLocks noChangeArrowheads="1"/>
            </p:cNvSpPr>
            <p:nvPr/>
          </p:nvSpPr>
          <p:spPr bwMode="auto">
            <a:xfrm>
              <a:off x="4155927"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une</a:t>
              </a:r>
            </a:p>
          </p:txBody>
        </p:sp>
        <p:sp>
          <p:nvSpPr>
            <p:cNvPr id="830569" name="Text Box 104"/>
            <p:cNvSpPr txBox="1">
              <a:spLocks noChangeArrowheads="1"/>
            </p:cNvSpPr>
            <p:nvPr/>
          </p:nvSpPr>
          <p:spPr bwMode="auto">
            <a:xfrm>
              <a:off x="4860950"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July</a:t>
              </a:r>
            </a:p>
          </p:txBody>
        </p:sp>
        <p:sp>
          <p:nvSpPr>
            <p:cNvPr id="830570" name="Text Box 105"/>
            <p:cNvSpPr txBox="1">
              <a:spLocks noChangeArrowheads="1"/>
            </p:cNvSpPr>
            <p:nvPr/>
          </p:nvSpPr>
          <p:spPr bwMode="auto">
            <a:xfrm>
              <a:off x="5565973"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August</a:t>
              </a:r>
            </a:p>
          </p:txBody>
        </p:sp>
        <p:sp>
          <p:nvSpPr>
            <p:cNvPr id="830571" name="Text Box 106"/>
            <p:cNvSpPr txBox="1">
              <a:spLocks noChangeArrowheads="1"/>
            </p:cNvSpPr>
            <p:nvPr/>
          </p:nvSpPr>
          <p:spPr bwMode="auto">
            <a:xfrm>
              <a:off x="6270996"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September</a:t>
              </a:r>
            </a:p>
          </p:txBody>
        </p:sp>
        <p:sp>
          <p:nvSpPr>
            <p:cNvPr id="830572" name="Text Box 107"/>
            <p:cNvSpPr txBox="1">
              <a:spLocks noChangeArrowheads="1"/>
            </p:cNvSpPr>
            <p:nvPr/>
          </p:nvSpPr>
          <p:spPr bwMode="auto">
            <a:xfrm>
              <a:off x="6976019"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October</a:t>
              </a:r>
            </a:p>
          </p:txBody>
        </p:sp>
        <p:sp>
          <p:nvSpPr>
            <p:cNvPr id="830573" name="Text Box 108"/>
            <p:cNvSpPr txBox="1">
              <a:spLocks noChangeArrowheads="1"/>
            </p:cNvSpPr>
            <p:nvPr/>
          </p:nvSpPr>
          <p:spPr bwMode="auto">
            <a:xfrm>
              <a:off x="7681042"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November</a:t>
              </a:r>
            </a:p>
          </p:txBody>
        </p:sp>
        <p:sp>
          <p:nvSpPr>
            <p:cNvPr id="830574" name="Text Box 109"/>
            <p:cNvSpPr txBox="1">
              <a:spLocks noChangeArrowheads="1"/>
            </p:cNvSpPr>
            <p:nvPr/>
          </p:nvSpPr>
          <p:spPr bwMode="auto">
            <a:xfrm>
              <a:off x="8386066" y="5690515"/>
              <a:ext cx="631618" cy="116955"/>
            </a:xfrm>
            <a:prstGeom prst="rect">
              <a:avLst/>
            </a:prstGeom>
            <a:noFill/>
            <a:ln w="12700" algn="ctr">
              <a:noFill/>
              <a:miter lim="800000"/>
              <a:headEnd/>
              <a:tailEnd/>
            </a:ln>
          </p:spPr>
          <p:txBody>
            <a:bodyPr lIns="0" tIns="0" rIns="0" bIns="0">
              <a:spAutoFit/>
            </a:bodyPr>
            <a:lstStyle/>
            <a:p>
              <a:pPr algn="ctr">
                <a:lnSpc>
                  <a:spcPct val="95000"/>
                </a:lnSpc>
              </a:pPr>
              <a:r>
                <a:rPr lang="en-US" sz="800" dirty="0">
                  <a:solidFill>
                    <a:srgbClr val="53565A"/>
                  </a:solidFill>
                  <a:ea typeface="ＭＳ Ｐゴシック" charset="-128"/>
                </a:rPr>
                <a:t>December</a:t>
              </a:r>
            </a:p>
          </p:txBody>
        </p:sp>
      </p:grpSp>
      <p:sp>
        <p:nvSpPr>
          <p:cNvPr id="112" name="TextBox 111"/>
          <p:cNvSpPr txBox="1"/>
          <p:nvPr/>
        </p:nvSpPr>
        <p:spPr bwMode="gray">
          <a:xfrm>
            <a:off x="648248" y="1700213"/>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909235343"/>
      </p:ext>
    </p:extLst>
  </p:cSld>
  <p:clrMapOvr>
    <a:masterClrMapping/>
  </p:clrMapOvr>
  <p:transition>
    <p:fade/>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Pull out dates</a:t>
            </a:r>
            <a:endParaRPr lang="en-GB" dirty="0"/>
          </a:p>
        </p:txBody>
      </p:sp>
      <p:sp>
        <p:nvSpPr>
          <p:cNvPr id="3" name="Title 2"/>
          <p:cNvSpPr>
            <a:spLocks noGrp="1"/>
          </p:cNvSpPr>
          <p:nvPr>
            <p:ph type="title"/>
          </p:nvPr>
        </p:nvSpPr>
        <p:spPr/>
        <p:txBody>
          <a:bodyPr/>
          <a:lstStyle/>
          <a:p>
            <a:r>
              <a:rPr lang="en-GB"/>
              <a:t>Timeline</a:t>
            </a:r>
            <a:endParaRPr lang="en-GB" dirty="0"/>
          </a:p>
        </p:txBody>
      </p:sp>
      <p:grpSp>
        <p:nvGrpSpPr>
          <p:cNvPr id="5" name="Group 4"/>
          <p:cNvGrpSpPr/>
          <p:nvPr/>
        </p:nvGrpSpPr>
        <p:grpSpPr>
          <a:xfrm>
            <a:off x="737929" y="1445173"/>
            <a:ext cx="10431358" cy="4719144"/>
            <a:chOff x="396000" y="1832828"/>
            <a:chExt cx="8788625" cy="3975972"/>
          </a:xfrm>
        </p:grpSpPr>
        <p:cxnSp>
          <p:nvCxnSpPr>
            <p:cNvPr id="6" name="Straight Connector 5"/>
            <p:cNvCxnSpPr/>
            <p:nvPr/>
          </p:nvCxnSpPr>
          <p:spPr>
            <a:xfrm>
              <a:off x="396000" y="3835400"/>
              <a:ext cx="8746317" cy="0"/>
            </a:xfrm>
            <a:prstGeom prst="line">
              <a:avLst/>
            </a:prstGeom>
            <a:ln w="19050">
              <a:solidFill>
                <a:srgbClr val="BBBCBC"/>
              </a:solidFill>
            </a:ln>
          </p:spPr>
          <p:style>
            <a:lnRef idx="1">
              <a:schemeClr val="accent1"/>
            </a:lnRef>
            <a:fillRef idx="0">
              <a:schemeClr val="accent1"/>
            </a:fillRef>
            <a:effectRef idx="0">
              <a:schemeClr val="accent1"/>
            </a:effectRef>
            <a:fontRef idx="minor">
              <a:schemeClr val="tx1"/>
            </a:fontRef>
          </p:style>
        </p:cxnSp>
        <p:sp>
          <p:nvSpPr>
            <p:cNvPr id="8" name="Oval 7"/>
            <p:cNvSpPr/>
            <p:nvPr/>
          </p:nvSpPr>
          <p:spPr bwMode="gray">
            <a:xfrm>
              <a:off x="1414818"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 name="Oval 9"/>
            <p:cNvSpPr/>
            <p:nvPr/>
          </p:nvSpPr>
          <p:spPr bwMode="gray">
            <a:xfrm>
              <a:off x="248365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12" name="Straight Connector 11"/>
            <p:cNvCxnSpPr>
              <a:stCxn id="10" idx="0"/>
            </p:cNvCxnSpPr>
            <p:nvPr/>
          </p:nvCxnSpPr>
          <p:spPr>
            <a:xfrm flipV="1">
              <a:off x="2559858" y="1863050"/>
              <a:ext cx="0" cy="189615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288097" y="3551497"/>
              <a:ext cx="567806" cy="567806"/>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5" name="Oval 14"/>
            <p:cNvSpPr/>
            <p:nvPr/>
          </p:nvSpPr>
          <p:spPr bwMode="gray">
            <a:xfrm>
              <a:off x="7161376"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 name="TextBox 18"/>
            <p:cNvSpPr txBox="1"/>
            <p:nvPr/>
          </p:nvSpPr>
          <p:spPr>
            <a:xfrm>
              <a:off x="2637357" y="1832828"/>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04</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21" name="Oval 20"/>
            <p:cNvSpPr/>
            <p:nvPr/>
          </p:nvSpPr>
          <p:spPr bwMode="gray">
            <a:xfrm>
              <a:off x="3482263"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22" name="Straight Connector 21"/>
            <p:cNvCxnSpPr>
              <a:stCxn id="21" idx="0"/>
            </p:cNvCxnSpPr>
            <p:nvPr/>
          </p:nvCxnSpPr>
          <p:spPr>
            <a:xfrm flipV="1">
              <a:off x="3558463"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627995" y="2452454"/>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22</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30" name="Oval 29"/>
            <p:cNvSpPr/>
            <p:nvPr/>
          </p:nvSpPr>
          <p:spPr bwMode="gray">
            <a:xfrm>
              <a:off x="6490315"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31" name="Straight Connector 30"/>
            <p:cNvCxnSpPr>
              <a:stCxn id="30" idx="0"/>
            </p:cNvCxnSpPr>
            <p:nvPr/>
          </p:nvCxnSpPr>
          <p:spPr>
            <a:xfrm flipV="1">
              <a:off x="6566515" y="1863050"/>
              <a:ext cx="0" cy="189615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639950" y="1832828"/>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1"/>
                  </a:solidFill>
                </a:rPr>
                <a:t>23</a:t>
              </a:r>
            </a:p>
            <a:p>
              <a:r>
                <a:rPr lang="en-GB" sz="800" dirty="0">
                  <a:solidFill>
                    <a:schemeClr val="accent1"/>
                  </a:solidFill>
                </a:rPr>
                <a:t>Lorem ipsum</a:t>
              </a:r>
            </a:p>
            <a:p>
              <a:r>
                <a:rPr lang="en-GB" sz="800" dirty="0" err="1">
                  <a:solidFill>
                    <a:schemeClr val="accent1"/>
                  </a:solidFill>
                </a:rPr>
                <a:t>odit</a:t>
              </a:r>
              <a:r>
                <a:rPr lang="en-GB" sz="800" dirty="0">
                  <a:solidFill>
                    <a:schemeClr val="accent1"/>
                  </a:solidFill>
                </a:rPr>
                <a:t> que </a:t>
              </a:r>
              <a:r>
                <a:rPr lang="en-GB" sz="800" dirty="0" err="1">
                  <a:solidFill>
                    <a:schemeClr val="accent1"/>
                  </a:solidFill>
                </a:rPr>
                <a:t>perovit</a:t>
              </a:r>
              <a:endParaRPr lang="en-GB" sz="800" dirty="0">
                <a:solidFill>
                  <a:schemeClr val="accent1"/>
                </a:solidFill>
              </a:endParaRPr>
            </a:p>
            <a:p>
              <a:r>
                <a:rPr lang="en-GB" sz="800" dirty="0" err="1">
                  <a:solidFill>
                    <a:schemeClr val="accent1"/>
                  </a:solidFill>
                </a:rPr>
                <a:t>unt</a:t>
              </a:r>
              <a:r>
                <a:rPr lang="en-GB" sz="800" dirty="0">
                  <a:solidFill>
                    <a:schemeClr val="accent1"/>
                  </a:solidFill>
                </a:rPr>
                <a:t> pa </a:t>
              </a:r>
              <a:r>
                <a:rPr lang="en-GB" sz="800" dirty="0" err="1">
                  <a:solidFill>
                    <a:schemeClr val="accent1"/>
                  </a:solidFill>
                </a:rPr>
                <a:t>voluptio</a:t>
              </a:r>
              <a:endParaRPr lang="en-GB" sz="800" dirty="0">
                <a:solidFill>
                  <a:schemeClr val="accent1"/>
                </a:solidFill>
              </a:endParaRPr>
            </a:p>
          </p:txBody>
        </p:sp>
        <p:sp>
          <p:nvSpPr>
            <p:cNvPr id="40" name="Oval 39"/>
            <p:cNvSpPr/>
            <p:nvPr/>
          </p:nvSpPr>
          <p:spPr bwMode="gray">
            <a:xfrm>
              <a:off x="572528" y="3759200"/>
              <a:ext cx="152400" cy="152400"/>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accent4"/>
                </a:solidFill>
              </a:endParaRPr>
            </a:p>
          </p:txBody>
        </p:sp>
        <p:cxnSp>
          <p:nvCxnSpPr>
            <p:cNvPr id="41" name="Straight Connector 40"/>
            <p:cNvCxnSpPr>
              <a:stCxn id="40" idx="0"/>
            </p:cNvCxnSpPr>
            <p:nvPr/>
          </p:nvCxnSpPr>
          <p:spPr>
            <a:xfrm flipV="1">
              <a:off x="648728" y="2494548"/>
              <a:ext cx="0" cy="126465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718259" y="2452454"/>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4"/>
                  </a:solidFill>
                </a:rPr>
                <a:t>26</a:t>
              </a:r>
            </a:p>
            <a:p>
              <a:r>
                <a:rPr lang="en-GB" sz="800" dirty="0">
                  <a:solidFill>
                    <a:schemeClr val="accent4"/>
                  </a:solidFill>
                </a:rPr>
                <a:t>Lorem ipsum</a:t>
              </a:r>
            </a:p>
            <a:p>
              <a:r>
                <a:rPr lang="en-GB" sz="800" dirty="0" err="1">
                  <a:solidFill>
                    <a:schemeClr val="accent4"/>
                  </a:solidFill>
                </a:rPr>
                <a:t>odit</a:t>
              </a:r>
              <a:r>
                <a:rPr lang="en-GB" sz="800" dirty="0">
                  <a:solidFill>
                    <a:schemeClr val="accent4"/>
                  </a:solidFill>
                </a:rPr>
                <a:t> que </a:t>
              </a:r>
              <a:r>
                <a:rPr lang="en-GB" sz="800" dirty="0" err="1">
                  <a:solidFill>
                    <a:schemeClr val="accent4"/>
                  </a:solidFill>
                </a:rPr>
                <a:t>perovit</a:t>
              </a:r>
              <a:endParaRPr lang="en-GB" sz="800" dirty="0">
                <a:solidFill>
                  <a:schemeClr val="accent4"/>
                </a:solidFill>
              </a:endParaRPr>
            </a:p>
            <a:p>
              <a:r>
                <a:rPr lang="en-GB" sz="800" dirty="0" err="1">
                  <a:solidFill>
                    <a:schemeClr val="accent4"/>
                  </a:solidFill>
                </a:rPr>
                <a:t>unt</a:t>
              </a:r>
              <a:r>
                <a:rPr lang="en-GB" sz="800" dirty="0">
                  <a:solidFill>
                    <a:schemeClr val="accent4"/>
                  </a:solidFill>
                </a:rPr>
                <a:t> pa </a:t>
              </a:r>
              <a:r>
                <a:rPr lang="en-GB" sz="800" dirty="0" err="1">
                  <a:solidFill>
                    <a:schemeClr val="accent4"/>
                  </a:solidFill>
                </a:rPr>
                <a:t>voluptio</a:t>
              </a:r>
              <a:endParaRPr lang="en-GB" sz="800" dirty="0">
                <a:solidFill>
                  <a:schemeClr val="accent4"/>
                </a:solidFill>
              </a:endParaRPr>
            </a:p>
          </p:txBody>
        </p:sp>
        <p:sp>
          <p:nvSpPr>
            <p:cNvPr id="43" name="Oval 42"/>
            <p:cNvSpPr/>
            <p:nvPr/>
          </p:nvSpPr>
          <p:spPr bwMode="gray">
            <a:xfrm>
              <a:off x="5479260"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4" name="Straight Connector 43"/>
            <p:cNvCxnSpPr>
              <a:stCxn id="43" idx="0"/>
            </p:cNvCxnSpPr>
            <p:nvPr/>
          </p:nvCxnSpPr>
          <p:spPr>
            <a:xfrm flipV="1">
              <a:off x="5555460" y="2494548"/>
              <a:ext cx="0" cy="12646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624989" y="2452454"/>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1"/>
                  </a:solidFill>
                </a:rPr>
                <a:t>16</a:t>
              </a:r>
            </a:p>
            <a:p>
              <a:r>
                <a:rPr lang="en-GB" sz="800" dirty="0">
                  <a:solidFill>
                    <a:schemeClr val="accent1"/>
                  </a:solidFill>
                </a:rPr>
                <a:t>Lorem ipsum</a:t>
              </a:r>
            </a:p>
            <a:p>
              <a:r>
                <a:rPr lang="en-GB" sz="800" dirty="0" err="1">
                  <a:solidFill>
                    <a:schemeClr val="accent1"/>
                  </a:solidFill>
                </a:rPr>
                <a:t>odit</a:t>
              </a:r>
              <a:r>
                <a:rPr lang="en-GB" sz="800" dirty="0">
                  <a:solidFill>
                    <a:schemeClr val="accent1"/>
                  </a:solidFill>
                </a:rPr>
                <a:t> que </a:t>
              </a:r>
              <a:r>
                <a:rPr lang="en-GB" sz="800" dirty="0" err="1">
                  <a:solidFill>
                    <a:schemeClr val="accent1"/>
                  </a:solidFill>
                </a:rPr>
                <a:t>perovit</a:t>
              </a:r>
              <a:endParaRPr lang="en-GB" sz="800" dirty="0">
                <a:solidFill>
                  <a:schemeClr val="accent1"/>
                </a:solidFill>
              </a:endParaRPr>
            </a:p>
            <a:p>
              <a:r>
                <a:rPr lang="en-GB" sz="800" dirty="0" err="1">
                  <a:solidFill>
                    <a:schemeClr val="accent1"/>
                  </a:solidFill>
                </a:rPr>
                <a:t>unt</a:t>
              </a:r>
              <a:r>
                <a:rPr lang="en-GB" sz="800" dirty="0">
                  <a:solidFill>
                    <a:schemeClr val="accent1"/>
                  </a:solidFill>
                </a:rPr>
                <a:t> pa </a:t>
              </a:r>
              <a:r>
                <a:rPr lang="en-GB" sz="800" dirty="0" err="1">
                  <a:solidFill>
                    <a:schemeClr val="accent1"/>
                  </a:solidFill>
                </a:rPr>
                <a:t>voluptio</a:t>
              </a:r>
              <a:endParaRPr lang="en-GB" sz="800" dirty="0">
                <a:solidFill>
                  <a:schemeClr val="accent1"/>
                </a:solidFill>
              </a:endParaRPr>
            </a:p>
          </p:txBody>
        </p:sp>
        <p:sp>
          <p:nvSpPr>
            <p:cNvPr id="46" name="Oval 45"/>
            <p:cNvSpPr/>
            <p:nvPr/>
          </p:nvSpPr>
          <p:spPr bwMode="gray">
            <a:xfrm>
              <a:off x="8020032"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7" name="Straight Connector 46"/>
            <p:cNvCxnSpPr>
              <a:stCxn id="46" idx="0"/>
            </p:cNvCxnSpPr>
            <p:nvPr/>
          </p:nvCxnSpPr>
          <p:spPr>
            <a:xfrm flipV="1">
              <a:off x="8096232"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169665" y="2452454"/>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5</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49" name="Oval 48"/>
            <p:cNvSpPr/>
            <p:nvPr/>
          </p:nvSpPr>
          <p:spPr bwMode="gray">
            <a:xfrm>
              <a:off x="302873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0" name="Straight Connector 49"/>
            <p:cNvCxnSpPr>
              <a:endCxn id="49" idx="4"/>
            </p:cNvCxnSpPr>
            <p:nvPr/>
          </p:nvCxnSpPr>
          <p:spPr>
            <a:xfrm flipH="1" flipV="1">
              <a:off x="3104938" y="3911600"/>
              <a:ext cx="0" cy="18972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3173685" y="5171386"/>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3"/>
                  </a:solidFill>
                </a:rPr>
                <a:t>15</a:t>
              </a:r>
            </a:p>
            <a:p>
              <a:r>
                <a:rPr lang="en-GB" sz="800" dirty="0">
                  <a:solidFill>
                    <a:schemeClr val="accent3"/>
                  </a:solidFill>
                </a:rPr>
                <a:t>Lorem ipsum</a:t>
              </a:r>
            </a:p>
            <a:p>
              <a:r>
                <a:rPr lang="en-GB" sz="800" dirty="0" err="1">
                  <a:solidFill>
                    <a:schemeClr val="accent3"/>
                  </a:solidFill>
                </a:rPr>
                <a:t>odit</a:t>
              </a:r>
              <a:r>
                <a:rPr lang="en-GB" sz="800" dirty="0">
                  <a:solidFill>
                    <a:schemeClr val="accent3"/>
                  </a:solidFill>
                </a:rPr>
                <a:t> que </a:t>
              </a:r>
              <a:r>
                <a:rPr lang="en-GB" sz="800" dirty="0" err="1">
                  <a:solidFill>
                    <a:schemeClr val="accent3"/>
                  </a:solidFill>
                </a:rPr>
                <a:t>perovit</a:t>
              </a:r>
              <a:endParaRPr lang="en-GB" sz="800" dirty="0">
                <a:solidFill>
                  <a:schemeClr val="accent3"/>
                </a:solidFill>
              </a:endParaRPr>
            </a:p>
            <a:p>
              <a:r>
                <a:rPr lang="en-GB" sz="800" dirty="0" err="1">
                  <a:solidFill>
                    <a:schemeClr val="accent3"/>
                  </a:solidFill>
                </a:rPr>
                <a:t>unt</a:t>
              </a:r>
              <a:r>
                <a:rPr lang="en-GB" sz="800" dirty="0">
                  <a:solidFill>
                    <a:schemeClr val="accent3"/>
                  </a:solidFill>
                </a:rPr>
                <a:t> pa </a:t>
              </a:r>
              <a:r>
                <a:rPr lang="en-GB" sz="800" dirty="0" err="1">
                  <a:solidFill>
                    <a:schemeClr val="accent3"/>
                  </a:solidFill>
                </a:rPr>
                <a:t>voluptio</a:t>
              </a:r>
              <a:endParaRPr lang="en-GB" sz="800" dirty="0">
                <a:solidFill>
                  <a:schemeClr val="accent3"/>
                </a:solidFill>
              </a:endParaRPr>
            </a:p>
          </p:txBody>
        </p:sp>
        <p:sp>
          <p:nvSpPr>
            <p:cNvPr id="54" name="Oval 53"/>
            <p:cNvSpPr/>
            <p:nvPr/>
          </p:nvSpPr>
          <p:spPr bwMode="gray">
            <a:xfrm>
              <a:off x="5859203"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5" name="Straight Connector 54"/>
            <p:cNvCxnSpPr>
              <a:endCxn id="54" idx="4"/>
            </p:cNvCxnSpPr>
            <p:nvPr/>
          </p:nvCxnSpPr>
          <p:spPr>
            <a:xfrm flipH="1" flipV="1">
              <a:off x="5935403" y="3911600"/>
              <a:ext cx="0" cy="18972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6004149" y="5171386"/>
              <a:ext cx="1014960" cy="612384"/>
            </a:xfrm>
            <a:prstGeom prst="rect">
              <a:avLst/>
            </a:prstGeom>
            <a:noFill/>
          </p:spPr>
          <p:txBody>
            <a:bodyPr wrap="square" lIns="0" tIns="0" rIns="0" bIns="0" rtlCol="0">
              <a:spAutoFit/>
            </a:bodyPr>
            <a:lstStyle/>
            <a:p>
              <a:pPr>
                <a:spcBef>
                  <a:spcPts val="600"/>
                </a:spcBef>
                <a:buSzPct val="100000"/>
              </a:pPr>
              <a:r>
                <a:rPr lang="en-GB" sz="1400" b="1" dirty="0">
                  <a:solidFill>
                    <a:schemeClr val="accent1"/>
                  </a:solidFill>
                </a:rPr>
                <a:t>13</a:t>
              </a:r>
            </a:p>
            <a:p>
              <a:r>
                <a:rPr lang="en-GB" sz="800" dirty="0">
                  <a:solidFill>
                    <a:schemeClr val="accent1"/>
                  </a:solidFill>
                </a:rPr>
                <a:t>Lorem ipsum</a:t>
              </a:r>
            </a:p>
            <a:p>
              <a:r>
                <a:rPr lang="en-GB" sz="800" dirty="0" err="1">
                  <a:solidFill>
                    <a:schemeClr val="accent1"/>
                  </a:solidFill>
                </a:rPr>
                <a:t>odit</a:t>
              </a:r>
              <a:r>
                <a:rPr lang="en-GB" sz="800" dirty="0">
                  <a:solidFill>
                    <a:schemeClr val="accent1"/>
                  </a:solidFill>
                </a:rPr>
                <a:t> que </a:t>
              </a:r>
              <a:r>
                <a:rPr lang="en-GB" sz="800" dirty="0" err="1">
                  <a:solidFill>
                    <a:schemeClr val="accent1"/>
                  </a:solidFill>
                </a:rPr>
                <a:t>perovit</a:t>
              </a:r>
              <a:endParaRPr lang="en-GB" sz="800" dirty="0">
                <a:solidFill>
                  <a:schemeClr val="accent1"/>
                </a:solidFill>
              </a:endParaRPr>
            </a:p>
            <a:p>
              <a:r>
                <a:rPr lang="en-GB" sz="800" dirty="0" err="1">
                  <a:solidFill>
                    <a:schemeClr val="accent1"/>
                  </a:solidFill>
                </a:rPr>
                <a:t>unt</a:t>
              </a:r>
              <a:r>
                <a:rPr lang="en-GB" sz="800" dirty="0">
                  <a:solidFill>
                    <a:schemeClr val="accent1"/>
                  </a:solidFill>
                </a:rPr>
                <a:t> pa </a:t>
              </a:r>
              <a:r>
                <a:rPr lang="en-GB" sz="800" dirty="0" err="1">
                  <a:solidFill>
                    <a:schemeClr val="accent1"/>
                  </a:solidFill>
                </a:rPr>
                <a:t>voluptio</a:t>
              </a:r>
              <a:endParaRPr lang="en-GB" sz="800" dirty="0">
                <a:solidFill>
                  <a:schemeClr val="accent1"/>
                </a:solidFill>
              </a:endParaRPr>
            </a:p>
          </p:txBody>
        </p:sp>
        <p:sp>
          <p:nvSpPr>
            <p:cNvPr id="57" name="TextBox 56"/>
            <p:cNvSpPr txBox="1"/>
            <p:nvPr/>
          </p:nvSpPr>
          <p:spPr>
            <a:xfrm rot="16200000">
              <a:off x="1195306"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June</a:t>
              </a:r>
              <a:endParaRPr lang="en-GB" sz="800" dirty="0">
                <a:solidFill>
                  <a:schemeClr val="accent3"/>
                </a:solidFill>
              </a:endParaRPr>
            </a:p>
          </p:txBody>
        </p:sp>
        <p:sp>
          <p:nvSpPr>
            <p:cNvPr id="58" name="TextBox 57"/>
            <p:cNvSpPr txBox="1"/>
            <p:nvPr/>
          </p:nvSpPr>
          <p:spPr>
            <a:xfrm rot="16200000">
              <a:off x="4064520"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1"/>
                  </a:solidFill>
                </a:rPr>
                <a:t>July</a:t>
              </a:r>
              <a:endParaRPr lang="en-GB" sz="800" dirty="0">
                <a:solidFill>
                  <a:schemeClr val="accent1"/>
                </a:solidFill>
              </a:endParaRPr>
            </a:p>
          </p:txBody>
        </p:sp>
        <p:sp>
          <p:nvSpPr>
            <p:cNvPr id="59" name="TextBox 58"/>
            <p:cNvSpPr txBox="1"/>
            <p:nvPr/>
          </p:nvSpPr>
          <p:spPr>
            <a:xfrm rot="16200000">
              <a:off x="6937799"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August</a:t>
              </a:r>
              <a:endParaRPr lang="en-GB" sz="800" dirty="0">
                <a:solidFill>
                  <a:schemeClr val="accent3"/>
                </a:solidFill>
              </a:endParaRPr>
            </a:p>
          </p:txBody>
        </p:sp>
      </p:grpSp>
    </p:spTree>
    <p:extLst>
      <p:ext uri="{BB962C8B-B14F-4D97-AF65-F5344CB8AC3E}">
        <p14:creationId xmlns:p14="http://schemas.microsoft.com/office/powerpoint/2010/main" val="421888968"/>
      </p:ext>
    </p:extLst>
  </p:cSld>
  <p:clrMapOvr>
    <a:masterClrMapping/>
  </p:clrMapOvr>
  <p:transition>
    <p:fade/>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Pull out dates</a:t>
            </a:r>
            <a:endParaRPr lang="en-GB" dirty="0"/>
          </a:p>
        </p:txBody>
      </p:sp>
      <p:sp>
        <p:nvSpPr>
          <p:cNvPr id="3" name="Title 2"/>
          <p:cNvSpPr>
            <a:spLocks noGrp="1"/>
          </p:cNvSpPr>
          <p:nvPr>
            <p:ph type="title"/>
          </p:nvPr>
        </p:nvSpPr>
        <p:spPr/>
        <p:txBody>
          <a:bodyPr/>
          <a:lstStyle/>
          <a:p>
            <a:r>
              <a:rPr lang="en-GB"/>
              <a:t>Timeline</a:t>
            </a:r>
            <a:endParaRPr lang="en-GB" dirty="0"/>
          </a:p>
        </p:txBody>
      </p:sp>
      <p:grpSp>
        <p:nvGrpSpPr>
          <p:cNvPr id="5" name="Group 4"/>
          <p:cNvGrpSpPr/>
          <p:nvPr/>
        </p:nvGrpSpPr>
        <p:grpSpPr>
          <a:xfrm>
            <a:off x="737929" y="1445173"/>
            <a:ext cx="10431358" cy="4719144"/>
            <a:chOff x="396000" y="1832828"/>
            <a:chExt cx="8788625" cy="3975972"/>
          </a:xfrm>
        </p:grpSpPr>
        <p:cxnSp>
          <p:nvCxnSpPr>
            <p:cNvPr id="6" name="Straight Connector 5"/>
            <p:cNvCxnSpPr/>
            <p:nvPr/>
          </p:nvCxnSpPr>
          <p:spPr>
            <a:xfrm>
              <a:off x="396000" y="3835400"/>
              <a:ext cx="8746317" cy="0"/>
            </a:xfrm>
            <a:prstGeom prst="line">
              <a:avLst/>
            </a:prstGeom>
            <a:ln w="19050">
              <a:solidFill>
                <a:srgbClr val="BBBCBC"/>
              </a:solidFill>
            </a:ln>
          </p:spPr>
          <p:style>
            <a:lnRef idx="1">
              <a:schemeClr val="accent1"/>
            </a:lnRef>
            <a:fillRef idx="0">
              <a:schemeClr val="accent1"/>
            </a:fillRef>
            <a:effectRef idx="0">
              <a:schemeClr val="accent1"/>
            </a:effectRef>
            <a:fontRef idx="minor">
              <a:schemeClr val="tx1"/>
            </a:fontRef>
          </p:style>
        </p:cxnSp>
        <p:sp>
          <p:nvSpPr>
            <p:cNvPr id="8" name="Oval 7"/>
            <p:cNvSpPr/>
            <p:nvPr/>
          </p:nvSpPr>
          <p:spPr bwMode="gray">
            <a:xfrm>
              <a:off x="1414818"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 name="Oval 9"/>
            <p:cNvSpPr/>
            <p:nvPr/>
          </p:nvSpPr>
          <p:spPr bwMode="gray">
            <a:xfrm>
              <a:off x="248365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12" name="Straight Connector 11"/>
            <p:cNvCxnSpPr>
              <a:stCxn id="10" idx="0"/>
            </p:cNvCxnSpPr>
            <p:nvPr/>
          </p:nvCxnSpPr>
          <p:spPr>
            <a:xfrm flipV="1">
              <a:off x="2559858" y="1863050"/>
              <a:ext cx="0" cy="189615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288097" y="3551497"/>
              <a:ext cx="567806" cy="567806"/>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5" name="Oval 14"/>
            <p:cNvSpPr/>
            <p:nvPr/>
          </p:nvSpPr>
          <p:spPr bwMode="gray">
            <a:xfrm>
              <a:off x="7161376" y="3551497"/>
              <a:ext cx="567806" cy="56780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 name="TextBox 18"/>
            <p:cNvSpPr txBox="1"/>
            <p:nvPr/>
          </p:nvSpPr>
          <p:spPr>
            <a:xfrm>
              <a:off x="2637357" y="1832828"/>
              <a:ext cx="1014960" cy="492684"/>
            </a:xfrm>
            <a:prstGeom prst="rect">
              <a:avLst/>
            </a:prstGeom>
            <a:noFill/>
          </p:spPr>
          <p:txBody>
            <a:bodyPr wrap="square" lIns="0" tIns="0" rIns="0" bIns="0" rtlCol="0">
              <a:spAutoFit/>
            </a:bodyPr>
            <a:lstStyle/>
            <a:p>
              <a:pPr>
                <a:spcBef>
                  <a:spcPts val="600"/>
                </a:spcBef>
                <a:buSzPct val="100000"/>
              </a:pPr>
              <a:r>
                <a:rPr lang="en-GB" sz="1400" b="1" dirty="0"/>
                <a:t>04</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21" name="Oval 20"/>
            <p:cNvSpPr/>
            <p:nvPr/>
          </p:nvSpPr>
          <p:spPr bwMode="gray">
            <a:xfrm>
              <a:off x="3482263"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22" name="Straight Connector 21"/>
            <p:cNvCxnSpPr>
              <a:stCxn id="21" idx="0"/>
            </p:cNvCxnSpPr>
            <p:nvPr/>
          </p:nvCxnSpPr>
          <p:spPr>
            <a:xfrm flipV="1">
              <a:off x="3558463"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627995" y="2452454"/>
              <a:ext cx="1014960" cy="492684"/>
            </a:xfrm>
            <a:prstGeom prst="rect">
              <a:avLst/>
            </a:prstGeom>
            <a:noFill/>
          </p:spPr>
          <p:txBody>
            <a:bodyPr wrap="square" lIns="0" tIns="0" rIns="0" bIns="0" rtlCol="0">
              <a:spAutoFit/>
            </a:bodyPr>
            <a:lstStyle/>
            <a:p>
              <a:pPr>
                <a:spcBef>
                  <a:spcPts val="600"/>
                </a:spcBef>
                <a:buSzPct val="100000"/>
              </a:pPr>
              <a:r>
                <a:rPr lang="en-GB" sz="1400" b="1" dirty="0"/>
                <a:t>22</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30" name="Oval 29"/>
            <p:cNvSpPr/>
            <p:nvPr/>
          </p:nvSpPr>
          <p:spPr bwMode="gray">
            <a:xfrm>
              <a:off x="6490315"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31" name="Straight Connector 30"/>
            <p:cNvCxnSpPr>
              <a:stCxn id="30" idx="0"/>
            </p:cNvCxnSpPr>
            <p:nvPr/>
          </p:nvCxnSpPr>
          <p:spPr>
            <a:xfrm flipV="1">
              <a:off x="6566515" y="1863050"/>
              <a:ext cx="0" cy="189615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639950" y="1832828"/>
              <a:ext cx="1014960" cy="492684"/>
            </a:xfrm>
            <a:prstGeom prst="rect">
              <a:avLst/>
            </a:prstGeom>
            <a:noFill/>
          </p:spPr>
          <p:txBody>
            <a:bodyPr wrap="square" lIns="0" tIns="0" rIns="0" bIns="0" rtlCol="0">
              <a:spAutoFit/>
            </a:bodyPr>
            <a:lstStyle/>
            <a:p>
              <a:pPr>
                <a:spcBef>
                  <a:spcPts val="600"/>
                </a:spcBef>
                <a:buSzPct val="100000"/>
              </a:pPr>
              <a:r>
                <a:rPr lang="en-GB" sz="1400" b="1" dirty="0"/>
                <a:t>23</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40" name="Oval 39"/>
            <p:cNvSpPr/>
            <p:nvPr/>
          </p:nvSpPr>
          <p:spPr bwMode="gray">
            <a:xfrm>
              <a:off x="572528" y="3759200"/>
              <a:ext cx="152400" cy="152400"/>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accent4"/>
                </a:solidFill>
              </a:endParaRPr>
            </a:p>
          </p:txBody>
        </p:sp>
        <p:cxnSp>
          <p:nvCxnSpPr>
            <p:cNvPr id="41" name="Straight Connector 40"/>
            <p:cNvCxnSpPr>
              <a:stCxn id="40" idx="0"/>
            </p:cNvCxnSpPr>
            <p:nvPr/>
          </p:nvCxnSpPr>
          <p:spPr>
            <a:xfrm flipV="1">
              <a:off x="648728" y="2494548"/>
              <a:ext cx="0" cy="126465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718259" y="2452454"/>
              <a:ext cx="1014960" cy="492684"/>
            </a:xfrm>
            <a:prstGeom prst="rect">
              <a:avLst/>
            </a:prstGeom>
            <a:noFill/>
          </p:spPr>
          <p:txBody>
            <a:bodyPr wrap="square" lIns="0" tIns="0" rIns="0" bIns="0" rtlCol="0">
              <a:spAutoFit/>
            </a:bodyPr>
            <a:lstStyle/>
            <a:p>
              <a:pPr>
                <a:spcBef>
                  <a:spcPts val="600"/>
                </a:spcBef>
                <a:buSzPct val="100000"/>
              </a:pPr>
              <a:r>
                <a:rPr lang="en-GB" sz="1400" b="1" dirty="0"/>
                <a:t>26</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43" name="Oval 42"/>
            <p:cNvSpPr/>
            <p:nvPr/>
          </p:nvSpPr>
          <p:spPr bwMode="gray">
            <a:xfrm>
              <a:off x="5479260"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4" name="Straight Connector 43"/>
            <p:cNvCxnSpPr>
              <a:stCxn id="43" idx="0"/>
            </p:cNvCxnSpPr>
            <p:nvPr/>
          </p:nvCxnSpPr>
          <p:spPr>
            <a:xfrm flipV="1">
              <a:off x="5555460" y="2494548"/>
              <a:ext cx="0" cy="12646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624989" y="2452454"/>
              <a:ext cx="1014960" cy="492684"/>
            </a:xfrm>
            <a:prstGeom prst="rect">
              <a:avLst/>
            </a:prstGeom>
            <a:noFill/>
          </p:spPr>
          <p:txBody>
            <a:bodyPr wrap="square" lIns="0" tIns="0" rIns="0" bIns="0" rtlCol="0">
              <a:spAutoFit/>
            </a:bodyPr>
            <a:lstStyle/>
            <a:p>
              <a:pPr>
                <a:spcBef>
                  <a:spcPts val="600"/>
                </a:spcBef>
                <a:buSzPct val="100000"/>
              </a:pPr>
              <a:r>
                <a:rPr lang="en-GB" sz="1400" b="1" dirty="0"/>
                <a:t>16</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46" name="Oval 45"/>
            <p:cNvSpPr/>
            <p:nvPr/>
          </p:nvSpPr>
          <p:spPr bwMode="gray">
            <a:xfrm>
              <a:off x="8020032"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7" name="Straight Connector 46"/>
            <p:cNvCxnSpPr>
              <a:stCxn id="46" idx="0"/>
            </p:cNvCxnSpPr>
            <p:nvPr/>
          </p:nvCxnSpPr>
          <p:spPr>
            <a:xfrm flipV="1">
              <a:off x="8096232"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169665" y="2452454"/>
              <a:ext cx="1014960" cy="492684"/>
            </a:xfrm>
            <a:prstGeom prst="rect">
              <a:avLst/>
            </a:prstGeom>
            <a:noFill/>
          </p:spPr>
          <p:txBody>
            <a:bodyPr wrap="square" lIns="0" tIns="0" rIns="0" bIns="0" rtlCol="0">
              <a:spAutoFit/>
            </a:bodyPr>
            <a:lstStyle/>
            <a:p>
              <a:pPr>
                <a:spcBef>
                  <a:spcPts val="600"/>
                </a:spcBef>
                <a:buSzPct val="100000"/>
              </a:pPr>
              <a:r>
                <a:rPr lang="en-GB" sz="1400" b="1" dirty="0"/>
                <a:t>5</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49" name="Oval 48"/>
            <p:cNvSpPr/>
            <p:nvPr/>
          </p:nvSpPr>
          <p:spPr bwMode="gray">
            <a:xfrm>
              <a:off x="3028738" y="3759200"/>
              <a:ext cx="152400" cy="1524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0" name="Straight Connector 49"/>
            <p:cNvCxnSpPr>
              <a:endCxn id="49" idx="4"/>
            </p:cNvCxnSpPr>
            <p:nvPr/>
          </p:nvCxnSpPr>
          <p:spPr>
            <a:xfrm flipH="1" flipV="1">
              <a:off x="3104938" y="3911600"/>
              <a:ext cx="0" cy="18972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3173685" y="5171386"/>
              <a:ext cx="1014960" cy="492684"/>
            </a:xfrm>
            <a:prstGeom prst="rect">
              <a:avLst/>
            </a:prstGeom>
            <a:noFill/>
          </p:spPr>
          <p:txBody>
            <a:bodyPr wrap="square" lIns="0" tIns="0" rIns="0" bIns="0" rtlCol="0">
              <a:spAutoFit/>
            </a:bodyPr>
            <a:lstStyle/>
            <a:p>
              <a:pPr>
                <a:spcBef>
                  <a:spcPts val="600"/>
                </a:spcBef>
                <a:buSzPct val="100000"/>
              </a:pPr>
              <a:r>
                <a:rPr lang="en-GB" sz="1400" b="1" dirty="0"/>
                <a:t>15</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54" name="Oval 53"/>
            <p:cNvSpPr/>
            <p:nvPr/>
          </p:nvSpPr>
          <p:spPr bwMode="gray">
            <a:xfrm>
              <a:off x="5859203" y="3759200"/>
              <a:ext cx="152400" cy="152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55" name="Straight Connector 54"/>
            <p:cNvCxnSpPr>
              <a:endCxn id="54" idx="4"/>
            </p:cNvCxnSpPr>
            <p:nvPr/>
          </p:nvCxnSpPr>
          <p:spPr>
            <a:xfrm flipH="1" flipV="1">
              <a:off x="5935403" y="3911600"/>
              <a:ext cx="0" cy="18972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6004149" y="5171386"/>
              <a:ext cx="1014960" cy="492684"/>
            </a:xfrm>
            <a:prstGeom prst="rect">
              <a:avLst/>
            </a:prstGeom>
            <a:noFill/>
          </p:spPr>
          <p:txBody>
            <a:bodyPr wrap="square" lIns="0" tIns="0" rIns="0" bIns="0" rtlCol="0">
              <a:spAutoFit/>
            </a:bodyPr>
            <a:lstStyle/>
            <a:p>
              <a:pPr>
                <a:spcBef>
                  <a:spcPts val="600"/>
                </a:spcBef>
                <a:buSzPct val="100000"/>
              </a:pPr>
              <a:r>
                <a:rPr lang="en-GB" sz="1400" b="1" dirty="0"/>
                <a:t>13</a:t>
              </a:r>
            </a:p>
            <a:p>
              <a:r>
                <a:rPr lang="en-GB" sz="800" dirty="0"/>
                <a:t>Lorem ipsum</a:t>
              </a:r>
            </a:p>
            <a:p>
              <a:r>
                <a:rPr lang="en-GB" sz="800" dirty="0" err="1"/>
                <a:t>odit</a:t>
              </a:r>
              <a:r>
                <a:rPr lang="en-GB" sz="800" dirty="0"/>
                <a:t> que </a:t>
              </a:r>
              <a:r>
                <a:rPr lang="en-GB" sz="800" dirty="0" err="1"/>
                <a:t>perovit</a:t>
              </a:r>
              <a:endParaRPr lang="en-GB" sz="800" dirty="0"/>
            </a:p>
            <a:p>
              <a:r>
                <a:rPr lang="en-GB" sz="800" dirty="0" err="1"/>
                <a:t>unt</a:t>
              </a:r>
              <a:r>
                <a:rPr lang="en-GB" sz="800" dirty="0"/>
                <a:t> pa </a:t>
              </a:r>
              <a:r>
                <a:rPr lang="en-GB" sz="800" dirty="0" err="1"/>
                <a:t>voluptio</a:t>
              </a:r>
              <a:endParaRPr lang="en-GB" sz="800" dirty="0"/>
            </a:p>
          </p:txBody>
        </p:sp>
        <p:sp>
          <p:nvSpPr>
            <p:cNvPr id="57" name="TextBox 56"/>
            <p:cNvSpPr txBox="1"/>
            <p:nvPr/>
          </p:nvSpPr>
          <p:spPr>
            <a:xfrm rot="16200000">
              <a:off x="1195306"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June</a:t>
              </a:r>
              <a:endParaRPr lang="en-GB" sz="800" dirty="0">
                <a:solidFill>
                  <a:schemeClr val="accent3"/>
                </a:solidFill>
              </a:endParaRPr>
            </a:p>
          </p:txBody>
        </p:sp>
        <p:sp>
          <p:nvSpPr>
            <p:cNvPr id="58" name="TextBox 57"/>
            <p:cNvSpPr txBox="1"/>
            <p:nvPr/>
          </p:nvSpPr>
          <p:spPr>
            <a:xfrm rot="16200000">
              <a:off x="4064520"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1"/>
                  </a:solidFill>
                </a:rPr>
                <a:t>July</a:t>
              </a:r>
              <a:endParaRPr lang="en-GB" sz="800" dirty="0">
                <a:solidFill>
                  <a:schemeClr val="accent1"/>
                </a:solidFill>
              </a:endParaRPr>
            </a:p>
          </p:txBody>
        </p:sp>
        <p:sp>
          <p:nvSpPr>
            <p:cNvPr id="59" name="TextBox 58"/>
            <p:cNvSpPr txBox="1"/>
            <p:nvPr/>
          </p:nvSpPr>
          <p:spPr>
            <a:xfrm rot="16200000">
              <a:off x="6937799" y="4577476"/>
              <a:ext cx="1014960" cy="225616"/>
            </a:xfrm>
            <a:prstGeom prst="rect">
              <a:avLst/>
            </a:prstGeom>
            <a:noFill/>
          </p:spPr>
          <p:txBody>
            <a:bodyPr wrap="square" lIns="0" tIns="0" rIns="0" bIns="0" rtlCol="0">
              <a:spAutoFit/>
            </a:bodyPr>
            <a:lstStyle/>
            <a:p>
              <a:pPr algn="r">
                <a:spcBef>
                  <a:spcPts val="600"/>
                </a:spcBef>
                <a:buSzPct val="100000"/>
              </a:pPr>
              <a:r>
                <a:rPr lang="en-GB" sz="1400" b="1" dirty="0">
                  <a:solidFill>
                    <a:schemeClr val="accent3"/>
                  </a:solidFill>
                </a:rPr>
                <a:t>August</a:t>
              </a:r>
              <a:endParaRPr lang="en-GB" sz="800" dirty="0">
                <a:solidFill>
                  <a:schemeClr val="accent3"/>
                </a:solidFill>
              </a:endParaRPr>
            </a:p>
          </p:txBody>
        </p:sp>
      </p:grpSp>
    </p:spTree>
    <p:extLst>
      <p:ext uri="{BB962C8B-B14F-4D97-AF65-F5344CB8AC3E}">
        <p14:creationId xmlns:p14="http://schemas.microsoft.com/office/powerpoint/2010/main" val="3261522890"/>
      </p:ext>
    </p:extLst>
  </p:cSld>
  <p:clrMapOvr>
    <a:masterClrMapping/>
  </p:clrMapOvr>
  <p:transition>
    <p:fade/>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31489" name="Title 1"/>
          <p:cNvSpPr>
            <a:spLocks noGrp="1"/>
          </p:cNvSpPr>
          <p:nvPr>
            <p:ph type="title"/>
          </p:nvPr>
        </p:nvSpPr>
        <p:spPr/>
        <p:txBody>
          <a:bodyPr/>
          <a:lstStyle/>
          <a:p>
            <a:r>
              <a:rPr lang="en-US" altLang="ja-JP"/>
              <a:t>Gantt chart or timeline chart</a:t>
            </a:r>
            <a:endParaRPr lang="en-US" dirty="0"/>
          </a:p>
        </p:txBody>
      </p:sp>
      <p:graphicFrame>
        <p:nvGraphicFramePr>
          <p:cNvPr id="21" name="Table 20"/>
          <p:cNvGraphicFramePr>
            <a:graphicFrameLocks noGrp="1"/>
          </p:cNvGraphicFramePr>
          <p:nvPr>
            <p:extLst>
              <p:ext uri="{D42A27DB-BD31-4B8C-83A1-F6EECF244321}">
                <p14:modId xmlns:p14="http://schemas.microsoft.com/office/powerpoint/2010/main" val="3683824680"/>
              </p:ext>
            </p:extLst>
          </p:nvPr>
        </p:nvGraphicFramePr>
        <p:xfrm>
          <a:off x="944301" y="1898425"/>
          <a:ext cx="10343817" cy="4069080"/>
        </p:xfrm>
        <a:graphic>
          <a:graphicData uri="http://schemas.openxmlformats.org/drawingml/2006/table">
            <a:tbl>
              <a:tblPr bandRow="1">
                <a:tableStyleId>{5C22544A-7EE6-4342-B048-85BDC9FD1C3A}</a:tableStyleId>
              </a:tblPr>
              <a:tblGrid>
                <a:gridCol w="2706201">
                  <a:extLst>
                    <a:ext uri="{9D8B030D-6E8A-4147-A177-3AD203B41FA5}">
                      <a16:colId xmlns:a16="http://schemas.microsoft.com/office/drawing/2014/main" val="20000"/>
                    </a:ext>
                  </a:extLst>
                </a:gridCol>
                <a:gridCol w="318234">
                  <a:extLst>
                    <a:ext uri="{9D8B030D-6E8A-4147-A177-3AD203B41FA5}">
                      <a16:colId xmlns:a16="http://schemas.microsoft.com/office/drawing/2014/main" val="20001"/>
                    </a:ext>
                  </a:extLst>
                </a:gridCol>
                <a:gridCol w="318234">
                  <a:extLst>
                    <a:ext uri="{9D8B030D-6E8A-4147-A177-3AD203B41FA5}">
                      <a16:colId xmlns:a16="http://schemas.microsoft.com/office/drawing/2014/main" val="20002"/>
                    </a:ext>
                  </a:extLst>
                </a:gridCol>
                <a:gridCol w="318234">
                  <a:extLst>
                    <a:ext uri="{9D8B030D-6E8A-4147-A177-3AD203B41FA5}">
                      <a16:colId xmlns:a16="http://schemas.microsoft.com/office/drawing/2014/main" val="20003"/>
                    </a:ext>
                  </a:extLst>
                </a:gridCol>
                <a:gridCol w="318234">
                  <a:extLst>
                    <a:ext uri="{9D8B030D-6E8A-4147-A177-3AD203B41FA5}">
                      <a16:colId xmlns:a16="http://schemas.microsoft.com/office/drawing/2014/main" val="20004"/>
                    </a:ext>
                  </a:extLst>
                </a:gridCol>
                <a:gridCol w="318234">
                  <a:extLst>
                    <a:ext uri="{9D8B030D-6E8A-4147-A177-3AD203B41FA5}">
                      <a16:colId xmlns:a16="http://schemas.microsoft.com/office/drawing/2014/main" val="20005"/>
                    </a:ext>
                  </a:extLst>
                </a:gridCol>
                <a:gridCol w="318234">
                  <a:extLst>
                    <a:ext uri="{9D8B030D-6E8A-4147-A177-3AD203B41FA5}">
                      <a16:colId xmlns:a16="http://schemas.microsoft.com/office/drawing/2014/main" val="20006"/>
                    </a:ext>
                  </a:extLst>
                </a:gridCol>
                <a:gridCol w="318234">
                  <a:extLst>
                    <a:ext uri="{9D8B030D-6E8A-4147-A177-3AD203B41FA5}">
                      <a16:colId xmlns:a16="http://schemas.microsoft.com/office/drawing/2014/main" val="20007"/>
                    </a:ext>
                  </a:extLst>
                </a:gridCol>
                <a:gridCol w="318234">
                  <a:extLst>
                    <a:ext uri="{9D8B030D-6E8A-4147-A177-3AD203B41FA5}">
                      <a16:colId xmlns:a16="http://schemas.microsoft.com/office/drawing/2014/main" val="20008"/>
                    </a:ext>
                  </a:extLst>
                </a:gridCol>
                <a:gridCol w="318234">
                  <a:extLst>
                    <a:ext uri="{9D8B030D-6E8A-4147-A177-3AD203B41FA5}">
                      <a16:colId xmlns:a16="http://schemas.microsoft.com/office/drawing/2014/main" val="20009"/>
                    </a:ext>
                  </a:extLst>
                </a:gridCol>
                <a:gridCol w="318234">
                  <a:extLst>
                    <a:ext uri="{9D8B030D-6E8A-4147-A177-3AD203B41FA5}">
                      <a16:colId xmlns:a16="http://schemas.microsoft.com/office/drawing/2014/main" val="20010"/>
                    </a:ext>
                  </a:extLst>
                </a:gridCol>
                <a:gridCol w="318234">
                  <a:extLst>
                    <a:ext uri="{9D8B030D-6E8A-4147-A177-3AD203B41FA5}">
                      <a16:colId xmlns:a16="http://schemas.microsoft.com/office/drawing/2014/main" val="20011"/>
                    </a:ext>
                  </a:extLst>
                </a:gridCol>
                <a:gridCol w="318234">
                  <a:extLst>
                    <a:ext uri="{9D8B030D-6E8A-4147-A177-3AD203B41FA5}">
                      <a16:colId xmlns:a16="http://schemas.microsoft.com/office/drawing/2014/main" val="20012"/>
                    </a:ext>
                  </a:extLst>
                </a:gridCol>
                <a:gridCol w="318234">
                  <a:extLst>
                    <a:ext uri="{9D8B030D-6E8A-4147-A177-3AD203B41FA5}">
                      <a16:colId xmlns:a16="http://schemas.microsoft.com/office/drawing/2014/main" val="20013"/>
                    </a:ext>
                  </a:extLst>
                </a:gridCol>
                <a:gridCol w="318234">
                  <a:extLst>
                    <a:ext uri="{9D8B030D-6E8A-4147-A177-3AD203B41FA5}">
                      <a16:colId xmlns:a16="http://schemas.microsoft.com/office/drawing/2014/main" val="20014"/>
                    </a:ext>
                  </a:extLst>
                </a:gridCol>
                <a:gridCol w="318234">
                  <a:extLst>
                    <a:ext uri="{9D8B030D-6E8A-4147-A177-3AD203B41FA5}">
                      <a16:colId xmlns:a16="http://schemas.microsoft.com/office/drawing/2014/main" val="20015"/>
                    </a:ext>
                  </a:extLst>
                </a:gridCol>
                <a:gridCol w="318234">
                  <a:extLst>
                    <a:ext uri="{9D8B030D-6E8A-4147-A177-3AD203B41FA5}">
                      <a16:colId xmlns:a16="http://schemas.microsoft.com/office/drawing/2014/main" val="20016"/>
                    </a:ext>
                  </a:extLst>
                </a:gridCol>
                <a:gridCol w="318234">
                  <a:extLst>
                    <a:ext uri="{9D8B030D-6E8A-4147-A177-3AD203B41FA5}">
                      <a16:colId xmlns:a16="http://schemas.microsoft.com/office/drawing/2014/main" val="20017"/>
                    </a:ext>
                  </a:extLst>
                </a:gridCol>
                <a:gridCol w="318234">
                  <a:extLst>
                    <a:ext uri="{9D8B030D-6E8A-4147-A177-3AD203B41FA5}">
                      <a16:colId xmlns:a16="http://schemas.microsoft.com/office/drawing/2014/main" val="20018"/>
                    </a:ext>
                  </a:extLst>
                </a:gridCol>
                <a:gridCol w="318234">
                  <a:extLst>
                    <a:ext uri="{9D8B030D-6E8A-4147-A177-3AD203B41FA5}">
                      <a16:colId xmlns:a16="http://schemas.microsoft.com/office/drawing/2014/main" val="20019"/>
                    </a:ext>
                  </a:extLst>
                </a:gridCol>
                <a:gridCol w="318234">
                  <a:extLst>
                    <a:ext uri="{9D8B030D-6E8A-4147-A177-3AD203B41FA5}">
                      <a16:colId xmlns:a16="http://schemas.microsoft.com/office/drawing/2014/main" val="20020"/>
                    </a:ext>
                  </a:extLst>
                </a:gridCol>
                <a:gridCol w="318234">
                  <a:extLst>
                    <a:ext uri="{9D8B030D-6E8A-4147-A177-3AD203B41FA5}">
                      <a16:colId xmlns:a16="http://schemas.microsoft.com/office/drawing/2014/main" val="20021"/>
                    </a:ext>
                  </a:extLst>
                </a:gridCol>
                <a:gridCol w="318234">
                  <a:extLst>
                    <a:ext uri="{9D8B030D-6E8A-4147-A177-3AD203B41FA5}">
                      <a16:colId xmlns:a16="http://schemas.microsoft.com/office/drawing/2014/main" val="20022"/>
                    </a:ext>
                  </a:extLst>
                </a:gridCol>
                <a:gridCol w="318234">
                  <a:extLst>
                    <a:ext uri="{9D8B030D-6E8A-4147-A177-3AD203B41FA5}">
                      <a16:colId xmlns:a16="http://schemas.microsoft.com/office/drawing/2014/main" val="20023"/>
                    </a:ext>
                  </a:extLst>
                </a:gridCol>
                <a:gridCol w="318234">
                  <a:extLst>
                    <a:ext uri="{9D8B030D-6E8A-4147-A177-3AD203B41FA5}">
                      <a16:colId xmlns:a16="http://schemas.microsoft.com/office/drawing/2014/main" val="20024"/>
                    </a:ext>
                  </a:extLst>
                </a:gridCol>
              </a:tblGrid>
              <a:tr h="182880">
                <a:tc>
                  <a:txBody>
                    <a:bodyPr/>
                    <a:lstStyle/>
                    <a:p>
                      <a:pPr>
                        <a:lnSpc>
                          <a:spcPct val="100000"/>
                        </a:lnSpc>
                        <a:spcBef>
                          <a:spcPts val="400"/>
                        </a:spcBef>
                      </a:pPr>
                      <a:endParaRPr lang="en-US" sz="10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August</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Septem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5">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Octo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12700"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Novem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12700"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3">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000" dirty="0">
                          <a:solidFill>
                            <a:schemeClr val="tx1"/>
                          </a:solidFill>
                          <a:latin typeface="+mn-lt"/>
                        </a:rPr>
                        <a:t>December</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algn="ctr">
                        <a:lnSpc>
                          <a:spcPct val="100000"/>
                        </a:lnSpc>
                        <a:spcBef>
                          <a:spcPts val="400"/>
                        </a:spcBef>
                      </a:pPr>
                      <a:r>
                        <a:rPr lang="en-US" sz="1000" dirty="0">
                          <a:solidFill>
                            <a:schemeClr val="tx1"/>
                          </a:solidFill>
                          <a:latin typeface="+mn-lt"/>
                        </a:rPr>
                        <a:t>January</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182880">
                <a:tc>
                  <a:txBody>
                    <a:bodyPr/>
                    <a:lstStyle/>
                    <a:p>
                      <a:pPr>
                        <a:lnSpc>
                          <a:spcPct val="100000"/>
                        </a:lnSpc>
                        <a:spcBef>
                          <a:spcPts val="400"/>
                        </a:spcBef>
                      </a:pPr>
                      <a:endParaRPr lang="en-US" sz="10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8</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5</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9</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5</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9</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6</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3</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0</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7</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4</a:t>
                      </a:r>
                    </a:p>
                  </a:txBody>
                  <a:tcPr marL="45720" marR="4572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31</a:t>
                      </a:r>
                    </a:p>
                  </a:txBody>
                  <a:tcPr marL="45720" marR="457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7</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4</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1</a:t>
                      </a:r>
                    </a:p>
                  </a:txBody>
                  <a:tcPr marL="45720" marR="4572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8</a:t>
                      </a:r>
                    </a:p>
                  </a:txBody>
                  <a:tcPr marL="45720" marR="4572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5</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9</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9</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1</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dirty="0">
                          <a:solidFill>
                            <a:schemeClr val="tx1"/>
                          </a:solidFill>
                          <a:latin typeface="+mn-lt"/>
                        </a:rPr>
                        <a:t>23</a:t>
                      </a: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1: </a:t>
                      </a:r>
                      <a:r>
                        <a:rPr lang="en-US" sz="1000" dirty="0">
                          <a:solidFill>
                            <a:schemeClr val="tx1"/>
                          </a:solidFill>
                          <a:latin typeface="+mn-lt"/>
                        </a:rPr>
                        <a:t>S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2"/>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2:</a:t>
                      </a:r>
                      <a:r>
                        <a:rPr lang="en-US" sz="1000" b="0" baseline="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3"/>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3:</a:t>
                      </a:r>
                      <a:r>
                        <a:rPr lang="en-US" sz="1000" b="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4"/>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4:</a:t>
                      </a:r>
                      <a:r>
                        <a:rPr lang="en-US" sz="1000" b="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5"/>
                  </a:ext>
                </a:extLst>
              </a:tr>
              <a:tr h="628654">
                <a:tc>
                  <a:txBody>
                    <a:bodyPr/>
                    <a:lstStyle/>
                    <a:p>
                      <a:pPr marL="0" indent="0">
                        <a:lnSpc>
                          <a:spcPct val="100000"/>
                        </a:lnSpc>
                        <a:spcBef>
                          <a:spcPts val="300"/>
                        </a:spcBef>
                        <a:buFont typeface="Arial" panose="020B0604020202020204" pitchFamily="34" charset="0"/>
                        <a:buNone/>
                      </a:pPr>
                      <a:r>
                        <a:rPr lang="en-US" sz="1000" b="1" dirty="0">
                          <a:solidFill>
                            <a:schemeClr val="tx1"/>
                          </a:solidFill>
                          <a:latin typeface="+mn-lt"/>
                        </a:rPr>
                        <a:t>Stage 5:</a:t>
                      </a:r>
                      <a:r>
                        <a:rPr lang="en-US" sz="1000" b="0" dirty="0">
                          <a:solidFill>
                            <a:schemeClr val="tx1"/>
                          </a:solidFill>
                          <a:latin typeface="+mn-lt"/>
                        </a:rPr>
                        <a:t> S</a:t>
                      </a:r>
                      <a:r>
                        <a:rPr lang="en-US" sz="1000" dirty="0">
                          <a:solidFill>
                            <a:schemeClr val="tx1"/>
                          </a:solidFill>
                          <a:latin typeface="+mn-lt"/>
                        </a:rPr>
                        <a:t>tage description</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p>
                      <a:pPr marL="0" indent="0">
                        <a:lnSpc>
                          <a:spcPct val="100000"/>
                        </a:lnSpc>
                        <a:spcBef>
                          <a:spcPts val="300"/>
                        </a:spcBef>
                        <a:buFont typeface="Arial" panose="020B0604020202020204" pitchFamily="34" charset="0"/>
                        <a:buNone/>
                      </a:pPr>
                      <a:r>
                        <a:rPr lang="en-US" sz="1000" dirty="0">
                          <a:solidFill>
                            <a:schemeClr val="tx1"/>
                          </a:solidFill>
                          <a:latin typeface="+mn-lt"/>
                        </a:rPr>
                        <a:t>Activity detail</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2" name="Group 1">
            <a:extLst>
              <a:ext uri="{FF2B5EF4-FFF2-40B4-BE49-F238E27FC236}">
                <a16:creationId xmlns:a16="http://schemas.microsoft.com/office/drawing/2014/main" id="{0CF7C6C7-BE7D-4330-8A61-81C3F9AB543D}"/>
              </a:ext>
            </a:extLst>
          </p:cNvPr>
          <p:cNvGrpSpPr/>
          <p:nvPr/>
        </p:nvGrpSpPr>
        <p:grpSpPr>
          <a:xfrm>
            <a:off x="3118274" y="2776939"/>
            <a:ext cx="7665340" cy="3323577"/>
            <a:chOff x="3118274" y="2776939"/>
            <a:chExt cx="5166396" cy="3323577"/>
          </a:xfrm>
        </p:grpSpPr>
        <p:sp>
          <p:nvSpPr>
            <p:cNvPr id="22" name="Rectangle 21"/>
            <p:cNvSpPr/>
            <p:nvPr/>
          </p:nvSpPr>
          <p:spPr bwMode="gray">
            <a:xfrm>
              <a:off x="3118274" y="2776939"/>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Rectangle 22"/>
            <p:cNvSpPr/>
            <p:nvPr/>
          </p:nvSpPr>
          <p:spPr bwMode="gray">
            <a:xfrm>
              <a:off x="3891526" y="2962851"/>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1" name="Rectangle 40"/>
            <p:cNvSpPr/>
            <p:nvPr/>
          </p:nvSpPr>
          <p:spPr bwMode="gray">
            <a:xfrm>
              <a:off x="4409840" y="3528301"/>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2" name="Rectangle 41"/>
            <p:cNvSpPr/>
            <p:nvPr/>
          </p:nvSpPr>
          <p:spPr bwMode="gray">
            <a:xfrm>
              <a:off x="4934704" y="3732319"/>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3" name="Rectangle 42"/>
            <p:cNvSpPr/>
            <p:nvPr/>
          </p:nvSpPr>
          <p:spPr bwMode="gray">
            <a:xfrm>
              <a:off x="5189976" y="4287573"/>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4" name="Rectangle 43"/>
            <p:cNvSpPr/>
            <p:nvPr/>
          </p:nvSpPr>
          <p:spPr bwMode="gray">
            <a:xfrm>
              <a:off x="5705282" y="4491591"/>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5" name="Rectangle 44"/>
            <p:cNvSpPr/>
            <p:nvPr/>
          </p:nvSpPr>
          <p:spPr bwMode="gray">
            <a:xfrm>
              <a:off x="5957282" y="5056660"/>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6" name="Rectangle 45"/>
            <p:cNvSpPr/>
            <p:nvPr/>
          </p:nvSpPr>
          <p:spPr bwMode="gray">
            <a:xfrm>
              <a:off x="6739678" y="5251625"/>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7" name="Rectangle 46"/>
            <p:cNvSpPr/>
            <p:nvPr/>
          </p:nvSpPr>
          <p:spPr bwMode="gray">
            <a:xfrm>
              <a:off x="7005992" y="5815551"/>
              <a:ext cx="1026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8" name="Rectangle 47"/>
            <p:cNvSpPr/>
            <p:nvPr/>
          </p:nvSpPr>
          <p:spPr bwMode="gray">
            <a:xfrm>
              <a:off x="8032670" y="6010516"/>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9" name="Oval 48"/>
            <p:cNvSpPr/>
            <p:nvPr/>
          </p:nvSpPr>
          <p:spPr bwMode="gray">
            <a:xfrm>
              <a:off x="5276654" y="3739939"/>
              <a:ext cx="123260" cy="18288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0" name="Oval 49"/>
            <p:cNvSpPr/>
            <p:nvPr/>
          </p:nvSpPr>
          <p:spPr bwMode="gray">
            <a:xfrm>
              <a:off x="7070224" y="5253065"/>
              <a:ext cx="123260" cy="18288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51" name="Oval 50"/>
          <p:cNvSpPr/>
          <p:nvPr/>
        </p:nvSpPr>
        <p:spPr bwMode="gray">
          <a:xfrm>
            <a:off x="8638769" y="6259806"/>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2" name="Rectangle 51"/>
          <p:cNvSpPr/>
          <p:nvPr/>
        </p:nvSpPr>
        <p:spPr bwMode="gray">
          <a:xfrm>
            <a:off x="8769263" y="6227862"/>
            <a:ext cx="520976" cy="153888"/>
          </a:xfrm>
          <a:prstGeom prst="rect">
            <a:avLst/>
          </a:prstGeom>
        </p:spPr>
        <p:txBody>
          <a:bodyPr wrap="square" lIns="0" tIns="0" rIns="0" bIns="0">
            <a:spAutoFit/>
          </a:bodyPr>
          <a:lstStyle/>
          <a:p>
            <a:r>
              <a:rPr lang="en-US" sz="1000" dirty="0"/>
              <a:t>Milestone</a:t>
            </a:r>
          </a:p>
        </p:txBody>
      </p:sp>
      <p:sp>
        <p:nvSpPr>
          <p:cNvPr id="27" name="TextBox 26"/>
          <p:cNvSpPr txBox="1"/>
          <p:nvPr/>
        </p:nvSpPr>
        <p:spPr bwMode="gray">
          <a:xfrm>
            <a:off x="607971" y="1710507"/>
            <a:ext cx="8348472" cy="184666"/>
          </a:xfrm>
          <a:prstGeom prst="rect">
            <a:avLst/>
          </a:prstGeom>
          <a:noFill/>
        </p:spPr>
        <p:txBody>
          <a:bodyPr wrap="square" lIns="0" tIns="0" rIns="0" bIns="0" rtlCol="0">
            <a:spAutoFit/>
          </a:bodyPr>
          <a:lstStyle/>
          <a:p>
            <a:r>
              <a:rPr lang="en-US" sz="1200" dirty="0"/>
              <a:t>Title runs here</a:t>
            </a:r>
          </a:p>
        </p:txBody>
      </p:sp>
    </p:spTree>
    <p:extLst>
      <p:ext uri="{BB962C8B-B14F-4D97-AF65-F5344CB8AC3E}">
        <p14:creationId xmlns:p14="http://schemas.microsoft.com/office/powerpoint/2010/main" val="704686334"/>
      </p:ext>
    </p:extLst>
  </p:cSld>
  <p:clrMapOvr>
    <a:masterClrMapping/>
  </p:clrMapOvr>
  <p:transition>
    <p:fade/>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sp>
        <p:nvSpPr>
          <p:cNvPr id="832513" name="Title 1"/>
          <p:cNvSpPr>
            <a:spLocks noGrp="1"/>
          </p:cNvSpPr>
          <p:nvPr>
            <p:ph type="title"/>
          </p:nvPr>
        </p:nvSpPr>
        <p:spPr/>
        <p:txBody>
          <a:bodyPr/>
          <a:lstStyle/>
          <a:p>
            <a:r>
              <a:rPr lang="en-US"/>
              <a:t>Calendar</a:t>
            </a:r>
            <a:endParaRPr lang="en-US" dirty="0"/>
          </a:p>
        </p:txBody>
      </p:sp>
      <p:graphicFrame>
        <p:nvGraphicFramePr>
          <p:cNvPr id="5" name="Group 3"/>
          <p:cNvGraphicFramePr>
            <a:graphicFrameLocks noGrp="1"/>
          </p:cNvGraphicFramePr>
          <p:nvPr>
            <p:extLst>
              <p:ext uri="{D42A27DB-BD31-4B8C-83A1-F6EECF244321}">
                <p14:modId xmlns:p14="http://schemas.microsoft.com/office/powerpoint/2010/main" val="852372936"/>
              </p:ext>
            </p:extLst>
          </p:nvPr>
        </p:nvGraphicFramePr>
        <p:xfrm>
          <a:off x="725214" y="1614489"/>
          <a:ext cx="10741571" cy="4193225"/>
        </p:xfrm>
        <a:graphic>
          <a:graphicData uri="http://schemas.openxmlformats.org/drawingml/2006/table">
            <a:tbl>
              <a:tblPr/>
              <a:tblGrid>
                <a:gridCol w="1563972">
                  <a:extLst>
                    <a:ext uri="{9D8B030D-6E8A-4147-A177-3AD203B41FA5}">
                      <a16:colId xmlns:a16="http://schemas.microsoft.com/office/drawing/2014/main" val="20000"/>
                    </a:ext>
                  </a:extLst>
                </a:gridCol>
                <a:gridCol w="1814131">
                  <a:extLst>
                    <a:ext uri="{9D8B030D-6E8A-4147-A177-3AD203B41FA5}">
                      <a16:colId xmlns:a16="http://schemas.microsoft.com/office/drawing/2014/main" val="20001"/>
                    </a:ext>
                  </a:extLst>
                </a:gridCol>
                <a:gridCol w="1858053">
                  <a:extLst>
                    <a:ext uri="{9D8B030D-6E8A-4147-A177-3AD203B41FA5}">
                      <a16:colId xmlns:a16="http://schemas.microsoft.com/office/drawing/2014/main" val="20002"/>
                    </a:ext>
                  </a:extLst>
                </a:gridCol>
                <a:gridCol w="1833228">
                  <a:extLst>
                    <a:ext uri="{9D8B030D-6E8A-4147-A177-3AD203B41FA5}">
                      <a16:colId xmlns:a16="http://schemas.microsoft.com/office/drawing/2014/main" val="20003"/>
                    </a:ext>
                  </a:extLst>
                </a:gridCol>
                <a:gridCol w="1838959">
                  <a:extLst>
                    <a:ext uri="{9D8B030D-6E8A-4147-A177-3AD203B41FA5}">
                      <a16:colId xmlns:a16="http://schemas.microsoft.com/office/drawing/2014/main" val="20004"/>
                    </a:ext>
                  </a:extLst>
                </a:gridCol>
                <a:gridCol w="1833228">
                  <a:extLst>
                    <a:ext uri="{9D8B030D-6E8A-4147-A177-3AD203B41FA5}">
                      <a16:colId xmlns:a16="http://schemas.microsoft.com/office/drawing/2014/main" val="20005"/>
                    </a:ext>
                  </a:extLst>
                </a:gridCol>
              </a:tblGrid>
              <a:tr h="365760">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Mon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ues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Wednes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hurs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Friday</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6041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bg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chemeClr val="tx1"/>
                          </a:solidFill>
                          <a:effectLst/>
                          <a:latin typeface="+mn-lt"/>
                        </a:rPr>
                        <a:t>Week #</a:t>
                      </a:r>
                    </a:p>
                  </a:txBody>
                  <a:tcPr marT="91440" marB="9144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22" name="Rectangle 47"/>
          <p:cNvSpPr>
            <a:spLocks noChangeArrowheads="1"/>
          </p:cNvSpPr>
          <p:nvPr>
            <p:custDataLst>
              <p:tags r:id="rId1"/>
            </p:custDataLst>
          </p:nvPr>
        </p:nvSpPr>
        <p:spPr bwMode="auto">
          <a:xfrm>
            <a:off x="4422227" y="6061936"/>
            <a:ext cx="133350" cy="144463"/>
          </a:xfrm>
          <a:prstGeom prst="rect">
            <a:avLst/>
          </a:prstGeom>
          <a:solidFill>
            <a:schemeClr val="tx2"/>
          </a:solidFill>
          <a:ln w="12700" algn="ctr">
            <a:noFill/>
            <a:miter lim="800000"/>
            <a:headEnd/>
            <a:tailEnd/>
          </a:ln>
        </p:spPr>
        <p:txBody>
          <a:bodyPr wrap="square" lIns="36000" tIns="36000" rIns="36000" bIns="36000" anchor="ctr"/>
          <a:lstStyle/>
          <a:p>
            <a:pPr algn="ctr"/>
            <a:endParaRPr lang="en-US" sz="1200" dirty="0">
              <a:solidFill>
                <a:schemeClr val="bg1"/>
              </a:solidFill>
            </a:endParaRPr>
          </a:p>
        </p:txBody>
      </p:sp>
      <p:sp>
        <p:nvSpPr>
          <p:cNvPr id="23" name="Text Box 48"/>
          <p:cNvSpPr txBox="1">
            <a:spLocks noChangeArrowheads="1"/>
          </p:cNvSpPr>
          <p:nvPr>
            <p:custDataLst>
              <p:tags r:id="rId2"/>
            </p:custDataLst>
          </p:nvPr>
        </p:nvSpPr>
        <p:spPr bwMode="auto">
          <a:xfrm>
            <a:off x="6424064" y="6057222"/>
            <a:ext cx="1479572"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Steering committee meeting</a:t>
            </a:r>
          </a:p>
        </p:txBody>
      </p:sp>
      <p:sp>
        <p:nvSpPr>
          <p:cNvPr id="24" name="Rectangle 49"/>
          <p:cNvSpPr>
            <a:spLocks noChangeArrowheads="1"/>
          </p:cNvSpPr>
          <p:nvPr>
            <p:custDataLst>
              <p:tags r:id="rId3"/>
            </p:custDataLst>
          </p:nvPr>
        </p:nvSpPr>
        <p:spPr bwMode="auto">
          <a:xfrm>
            <a:off x="6251027" y="6061936"/>
            <a:ext cx="133350" cy="144463"/>
          </a:xfrm>
          <a:prstGeom prst="rect">
            <a:avLst/>
          </a:prstGeom>
          <a:solidFill>
            <a:schemeClr val="accent2"/>
          </a:solidFill>
          <a:ln w="12700" algn="ctr">
            <a:noFill/>
            <a:miter lim="800000"/>
            <a:headEnd/>
            <a:tailEnd/>
          </a:ln>
        </p:spPr>
        <p:txBody>
          <a:bodyPr wrap="square" lIns="36000" tIns="36000" rIns="36000" bIns="36000" anchor="ctr"/>
          <a:lstStyle/>
          <a:p>
            <a:pPr algn="ctr"/>
            <a:endParaRPr lang="en-US" sz="1200" dirty="0">
              <a:solidFill>
                <a:schemeClr val="bg1"/>
              </a:solidFill>
              <a:ea typeface="ＭＳ Ｐゴシック" charset="-128"/>
            </a:endParaRPr>
          </a:p>
        </p:txBody>
      </p:sp>
      <p:sp>
        <p:nvSpPr>
          <p:cNvPr id="25" name="Rectangle 50"/>
          <p:cNvSpPr>
            <a:spLocks noChangeArrowheads="1"/>
          </p:cNvSpPr>
          <p:nvPr>
            <p:custDataLst>
              <p:tags r:id="rId4"/>
            </p:custDataLst>
          </p:nvPr>
        </p:nvSpPr>
        <p:spPr bwMode="auto">
          <a:xfrm>
            <a:off x="8435309" y="6061936"/>
            <a:ext cx="133350" cy="144463"/>
          </a:xfrm>
          <a:prstGeom prst="rect">
            <a:avLst/>
          </a:prstGeom>
          <a:solidFill>
            <a:schemeClr val="accent3"/>
          </a:solidFill>
          <a:ln w="12700" algn="ctr">
            <a:noFill/>
            <a:miter lim="800000"/>
            <a:headEnd/>
            <a:tailEnd/>
          </a:ln>
        </p:spPr>
        <p:txBody>
          <a:bodyPr wrap="square" lIns="36000" tIns="36000" rIns="36000" bIns="36000" anchor="ctr"/>
          <a:lstStyle/>
          <a:p>
            <a:pPr algn="ctr">
              <a:defRPr/>
            </a:pPr>
            <a:endParaRPr lang="en-US" sz="1200" dirty="0">
              <a:solidFill>
                <a:schemeClr val="bg1"/>
              </a:solidFill>
            </a:endParaRPr>
          </a:p>
        </p:txBody>
      </p:sp>
      <p:sp>
        <p:nvSpPr>
          <p:cNvPr id="26" name="Text Box 51"/>
          <p:cNvSpPr txBox="1">
            <a:spLocks noChangeArrowheads="1"/>
          </p:cNvSpPr>
          <p:nvPr>
            <p:custDataLst>
              <p:tags r:id="rId5"/>
            </p:custDataLst>
          </p:nvPr>
        </p:nvSpPr>
        <p:spPr bwMode="auto">
          <a:xfrm>
            <a:off x="8610579" y="6057222"/>
            <a:ext cx="766235"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Board meeting</a:t>
            </a:r>
          </a:p>
        </p:txBody>
      </p:sp>
      <p:sp>
        <p:nvSpPr>
          <p:cNvPr id="27" name="Text Box 184"/>
          <p:cNvSpPr txBox="1">
            <a:spLocks noChangeArrowheads="1"/>
          </p:cNvSpPr>
          <p:nvPr>
            <p:custDataLst>
              <p:tags r:id="rId6"/>
            </p:custDataLst>
          </p:nvPr>
        </p:nvSpPr>
        <p:spPr bwMode="auto">
          <a:xfrm>
            <a:off x="4587327" y="6057222"/>
            <a:ext cx="1231106"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Working group meeting</a:t>
            </a:r>
          </a:p>
        </p:txBody>
      </p:sp>
    </p:spTree>
    <p:extLst>
      <p:ext uri="{BB962C8B-B14F-4D97-AF65-F5344CB8AC3E}">
        <p14:creationId xmlns:p14="http://schemas.microsoft.com/office/powerpoint/2010/main" val="463523227"/>
      </p:ext>
    </p:extLst>
  </p:cSld>
  <p:clrMapOvr>
    <a:masterClrMapping/>
  </p:clrMapOvr>
  <p:transition>
    <p:fade/>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extLst>
              <p:ext uri="{D42A27DB-BD31-4B8C-83A1-F6EECF244321}">
                <p14:modId xmlns:p14="http://schemas.microsoft.com/office/powerpoint/2010/main" val="3917637244"/>
              </p:ext>
            </p:extLst>
          </p:nvPr>
        </p:nvGraphicFramePr>
        <p:xfrm>
          <a:off x="1881487" y="1602688"/>
          <a:ext cx="4114800" cy="2153338"/>
        </p:xfrm>
        <a:graphic>
          <a:graphicData uri="http://schemas.openxmlformats.org/drawingml/2006/table">
            <a:tbl>
              <a:tblPr/>
              <a:tblGrid>
                <a:gridCol w="813096">
                  <a:extLst>
                    <a:ext uri="{9D8B030D-6E8A-4147-A177-3AD203B41FA5}">
                      <a16:colId xmlns:a16="http://schemas.microsoft.com/office/drawing/2014/main" val="20000"/>
                    </a:ext>
                  </a:extLst>
                </a:gridCol>
                <a:gridCol w="833780">
                  <a:extLst>
                    <a:ext uri="{9D8B030D-6E8A-4147-A177-3AD203B41FA5}">
                      <a16:colId xmlns:a16="http://schemas.microsoft.com/office/drawing/2014/main" val="20001"/>
                    </a:ext>
                  </a:extLst>
                </a:gridCol>
                <a:gridCol w="821051">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1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5152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9</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4" name="Text Placeholder 3"/>
          <p:cNvSpPr>
            <a:spLocks noGrp="1"/>
          </p:cNvSpPr>
          <p:nvPr>
            <p:ph type="body" sz="quarter" idx="13"/>
          </p:nvPr>
        </p:nvSpPr>
        <p:spPr/>
        <p:txBody>
          <a:bodyPr/>
          <a:lstStyle/>
          <a:p>
            <a:r>
              <a:rPr lang="en-US" dirty="0"/>
              <a:t>First day of the month is Monday, Tuesday, Wednesday or Thursday</a:t>
            </a:r>
          </a:p>
        </p:txBody>
      </p:sp>
      <p:sp>
        <p:nvSpPr>
          <p:cNvPr id="281647" name="Title 1"/>
          <p:cNvSpPr>
            <a:spLocks noGrp="1"/>
          </p:cNvSpPr>
          <p:nvPr>
            <p:ph type="title"/>
          </p:nvPr>
        </p:nvSpPr>
        <p:spPr/>
        <p:txBody>
          <a:bodyPr/>
          <a:lstStyle/>
          <a:p>
            <a:r>
              <a:rPr lang="en-US" altLang="ja-JP"/>
              <a:t>Calendars</a:t>
            </a:r>
            <a:endParaRPr lang="en-US" dirty="0"/>
          </a:p>
        </p:txBody>
      </p:sp>
      <p:graphicFrame>
        <p:nvGraphicFramePr>
          <p:cNvPr id="11" name="Group 52"/>
          <p:cNvGraphicFramePr>
            <a:graphicFrameLocks noGrp="1"/>
          </p:cNvGraphicFramePr>
          <p:nvPr>
            <p:extLst>
              <p:ext uri="{D42A27DB-BD31-4B8C-83A1-F6EECF244321}">
                <p14:modId xmlns:p14="http://schemas.microsoft.com/office/powerpoint/2010/main" val="62615401"/>
              </p:ext>
            </p:extLst>
          </p:nvPr>
        </p:nvGraphicFramePr>
        <p:xfrm>
          <a:off x="6184858" y="1602688"/>
          <a:ext cx="4114800" cy="2162178"/>
        </p:xfrm>
        <a:graphic>
          <a:graphicData uri="http://schemas.openxmlformats.org/drawingml/2006/table">
            <a:tbl>
              <a:tblPr/>
              <a:tblGrid>
                <a:gridCol w="813410">
                  <a:extLst>
                    <a:ext uri="{9D8B030D-6E8A-4147-A177-3AD203B41FA5}">
                      <a16:colId xmlns:a16="http://schemas.microsoft.com/office/drawing/2014/main" val="20000"/>
                    </a:ext>
                  </a:extLst>
                </a:gridCol>
                <a:gridCol w="832512">
                  <a:extLst>
                    <a:ext uri="{9D8B030D-6E8A-4147-A177-3AD203B41FA5}">
                      <a16:colId xmlns:a16="http://schemas.microsoft.com/office/drawing/2014/main" val="20001"/>
                    </a:ext>
                  </a:extLst>
                </a:gridCol>
                <a:gridCol w="822959">
                  <a:extLst>
                    <a:ext uri="{9D8B030D-6E8A-4147-A177-3AD203B41FA5}">
                      <a16:colId xmlns:a16="http://schemas.microsoft.com/office/drawing/2014/main" val="20002"/>
                    </a:ext>
                  </a:extLst>
                </a:gridCol>
                <a:gridCol w="822960">
                  <a:extLst>
                    <a:ext uri="{9D8B030D-6E8A-4147-A177-3AD203B41FA5}">
                      <a16:colId xmlns:a16="http://schemas.microsoft.com/office/drawing/2014/main" val="20003"/>
                    </a:ext>
                  </a:extLst>
                </a:gridCol>
                <a:gridCol w="822959">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5</a:t>
                      </a:r>
                    </a:p>
                  </a:txBody>
                  <a:tcPr marL="36000" marR="36000" marT="36000" marB="36000"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9</a:t>
                      </a:r>
                    </a:p>
                  </a:txBody>
                  <a:tcPr marL="36000" marR="36000" marT="36000" marB="36000"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12" name="Group 96"/>
          <p:cNvGraphicFramePr>
            <a:graphicFrameLocks noGrp="1"/>
          </p:cNvGraphicFramePr>
          <p:nvPr>
            <p:extLst>
              <p:ext uri="{D42A27DB-BD31-4B8C-83A1-F6EECF244321}">
                <p14:modId xmlns:p14="http://schemas.microsoft.com/office/powerpoint/2010/main" val="1942919311"/>
              </p:ext>
            </p:extLst>
          </p:nvPr>
        </p:nvGraphicFramePr>
        <p:xfrm>
          <a:off x="1881487" y="3941075"/>
          <a:ext cx="4114800" cy="2162178"/>
        </p:xfrm>
        <a:graphic>
          <a:graphicData uri="http://schemas.openxmlformats.org/drawingml/2006/table">
            <a:tbl>
              <a:tblPr/>
              <a:tblGrid>
                <a:gridCol w="813096">
                  <a:extLst>
                    <a:ext uri="{9D8B030D-6E8A-4147-A177-3AD203B41FA5}">
                      <a16:colId xmlns:a16="http://schemas.microsoft.com/office/drawing/2014/main" val="20000"/>
                    </a:ext>
                  </a:extLst>
                </a:gridCol>
                <a:gridCol w="833780">
                  <a:extLst>
                    <a:ext uri="{9D8B030D-6E8A-4147-A177-3AD203B41FA5}">
                      <a16:colId xmlns:a16="http://schemas.microsoft.com/office/drawing/2014/main" val="20001"/>
                    </a:ext>
                  </a:extLst>
                </a:gridCol>
                <a:gridCol w="821051">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1</a:t>
                      </a:r>
                      <a:r>
                        <a:rPr kumimoji="0" lang="ja-JP" altLang="en-US" sz="1100" b="0" i="0" u="none" strike="noStrike" cap="none" normalizeH="0" baseline="0" dirty="0">
                          <a:ln>
                            <a:noFill/>
                          </a:ln>
                          <a:solidFill>
                            <a:srgbClr val="53565A"/>
                          </a:solidFill>
                          <a:effectLst/>
                          <a:latin typeface="+mn-lt"/>
                          <a:ea typeface="ＭＳ Ｐゴシック" pitchFamily="50" charset="-128"/>
                        </a:rPr>
                        <a:t>　</a:t>
                      </a:r>
                      <a:endParaRPr kumimoji="0" lang="en-US" altLang="ja-JP" sz="1100" b="0" i="0" u="none" strike="noStrike" cap="none" normalizeH="0" baseline="0" dirty="0">
                        <a:ln>
                          <a:noFill/>
                        </a:ln>
                        <a:solidFill>
                          <a:srgbClr val="53565A"/>
                        </a:solidFill>
                        <a:effectLst/>
                        <a:latin typeface="+mn-lt"/>
                        <a:ea typeface="ＭＳ Ｐゴシック" pitchFamily="50" charset="-128"/>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bl>
          </a:graphicData>
        </a:graphic>
      </p:graphicFrame>
      <p:graphicFrame>
        <p:nvGraphicFramePr>
          <p:cNvPr id="13" name="Group 140"/>
          <p:cNvGraphicFramePr>
            <a:graphicFrameLocks noGrp="1"/>
          </p:cNvGraphicFramePr>
          <p:nvPr>
            <p:extLst>
              <p:ext uri="{D42A27DB-BD31-4B8C-83A1-F6EECF244321}">
                <p14:modId xmlns:p14="http://schemas.microsoft.com/office/powerpoint/2010/main" val="583798571"/>
              </p:ext>
            </p:extLst>
          </p:nvPr>
        </p:nvGraphicFramePr>
        <p:xfrm>
          <a:off x="6184858" y="3941075"/>
          <a:ext cx="4114800" cy="2162178"/>
        </p:xfrm>
        <a:graphic>
          <a:graphicData uri="http://schemas.openxmlformats.org/drawingml/2006/table">
            <a:tbl>
              <a:tblPr/>
              <a:tblGrid>
                <a:gridCol w="813410">
                  <a:extLst>
                    <a:ext uri="{9D8B030D-6E8A-4147-A177-3AD203B41FA5}">
                      <a16:colId xmlns:a16="http://schemas.microsoft.com/office/drawing/2014/main" val="20000"/>
                    </a:ext>
                  </a:extLst>
                </a:gridCol>
                <a:gridCol w="832512">
                  <a:extLst>
                    <a:ext uri="{9D8B030D-6E8A-4147-A177-3AD203B41FA5}">
                      <a16:colId xmlns:a16="http://schemas.microsoft.com/office/drawing/2014/main" val="20001"/>
                    </a:ext>
                  </a:extLst>
                </a:gridCol>
                <a:gridCol w="822959">
                  <a:extLst>
                    <a:ext uri="{9D8B030D-6E8A-4147-A177-3AD203B41FA5}">
                      <a16:colId xmlns:a16="http://schemas.microsoft.com/office/drawing/2014/main" val="20002"/>
                    </a:ext>
                  </a:extLst>
                </a:gridCol>
                <a:gridCol w="822960">
                  <a:extLst>
                    <a:ext uri="{9D8B030D-6E8A-4147-A177-3AD203B41FA5}">
                      <a16:colId xmlns:a16="http://schemas.microsoft.com/office/drawing/2014/main" val="20003"/>
                    </a:ext>
                  </a:extLst>
                </a:gridCol>
                <a:gridCol w="822959">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tx1"/>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bl>
          </a:graphicData>
        </a:graphic>
      </p:graphicFrame>
      <p:grpSp>
        <p:nvGrpSpPr>
          <p:cNvPr id="2" name="Group 1"/>
          <p:cNvGrpSpPr/>
          <p:nvPr/>
        </p:nvGrpSpPr>
        <p:grpSpPr>
          <a:xfrm>
            <a:off x="3587448" y="6192937"/>
            <a:ext cx="4954586" cy="153888"/>
            <a:chOff x="1861247" y="6192937"/>
            <a:chExt cx="4954586" cy="153888"/>
          </a:xfrm>
        </p:grpSpPr>
        <p:sp>
          <p:nvSpPr>
            <p:cNvPr id="27" name="Rectangle 47"/>
            <p:cNvSpPr>
              <a:spLocks noChangeArrowheads="1"/>
            </p:cNvSpPr>
            <p:nvPr/>
          </p:nvSpPr>
          <p:spPr bwMode="auto">
            <a:xfrm>
              <a:off x="1861247" y="6197650"/>
              <a:ext cx="133350" cy="144463"/>
            </a:xfrm>
            <a:prstGeom prst="rect">
              <a:avLst/>
            </a:prstGeom>
            <a:solidFill>
              <a:schemeClr val="tx2"/>
            </a:solidFill>
            <a:ln w="12700" algn="ctr">
              <a:noFill/>
              <a:miter lim="800000"/>
              <a:headEnd/>
              <a:tailEnd/>
            </a:ln>
          </p:spPr>
          <p:txBody>
            <a:bodyPr wrap="square" lIns="36000" tIns="36000" rIns="36000" bIns="36000" anchor="ctr"/>
            <a:lstStyle/>
            <a:p>
              <a:pPr algn="ctr"/>
              <a:endParaRPr lang="en-US" sz="1000" dirty="0">
                <a:solidFill>
                  <a:schemeClr val="bg1"/>
                </a:solidFill>
              </a:endParaRPr>
            </a:p>
          </p:txBody>
        </p:sp>
        <p:sp>
          <p:nvSpPr>
            <p:cNvPr id="28" name="Text Box 48"/>
            <p:cNvSpPr txBox="1">
              <a:spLocks noChangeArrowheads="1"/>
            </p:cNvSpPr>
            <p:nvPr/>
          </p:nvSpPr>
          <p:spPr bwMode="auto">
            <a:xfrm>
              <a:off x="3863084" y="6192937"/>
              <a:ext cx="1479572"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Steering committee meeting</a:t>
              </a:r>
            </a:p>
          </p:txBody>
        </p:sp>
        <p:sp>
          <p:nvSpPr>
            <p:cNvPr id="29" name="Rectangle 49"/>
            <p:cNvSpPr>
              <a:spLocks noChangeArrowheads="1"/>
            </p:cNvSpPr>
            <p:nvPr/>
          </p:nvSpPr>
          <p:spPr bwMode="auto">
            <a:xfrm>
              <a:off x="3690047" y="6197650"/>
              <a:ext cx="133350" cy="144463"/>
            </a:xfrm>
            <a:prstGeom prst="rect">
              <a:avLst/>
            </a:prstGeom>
            <a:solidFill>
              <a:schemeClr val="accent2"/>
            </a:solidFill>
            <a:ln w="12700" algn="ctr">
              <a:noFill/>
              <a:miter lim="800000"/>
              <a:headEnd/>
              <a:tailEnd/>
            </a:ln>
          </p:spPr>
          <p:txBody>
            <a:bodyPr wrap="square" lIns="36000" tIns="36000" rIns="36000" bIns="36000" anchor="ctr"/>
            <a:lstStyle/>
            <a:p>
              <a:pPr algn="ctr"/>
              <a:endParaRPr lang="en-US" sz="1000" dirty="0">
                <a:solidFill>
                  <a:schemeClr val="bg1"/>
                </a:solidFill>
                <a:ea typeface="ＭＳ Ｐゴシック" charset="-128"/>
              </a:endParaRPr>
            </a:p>
          </p:txBody>
        </p:sp>
        <p:sp>
          <p:nvSpPr>
            <p:cNvPr id="30" name="Rectangle 50"/>
            <p:cNvSpPr>
              <a:spLocks noChangeArrowheads="1"/>
            </p:cNvSpPr>
            <p:nvPr/>
          </p:nvSpPr>
          <p:spPr bwMode="auto">
            <a:xfrm>
              <a:off x="5874329" y="6197650"/>
              <a:ext cx="133350" cy="144463"/>
            </a:xfrm>
            <a:prstGeom prst="rect">
              <a:avLst/>
            </a:prstGeom>
            <a:solidFill>
              <a:schemeClr val="accent3"/>
            </a:solidFill>
            <a:ln w="12700" algn="ctr">
              <a:noFill/>
              <a:miter lim="800000"/>
              <a:headEnd/>
              <a:tailEnd/>
            </a:ln>
          </p:spPr>
          <p:txBody>
            <a:bodyPr wrap="square" lIns="36000" tIns="36000" rIns="36000" bIns="36000" anchor="ctr"/>
            <a:lstStyle/>
            <a:p>
              <a:pPr algn="ctr">
                <a:defRPr/>
              </a:pPr>
              <a:endParaRPr lang="en-US" sz="1000" dirty="0">
                <a:solidFill>
                  <a:schemeClr val="bg1"/>
                </a:solidFill>
              </a:endParaRPr>
            </a:p>
          </p:txBody>
        </p:sp>
        <p:sp>
          <p:nvSpPr>
            <p:cNvPr id="31" name="Text Box 51"/>
            <p:cNvSpPr txBox="1">
              <a:spLocks noChangeArrowheads="1"/>
            </p:cNvSpPr>
            <p:nvPr/>
          </p:nvSpPr>
          <p:spPr bwMode="auto">
            <a:xfrm>
              <a:off x="6049598" y="6192937"/>
              <a:ext cx="766235"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Board meeting</a:t>
              </a:r>
            </a:p>
          </p:txBody>
        </p:sp>
        <p:sp>
          <p:nvSpPr>
            <p:cNvPr id="32" name="Text Box 184"/>
            <p:cNvSpPr txBox="1">
              <a:spLocks noChangeArrowheads="1"/>
            </p:cNvSpPr>
            <p:nvPr/>
          </p:nvSpPr>
          <p:spPr bwMode="auto">
            <a:xfrm>
              <a:off x="2026347" y="6192937"/>
              <a:ext cx="1231106"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Working group meeting</a:t>
              </a:r>
            </a:p>
          </p:txBody>
        </p:sp>
      </p:grpSp>
    </p:spTree>
    <p:extLst>
      <p:ext uri="{BB962C8B-B14F-4D97-AF65-F5344CB8AC3E}">
        <p14:creationId xmlns:p14="http://schemas.microsoft.com/office/powerpoint/2010/main" val="2043350192"/>
      </p:ext>
    </p:extLst>
  </p:cSld>
  <p:clrMapOvr>
    <a:masterClrMapping/>
  </p:clrMapOvr>
  <p:transition>
    <p:fade/>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First day of the month is Friday, Saturday or Sunday</a:t>
            </a:r>
          </a:p>
        </p:txBody>
      </p:sp>
      <p:sp>
        <p:nvSpPr>
          <p:cNvPr id="834561" name="Title 1"/>
          <p:cNvSpPr>
            <a:spLocks noGrp="1"/>
          </p:cNvSpPr>
          <p:nvPr>
            <p:ph type="title"/>
          </p:nvPr>
        </p:nvSpPr>
        <p:spPr/>
        <p:txBody>
          <a:bodyPr/>
          <a:lstStyle/>
          <a:p>
            <a:r>
              <a:rPr lang="en-US" altLang="ja-JP" dirty="0"/>
              <a:t>Calendars</a:t>
            </a:r>
            <a:endParaRPr lang="en-US" sz="2000" dirty="0">
              <a:solidFill>
                <a:schemeClr val="tx2"/>
              </a:solidFill>
            </a:endParaRPr>
          </a:p>
        </p:txBody>
      </p:sp>
      <p:graphicFrame>
        <p:nvGraphicFramePr>
          <p:cNvPr id="6" name="Group 8"/>
          <p:cNvGraphicFramePr>
            <a:graphicFrameLocks noGrp="1"/>
          </p:cNvGraphicFramePr>
          <p:nvPr>
            <p:extLst>
              <p:ext uri="{D42A27DB-BD31-4B8C-83A1-F6EECF244321}">
                <p14:modId xmlns:p14="http://schemas.microsoft.com/office/powerpoint/2010/main" val="4149111644"/>
              </p:ext>
            </p:extLst>
          </p:nvPr>
        </p:nvGraphicFramePr>
        <p:xfrm>
          <a:off x="1881487" y="1602688"/>
          <a:ext cx="4114799" cy="2162178"/>
        </p:xfrm>
        <a:graphic>
          <a:graphicData uri="http://schemas.openxmlformats.org/drawingml/2006/table">
            <a:tbl>
              <a:tblPr/>
              <a:tblGrid>
                <a:gridCol w="813095">
                  <a:extLst>
                    <a:ext uri="{9D8B030D-6E8A-4147-A177-3AD203B41FA5}">
                      <a16:colId xmlns:a16="http://schemas.microsoft.com/office/drawing/2014/main" val="20000"/>
                    </a:ext>
                  </a:extLst>
                </a:gridCol>
                <a:gridCol w="833781">
                  <a:extLst>
                    <a:ext uri="{9D8B030D-6E8A-4147-A177-3AD203B41FA5}">
                      <a16:colId xmlns:a16="http://schemas.microsoft.com/office/drawing/2014/main" val="20001"/>
                    </a:ext>
                  </a:extLst>
                </a:gridCol>
                <a:gridCol w="821050">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800" b="0" i="0" u="none" strike="noStrike" cap="none" normalizeH="0" baseline="0" dirty="0">
                          <a:ln>
                            <a:noFill/>
                          </a:ln>
                          <a:solidFill>
                            <a:schemeClr val="tx1"/>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5"/>
                  </a:ext>
                </a:extLst>
              </a:tr>
            </a:tbl>
          </a:graphicData>
        </a:graphic>
      </p:graphicFrame>
      <p:graphicFrame>
        <p:nvGraphicFramePr>
          <p:cNvPr id="7" name="Group 53"/>
          <p:cNvGraphicFramePr>
            <a:graphicFrameLocks noGrp="1"/>
          </p:cNvGraphicFramePr>
          <p:nvPr>
            <p:extLst>
              <p:ext uri="{D42A27DB-BD31-4B8C-83A1-F6EECF244321}">
                <p14:modId xmlns:p14="http://schemas.microsoft.com/office/powerpoint/2010/main" val="3021345236"/>
              </p:ext>
            </p:extLst>
          </p:nvPr>
        </p:nvGraphicFramePr>
        <p:xfrm>
          <a:off x="6184858" y="1602688"/>
          <a:ext cx="4114800" cy="2162178"/>
        </p:xfrm>
        <a:graphic>
          <a:graphicData uri="http://schemas.openxmlformats.org/drawingml/2006/table">
            <a:tbl>
              <a:tblPr/>
              <a:tblGrid>
                <a:gridCol w="813410">
                  <a:extLst>
                    <a:ext uri="{9D8B030D-6E8A-4147-A177-3AD203B41FA5}">
                      <a16:colId xmlns:a16="http://schemas.microsoft.com/office/drawing/2014/main" val="20000"/>
                    </a:ext>
                  </a:extLst>
                </a:gridCol>
                <a:gridCol w="832512">
                  <a:extLst>
                    <a:ext uri="{9D8B030D-6E8A-4147-A177-3AD203B41FA5}">
                      <a16:colId xmlns:a16="http://schemas.microsoft.com/office/drawing/2014/main" val="20001"/>
                    </a:ext>
                  </a:extLst>
                </a:gridCol>
                <a:gridCol w="822959">
                  <a:extLst>
                    <a:ext uri="{9D8B030D-6E8A-4147-A177-3AD203B41FA5}">
                      <a16:colId xmlns:a16="http://schemas.microsoft.com/office/drawing/2014/main" val="20002"/>
                    </a:ext>
                  </a:extLst>
                </a:gridCol>
                <a:gridCol w="822960">
                  <a:extLst>
                    <a:ext uri="{9D8B030D-6E8A-4147-A177-3AD203B41FA5}">
                      <a16:colId xmlns:a16="http://schemas.microsoft.com/office/drawing/2014/main" val="20003"/>
                    </a:ext>
                  </a:extLst>
                </a:gridCol>
                <a:gridCol w="822959">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800" b="0" i="0" u="none" strike="noStrike" cap="none" normalizeH="0" baseline="0" dirty="0">
                          <a:ln>
                            <a:noFill/>
                          </a:ln>
                          <a:solidFill>
                            <a:schemeClr val="tx1"/>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800" b="0" i="0" u="none" strike="noStrike" cap="none" normalizeH="0" baseline="0" dirty="0">
                          <a:ln>
                            <a:noFill/>
                          </a:ln>
                          <a:solidFill>
                            <a:schemeClr val="tx1"/>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2"/>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8" name="Group 97"/>
          <p:cNvGraphicFramePr>
            <a:graphicFrameLocks noGrp="1"/>
          </p:cNvGraphicFramePr>
          <p:nvPr>
            <p:extLst>
              <p:ext uri="{D42A27DB-BD31-4B8C-83A1-F6EECF244321}">
                <p14:modId xmlns:p14="http://schemas.microsoft.com/office/powerpoint/2010/main" val="2052562037"/>
              </p:ext>
            </p:extLst>
          </p:nvPr>
        </p:nvGraphicFramePr>
        <p:xfrm>
          <a:off x="1881487" y="3939489"/>
          <a:ext cx="4114799" cy="2162178"/>
        </p:xfrm>
        <a:graphic>
          <a:graphicData uri="http://schemas.openxmlformats.org/drawingml/2006/table">
            <a:tbl>
              <a:tblPr/>
              <a:tblGrid>
                <a:gridCol w="813095">
                  <a:extLst>
                    <a:ext uri="{9D8B030D-6E8A-4147-A177-3AD203B41FA5}">
                      <a16:colId xmlns:a16="http://schemas.microsoft.com/office/drawing/2014/main" val="20000"/>
                    </a:ext>
                  </a:extLst>
                </a:gridCol>
                <a:gridCol w="833781">
                  <a:extLst>
                    <a:ext uri="{9D8B030D-6E8A-4147-A177-3AD203B41FA5}">
                      <a16:colId xmlns:a16="http://schemas.microsoft.com/office/drawing/2014/main" val="20001"/>
                    </a:ext>
                  </a:extLst>
                </a:gridCol>
                <a:gridCol w="821050">
                  <a:extLst>
                    <a:ext uri="{9D8B030D-6E8A-4147-A177-3AD203B41FA5}">
                      <a16:colId xmlns:a16="http://schemas.microsoft.com/office/drawing/2014/main" val="20002"/>
                    </a:ext>
                  </a:extLst>
                </a:gridCol>
                <a:gridCol w="824232">
                  <a:extLst>
                    <a:ext uri="{9D8B030D-6E8A-4147-A177-3AD203B41FA5}">
                      <a16:colId xmlns:a16="http://schemas.microsoft.com/office/drawing/2014/main" val="20003"/>
                    </a:ext>
                  </a:extLst>
                </a:gridCol>
                <a:gridCol w="822641">
                  <a:extLst>
                    <a:ext uri="{9D8B030D-6E8A-4147-A177-3AD203B41FA5}">
                      <a16:colId xmlns:a16="http://schemas.microsoft.com/office/drawing/2014/main" val="20004"/>
                    </a:ext>
                  </a:extLst>
                </a:gridCol>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1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chemeClr val="bg1"/>
                          </a:solidFill>
                          <a:effectLst/>
                          <a:latin typeface="+mn-lt"/>
                        </a:rPr>
                        <a:t>23</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4</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27</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4"/>
                  </a:ext>
                </a:extLst>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a:ln>
                            <a:noFill/>
                          </a:ln>
                          <a:solidFill>
                            <a:schemeClr val="bg1"/>
                          </a:solidFill>
                          <a:effectLst/>
                          <a:latin typeface="+mn-lt"/>
                        </a:rPr>
                        <a:t>30</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a:ln>
                            <a:noFill/>
                          </a:ln>
                          <a:solidFill>
                            <a:schemeClr val="bg1"/>
                          </a:solidFill>
                          <a:effectLst/>
                          <a:latin typeface="+mn-lt"/>
                        </a:rPr>
                        <a:t>31</a:t>
                      </a:r>
                    </a:p>
                  </a:txBody>
                  <a:tcPr marL="36000" marR="36000"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a:ln>
                          <a:noFill/>
                        </a:ln>
                        <a:solidFill>
                          <a:schemeClr val="tx1"/>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pSp>
        <p:nvGrpSpPr>
          <p:cNvPr id="13" name="Group 12"/>
          <p:cNvGrpSpPr/>
          <p:nvPr/>
        </p:nvGrpSpPr>
        <p:grpSpPr>
          <a:xfrm>
            <a:off x="3587448" y="6192937"/>
            <a:ext cx="4954586" cy="153888"/>
            <a:chOff x="1861247" y="6192937"/>
            <a:chExt cx="4954586" cy="153888"/>
          </a:xfrm>
        </p:grpSpPr>
        <p:sp>
          <p:nvSpPr>
            <p:cNvPr id="14" name="Rectangle 47"/>
            <p:cNvSpPr>
              <a:spLocks noChangeArrowheads="1"/>
            </p:cNvSpPr>
            <p:nvPr/>
          </p:nvSpPr>
          <p:spPr bwMode="auto">
            <a:xfrm>
              <a:off x="1861247" y="6197650"/>
              <a:ext cx="133350" cy="144463"/>
            </a:xfrm>
            <a:prstGeom prst="rect">
              <a:avLst/>
            </a:prstGeom>
            <a:solidFill>
              <a:schemeClr val="tx2"/>
            </a:solidFill>
            <a:ln w="12700" algn="ctr">
              <a:noFill/>
              <a:miter lim="800000"/>
              <a:headEnd/>
              <a:tailEnd/>
            </a:ln>
          </p:spPr>
          <p:txBody>
            <a:bodyPr wrap="square" lIns="36000" tIns="36000" rIns="36000" bIns="36000" anchor="ctr"/>
            <a:lstStyle/>
            <a:p>
              <a:pPr algn="ctr"/>
              <a:endParaRPr lang="en-US" sz="1000" dirty="0">
                <a:solidFill>
                  <a:schemeClr val="bg1"/>
                </a:solidFill>
              </a:endParaRPr>
            </a:p>
          </p:txBody>
        </p:sp>
        <p:sp>
          <p:nvSpPr>
            <p:cNvPr id="15" name="Text Box 48"/>
            <p:cNvSpPr txBox="1">
              <a:spLocks noChangeArrowheads="1"/>
            </p:cNvSpPr>
            <p:nvPr/>
          </p:nvSpPr>
          <p:spPr bwMode="auto">
            <a:xfrm>
              <a:off x="3863084" y="6192937"/>
              <a:ext cx="1479572"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Steering committee meeting</a:t>
              </a:r>
            </a:p>
          </p:txBody>
        </p:sp>
        <p:sp>
          <p:nvSpPr>
            <p:cNvPr id="22" name="Rectangle 49"/>
            <p:cNvSpPr>
              <a:spLocks noChangeArrowheads="1"/>
            </p:cNvSpPr>
            <p:nvPr/>
          </p:nvSpPr>
          <p:spPr bwMode="auto">
            <a:xfrm>
              <a:off x="3690047" y="6197650"/>
              <a:ext cx="133350" cy="144463"/>
            </a:xfrm>
            <a:prstGeom prst="rect">
              <a:avLst/>
            </a:prstGeom>
            <a:solidFill>
              <a:schemeClr val="accent2"/>
            </a:solidFill>
            <a:ln w="12700" algn="ctr">
              <a:noFill/>
              <a:miter lim="800000"/>
              <a:headEnd/>
              <a:tailEnd/>
            </a:ln>
          </p:spPr>
          <p:txBody>
            <a:bodyPr wrap="square" lIns="36000" tIns="36000" rIns="36000" bIns="36000" anchor="ctr"/>
            <a:lstStyle/>
            <a:p>
              <a:pPr algn="ctr"/>
              <a:endParaRPr lang="en-US" sz="1000" dirty="0">
                <a:solidFill>
                  <a:schemeClr val="bg1"/>
                </a:solidFill>
                <a:ea typeface="ＭＳ Ｐゴシック" charset="-128"/>
              </a:endParaRPr>
            </a:p>
          </p:txBody>
        </p:sp>
        <p:sp>
          <p:nvSpPr>
            <p:cNvPr id="23" name="Rectangle 50"/>
            <p:cNvSpPr>
              <a:spLocks noChangeArrowheads="1"/>
            </p:cNvSpPr>
            <p:nvPr/>
          </p:nvSpPr>
          <p:spPr bwMode="auto">
            <a:xfrm>
              <a:off x="5874329" y="6197650"/>
              <a:ext cx="133350" cy="144463"/>
            </a:xfrm>
            <a:prstGeom prst="rect">
              <a:avLst/>
            </a:prstGeom>
            <a:solidFill>
              <a:schemeClr val="accent3"/>
            </a:solidFill>
            <a:ln w="12700" algn="ctr">
              <a:noFill/>
              <a:miter lim="800000"/>
              <a:headEnd/>
              <a:tailEnd/>
            </a:ln>
          </p:spPr>
          <p:txBody>
            <a:bodyPr wrap="square" lIns="36000" tIns="36000" rIns="36000" bIns="36000" anchor="ctr"/>
            <a:lstStyle/>
            <a:p>
              <a:pPr algn="ctr">
                <a:defRPr/>
              </a:pPr>
              <a:endParaRPr lang="en-US" sz="1000" dirty="0">
                <a:solidFill>
                  <a:schemeClr val="bg1"/>
                </a:solidFill>
              </a:endParaRPr>
            </a:p>
          </p:txBody>
        </p:sp>
        <p:sp>
          <p:nvSpPr>
            <p:cNvPr id="24" name="Text Box 51"/>
            <p:cNvSpPr txBox="1">
              <a:spLocks noChangeArrowheads="1"/>
            </p:cNvSpPr>
            <p:nvPr/>
          </p:nvSpPr>
          <p:spPr bwMode="auto">
            <a:xfrm>
              <a:off x="6049598" y="6192937"/>
              <a:ext cx="766235"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Board meeting</a:t>
              </a:r>
            </a:p>
          </p:txBody>
        </p:sp>
        <p:sp>
          <p:nvSpPr>
            <p:cNvPr id="25" name="Text Box 184"/>
            <p:cNvSpPr txBox="1">
              <a:spLocks noChangeArrowheads="1"/>
            </p:cNvSpPr>
            <p:nvPr/>
          </p:nvSpPr>
          <p:spPr bwMode="auto">
            <a:xfrm>
              <a:off x="2026347" y="6192937"/>
              <a:ext cx="1231106"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Working group meeting</a:t>
              </a:r>
            </a:p>
          </p:txBody>
        </p:sp>
      </p:grpSp>
    </p:spTree>
    <p:extLst>
      <p:ext uri="{BB962C8B-B14F-4D97-AF65-F5344CB8AC3E}">
        <p14:creationId xmlns:p14="http://schemas.microsoft.com/office/powerpoint/2010/main" val="261663664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Single color highlight</a:t>
            </a:r>
          </a:p>
        </p:txBody>
      </p:sp>
      <p:sp>
        <p:nvSpPr>
          <p:cNvPr id="3" name="Title 2"/>
          <p:cNvSpPr>
            <a:spLocks noGrp="1"/>
          </p:cNvSpPr>
          <p:nvPr>
            <p:ph type="title"/>
          </p:nvPr>
        </p:nvSpPr>
        <p:spPr/>
        <p:txBody>
          <a:bodyPr/>
          <a:lstStyle/>
          <a:p>
            <a:r>
              <a:rPr lang="en-US"/>
              <a:t>Flow table</a:t>
            </a:r>
            <a:endParaRPr lang="en-US" dirty="0"/>
          </a:p>
        </p:txBody>
      </p:sp>
      <p:graphicFrame>
        <p:nvGraphicFramePr>
          <p:cNvPr id="14" name="Table 13"/>
          <p:cNvGraphicFramePr>
            <a:graphicFrameLocks noGrp="1"/>
          </p:cNvGraphicFramePr>
          <p:nvPr>
            <p:extLst>
              <p:ext uri="{D42A27DB-BD31-4B8C-83A1-F6EECF244321}">
                <p14:modId xmlns:p14="http://schemas.microsoft.com/office/powerpoint/2010/main" val="3089002811"/>
              </p:ext>
            </p:extLst>
          </p:nvPr>
        </p:nvGraphicFramePr>
        <p:xfrm>
          <a:off x="501651" y="2505400"/>
          <a:ext cx="11188698" cy="2990525"/>
        </p:xfrm>
        <a:graphic>
          <a:graphicData uri="http://schemas.openxmlformats.org/drawingml/2006/table">
            <a:tbl>
              <a:tblPr>
                <a:tableStyleId>{5C22544A-7EE6-4342-B048-85BDC9FD1C3A}</a:tableStyleId>
              </a:tblPr>
              <a:tblGrid>
                <a:gridCol w="2167246">
                  <a:extLst>
                    <a:ext uri="{9D8B030D-6E8A-4147-A177-3AD203B41FA5}">
                      <a16:colId xmlns:a16="http://schemas.microsoft.com/office/drawing/2014/main" val="20000"/>
                    </a:ext>
                  </a:extLst>
                </a:gridCol>
                <a:gridCol w="2255363">
                  <a:extLst>
                    <a:ext uri="{9D8B030D-6E8A-4147-A177-3AD203B41FA5}">
                      <a16:colId xmlns:a16="http://schemas.microsoft.com/office/drawing/2014/main" val="20001"/>
                    </a:ext>
                  </a:extLst>
                </a:gridCol>
                <a:gridCol w="2255363">
                  <a:extLst>
                    <a:ext uri="{9D8B030D-6E8A-4147-A177-3AD203B41FA5}">
                      <a16:colId xmlns:a16="http://schemas.microsoft.com/office/drawing/2014/main" val="20002"/>
                    </a:ext>
                  </a:extLst>
                </a:gridCol>
                <a:gridCol w="2255363">
                  <a:extLst>
                    <a:ext uri="{9D8B030D-6E8A-4147-A177-3AD203B41FA5}">
                      <a16:colId xmlns:a16="http://schemas.microsoft.com/office/drawing/2014/main" val="20003"/>
                    </a:ext>
                  </a:extLst>
                </a:gridCol>
                <a:gridCol w="2255363">
                  <a:extLst>
                    <a:ext uri="{9D8B030D-6E8A-4147-A177-3AD203B41FA5}">
                      <a16:colId xmlns:a16="http://schemas.microsoft.com/office/drawing/2014/main" val="20004"/>
                    </a:ext>
                  </a:extLst>
                </a:gridCol>
              </a:tblGrid>
              <a:tr h="598105">
                <a:tc>
                  <a:txBody>
                    <a:bodyPr/>
                    <a:lstStyle/>
                    <a:p>
                      <a:pPr marL="0" indent="0">
                        <a:spcBef>
                          <a:spcPts val="300"/>
                        </a:spcBef>
                        <a:buFont typeface="Arial" panose="020B0604020202020204" pitchFamily="34" charset="0"/>
                        <a:buNone/>
                      </a:pPr>
                      <a:r>
                        <a:rPr lang="en-US" sz="1300" b="0" dirty="0">
                          <a:solidFill>
                            <a:schemeClr val="tx1"/>
                          </a:solidFill>
                          <a:latin typeface="+mn-lt"/>
                        </a:rPr>
                        <a:t>Activity #1</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0"/>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1"/>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3</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2"/>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3"/>
                  </a:ext>
                </a:extLst>
              </a:tr>
              <a:tr h="598105">
                <a:tc>
                  <a:txBody>
                    <a:bodyPr/>
                    <a:lstStyle/>
                    <a:p>
                      <a:pPr marL="0" indent="0">
                        <a:spcBef>
                          <a:spcPts val="300"/>
                        </a:spcBef>
                        <a:buFont typeface="Arial" panose="020B0604020202020204" pitchFamily="34" charset="0"/>
                        <a:buNone/>
                      </a:pPr>
                      <a:r>
                        <a:rPr lang="en-US" sz="1300" b="0" dirty="0">
                          <a:solidFill>
                            <a:schemeClr val="tx1"/>
                          </a:solidFill>
                          <a:latin typeface="+mn-lt"/>
                        </a:rPr>
                        <a:t>Activity #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20" name="Text Placeholder 14"/>
          <p:cNvSpPr txBox="1">
            <a:spLocks/>
          </p:cNvSpPr>
          <p:nvPr/>
        </p:nvSpPr>
        <p:spPr>
          <a:xfrm>
            <a:off x="501648" y="1700214"/>
            <a:ext cx="9770353" cy="412332"/>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300" dirty="0"/>
              <a:t>Table title runs here</a:t>
            </a:r>
          </a:p>
        </p:txBody>
      </p:sp>
      <p:grpSp>
        <p:nvGrpSpPr>
          <p:cNvPr id="11" name="Group 10">
            <a:extLst>
              <a:ext uri="{FF2B5EF4-FFF2-40B4-BE49-F238E27FC236}">
                <a16:creationId xmlns:a16="http://schemas.microsoft.com/office/drawing/2014/main" id="{C3EC85D5-E36A-4C76-8CA6-27F0E3DFCC8C}"/>
              </a:ext>
            </a:extLst>
          </p:cNvPr>
          <p:cNvGrpSpPr/>
          <p:nvPr/>
        </p:nvGrpSpPr>
        <p:grpSpPr>
          <a:xfrm>
            <a:off x="2395931" y="1916570"/>
            <a:ext cx="9294421" cy="587828"/>
            <a:chOff x="1954696" y="1965706"/>
            <a:chExt cx="6819162" cy="548640"/>
          </a:xfrm>
        </p:grpSpPr>
        <p:sp>
          <p:nvSpPr>
            <p:cNvPr id="16" name="Pentagon 15">
              <a:extLst>
                <a:ext uri="{FF2B5EF4-FFF2-40B4-BE49-F238E27FC236}">
                  <a16:creationId xmlns:a16="http://schemas.microsoft.com/office/drawing/2014/main" id="{FD1018F8-194F-4D42-91AB-2023A37C1C8C}"/>
                </a:ext>
              </a:extLst>
            </p:cNvPr>
            <p:cNvSpPr/>
            <p:nvPr/>
          </p:nvSpPr>
          <p:spPr>
            <a:xfrm>
              <a:off x="1954696" y="1965706"/>
              <a:ext cx="1828800" cy="548640"/>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bg1"/>
                  </a:solidFill>
                </a:rPr>
                <a:t>Name of phase</a:t>
              </a:r>
            </a:p>
          </p:txBody>
        </p:sp>
        <p:sp>
          <p:nvSpPr>
            <p:cNvPr id="18" name="Chevron 17">
              <a:extLst>
                <a:ext uri="{FF2B5EF4-FFF2-40B4-BE49-F238E27FC236}">
                  <a16:creationId xmlns:a16="http://schemas.microsoft.com/office/drawing/2014/main" id="{A53AE81E-CCA6-42C1-A4B3-3BFAD64233C2}"/>
                </a:ext>
              </a:extLst>
            </p:cNvPr>
            <p:cNvSpPr/>
            <p:nvPr/>
          </p:nvSpPr>
          <p:spPr>
            <a:xfrm>
              <a:off x="3618150" y="1965706"/>
              <a:ext cx="1828800" cy="548640"/>
            </a:xfrm>
            <a:prstGeom prst="chevron">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bg1"/>
                  </a:solidFill>
                </a:rPr>
                <a:t>Name of phase</a:t>
              </a:r>
            </a:p>
          </p:txBody>
        </p:sp>
        <p:sp>
          <p:nvSpPr>
            <p:cNvPr id="19" name="Chevron 18">
              <a:extLst>
                <a:ext uri="{FF2B5EF4-FFF2-40B4-BE49-F238E27FC236}">
                  <a16:creationId xmlns:a16="http://schemas.microsoft.com/office/drawing/2014/main" id="{74340B32-650C-4B5B-B7BA-AD2ED00EF1D8}"/>
                </a:ext>
              </a:extLst>
            </p:cNvPr>
            <p:cNvSpPr/>
            <p:nvPr/>
          </p:nvSpPr>
          <p:spPr>
            <a:xfrm>
              <a:off x="5281604" y="1965706"/>
              <a:ext cx="1828800" cy="548640"/>
            </a:xfrm>
            <a:prstGeom prst="chevron">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bg1"/>
                  </a:solidFill>
                </a:rPr>
                <a:t>Name of phase</a:t>
              </a:r>
            </a:p>
          </p:txBody>
        </p:sp>
        <p:sp>
          <p:nvSpPr>
            <p:cNvPr id="21" name="Chevron 24">
              <a:extLst>
                <a:ext uri="{FF2B5EF4-FFF2-40B4-BE49-F238E27FC236}">
                  <a16:creationId xmlns:a16="http://schemas.microsoft.com/office/drawing/2014/main" id="{DCD89596-EA7B-424C-A91F-2884A0AEB17E}"/>
                </a:ext>
              </a:extLst>
            </p:cNvPr>
            <p:cNvSpPr/>
            <p:nvPr/>
          </p:nvSpPr>
          <p:spPr>
            <a:xfrm>
              <a:off x="6945058" y="1965706"/>
              <a:ext cx="1828800" cy="548640"/>
            </a:xfrm>
            <a:prstGeom prst="chevron">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bg1"/>
                  </a:solidFill>
                </a:rPr>
                <a:t>Name of phase</a:t>
              </a:r>
            </a:p>
          </p:txBody>
        </p:sp>
      </p:grpSp>
    </p:spTree>
    <p:extLst>
      <p:ext uri="{BB962C8B-B14F-4D97-AF65-F5344CB8AC3E}">
        <p14:creationId xmlns:p14="http://schemas.microsoft.com/office/powerpoint/2010/main" val="2506705745"/>
      </p:ext>
    </p:extLst>
  </p:cSld>
  <p:clrMapOvr>
    <a:masterClrMapping/>
  </p:clrMapOvr>
  <p:transition>
    <p:fade/>
  </p:transition>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C4D6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Illustrative graphics, charts and diagrams</a:t>
            </a:r>
            <a:endParaRPr lang="en-GB" dirty="0">
              <a:solidFill>
                <a:schemeClr val="tx1"/>
              </a:solidFill>
            </a:endParaRPr>
          </a:p>
        </p:txBody>
      </p:sp>
      <p:sp>
        <p:nvSpPr>
          <p:cNvPr id="3" name="Rectangle 2">
            <a:extLst>
              <a:ext uri="{FF2B5EF4-FFF2-40B4-BE49-F238E27FC236}">
                <a16:creationId xmlns:a16="http://schemas.microsoft.com/office/drawing/2014/main" id="{F1FDC8D0-84C0-43BD-9E14-E7BC5FD7759D}"/>
              </a:ext>
            </a:extLst>
          </p:cNvPr>
          <p:cNvSpPr>
            <a:spLocks noChangeArrowheads="1"/>
          </p:cNvSpPr>
          <p:nvPr/>
        </p:nvSpPr>
        <p:spPr bwMode="auto">
          <a:xfrm>
            <a:off x="8935616" y="0"/>
            <a:ext cx="3256384" cy="853440"/>
          </a:xfrm>
          <a:prstGeom prst="rect">
            <a:avLst/>
          </a:prstGeom>
          <a:solidFill>
            <a:srgbClr val="FFCD00"/>
          </a:solidFill>
          <a:ln w="6350" algn="ctr">
            <a:noFill/>
            <a:miter lim="800000"/>
            <a:headEnd/>
            <a:tailEnd/>
          </a:ln>
        </p:spPr>
        <p:txBody>
          <a:bodyPr tIns="91440" bIns="91440">
            <a:noAutofit/>
          </a:bodyPr>
          <a:lstStyle/>
          <a:p>
            <a:pPr>
              <a:defRPr/>
            </a:pPr>
            <a:r>
              <a:rPr lang="en-US" altLang="ja-JP" sz="1000" b="1" dirty="0">
                <a:solidFill>
                  <a:sysClr val="windowText" lastClr="000000"/>
                </a:solidFill>
                <a:ea typeface="ＭＳ Ｐゴシック" pitchFamily="50" charset="-128"/>
              </a:rPr>
              <a:t>Note:</a:t>
            </a:r>
          </a:p>
          <a:p>
            <a:pPr>
              <a:defRPr/>
            </a:pPr>
            <a:r>
              <a:rPr lang="en-US" altLang="ja-JP" sz="1000" dirty="0">
                <a:solidFill>
                  <a:sysClr val="windowText" lastClr="000000"/>
                </a:solidFill>
                <a:ea typeface="ＭＳ Ｐゴシック" pitchFamily="50" charset="-128"/>
              </a:rPr>
              <a:t>Many of the following examples may include assistance from a designer. If you need graphic assistance, please contact </a:t>
            </a:r>
            <a:r>
              <a:rPr lang="en-US" altLang="ja-JP" sz="1000" dirty="0">
                <a:solidFill>
                  <a:sysClr val="windowText" lastClr="000000"/>
                </a:solidFill>
                <a:ea typeface="ＭＳ Ｐゴシック" pitchFamily="50" charset="-128"/>
                <a:hlinkClick r:id="rId2"/>
              </a:rPr>
              <a:t>CoRe Creative Services</a:t>
            </a:r>
            <a:r>
              <a:rPr lang="en-US" altLang="ja-JP" sz="1000" dirty="0">
                <a:solidFill>
                  <a:sysClr val="windowText" lastClr="000000"/>
                </a:solidFill>
                <a:ea typeface="ＭＳ Ｐゴシック" pitchFamily="50" charset="-128"/>
              </a:rPr>
              <a:t>.</a:t>
            </a:r>
          </a:p>
        </p:txBody>
      </p:sp>
    </p:spTree>
    <p:extLst>
      <p:ext uri="{BB962C8B-B14F-4D97-AF65-F5344CB8AC3E}">
        <p14:creationId xmlns:p14="http://schemas.microsoft.com/office/powerpoint/2010/main" val="307567819"/>
      </p:ext>
    </p:extLst>
  </p:cSld>
  <p:clrMapOvr>
    <a:masterClrMapping/>
  </p:clrMapOvr>
  <p:transition>
    <p:fade/>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6BAC33-0E17-A443-A36A-FE8E97916217}"/>
              </a:ext>
            </a:extLst>
          </p:cNvPr>
          <p:cNvSpPr>
            <a:spLocks noGrp="1"/>
          </p:cNvSpPr>
          <p:nvPr>
            <p:ph type="body" sz="quarter" idx="13"/>
          </p:nvPr>
        </p:nvSpPr>
        <p:spPr/>
        <p:txBody>
          <a:bodyPr/>
          <a:lstStyle/>
          <a:p>
            <a:r>
              <a:rPr lang="en-US" dirty="0"/>
              <a:t>Subtitle runs here</a:t>
            </a:r>
          </a:p>
        </p:txBody>
      </p:sp>
      <p:sp>
        <p:nvSpPr>
          <p:cNvPr id="3" name="Title 2">
            <a:extLst>
              <a:ext uri="{FF2B5EF4-FFF2-40B4-BE49-F238E27FC236}">
                <a16:creationId xmlns:a16="http://schemas.microsoft.com/office/drawing/2014/main" id="{9510A51B-281E-4DD0-BCB8-0BB86F46BBAF}"/>
              </a:ext>
            </a:extLst>
          </p:cNvPr>
          <p:cNvSpPr>
            <a:spLocks noGrp="1"/>
          </p:cNvSpPr>
          <p:nvPr>
            <p:ph type="title"/>
          </p:nvPr>
        </p:nvSpPr>
        <p:spPr/>
        <p:txBody>
          <a:bodyPr/>
          <a:lstStyle/>
          <a:p>
            <a:r>
              <a:rPr lang="en-US" dirty="0"/>
              <a:t>Agenda</a:t>
            </a:r>
            <a:br>
              <a:rPr lang="en-US" dirty="0"/>
            </a:br>
            <a:endParaRPr lang="en-US" dirty="0"/>
          </a:p>
        </p:txBody>
      </p:sp>
      <p:sp>
        <p:nvSpPr>
          <p:cNvPr id="100" name="Rectangle 5">
            <a:extLst>
              <a:ext uri="{FF2B5EF4-FFF2-40B4-BE49-F238E27FC236}">
                <a16:creationId xmlns:a16="http://schemas.microsoft.com/office/drawing/2014/main" id="{D818A44A-E511-45D4-B2D6-5461597CA302}"/>
              </a:ext>
            </a:extLst>
          </p:cNvPr>
          <p:cNvSpPr/>
          <p:nvPr/>
        </p:nvSpPr>
        <p:spPr bwMode="gray">
          <a:xfrm>
            <a:off x="9562100" y="4110074"/>
            <a:ext cx="2160000" cy="54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1" name="Rectangle 3">
            <a:extLst>
              <a:ext uri="{FF2B5EF4-FFF2-40B4-BE49-F238E27FC236}">
                <a16:creationId xmlns:a16="http://schemas.microsoft.com/office/drawing/2014/main" id="{7AA53DAB-12EB-4497-A3D2-F221665D8D86}"/>
              </a:ext>
            </a:extLst>
          </p:cNvPr>
          <p:cNvSpPr/>
          <p:nvPr/>
        </p:nvSpPr>
        <p:spPr bwMode="gray">
          <a:xfrm>
            <a:off x="2742950" y="4110074"/>
            <a:ext cx="2160000" cy="5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5" name="Rectangle 4">
            <a:extLst>
              <a:ext uri="{FF2B5EF4-FFF2-40B4-BE49-F238E27FC236}">
                <a16:creationId xmlns:a16="http://schemas.microsoft.com/office/drawing/2014/main" id="{CCCC734A-C57E-410D-B5A5-BC47B8BA63AF}"/>
              </a:ext>
            </a:extLst>
          </p:cNvPr>
          <p:cNvSpPr/>
          <p:nvPr/>
        </p:nvSpPr>
        <p:spPr bwMode="gray">
          <a:xfrm>
            <a:off x="469900" y="3763769"/>
            <a:ext cx="2160000" cy="4003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7" name="Rectangle 3">
            <a:extLst>
              <a:ext uri="{FF2B5EF4-FFF2-40B4-BE49-F238E27FC236}">
                <a16:creationId xmlns:a16="http://schemas.microsoft.com/office/drawing/2014/main" id="{3D2F90D7-A13A-4887-A373-3BE0BEC51615}"/>
              </a:ext>
            </a:extLst>
          </p:cNvPr>
          <p:cNvSpPr/>
          <p:nvPr/>
        </p:nvSpPr>
        <p:spPr bwMode="gray">
          <a:xfrm>
            <a:off x="5016000" y="4110074"/>
            <a:ext cx="2160000" cy="5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8" name="Rectangle 5">
            <a:extLst>
              <a:ext uri="{FF2B5EF4-FFF2-40B4-BE49-F238E27FC236}">
                <a16:creationId xmlns:a16="http://schemas.microsoft.com/office/drawing/2014/main" id="{29EF69E9-7F38-4B85-9F75-DB513DB8A8DA}"/>
              </a:ext>
            </a:extLst>
          </p:cNvPr>
          <p:cNvSpPr/>
          <p:nvPr/>
        </p:nvSpPr>
        <p:spPr bwMode="gray">
          <a:xfrm>
            <a:off x="7289050" y="4110074"/>
            <a:ext cx="21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0" name="Text Placeholder 3">
            <a:extLst>
              <a:ext uri="{FF2B5EF4-FFF2-40B4-BE49-F238E27FC236}">
                <a16:creationId xmlns:a16="http://schemas.microsoft.com/office/drawing/2014/main" id="{1CC600D2-1B61-42B8-A53D-A0A30767A817}"/>
              </a:ext>
            </a:extLst>
          </p:cNvPr>
          <p:cNvSpPr txBox="1">
            <a:spLocks/>
          </p:cNvSpPr>
          <p:nvPr/>
        </p:nvSpPr>
        <p:spPr bwMode="gray">
          <a:xfrm>
            <a:off x="9562100" y="3190700"/>
            <a:ext cx="2160000" cy="1823637"/>
          </a:xfrm>
          <a:prstGeom prst="rect">
            <a:avLst/>
          </a:prstGeom>
          <a:ln>
            <a:noFill/>
          </a:ln>
        </p:spPr>
        <p:txBody>
          <a:bodyPr vert="horz" lIns="0" tIns="1044000" rIns="0" bIns="0" rtlCol="0" anchor="t">
            <a:spAutoFit/>
          </a:bodyPr>
          <a:lstStyle>
            <a:defPPr>
              <a:defRPr lang="en-US"/>
            </a:defPPr>
            <a:lvl2pPr marL="0" lvl="1">
              <a:spcBef>
                <a:spcPts val="1200"/>
              </a:spcBef>
              <a:buSzPct val="100000"/>
              <a:defRPr sz="1200" b="1">
                <a:solidFill>
                  <a:schemeClr val="accent1"/>
                </a:solidFill>
              </a:defRPr>
            </a:lvl2p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53565A"/>
                </a:solidFill>
                <a:effectLst/>
                <a:uLnTx/>
                <a:uFillTx/>
                <a:ea typeface="+mn-ea"/>
                <a:cs typeface="+mn-cs"/>
              </a:rPr>
              <a:t>Heading</a:t>
            </a:r>
            <a:endParaRPr kumimoji="0" lang="en-US" sz="1200" b="0" i="0" u="none" strike="noStrike" kern="1200" cap="none" spc="0" normalizeH="0" baseline="0" noProof="0" dirty="0">
              <a:ln>
                <a:noFill/>
              </a:ln>
              <a:solidFill>
                <a:srgbClr val="53565A"/>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br>
              <a:rPr kumimoji="0" lang="en-US" sz="1200" b="0" i="0" u="none" strike="noStrike" kern="1200" cap="none" spc="0" normalizeH="0" baseline="0" noProof="0" dirty="0">
                <a:ln>
                  <a:noFill/>
                </a:ln>
                <a:solidFill>
                  <a:prstClr val="black"/>
                </a:solidFill>
                <a:effectLst/>
                <a:uLnTx/>
                <a:uFillTx/>
                <a:ea typeface="+mn-ea"/>
                <a:cs typeface="+mn-cs"/>
              </a:rPr>
            </a:b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1" name="Text Placeholder 3">
            <a:extLst>
              <a:ext uri="{FF2B5EF4-FFF2-40B4-BE49-F238E27FC236}">
                <a16:creationId xmlns:a16="http://schemas.microsoft.com/office/drawing/2014/main" id="{638C9B80-D9F8-4D8D-91B0-36D6AB20E6B8}"/>
              </a:ext>
            </a:extLst>
          </p:cNvPr>
          <p:cNvSpPr txBox="1">
            <a:spLocks/>
          </p:cNvSpPr>
          <p:nvPr/>
        </p:nvSpPr>
        <p:spPr bwMode="gray">
          <a:xfrm>
            <a:off x="2742950" y="3190700"/>
            <a:ext cx="2160000" cy="1885192"/>
          </a:xfrm>
          <a:prstGeom prst="rect">
            <a:avLst/>
          </a:prstGeom>
          <a:ln>
            <a:noFill/>
          </a:ln>
        </p:spPr>
        <p:txBody>
          <a:bodyPr vert="horz" lIns="0" tIns="1044000" rIns="0" bIns="0" rtlCol="0" anchor="t">
            <a:spAutoFit/>
          </a:bodyPr>
          <a:lstStyle>
            <a:defPPr>
              <a:defRPr lang="en-US"/>
            </a:defPPr>
            <a:lvl2pPr marL="0" lvl="1">
              <a:spcBef>
                <a:spcPts val="1200"/>
              </a:spcBef>
              <a:buSzPct val="100000"/>
              <a:defRPr sz="1200" b="1">
                <a:solidFill>
                  <a:schemeClr val="accent6">
                    <a:lumMod val="40000"/>
                    <a:lumOff val="60000"/>
                  </a:schemeClr>
                </a:solidFill>
              </a:defRPr>
            </a:lvl2p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Heading</a:t>
            </a:r>
            <a:br>
              <a:rPr kumimoji="0" lang="en-US" sz="1600" b="1" i="0" u="none" strike="noStrike" kern="1200" cap="none" spc="0" normalizeH="0" baseline="0" noProof="0" dirty="0">
                <a:ln>
                  <a:noFill/>
                </a:ln>
                <a:solidFill>
                  <a:srgbClr val="046A38"/>
                </a:solidFill>
                <a:effectLst/>
                <a:uLnTx/>
                <a:uFillTx/>
                <a:ea typeface="+mn-ea"/>
                <a:cs typeface="+mn-cs"/>
              </a:rPr>
            </a:br>
            <a:endParaRPr kumimoji="0" lang="en-US" sz="1600" b="1" i="0" u="none" strike="noStrike" kern="1200" cap="none" spc="0" normalizeH="0" baseline="0" noProof="0" dirty="0">
              <a:ln>
                <a:noFill/>
              </a:ln>
              <a:solidFill>
                <a:srgbClr val="046A38"/>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3" name="Text Placeholder 3">
            <a:extLst>
              <a:ext uri="{FF2B5EF4-FFF2-40B4-BE49-F238E27FC236}">
                <a16:creationId xmlns:a16="http://schemas.microsoft.com/office/drawing/2014/main" id="{043C274B-2C0D-4EF5-9D2D-186BA04A4A62}"/>
              </a:ext>
            </a:extLst>
          </p:cNvPr>
          <p:cNvSpPr txBox="1">
            <a:spLocks/>
          </p:cNvSpPr>
          <p:nvPr/>
        </p:nvSpPr>
        <p:spPr bwMode="gray">
          <a:xfrm>
            <a:off x="469900" y="3190700"/>
            <a:ext cx="2160000" cy="1885192"/>
          </a:xfrm>
          <a:prstGeom prst="rect">
            <a:avLst/>
          </a:prstGeom>
          <a:ln>
            <a:noFill/>
          </a:ln>
        </p:spPr>
        <p:txBody>
          <a:bodyPr vert="horz" lIns="0" tIns="1044000" rIns="0" bIns="0" rtlCol="0" anchor="t">
            <a:spAutoFit/>
          </a:body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0D8390"/>
                </a:solidFill>
                <a:effectLst/>
                <a:uLnTx/>
                <a:uFillTx/>
                <a:ea typeface="+mn-ea"/>
                <a:cs typeface="+mn-cs"/>
              </a:rPr>
              <a:t>Heading</a:t>
            </a:r>
            <a:br>
              <a:rPr kumimoji="0" lang="en-US" sz="1600" b="1" i="0" u="none" strike="noStrike" kern="1200" cap="none" spc="0" normalizeH="0" baseline="0" noProof="0" dirty="0">
                <a:ln>
                  <a:noFill/>
                </a:ln>
                <a:solidFill>
                  <a:srgbClr val="0D8390"/>
                </a:solidFill>
                <a:effectLst/>
                <a:uLnTx/>
                <a:uFillTx/>
                <a:ea typeface="+mn-ea"/>
                <a:cs typeface="+mn-cs"/>
              </a:rPr>
            </a:br>
            <a:endParaRPr kumimoji="0" lang="en-US" sz="1600" b="1" i="0" u="none" strike="noStrike" kern="1200" cap="none" spc="0" normalizeH="0" baseline="0" noProof="0" dirty="0">
              <a:ln>
                <a:noFill/>
              </a:ln>
              <a:solidFill>
                <a:srgbClr val="0D8390"/>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4" name="Text Placeholder 3">
            <a:extLst>
              <a:ext uri="{FF2B5EF4-FFF2-40B4-BE49-F238E27FC236}">
                <a16:creationId xmlns:a16="http://schemas.microsoft.com/office/drawing/2014/main" id="{27443C9F-6F38-41D1-9AF7-CF5253A53CFD}"/>
              </a:ext>
            </a:extLst>
          </p:cNvPr>
          <p:cNvSpPr txBox="1">
            <a:spLocks/>
          </p:cNvSpPr>
          <p:nvPr/>
        </p:nvSpPr>
        <p:spPr bwMode="gray">
          <a:xfrm>
            <a:off x="5016000" y="3190700"/>
            <a:ext cx="2160000" cy="1885192"/>
          </a:xfrm>
          <a:prstGeom prst="rect">
            <a:avLst/>
          </a:prstGeom>
          <a:ln>
            <a:noFill/>
          </a:ln>
        </p:spPr>
        <p:txBody>
          <a:bodyPr vert="horz" lIns="0" tIns="1044000" rIns="0" bIns="0" rtlCol="0" anchor="t">
            <a:spAutoFit/>
          </a:bodyPr>
          <a:lstStyle>
            <a:defPPr>
              <a:defRPr lang="en-US"/>
            </a:defPPr>
            <a:lvl2pPr marL="0" lvl="1">
              <a:spcBef>
                <a:spcPts val="1200"/>
              </a:spcBef>
              <a:buSzPct val="100000"/>
              <a:defRPr sz="1200" b="1">
                <a:solidFill>
                  <a:schemeClr val="accent1"/>
                </a:solidFill>
              </a:defRPr>
            </a:lvl2p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007CB0"/>
                </a:solidFill>
                <a:effectLst/>
                <a:uLnTx/>
                <a:uFillTx/>
                <a:ea typeface="+mn-ea"/>
                <a:cs typeface="+mn-cs"/>
              </a:rPr>
              <a:t>Heading</a:t>
            </a:r>
            <a:br>
              <a:rPr kumimoji="0" lang="en-US" sz="1600" b="1" i="0" u="none" strike="noStrike" kern="1200" cap="none" spc="0" normalizeH="0" baseline="0" noProof="0" dirty="0">
                <a:ln>
                  <a:noFill/>
                </a:ln>
                <a:solidFill>
                  <a:srgbClr val="007CB0"/>
                </a:solidFill>
                <a:effectLst/>
                <a:uLnTx/>
                <a:uFillTx/>
                <a:ea typeface="+mn-ea"/>
                <a:cs typeface="+mn-cs"/>
              </a:rPr>
            </a:br>
            <a:endParaRPr kumimoji="0" lang="en-US" sz="1600" b="1" i="0" u="none" strike="noStrike" kern="1200" cap="none" spc="0" normalizeH="0" baseline="0" noProof="0" dirty="0">
              <a:ln>
                <a:noFill/>
              </a:ln>
              <a:solidFill>
                <a:srgbClr val="007CB0"/>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5" name="Text Placeholder 3">
            <a:extLst>
              <a:ext uri="{FF2B5EF4-FFF2-40B4-BE49-F238E27FC236}">
                <a16:creationId xmlns:a16="http://schemas.microsoft.com/office/drawing/2014/main" id="{F92BC711-077A-4D01-94DA-7128D3D3BB6A}"/>
              </a:ext>
            </a:extLst>
          </p:cNvPr>
          <p:cNvSpPr txBox="1">
            <a:spLocks/>
          </p:cNvSpPr>
          <p:nvPr/>
        </p:nvSpPr>
        <p:spPr bwMode="gray">
          <a:xfrm>
            <a:off x="7289050" y="3190700"/>
            <a:ext cx="2160000" cy="1885192"/>
          </a:xfrm>
          <a:prstGeom prst="rect">
            <a:avLst/>
          </a:prstGeom>
          <a:ln>
            <a:noFill/>
          </a:ln>
        </p:spPr>
        <p:txBody>
          <a:bodyPr vert="horz" lIns="0" tIns="1044000" rIns="0" bIns="0" rtlCol="0" anchor="t">
            <a:spAutoFit/>
          </a:bodyPr>
          <a:lstStyle>
            <a:defPPr>
              <a:defRPr lang="en-US"/>
            </a:defPPr>
            <a:lvl2pPr marL="0" lvl="1">
              <a:spcBef>
                <a:spcPts val="1200"/>
              </a:spcBef>
              <a:buSzPct val="100000"/>
              <a:defRPr sz="1200" b="1">
                <a:solidFill>
                  <a:schemeClr val="accent1"/>
                </a:solidFill>
              </a:defRPr>
            </a:lvl2pPr>
          </a:lstStyle>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ea typeface="+mn-ea"/>
                <a:cs typeface="+mn-cs"/>
              </a:rPr>
              <a:t>Heading</a:t>
            </a:r>
            <a:br>
              <a:rPr kumimoji="0" lang="en-US" sz="1600" b="1" i="0" u="none" strike="noStrike" kern="1200" cap="none" spc="0" normalizeH="0" baseline="0" noProof="0" dirty="0">
                <a:ln>
                  <a:noFill/>
                </a:ln>
                <a:solidFill>
                  <a:srgbClr val="86BC25"/>
                </a:solidFill>
                <a:effectLst/>
                <a:uLnTx/>
                <a:uFillTx/>
                <a:ea typeface="+mn-ea"/>
                <a:cs typeface="+mn-cs"/>
              </a:rPr>
            </a:b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1" indent="0" algn="ctr" defTabSz="914400" rtl="0" eaLnBrk="1" fontAlgn="auto" latinLnBrk="0" hangingPunct="1">
              <a:lnSpc>
                <a:spcPct val="10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ext</a:t>
            </a:r>
          </a:p>
        </p:txBody>
      </p:sp>
      <p:sp>
        <p:nvSpPr>
          <p:cNvPr id="116" name="Rectangle 115">
            <a:extLst>
              <a:ext uri="{FF2B5EF4-FFF2-40B4-BE49-F238E27FC236}">
                <a16:creationId xmlns:a16="http://schemas.microsoft.com/office/drawing/2014/main" id="{D4EDFEF8-557F-49C3-A558-7FE3B642AC34}"/>
              </a:ext>
            </a:extLst>
          </p:cNvPr>
          <p:cNvSpPr/>
          <p:nvPr/>
        </p:nvSpPr>
        <p:spPr bwMode="gray">
          <a:xfrm>
            <a:off x="9135969" y="2890478"/>
            <a:ext cx="776455" cy="77889"/>
          </a:xfrm>
          <a:prstGeom prst="rect">
            <a:avLst/>
          </a:prstGeom>
          <a:gradFill>
            <a:gsLst>
              <a:gs pos="16000">
                <a:schemeClr val="accent1"/>
              </a:gs>
              <a:gs pos="83000">
                <a:schemeClr val="bg2"/>
              </a:gs>
            </a:gsLst>
            <a:lin ang="0" scaled="0"/>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19" name="Rectangle 118">
            <a:extLst>
              <a:ext uri="{FF2B5EF4-FFF2-40B4-BE49-F238E27FC236}">
                <a16:creationId xmlns:a16="http://schemas.microsoft.com/office/drawing/2014/main" id="{744FF225-4BB4-42B6-ABE2-F4E1036D3532}"/>
              </a:ext>
            </a:extLst>
          </p:cNvPr>
          <p:cNvSpPr/>
          <p:nvPr/>
        </p:nvSpPr>
        <p:spPr bwMode="gray">
          <a:xfrm>
            <a:off x="2208561" y="2890479"/>
            <a:ext cx="908821" cy="77889"/>
          </a:xfrm>
          <a:prstGeom prst="rect">
            <a:avLst/>
          </a:prstGeom>
          <a:gradFill>
            <a:gsLst>
              <a:gs pos="17000">
                <a:schemeClr val="accent5"/>
              </a:gs>
              <a:gs pos="83000">
                <a:srgbClr val="046A38"/>
              </a:gs>
            </a:gsLst>
            <a:lin ang="0" scaled="0"/>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nvGrpSpPr>
          <p:cNvPr id="120" name="Group 119">
            <a:extLst>
              <a:ext uri="{FF2B5EF4-FFF2-40B4-BE49-F238E27FC236}">
                <a16:creationId xmlns:a16="http://schemas.microsoft.com/office/drawing/2014/main" id="{63EC2A19-030D-4F6D-AAE3-0638CADC878A}"/>
              </a:ext>
            </a:extLst>
          </p:cNvPr>
          <p:cNvGrpSpPr/>
          <p:nvPr/>
        </p:nvGrpSpPr>
        <p:grpSpPr>
          <a:xfrm>
            <a:off x="708570" y="1758004"/>
            <a:ext cx="1598523" cy="2005765"/>
            <a:chOff x="2055768" y="1602865"/>
            <a:chExt cx="1598523" cy="2005765"/>
          </a:xfrm>
        </p:grpSpPr>
        <p:sp>
          <p:nvSpPr>
            <p:cNvPr id="122" name="Teardrop 121">
              <a:extLst>
                <a:ext uri="{FF2B5EF4-FFF2-40B4-BE49-F238E27FC236}">
                  <a16:creationId xmlns:a16="http://schemas.microsoft.com/office/drawing/2014/main" id="{36921185-60E3-4E47-9B80-4E6E488065D9}"/>
                </a:ext>
              </a:extLst>
            </p:cNvPr>
            <p:cNvSpPr/>
            <p:nvPr/>
          </p:nvSpPr>
          <p:spPr bwMode="gray">
            <a:xfrm rot="8100000">
              <a:off x="2103109" y="1602865"/>
              <a:ext cx="1503841" cy="1503844"/>
            </a:xfrm>
            <a:prstGeom prst="teardrop">
              <a:avLst/>
            </a:prstGeom>
            <a:solidFill>
              <a:schemeClr val="accent5"/>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23" name="Freeform 23">
              <a:extLst>
                <a:ext uri="{FF2B5EF4-FFF2-40B4-BE49-F238E27FC236}">
                  <a16:creationId xmlns:a16="http://schemas.microsoft.com/office/drawing/2014/main" id="{63543E58-773F-4ECC-AE41-B64295829B6E}"/>
                </a:ext>
              </a:extLst>
            </p:cNvPr>
            <p:cNvSpPr/>
            <p:nvPr/>
          </p:nvSpPr>
          <p:spPr bwMode="gray">
            <a:xfrm>
              <a:off x="2055768"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5"/>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25" name="Oval 124">
              <a:extLst>
                <a:ext uri="{FF2B5EF4-FFF2-40B4-BE49-F238E27FC236}">
                  <a16:creationId xmlns:a16="http://schemas.microsoft.com/office/drawing/2014/main" id="{921DCB89-68EB-4171-B7ED-C7750D1C6101}"/>
                </a:ext>
              </a:extLst>
            </p:cNvPr>
            <p:cNvSpPr/>
            <p:nvPr/>
          </p:nvSpPr>
          <p:spPr bwMode="gray">
            <a:xfrm>
              <a:off x="2303206"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grpSp>
        <p:nvGrpSpPr>
          <p:cNvPr id="126" name="Group 125">
            <a:extLst>
              <a:ext uri="{FF2B5EF4-FFF2-40B4-BE49-F238E27FC236}">
                <a16:creationId xmlns:a16="http://schemas.microsoft.com/office/drawing/2014/main" id="{A6664128-FFF9-4B21-8A4E-12599E521DD0}"/>
              </a:ext>
            </a:extLst>
          </p:cNvPr>
          <p:cNvGrpSpPr/>
          <p:nvPr/>
        </p:nvGrpSpPr>
        <p:grpSpPr>
          <a:xfrm>
            <a:off x="3046743" y="1758004"/>
            <a:ext cx="1598523" cy="2005765"/>
            <a:chOff x="3622989" y="1602865"/>
            <a:chExt cx="1598523" cy="2005765"/>
          </a:xfrm>
        </p:grpSpPr>
        <p:sp>
          <p:nvSpPr>
            <p:cNvPr id="127" name="Teardrop 126">
              <a:extLst>
                <a:ext uri="{FF2B5EF4-FFF2-40B4-BE49-F238E27FC236}">
                  <a16:creationId xmlns:a16="http://schemas.microsoft.com/office/drawing/2014/main" id="{8700C81D-8B09-45CB-9BA7-46CE17AC84C4}"/>
                </a:ext>
              </a:extLst>
            </p:cNvPr>
            <p:cNvSpPr/>
            <p:nvPr/>
          </p:nvSpPr>
          <p:spPr bwMode="gray">
            <a:xfrm rot="8100000">
              <a:off x="3670329" y="1602865"/>
              <a:ext cx="1503841" cy="1503844"/>
            </a:xfrm>
            <a:prstGeom prst="teardrop">
              <a:avLst/>
            </a:prstGeom>
            <a:solidFill>
              <a:schemeClr val="accent4"/>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046A38"/>
                </a:solidFill>
                <a:effectLst/>
                <a:uLnTx/>
                <a:uFillTx/>
                <a:latin typeface="Verdana"/>
                <a:ea typeface="+mn-ea"/>
                <a:cs typeface="+mn-cs"/>
              </a:endParaRPr>
            </a:p>
          </p:txBody>
        </p:sp>
        <p:sp>
          <p:nvSpPr>
            <p:cNvPr id="128" name="Freeform 27">
              <a:extLst>
                <a:ext uri="{FF2B5EF4-FFF2-40B4-BE49-F238E27FC236}">
                  <a16:creationId xmlns:a16="http://schemas.microsoft.com/office/drawing/2014/main" id="{3462ED85-0C05-4CE2-AE44-6035A8D1A9C4}"/>
                </a:ext>
              </a:extLst>
            </p:cNvPr>
            <p:cNvSpPr/>
            <p:nvPr/>
          </p:nvSpPr>
          <p:spPr bwMode="gray">
            <a:xfrm>
              <a:off x="3622989"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4"/>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046A38"/>
                </a:solidFill>
                <a:effectLst/>
                <a:uLnTx/>
                <a:uFillTx/>
                <a:latin typeface="Verdana"/>
                <a:ea typeface="+mn-ea"/>
                <a:cs typeface="+mn-cs"/>
              </a:endParaRPr>
            </a:p>
          </p:txBody>
        </p:sp>
        <p:sp>
          <p:nvSpPr>
            <p:cNvPr id="129" name="Oval 128">
              <a:extLst>
                <a:ext uri="{FF2B5EF4-FFF2-40B4-BE49-F238E27FC236}">
                  <a16:creationId xmlns:a16="http://schemas.microsoft.com/office/drawing/2014/main" id="{DFD0DB57-AC18-4EF1-907F-BF455E79E8D1}"/>
                </a:ext>
              </a:extLst>
            </p:cNvPr>
            <p:cNvSpPr/>
            <p:nvPr/>
          </p:nvSpPr>
          <p:spPr bwMode="gray">
            <a:xfrm>
              <a:off x="3862715"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046A38"/>
                </a:solidFill>
                <a:effectLst/>
                <a:uLnTx/>
                <a:uFillTx/>
                <a:latin typeface="Verdana"/>
                <a:ea typeface="+mn-ea"/>
                <a:cs typeface="+mn-cs"/>
              </a:endParaRPr>
            </a:p>
          </p:txBody>
        </p:sp>
      </p:grpSp>
      <p:grpSp>
        <p:nvGrpSpPr>
          <p:cNvPr id="130" name="Group 129">
            <a:extLst>
              <a:ext uri="{FF2B5EF4-FFF2-40B4-BE49-F238E27FC236}">
                <a16:creationId xmlns:a16="http://schemas.microsoft.com/office/drawing/2014/main" id="{B5416F2C-AE2C-4787-B0F9-06E24C1BCA16}"/>
              </a:ext>
            </a:extLst>
          </p:cNvPr>
          <p:cNvGrpSpPr/>
          <p:nvPr/>
        </p:nvGrpSpPr>
        <p:grpSpPr>
          <a:xfrm>
            <a:off x="5254368" y="1758004"/>
            <a:ext cx="1598523" cy="2005765"/>
            <a:chOff x="5190209" y="1602865"/>
            <a:chExt cx="1598523" cy="2005765"/>
          </a:xfrm>
        </p:grpSpPr>
        <p:sp>
          <p:nvSpPr>
            <p:cNvPr id="131" name="Teardrop 130">
              <a:extLst>
                <a:ext uri="{FF2B5EF4-FFF2-40B4-BE49-F238E27FC236}">
                  <a16:creationId xmlns:a16="http://schemas.microsoft.com/office/drawing/2014/main" id="{8DAD929B-B306-448A-8D7F-6670106F5B07}"/>
                </a:ext>
              </a:extLst>
            </p:cNvPr>
            <p:cNvSpPr/>
            <p:nvPr/>
          </p:nvSpPr>
          <p:spPr bwMode="gray">
            <a:xfrm rot="8100000">
              <a:off x="5237549" y="1602865"/>
              <a:ext cx="1503841" cy="1503844"/>
            </a:xfrm>
            <a:prstGeom prst="teardrop">
              <a:avLst/>
            </a:prstGeom>
            <a:solidFill>
              <a:schemeClr val="accent6"/>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32" name="Freeform 31">
              <a:extLst>
                <a:ext uri="{FF2B5EF4-FFF2-40B4-BE49-F238E27FC236}">
                  <a16:creationId xmlns:a16="http://schemas.microsoft.com/office/drawing/2014/main" id="{02DA98FE-67F2-4190-B846-BC71955D5DCF}"/>
                </a:ext>
              </a:extLst>
            </p:cNvPr>
            <p:cNvSpPr/>
            <p:nvPr/>
          </p:nvSpPr>
          <p:spPr bwMode="gray">
            <a:xfrm>
              <a:off x="5190209"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6"/>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34" name="Oval 133">
              <a:extLst>
                <a:ext uri="{FF2B5EF4-FFF2-40B4-BE49-F238E27FC236}">
                  <a16:creationId xmlns:a16="http://schemas.microsoft.com/office/drawing/2014/main" id="{4AB60942-A244-4F0B-8B45-012B9C782162}"/>
                </a:ext>
              </a:extLst>
            </p:cNvPr>
            <p:cNvSpPr/>
            <p:nvPr/>
          </p:nvSpPr>
          <p:spPr bwMode="gray">
            <a:xfrm>
              <a:off x="5429936"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grpSp>
        <p:nvGrpSpPr>
          <p:cNvPr id="135" name="Group 134">
            <a:extLst>
              <a:ext uri="{FF2B5EF4-FFF2-40B4-BE49-F238E27FC236}">
                <a16:creationId xmlns:a16="http://schemas.microsoft.com/office/drawing/2014/main" id="{583E8883-3086-48B1-8236-60731D417E74}"/>
              </a:ext>
            </a:extLst>
          </p:cNvPr>
          <p:cNvGrpSpPr/>
          <p:nvPr/>
        </p:nvGrpSpPr>
        <p:grpSpPr>
          <a:xfrm>
            <a:off x="7608168" y="1758004"/>
            <a:ext cx="1598523" cy="2005765"/>
            <a:chOff x="6763077" y="1602865"/>
            <a:chExt cx="1598523" cy="2005765"/>
          </a:xfrm>
        </p:grpSpPr>
        <p:sp>
          <p:nvSpPr>
            <p:cNvPr id="136" name="Teardrop 135">
              <a:extLst>
                <a:ext uri="{FF2B5EF4-FFF2-40B4-BE49-F238E27FC236}">
                  <a16:creationId xmlns:a16="http://schemas.microsoft.com/office/drawing/2014/main" id="{500582AA-607B-4C0A-9AA8-B49305A1C27A}"/>
                </a:ext>
              </a:extLst>
            </p:cNvPr>
            <p:cNvSpPr/>
            <p:nvPr/>
          </p:nvSpPr>
          <p:spPr bwMode="gray">
            <a:xfrm rot="8100000">
              <a:off x="6810418" y="1602865"/>
              <a:ext cx="1503841" cy="1503844"/>
            </a:xfrm>
            <a:prstGeom prst="teardrop">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37" name="Freeform 35">
              <a:extLst>
                <a:ext uri="{FF2B5EF4-FFF2-40B4-BE49-F238E27FC236}">
                  <a16:creationId xmlns:a16="http://schemas.microsoft.com/office/drawing/2014/main" id="{8EEC739B-9B53-49BA-94AC-06DD070756DA}"/>
                </a:ext>
              </a:extLst>
            </p:cNvPr>
            <p:cNvSpPr/>
            <p:nvPr/>
          </p:nvSpPr>
          <p:spPr bwMode="gray">
            <a:xfrm>
              <a:off x="6763077"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39" name="Oval 138">
              <a:extLst>
                <a:ext uri="{FF2B5EF4-FFF2-40B4-BE49-F238E27FC236}">
                  <a16:creationId xmlns:a16="http://schemas.microsoft.com/office/drawing/2014/main" id="{870972BF-AB98-4CC2-BB60-84903DB5CFE2}"/>
                </a:ext>
              </a:extLst>
            </p:cNvPr>
            <p:cNvSpPr/>
            <p:nvPr/>
          </p:nvSpPr>
          <p:spPr bwMode="gray">
            <a:xfrm>
              <a:off x="7007153"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grpSp>
        <p:nvGrpSpPr>
          <p:cNvPr id="140" name="Group 139">
            <a:extLst>
              <a:ext uri="{FF2B5EF4-FFF2-40B4-BE49-F238E27FC236}">
                <a16:creationId xmlns:a16="http://schemas.microsoft.com/office/drawing/2014/main" id="{2746340E-86D4-41CA-93A9-4E98D191BE05}"/>
              </a:ext>
            </a:extLst>
          </p:cNvPr>
          <p:cNvGrpSpPr/>
          <p:nvPr/>
        </p:nvGrpSpPr>
        <p:grpSpPr>
          <a:xfrm>
            <a:off x="9840416" y="1758004"/>
            <a:ext cx="1598523" cy="2005765"/>
            <a:chOff x="8355090" y="1602865"/>
            <a:chExt cx="1598523" cy="2005765"/>
          </a:xfrm>
        </p:grpSpPr>
        <p:sp>
          <p:nvSpPr>
            <p:cNvPr id="141" name="Teardrop 140">
              <a:extLst>
                <a:ext uri="{FF2B5EF4-FFF2-40B4-BE49-F238E27FC236}">
                  <a16:creationId xmlns:a16="http://schemas.microsoft.com/office/drawing/2014/main" id="{78FD4A15-BB61-4D87-9E87-382B927FB4C9}"/>
                </a:ext>
              </a:extLst>
            </p:cNvPr>
            <p:cNvSpPr/>
            <p:nvPr/>
          </p:nvSpPr>
          <p:spPr bwMode="gray">
            <a:xfrm rot="8100000">
              <a:off x="8402430" y="1602865"/>
              <a:ext cx="1503841" cy="1503844"/>
            </a:xfrm>
            <a:prstGeom prst="teardrop">
              <a:avLst/>
            </a:pr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42" name="Freeform 39">
              <a:extLst>
                <a:ext uri="{FF2B5EF4-FFF2-40B4-BE49-F238E27FC236}">
                  <a16:creationId xmlns:a16="http://schemas.microsoft.com/office/drawing/2014/main" id="{4BC9A539-3667-4BFE-9E4F-81FA02EFA619}"/>
                </a:ext>
              </a:extLst>
            </p:cNvPr>
            <p:cNvSpPr/>
            <p:nvPr/>
          </p:nvSpPr>
          <p:spPr bwMode="gray">
            <a:xfrm>
              <a:off x="8355090"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nvGrpSpPr>
            <p:cNvPr id="143" name="Group 925">
              <a:extLst>
                <a:ext uri="{FF2B5EF4-FFF2-40B4-BE49-F238E27FC236}">
                  <a16:creationId xmlns:a16="http://schemas.microsoft.com/office/drawing/2014/main" id="{E0D16D89-D72D-4F33-88DE-F94293011149}"/>
                </a:ext>
              </a:extLst>
            </p:cNvPr>
            <p:cNvGrpSpPr>
              <a:grpSpLocks noChangeAspect="1"/>
            </p:cNvGrpSpPr>
            <p:nvPr/>
          </p:nvGrpSpPr>
          <p:grpSpPr bwMode="auto">
            <a:xfrm>
              <a:off x="8797164" y="1976762"/>
              <a:ext cx="686450" cy="682877"/>
              <a:chOff x="1224" y="3504"/>
              <a:chExt cx="192" cy="191"/>
            </a:xfrm>
            <a:solidFill>
              <a:schemeClr val="accent1"/>
            </a:solidFill>
          </p:grpSpPr>
          <p:sp>
            <p:nvSpPr>
              <p:cNvPr id="145" name="Freeform 926">
                <a:extLst>
                  <a:ext uri="{FF2B5EF4-FFF2-40B4-BE49-F238E27FC236}">
                    <a16:creationId xmlns:a16="http://schemas.microsoft.com/office/drawing/2014/main" id="{790BD73C-DE12-4489-882E-13024C466361}"/>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Verdana"/>
                  <a:ea typeface="+mn-ea"/>
                  <a:cs typeface="+mn-cs"/>
                </a:endParaRPr>
              </a:p>
            </p:txBody>
          </p:sp>
          <p:sp>
            <p:nvSpPr>
              <p:cNvPr id="146" name="Freeform 927">
                <a:extLst>
                  <a:ext uri="{FF2B5EF4-FFF2-40B4-BE49-F238E27FC236}">
                    <a16:creationId xmlns:a16="http://schemas.microsoft.com/office/drawing/2014/main" id="{15FDF464-77C7-4E79-91EF-7F13541D888A}"/>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Verdana"/>
                  <a:ea typeface="+mn-ea"/>
                  <a:cs typeface="+mn-cs"/>
                </a:endParaRPr>
              </a:p>
            </p:txBody>
          </p:sp>
        </p:grpSp>
        <p:sp>
          <p:nvSpPr>
            <p:cNvPr id="144" name="Oval 143">
              <a:extLst>
                <a:ext uri="{FF2B5EF4-FFF2-40B4-BE49-F238E27FC236}">
                  <a16:creationId xmlns:a16="http://schemas.microsoft.com/office/drawing/2014/main" id="{A05F4DB7-700C-4A2E-969D-33283C120EC9}"/>
                </a:ext>
              </a:extLst>
            </p:cNvPr>
            <p:cNvSpPr/>
            <p:nvPr/>
          </p:nvSpPr>
          <p:spPr bwMode="gray">
            <a:xfrm>
              <a:off x="8591201" y="1758652"/>
              <a:ext cx="1119070" cy="111907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grpSp>
      <p:sp>
        <p:nvSpPr>
          <p:cNvPr id="147" name="Freeform 389">
            <a:extLst>
              <a:ext uri="{FF2B5EF4-FFF2-40B4-BE49-F238E27FC236}">
                <a16:creationId xmlns:a16="http://schemas.microsoft.com/office/drawing/2014/main" id="{B218BD5D-ED08-49ED-BA00-6C403F0988DA}"/>
              </a:ext>
            </a:extLst>
          </p:cNvPr>
          <p:cNvSpPr>
            <a:spLocks noEditPoints="1"/>
          </p:cNvSpPr>
          <p:nvPr/>
        </p:nvSpPr>
        <p:spPr bwMode="auto">
          <a:xfrm>
            <a:off x="3473030" y="2224038"/>
            <a:ext cx="751497" cy="525695"/>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rgbClr val="046A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8" name="Rectangle 147">
            <a:extLst>
              <a:ext uri="{FF2B5EF4-FFF2-40B4-BE49-F238E27FC236}">
                <a16:creationId xmlns:a16="http://schemas.microsoft.com/office/drawing/2014/main" id="{CA0BB8F2-9CB8-4B26-9351-D5522ADF53AB}"/>
              </a:ext>
            </a:extLst>
          </p:cNvPr>
          <p:cNvSpPr/>
          <p:nvPr/>
        </p:nvSpPr>
        <p:spPr bwMode="gray">
          <a:xfrm>
            <a:off x="0" y="2890478"/>
            <a:ext cx="783964" cy="77889"/>
          </a:xfrm>
          <a:prstGeom prst="rect">
            <a:avLst/>
          </a:prstGeom>
          <a:solidFill>
            <a:schemeClr val="accent5"/>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49" name="Rectangle 148">
            <a:extLst>
              <a:ext uri="{FF2B5EF4-FFF2-40B4-BE49-F238E27FC236}">
                <a16:creationId xmlns:a16="http://schemas.microsoft.com/office/drawing/2014/main" id="{81AB32D8-1E1F-4805-A285-6CDA13E7FA8B}"/>
              </a:ext>
            </a:extLst>
          </p:cNvPr>
          <p:cNvSpPr/>
          <p:nvPr/>
        </p:nvSpPr>
        <p:spPr bwMode="gray">
          <a:xfrm>
            <a:off x="11359700" y="2890479"/>
            <a:ext cx="843582" cy="77889"/>
          </a:xfrm>
          <a:prstGeom prst="rect">
            <a:avLst/>
          </a:pr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50" name="Rectangle 149">
            <a:extLst>
              <a:ext uri="{FF2B5EF4-FFF2-40B4-BE49-F238E27FC236}">
                <a16:creationId xmlns:a16="http://schemas.microsoft.com/office/drawing/2014/main" id="{37F4D018-52D1-43F5-90FA-FD3489D874A2}"/>
              </a:ext>
            </a:extLst>
          </p:cNvPr>
          <p:cNvSpPr/>
          <p:nvPr/>
        </p:nvSpPr>
        <p:spPr bwMode="gray">
          <a:xfrm>
            <a:off x="4574627" y="2890478"/>
            <a:ext cx="747424" cy="77889"/>
          </a:xfrm>
          <a:prstGeom prst="rect">
            <a:avLst/>
          </a:prstGeom>
          <a:gradFill>
            <a:gsLst>
              <a:gs pos="17000">
                <a:srgbClr val="046A38"/>
              </a:gs>
              <a:gs pos="83000">
                <a:schemeClr val="accent6"/>
              </a:gs>
            </a:gsLst>
            <a:lin ang="0" scaled="0"/>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51" name="Rectangle 150">
            <a:extLst>
              <a:ext uri="{FF2B5EF4-FFF2-40B4-BE49-F238E27FC236}">
                <a16:creationId xmlns:a16="http://schemas.microsoft.com/office/drawing/2014/main" id="{1B2D7A2E-05BD-40D9-B7DD-7C6514CD2561}"/>
              </a:ext>
            </a:extLst>
          </p:cNvPr>
          <p:cNvSpPr/>
          <p:nvPr/>
        </p:nvSpPr>
        <p:spPr bwMode="gray">
          <a:xfrm>
            <a:off x="6771288" y="2890478"/>
            <a:ext cx="897420" cy="77889"/>
          </a:xfrm>
          <a:prstGeom prst="rect">
            <a:avLst/>
          </a:prstGeom>
          <a:gradFill>
            <a:gsLst>
              <a:gs pos="17000">
                <a:schemeClr val="accent6"/>
              </a:gs>
              <a:gs pos="83000">
                <a:schemeClr val="accent1"/>
              </a:gs>
            </a:gsLst>
            <a:lin ang="0" scaled="0"/>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err="1">
              <a:ln>
                <a:noFill/>
              </a:ln>
              <a:solidFill>
                <a:srgbClr val="FFFFFF"/>
              </a:solidFill>
              <a:effectLst/>
              <a:uLnTx/>
              <a:uFillTx/>
              <a:latin typeface="Verdana"/>
              <a:ea typeface="+mn-ea"/>
              <a:cs typeface="+mn-cs"/>
            </a:endParaRPr>
          </a:p>
        </p:txBody>
      </p:sp>
      <p:sp>
        <p:nvSpPr>
          <p:cNvPr id="152" name="Freeform 845">
            <a:extLst>
              <a:ext uri="{FF2B5EF4-FFF2-40B4-BE49-F238E27FC236}">
                <a16:creationId xmlns:a16="http://schemas.microsoft.com/office/drawing/2014/main" id="{CD51B204-B0AD-40BE-A05C-CD6A094230A6}"/>
              </a:ext>
            </a:extLst>
          </p:cNvPr>
          <p:cNvSpPr>
            <a:spLocks noEditPoints="1"/>
          </p:cNvSpPr>
          <p:nvPr/>
        </p:nvSpPr>
        <p:spPr bwMode="auto">
          <a:xfrm>
            <a:off x="1255730" y="2133697"/>
            <a:ext cx="508224" cy="690663"/>
          </a:xfrm>
          <a:custGeom>
            <a:avLst/>
            <a:gdLst>
              <a:gd name="T0" fmla="*/ 214 w 235"/>
              <a:gd name="T1" fmla="*/ 258 h 320"/>
              <a:gd name="T2" fmla="*/ 214 w 235"/>
              <a:gd name="T3" fmla="*/ 181 h 320"/>
              <a:gd name="T4" fmla="*/ 182 w 235"/>
              <a:gd name="T5" fmla="*/ 149 h 320"/>
              <a:gd name="T6" fmla="*/ 128 w 235"/>
              <a:gd name="T7" fmla="*/ 149 h 320"/>
              <a:gd name="T8" fmla="*/ 128 w 235"/>
              <a:gd name="T9" fmla="*/ 62 h 320"/>
              <a:gd name="T10" fmla="*/ 150 w 235"/>
              <a:gd name="T11" fmla="*/ 32 h 320"/>
              <a:gd name="T12" fmla="*/ 118 w 235"/>
              <a:gd name="T13" fmla="*/ 0 h 320"/>
              <a:gd name="T14" fmla="*/ 86 w 235"/>
              <a:gd name="T15" fmla="*/ 32 h 320"/>
              <a:gd name="T16" fmla="*/ 107 w 235"/>
              <a:gd name="T17" fmla="*/ 62 h 320"/>
              <a:gd name="T18" fmla="*/ 107 w 235"/>
              <a:gd name="T19" fmla="*/ 149 h 320"/>
              <a:gd name="T20" fmla="*/ 54 w 235"/>
              <a:gd name="T21" fmla="*/ 149 h 320"/>
              <a:gd name="T22" fmla="*/ 22 w 235"/>
              <a:gd name="T23" fmla="*/ 181 h 320"/>
              <a:gd name="T24" fmla="*/ 22 w 235"/>
              <a:gd name="T25" fmla="*/ 258 h 320"/>
              <a:gd name="T26" fmla="*/ 0 w 235"/>
              <a:gd name="T27" fmla="*/ 288 h 320"/>
              <a:gd name="T28" fmla="*/ 32 w 235"/>
              <a:gd name="T29" fmla="*/ 320 h 320"/>
              <a:gd name="T30" fmla="*/ 64 w 235"/>
              <a:gd name="T31" fmla="*/ 288 h 320"/>
              <a:gd name="T32" fmla="*/ 43 w 235"/>
              <a:gd name="T33" fmla="*/ 258 h 320"/>
              <a:gd name="T34" fmla="*/ 43 w 235"/>
              <a:gd name="T35" fmla="*/ 181 h 320"/>
              <a:gd name="T36" fmla="*/ 54 w 235"/>
              <a:gd name="T37" fmla="*/ 170 h 320"/>
              <a:gd name="T38" fmla="*/ 107 w 235"/>
              <a:gd name="T39" fmla="*/ 170 h 320"/>
              <a:gd name="T40" fmla="*/ 107 w 235"/>
              <a:gd name="T41" fmla="*/ 258 h 320"/>
              <a:gd name="T42" fmla="*/ 86 w 235"/>
              <a:gd name="T43" fmla="*/ 288 h 320"/>
              <a:gd name="T44" fmla="*/ 118 w 235"/>
              <a:gd name="T45" fmla="*/ 320 h 320"/>
              <a:gd name="T46" fmla="*/ 150 w 235"/>
              <a:gd name="T47" fmla="*/ 288 h 320"/>
              <a:gd name="T48" fmla="*/ 128 w 235"/>
              <a:gd name="T49" fmla="*/ 258 h 320"/>
              <a:gd name="T50" fmla="*/ 128 w 235"/>
              <a:gd name="T51" fmla="*/ 170 h 320"/>
              <a:gd name="T52" fmla="*/ 182 w 235"/>
              <a:gd name="T53" fmla="*/ 170 h 320"/>
              <a:gd name="T54" fmla="*/ 192 w 235"/>
              <a:gd name="T55" fmla="*/ 181 h 320"/>
              <a:gd name="T56" fmla="*/ 192 w 235"/>
              <a:gd name="T57" fmla="*/ 258 h 320"/>
              <a:gd name="T58" fmla="*/ 171 w 235"/>
              <a:gd name="T59" fmla="*/ 288 h 320"/>
              <a:gd name="T60" fmla="*/ 203 w 235"/>
              <a:gd name="T61" fmla="*/ 320 h 320"/>
              <a:gd name="T62" fmla="*/ 235 w 235"/>
              <a:gd name="T63" fmla="*/ 288 h 320"/>
              <a:gd name="T64" fmla="*/ 214 w 235"/>
              <a:gd name="T65" fmla="*/ 258 h 320"/>
              <a:gd name="T66" fmla="*/ 118 w 235"/>
              <a:gd name="T67" fmla="*/ 21 h 320"/>
              <a:gd name="T68" fmla="*/ 128 w 235"/>
              <a:gd name="T69" fmla="*/ 32 h 320"/>
              <a:gd name="T70" fmla="*/ 118 w 235"/>
              <a:gd name="T71" fmla="*/ 42 h 320"/>
              <a:gd name="T72" fmla="*/ 107 w 235"/>
              <a:gd name="T73" fmla="*/ 32 h 320"/>
              <a:gd name="T74" fmla="*/ 118 w 235"/>
              <a:gd name="T75" fmla="*/ 21 h 320"/>
              <a:gd name="T76" fmla="*/ 32 w 235"/>
              <a:gd name="T77" fmla="*/ 298 h 320"/>
              <a:gd name="T78" fmla="*/ 22 w 235"/>
              <a:gd name="T79" fmla="*/ 288 h 320"/>
              <a:gd name="T80" fmla="*/ 32 w 235"/>
              <a:gd name="T81" fmla="*/ 277 h 320"/>
              <a:gd name="T82" fmla="*/ 43 w 235"/>
              <a:gd name="T83" fmla="*/ 288 h 320"/>
              <a:gd name="T84" fmla="*/ 32 w 235"/>
              <a:gd name="T85" fmla="*/ 298 h 320"/>
              <a:gd name="T86" fmla="*/ 118 w 235"/>
              <a:gd name="T87" fmla="*/ 298 h 320"/>
              <a:gd name="T88" fmla="*/ 107 w 235"/>
              <a:gd name="T89" fmla="*/ 288 h 320"/>
              <a:gd name="T90" fmla="*/ 118 w 235"/>
              <a:gd name="T91" fmla="*/ 277 h 320"/>
              <a:gd name="T92" fmla="*/ 128 w 235"/>
              <a:gd name="T93" fmla="*/ 288 h 320"/>
              <a:gd name="T94" fmla="*/ 118 w 235"/>
              <a:gd name="T95" fmla="*/ 298 h 320"/>
              <a:gd name="T96" fmla="*/ 203 w 235"/>
              <a:gd name="T97" fmla="*/ 298 h 320"/>
              <a:gd name="T98" fmla="*/ 192 w 235"/>
              <a:gd name="T99" fmla="*/ 288 h 320"/>
              <a:gd name="T100" fmla="*/ 203 w 235"/>
              <a:gd name="T101" fmla="*/ 277 h 320"/>
              <a:gd name="T102" fmla="*/ 214 w 235"/>
              <a:gd name="T103" fmla="*/ 288 h 320"/>
              <a:gd name="T104" fmla="*/ 203 w 235"/>
              <a:gd name="T10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214" y="258"/>
                </a:moveTo>
                <a:cubicBezTo>
                  <a:pt x="214" y="181"/>
                  <a:pt x="214" y="181"/>
                  <a:pt x="214" y="181"/>
                </a:cubicBezTo>
                <a:cubicBezTo>
                  <a:pt x="214" y="158"/>
                  <a:pt x="195" y="149"/>
                  <a:pt x="182" y="149"/>
                </a:cubicBezTo>
                <a:cubicBezTo>
                  <a:pt x="128" y="149"/>
                  <a:pt x="128" y="149"/>
                  <a:pt x="128" y="149"/>
                </a:cubicBezTo>
                <a:cubicBezTo>
                  <a:pt x="128" y="62"/>
                  <a:pt x="128" y="62"/>
                  <a:pt x="128" y="62"/>
                </a:cubicBezTo>
                <a:cubicBezTo>
                  <a:pt x="141" y="57"/>
                  <a:pt x="150" y="46"/>
                  <a:pt x="150" y="32"/>
                </a:cubicBezTo>
                <a:cubicBezTo>
                  <a:pt x="150" y="14"/>
                  <a:pt x="135" y="0"/>
                  <a:pt x="118" y="0"/>
                </a:cubicBezTo>
                <a:cubicBezTo>
                  <a:pt x="100" y="0"/>
                  <a:pt x="86" y="14"/>
                  <a:pt x="86" y="32"/>
                </a:cubicBezTo>
                <a:cubicBezTo>
                  <a:pt x="86" y="46"/>
                  <a:pt x="95" y="57"/>
                  <a:pt x="107" y="62"/>
                </a:cubicBezTo>
                <a:cubicBezTo>
                  <a:pt x="107" y="149"/>
                  <a:pt x="107" y="149"/>
                  <a:pt x="107" y="149"/>
                </a:cubicBezTo>
                <a:cubicBezTo>
                  <a:pt x="54" y="149"/>
                  <a:pt x="54" y="149"/>
                  <a:pt x="54" y="149"/>
                </a:cubicBezTo>
                <a:cubicBezTo>
                  <a:pt x="31" y="149"/>
                  <a:pt x="22" y="168"/>
                  <a:pt x="22" y="181"/>
                </a:cubicBezTo>
                <a:cubicBezTo>
                  <a:pt x="22" y="258"/>
                  <a:pt x="22" y="258"/>
                  <a:pt x="22" y="258"/>
                </a:cubicBezTo>
                <a:cubicBezTo>
                  <a:pt x="9" y="262"/>
                  <a:pt x="0" y="274"/>
                  <a:pt x="0" y="288"/>
                </a:cubicBezTo>
                <a:cubicBezTo>
                  <a:pt x="0" y="305"/>
                  <a:pt x="15" y="320"/>
                  <a:pt x="32" y="320"/>
                </a:cubicBezTo>
                <a:cubicBezTo>
                  <a:pt x="50" y="320"/>
                  <a:pt x="64" y="305"/>
                  <a:pt x="64" y="288"/>
                </a:cubicBezTo>
                <a:cubicBezTo>
                  <a:pt x="64" y="274"/>
                  <a:pt x="55" y="262"/>
                  <a:pt x="43" y="258"/>
                </a:cubicBezTo>
                <a:cubicBezTo>
                  <a:pt x="43" y="181"/>
                  <a:pt x="43" y="181"/>
                  <a:pt x="43" y="181"/>
                </a:cubicBezTo>
                <a:cubicBezTo>
                  <a:pt x="43" y="179"/>
                  <a:pt x="44" y="170"/>
                  <a:pt x="54" y="170"/>
                </a:cubicBezTo>
                <a:cubicBezTo>
                  <a:pt x="107" y="170"/>
                  <a:pt x="107" y="170"/>
                  <a:pt x="107" y="170"/>
                </a:cubicBezTo>
                <a:cubicBezTo>
                  <a:pt x="107" y="258"/>
                  <a:pt x="107" y="258"/>
                  <a:pt x="107" y="258"/>
                </a:cubicBezTo>
                <a:cubicBezTo>
                  <a:pt x="95" y="262"/>
                  <a:pt x="86" y="274"/>
                  <a:pt x="86" y="288"/>
                </a:cubicBezTo>
                <a:cubicBezTo>
                  <a:pt x="86" y="305"/>
                  <a:pt x="100" y="320"/>
                  <a:pt x="118" y="320"/>
                </a:cubicBezTo>
                <a:cubicBezTo>
                  <a:pt x="135" y="320"/>
                  <a:pt x="150" y="305"/>
                  <a:pt x="150" y="288"/>
                </a:cubicBezTo>
                <a:cubicBezTo>
                  <a:pt x="150" y="274"/>
                  <a:pt x="141" y="262"/>
                  <a:pt x="128" y="258"/>
                </a:cubicBezTo>
                <a:cubicBezTo>
                  <a:pt x="128" y="170"/>
                  <a:pt x="128" y="170"/>
                  <a:pt x="128" y="170"/>
                </a:cubicBezTo>
                <a:cubicBezTo>
                  <a:pt x="182" y="170"/>
                  <a:pt x="182" y="170"/>
                  <a:pt x="182" y="170"/>
                </a:cubicBezTo>
                <a:cubicBezTo>
                  <a:pt x="186" y="170"/>
                  <a:pt x="192" y="172"/>
                  <a:pt x="192" y="181"/>
                </a:cubicBezTo>
                <a:cubicBezTo>
                  <a:pt x="192" y="258"/>
                  <a:pt x="192" y="258"/>
                  <a:pt x="192" y="258"/>
                </a:cubicBezTo>
                <a:cubicBezTo>
                  <a:pt x="180" y="262"/>
                  <a:pt x="171" y="274"/>
                  <a:pt x="171" y="288"/>
                </a:cubicBezTo>
                <a:cubicBezTo>
                  <a:pt x="171" y="305"/>
                  <a:pt x="185" y="320"/>
                  <a:pt x="203" y="320"/>
                </a:cubicBezTo>
                <a:cubicBezTo>
                  <a:pt x="221" y="320"/>
                  <a:pt x="235" y="305"/>
                  <a:pt x="235" y="288"/>
                </a:cubicBezTo>
                <a:cubicBezTo>
                  <a:pt x="235" y="274"/>
                  <a:pt x="226" y="262"/>
                  <a:pt x="214" y="258"/>
                </a:cubicBezTo>
                <a:close/>
                <a:moveTo>
                  <a:pt x="118" y="21"/>
                </a:moveTo>
                <a:cubicBezTo>
                  <a:pt x="124" y="21"/>
                  <a:pt x="128" y="26"/>
                  <a:pt x="128" y="32"/>
                </a:cubicBezTo>
                <a:cubicBezTo>
                  <a:pt x="128" y="38"/>
                  <a:pt x="124" y="42"/>
                  <a:pt x="118" y="42"/>
                </a:cubicBezTo>
                <a:cubicBezTo>
                  <a:pt x="112" y="42"/>
                  <a:pt x="107" y="38"/>
                  <a:pt x="107" y="32"/>
                </a:cubicBezTo>
                <a:cubicBezTo>
                  <a:pt x="107" y="26"/>
                  <a:pt x="112" y="21"/>
                  <a:pt x="118" y="21"/>
                </a:cubicBezTo>
                <a:close/>
                <a:moveTo>
                  <a:pt x="32" y="298"/>
                </a:moveTo>
                <a:cubicBezTo>
                  <a:pt x="26" y="298"/>
                  <a:pt x="22" y="294"/>
                  <a:pt x="22" y="288"/>
                </a:cubicBezTo>
                <a:cubicBezTo>
                  <a:pt x="22" y="282"/>
                  <a:pt x="26" y="277"/>
                  <a:pt x="32" y="277"/>
                </a:cubicBezTo>
                <a:cubicBezTo>
                  <a:pt x="38" y="277"/>
                  <a:pt x="43" y="282"/>
                  <a:pt x="43" y="288"/>
                </a:cubicBezTo>
                <a:cubicBezTo>
                  <a:pt x="43" y="294"/>
                  <a:pt x="38" y="298"/>
                  <a:pt x="32" y="298"/>
                </a:cubicBezTo>
                <a:close/>
                <a:moveTo>
                  <a:pt x="118" y="298"/>
                </a:moveTo>
                <a:cubicBezTo>
                  <a:pt x="112" y="298"/>
                  <a:pt x="107" y="294"/>
                  <a:pt x="107" y="288"/>
                </a:cubicBezTo>
                <a:cubicBezTo>
                  <a:pt x="107" y="282"/>
                  <a:pt x="112" y="277"/>
                  <a:pt x="118" y="277"/>
                </a:cubicBezTo>
                <a:cubicBezTo>
                  <a:pt x="124" y="277"/>
                  <a:pt x="128" y="282"/>
                  <a:pt x="128" y="288"/>
                </a:cubicBezTo>
                <a:cubicBezTo>
                  <a:pt x="128" y="294"/>
                  <a:pt x="124" y="298"/>
                  <a:pt x="118" y="298"/>
                </a:cubicBezTo>
                <a:close/>
                <a:moveTo>
                  <a:pt x="203" y="298"/>
                </a:moveTo>
                <a:cubicBezTo>
                  <a:pt x="197" y="298"/>
                  <a:pt x="192" y="294"/>
                  <a:pt x="192" y="288"/>
                </a:cubicBezTo>
                <a:cubicBezTo>
                  <a:pt x="192" y="282"/>
                  <a:pt x="197" y="277"/>
                  <a:pt x="203" y="277"/>
                </a:cubicBezTo>
                <a:cubicBezTo>
                  <a:pt x="209" y="277"/>
                  <a:pt x="214" y="282"/>
                  <a:pt x="214" y="288"/>
                </a:cubicBezTo>
                <a:cubicBezTo>
                  <a:pt x="214" y="294"/>
                  <a:pt x="209" y="298"/>
                  <a:pt x="203" y="298"/>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3" name="Freeform 400">
            <a:extLst>
              <a:ext uri="{FF2B5EF4-FFF2-40B4-BE49-F238E27FC236}">
                <a16:creationId xmlns:a16="http://schemas.microsoft.com/office/drawing/2014/main" id="{F0CB5C78-806A-4062-A3FE-9B93B43A1AE9}"/>
              </a:ext>
            </a:extLst>
          </p:cNvPr>
          <p:cNvSpPr>
            <a:spLocks noEditPoints="1"/>
          </p:cNvSpPr>
          <p:nvPr/>
        </p:nvSpPr>
        <p:spPr bwMode="auto">
          <a:xfrm>
            <a:off x="5754838" y="2165450"/>
            <a:ext cx="615087" cy="615087"/>
          </a:xfrm>
          <a:custGeom>
            <a:avLst/>
            <a:gdLst>
              <a:gd name="T0" fmla="*/ 22 w 277"/>
              <a:gd name="T1" fmla="*/ 53 h 277"/>
              <a:gd name="T2" fmla="*/ 64 w 277"/>
              <a:gd name="T3" fmla="*/ 9 h 277"/>
              <a:gd name="T4" fmla="*/ 0 w 277"/>
              <a:gd name="T5" fmla="*/ 64 h 277"/>
              <a:gd name="T6" fmla="*/ 11 w 277"/>
              <a:gd name="T7" fmla="*/ 117 h 277"/>
              <a:gd name="T8" fmla="*/ 64 w 277"/>
              <a:gd name="T9" fmla="*/ 107 h 277"/>
              <a:gd name="T10" fmla="*/ 53 w 277"/>
              <a:gd name="T11" fmla="*/ 53 h 277"/>
              <a:gd name="T12" fmla="*/ 21 w 277"/>
              <a:gd name="T13" fmla="*/ 96 h 277"/>
              <a:gd name="T14" fmla="*/ 43 w 277"/>
              <a:gd name="T15" fmla="*/ 75 h 277"/>
              <a:gd name="T16" fmla="*/ 149 w 277"/>
              <a:gd name="T17" fmla="*/ 107 h 277"/>
              <a:gd name="T18" fmla="*/ 139 w 277"/>
              <a:gd name="T19" fmla="*/ 53 h 277"/>
              <a:gd name="T20" fmla="*/ 140 w 277"/>
              <a:gd name="T21" fmla="*/ 21 h 277"/>
              <a:gd name="T22" fmla="*/ 137 w 277"/>
              <a:gd name="T23" fmla="*/ 0 h 277"/>
              <a:gd name="T24" fmla="*/ 85 w 277"/>
              <a:gd name="T25" fmla="*/ 107 h 277"/>
              <a:gd name="T26" fmla="*/ 139 w 277"/>
              <a:gd name="T27" fmla="*/ 117 h 277"/>
              <a:gd name="T28" fmla="*/ 128 w 277"/>
              <a:gd name="T29" fmla="*/ 96 h 277"/>
              <a:gd name="T30" fmla="*/ 107 w 277"/>
              <a:gd name="T31" fmla="*/ 75 h 277"/>
              <a:gd name="T32" fmla="*/ 128 w 277"/>
              <a:gd name="T33" fmla="*/ 96 h 277"/>
              <a:gd name="T34" fmla="*/ 224 w 277"/>
              <a:gd name="T35" fmla="*/ 160 h 277"/>
              <a:gd name="T36" fmla="*/ 213 w 277"/>
              <a:gd name="T37" fmla="*/ 213 h 277"/>
              <a:gd name="T38" fmla="*/ 255 w 277"/>
              <a:gd name="T39" fmla="*/ 224 h 277"/>
              <a:gd name="T40" fmla="*/ 213 w 277"/>
              <a:gd name="T41" fmla="*/ 268 h 277"/>
              <a:gd name="T42" fmla="*/ 225 w 277"/>
              <a:gd name="T43" fmla="*/ 277 h 277"/>
              <a:gd name="T44" fmla="*/ 277 w 277"/>
              <a:gd name="T45" fmla="*/ 171 h 277"/>
              <a:gd name="T46" fmla="*/ 235 w 277"/>
              <a:gd name="T47" fmla="*/ 181 h 277"/>
              <a:gd name="T48" fmla="*/ 256 w 277"/>
              <a:gd name="T49" fmla="*/ 203 h 277"/>
              <a:gd name="T50" fmla="*/ 235 w 277"/>
              <a:gd name="T51" fmla="*/ 181 h 277"/>
              <a:gd name="T52" fmla="*/ 139 w 277"/>
              <a:gd name="T53" fmla="*/ 160 h 277"/>
              <a:gd name="T54" fmla="*/ 128 w 277"/>
              <a:gd name="T55" fmla="*/ 213 h 277"/>
              <a:gd name="T56" fmla="*/ 170 w 277"/>
              <a:gd name="T57" fmla="*/ 224 h 277"/>
              <a:gd name="T58" fmla="*/ 128 w 277"/>
              <a:gd name="T59" fmla="*/ 268 h 277"/>
              <a:gd name="T60" fmla="*/ 140 w 277"/>
              <a:gd name="T61" fmla="*/ 277 h 277"/>
              <a:gd name="T62" fmla="*/ 192 w 277"/>
              <a:gd name="T63" fmla="*/ 171 h 277"/>
              <a:gd name="T64" fmla="*/ 149 w 277"/>
              <a:gd name="T65" fmla="*/ 181 h 277"/>
              <a:gd name="T66" fmla="*/ 171 w 277"/>
              <a:gd name="T67" fmla="*/ 203 h 277"/>
              <a:gd name="T68" fmla="*/ 149 w 277"/>
              <a:gd name="T69"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277">
                <a:moveTo>
                  <a:pt x="53" y="53"/>
                </a:moveTo>
                <a:cubicBezTo>
                  <a:pt x="22" y="53"/>
                  <a:pt x="22" y="53"/>
                  <a:pt x="22" y="53"/>
                </a:cubicBezTo>
                <a:cubicBezTo>
                  <a:pt x="27" y="26"/>
                  <a:pt x="51" y="22"/>
                  <a:pt x="55" y="21"/>
                </a:cubicBezTo>
                <a:cubicBezTo>
                  <a:pt x="60" y="21"/>
                  <a:pt x="65" y="15"/>
                  <a:pt x="64" y="9"/>
                </a:cubicBezTo>
                <a:cubicBezTo>
                  <a:pt x="63" y="4"/>
                  <a:pt x="58" y="0"/>
                  <a:pt x="52" y="0"/>
                </a:cubicBezTo>
                <a:cubicBezTo>
                  <a:pt x="34" y="2"/>
                  <a:pt x="0" y="18"/>
                  <a:pt x="0" y="64"/>
                </a:cubicBezTo>
                <a:cubicBezTo>
                  <a:pt x="0" y="107"/>
                  <a:pt x="0" y="107"/>
                  <a:pt x="0" y="107"/>
                </a:cubicBezTo>
                <a:cubicBezTo>
                  <a:pt x="0" y="113"/>
                  <a:pt x="5" y="117"/>
                  <a:pt x="11" y="117"/>
                </a:cubicBezTo>
                <a:cubicBezTo>
                  <a:pt x="53" y="117"/>
                  <a:pt x="53" y="117"/>
                  <a:pt x="53" y="117"/>
                </a:cubicBezTo>
                <a:cubicBezTo>
                  <a:pt x="59" y="117"/>
                  <a:pt x="64" y="113"/>
                  <a:pt x="64" y="107"/>
                </a:cubicBezTo>
                <a:cubicBezTo>
                  <a:pt x="64" y="64"/>
                  <a:pt x="64" y="64"/>
                  <a:pt x="64" y="64"/>
                </a:cubicBezTo>
                <a:cubicBezTo>
                  <a:pt x="64" y="58"/>
                  <a:pt x="59" y="53"/>
                  <a:pt x="53" y="53"/>
                </a:cubicBezTo>
                <a:close/>
                <a:moveTo>
                  <a:pt x="43" y="96"/>
                </a:moveTo>
                <a:cubicBezTo>
                  <a:pt x="21" y="96"/>
                  <a:pt x="21" y="96"/>
                  <a:pt x="21" y="96"/>
                </a:cubicBezTo>
                <a:cubicBezTo>
                  <a:pt x="21" y="75"/>
                  <a:pt x="21" y="75"/>
                  <a:pt x="21" y="75"/>
                </a:cubicBezTo>
                <a:cubicBezTo>
                  <a:pt x="43" y="75"/>
                  <a:pt x="43" y="75"/>
                  <a:pt x="43" y="75"/>
                </a:cubicBezTo>
                <a:lnTo>
                  <a:pt x="43" y="96"/>
                </a:lnTo>
                <a:close/>
                <a:moveTo>
                  <a:pt x="149" y="107"/>
                </a:moveTo>
                <a:cubicBezTo>
                  <a:pt x="149" y="64"/>
                  <a:pt x="149" y="64"/>
                  <a:pt x="149" y="64"/>
                </a:cubicBezTo>
                <a:cubicBezTo>
                  <a:pt x="149" y="58"/>
                  <a:pt x="145" y="53"/>
                  <a:pt x="139" y="53"/>
                </a:cubicBezTo>
                <a:cubicBezTo>
                  <a:pt x="108" y="53"/>
                  <a:pt x="108" y="53"/>
                  <a:pt x="108" y="53"/>
                </a:cubicBezTo>
                <a:cubicBezTo>
                  <a:pt x="113" y="26"/>
                  <a:pt x="137" y="22"/>
                  <a:pt x="140" y="21"/>
                </a:cubicBezTo>
                <a:cubicBezTo>
                  <a:pt x="146" y="21"/>
                  <a:pt x="150" y="15"/>
                  <a:pt x="149" y="9"/>
                </a:cubicBezTo>
                <a:cubicBezTo>
                  <a:pt x="149" y="4"/>
                  <a:pt x="143" y="0"/>
                  <a:pt x="137" y="0"/>
                </a:cubicBezTo>
                <a:cubicBezTo>
                  <a:pt x="119" y="2"/>
                  <a:pt x="85" y="18"/>
                  <a:pt x="85" y="64"/>
                </a:cubicBezTo>
                <a:cubicBezTo>
                  <a:pt x="85" y="107"/>
                  <a:pt x="85" y="107"/>
                  <a:pt x="85" y="107"/>
                </a:cubicBezTo>
                <a:cubicBezTo>
                  <a:pt x="85" y="113"/>
                  <a:pt x="90" y="117"/>
                  <a:pt x="96" y="117"/>
                </a:cubicBezTo>
                <a:cubicBezTo>
                  <a:pt x="139" y="117"/>
                  <a:pt x="139" y="117"/>
                  <a:pt x="139" y="117"/>
                </a:cubicBezTo>
                <a:cubicBezTo>
                  <a:pt x="145" y="117"/>
                  <a:pt x="149" y="113"/>
                  <a:pt x="149" y="107"/>
                </a:cubicBezTo>
                <a:close/>
                <a:moveTo>
                  <a:pt x="128" y="96"/>
                </a:moveTo>
                <a:cubicBezTo>
                  <a:pt x="107" y="96"/>
                  <a:pt x="107" y="96"/>
                  <a:pt x="107" y="96"/>
                </a:cubicBezTo>
                <a:cubicBezTo>
                  <a:pt x="107" y="75"/>
                  <a:pt x="107" y="75"/>
                  <a:pt x="107" y="75"/>
                </a:cubicBezTo>
                <a:cubicBezTo>
                  <a:pt x="128" y="75"/>
                  <a:pt x="128" y="75"/>
                  <a:pt x="128" y="75"/>
                </a:cubicBezTo>
                <a:lnTo>
                  <a:pt x="128" y="96"/>
                </a:lnTo>
                <a:close/>
                <a:moveTo>
                  <a:pt x="267" y="160"/>
                </a:moveTo>
                <a:cubicBezTo>
                  <a:pt x="224" y="160"/>
                  <a:pt x="224" y="160"/>
                  <a:pt x="224" y="160"/>
                </a:cubicBezTo>
                <a:cubicBezTo>
                  <a:pt x="218" y="160"/>
                  <a:pt x="213" y="165"/>
                  <a:pt x="213" y="171"/>
                </a:cubicBezTo>
                <a:cubicBezTo>
                  <a:pt x="213" y="213"/>
                  <a:pt x="213" y="213"/>
                  <a:pt x="213" y="213"/>
                </a:cubicBezTo>
                <a:cubicBezTo>
                  <a:pt x="213" y="219"/>
                  <a:pt x="218" y="224"/>
                  <a:pt x="224" y="224"/>
                </a:cubicBezTo>
                <a:cubicBezTo>
                  <a:pt x="255" y="224"/>
                  <a:pt x="255" y="224"/>
                  <a:pt x="255" y="224"/>
                </a:cubicBezTo>
                <a:cubicBezTo>
                  <a:pt x="250" y="252"/>
                  <a:pt x="226" y="256"/>
                  <a:pt x="223" y="256"/>
                </a:cubicBezTo>
                <a:cubicBezTo>
                  <a:pt x="217" y="257"/>
                  <a:pt x="213" y="262"/>
                  <a:pt x="213" y="268"/>
                </a:cubicBezTo>
                <a:cubicBezTo>
                  <a:pt x="214" y="273"/>
                  <a:pt x="219" y="277"/>
                  <a:pt x="224" y="277"/>
                </a:cubicBezTo>
                <a:cubicBezTo>
                  <a:pt x="224" y="277"/>
                  <a:pt x="225" y="277"/>
                  <a:pt x="225" y="277"/>
                </a:cubicBezTo>
                <a:cubicBezTo>
                  <a:pt x="243" y="275"/>
                  <a:pt x="277" y="259"/>
                  <a:pt x="277" y="213"/>
                </a:cubicBezTo>
                <a:cubicBezTo>
                  <a:pt x="277" y="171"/>
                  <a:pt x="277" y="171"/>
                  <a:pt x="277" y="171"/>
                </a:cubicBezTo>
                <a:cubicBezTo>
                  <a:pt x="277" y="165"/>
                  <a:pt x="273" y="160"/>
                  <a:pt x="267" y="160"/>
                </a:cubicBezTo>
                <a:close/>
                <a:moveTo>
                  <a:pt x="235" y="181"/>
                </a:moveTo>
                <a:cubicBezTo>
                  <a:pt x="256" y="181"/>
                  <a:pt x="256" y="181"/>
                  <a:pt x="256" y="181"/>
                </a:cubicBezTo>
                <a:cubicBezTo>
                  <a:pt x="256" y="203"/>
                  <a:pt x="256" y="203"/>
                  <a:pt x="256" y="203"/>
                </a:cubicBezTo>
                <a:cubicBezTo>
                  <a:pt x="235" y="203"/>
                  <a:pt x="235" y="203"/>
                  <a:pt x="235" y="203"/>
                </a:cubicBezTo>
                <a:lnTo>
                  <a:pt x="235" y="181"/>
                </a:lnTo>
                <a:close/>
                <a:moveTo>
                  <a:pt x="181" y="160"/>
                </a:moveTo>
                <a:cubicBezTo>
                  <a:pt x="139" y="160"/>
                  <a:pt x="139" y="160"/>
                  <a:pt x="139" y="160"/>
                </a:cubicBezTo>
                <a:cubicBezTo>
                  <a:pt x="133" y="160"/>
                  <a:pt x="128" y="165"/>
                  <a:pt x="128" y="171"/>
                </a:cubicBezTo>
                <a:cubicBezTo>
                  <a:pt x="128" y="213"/>
                  <a:pt x="128" y="213"/>
                  <a:pt x="128" y="213"/>
                </a:cubicBezTo>
                <a:cubicBezTo>
                  <a:pt x="128" y="219"/>
                  <a:pt x="133" y="224"/>
                  <a:pt x="139" y="224"/>
                </a:cubicBezTo>
                <a:cubicBezTo>
                  <a:pt x="170" y="224"/>
                  <a:pt x="170" y="224"/>
                  <a:pt x="170" y="224"/>
                </a:cubicBezTo>
                <a:cubicBezTo>
                  <a:pt x="165" y="252"/>
                  <a:pt x="141" y="256"/>
                  <a:pt x="137" y="256"/>
                </a:cubicBezTo>
                <a:cubicBezTo>
                  <a:pt x="132" y="257"/>
                  <a:pt x="127" y="262"/>
                  <a:pt x="128" y="268"/>
                </a:cubicBezTo>
                <a:cubicBezTo>
                  <a:pt x="129" y="273"/>
                  <a:pt x="133" y="277"/>
                  <a:pt x="139" y="277"/>
                </a:cubicBezTo>
                <a:cubicBezTo>
                  <a:pt x="139" y="277"/>
                  <a:pt x="139" y="277"/>
                  <a:pt x="140" y="277"/>
                </a:cubicBezTo>
                <a:cubicBezTo>
                  <a:pt x="158" y="275"/>
                  <a:pt x="192" y="259"/>
                  <a:pt x="192" y="213"/>
                </a:cubicBezTo>
                <a:cubicBezTo>
                  <a:pt x="192" y="171"/>
                  <a:pt x="192" y="171"/>
                  <a:pt x="192" y="171"/>
                </a:cubicBezTo>
                <a:cubicBezTo>
                  <a:pt x="192" y="165"/>
                  <a:pt x="187" y="160"/>
                  <a:pt x="181" y="160"/>
                </a:cubicBezTo>
                <a:close/>
                <a:moveTo>
                  <a:pt x="149" y="181"/>
                </a:moveTo>
                <a:cubicBezTo>
                  <a:pt x="171" y="181"/>
                  <a:pt x="171" y="181"/>
                  <a:pt x="171" y="181"/>
                </a:cubicBezTo>
                <a:cubicBezTo>
                  <a:pt x="171" y="203"/>
                  <a:pt x="171" y="203"/>
                  <a:pt x="171" y="203"/>
                </a:cubicBezTo>
                <a:cubicBezTo>
                  <a:pt x="149" y="203"/>
                  <a:pt x="149" y="203"/>
                  <a:pt x="149" y="203"/>
                </a:cubicBezTo>
                <a:lnTo>
                  <a:pt x="149" y="181"/>
                </a:ln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54" name="Group 245">
            <a:extLst>
              <a:ext uri="{FF2B5EF4-FFF2-40B4-BE49-F238E27FC236}">
                <a16:creationId xmlns:a16="http://schemas.microsoft.com/office/drawing/2014/main" id="{C6FA0BEA-237C-4B7A-8EE8-2F9E03DEFA6B}"/>
              </a:ext>
            </a:extLst>
          </p:cNvPr>
          <p:cNvGrpSpPr>
            <a:grpSpLocks noChangeAspect="1"/>
          </p:cNvGrpSpPr>
          <p:nvPr/>
        </p:nvGrpSpPr>
        <p:grpSpPr bwMode="auto">
          <a:xfrm>
            <a:off x="8045580" y="2207966"/>
            <a:ext cx="706877" cy="613516"/>
            <a:chOff x="3544" y="884"/>
            <a:chExt cx="212" cy="184"/>
          </a:xfrm>
          <a:solidFill>
            <a:schemeClr val="accent1"/>
          </a:solidFill>
        </p:grpSpPr>
        <p:sp>
          <p:nvSpPr>
            <p:cNvPr id="155" name="Freeform 247">
              <a:extLst>
                <a:ext uri="{FF2B5EF4-FFF2-40B4-BE49-F238E27FC236}">
                  <a16:creationId xmlns:a16="http://schemas.microsoft.com/office/drawing/2014/main" id="{68414C74-9DA3-402A-9D0B-D79AE4BF2211}"/>
                </a:ext>
              </a:extLst>
            </p:cNvPr>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6" name="Freeform 248">
              <a:extLst>
                <a:ext uri="{FF2B5EF4-FFF2-40B4-BE49-F238E27FC236}">
                  <a16:creationId xmlns:a16="http://schemas.microsoft.com/office/drawing/2014/main" id="{8D6B0C56-6DA7-4581-B8C8-22DDD9BE263F}"/>
                </a:ext>
              </a:extLst>
            </p:cNvPr>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7" name="Freeform 249">
              <a:extLst>
                <a:ext uri="{FF2B5EF4-FFF2-40B4-BE49-F238E27FC236}">
                  <a16:creationId xmlns:a16="http://schemas.microsoft.com/office/drawing/2014/main" id="{988EA793-FA74-44B2-B525-1DD52D2E4BF9}"/>
                </a:ext>
              </a:extLst>
            </p:cNvPr>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8" name="Freeform 250">
              <a:extLst>
                <a:ext uri="{FF2B5EF4-FFF2-40B4-BE49-F238E27FC236}">
                  <a16:creationId xmlns:a16="http://schemas.microsoft.com/office/drawing/2014/main" id="{4B5F7AC2-1B0F-4EEA-BC80-AE899365B441}"/>
                </a:ext>
              </a:extLst>
            </p:cNvPr>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159" name="Freeform 872">
            <a:extLst>
              <a:ext uri="{FF2B5EF4-FFF2-40B4-BE49-F238E27FC236}">
                <a16:creationId xmlns:a16="http://schemas.microsoft.com/office/drawing/2014/main" id="{3A5E8132-90F6-4363-8253-88158E2CBC05}"/>
              </a:ext>
            </a:extLst>
          </p:cNvPr>
          <p:cNvSpPr>
            <a:spLocks noEditPoints="1"/>
          </p:cNvSpPr>
          <p:nvPr/>
        </p:nvSpPr>
        <p:spPr bwMode="auto">
          <a:xfrm>
            <a:off x="10332502" y="2140641"/>
            <a:ext cx="603838" cy="676035"/>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4" name="Star: 5 Points 3">
            <a:extLst>
              <a:ext uri="{FF2B5EF4-FFF2-40B4-BE49-F238E27FC236}">
                <a16:creationId xmlns:a16="http://schemas.microsoft.com/office/drawing/2014/main" id="{A1EB6927-E73C-42AA-A1FA-A048AC1E7274}"/>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521688136"/>
      </p:ext>
    </p:extLst>
  </p:cSld>
  <p:clrMapOvr>
    <a:masterClrMapping/>
  </p:clrMapOvr>
  <p:transition>
    <p:fade/>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DD1CE0-EEB2-A648-B763-7F40D6671914}"/>
              </a:ext>
            </a:extLst>
          </p:cNvPr>
          <p:cNvSpPr>
            <a:spLocks noGrp="1"/>
          </p:cNvSpPr>
          <p:nvPr>
            <p:ph type="title"/>
          </p:nvPr>
        </p:nvSpPr>
        <p:spPr/>
        <p:txBody>
          <a:bodyPr/>
          <a:lstStyle/>
          <a:p>
            <a:r>
              <a:rPr lang="en-US" dirty="0"/>
              <a:t>Icon chart</a:t>
            </a:r>
          </a:p>
        </p:txBody>
      </p:sp>
      <p:grpSp>
        <p:nvGrpSpPr>
          <p:cNvPr id="5" name="Group 4">
            <a:extLst>
              <a:ext uri="{FF2B5EF4-FFF2-40B4-BE49-F238E27FC236}">
                <a16:creationId xmlns:a16="http://schemas.microsoft.com/office/drawing/2014/main" id="{299C7319-A339-43A2-99F0-65D28EBE86B7}"/>
              </a:ext>
            </a:extLst>
          </p:cNvPr>
          <p:cNvGrpSpPr/>
          <p:nvPr/>
        </p:nvGrpSpPr>
        <p:grpSpPr>
          <a:xfrm>
            <a:off x="597673" y="1120848"/>
            <a:ext cx="10996654" cy="4950865"/>
            <a:chOff x="572494" y="1430668"/>
            <a:chExt cx="9199643" cy="4141823"/>
          </a:xfrm>
        </p:grpSpPr>
        <p:grpSp>
          <p:nvGrpSpPr>
            <p:cNvPr id="53" name="Group 52">
              <a:extLst>
                <a:ext uri="{FF2B5EF4-FFF2-40B4-BE49-F238E27FC236}">
                  <a16:creationId xmlns:a16="http://schemas.microsoft.com/office/drawing/2014/main" id="{FEC51027-46EE-490B-ABC7-45C92C8A352E}"/>
                </a:ext>
              </a:extLst>
            </p:cNvPr>
            <p:cNvGrpSpPr/>
            <p:nvPr/>
          </p:nvGrpSpPr>
          <p:grpSpPr>
            <a:xfrm>
              <a:off x="5057699" y="1430668"/>
              <a:ext cx="4711729" cy="1538514"/>
              <a:chOff x="4485205" y="1478376"/>
              <a:chExt cx="4711729" cy="1538514"/>
            </a:xfrm>
          </p:grpSpPr>
          <p:sp>
            <p:nvSpPr>
              <p:cNvPr id="54" name="Hexagon 53">
                <a:extLst>
                  <a:ext uri="{FF2B5EF4-FFF2-40B4-BE49-F238E27FC236}">
                    <a16:creationId xmlns:a16="http://schemas.microsoft.com/office/drawing/2014/main" id="{206BC65B-DE00-4E93-B9A5-3C239D5EB2F2}"/>
                  </a:ext>
                </a:extLst>
              </p:cNvPr>
              <p:cNvSpPr/>
              <p:nvPr/>
            </p:nvSpPr>
            <p:spPr bwMode="gray">
              <a:xfrm>
                <a:off x="4485205" y="1478376"/>
                <a:ext cx="1784676" cy="1538514"/>
              </a:xfrm>
              <a:prstGeom prst="hexagon">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55" name="Group 54">
                <a:extLst>
                  <a:ext uri="{FF2B5EF4-FFF2-40B4-BE49-F238E27FC236}">
                    <a16:creationId xmlns:a16="http://schemas.microsoft.com/office/drawing/2014/main" id="{3BF63A82-F129-428F-961D-69DCAA9E9814}"/>
                  </a:ext>
                </a:extLst>
              </p:cNvPr>
              <p:cNvGrpSpPr/>
              <p:nvPr/>
            </p:nvGrpSpPr>
            <p:grpSpPr>
              <a:xfrm>
                <a:off x="4740162" y="1715886"/>
                <a:ext cx="4456772" cy="1068855"/>
                <a:chOff x="4561486" y="1984708"/>
                <a:chExt cx="4456772" cy="1068855"/>
              </a:xfrm>
            </p:grpSpPr>
            <p:sp>
              <p:nvSpPr>
                <p:cNvPr id="56" name="Pentagon 3">
                  <a:extLst>
                    <a:ext uri="{FF2B5EF4-FFF2-40B4-BE49-F238E27FC236}">
                      <a16:creationId xmlns:a16="http://schemas.microsoft.com/office/drawing/2014/main" id="{59F440A8-AF07-46B8-BA85-7082092A1431}"/>
                    </a:ext>
                  </a:extLst>
                </p:cNvPr>
                <p:cNvSpPr/>
                <p:nvPr/>
              </p:nvSpPr>
              <p:spPr bwMode="gray">
                <a:xfrm flipH="1">
                  <a:off x="4561486" y="1984708"/>
                  <a:ext cx="4403838"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57" name="Freeform 542">
                  <a:extLst>
                    <a:ext uri="{FF2B5EF4-FFF2-40B4-BE49-F238E27FC236}">
                      <a16:creationId xmlns:a16="http://schemas.microsoft.com/office/drawing/2014/main" id="{591B608A-2BB6-4AA3-9251-FCC3F0EB892A}"/>
                    </a:ext>
                  </a:extLst>
                </p:cNvPr>
                <p:cNvSpPr>
                  <a:spLocks noEditPoints="1"/>
                </p:cNvSpPr>
                <p:nvPr/>
              </p:nvSpPr>
              <p:spPr bwMode="auto">
                <a:xfrm>
                  <a:off x="5062819" y="2201090"/>
                  <a:ext cx="396055" cy="63609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8" name="Rectangle 57">
                  <a:extLst>
                    <a:ext uri="{FF2B5EF4-FFF2-40B4-BE49-F238E27FC236}">
                      <a16:creationId xmlns:a16="http://schemas.microsoft.com/office/drawing/2014/main" id="{A4E5CB12-D334-4F3C-8E95-18A0829C146E}"/>
                    </a:ext>
                  </a:extLst>
                </p:cNvPr>
                <p:cNvSpPr/>
                <p:nvPr/>
              </p:nvSpPr>
              <p:spPr>
                <a:xfrm>
                  <a:off x="5638436" y="2226747"/>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A3E0"/>
                      </a:solidFill>
                      <a:effectLst/>
                      <a:uLnTx/>
                      <a:uFillTx/>
                      <a:ea typeface="+mn-ea"/>
                      <a:cs typeface="+mn-cs"/>
                    </a:rPr>
                    <a:t>Lorem </a:t>
                  </a:r>
                  <a:endParaRPr kumimoji="0" lang="hu-HU" sz="1600" b="1" i="0" u="none" strike="noStrike" kern="1200" cap="none" spc="0" normalizeH="0" baseline="0" noProof="0" dirty="0">
                    <a:ln>
                      <a:noFill/>
                    </a:ln>
                    <a:solidFill>
                      <a:srgbClr val="00A3E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A3E0"/>
                      </a:solidFill>
                      <a:effectLst/>
                      <a:uLnTx/>
                      <a:uFillTx/>
                      <a:ea typeface="+mn-ea"/>
                      <a:cs typeface="+mn-cs"/>
                    </a:rPr>
                    <a:t>ipsum</a:t>
                  </a:r>
                </a:p>
              </p:txBody>
            </p:sp>
            <p:sp>
              <p:nvSpPr>
                <p:cNvPr id="59" name="Rectangle 58">
                  <a:extLst>
                    <a:ext uri="{FF2B5EF4-FFF2-40B4-BE49-F238E27FC236}">
                      <a16:creationId xmlns:a16="http://schemas.microsoft.com/office/drawing/2014/main" id="{6FDB15B8-560E-45B5-BDEC-60A51C02DC5B}"/>
                    </a:ext>
                  </a:extLst>
                </p:cNvPr>
                <p:cNvSpPr/>
                <p:nvPr/>
              </p:nvSpPr>
              <p:spPr>
                <a:xfrm>
                  <a:off x="6548820" y="225752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Lorem ipsum dolor sit </a:t>
                  </a:r>
                  <a:r>
                    <a:rPr kumimoji="0" lang="en-US" sz="1400" b="0" i="0" u="none" strike="noStrike" kern="1200" cap="none" spc="0" normalizeH="0" baseline="0" noProof="0" dirty="0" err="1">
                      <a:ln>
                        <a:noFill/>
                      </a:ln>
                      <a:solidFill>
                        <a:prstClr val="black"/>
                      </a:solidFill>
                      <a:effectLst/>
                      <a:uLnTx/>
                      <a:uFillTx/>
                      <a:ea typeface="+mn-ea"/>
                      <a:cs typeface="+mn-cs"/>
                    </a:rPr>
                    <a:t>amet</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consectetur</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adipiscing</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elit</a:t>
                  </a:r>
                  <a:endParaRPr kumimoji="0" lang="en-US" sz="1400" b="1" i="0" u="none" strike="noStrike" kern="1200" cap="none" spc="0" normalizeH="0" baseline="0" noProof="0" dirty="0">
                    <a:ln>
                      <a:noFill/>
                    </a:ln>
                    <a:solidFill>
                      <a:prstClr val="black"/>
                    </a:solidFill>
                    <a:effectLst/>
                    <a:uLnTx/>
                    <a:uFillTx/>
                    <a:ea typeface="+mn-ea"/>
                    <a:cs typeface="+mn-cs"/>
                  </a:endParaRPr>
                </a:p>
              </p:txBody>
            </p:sp>
          </p:grpSp>
        </p:grpSp>
        <p:grpSp>
          <p:nvGrpSpPr>
            <p:cNvPr id="60" name="Group 59">
              <a:extLst>
                <a:ext uri="{FF2B5EF4-FFF2-40B4-BE49-F238E27FC236}">
                  <a16:creationId xmlns:a16="http://schemas.microsoft.com/office/drawing/2014/main" id="{5F5D5C88-160D-49A2-A3A3-EE34C8EE34E0}"/>
                </a:ext>
              </a:extLst>
            </p:cNvPr>
            <p:cNvGrpSpPr/>
            <p:nvPr/>
          </p:nvGrpSpPr>
          <p:grpSpPr>
            <a:xfrm>
              <a:off x="5057699" y="3091646"/>
              <a:ext cx="4714438" cy="1538514"/>
              <a:chOff x="4485205" y="3139354"/>
              <a:chExt cx="4714438" cy="1538514"/>
            </a:xfrm>
          </p:grpSpPr>
          <p:sp>
            <p:nvSpPr>
              <p:cNvPr id="61" name="Hexagon 60">
                <a:extLst>
                  <a:ext uri="{FF2B5EF4-FFF2-40B4-BE49-F238E27FC236}">
                    <a16:creationId xmlns:a16="http://schemas.microsoft.com/office/drawing/2014/main" id="{7C8116ED-D9C5-4F33-829C-ED9A72C64C9B}"/>
                  </a:ext>
                </a:extLst>
              </p:cNvPr>
              <p:cNvSpPr/>
              <p:nvPr/>
            </p:nvSpPr>
            <p:spPr bwMode="gray">
              <a:xfrm>
                <a:off x="4485205" y="3139354"/>
                <a:ext cx="1784676" cy="1538514"/>
              </a:xfrm>
              <a:prstGeom prst="hexagon">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62" name="Group 61">
                <a:extLst>
                  <a:ext uri="{FF2B5EF4-FFF2-40B4-BE49-F238E27FC236}">
                    <a16:creationId xmlns:a16="http://schemas.microsoft.com/office/drawing/2014/main" id="{6F12B60C-5B96-432C-811A-A7DFEE2D54C6}"/>
                  </a:ext>
                </a:extLst>
              </p:cNvPr>
              <p:cNvGrpSpPr/>
              <p:nvPr/>
            </p:nvGrpSpPr>
            <p:grpSpPr>
              <a:xfrm>
                <a:off x="4742870" y="3374183"/>
                <a:ext cx="4456773" cy="1068855"/>
                <a:chOff x="4561485" y="3645686"/>
                <a:chExt cx="4456773" cy="1068855"/>
              </a:xfrm>
            </p:grpSpPr>
            <p:sp>
              <p:nvSpPr>
                <p:cNvPr id="63" name="Pentagon 13">
                  <a:extLst>
                    <a:ext uri="{FF2B5EF4-FFF2-40B4-BE49-F238E27FC236}">
                      <a16:creationId xmlns:a16="http://schemas.microsoft.com/office/drawing/2014/main" id="{C2B38D58-A3AB-4B46-AE5B-F23962204611}"/>
                    </a:ext>
                  </a:extLst>
                </p:cNvPr>
                <p:cNvSpPr/>
                <p:nvPr/>
              </p:nvSpPr>
              <p:spPr bwMode="gray">
                <a:xfrm flipH="1">
                  <a:off x="4561485" y="3645686"/>
                  <a:ext cx="4401130"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4" name="Freeform 64">
                  <a:extLst>
                    <a:ext uri="{FF2B5EF4-FFF2-40B4-BE49-F238E27FC236}">
                      <a16:creationId xmlns:a16="http://schemas.microsoft.com/office/drawing/2014/main" id="{2033B1B6-115D-44A5-A061-2642C9114AB3}"/>
                    </a:ext>
                  </a:extLst>
                </p:cNvPr>
                <p:cNvSpPr>
                  <a:spLocks noEditPoints="1"/>
                </p:cNvSpPr>
                <p:nvPr/>
              </p:nvSpPr>
              <p:spPr bwMode="auto">
                <a:xfrm>
                  <a:off x="4883518" y="4042120"/>
                  <a:ext cx="691593" cy="275986"/>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55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5" name="Rectangle 64">
                  <a:extLst>
                    <a:ext uri="{FF2B5EF4-FFF2-40B4-BE49-F238E27FC236}">
                      <a16:creationId xmlns:a16="http://schemas.microsoft.com/office/drawing/2014/main" id="{79C6B493-65F8-4AA1-82A6-36E2A64F434B}"/>
                    </a:ext>
                  </a:extLst>
                </p:cNvPr>
                <p:cNvSpPr/>
                <p:nvPr/>
              </p:nvSpPr>
              <p:spPr>
                <a:xfrm>
                  <a:off x="5638436" y="3887725"/>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ea typeface="+mn-ea"/>
                      <a:cs typeface="+mn-cs"/>
                    </a:rPr>
                    <a:t>Lorem </a:t>
                  </a:r>
                  <a:endParaRPr kumimoji="0" lang="hu-HU" sz="1600" b="1" i="0" u="none" strike="noStrike" kern="1200" cap="none" spc="0" normalizeH="0" baseline="0" noProof="0" dirty="0">
                    <a:ln>
                      <a:noFill/>
                    </a:ln>
                    <a:solidFill>
                      <a:srgbClr val="005587"/>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ea typeface="+mn-ea"/>
                      <a:cs typeface="+mn-cs"/>
                    </a:rPr>
                    <a:t>ipsum</a:t>
                  </a:r>
                </a:p>
              </p:txBody>
            </p:sp>
            <p:sp>
              <p:nvSpPr>
                <p:cNvPr id="66" name="Rectangle 65">
                  <a:extLst>
                    <a:ext uri="{FF2B5EF4-FFF2-40B4-BE49-F238E27FC236}">
                      <a16:creationId xmlns:a16="http://schemas.microsoft.com/office/drawing/2014/main" id="{EBD0018F-F518-4C94-B08E-6D617F82B93A}"/>
                    </a:ext>
                  </a:extLst>
                </p:cNvPr>
                <p:cNvSpPr/>
                <p:nvPr/>
              </p:nvSpPr>
              <p:spPr>
                <a:xfrm>
                  <a:off x="6548820" y="3887725"/>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Lorem ipsum dolor sit </a:t>
                  </a:r>
                  <a:r>
                    <a:rPr kumimoji="0" lang="en-US" sz="1400" b="0" i="0" u="none" strike="noStrike" kern="1200" cap="none" spc="0" normalizeH="0" baseline="0" noProof="0" dirty="0" err="1">
                      <a:ln>
                        <a:noFill/>
                      </a:ln>
                      <a:solidFill>
                        <a:prstClr val="black"/>
                      </a:solidFill>
                      <a:effectLst/>
                      <a:uLnTx/>
                      <a:uFillTx/>
                      <a:ea typeface="+mn-ea"/>
                      <a:cs typeface="+mn-cs"/>
                    </a:rPr>
                    <a:t>amet</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consectetur</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adipiscing</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elit</a:t>
                  </a:r>
                  <a:endParaRPr kumimoji="0" lang="en-US" sz="1400" b="1" i="0" u="none" strike="noStrike" kern="1200" cap="none" spc="0" normalizeH="0" baseline="0" noProof="0" dirty="0">
                    <a:ln>
                      <a:noFill/>
                    </a:ln>
                    <a:solidFill>
                      <a:prstClr val="black"/>
                    </a:solidFill>
                    <a:effectLst/>
                    <a:uLnTx/>
                    <a:uFillTx/>
                    <a:ea typeface="+mn-ea"/>
                    <a:cs typeface="+mn-cs"/>
                  </a:endParaRPr>
                </a:p>
              </p:txBody>
            </p:sp>
          </p:grpSp>
        </p:grpSp>
        <p:grpSp>
          <p:nvGrpSpPr>
            <p:cNvPr id="67" name="Group 66">
              <a:extLst>
                <a:ext uri="{FF2B5EF4-FFF2-40B4-BE49-F238E27FC236}">
                  <a16:creationId xmlns:a16="http://schemas.microsoft.com/office/drawing/2014/main" id="{9B1CA8A9-4290-462C-9FA7-20005130258B}"/>
                </a:ext>
              </a:extLst>
            </p:cNvPr>
            <p:cNvGrpSpPr/>
            <p:nvPr/>
          </p:nvGrpSpPr>
          <p:grpSpPr>
            <a:xfrm>
              <a:off x="572494" y="2322389"/>
              <a:ext cx="4658795" cy="1538514"/>
              <a:chOff x="0" y="2370097"/>
              <a:chExt cx="4658795" cy="1538514"/>
            </a:xfrm>
          </p:grpSpPr>
          <p:sp>
            <p:nvSpPr>
              <p:cNvPr id="68" name="Hexagon 67">
                <a:extLst>
                  <a:ext uri="{FF2B5EF4-FFF2-40B4-BE49-F238E27FC236}">
                    <a16:creationId xmlns:a16="http://schemas.microsoft.com/office/drawing/2014/main" id="{61A22BB6-0514-4240-A124-45008A5CF345}"/>
                  </a:ext>
                </a:extLst>
              </p:cNvPr>
              <p:cNvSpPr/>
              <p:nvPr/>
            </p:nvSpPr>
            <p:spPr bwMode="gray">
              <a:xfrm>
                <a:off x="2874119" y="2370097"/>
                <a:ext cx="1784676" cy="1538514"/>
              </a:xfrm>
              <a:prstGeom prst="hexagon">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9" name="Pentagon 14">
                <a:extLst>
                  <a:ext uri="{FF2B5EF4-FFF2-40B4-BE49-F238E27FC236}">
                    <a16:creationId xmlns:a16="http://schemas.microsoft.com/office/drawing/2014/main" id="{1A8AA83F-7396-4CD0-AD3F-A77B78D2FA34}"/>
                  </a:ext>
                </a:extLst>
              </p:cNvPr>
              <p:cNvSpPr/>
              <p:nvPr/>
            </p:nvSpPr>
            <p:spPr bwMode="gray">
              <a:xfrm>
                <a:off x="0" y="2604926"/>
                <a:ext cx="4374345"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70" name="Group 69">
                <a:extLst>
                  <a:ext uri="{FF2B5EF4-FFF2-40B4-BE49-F238E27FC236}">
                    <a16:creationId xmlns:a16="http://schemas.microsoft.com/office/drawing/2014/main" id="{87BD2185-8DBE-4A53-9110-650A05C4AEC3}"/>
                  </a:ext>
                </a:extLst>
              </p:cNvPr>
              <p:cNvGrpSpPr/>
              <p:nvPr/>
            </p:nvGrpSpPr>
            <p:grpSpPr>
              <a:xfrm>
                <a:off x="93621" y="2798133"/>
                <a:ext cx="3937220" cy="623450"/>
                <a:chOff x="-2401375" y="1192275"/>
                <a:chExt cx="3937220" cy="623450"/>
              </a:xfrm>
            </p:grpSpPr>
            <p:sp>
              <p:nvSpPr>
                <p:cNvPr id="71" name="Freeform 915">
                  <a:extLst>
                    <a:ext uri="{FF2B5EF4-FFF2-40B4-BE49-F238E27FC236}">
                      <a16:creationId xmlns:a16="http://schemas.microsoft.com/office/drawing/2014/main" id="{F37F2C20-08FB-4794-914A-AD2BB82A92B0}"/>
                    </a:ext>
                  </a:extLst>
                </p:cNvPr>
                <p:cNvSpPr>
                  <a:spLocks noChangeAspect="1" noEditPoints="1"/>
                </p:cNvSpPr>
                <p:nvPr/>
              </p:nvSpPr>
              <p:spPr bwMode="auto">
                <a:xfrm>
                  <a:off x="1018740" y="1192275"/>
                  <a:ext cx="517105" cy="623450"/>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rgbClr val="43B02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2" name="Rectangle 71">
                  <a:extLst>
                    <a:ext uri="{FF2B5EF4-FFF2-40B4-BE49-F238E27FC236}">
                      <a16:creationId xmlns:a16="http://schemas.microsoft.com/office/drawing/2014/main" id="{AC12BF62-57A5-4BA6-A79C-F95F03328D4A}"/>
                    </a:ext>
                  </a:extLst>
                </p:cNvPr>
                <p:cNvSpPr/>
                <p:nvPr/>
              </p:nvSpPr>
              <p:spPr>
                <a:xfrm>
                  <a:off x="-80913" y="1241107"/>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B02A"/>
                      </a:solidFill>
                      <a:effectLst/>
                      <a:uLnTx/>
                      <a:uFillTx/>
                      <a:ea typeface="+mn-ea"/>
                      <a:cs typeface="+mn-cs"/>
                    </a:rPr>
                    <a:t>Lorem </a:t>
                  </a:r>
                  <a:endParaRPr kumimoji="0" lang="hu-HU" sz="1600" b="1" i="0" u="none" strike="noStrike" kern="1200" cap="none" spc="0" normalizeH="0" baseline="0" noProof="0" dirty="0">
                    <a:ln>
                      <a:noFill/>
                    </a:ln>
                    <a:solidFill>
                      <a:srgbClr val="43B02A"/>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B02A"/>
                      </a:solidFill>
                      <a:effectLst/>
                      <a:uLnTx/>
                      <a:uFillTx/>
                      <a:ea typeface="+mn-ea"/>
                      <a:cs typeface="+mn-cs"/>
                    </a:rPr>
                    <a:t>ipsum</a:t>
                  </a:r>
                </a:p>
              </p:txBody>
            </p:sp>
            <p:sp>
              <p:nvSpPr>
                <p:cNvPr id="73" name="Rectangle 72">
                  <a:extLst>
                    <a:ext uri="{FF2B5EF4-FFF2-40B4-BE49-F238E27FC236}">
                      <a16:creationId xmlns:a16="http://schemas.microsoft.com/office/drawing/2014/main" id="{50C42B8C-7B2A-4510-8D4A-D7D635822455}"/>
                    </a:ext>
                  </a:extLst>
                </p:cNvPr>
                <p:cNvSpPr/>
                <p:nvPr/>
              </p:nvSpPr>
              <p:spPr>
                <a:xfrm>
                  <a:off x="-2401375" y="127098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Lorem ipsum dolor sit </a:t>
                  </a:r>
                  <a:r>
                    <a:rPr kumimoji="0" lang="en-US" sz="1400" b="0" i="0" u="none" strike="noStrike" kern="1200" cap="none" spc="0" normalizeH="0" baseline="0" noProof="0" dirty="0" err="1">
                      <a:ln>
                        <a:noFill/>
                      </a:ln>
                      <a:solidFill>
                        <a:prstClr val="black"/>
                      </a:solidFill>
                      <a:effectLst/>
                      <a:uLnTx/>
                      <a:uFillTx/>
                      <a:ea typeface="+mn-ea"/>
                      <a:cs typeface="+mn-cs"/>
                    </a:rPr>
                    <a:t>amet</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consectetur</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adipiscing</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elit</a:t>
                  </a:r>
                  <a:endParaRPr kumimoji="0" lang="en-US" sz="1400" b="1" i="0" u="none" strike="noStrike" kern="1200" cap="none" spc="0" normalizeH="0" baseline="0" noProof="0" dirty="0">
                    <a:ln>
                      <a:noFill/>
                    </a:ln>
                    <a:solidFill>
                      <a:prstClr val="black"/>
                    </a:solidFill>
                    <a:effectLst/>
                    <a:uLnTx/>
                    <a:uFillTx/>
                    <a:ea typeface="+mn-ea"/>
                    <a:cs typeface="+mn-cs"/>
                  </a:endParaRPr>
                </a:p>
              </p:txBody>
            </p:sp>
          </p:grpSp>
        </p:grpSp>
        <p:grpSp>
          <p:nvGrpSpPr>
            <p:cNvPr id="74" name="Group 73">
              <a:extLst>
                <a:ext uri="{FF2B5EF4-FFF2-40B4-BE49-F238E27FC236}">
                  <a16:creationId xmlns:a16="http://schemas.microsoft.com/office/drawing/2014/main" id="{2DE20407-423A-4CC8-8908-04B388496EC7}"/>
                </a:ext>
              </a:extLst>
            </p:cNvPr>
            <p:cNvGrpSpPr/>
            <p:nvPr/>
          </p:nvGrpSpPr>
          <p:grpSpPr>
            <a:xfrm>
              <a:off x="572494" y="4033977"/>
              <a:ext cx="4655892" cy="1538514"/>
              <a:chOff x="0" y="4081685"/>
              <a:chExt cx="4655892" cy="1538514"/>
            </a:xfrm>
          </p:grpSpPr>
          <p:sp>
            <p:nvSpPr>
              <p:cNvPr id="75" name="Hexagon 74">
                <a:extLst>
                  <a:ext uri="{FF2B5EF4-FFF2-40B4-BE49-F238E27FC236}">
                    <a16:creationId xmlns:a16="http://schemas.microsoft.com/office/drawing/2014/main" id="{CE33143E-0943-4436-B249-638EC6D25ED5}"/>
                  </a:ext>
                </a:extLst>
              </p:cNvPr>
              <p:cNvSpPr/>
              <p:nvPr/>
            </p:nvSpPr>
            <p:spPr bwMode="gray">
              <a:xfrm>
                <a:off x="2871216" y="4081685"/>
                <a:ext cx="1784676" cy="1538514"/>
              </a:xfrm>
              <a:prstGeom prst="hexagon">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76" name="Group 75">
                <a:extLst>
                  <a:ext uri="{FF2B5EF4-FFF2-40B4-BE49-F238E27FC236}">
                    <a16:creationId xmlns:a16="http://schemas.microsoft.com/office/drawing/2014/main" id="{3590B9B8-FDB8-4F18-B96F-B1DBEEBAA723}"/>
                  </a:ext>
                </a:extLst>
              </p:cNvPr>
              <p:cNvGrpSpPr/>
              <p:nvPr/>
            </p:nvGrpSpPr>
            <p:grpSpPr>
              <a:xfrm>
                <a:off x="0" y="4316515"/>
                <a:ext cx="4398227" cy="1068855"/>
                <a:chOff x="-23882" y="2955804"/>
                <a:chExt cx="4398227" cy="1068855"/>
              </a:xfrm>
            </p:grpSpPr>
            <p:sp>
              <p:nvSpPr>
                <p:cNvPr id="77" name="Pentagon 34">
                  <a:extLst>
                    <a:ext uri="{FF2B5EF4-FFF2-40B4-BE49-F238E27FC236}">
                      <a16:creationId xmlns:a16="http://schemas.microsoft.com/office/drawing/2014/main" id="{D723A76E-43EB-4D08-956B-C13DA946C7BE}"/>
                    </a:ext>
                  </a:extLst>
                </p:cNvPr>
                <p:cNvSpPr/>
                <p:nvPr/>
              </p:nvSpPr>
              <p:spPr bwMode="gray">
                <a:xfrm>
                  <a:off x="-23882" y="2955804"/>
                  <a:ext cx="4398227"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78" name="Group 77">
                  <a:extLst>
                    <a:ext uri="{FF2B5EF4-FFF2-40B4-BE49-F238E27FC236}">
                      <a16:creationId xmlns:a16="http://schemas.microsoft.com/office/drawing/2014/main" id="{0E08AF36-E332-4193-B5D2-E155F07A1FC6}"/>
                    </a:ext>
                  </a:extLst>
                </p:cNvPr>
                <p:cNvGrpSpPr/>
                <p:nvPr/>
              </p:nvGrpSpPr>
              <p:grpSpPr>
                <a:xfrm>
                  <a:off x="93621" y="3197843"/>
                  <a:ext cx="2963844" cy="489214"/>
                  <a:chOff x="-2401375" y="1241107"/>
                  <a:chExt cx="2963844" cy="489214"/>
                </a:xfrm>
              </p:grpSpPr>
              <p:sp>
                <p:nvSpPr>
                  <p:cNvPr id="79" name="Rectangle 78">
                    <a:extLst>
                      <a:ext uri="{FF2B5EF4-FFF2-40B4-BE49-F238E27FC236}">
                        <a16:creationId xmlns:a16="http://schemas.microsoft.com/office/drawing/2014/main" id="{7AED8F5C-E015-4727-AB14-A26513902A17}"/>
                      </a:ext>
                    </a:extLst>
                  </p:cNvPr>
                  <p:cNvSpPr/>
                  <p:nvPr/>
                </p:nvSpPr>
                <p:spPr>
                  <a:xfrm>
                    <a:off x="-80913" y="1241107"/>
                    <a:ext cx="643382" cy="48921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Lorem </a:t>
                    </a:r>
                    <a:endParaRPr kumimoji="0" lang="hu-HU" sz="1600" b="1" i="0" u="none" strike="noStrike" kern="1200" cap="none" spc="0" normalizeH="0" baseline="0" noProof="0" dirty="0">
                      <a:ln>
                        <a:noFill/>
                      </a:ln>
                      <a:solidFill>
                        <a:srgbClr val="046A38"/>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ipsum</a:t>
                    </a:r>
                  </a:p>
                </p:txBody>
              </p:sp>
              <p:sp>
                <p:nvSpPr>
                  <p:cNvPr id="80" name="Rectangle 79">
                    <a:extLst>
                      <a:ext uri="{FF2B5EF4-FFF2-40B4-BE49-F238E27FC236}">
                        <a16:creationId xmlns:a16="http://schemas.microsoft.com/office/drawing/2014/main" id="{30E44304-0535-40DD-B022-152C1A673A86}"/>
                      </a:ext>
                    </a:extLst>
                  </p:cNvPr>
                  <p:cNvSpPr/>
                  <p:nvPr/>
                </p:nvSpPr>
                <p:spPr>
                  <a:xfrm>
                    <a:off x="-2401375" y="1270984"/>
                    <a:ext cx="2469438" cy="4377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Lorem ipsum dolor sit </a:t>
                    </a:r>
                    <a:r>
                      <a:rPr kumimoji="0" lang="en-US" sz="1400" b="0" i="0" u="none" strike="noStrike" kern="1200" cap="none" spc="0" normalizeH="0" baseline="0" noProof="0" dirty="0" err="1">
                        <a:ln>
                          <a:noFill/>
                        </a:ln>
                        <a:solidFill>
                          <a:prstClr val="black"/>
                        </a:solidFill>
                        <a:effectLst/>
                        <a:uLnTx/>
                        <a:uFillTx/>
                        <a:ea typeface="+mn-ea"/>
                        <a:cs typeface="+mn-cs"/>
                      </a:rPr>
                      <a:t>amet</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consectetur</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adipiscing</a:t>
                    </a:r>
                    <a:r>
                      <a:rPr kumimoji="0" lang="en-US" sz="1400" b="0" i="0" u="none" strike="noStrike" kern="1200" cap="none" spc="0" normalizeH="0" baseline="0" noProof="0" dirty="0">
                        <a:ln>
                          <a:noFill/>
                        </a:ln>
                        <a:solidFill>
                          <a:prstClr val="black"/>
                        </a:solidFill>
                        <a:effectLst/>
                        <a:uLnTx/>
                        <a:uFillTx/>
                        <a:ea typeface="+mn-ea"/>
                        <a:cs typeface="+mn-cs"/>
                      </a:rPr>
                      <a:t> </a:t>
                    </a:r>
                    <a:r>
                      <a:rPr kumimoji="0" lang="en-US" sz="1400" b="0" i="0" u="none" strike="noStrike" kern="1200" cap="none" spc="0" normalizeH="0" baseline="0" noProof="0" dirty="0" err="1">
                        <a:ln>
                          <a:noFill/>
                        </a:ln>
                        <a:solidFill>
                          <a:prstClr val="black"/>
                        </a:solidFill>
                        <a:effectLst/>
                        <a:uLnTx/>
                        <a:uFillTx/>
                        <a:ea typeface="+mn-ea"/>
                        <a:cs typeface="+mn-cs"/>
                      </a:rPr>
                      <a:t>elit</a:t>
                    </a:r>
                    <a:endParaRPr kumimoji="0" lang="en-US" sz="1400" b="1" i="0" u="none" strike="noStrike" kern="1200" cap="none" spc="0" normalizeH="0" baseline="0" noProof="0" dirty="0">
                      <a:ln>
                        <a:noFill/>
                      </a:ln>
                      <a:solidFill>
                        <a:prstClr val="black"/>
                      </a:solidFill>
                      <a:effectLst/>
                      <a:uLnTx/>
                      <a:uFillTx/>
                      <a:ea typeface="+mn-ea"/>
                      <a:cs typeface="+mn-cs"/>
                    </a:endParaRPr>
                  </a:p>
                </p:txBody>
              </p:sp>
            </p:grpSp>
          </p:grpSp>
        </p:grpSp>
        <p:sp>
          <p:nvSpPr>
            <p:cNvPr id="81" name="Freeform 764">
              <a:extLst>
                <a:ext uri="{FF2B5EF4-FFF2-40B4-BE49-F238E27FC236}">
                  <a16:creationId xmlns:a16="http://schemas.microsoft.com/office/drawing/2014/main" id="{ADA2E4B0-D33E-46A6-A464-DD7141CD4831}"/>
                </a:ext>
              </a:extLst>
            </p:cNvPr>
            <p:cNvSpPr>
              <a:spLocks noChangeAspect="1" noEditPoints="1"/>
            </p:cNvSpPr>
            <p:nvPr/>
          </p:nvSpPr>
          <p:spPr bwMode="auto">
            <a:xfrm>
              <a:off x="4117767" y="4510846"/>
              <a:ext cx="426443" cy="579525"/>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33" name="Star: 5 Points 32">
            <a:extLst>
              <a:ext uri="{FF2B5EF4-FFF2-40B4-BE49-F238E27FC236}">
                <a16:creationId xmlns:a16="http://schemas.microsoft.com/office/drawing/2014/main" id="{99EBCC5B-AEAE-4529-9C81-A14D337C307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989575491"/>
      </p:ext>
    </p:extLst>
  </p:cSld>
  <p:clrMapOvr>
    <a:masterClrMapping/>
  </p:clrMapOvr>
  <p:transition>
    <p:fade/>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8CE792DA-450B-3D47-9281-4EACCB2510C8}"/>
              </a:ext>
            </a:extLst>
          </p:cNvPr>
          <p:cNvSpPr>
            <a:spLocks noGrp="1"/>
          </p:cNvSpPr>
          <p:nvPr>
            <p:ph type="title"/>
          </p:nvPr>
        </p:nvSpPr>
        <p:spPr/>
        <p:txBody>
          <a:bodyPr/>
          <a:lstStyle/>
          <a:p>
            <a:r>
              <a:rPr lang="en-US" dirty="0"/>
              <a:t>Icon chart</a:t>
            </a:r>
          </a:p>
        </p:txBody>
      </p:sp>
      <p:grpSp>
        <p:nvGrpSpPr>
          <p:cNvPr id="4" name="Group 3">
            <a:extLst>
              <a:ext uri="{FF2B5EF4-FFF2-40B4-BE49-F238E27FC236}">
                <a16:creationId xmlns:a16="http://schemas.microsoft.com/office/drawing/2014/main" id="{F98B6070-27E2-654E-842F-3DB633165750}"/>
              </a:ext>
            </a:extLst>
          </p:cNvPr>
          <p:cNvGrpSpPr/>
          <p:nvPr/>
        </p:nvGrpSpPr>
        <p:grpSpPr>
          <a:xfrm>
            <a:off x="597673" y="1120848"/>
            <a:ext cx="10996654" cy="4950865"/>
            <a:chOff x="572494" y="1430668"/>
            <a:chExt cx="9199643" cy="4141823"/>
          </a:xfrm>
        </p:grpSpPr>
        <p:grpSp>
          <p:nvGrpSpPr>
            <p:cNvPr id="5" name="Group 4">
              <a:extLst>
                <a:ext uri="{FF2B5EF4-FFF2-40B4-BE49-F238E27FC236}">
                  <a16:creationId xmlns:a16="http://schemas.microsoft.com/office/drawing/2014/main" id="{D0D77610-2A50-1B4F-AC07-B840FFE47A4B}"/>
                </a:ext>
              </a:extLst>
            </p:cNvPr>
            <p:cNvGrpSpPr/>
            <p:nvPr/>
          </p:nvGrpSpPr>
          <p:grpSpPr>
            <a:xfrm>
              <a:off x="5057699" y="1430668"/>
              <a:ext cx="4711729" cy="1538514"/>
              <a:chOff x="4485205" y="1478376"/>
              <a:chExt cx="4711729" cy="1538514"/>
            </a:xfrm>
          </p:grpSpPr>
          <p:sp>
            <p:nvSpPr>
              <p:cNvPr id="28" name="Hexagon 27">
                <a:extLst>
                  <a:ext uri="{FF2B5EF4-FFF2-40B4-BE49-F238E27FC236}">
                    <a16:creationId xmlns:a16="http://schemas.microsoft.com/office/drawing/2014/main" id="{441B8769-0D7F-A84B-9584-104820AE82D4}"/>
                  </a:ext>
                </a:extLst>
              </p:cNvPr>
              <p:cNvSpPr/>
              <p:nvPr/>
            </p:nvSpPr>
            <p:spPr bwMode="gray">
              <a:xfrm>
                <a:off x="4485205" y="1478376"/>
                <a:ext cx="1784676" cy="1538514"/>
              </a:xfrm>
              <a:prstGeom prst="hexagon">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9" name="Group 28">
                <a:extLst>
                  <a:ext uri="{FF2B5EF4-FFF2-40B4-BE49-F238E27FC236}">
                    <a16:creationId xmlns:a16="http://schemas.microsoft.com/office/drawing/2014/main" id="{1DC11D4D-ABD4-9F43-8F84-E8A72F45F743}"/>
                  </a:ext>
                </a:extLst>
              </p:cNvPr>
              <p:cNvGrpSpPr/>
              <p:nvPr/>
            </p:nvGrpSpPr>
            <p:grpSpPr>
              <a:xfrm>
                <a:off x="4740162" y="1715886"/>
                <a:ext cx="4456772" cy="1068855"/>
                <a:chOff x="4561486" y="1984708"/>
                <a:chExt cx="4456772" cy="1068855"/>
              </a:xfrm>
            </p:grpSpPr>
            <p:sp>
              <p:nvSpPr>
                <p:cNvPr id="30" name="Pentagon 3">
                  <a:extLst>
                    <a:ext uri="{FF2B5EF4-FFF2-40B4-BE49-F238E27FC236}">
                      <a16:creationId xmlns:a16="http://schemas.microsoft.com/office/drawing/2014/main" id="{99765601-0283-7B47-B24F-02033E6F2E31}"/>
                    </a:ext>
                  </a:extLst>
                </p:cNvPr>
                <p:cNvSpPr/>
                <p:nvPr/>
              </p:nvSpPr>
              <p:spPr bwMode="gray">
                <a:xfrm flipH="1">
                  <a:off x="4561486" y="1984708"/>
                  <a:ext cx="4403838"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31" name="Freeform 542">
                  <a:extLst>
                    <a:ext uri="{FF2B5EF4-FFF2-40B4-BE49-F238E27FC236}">
                      <a16:creationId xmlns:a16="http://schemas.microsoft.com/office/drawing/2014/main" id="{5218BE1A-563E-0249-90BE-CD6C5698C6F9}"/>
                    </a:ext>
                  </a:extLst>
                </p:cNvPr>
                <p:cNvSpPr>
                  <a:spLocks noEditPoints="1"/>
                </p:cNvSpPr>
                <p:nvPr/>
              </p:nvSpPr>
              <p:spPr bwMode="auto">
                <a:xfrm>
                  <a:off x="5062819" y="2201090"/>
                  <a:ext cx="396055" cy="63609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32" name="Rectangle 31">
                  <a:extLst>
                    <a:ext uri="{FF2B5EF4-FFF2-40B4-BE49-F238E27FC236}">
                      <a16:creationId xmlns:a16="http://schemas.microsoft.com/office/drawing/2014/main" id="{6E913A80-42CA-6745-B834-EB5E78DF132B}"/>
                    </a:ext>
                  </a:extLst>
                </p:cNvPr>
                <p:cNvSpPr/>
                <p:nvPr/>
              </p:nvSpPr>
              <p:spPr>
                <a:xfrm>
                  <a:off x="5638436" y="2226747"/>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A3E0"/>
                      </a:solidFill>
                      <a:effectLst/>
                      <a:uLnTx/>
                      <a:uFillTx/>
                      <a:ea typeface="+mn-ea"/>
                      <a:cs typeface="+mn-cs"/>
                    </a:rPr>
                    <a:t>Lorem </a:t>
                  </a:r>
                  <a:endParaRPr kumimoji="0" lang="hu-HU" sz="1600" b="1" i="0" u="none" strike="noStrike" kern="1200" cap="none" spc="0" normalizeH="0" baseline="0" noProof="0" dirty="0">
                    <a:ln>
                      <a:noFill/>
                    </a:ln>
                    <a:solidFill>
                      <a:srgbClr val="00A3E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A3E0"/>
                      </a:solidFill>
                      <a:effectLst/>
                      <a:uLnTx/>
                      <a:uFillTx/>
                      <a:ea typeface="+mn-ea"/>
                      <a:cs typeface="+mn-cs"/>
                    </a:rPr>
                    <a:t>ipsum</a:t>
                  </a:r>
                </a:p>
              </p:txBody>
            </p:sp>
            <p:sp>
              <p:nvSpPr>
                <p:cNvPr id="33" name="Rectangle 32">
                  <a:extLst>
                    <a:ext uri="{FF2B5EF4-FFF2-40B4-BE49-F238E27FC236}">
                      <a16:creationId xmlns:a16="http://schemas.microsoft.com/office/drawing/2014/main" id="{833F278C-9322-BC4D-BE35-D16A6B1D0B83}"/>
                    </a:ext>
                  </a:extLst>
                </p:cNvPr>
                <p:cNvSpPr/>
                <p:nvPr/>
              </p:nvSpPr>
              <p:spPr>
                <a:xfrm>
                  <a:off x="6548820" y="225752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Lorem ipsum dolor sit </a:t>
                  </a:r>
                  <a:r>
                    <a:rPr kumimoji="0" lang="en-US" sz="1400" b="0" i="0" u="none" strike="noStrike" kern="1200" cap="none" spc="0" normalizeH="0" baseline="0" noProof="0" dirty="0" err="1">
                      <a:ln>
                        <a:noFill/>
                      </a:ln>
                      <a:solidFill>
                        <a:prstClr val="white"/>
                      </a:solidFill>
                      <a:effectLst/>
                      <a:uLnTx/>
                      <a:uFillTx/>
                      <a:ea typeface="+mn-ea"/>
                      <a:cs typeface="+mn-cs"/>
                    </a:rPr>
                    <a:t>amet</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consectetur</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adipiscing</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elit</a:t>
                  </a:r>
                  <a:endParaRPr kumimoji="0" lang="en-US" sz="1400" b="1" i="0" u="none" strike="noStrike" kern="1200" cap="none" spc="0" normalizeH="0" baseline="0" noProof="0" dirty="0">
                    <a:ln>
                      <a:noFill/>
                    </a:ln>
                    <a:solidFill>
                      <a:prstClr val="white"/>
                    </a:solidFill>
                    <a:effectLst/>
                    <a:uLnTx/>
                    <a:uFillTx/>
                    <a:ea typeface="+mn-ea"/>
                    <a:cs typeface="+mn-cs"/>
                  </a:endParaRPr>
                </a:p>
              </p:txBody>
            </p:sp>
          </p:grpSp>
        </p:grpSp>
        <p:grpSp>
          <p:nvGrpSpPr>
            <p:cNvPr id="6" name="Group 5">
              <a:extLst>
                <a:ext uri="{FF2B5EF4-FFF2-40B4-BE49-F238E27FC236}">
                  <a16:creationId xmlns:a16="http://schemas.microsoft.com/office/drawing/2014/main" id="{99302727-C214-C047-BA7C-FBC8C069357D}"/>
                </a:ext>
              </a:extLst>
            </p:cNvPr>
            <p:cNvGrpSpPr/>
            <p:nvPr/>
          </p:nvGrpSpPr>
          <p:grpSpPr>
            <a:xfrm>
              <a:off x="5057699" y="3091646"/>
              <a:ext cx="4714438" cy="1538514"/>
              <a:chOff x="4485205" y="3139354"/>
              <a:chExt cx="4714438" cy="1538514"/>
            </a:xfrm>
          </p:grpSpPr>
          <p:sp>
            <p:nvSpPr>
              <p:cNvPr id="22" name="Hexagon 21">
                <a:extLst>
                  <a:ext uri="{FF2B5EF4-FFF2-40B4-BE49-F238E27FC236}">
                    <a16:creationId xmlns:a16="http://schemas.microsoft.com/office/drawing/2014/main" id="{DABA0B33-E242-C744-9D91-F8B37F5E4C0D}"/>
                  </a:ext>
                </a:extLst>
              </p:cNvPr>
              <p:cNvSpPr/>
              <p:nvPr/>
            </p:nvSpPr>
            <p:spPr bwMode="gray">
              <a:xfrm>
                <a:off x="4485205" y="3139354"/>
                <a:ext cx="1784676" cy="1538514"/>
              </a:xfrm>
              <a:prstGeom prst="hexagon">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3" name="Group 22">
                <a:extLst>
                  <a:ext uri="{FF2B5EF4-FFF2-40B4-BE49-F238E27FC236}">
                    <a16:creationId xmlns:a16="http://schemas.microsoft.com/office/drawing/2014/main" id="{DA8BD156-D165-9A4A-B21B-C7D9E07A1F2A}"/>
                  </a:ext>
                </a:extLst>
              </p:cNvPr>
              <p:cNvGrpSpPr/>
              <p:nvPr/>
            </p:nvGrpSpPr>
            <p:grpSpPr>
              <a:xfrm>
                <a:off x="4742870" y="3374183"/>
                <a:ext cx="4456773" cy="1068855"/>
                <a:chOff x="4561485" y="3645686"/>
                <a:chExt cx="4456773" cy="1068855"/>
              </a:xfrm>
            </p:grpSpPr>
            <p:sp>
              <p:nvSpPr>
                <p:cNvPr id="24" name="Pentagon 13">
                  <a:extLst>
                    <a:ext uri="{FF2B5EF4-FFF2-40B4-BE49-F238E27FC236}">
                      <a16:creationId xmlns:a16="http://schemas.microsoft.com/office/drawing/2014/main" id="{FE882743-EC19-354F-B6F9-2C73977CC6EC}"/>
                    </a:ext>
                  </a:extLst>
                </p:cNvPr>
                <p:cNvSpPr/>
                <p:nvPr/>
              </p:nvSpPr>
              <p:spPr bwMode="gray">
                <a:xfrm flipH="1">
                  <a:off x="4561485" y="3645686"/>
                  <a:ext cx="4401130"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25" name="Freeform 24">
                  <a:extLst>
                    <a:ext uri="{FF2B5EF4-FFF2-40B4-BE49-F238E27FC236}">
                      <a16:creationId xmlns:a16="http://schemas.microsoft.com/office/drawing/2014/main" id="{A95389D4-90D5-DD4C-BC53-3B8721D17961}"/>
                    </a:ext>
                  </a:extLst>
                </p:cNvPr>
                <p:cNvSpPr>
                  <a:spLocks noEditPoints="1"/>
                </p:cNvSpPr>
                <p:nvPr/>
              </p:nvSpPr>
              <p:spPr bwMode="auto">
                <a:xfrm>
                  <a:off x="4883518" y="4042120"/>
                  <a:ext cx="691593" cy="275986"/>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55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26" name="Rectangle 25">
                  <a:extLst>
                    <a:ext uri="{FF2B5EF4-FFF2-40B4-BE49-F238E27FC236}">
                      <a16:creationId xmlns:a16="http://schemas.microsoft.com/office/drawing/2014/main" id="{4843F89A-10D0-0D41-AC84-FB2CCD9FDC3B}"/>
                    </a:ext>
                  </a:extLst>
                </p:cNvPr>
                <p:cNvSpPr/>
                <p:nvPr/>
              </p:nvSpPr>
              <p:spPr>
                <a:xfrm>
                  <a:off x="5638436" y="3887725"/>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ea typeface="+mn-ea"/>
                      <a:cs typeface="+mn-cs"/>
                    </a:rPr>
                    <a:t>Lorem </a:t>
                  </a:r>
                  <a:endParaRPr kumimoji="0" lang="hu-HU" sz="1600" b="1" i="0" u="none" strike="noStrike" kern="1200" cap="none" spc="0" normalizeH="0" baseline="0" noProof="0" dirty="0">
                    <a:ln>
                      <a:noFill/>
                    </a:ln>
                    <a:solidFill>
                      <a:srgbClr val="005587"/>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ea typeface="+mn-ea"/>
                      <a:cs typeface="+mn-cs"/>
                    </a:rPr>
                    <a:t>ipsum</a:t>
                  </a:r>
                </a:p>
              </p:txBody>
            </p:sp>
            <p:sp>
              <p:nvSpPr>
                <p:cNvPr id="27" name="Rectangle 26">
                  <a:extLst>
                    <a:ext uri="{FF2B5EF4-FFF2-40B4-BE49-F238E27FC236}">
                      <a16:creationId xmlns:a16="http://schemas.microsoft.com/office/drawing/2014/main" id="{B77CCF18-8D44-2947-A70B-9FB87620AF65}"/>
                    </a:ext>
                  </a:extLst>
                </p:cNvPr>
                <p:cNvSpPr/>
                <p:nvPr/>
              </p:nvSpPr>
              <p:spPr>
                <a:xfrm>
                  <a:off x="6548820" y="3887725"/>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Lorem ipsum dolor sit </a:t>
                  </a:r>
                  <a:r>
                    <a:rPr kumimoji="0" lang="en-US" sz="1400" b="0" i="0" u="none" strike="noStrike" kern="1200" cap="none" spc="0" normalizeH="0" baseline="0" noProof="0" dirty="0" err="1">
                      <a:ln>
                        <a:noFill/>
                      </a:ln>
                      <a:solidFill>
                        <a:prstClr val="white"/>
                      </a:solidFill>
                      <a:effectLst/>
                      <a:uLnTx/>
                      <a:uFillTx/>
                      <a:ea typeface="+mn-ea"/>
                      <a:cs typeface="+mn-cs"/>
                    </a:rPr>
                    <a:t>amet</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consectetur</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adipiscing</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elit</a:t>
                  </a:r>
                  <a:endParaRPr kumimoji="0" lang="en-US" sz="1400" b="1" i="0" u="none" strike="noStrike" kern="1200" cap="none" spc="0" normalizeH="0" baseline="0" noProof="0" dirty="0">
                    <a:ln>
                      <a:noFill/>
                    </a:ln>
                    <a:solidFill>
                      <a:prstClr val="white"/>
                    </a:solidFill>
                    <a:effectLst/>
                    <a:uLnTx/>
                    <a:uFillTx/>
                    <a:ea typeface="+mn-ea"/>
                    <a:cs typeface="+mn-cs"/>
                  </a:endParaRPr>
                </a:p>
              </p:txBody>
            </p:sp>
          </p:grpSp>
        </p:grpSp>
        <p:grpSp>
          <p:nvGrpSpPr>
            <p:cNvPr id="7" name="Group 6">
              <a:extLst>
                <a:ext uri="{FF2B5EF4-FFF2-40B4-BE49-F238E27FC236}">
                  <a16:creationId xmlns:a16="http://schemas.microsoft.com/office/drawing/2014/main" id="{AD617C7C-4311-B744-BF96-C61EDD94521F}"/>
                </a:ext>
              </a:extLst>
            </p:cNvPr>
            <p:cNvGrpSpPr/>
            <p:nvPr/>
          </p:nvGrpSpPr>
          <p:grpSpPr>
            <a:xfrm>
              <a:off x="572494" y="2322389"/>
              <a:ext cx="4658795" cy="1538514"/>
              <a:chOff x="0" y="2370097"/>
              <a:chExt cx="4658795" cy="1538514"/>
            </a:xfrm>
          </p:grpSpPr>
          <p:sp>
            <p:nvSpPr>
              <p:cNvPr id="16" name="Hexagon 15">
                <a:extLst>
                  <a:ext uri="{FF2B5EF4-FFF2-40B4-BE49-F238E27FC236}">
                    <a16:creationId xmlns:a16="http://schemas.microsoft.com/office/drawing/2014/main" id="{1C9ECE58-F47E-DA41-A836-6F90F15B9DBD}"/>
                  </a:ext>
                </a:extLst>
              </p:cNvPr>
              <p:cNvSpPr/>
              <p:nvPr/>
            </p:nvSpPr>
            <p:spPr bwMode="gray">
              <a:xfrm>
                <a:off x="2874119" y="2370097"/>
                <a:ext cx="1784676" cy="1538514"/>
              </a:xfrm>
              <a:prstGeom prst="hexagon">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7" name="Pentagon 14">
                <a:extLst>
                  <a:ext uri="{FF2B5EF4-FFF2-40B4-BE49-F238E27FC236}">
                    <a16:creationId xmlns:a16="http://schemas.microsoft.com/office/drawing/2014/main" id="{B7590E0B-3E7C-0F4D-B749-A6C3D68C19BD}"/>
                  </a:ext>
                </a:extLst>
              </p:cNvPr>
              <p:cNvSpPr/>
              <p:nvPr/>
            </p:nvSpPr>
            <p:spPr bwMode="gray">
              <a:xfrm>
                <a:off x="0" y="2604926"/>
                <a:ext cx="4374345"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8" name="Group 17">
                <a:extLst>
                  <a:ext uri="{FF2B5EF4-FFF2-40B4-BE49-F238E27FC236}">
                    <a16:creationId xmlns:a16="http://schemas.microsoft.com/office/drawing/2014/main" id="{24AD5C5E-7F08-8949-9313-E3636C07756A}"/>
                  </a:ext>
                </a:extLst>
              </p:cNvPr>
              <p:cNvGrpSpPr/>
              <p:nvPr/>
            </p:nvGrpSpPr>
            <p:grpSpPr>
              <a:xfrm>
                <a:off x="93621" y="2798133"/>
                <a:ext cx="3937220" cy="623450"/>
                <a:chOff x="-2401375" y="1192275"/>
                <a:chExt cx="3937220" cy="623450"/>
              </a:xfrm>
            </p:grpSpPr>
            <p:sp>
              <p:nvSpPr>
                <p:cNvPr id="19" name="Freeform 915">
                  <a:extLst>
                    <a:ext uri="{FF2B5EF4-FFF2-40B4-BE49-F238E27FC236}">
                      <a16:creationId xmlns:a16="http://schemas.microsoft.com/office/drawing/2014/main" id="{569FF41B-42B0-704D-8D65-B1554181F5E7}"/>
                    </a:ext>
                  </a:extLst>
                </p:cNvPr>
                <p:cNvSpPr>
                  <a:spLocks noChangeAspect="1" noEditPoints="1"/>
                </p:cNvSpPr>
                <p:nvPr/>
              </p:nvSpPr>
              <p:spPr bwMode="auto">
                <a:xfrm>
                  <a:off x="1018740" y="1192275"/>
                  <a:ext cx="517105" cy="623450"/>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rgbClr val="43B02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20" name="Rectangle 19">
                  <a:extLst>
                    <a:ext uri="{FF2B5EF4-FFF2-40B4-BE49-F238E27FC236}">
                      <a16:creationId xmlns:a16="http://schemas.microsoft.com/office/drawing/2014/main" id="{9B42246D-9768-174C-981F-F9F9DAD86D99}"/>
                    </a:ext>
                  </a:extLst>
                </p:cNvPr>
                <p:cNvSpPr/>
                <p:nvPr/>
              </p:nvSpPr>
              <p:spPr>
                <a:xfrm>
                  <a:off x="-80913" y="1241107"/>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B02A"/>
                      </a:solidFill>
                      <a:effectLst/>
                      <a:uLnTx/>
                      <a:uFillTx/>
                      <a:ea typeface="+mn-ea"/>
                      <a:cs typeface="+mn-cs"/>
                    </a:rPr>
                    <a:t>Lorem </a:t>
                  </a:r>
                  <a:endParaRPr kumimoji="0" lang="hu-HU" sz="1600" b="1" i="0" u="none" strike="noStrike" kern="1200" cap="none" spc="0" normalizeH="0" baseline="0" noProof="0" dirty="0">
                    <a:ln>
                      <a:noFill/>
                    </a:ln>
                    <a:solidFill>
                      <a:srgbClr val="43B02A"/>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B02A"/>
                      </a:solidFill>
                      <a:effectLst/>
                      <a:uLnTx/>
                      <a:uFillTx/>
                      <a:ea typeface="+mn-ea"/>
                      <a:cs typeface="+mn-cs"/>
                    </a:rPr>
                    <a:t>ipsum</a:t>
                  </a:r>
                </a:p>
              </p:txBody>
            </p:sp>
            <p:sp>
              <p:nvSpPr>
                <p:cNvPr id="21" name="Rectangle 20">
                  <a:extLst>
                    <a:ext uri="{FF2B5EF4-FFF2-40B4-BE49-F238E27FC236}">
                      <a16:creationId xmlns:a16="http://schemas.microsoft.com/office/drawing/2014/main" id="{84C55178-6978-F446-90CF-23F771B23123}"/>
                    </a:ext>
                  </a:extLst>
                </p:cNvPr>
                <p:cNvSpPr/>
                <p:nvPr/>
              </p:nvSpPr>
              <p:spPr>
                <a:xfrm>
                  <a:off x="-2401375" y="127098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Lorem ipsum dolor sit </a:t>
                  </a:r>
                  <a:r>
                    <a:rPr kumimoji="0" lang="en-US" sz="1400" b="0" i="0" u="none" strike="noStrike" kern="1200" cap="none" spc="0" normalizeH="0" baseline="0" noProof="0" dirty="0" err="1">
                      <a:ln>
                        <a:noFill/>
                      </a:ln>
                      <a:solidFill>
                        <a:prstClr val="white"/>
                      </a:solidFill>
                      <a:effectLst/>
                      <a:uLnTx/>
                      <a:uFillTx/>
                      <a:ea typeface="+mn-ea"/>
                      <a:cs typeface="+mn-cs"/>
                    </a:rPr>
                    <a:t>amet</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consectetur</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adipiscing</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elit</a:t>
                  </a:r>
                  <a:endParaRPr kumimoji="0" lang="en-US" sz="1400" b="1" i="0" u="none" strike="noStrike" kern="1200" cap="none" spc="0" normalizeH="0" baseline="0" noProof="0" dirty="0">
                    <a:ln>
                      <a:noFill/>
                    </a:ln>
                    <a:solidFill>
                      <a:prstClr val="white"/>
                    </a:solidFill>
                    <a:effectLst/>
                    <a:uLnTx/>
                    <a:uFillTx/>
                    <a:ea typeface="+mn-ea"/>
                    <a:cs typeface="+mn-cs"/>
                  </a:endParaRPr>
                </a:p>
              </p:txBody>
            </p:sp>
          </p:grpSp>
        </p:grpSp>
        <p:grpSp>
          <p:nvGrpSpPr>
            <p:cNvPr id="8" name="Group 7">
              <a:extLst>
                <a:ext uri="{FF2B5EF4-FFF2-40B4-BE49-F238E27FC236}">
                  <a16:creationId xmlns:a16="http://schemas.microsoft.com/office/drawing/2014/main" id="{F7424BCF-6123-EB4D-A6E8-63DEDE8ADF29}"/>
                </a:ext>
              </a:extLst>
            </p:cNvPr>
            <p:cNvGrpSpPr/>
            <p:nvPr/>
          </p:nvGrpSpPr>
          <p:grpSpPr>
            <a:xfrm>
              <a:off x="572494" y="4033977"/>
              <a:ext cx="4655892" cy="1538514"/>
              <a:chOff x="0" y="4081685"/>
              <a:chExt cx="4655892" cy="1538514"/>
            </a:xfrm>
          </p:grpSpPr>
          <p:sp>
            <p:nvSpPr>
              <p:cNvPr id="10" name="Hexagon 9">
                <a:extLst>
                  <a:ext uri="{FF2B5EF4-FFF2-40B4-BE49-F238E27FC236}">
                    <a16:creationId xmlns:a16="http://schemas.microsoft.com/office/drawing/2014/main" id="{D817E5B3-E500-A44A-8256-C2164F535741}"/>
                  </a:ext>
                </a:extLst>
              </p:cNvPr>
              <p:cNvSpPr/>
              <p:nvPr/>
            </p:nvSpPr>
            <p:spPr bwMode="gray">
              <a:xfrm>
                <a:off x="2871216" y="4081685"/>
                <a:ext cx="1784676" cy="1538514"/>
              </a:xfrm>
              <a:prstGeom prst="hexagon">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1" name="Group 10">
                <a:extLst>
                  <a:ext uri="{FF2B5EF4-FFF2-40B4-BE49-F238E27FC236}">
                    <a16:creationId xmlns:a16="http://schemas.microsoft.com/office/drawing/2014/main" id="{71FFF3EB-DE1A-BC4F-B92B-7A874EB65CA8}"/>
                  </a:ext>
                </a:extLst>
              </p:cNvPr>
              <p:cNvGrpSpPr/>
              <p:nvPr/>
            </p:nvGrpSpPr>
            <p:grpSpPr>
              <a:xfrm>
                <a:off x="0" y="4316515"/>
                <a:ext cx="4398227" cy="1068855"/>
                <a:chOff x="-23882" y="2955804"/>
                <a:chExt cx="4398227" cy="1068855"/>
              </a:xfrm>
            </p:grpSpPr>
            <p:sp>
              <p:nvSpPr>
                <p:cNvPr id="12" name="Pentagon 34">
                  <a:extLst>
                    <a:ext uri="{FF2B5EF4-FFF2-40B4-BE49-F238E27FC236}">
                      <a16:creationId xmlns:a16="http://schemas.microsoft.com/office/drawing/2014/main" id="{F6B38F5B-3910-1946-9012-76F35171924C}"/>
                    </a:ext>
                  </a:extLst>
                </p:cNvPr>
                <p:cNvSpPr/>
                <p:nvPr/>
              </p:nvSpPr>
              <p:spPr bwMode="gray">
                <a:xfrm>
                  <a:off x="-23882" y="2955804"/>
                  <a:ext cx="4398227"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3" name="Group 12">
                  <a:extLst>
                    <a:ext uri="{FF2B5EF4-FFF2-40B4-BE49-F238E27FC236}">
                      <a16:creationId xmlns:a16="http://schemas.microsoft.com/office/drawing/2014/main" id="{659BCD5E-DC04-184F-BAD3-09485D638A1A}"/>
                    </a:ext>
                  </a:extLst>
                </p:cNvPr>
                <p:cNvGrpSpPr/>
                <p:nvPr/>
              </p:nvGrpSpPr>
              <p:grpSpPr>
                <a:xfrm>
                  <a:off x="93621" y="3197843"/>
                  <a:ext cx="2963844" cy="489214"/>
                  <a:chOff x="-2401375" y="1241107"/>
                  <a:chExt cx="2963844" cy="489214"/>
                </a:xfrm>
              </p:grpSpPr>
              <p:sp>
                <p:nvSpPr>
                  <p:cNvPr id="14" name="Rectangle 13">
                    <a:extLst>
                      <a:ext uri="{FF2B5EF4-FFF2-40B4-BE49-F238E27FC236}">
                        <a16:creationId xmlns:a16="http://schemas.microsoft.com/office/drawing/2014/main" id="{AC864948-4B3B-B04A-BF9F-FADED3E982BE}"/>
                      </a:ext>
                    </a:extLst>
                  </p:cNvPr>
                  <p:cNvSpPr/>
                  <p:nvPr/>
                </p:nvSpPr>
                <p:spPr>
                  <a:xfrm>
                    <a:off x="-80913" y="1241107"/>
                    <a:ext cx="643382" cy="48921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Lorem </a:t>
                    </a:r>
                    <a:endParaRPr kumimoji="0" lang="hu-HU" sz="1600" b="1" i="0" u="none" strike="noStrike" kern="1200" cap="none" spc="0" normalizeH="0" baseline="0" noProof="0" dirty="0">
                      <a:ln>
                        <a:noFill/>
                      </a:ln>
                      <a:solidFill>
                        <a:srgbClr val="046A38"/>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mn-ea"/>
                        <a:cs typeface="+mn-cs"/>
                      </a:rPr>
                      <a:t>ipsum</a:t>
                    </a:r>
                  </a:p>
                </p:txBody>
              </p:sp>
              <p:sp>
                <p:nvSpPr>
                  <p:cNvPr id="15" name="Rectangle 14">
                    <a:extLst>
                      <a:ext uri="{FF2B5EF4-FFF2-40B4-BE49-F238E27FC236}">
                        <a16:creationId xmlns:a16="http://schemas.microsoft.com/office/drawing/2014/main" id="{52F8CFCC-4177-F74B-84B1-DD773EC56A57}"/>
                      </a:ext>
                    </a:extLst>
                  </p:cNvPr>
                  <p:cNvSpPr/>
                  <p:nvPr/>
                </p:nvSpPr>
                <p:spPr>
                  <a:xfrm>
                    <a:off x="-2401375" y="1270984"/>
                    <a:ext cx="2469438" cy="4377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Lorem ipsum dolor sit </a:t>
                    </a:r>
                    <a:r>
                      <a:rPr kumimoji="0" lang="en-US" sz="1400" b="0" i="0" u="none" strike="noStrike" kern="1200" cap="none" spc="0" normalizeH="0" baseline="0" noProof="0" dirty="0" err="1">
                        <a:ln>
                          <a:noFill/>
                        </a:ln>
                        <a:solidFill>
                          <a:prstClr val="white"/>
                        </a:solidFill>
                        <a:effectLst/>
                        <a:uLnTx/>
                        <a:uFillTx/>
                        <a:ea typeface="+mn-ea"/>
                        <a:cs typeface="+mn-cs"/>
                      </a:rPr>
                      <a:t>amet</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consectetur</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adipiscing</a:t>
                    </a:r>
                    <a:r>
                      <a:rPr kumimoji="0" lang="en-US" sz="1400" b="0" i="0" u="none" strike="noStrike" kern="1200" cap="none" spc="0" normalizeH="0" baseline="0" noProof="0" dirty="0">
                        <a:ln>
                          <a:noFill/>
                        </a:ln>
                        <a:solidFill>
                          <a:prstClr val="white"/>
                        </a:solidFill>
                        <a:effectLst/>
                        <a:uLnTx/>
                        <a:uFillTx/>
                        <a:ea typeface="+mn-ea"/>
                        <a:cs typeface="+mn-cs"/>
                      </a:rPr>
                      <a:t> </a:t>
                    </a:r>
                    <a:r>
                      <a:rPr kumimoji="0" lang="en-US" sz="1400" b="0" i="0" u="none" strike="noStrike" kern="1200" cap="none" spc="0" normalizeH="0" baseline="0" noProof="0" dirty="0" err="1">
                        <a:ln>
                          <a:noFill/>
                        </a:ln>
                        <a:solidFill>
                          <a:prstClr val="white"/>
                        </a:solidFill>
                        <a:effectLst/>
                        <a:uLnTx/>
                        <a:uFillTx/>
                        <a:ea typeface="+mn-ea"/>
                        <a:cs typeface="+mn-cs"/>
                      </a:rPr>
                      <a:t>elit</a:t>
                    </a:r>
                    <a:endParaRPr kumimoji="0" lang="en-US" sz="1400" b="1" i="0" u="none" strike="noStrike" kern="1200" cap="none" spc="0" normalizeH="0" baseline="0" noProof="0" dirty="0">
                      <a:ln>
                        <a:noFill/>
                      </a:ln>
                      <a:solidFill>
                        <a:prstClr val="white"/>
                      </a:solidFill>
                      <a:effectLst/>
                      <a:uLnTx/>
                      <a:uFillTx/>
                      <a:ea typeface="+mn-ea"/>
                      <a:cs typeface="+mn-cs"/>
                    </a:endParaRPr>
                  </a:p>
                </p:txBody>
              </p:sp>
            </p:grpSp>
          </p:grpSp>
        </p:grpSp>
        <p:sp>
          <p:nvSpPr>
            <p:cNvPr id="9" name="Freeform 764">
              <a:extLst>
                <a:ext uri="{FF2B5EF4-FFF2-40B4-BE49-F238E27FC236}">
                  <a16:creationId xmlns:a16="http://schemas.microsoft.com/office/drawing/2014/main" id="{96FDC27A-4157-3D47-94FB-7DB68CA886D8}"/>
                </a:ext>
              </a:extLst>
            </p:cNvPr>
            <p:cNvSpPr>
              <a:spLocks noChangeAspect="1" noEditPoints="1"/>
            </p:cNvSpPr>
            <p:nvPr/>
          </p:nvSpPr>
          <p:spPr bwMode="auto">
            <a:xfrm>
              <a:off x="4117767" y="4510846"/>
              <a:ext cx="426443" cy="579525"/>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34" name="Star: 5 Points 33">
            <a:extLst>
              <a:ext uri="{FF2B5EF4-FFF2-40B4-BE49-F238E27FC236}">
                <a16:creationId xmlns:a16="http://schemas.microsoft.com/office/drawing/2014/main" id="{5A016EE5-36E0-4281-BAE5-030BE1F642F1}"/>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2999972416"/>
      </p:ext>
    </p:extLst>
  </p:cSld>
  <p:clrMapOvr>
    <a:masterClrMapping/>
  </p:clrMapOvr>
  <p:transition>
    <p:fade/>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E3623-50E0-8F4B-8591-C654EA84AA5C}"/>
              </a:ext>
            </a:extLst>
          </p:cNvPr>
          <p:cNvSpPr>
            <a:spLocks noGrp="1"/>
          </p:cNvSpPr>
          <p:nvPr>
            <p:ph type="title"/>
          </p:nvPr>
        </p:nvSpPr>
        <p:spPr/>
        <p:txBody>
          <a:bodyPr/>
          <a:lstStyle/>
          <a:p>
            <a:r>
              <a:rPr lang="en-US" dirty="0"/>
              <a:t>Icon towers</a:t>
            </a:r>
          </a:p>
        </p:txBody>
      </p:sp>
      <p:sp>
        <p:nvSpPr>
          <p:cNvPr id="29" name="Rectangle 28">
            <a:extLst>
              <a:ext uri="{FF2B5EF4-FFF2-40B4-BE49-F238E27FC236}">
                <a16:creationId xmlns:a16="http://schemas.microsoft.com/office/drawing/2014/main" id="{18505A1F-20ED-4B1C-B58C-C464FE0E1DC8}"/>
              </a:ext>
            </a:extLst>
          </p:cNvPr>
          <p:cNvSpPr/>
          <p:nvPr/>
        </p:nvSpPr>
        <p:spPr bwMode="gray">
          <a:xfrm>
            <a:off x="3558717" y="2164158"/>
            <a:ext cx="1480757" cy="3957431"/>
          </a:xfrm>
          <a:prstGeom prst="rect">
            <a:avLst/>
          </a:prstGeom>
          <a:solidFill>
            <a:srgbClr val="00A3E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30" name="Group 29">
            <a:extLst>
              <a:ext uri="{FF2B5EF4-FFF2-40B4-BE49-F238E27FC236}">
                <a16:creationId xmlns:a16="http://schemas.microsoft.com/office/drawing/2014/main" id="{782C15EE-700A-44D0-97B8-73665D0DC6EF}"/>
              </a:ext>
            </a:extLst>
          </p:cNvPr>
          <p:cNvGrpSpPr/>
          <p:nvPr/>
        </p:nvGrpSpPr>
        <p:grpSpPr>
          <a:xfrm>
            <a:off x="3447559" y="1260540"/>
            <a:ext cx="1703073" cy="2786208"/>
            <a:chOff x="1803653" y="1995975"/>
            <a:chExt cx="1703073" cy="2786208"/>
          </a:xfrm>
        </p:grpSpPr>
        <p:sp>
          <p:nvSpPr>
            <p:cNvPr id="31" name="Rectangle 30">
              <a:extLst>
                <a:ext uri="{FF2B5EF4-FFF2-40B4-BE49-F238E27FC236}">
                  <a16:creationId xmlns:a16="http://schemas.microsoft.com/office/drawing/2014/main" id="{BF82051D-8009-45E8-8F0F-036D1679038F}"/>
                </a:ext>
              </a:extLst>
            </p:cNvPr>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32" name="Oval 31">
              <a:extLst>
                <a:ext uri="{FF2B5EF4-FFF2-40B4-BE49-F238E27FC236}">
                  <a16:creationId xmlns:a16="http://schemas.microsoft.com/office/drawing/2014/main" id="{0D9BF483-51FB-429E-B933-2F711A8FED96}"/>
                </a:ext>
              </a:extLst>
            </p:cNvPr>
            <p:cNvSpPr/>
            <p:nvPr/>
          </p:nvSpPr>
          <p:spPr bwMode="gray">
            <a:xfrm>
              <a:off x="1803653" y="1995975"/>
              <a:ext cx="1703073" cy="1699552"/>
            </a:xfrm>
            <a:prstGeom prst="ellipse">
              <a:avLst/>
            </a:prstGeom>
            <a:solidFill>
              <a:schemeClr val="accent6"/>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38" name="Oval 37">
              <a:extLst>
                <a:ext uri="{FF2B5EF4-FFF2-40B4-BE49-F238E27FC236}">
                  <a16:creationId xmlns:a16="http://schemas.microsoft.com/office/drawing/2014/main" id="{637C32F3-7C3A-4EB7-B5F9-7A88F5CBC96B}"/>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46" name="Freeform 542">
              <a:extLst>
                <a:ext uri="{FF2B5EF4-FFF2-40B4-BE49-F238E27FC236}">
                  <a16:creationId xmlns:a16="http://schemas.microsoft.com/office/drawing/2014/main" id="{1F6218EF-ED41-4675-80A8-2C58357BE7A5}"/>
                </a:ext>
              </a:extLst>
            </p:cNvPr>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49" name="Rectangle 48">
              <a:extLst>
                <a:ext uri="{FF2B5EF4-FFF2-40B4-BE49-F238E27FC236}">
                  <a16:creationId xmlns:a16="http://schemas.microsoft.com/office/drawing/2014/main" id="{C8F23EE7-AB28-40EE-978D-9C5F66A46356}"/>
                </a:ext>
              </a:extLst>
            </p:cNvPr>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50" name="Rectangle 49">
            <a:extLst>
              <a:ext uri="{FF2B5EF4-FFF2-40B4-BE49-F238E27FC236}">
                <a16:creationId xmlns:a16="http://schemas.microsoft.com/office/drawing/2014/main" id="{3B296F4F-B695-40A5-A8AB-22654B46C836}"/>
              </a:ext>
            </a:extLst>
          </p:cNvPr>
          <p:cNvSpPr/>
          <p:nvPr/>
        </p:nvSpPr>
        <p:spPr bwMode="gray">
          <a:xfrm>
            <a:off x="5416437" y="2164158"/>
            <a:ext cx="1480757" cy="3957431"/>
          </a:xfrm>
          <a:prstGeom prst="rect">
            <a:avLst/>
          </a:prstGeom>
          <a:solidFill>
            <a:srgbClr val="00768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53" name="Group 52">
            <a:extLst>
              <a:ext uri="{FF2B5EF4-FFF2-40B4-BE49-F238E27FC236}">
                <a16:creationId xmlns:a16="http://schemas.microsoft.com/office/drawing/2014/main" id="{693BE1CA-9A2F-443D-BC96-9A8BF0E7A0CB}"/>
              </a:ext>
            </a:extLst>
          </p:cNvPr>
          <p:cNvGrpSpPr/>
          <p:nvPr/>
        </p:nvGrpSpPr>
        <p:grpSpPr>
          <a:xfrm>
            <a:off x="5305279" y="1260540"/>
            <a:ext cx="1703073" cy="2786208"/>
            <a:chOff x="1803653" y="1995975"/>
            <a:chExt cx="1703073" cy="2786208"/>
          </a:xfrm>
        </p:grpSpPr>
        <p:sp>
          <p:nvSpPr>
            <p:cNvPr id="54" name="Rectangle 53">
              <a:extLst>
                <a:ext uri="{FF2B5EF4-FFF2-40B4-BE49-F238E27FC236}">
                  <a16:creationId xmlns:a16="http://schemas.microsoft.com/office/drawing/2014/main" id="{62436E40-252D-420F-813F-692EBA39EC3B}"/>
                </a:ext>
              </a:extLst>
            </p:cNvPr>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56" name="Oval 55">
              <a:extLst>
                <a:ext uri="{FF2B5EF4-FFF2-40B4-BE49-F238E27FC236}">
                  <a16:creationId xmlns:a16="http://schemas.microsoft.com/office/drawing/2014/main" id="{B6192984-B33C-4680-80DD-0B04E833DF41}"/>
                </a:ext>
              </a:extLst>
            </p:cNvPr>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61" name="Oval 60">
              <a:extLst>
                <a:ext uri="{FF2B5EF4-FFF2-40B4-BE49-F238E27FC236}">
                  <a16:creationId xmlns:a16="http://schemas.microsoft.com/office/drawing/2014/main" id="{85CE778F-E418-409A-9EE8-E60A4E493C1E}"/>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62" name="Rectangle 61">
              <a:extLst>
                <a:ext uri="{FF2B5EF4-FFF2-40B4-BE49-F238E27FC236}">
                  <a16:creationId xmlns:a16="http://schemas.microsoft.com/office/drawing/2014/main" id="{13B65EFE-B5CA-4188-859A-A0324D09EC6F}"/>
                </a:ext>
              </a:extLst>
            </p:cNvPr>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63" name="Freeform 64">
            <a:extLst>
              <a:ext uri="{FF2B5EF4-FFF2-40B4-BE49-F238E27FC236}">
                <a16:creationId xmlns:a16="http://schemas.microsoft.com/office/drawing/2014/main" id="{EE4CCC41-2D7A-4E7C-90ED-3B56625E296B}"/>
              </a:ext>
            </a:extLst>
          </p:cNvPr>
          <p:cNvSpPr>
            <a:spLocks noEditPoints="1"/>
          </p:cNvSpPr>
          <p:nvPr/>
        </p:nvSpPr>
        <p:spPr bwMode="auto">
          <a:xfrm>
            <a:off x="5691242" y="1925885"/>
            <a:ext cx="924320" cy="36885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4" name="Rectangle 63">
            <a:extLst>
              <a:ext uri="{FF2B5EF4-FFF2-40B4-BE49-F238E27FC236}">
                <a16:creationId xmlns:a16="http://schemas.microsoft.com/office/drawing/2014/main" id="{A50E4562-A4C1-4501-BDA8-5BAEB6931FE9}"/>
              </a:ext>
            </a:extLst>
          </p:cNvPr>
          <p:cNvSpPr/>
          <p:nvPr/>
        </p:nvSpPr>
        <p:spPr bwMode="gray">
          <a:xfrm>
            <a:off x="7274156" y="2164158"/>
            <a:ext cx="1480757" cy="3957431"/>
          </a:xfrm>
          <a:prstGeom prst="rect">
            <a:avLst/>
          </a:prstGeom>
          <a:solidFill>
            <a:srgbClr val="43B02A"/>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65" name="Group 64">
            <a:extLst>
              <a:ext uri="{FF2B5EF4-FFF2-40B4-BE49-F238E27FC236}">
                <a16:creationId xmlns:a16="http://schemas.microsoft.com/office/drawing/2014/main" id="{774AF6F7-2457-4A8A-93B4-E98846CA96FD}"/>
              </a:ext>
            </a:extLst>
          </p:cNvPr>
          <p:cNvGrpSpPr/>
          <p:nvPr/>
        </p:nvGrpSpPr>
        <p:grpSpPr>
          <a:xfrm>
            <a:off x="7162998" y="1260540"/>
            <a:ext cx="1703073" cy="2786208"/>
            <a:chOff x="1803653" y="1995975"/>
            <a:chExt cx="1703073" cy="2786208"/>
          </a:xfrm>
        </p:grpSpPr>
        <p:sp>
          <p:nvSpPr>
            <p:cNvPr id="66" name="Rectangle 65">
              <a:extLst>
                <a:ext uri="{FF2B5EF4-FFF2-40B4-BE49-F238E27FC236}">
                  <a16:creationId xmlns:a16="http://schemas.microsoft.com/office/drawing/2014/main" id="{236130AE-09A7-4B94-AA3E-B34C36F8887E}"/>
                </a:ext>
              </a:extLst>
            </p:cNvPr>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67" name="Oval 66">
              <a:extLst>
                <a:ext uri="{FF2B5EF4-FFF2-40B4-BE49-F238E27FC236}">
                  <a16:creationId xmlns:a16="http://schemas.microsoft.com/office/drawing/2014/main" id="{449FE19D-03EA-48A8-8601-DA74B7C6BA5F}"/>
                </a:ext>
              </a:extLst>
            </p:cNvPr>
            <p:cNvSpPr/>
            <p:nvPr/>
          </p:nvSpPr>
          <p:spPr bwMode="gray">
            <a:xfrm>
              <a:off x="1803653" y="1995975"/>
              <a:ext cx="1703073" cy="1699552"/>
            </a:xfrm>
            <a:prstGeom prst="ellipse">
              <a:avLst/>
            </a:prstGeom>
            <a:solidFill>
              <a:schemeClr val="accent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68" name="Oval 67">
              <a:extLst>
                <a:ext uri="{FF2B5EF4-FFF2-40B4-BE49-F238E27FC236}">
                  <a16:creationId xmlns:a16="http://schemas.microsoft.com/office/drawing/2014/main" id="{AD89E37A-8B80-4213-AE63-01170F731CD1}"/>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69" name="Rectangle 68">
              <a:extLst>
                <a:ext uri="{FF2B5EF4-FFF2-40B4-BE49-F238E27FC236}">
                  <a16:creationId xmlns:a16="http://schemas.microsoft.com/office/drawing/2014/main" id="{4F71D54A-649C-429D-A824-5C12F8D687BC}"/>
                </a:ext>
              </a:extLst>
            </p:cNvPr>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70"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7746502" y="1723996"/>
            <a:ext cx="568836" cy="77303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Star: 5 Points 23">
            <a:extLst>
              <a:ext uri="{FF2B5EF4-FFF2-40B4-BE49-F238E27FC236}">
                <a16:creationId xmlns:a16="http://schemas.microsoft.com/office/drawing/2014/main" id="{D39DDC78-28D2-457C-9BBD-E6A51501BC3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17134227"/>
      </p:ext>
    </p:extLst>
  </p:cSld>
  <p:clrMapOvr>
    <a:masterClrMapping/>
  </p:clrMapOvr>
  <p:transition>
    <p:fade/>
  </p:transition>
</p:sld>
</file>

<file path=ppt/slides/slide2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3791108-5DDC-2E47-A3F7-331F0782AA8B}"/>
              </a:ext>
            </a:extLst>
          </p:cNvPr>
          <p:cNvSpPr>
            <a:spLocks noGrp="1"/>
          </p:cNvSpPr>
          <p:nvPr>
            <p:ph type="title"/>
          </p:nvPr>
        </p:nvSpPr>
        <p:spPr/>
        <p:txBody>
          <a:bodyPr/>
          <a:lstStyle/>
          <a:p>
            <a:r>
              <a:rPr lang="en-US" dirty="0"/>
              <a:t>Icon towers</a:t>
            </a:r>
          </a:p>
        </p:txBody>
      </p:sp>
      <p:sp>
        <p:nvSpPr>
          <p:cNvPr id="61" name="Rectangle 60"/>
          <p:cNvSpPr/>
          <p:nvPr/>
        </p:nvSpPr>
        <p:spPr bwMode="gray">
          <a:xfrm>
            <a:off x="3558717" y="2164158"/>
            <a:ext cx="1480757" cy="3957431"/>
          </a:xfrm>
          <a:prstGeom prst="rect">
            <a:avLst/>
          </a:prstGeom>
          <a:solidFill>
            <a:srgbClr val="00A3E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62" name="Group 61"/>
          <p:cNvGrpSpPr/>
          <p:nvPr/>
        </p:nvGrpSpPr>
        <p:grpSpPr>
          <a:xfrm>
            <a:off x="3447559" y="1260540"/>
            <a:ext cx="1703073" cy="2786208"/>
            <a:chOff x="1803653" y="1995975"/>
            <a:chExt cx="1703073" cy="2786208"/>
          </a:xfrm>
        </p:grpSpPr>
        <p:sp>
          <p:nvSpPr>
            <p:cNvPr id="63" name="Rectangle 62"/>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64" name="Oval 63"/>
            <p:cNvSpPr/>
            <p:nvPr/>
          </p:nvSpPr>
          <p:spPr bwMode="gray">
            <a:xfrm>
              <a:off x="1803653" y="1995975"/>
              <a:ext cx="1703073" cy="1699552"/>
            </a:xfrm>
            <a:prstGeom prst="ellipse">
              <a:avLst/>
            </a:prstGeom>
            <a:solidFill>
              <a:schemeClr val="accent6"/>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5" name="Oval 64"/>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6" name="Freeform 542"/>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Rectangle 66"/>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68" name="Rectangle 67"/>
          <p:cNvSpPr/>
          <p:nvPr/>
        </p:nvSpPr>
        <p:spPr bwMode="gray">
          <a:xfrm>
            <a:off x="5416437" y="2164158"/>
            <a:ext cx="1480757" cy="3957431"/>
          </a:xfrm>
          <a:prstGeom prst="rect">
            <a:avLst/>
          </a:prstGeom>
          <a:solidFill>
            <a:srgbClr val="00768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69" name="Group 68"/>
          <p:cNvGrpSpPr/>
          <p:nvPr/>
        </p:nvGrpSpPr>
        <p:grpSpPr>
          <a:xfrm>
            <a:off x="5305279" y="1260540"/>
            <a:ext cx="1703073" cy="2786208"/>
            <a:chOff x="1803653" y="1995975"/>
            <a:chExt cx="1703073" cy="2786208"/>
          </a:xfrm>
        </p:grpSpPr>
        <p:sp>
          <p:nvSpPr>
            <p:cNvPr id="70" name="Rectangle 69"/>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71" name="Oval 70"/>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72" name="Oval 71"/>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79" name="Rectangle 78"/>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83" name="Freeform 64"/>
          <p:cNvSpPr>
            <a:spLocks noEditPoints="1"/>
          </p:cNvSpPr>
          <p:nvPr/>
        </p:nvSpPr>
        <p:spPr bwMode="auto">
          <a:xfrm>
            <a:off x="5691242" y="1925885"/>
            <a:ext cx="924320" cy="36885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4" name="Rectangle 83"/>
          <p:cNvSpPr/>
          <p:nvPr/>
        </p:nvSpPr>
        <p:spPr bwMode="gray">
          <a:xfrm>
            <a:off x="7274156" y="2164158"/>
            <a:ext cx="1480757" cy="3957431"/>
          </a:xfrm>
          <a:prstGeom prst="rect">
            <a:avLst/>
          </a:prstGeom>
          <a:solidFill>
            <a:srgbClr val="43B02A"/>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85" name="Group 84"/>
          <p:cNvGrpSpPr/>
          <p:nvPr/>
        </p:nvGrpSpPr>
        <p:grpSpPr>
          <a:xfrm>
            <a:off x="7162998" y="1260540"/>
            <a:ext cx="1703073" cy="2786208"/>
            <a:chOff x="1803653" y="1995975"/>
            <a:chExt cx="1703073" cy="2786208"/>
          </a:xfrm>
        </p:grpSpPr>
        <p:sp>
          <p:nvSpPr>
            <p:cNvPr id="86" name="Rectangle 85"/>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a:t>
              </a:r>
            </a:p>
          </p:txBody>
        </p:sp>
        <p:sp>
          <p:nvSpPr>
            <p:cNvPr id="87" name="Oval 86"/>
            <p:cNvSpPr/>
            <p:nvPr/>
          </p:nvSpPr>
          <p:spPr bwMode="gray">
            <a:xfrm>
              <a:off x="1803653" y="1995975"/>
              <a:ext cx="1703073" cy="1699552"/>
            </a:xfrm>
            <a:prstGeom prst="ellipse">
              <a:avLst/>
            </a:prstGeom>
            <a:solidFill>
              <a:schemeClr val="accent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88" name="Oval 87"/>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89" name="Rectangle 88"/>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 dolor sit </a:t>
              </a:r>
              <a:r>
                <a:rPr kumimoji="0" lang="en-US" sz="1100" b="0" i="0" u="none" strike="noStrike" kern="1200" cap="none" spc="0" normalizeH="0" baseline="0" noProof="0" dirty="0" err="1">
                  <a:ln>
                    <a:noFill/>
                  </a:ln>
                  <a:solidFill>
                    <a:prstClr val="white"/>
                  </a:solidFill>
                  <a:effectLst/>
                  <a:uLnTx/>
                  <a:uFillTx/>
                  <a:ea typeface="+mn-ea"/>
                  <a:cs typeface="+mn-cs"/>
                </a:rPr>
                <a:t>amet</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consectetur</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adipiscing</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elit</a:t>
              </a:r>
              <a:endParaRPr kumimoji="0" lang="en-US" sz="1100" b="1" i="0" u="none" strike="noStrike" kern="1200" cap="none" spc="0" normalizeH="0" baseline="0" noProof="0" dirty="0">
                <a:ln>
                  <a:noFill/>
                </a:ln>
                <a:solidFill>
                  <a:prstClr val="white"/>
                </a:solidFill>
                <a:effectLst/>
                <a:uLnTx/>
                <a:uFillTx/>
                <a:ea typeface="+mn-ea"/>
                <a:cs typeface="+mn-cs"/>
              </a:endParaRPr>
            </a:p>
          </p:txBody>
        </p:sp>
      </p:grpSp>
      <p:sp>
        <p:nvSpPr>
          <p:cNvPr id="90" name="Freeform 764"/>
          <p:cNvSpPr>
            <a:spLocks noChangeAspect="1" noEditPoints="1"/>
          </p:cNvSpPr>
          <p:nvPr/>
        </p:nvSpPr>
        <p:spPr bwMode="auto">
          <a:xfrm>
            <a:off x="7746502" y="1723996"/>
            <a:ext cx="568836" cy="77303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Star: 5 Points 23">
            <a:extLst>
              <a:ext uri="{FF2B5EF4-FFF2-40B4-BE49-F238E27FC236}">
                <a16:creationId xmlns:a16="http://schemas.microsoft.com/office/drawing/2014/main" id="{37DB451A-A7E6-4CEA-B143-14ED088DD825}"/>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1444180675"/>
      </p:ext>
    </p:extLst>
  </p:cSld>
  <p:clrMapOvr>
    <a:masterClrMapping/>
  </p:clrMapOvr>
  <p:transition>
    <p:fade/>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406409" y="1184750"/>
            <a:ext cx="5458466" cy="5417464"/>
            <a:chOff x="1620013" y="521290"/>
            <a:chExt cx="5894609" cy="5850331"/>
          </a:xfrm>
        </p:grpSpPr>
        <p:grpSp>
          <p:nvGrpSpPr>
            <p:cNvPr id="229" name="Group 228"/>
            <p:cNvGrpSpPr/>
            <p:nvPr/>
          </p:nvGrpSpPr>
          <p:grpSpPr>
            <a:xfrm rot="8100000">
              <a:off x="4200876" y="4361448"/>
              <a:ext cx="1789366" cy="2010173"/>
              <a:chOff x="4663441" y="690417"/>
              <a:chExt cx="1789366" cy="2010173"/>
            </a:xfrm>
          </p:grpSpPr>
          <p:sp>
            <p:nvSpPr>
              <p:cNvPr id="230" name="Freeform 229"/>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31" name="Isosceles Triangle 230"/>
              <p:cNvSpPr/>
              <p:nvPr/>
            </p:nvSpPr>
            <p:spPr bwMode="gray">
              <a:xfrm rot="7855756">
                <a:off x="6329363" y="1317625"/>
                <a:ext cx="132588" cy="114300"/>
              </a:xfrm>
              <a:prstGeom prst="triangl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32" name="Oval 231"/>
              <p:cNvSpPr/>
              <p:nvPr/>
            </p:nvSpPr>
            <p:spPr bwMode="gray">
              <a:xfrm>
                <a:off x="6235103" y="1522413"/>
                <a:ext cx="115888" cy="115888"/>
              </a:xfrm>
              <a:prstGeom prst="ellips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 name="Group 1"/>
            <p:cNvGrpSpPr/>
            <p:nvPr/>
          </p:nvGrpSpPr>
          <p:grpSpPr>
            <a:xfrm>
              <a:off x="1620013" y="521290"/>
              <a:ext cx="5894609" cy="5681204"/>
              <a:chOff x="1620013" y="521290"/>
              <a:chExt cx="5894609" cy="5681204"/>
            </a:xfrm>
          </p:grpSpPr>
          <p:sp>
            <p:nvSpPr>
              <p:cNvPr id="269" name="Rectangle 268"/>
              <p:cNvSpPr/>
              <p:nvPr/>
            </p:nvSpPr>
            <p:spPr>
              <a:xfrm>
                <a:off x="3650606" y="3097043"/>
                <a:ext cx="1833423" cy="5982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Lorem ipsum dolor sit </a:t>
                </a:r>
                <a:r>
                  <a:rPr kumimoji="0" lang="en-US" sz="1000" b="0" i="0" u="none" strike="noStrike" kern="1200" cap="none" spc="0" normalizeH="0" baseline="0" noProof="0" dirty="0" err="1">
                    <a:ln>
                      <a:noFill/>
                    </a:ln>
                    <a:solidFill>
                      <a:srgbClr val="000000"/>
                    </a:solidFill>
                    <a:effectLst/>
                    <a:uLnTx/>
                    <a:uFillTx/>
                    <a:ea typeface="+mn-ea"/>
                    <a:cs typeface="+mn-cs"/>
                  </a:rPr>
                  <a:t>amet</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consectetur</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adipiscing</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elit</a:t>
                </a:r>
                <a:endParaRPr kumimoji="0" lang="en-US" sz="1000" b="1" i="0" u="none" strike="noStrike" kern="1200" cap="none" spc="0" normalizeH="0" baseline="0" noProof="0" dirty="0">
                  <a:ln>
                    <a:noFill/>
                  </a:ln>
                  <a:solidFill>
                    <a:prstClr val="black"/>
                  </a:solidFill>
                  <a:effectLst/>
                  <a:uLnTx/>
                  <a:uFillTx/>
                  <a:ea typeface="+mn-ea"/>
                  <a:cs typeface="+mn-cs"/>
                </a:endParaRPr>
              </a:p>
            </p:txBody>
          </p:sp>
          <p:grpSp>
            <p:nvGrpSpPr>
              <p:cNvPr id="221" name="Group 220"/>
              <p:cNvGrpSpPr/>
              <p:nvPr/>
            </p:nvGrpSpPr>
            <p:grpSpPr>
              <a:xfrm rot="2700000">
                <a:off x="5614853" y="1908707"/>
                <a:ext cx="1789366" cy="2010173"/>
                <a:chOff x="4663441" y="690417"/>
                <a:chExt cx="1789366" cy="2010173"/>
              </a:xfrm>
            </p:grpSpPr>
            <p:sp>
              <p:nvSpPr>
                <p:cNvPr id="222" name="Freeform 221"/>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23" name="Isosceles Triangle 222"/>
                <p:cNvSpPr/>
                <p:nvPr/>
              </p:nvSpPr>
              <p:spPr bwMode="gray">
                <a:xfrm rot="7855756">
                  <a:off x="6329363" y="1317625"/>
                  <a:ext cx="132588" cy="114300"/>
                </a:xfrm>
                <a:prstGeom prst="triangl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24" name="Oval 223"/>
                <p:cNvSpPr/>
                <p:nvPr/>
              </p:nvSpPr>
              <p:spPr bwMode="gray">
                <a:xfrm>
                  <a:off x="6235103" y="1522413"/>
                  <a:ext cx="115888" cy="115888"/>
                </a:xfrm>
                <a:prstGeom prst="ellips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7" name="Group 6"/>
              <p:cNvGrpSpPr/>
              <p:nvPr/>
            </p:nvGrpSpPr>
            <p:grpSpPr>
              <a:xfrm>
                <a:off x="4663441" y="690417"/>
                <a:ext cx="1789366" cy="2010173"/>
                <a:chOff x="4663441" y="690417"/>
                <a:chExt cx="1789366" cy="2010173"/>
              </a:xfrm>
            </p:grpSpPr>
            <p:sp>
              <p:nvSpPr>
                <p:cNvPr id="211" name="Freeform 210"/>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5" name="Isosceles Triangle 4"/>
                <p:cNvSpPr/>
                <p:nvPr/>
              </p:nvSpPr>
              <p:spPr bwMode="gray">
                <a:xfrm rot="7855756">
                  <a:off x="6329363" y="1317625"/>
                  <a:ext cx="132588" cy="114300"/>
                </a:xfrm>
                <a:prstGeom prst="triangl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6" name="Oval 5"/>
                <p:cNvSpPr/>
                <p:nvPr/>
              </p:nvSpPr>
              <p:spPr bwMode="gray">
                <a:xfrm>
                  <a:off x="6235103" y="1522413"/>
                  <a:ext cx="115888" cy="115888"/>
                </a:xfrm>
                <a:prstGeom prst="ellips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25" name="Group 224"/>
              <p:cNvGrpSpPr/>
              <p:nvPr/>
            </p:nvGrpSpPr>
            <p:grpSpPr>
              <a:xfrm rot="5400000">
                <a:off x="5415430" y="3420975"/>
                <a:ext cx="1789366" cy="2010173"/>
                <a:chOff x="4663441" y="690417"/>
                <a:chExt cx="1789366" cy="2010173"/>
              </a:xfrm>
            </p:grpSpPr>
            <p:sp>
              <p:nvSpPr>
                <p:cNvPr id="226" name="Freeform 225"/>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27" name="Isosceles Triangle 226"/>
                <p:cNvSpPr/>
                <p:nvPr/>
              </p:nvSpPr>
              <p:spPr bwMode="gray">
                <a:xfrm rot="7855756">
                  <a:off x="6329363" y="1317625"/>
                  <a:ext cx="132588" cy="114300"/>
                </a:xfrm>
                <a:prstGeom prst="triangl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28" name="Oval 227"/>
                <p:cNvSpPr/>
                <p:nvPr/>
              </p:nvSpPr>
              <p:spPr bwMode="gray">
                <a:xfrm>
                  <a:off x="6235103" y="1522413"/>
                  <a:ext cx="115888" cy="115888"/>
                </a:xfrm>
                <a:prstGeom prst="ellips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51" name="Group 250"/>
              <p:cNvGrpSpPr/>
              <p:nvPr/>
            </p:nvGrpSpPr>
            <p:grpSpPr>
              <a:xfrm flipH="1" flipV="1">
                <a:off x="1620013" y="521290"/>
                <a:ext cx="3313746" cy="5681204"/>
                <a:chOff x="4200876" y="690417"/>
                <a:chExt cx="3313746" cy="5681204"/>
              </a:xfrm>
            </p:grpSpPr>
            <p:grpSp>
              <p:nvGrpSpPr>
                <p:cNvPr id="252" name="Group 251"/>
                <p:cNvGrpSpPr/>
                <p:nvPr/>
              </p:nvGrpSpPr>
              <p:grpSpPr>
                <a:xfrm rot="2700000">
                  <a:off x="5614853" y="1908707"/>
                  <a:ext cx="1789366" cy="2010173"/>
                  <a:chOff x="4663441" y="690417"/>
                  <a:chExt cx="1789366" cy="2010173"/>
                </a:xfrm>
              </p:grpSpPr>
              <p:sp>
                <p:nvSpPr>
                  <p:cNvPr id="265" name="Freeform 264"/>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6" name="Isosceles Triangle 265"/>
                  <p:cNvSpPr/>
                  <p:nvPr/>
                </p:nvSpPr>
                <p:spPr bwMode="gray">
                  <a:xfrm rot="7855756">
                    <a:off x="6329363" y="1317625"/>
                    <a:ext cx="132588" cy="114300"/>
                  </a:xfrm>
                  <a:prstGeom prst="triangl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7" name="Oval 266"/>
                  <p:cNvSpPr/>
                  <p:nvPr/>
                </p:nvSpPr>
                <p:spPr bwMode="gray">
                  <a:xfrm>
                    <a:off x="6235103" y="1522413"/>
                    <a:ext cx="115888" cy="115888"/>
                  </a:xfrm>
                  <a:prstGeom prst="ellipse">
                    <a:avLst/>
                  </a:pr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53" name="Group 252"/>
                <p:cNvGrpSpPr/>
                <p:nvPr/>
              </p:nvGrpSpPr>
              <p:grpSpPr>
                <a:xfrm>
                  <a:off x="4663441" y="690417"/>
                  <a:ext cx="1789366" cy="2010173"/>
                  <a:chOff x="4663441" y="690417"/>
                  <a:chExt cx="1789366" cy="2010173"/>
                </a:xfrm>
              </p:grpSpPr>
              <p:sp>
                <p:nvSpPr>
                  <p:cNvPr id="262" name="Freeform 261"/>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3" name="Isosceles Triangle 262"/>
                  <p:cNvSpPr/>
                  <p:nvPr/>
                </p:nvSpPr>
                <p:spPr bwMode="gray">
                  <a:xfrm rot="7855756">
                    <a:off x="6329363" y="1317625"/>
                    <a:ext cx="132588" cy="114300"/>
                  </a:xfrm>
                  <a:prstGeom prst="triangl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4" name="Oval 263"/>
                  <p:cNvSpPr/>
                  <p:nvPr/>
                </p:nvSpPr>
                <p:spPr bwMode="gray">
                  <a:xfrm>
                    <a:off x="6235103" y="1522413"/>
                    <a:ext cx="115888" cy="115888"/>
                  </a:xfrm>
                  <a:prstGeom prst="ellipse">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54" name="Group 253"/>
                <p:cNvGrpSpPr/>
                <p:nvPr/>
              </p:nvGrpSpPr>
              <p:grpSpPr>
                <a:xfrm rot="5400000">
                  <a:off x="5415430" y="3420975"/>
                  <a:ext cx="1789366" cy="2010173"/>
                  <a:chOff x="4663441" y="690417"/>
                  <a:chExt cx="1789366" cy="2010173"/>
                </a:xfrm>
              </p:grpSpPr>
              <p:sp>
                <p:nvSpPr>
                  <p:cNvPr id="259" name="Freeform 258"/>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0" name="Isosceles Triangle 259"/>
                  <p:cNvSpPr/>
                  <p:nvPr/>
                </p:nvSpPr>
                <p:spPr bwMode="gray">
                  <a:xfrm rot="7855756">
                    <a:off x="6329363" y="1317625"/>
                    <a:ext cx="132588" cy="114300"/>
                  </a:xfrm>
                  <a:prstGeom prst="triangl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61" name="Oval 260"/>
                  <p:cNvSpPr/>
                  <p:nvPr/>
                </p:nvSpPr>
                <p:spPr bwMode="gray">
                  <a:xfrm>
                    <a:off x="6235103" y="1522413"/>
                    <a:ext cx="115888" cy="115888"/>
                  </a:xfrm>
                  <a:prstGeom prst="ellipse">
                    <a:avLst/>
                  </a:prstGeom>
                  <a:noFill/>
                  <a:ln w="2857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55" name="Group 254"/>
                <p:cNvGrpSpPr/>
                <p:nvPr/>
              </p:nvGrpSpPr>
              <p:grpSpPr>
                <a:xfrm rot="8100000">
                  <a:off x="4200876" y="4361448"/>
                  <a:ext cx="1789366" cy="2010173"/>
                  <a:chOff x="4663441" y="690417"/>
                  <a:chExt cx="1789366" cy="2010173"/>
                </a:xfrm>
              </p:grpSpPr>
              <p:sp>
                <p:nvSpPr>
                  <p:cNvPr id="256" name="Freeform 255"/>
                  <p:cNvSpPr/>
                  <p:nvPr/>
                </p:nvSpPr>
                <p:spPr bwMode="gray">
                  <a:xfrm>
                    <a:off x="4663441" y="690417"/>
                    <a:ext cx="1672164" cy="2010173"/>
                  </a:xfrm>
                  <a:custGeom>
                    <a:avLst/>
                    <a:gdLst>
                      <a:gd name="connsiteX0" fmla="*/ 0 w 1780549"/>
                      <a:gd name="connsiteY0" fmla="*/ 0 h 2010173"/>
                      <a:gd name="connsiteX1" fmla="*/ 189035 w 1780549"/>
                      <a:gd name="connsiteY1" fmla="*/ 9546 h 2010173"/>
                      <a:gd name="connsiteX2" fmla="*/ 1653489 w 1780549"/>
                      <a:gd name="connsiteY2" fmla="*/ 621796 h 2010173"/>
                      <a:gd name="connsiteX3" fmla="*/ 1780549 w 1780549"/>
                      <a:gd name="connsiteY3" fmla="*/ 737277 h 2010173"/>
                      <a:gd name="connsiteX4" fmla="*/ 507653 w 1780549"/>
                      <a:gd name="connsiteY4" fmla="*/ 2010173 h 2010173"/>
                      <a:gd name="connsiteX5" fmla="*/ 438289 w 1780549"/>
                      <a:gd name="connsiteY5" fmla="*/ 1952943 h 2010173"/>
                      <a:gd name="connsiteX6" fmla="*/ 5431 w 1780549"/>
                      <a:gd name="connsiteY6" fmla="*/ 1796025 h 2010173"/>
                      <a:gd name="connsiteX7" fmla="*/ 0 w 1780549"/>
                      <a:gd name="connsiteY7" fmla="*/ 1795751 h 2010173"/>
                      <a:gd name="connsiteX8" fmla="*/ 0 w 1780549"/>
                      <a:gd name="connsiteY8" fmla="*/ 0 h 2010173"/>
                      <a:gd name="connsiteX0" fmla="*/ 1780549 w 1871989"/>
                      <a:gd name="connsiteY0" fmla="*/ 737277 h 2010173"/>
                      <a:gd name="connsiteX1" fmla="*/ 507653 w 1871989"/>
                      <a:gd name="connsiteY1" fmla="*/ 2010173 h 2010173"/>
                      <a:gd name="connsiteX2" fmla="*/ 438289 w 1871989"/>
                      <a:gd name="connsiteY2" fmla="*/ 1952943 h 2010173"/>
                      <a:gd name="connsiteX3" fmla="*/ 5431 w 1871989"/>
                      <a:gd name="connsiteY3" fmla="*/ 1796025 h 2010173"/>
                      <a:gd name="connsiteX4" fmla="*/ 0 w 1871989"/>
                      <a:gd name="connsiteY4" fmla="*/ 1795751 h 2010173"/>
                      <a:gd name="connsiteX5" fmla="*/ 0 w 1871989"/>
                      <a:gd name="connsiteY5" fmla="*/ 0 h 2010173"/>
                      <a:gd name="connsiteX6" fmla="*/ 189035 w 1871989"/>
                      <a:gd name="connsiteY6" fmla="*/ 9546 h 2010173"/>
                      <a:gd name="connsiteX7" fmla="*/ 1653489 w 1871989"/>
                      <a:gd name="connsiteY7" fmla="*/ 621796 h 2010173"/>
                      <a:gd name="connsiteX8" fmla="*/ 1871989 w 1871989"/>
                      <a:gd name="connsiteY8" fmla="*/ 828717 h 2010173"/>
                      <a:gd name="connsiteX0" fmla="*/ 1780549 w 1780549"/>
                      <a:gd name="connsiteY0" fmla="*/ 737277 h 2010173"/>
                      <a:gd name="connsiteX1" fmla="*/ 507653 w 1780549"/>
                      <a:gd name="connsiteY1" fmla="*/ 2010173 h 2010173"/>
                      <a:gd name="connsiteX2" fmla="*/ 438289 w 1780549"/>
                      <a:gd name="connsiteY2" fmla="*/ 1952943 h 2010173"/>
                      <a:gd name="connsiteX3" fmla="*/ 5431 w 1780549"/>
                      <a:gd name="connsiteY3" fmla="*/ 1796025 h 2010173"/>
                      <a:gd name="connsiteX4" fmla="*/ 0 w 1780549"/>
                      <a:gd name="connsiteY4" fmla="*/ 1795751 h 2010173"/>
                      <a:gd name="connsiteX5" fmla="*/ 0 w 1780549"/>
                      <a:gd name="connsiteY5" fmla="*/ 0 h 2010173"/>
                      <a:gd name="connsiteX6" fmla="*/ 189035 w 1780549"/>
                      <a:gd name="connsiteY6" fmla="*/ 9546 h 2010173"/>
                      <a:gd name="connsiteX7" fmla="*/ 1653489 w 1780549"/>
                      <a:gd name="connsiteY7" fmla="*/ 621796 h 2010173"/>
                      <a:gd name="connsiteX8" fmla="*/ 1652914 w 1780549"/>
                      <a:gd name="connsiteY8" fmla="*/ 622342 h 2010173"/>
                      <a:gd name="connsiteX0" fmla="*/ 1607511 w 1672164"/>
                      <a:gd name="connsiteY0" fmla="*/ 911902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 name="connsiteX0" fmla="*/ 1585286 w 1672164"/>
                      <a:gd name="connsiteY0" fmla="*/ 934127 h 2010173"/>
                      <a:gd name="connsiteX1" fmla="*/ 507653 w 1672164"/>
                      <a:gd name="connsiteY1" fmla="*/ 2010173 h 2010173"/>
                      <a:gd name="connsiteX2" fmla="*/ 438289 w 1672164"/>
                      <a:gd name="connsiteY2" fmla="*/ 1952943 h 2010173"/>
                      <a:gd name="connsiteX3" fmla="*/ 5431 w 1672164"/>
                      <a:gd name="connsiteY3" fmla="*/ 1796025 h 2010173"/>
                      <a:gd name="connsiteX4" fmla="*/ 0 w 1672164"/>
                      <a:gd name="connsiteY4" fmla="*/ 1795751 h 2010173"/>
                      <a:gd name="connsiteX5" fmla="*/ 0 w 1672164"/>
                      <a:gd name="connsiteY5" fmla="*/ 0 h 2010173"/>
                      <a:gd name="connsiteX6" fmla="*/ 189035 w 1672164"/>
                      <a:gd name="connsiteY6" fmla="*/ 9546 h 2010173"/>
                      <a:gd name="connsiteX7" fmla="*/ 1653489 w 1672164"/>
                      <a:gd name="connsiteY7" fmla="*/ 621796 h 2010173"/>
                      <a:gd name="connsiteX8" fmla="*/ 1652914 w 1672164"/>
                      <a:gd name="connsiteY8" fmla="*/ 622342 h 201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164" h="2010173">
                        <a:moveTo>
                          <a:pt x="1585286" y="934127"/>
                        </a:moveTo>
                        <a:lnTo>
                          <a:pt x="507653" y="2010173"/>
                        </a:lnTo>
                        <a:lnTo>
                          <a:pt x="438289" y="1952943"/>
                        </a:lnTo>
                        <a:cubicBezTo>
                          <a:pt x="312277" y="1867811"/>
                          <a:pt x="164684" y="1812198"/>
                          <a:pt x="5431" y="1796025"/>
                        </a:cubicBezTo>
                        <a:lnTo>
                          <a:pt x="0" y="1795751"/>
                        </a:lnTo>
                        <a:lnTo>
                          <a:pt x="0" y="0"/>
                        </a:lnTo>
                        <a:lnTo>
                          <a:pt x="189035" y="9546"/>
                        </a:lnTo>
                        <a:cubicBezTo>
                          <a:pt x="742346" y="65738"/>
                          <a:pt x="1247044" y="286368"/>
                          <a:pt x="1653489" y="621796"/>
                        </a:cubicBezTo>
                        <a:cubicBezTo>
                          <a:pt x="1695842" y="660290"/>
                          <a:pt x="1652914" y="622342"/>
                          <a:pt x="1652914" y="622342"/>
                        </a:cubicBezTo>
                      </a:path>
                    </a:pathLst>
                  </a:cu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57" name="Isosceles Triangle 256"/>
                  <p:cNvSpPr/>
                  <p:nvPr/>
                </p:nvSpPr>
                <p:spPr bwMode="gray">
                  <a:xfrm rot="7855756">
                    <a:off x="6329363" y="1317625"/>
                    <a:ext cx="132588" cy="114300"/>
                  </a:xfrm>
                  <a:prstGeom prst="triangl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258" name="Oval 257"/>
                  <p:cNvSpPr/>
                  <p:nvPr/>
                </p:nvSpPr>
                <p:spPr bwMode="gray">
                  <a:xfrm>
                    <a:off x="6235103" y="1522413"/>
                    <a:ext cx="115888" cy="115888"/>
                  </a:xfrm>
                  <a:prstGeom prst="ellipse">
                    <a:avLst/>
                  </a:prstGeom>
                  <a:noFill/>
                  <a:ln w="2857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grpSp>
            <p:nvGrpSpPr>
              <p:cNvPr id="270" name="Group 432"/>
              <p:cNvGrpSpPr>
                <a:grpSpLocks noChangeAspect="1"/>
              </p:cNvGrpSpPr>
              <p:nvPr/>
            </p:nvGrpSpPr>
            <p:grpSpPr bwMode="auto">
              <a:xfrm>
                <a:off x="5189463" y="1095945"/>
                <a:ext cx="455860" cy="457200"/>
                <a:chOff x="3505" y="1546"/>
                <a:chExt cx="340" cy="341"/>
              </a:xfrm>
              <a:solidFill>
                <a:schemeClr val="accent1"/>
              </a:solidFill>
            </p:grpSpPr>
            <p:sp>
              <p:nvSpPr>
                <p:cNvPr id="271"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72"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283" name="Rectangle 282"/>
              <p:cNvSpPr/>
              <p:nvPr/>
            </p:nvSpPr>
            <p:spPr>
              <a:xfrm>
                <a:off x="4636280" y="1723800"/>
                <a:ext cx="1327665" cy="26724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nvGrpSpPr>
              <p:cNvPr id="284" name="Group 360"/>
              <p:cNvGrpSpPr>
                <a:grpSpLocks noChangeAspect="1"/>
              </p:cNvGrpSpPr>
              <p:nvPr/>
            </p:nvGrpSpPr>
            <p:grpSpPr bwMode="auto">
              <a:xfrm>
                <a:off x="6303550" y="2140684"/>
                <a:ext cx="458544" cy="457200"/>
                <a:chOff x="1935" y="1199"/>
                <a:chExt cx="341" cy="340"/>
              </a:xfrm>
              <a:solidFill>
                <a:srgbClr val="004F59"/>
              </a:solidFill>
            </p:grpSpPr>
            <p:sp>
              <p:nvSpPr>
                <p:cNvPr id="285"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86"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88" name="Group 336"/>
              <p:cNvGrpSpPr>
                <a:grpSpLocks noChangeAspect="1"/>
              </p:cNvGrpSpPr>
              <p:nvPr/>
            </p:nvGrpSpPr>
            <p:grpSpPr bwMode="auto">
              <a:xfrm rot="60000">
                <a:off x="6311663" y="3749685"/>
                <a:ext cx="457200" cy="457200"/>
                <a:chOff x="4220" y="1197"/>
                <a:chExt cx="340" cy="340"/>
              </a:xfrm>
              <a:solidFill>
                <a:srgbClr val="2C5234"/>
              </a:solidFill>
            </p:grpSpPr>
            <p:sp>
              <p:nvSpPr>
                <p:cNvPr id="289"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0"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1"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2"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3"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4"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95" name="Group 920"/>
              <p:cNvGrpSpPr>
                <a:grpSpLocks noChangeAspect="1"/>
              </p:cNvGrpSpPr>
              <p:nvPr/>
            </p:nvGrpSpPr>
            <p:grpSpPr bwMode="auto">
              <a:xfrm>
                <a:off x="3490903" y="5367528"/>
                <a:ext cx="457200" cy="457200"/>
                <a:chOff x="5645" y="4510"/>
                <a:chExt cx="340" cy="340"/>
              </a:xfrm>
              <a:solidFill>
                <a:schemeClr val="accent1"/>
              </a:solidFill>
            </p:grpSpPr>
            <p:sp>
              <p:nvSpPr>
                <p:cNvPr id="296"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97"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98" name="Group 318"/>
              <p:cNvGrpSpPr>
                <a:grpSpLocks noChangeAspect="1"/>
              </p:cNvGrpSpPr>
              <p:nvPr/>
            </p:nvGrpSpPr>
            <p:grpSpPr bwMode="auto">
              <a:xfrm>
                <a:off x="2378874" y="2142533"/>
                <a:ext cx="457200" cy="457200"/>
                <a:chOff x="5850" y="1203"/>
                <a:chExt cx="340" cy="340"/>
              </a:xfrm>
              <a:solidFill>
                <a:srgbClr val="2C5234"/>
              </a:solidFill>
            </p:grpSpPr>
            <p:sp>
              <p:nvSpPr>
                <p:cNvPr id="299"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300"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302" name="Group 759"/>
              <p:cNvGrpSpPr>
                <a:grpSpLocks noChangeAspect="1"/>
              </p:cNvGrpSpPr>
              <p:nvPr/>
            </p:nvGrpSpPr>
            <p:grpSpPr bwMode="auto">
              <a:xfrm>
                <a:off x="2377440" y="3749040"/>
                <a:ext cx="457200" cy="457200"/>
                <a:chOff x="2732" y="2698"/>
                <a:chExt cx="340" cy="340"/>
              </a:xfrm>
              <a:solidFill>
                <a:srgbClr val="004F59"/>
              </a:solidFill>
            </p:grpSpPr>
            <p:sp>
              <p:nvSpPr>
                <p:cNvPr id="303" name="Freeform 760"/>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304" name="Freeform 761"/>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305" name="Group 541"/>
              <p:cNvGrpSpPr>
                <a:grpSpLocks noChangeAspect="1"/>
              </p:cNvGrpSpPr>
              <p:nvPr/>
            </p:nvGrpSpPr>
            <p:grpSpPr bwMode="auto">
              <a:xfrm>
                <a:off x="5193792" y="5370498"/>
                <a:ext cx="457200" cy="457200"/>
                <a:chOff x="5326" y="2494"/>
                <a:chExt cx="340" cy="340"/>
              </a:xfrm>
              <a:solidFill>
                <a:schemeClr val="accent5"/>
              </a:solidFill>
            </p:grpSpPr>
            <p:sp>
              <p:nvSpPr>
                <p:cNvPr id="306"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307"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308" name="Group 345"/>
              <p:cNvGrpSpPr>
                <a:grpSpLocks noChangeAspect="1"/>
              </p:cNvGrpSpPr>
              <p:nvPr/>
            </p:nvGrpSpPr>
            <p:grpSpPr bwMode="auto">
              <a:xfrm>
                <a:off x="3466154" y="1097280"/>
                <a:ext cx="457200" cy="457200"/>
                <a:chOff x="3451" y="1171"/>
                <a:chExt cx="340" cy="340"/>
              </a:xfrm>
              <a:solidFill>
                <a:srgbClr val="0097A9"/>
              </a:solidFill>
            </p:grpSpPr>
            <p:sp>
              <p:nvSpPr>
                <p:cNvPr id="309"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310"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311" name="Rectangle 310"/>
              <p:cNvSpPr/>
              <p:nvPr/>
            </p:nvSpPr>
            <p:spPr>
              <a:xfrm>
                <a:off x="5887260" y="2831115"/>
                <a:ext cx="1333794" cy="2658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2" name="Rectangle 311"/>
              <p:cNvSpPr/>
              <p:nvPr/>
            </p:nvSpPr>
            <p:spPr>
              <a:xfrm>
                <a:off x="5776832" y="4266732"/>
                <a:ext cx="1333794" cy="2658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3" name="Rectangle 312"/>
              <p:cNvSpPr/>
              <p:nvPr/>
            </p:nvSpPr>
            <p:spPr>
              <a:xfrm>
                <a:off x="4660374" y="4867711"/>
                <a:ext cx="1333794" cy="2658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4" name="Rectangle 313"/>
              <p:cNvSpPr/>
              <p:nvPr/>
            </p:nvSpPr>
            <p:spPr>
              <a:xfrm>
                <a:off x="3180979" y="4867711"/>
                <a:ext cx="1333794" cy="2658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5" name="Rectangle 314"/>
              <p:cNvSpPr/>
              <p:nvPr/>
            </p:nvSpPr>
            <p:spPr>
              <a:xfrm>
                <a:off x="1949317" y="2825497"/>
                <a:ext cx="1333794" cy="2658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6" name="Rectangle 315"/>
              <p:cNvSpPr/>
              <p:nvPr/>
            </p:nvSpPr>
            <p:spPr>
              <a:xfrm>
                <a:off x="3170405" y="1719072"/>
                <a:ext cx="1317037" cy="2658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317" name="Rectangle 316"/>
              <p:cNvSpPr/>
              <p:nvPr/>
            </p:nvSpPr>
            <p:spPr>
              <a:xfrm>
                <a:off x="2037545" y="4334256"/>
                <a:ext cx="1333794" cy="2658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grpSp>
      <p:sp>
        <p:nvSpPr>
          <p:cNvPr id="8" name="Title 7">
            <a:extLst>
              <a:ext uri="{FF2B5EF4-FFF2-40B4-BE49-F238E27FC236}">
                <a16:creationId xmlns:a16="http://schemas.microsoft.com/office/drawing/2014/main" id="{BCB1CF0E-2F1E-174B-8CB6-3DB9844F82F6}"/>
              </a:ext>
            </a:extLst>
          </p:cNvPr>
          <p:cNvSpPr>
            <a:spLocks noGrp="1"/>
          </p:cNvSpPr>
          <p:nvPr>
            <p:ph type="title"/>
          </p:nvPr>
        </p:nvSpPr>
        <p:spPr/>
        <p:txBody>
          <a:bodyPr/>
          <a:lstStyle/>
          <a:p>
            <a:r>
              <a:rPr lang="en-US" dirty="0"/>
              <a:t>Progressive wheel x8</a:t>
            </a:r>
          </a:p>
        </p:txBody>
      </p:sp>
      <p:sp>
        <p:nvSpPr>
          <p:cNvPr id="75" name="Star: 5 Points 74">
            <a:extLst>
              <a:ext uri="{FF2B5EF4-FFF2-40B4-BE49-F238E27FC236}">
                <a16:creationId xmlns:a16="http://schemas.microsoft.com/office/drawing/2014/main" id="{C8F5CF09-7DC2-41D7-B9E1-CBFE4B645CAB}"/>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012417480"/>
      </p:ext>
    </p:extLst>
  </p:cSld>
  <p:clrMapOvr>
    <a:masterClrMapping/>
  </p:clrMapOvr>
  <p:transition>
    <p:fade/>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ference" hidden="1"/>
          <p:cNvSpPr/>
          <p:nvPr/>
        </p:nvSpPr>
        <p:spPr bwMode="gray">
          <a:xfrm>
            <a:off x="3352800" y="685800"/>
            <a:ext cx="5486400" cy="5486400"/>
          </a:xfrm>
          <a:custGeom>
            <a:avLst/>
            <a:gdLst>
              <a:gd name="connsiteX0" fmla="*/ 2743201 w 5486400"/>
              <a:gd name="connsiteY0" fmla="*/ 1795750 h 5486400"/>
              <a:gd name="connsiteX1" fmla="*/ 1795750 w 5486400"/>
              <a:gd name="connsiteY1" fmla="*/ 2743201 h 5486400"/>
              <a:gd name="connsiteX2" fmla="*/ 2743201 w 5486400"/>
              <a:gd name="connsiteY2" fmla="*/ 3690652 h 5486400"/>
              <a:gd name="connsiteX3" fmla="*/ 3690652 w 5486400"/>
              <a:gd name="connsiteY3" fmla="*/ 2743201 h 5486400"/>
              <a:gd name="connsiteX4" fmla="*/ 2743201 w 5486400"/>
              <a:gd name="connsiteY4" fmla="*/ 1795750 h 5486400"/>
              <a:gd name="connsiteX5" fmla="*/ 2743200 w 5486400"/>
              <a:gd name="connsiteY5" fmla="*/ 0 h 5486400"/>
              <a:gd name="connsiteX6" fmla="*/ 5486400 w 5486400"/>
              <a:gd name="connsiteY6" fmla="*/ 2743200 h 5486400"/>
              <a:gd name="connsiteX7" fmla="*/ 2743200 w 5486400"/>
              <a:gd name="connsiteY7" fmla="*/ 5486400 h 5486400"/>
              <a:gd name="connsiteX8" fmla="*/ 0 w 5486400"/>
              <a:gd name="connsiteY8" fmla="*/ 2743200 h 5486400"/>
              <a:gd name="connsiteX9" fmla="*/ 2743200 w 5486400"/>
              <a:gd name="connsiteY9" fmla="*/ 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6400" h="5486400">
                <a:moveTo>
                  <a:pt x="2743201" y="1795750"/>
                </a:moveTo>
                <a:cubicBezTo>
                  <a:pt x="2219938" y="1795750"/>
                  <a:pt x="1795750" y="2219938"/>
                  <a:pt x="1795750" y="2743201"/>
                </a:cubicBezTo>
                <a:cubicBezTo>
                  <a:pt x="1795750" y="3266464"/>
                  <a:pt x="2219938" y="3690652"/>
                  <a:pt x="2743201" y="3690652"/>
                </a:cubicBezTo>
                <a:cubicBezTo>
                  <a:pt x="3266464" y="3690652"/>
                  <a:pt x="3690652" y="3266464"/>
                  <a:pt x="3690652" y="2743201"/>
                </a:cubicBezTo>
                <a:cubicBezTo>
                  <a:pt x="3690652" y="2219938"/>
                  <a:pt x="3266464" y="1795750"/>
                  <a:pt x="2743201" y="1795750"/>
                </a:cubicBezTo>
                <a:close/>
                <a:moveTo>
                  <a:pt x="2743200" y="0"/>
                </a:moveTo>
                <a:cubicBezTo>
                  <a:pt x="4258228" y="0"/>
                  <a:pt x="5486400" y="1228172"/>
                  <a:pt x="5486400" y="2743200"/>
                </a:cubicBezTo>
                <a:cubicBezTo>
                  <a:pt x="5486400" y="4258228"/>
                  <a:pt x="4258228" y="5486400"/>
                  <a:pt x="2743200" y="5486400"/>
                </a:cubicBezTo>
                <a:cubicBezTo>
                  <a:pt x="1228172" y="5486400"/>
                  <a:pt x="0" y="4258228"/>
                  <a:pt x="0" y="2743200"/>
                </a:cubicBezTo>
                <a:cubicBezTo>
                  <a:pt x="0" y="1228172"/>
                  <a:pt x="1228172" y="0"/>
                  <a:pt x="2743200" y="0"/>
                </a:cubicBezTo>
                <a:close/>
              </a:path>
            </a:pathLst>
          </a:cu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3" name="Group 2"/>
          <p:cNvGrpSpPr/>
          <p:nvPr/>
        </p:nvGrpSpPr>
        <p:grpSpPr>
          <a:xfrm>
            <a:off x="3167140" y="797476"/>
            <a:ext cx="5950355" cy="6048516"/>
            <a:chOff x="1372796" y="182255"/>
            <a:chExt cx="6383503" cy="6488810"/>
          </a:xfrm>
        </p:grpSpPr>
        <p:grpSp>
          <p:nvGrpSpPr>
            <p:cNvPr id="168" name="Group 167"/>
            <p:cNvGrpSpPr/>
            <p:nvPr/>
          </p:nvGrpSpPr>
          <p:grpSpPr>
            <a:xfrm rot="1800000" flipV="1">
              <a:off x="3928321" y="4294967"/>
              <a:ext cx="2292286" cy="2376098"/>
              <a:chOff x="4904176" y="720729"/>
              <a:chExt cx="2292286" cy="2376098"/>
            </a:xfrm>
          </p:grpSpPr>
          <p:sp>
            <p:nvSpPr>
              <p:cNvPr id="156" name="Freeform 155"/>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6" name="Isosceles Triangle 165"/>
              <p:cNvSpPr/>
              <p:nvPr/>
            </p:nvSpPr>
            <p:spPr bwMode="gray">
              <a:xfrm rot="17350313">
                <a:off x="5298149" y="722287"/>
                <a:ext cx="167617" cy="164502"/>
              </a:xfrm>
              <a:prstGeom prst="triangle">
                <a:avLst/>
              </a:prstGeom>
              <a:solidFill>
                <a:schemeClr val="bg1"/>
              </a:solid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7" name="Oval 166"/>
              <p:cNvSpPr/>
              <p:nvPr/>
            </p:nvSpPr>
            <p:spPr bwMode="gray">
              <a:xfrm>
                <a:off x="5264934" y="990981"/>
                <a:ext cx="97182" cy="97182"/>
              </a:xfrm>
              <a:prstGeom prst="ellipse">
                <a:avLst/>
              </a:prstGeom>
              <a:solidFill>
                <a:schemeClr val="bg1"/>
              </a:solid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2" name="Group 1"/>
            <p:cNvGrpSpPr/>
            <p:nvPr/>
          </p:nvGrpSpPr>
          <p:grpSpPr>
            <a:xfrm>
              <a:off x="1372796" y="182255"/>
              <a:ext cx="6383503" cy="5881668"/>
              <a:chOff x="1372796" y="182255"/>
              <a:chExt cx="6383503" cy="5881668"/>
            </a:xfrm>
          </p:grpSpPr>
          <p:grpSp>
            <p:nvGrpSpPr>
              <p:cNvPr id="172" name="Group 171"/>
              <p:cNvGrpSpPr/>
              <p:nvPr/>
            </p:nvGrpSpPr>
            <p:grpSpPr>
              <a:xfrm rot="19800000" flipV="1">
                <a:off x="5464013" y="2812992"/>
                <a:ext cx="2292286" cy="2376098"/>
                <a:chOff x="4904176" y="720729"/>
                <a:chExt cx="2292286" cy="2376098"/>
              </a:xfrm>
            </p:grpSpPr>
            <p:sp>
              <p:nvSpPr>
                <p:cNvPr id="173" name="Freeform 172"/>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74" name="Isosceles Triangle 173"/>
                <p:cNvSpPr/>
                <p:nvPr/>
              </p:nvSpPr>
              <p:spPr bwMode="gray">
                <a:xfrm rot="17350313">
                  <a:off x="5298149" y="722287"/>
                  <a:ext cx="167617" cy="164502"/>
                </a:xfrm>
                <a:prstGeom prst="triangle">
                  <a:avLst/>
                </a:prstGeom>
                <a:solidFill>
                  <a:schemeClr val="bg1"/>
                </a:solid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75" name="Oval 174"/>
                <p:cNvSpPr/>
                <p:nvPr/>
              </p:nvSpPr>
              <p:spPr bwMode="gray">
                <a:xfrm>
                  <a:off x="5264934" y="990981"/>
                  <a:ext cx="97182" cy="97182"/>
                </a:xfrm>
                <a:prstGeom prst="ellipse">
                  <a:avLst/>
                </a:prstGeom>
                <a:solidFill>
                  <a:schemeClr val="bg1"/>
                </a:solid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176" name="Group 175"/>
              <p:cNvGrpSpPr/>
              <p:nvPr/>
            </p:nvGrpSpPr>
            <p:grpSpPr>
              <a:xfrm rot="16200000" flipV="1">
                <a:off x="4942993" y="747491"/>
                <a:ext cx="2292286" cy="2376098"/>
                <a:chOff x="4904176" y="720729"/>
                <a:chExt cx="2292286" cy="2376098"/>
              </a:xfrm>
            </p:grpSpPr>
            <p:sp>
              <p:nvSpPr>
                <p:cNvPr id="177" name="Freeform 176"/>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78" name="Isosceles Triangle 177"/>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79" name="Oval 178"/>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182" name="Group 181"/>
              <p:cNvGrpSpPr/>
              <p:nvPr/>
            </p:nvGrpSpPr>
            <p:grpSpPr>
              <a:xfrm rot="1800000" flipH="1">
                <a:off x="2908488" y="182255"/>
                <a:ext cx="2292286" cy="2376098"/>
                <a:chOff x="4904176" y="720729"/>
                <a:chExt cx="2292286" cy="2376098"/>
              </a:xfrm>
            </p:grpSpPr>
            <p:sp>
              <p:nvSpPr>
                <p:cNvPr id="191" name="Freeform 190"/>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92" name="Isosceles Triangle 191"/>
                <p:cNvSpPr/>
                <p:nvPr/>
              </p:nvSpPr>
              <p:spPr bwMode="gray">
                <a:xfrm rot="17350313">
                  <a:off x="5298149" y="722287"/>
                  <a:ext cx="167617" cy="164502"/>
                </a:xfrm>
                <a:prstGeom prst="triangle">
                  <a:avLst/>
                </a:prstGeom>
                <a:solidFill>
                  <a:schemeClr val="bg1"/>
                </a:solid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93" name="Oval 192"/>
                <p:cNvSpPr/>
                <p:nvPr/>
              </p:nvSpPr>
              <p:spPr bwMode="gray">
                <a:xfrm>
                  <a:off x="5264934" y="990981"/>
                  <a:ext cx="97182" cy="97182"/>
                </a:xfrm>
                <a:prstGeom prst="ellipse">
                  <a:avLst/>
                </a:prstGeom>
                <a:solidFill>
                  <a:schemeClr val="bg1"/>
                </a:solidFill>
                <a:ln w="28575" algn="ctr">
                  <a:solidFill>
                    <a:srgbClr val="004F5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183" name="Group 182"/>
              <p:cNvGrpSpPr/>
              <p:nvPr/>
            </p:nvGrpSpPr>
            <p:grpSpPr>
              <a:xfrm rot="19800000" flipH="1">
                <a:off x="1372796" y="1664230"/>
                <a:ext cx="2292286" cy="2376098"/>
                <a:chOff x="4904176" y="720729"/>
                <a:chExt cx="2292286" cy="2376098"/>
              </a:xfrm>
            </p:grpSpPr>
            <p:sp>
              <p:nvSpPr>
                <p:cNvPr id="188" name="Freeform 187"/>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89" name="Isosceles Triangle 188"/>
                <p:cNvSpPr/>
                <p:nvPr/>
              </p:nvSpPr>
              <p:spPr bwMode="gray">
                <a:xfrm rot="17350313">
                  <a:off x="5298149" y="722287"/>
                  <a:ext cx="167617" cy="164502"/>
                </a:xfrm>
                <a:prstGeom prst="triangle">
                  <a:avLst/>
                </a:prstGeom>
                <a:solidFill>
                  <a:schemeClr val="bg1"/>
                </a:solid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90" name="Oval 189"/>
                <p:cNvSpPr/>
                <p:nvPr/>
              </p:nvSpPr>
              <p:spPr bwMode="gray">
                <a:xfrm>
                  <a:off x="5264934" y="990981"/>
                  <a:ext cx="97182" cy="97182"/>
                </a:xfrm>
                <a:prstGeom prst="ellipse">
                  <a:avLst/>
                </a:prstGeom>
                <a:solidFill>
                  <a:schemeClr val="bg1"/>
                </a:solidFill>
                <a:ln w="28575" algn="ctr">
                  <a:solidFill>
                    <a:srgbClr val="2C523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184" name="Group 183"/>
              <p:cNvGrpSpPr/>
              <p:nvPr/>
            </p:nvGrpSpPr>
            <p:grpSpPr>
              <a:xfrm rot="16200000" flipH="1">
                <a:off x="1893816" y="3729731"/>
                <a:ext cx="2292286" cy="2376098"/>
                <a:chOff x="4904176" y="720729"/>
                <a:chExt cx="2292286" cy="2376098"/>
              </a:xfrm>
            </p:grpSpPr>
            <p:sp>
              <p:nvSpPr>
                <p:cNvPr id="185" name="Freeform 184"/>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86" name="Isosceles Triangle 185"/>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87" name="Oval 186"/>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sp>
            <p:nvSpPr>
              <p:cNvPr id="194" name="Rectangle 193"/>
              <p:cNvSpPr/>
              <p:nvPr/>
            </p:nvSpPr>
            <p:spPr>
              <a:xfrm>
                <a:off x="3607695" y="2991637"/>
                <a:ext cx="1943848" cy="92450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Lorem ipsum dolor sit </a:t>
                </a:r>
                <a:r>
                  <a:rPr kumimoji="0" lang="en-US" sz="1000" b="0" i="0" u="none" strike="noStrike" kern="1200" cap="none" spc="0" normalizeH="0" baseline="0" noProof="0" dirty="0" err="1">
                    <a:ln>
                      <a:noFill/>
                    </a:ln>
                    <a:solidFill>
                      <a:srgbClr val="000000"/>
                    </a:solidFill>
                    <a:effectLst/>
                    <a:uLnTx/>
                    <a:uFillTx/>
                    <a:ea typeface="+mn-ea"/>
                    <a:cs typeface="+mn-cs"/>
                  </a:rPr>
                  <a:t>amet</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consectetur</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adipiscing</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elit</a:t>
                </a:r>
                <a:r>
                  <a:rPr kumimoji="0" lang="en-US" sz="1000" b="0" i="0" u="none" strike="noStrike" kern="1200" cap="none" spc="0" normalizeH="0" baseline="0" noProof="0" dirty="0">
                    <a:ln>
                      <a:noFill/>
                    </a:ln>
                    <a:solidFill>
                      <a:srgbClr val="000000"/>
                    </a:solidFill>
                    <a:effectLst/>
                    <a:uLnTx/>
                    <a:uFillTx/>
                    <a:ea typeface="+mn-ea"/>
                    <a:cs typeface="+mn-cs"/>
                  </a:rPr>
                  <a:t>, </a:t>
                </a:r>
                <a:r>
                  <a:rPr kumimoji="0" lang="en-US" sz="1000" b="0" i="0" u="none" strike="noStrike" kern="1200" cap="none" spc="0" normalizeH="0" baseline="0" noProof="0" dirty="0" err="1">
                    <a:ln>
                      <a:noFill/>
                    </a:ln>
                    <a:solidFill>
                      <a:srgbClr val="000000"/>
                    </a:solidFill>
                    <a:effectLst/>
                    <a:uLnTx/>
                    <a:uFillTx/>
                    <a:ea typeface="+mn-ea"/>
                    <a:cs typeface="+mn-cs"/>
                  </a:rPr>
                  <a:t>sed</a:t>
                </a:r>
                <a:r>
                  <a:rPr kumimoji="0" lang="en-US" sz="1000" b="0" i="0" u="none" strike="noStrike" kern="1200" cap="none" spc="0" normalizeH="0" baseline="0" noProof="0" dirty="0">
                    <a:ln>
                      <a:noFill/>
                    </a:ln>
                    <a:solidFill>
                      <a:srgbClr val="000000"/>
                    </a:solidFill>
                    <a:effectLst/>
                    <a:uLnTx/>
                    <a:uFillTx/>
                    <a:ea typeface="+mn-ea"/>
                    <a:cs typeface="+mn-cs"/>
                  </a:rPr>
                  <a:t> do</a:t>
                </a:r>
                <a:endParaRPr kumimoji="0" lang="en-US" sz="1000" b="1"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p:txBody>
          </p:sp>
          <p:grpSp>
            <p:nvGrpSpPr>
              <p:cNvPr id="195" name="Group 318"/>
              <p:cNvGrpSpPr>
                <a:grpSpLocks noChangeAspect="1"/>
              </p:cNvGrpSpPr>
              <p:nvPr/>
            </p:nvGrpSpPr>
            <p:grpSpPr bwMode="auto">
              <a:xfrm>
                <a:off x="2412836" y="2342541"/>
                <a:ext cx="548640" cy="548640"/>
                <a:chOff x="5850" y="1203"/>
                <a:chExt cx="340" cy="340"/>
              </a:xfrm>
              <a:solidFill>
                <a:srgbClr val="2C5234"/>
              </a:solidFill>
            </p:grpSpPr>
            <p:sp>
              <p:nvSpPr>
                <p:cNvPr id="196"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197"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198" name="Rectangle 197"/>
              <p:cNvSpPr/>
              <p:nvPr/>
            </p:nvSpPr>
            <p:spPr>
              <a:xfrm>
                <a:off x="2020259" y="3136222"/>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nvGrpSpPr>
              <p:cNvPr id="218" name="Group 360"/>
              <p:cNvGrpSpPr>
                <a:grpSpLocks noChangeAspect="1"/>
              </p:cNvGrpSpPr>
              <p:nvPr/>
            </p:nvGrpSpPr>
            <p:grpSpPr bwMode="auto">
              <a:xfrm>
                <a:off x="5856423" y="1529878"/>
                <a:ext cx="550254" cy="548640"/>
                <a:chOff x="1935" y="1199"/>
                <a:chExt cx="341" cy="340"/>
              </a:xfrm>
              <a:solidFill>
                <a:schemeClr val="accent1"/>
              </a:solidFill>
            </p:grpSpPr>
            <p:sp>
              <p:nvSpPr>
                <p:cNvPr id="219"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0"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21" name="Group 336"/>
              <p:cNvGrpSpPr>
                <a:grpSpLocks noChangeAspect="1"/>
              </p:cNvGrpSpPr>
              <p:nvPr/>
            </p:nvGrpSpPr>
            <p:grpSpPr bwMode="auto">
              <a:xfrm rot="60000">
                <a:off x="6135489" y="3338635"/>
                <a:ext cx="548640" cy="548640"/>
                <a:chOff x="4220" y="1197"/>
                <a:chExt cx="340" cy="340"/>
              </a:xfrm>
              <a:solidFill>
                <a:srgbClr val="2C5234"/>
              </a:solidFill>
            </p:grpSpPr>
            <p:sp>
              <p:nvSpPr>
                <p:cNvPr id="222"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3"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4"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5"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6"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27"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28" name="Group 345"/>
              <p:cNvGrpSpPr>
                <a:grpSpLocks noChangeAspect="1"/>
              </p:cNvGrpSpPr>
              <p:nvPr/>
            </p:nvGrpSpPr>
            <p:grpSpPr bwMode="auto">
              <a:xfrm>
                <a:off x="3784833" y="1013158"/>
                <a:ext cx="548640" cy="548640"/>
                <a:chOff x="3451" y="1171"/>
                <a:chExt cx="340" cy="340"/>
              </a:xfrm>
              <a:solidFill>
                <a:srgbClr val="2C5234"/>
              </a:solidFill>
            </p:grpSpPr>
            <p:sp>
              <p:nvSpPr>
                <p:cNvPr id="229"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30"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231" name="Rectangle 230"/>
              <p:cNvSpPr/>
              <p:nvPr/>
            </p:nvSpPr>
            <p:spPr>
              <a:xfrm>
                <a:off x="5167866" y="2284733"/>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232" name="Rectangle 231"/>
              <p:cNvSpPr/>
              <p:nvPr/>
            </p:nvSpPr>
            <p:spPr>
              <a:xfrm>
                <a:off x="3507233" y="1869401"/>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233" name="Rectangle 232"/>
              <p:cNvSpPr/>
              <p:nvPr/>
            </p:nvSpPr>
            <p:spPr>
              <a:xfrm>
                <a:off x="4344798" y="4718574"/>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nvGrpSpPr>
              <p:cNvPr id="234" name="Group 920"/>
              <p:cNvGrpSpPr>
                <a:grpSpLocks noChangeAspect="1"/>
              </p:cNvGrpSpPr>
              <p:nvPr/>
            </p:nvGrpSpPr>
            <p:grpSpPr bwMode="auto">
              <a:xfrm>
                <a:off x="2734221" y="4751408"/>
                <a:ext cx="548640" cy="548640"/>
                <a:chOff x="5645" y="4510"/>
                <a:chExt cx="340" cy="340"/>
              </a:xfrm>
              <a:solidFill>
                <a:schemeClr val="accent1"/>
              </a:solidFill>
            </p:grpSpPr>
            <p:sp>
              <p:nvSpPr>
                <p:cNvPr id="235"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36"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grpSp>
            <p:nvGrpSpPr>
              <p:cNvPr id="237" name="Group 541"/>
              <p:cNvGrpSpPr>
                <a:grpSpLocks noChangeAspect="1"/>
              </p:cNvGrpSpPr>
              <p:nvPr/>
            </p:nvGrpSpPr>
            <p:grpSpPr bwMode="auto">
              <a:xfrm>
                <a:off x="4868238" y="5350984"/>
                <a:ext cx="548640" cy="548640"/>
                <a:chOff x="5326" y="2494"/>
                <a:chExt cx="340" cy="340"/>
              </a:xfrm>
              <a:solidFill>
                <a:srgbClr val="004F59"/>
              </a:solidFill>
            </p:grpSpPr>
            <p:sp>
              <p:nvSpPr>
                <p:cNvPr id="238"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sp>
              <p:nvSpPr>
                <p:cNvPr id="239"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ea typeface="+mn-ea"/>
                    <a:cs typeface="+mn-cs"/>
                  </a:endParaRPr>
                </a:p>
              </p:txBody>
            </p:sp>
          </p:grpSp>
          <p:sp>
            <p:nvSpPr>
              <p:cNvPr id="240" name="Rectangle 239"/>
              <p:cNvSpPr/>
              <p:nvPr/>
            </p:nvSpPr>
            <p:spPr>
              <a:xfrm>
                <a:off x="5753410" y="4132395"/>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sp>
            <p:nvSpPr>
              <p:cNvPr id="241" name="Rectangle 240"/>
              <p:cNvSpPr/>
              <p:nvPr/>
            </p:nvSpPr>
            <p:spPr>
              <a:xfrm>
                <a:off x="2656041" y="4315732"/>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Lorem ipsum</a:t>
                </a:r>
              </a:p>
            </p:txBody>
          </p:sp>
        </p:grpSp>
      </p:grpSp>
      <p:sp>
        <p:nvSpPr>
          <p:cNvPr id="4" name="Title 3">
            <a:extLst>
              <a:ext uri="{FF2B5EF4-FFF2-40B4-BE49-F238E27FC236}">
                <a16:creationId xmlns:a16="http://schemas.microsoft.com/office/drawing/2014/main" id="{78AA74D5-B70F-3942-90E8-2A3CC45AEDC6}"/>
              </a:ext>
            </a:extLst>
          </p:cNvPr>
          <p:cNvSpPr>
            <a:spLocks noGrp="1"/>
          </p:cNvSpPr>
          <p:nvPr>
            <p:ph type="title"/>
          </p:nvPr>
        </p:nvSpPr>
        <p:spPr/>
        <p:txBody>
          <a:bodyPr/>
          <a:lstStyle/>
          <a:p>
            <a:r>
              <a:rPr lang="en-US" dirty="0"/>
              <a:t>Progressive wheel x6</a:t>
            </a:r>
          </a:p>
        </p:txBody>
      </p:sp>
      <p:sp>
        <p:nvSpPr>
          <p:cNvPr id="59" name="Star: 5 Points 58">
            <a:extLst>
              <a:ext uri="{FF2B5EF4-FFF2-40B4-BE49-F238E27FC236}">
                <a16:creationId xmlns:a16="http://schemas.microsoft.com/office/drawing/2014/main" id="{5C5041D1-71D9-4453-9EED-00A8694D4A8E}"/>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423905262"/>
      </p:ext>
    </p:extLst>
  </p:cSld>
  <p:clrMapOvr>
    <a:masterClrMapping/>
  </p:clrMapOvr>
  <p:transition>
    <p:fade/>
  </p:transition>
</p:sld>
</file>

<file path=ppt/slides/slide2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ference" hidden="1"/>
          <p:cNvSpPr/>
          <p:nvPr/>
        </p:nvSpPr>
        <p:spPr bwMode="gray">
          <a:xfrm>
            <a:off x="3352800" y="685800"/>
            <a:ext cx="5486400" cy="5486400"/>
          </a:xfrm>
          <a:custGeom>
            <a:avLst/>
            <a:gdLst>
              <a:gd name="connsiteX0" fmla="*/ 2743201 w 5486400"/>
              <a:gd name="connsiteY0" fmla="*/ 1795750 h 5486400"/>
              <a:gd name="connsiteX1" fmla="*/ 1795750 w 5486400"/>
              <a:gd name="connsiteY1" fmla="*/ 2743201 h 5486400"/>
              <a:gd name="connsiteX2" fmla="*/ 2743201 w 5486400"/>
              <a:gd name="connsiteY2" fmla="*/ 3690652 h 5486400"/>
              <a:gd name="connsiteX3" fmla="*/ 3690652 w 5486400"/>
              <a:gd name="connsiteY3" fmla="*/ 2743201 h 5486400"/>
              <a:gd name="connsiteX4" fmla="*/ 2743201 w 5486400"/>
              <a:gd name="connsiteY4" fmla="*/ 1795750 h 5486400"/>
              <a:gd name="connsiteX5" fmla="*/ 2743200 w 5486400"/>
              <a:gd name="connsiteY5" fmla="*/ 0 h 5486400"/>
              <a:gd name="connsiteX6" fmla="*/ 5486400 w 5486400"/>
              <a:gd name="connsiteY6" fmla="*/ 2743200 h 5486400"/>
              <a:gd name="connsiteX7" fmla="*/ 2743200 w 5486400"/>
              <a:gd name="connsiteY7" fmla="*/ 5486400 h 5486400"/>
              <a:gd name="connsiteX8" fmla="*/ 0 w 5486400"/>
              <a:gd name="connsiteY8" fmla="*/ 2743200 h 5486400"/>
              <a:gd name="connsiteX9" fmla="*/ 2743200 w 5486400"/>
              <a:gd name="connsiteY9" fmla="*/ 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6400" h="5486400">
                <a:moveTo>
                  <a:pt x="2743201" y="1795750"/>
                </a:moveTo>
                <a:cubicBezTo>
                  <a:pt x="2219938" y="1795750"/>
                  <a:pt x="1795750" y="2219938"/>
                  <a:pt x="1795750" y="2743201"/>
                </a:cubicBezTo>
                <a:cubicBezTo>
                  <a:pt x="1795750" y="3266464"/>
                  <a:pt x="2219938" y="3690652"/>
                  <a:pt x="2743201" y="3690652"/>
                </a:cubicBezTo>
                <a:cubicBezTo>
                  <a:pt x="3266464" y="3690652"/>
                  <a:pt x="3690652" y="3266464"/>
                  <a:pt x="3690652" y="2743201"/>
                </a:cubicBezTo>
                <a:cubicBezTo>
                  <a:pt x="3690652" y="2219938"/>
                  <a:pt x="3266464" y="1795750"/>
                  <a:pt x="2743201" y="1795750"/>
                </a:cubicBezTo>
                <a:close/>
                <a:moveTo>
                  <a:pt x="2743200" y="0"/>
                </a:moveTo>
                <a:cubicBezTo>
                  <a:pt x="4258228" y="0"/>
                  <a:pt x="5486400" y="1228172"/>
                  <a:pt x="5486400" y="2743200"/>
                </a:cubicBezTo>
                <a:cubicBezTo>
                  <a:pt x="5486400" y="4258228"/>
                  <a:pt x="4258228" y="5486400"/>
                  <a:pt x="2743200" y="5486400"/>
                </a:cubicBezTo>
                <a:cubicBezTo>
                  <a:pt x="1228172" y="5486400"/>
                  <a:pt x="0" y="4258228"/>
                  <a:pt x="0" y="2743200"/>
                </a:cubicBezTo>
                <a:cubicBezTo>
                  <a:pt x="0" y="1228172"/>
                  <a:pt x="1228172" y="0"/>
                  <a:pt x="2743200" y="0"/>
                </a:cubicBezTo>
                <a:close/>
              </a:path>
            </a:pathLst>
          </a:cu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 name="Title 5">
            <a:extLst>
              <a:ext uri="{FF2B5EF4-FFF2-40B4-BE49-F238E27FC236}">
                <a16:creationId xmlns:a16="http://schemas.microsoft.com/office/drawing/2014/main" id="{739DE8EB-FED8-9540-902A-68501CF27547}"/>
              </a:ext>
            </a:extLst>
          </p:cNvPr>
          <p:cNvSpPr>
            <a:spLocks noGrp="1"/>
          </p:cNvSpPr>
          <p:nvPr>
            <p:ph type="title"/>
          </p:nvPr>
        </p:nvSpPr>
        <p:spPr/>
        <p:txBody>
          <a:bodyPr/>
          <a:lstStyle/>
          <a:p>
            <a:r>
              <a:rPr lang="en-US" dirty="0"/>
              <a:t>Progressive wheel x6</a:t>
            </a:r>
          </a:p>
        </p:txBody>
      </p:sp>
      <p:grpSp>
        <p:nvGrpSpPr>
          <p:cNvPr id="59" name="Group 58"/>
          <p:cNvGrpSpPr/>
          <p:nvPr/>
        </p:nvGrpSpPr>
        <p:grpSpPr>
          <a:xfrm>
            <a:off x="3167140" y="797476"/>
            <a:ext cx="5950355" cy="6048516"/>
            <a:chOff x="1372796" y="182255"/>
            <a:chExt cx="6383503" cy="6488810"/>
          </a:xfrm>
        </p:grpSpPr>
        <p:grpSp>
          <p:nvGrpSpPr>
            <p:cNvPr id="60" name="Group 59"/>
            <p:cNvGrpSpPr/>
            <p:nvPr/>
          </p:nvGrpSpPr>
          <p:grpSpPr>
            <a:xfrm rot="1800000" flipV="1">
              <a:off x="3928321" y="4294967"/>
              <a:ext cx="2292286" cy="2376098"/>
              <a:chOff x="4904176" y="720729"/>
              <a:chExt cx="2292286" cy="2376098"/>
            </a:xfrm>
          </p:grpSpPr>
          <p:sp>
            <p:nvSpPr>
              <p:cNvPr id="111" name="Freeform 110"/>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12" name="Isosceles Triangle 111"/>
              <p:cNvSpPr/>
              <p:nvPr/>
            </p:nvSpPr>
            <p:spPr bwMode="gray">
              <a:xfrm rot="17350313">
                <a:off x="5298149" y="722287"/>
                <a:ext cx="167617" cy="164502"/>
              </a:xfrm>
              <a:prstGeom prst="triangle">
                <a:avLst/>
              </a:prstGeom>
              <a:solidFill>
                <a:schemeClr val="bg1"/>
              </a:solid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13" name="Oval 112"/>
              <p:cNvSpPr/>
              <p:nvPr/>
            </p:nvSpPr>
            <p:spPr bwMode="gray">
              <a:xfrm>
                <a:off x="5264934" y="990981"/>
                <a:ext cx="97182" cy="97182"/>
              </a:xfrm>
              <a:prstGeom prst="ellipse">
                <a:avLst/>
              </a:prstGeom>
              <a:solidFill>
                <a:schemeClr val="bg1"/>
              </a:solid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61" name="Group 60"/>
            <p:cNvGrpSpPr/>
            <p:nvPr/>
          </p:nvGrpSpPr>
          <p:grpSpPr>
            <a:xfrm>
              <a:off x="1372796" y="182255"/>
              <a:ext cx="6383503" cy="5881668"/>
              <a:chOff x="1372796" y="182255"/>
              <a:chExt cx="6383503" cy="5881668"/>
            </a:xfrm>
          </p:grpSpPr>
          <p:grpSp>
            <p:nvGrpSpPr>
              <p:cNvPr id="62" name="Group 61"/>
              <p:cNvGrpSpPr/>
              <p:nvPr/>
            </p:nvGrpSpPr>
            <p:grpSpPr>
              <a:xfrm rot="19800000" flipV="1">
                <a:off x="5464013" y="2812992"/>
                <a:ext cx="2292286" cy="2376098"/>
                <a:chOff x="4904176" y="720729"/>
                <a:chExt cx="2292286" cy="2376098"/>
              </a:xfrm>
            </p:grpSpPr>
            <p:sp>
              <p:nvSpPr>
                <p:cNvPr id="108" name="Freeform 107"/>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09" name="Isosceles Triangle 108"/>
                <p:cNvSpPr/>
                <p:nvPr/>
              </p:nvSpPr>
              <p:spPr bwMode="gray">
                <a:xfrm rot="17350313">
                  <a:off x="5298149" y="722287"/>
                  <a:ext cx="167617" cy="164502"/>
                </a:xfrm>
                <a:prstGeom prst="triangle">
                  <a:avLst/>
                </a:prstGeom>
                <a:solidFill>
                  <a:schemeClr val="bg1"/>
                </a:solid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10" name="Oval 109"/>
                <p:cNvSpPr/>
                <p:nvPr/>
              </p:nvSpPr>
              <p:spPr bwMode="gray">
                <a:xfrm>
                  <a:off x="5264934" y="990981"/>
                  <a:ext cx="97182" cy="97182"/>
                </a:xfrm>
                <a:prstGeom prst="ellipse">
                  <a:avLst/>
                </a:prstGeom>
                <a:solidFill>
                  <a:schemeClr val="bg1"/>
                </a:solid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63" name="Group 62"/>
              <p:cNvGrpSpPr/>
              <p:nvPr/>
            </p:nvGrpSpPr>
            <p:grpSpPr>
              <a:xfrm rot="16200000" flipV="1">
                <a:off x="4942993" y="747491"/>
                <a:ext cx="2292286" cy="2376098"/>
                <a:chOff x="4904176" y="720729"/>
                <a:chExt cx="2292286" cy="2376098"/>
              </a:xfrm>
            </p:grpSpPr>
            <p:sp>
              <p:nvSpPr>
                <p:cNvPr id="105" name="Freeform 104"/>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06" name="Isosceles Triangle 105"/>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07" name="Oval 106"/>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64" name="Group 63"/>
              <p:cNvGrpSpPr/>
              <p:nvPr/>
            </p:nvGrpSpPr>
            <p:grpSpPr>
              <a:xfrm rot="1800000" flipH="1">
                <a:off x="2908488" y="182255"/>
                <a:ext cx="2292286" cy="2376098"/>
                <a:chOff x="4904176" y="720729"/>
                <a:chExt cx="2292286" cy="2376098"/>
              </a:xfrm>
            </p:grpSpPr>
            <p:sp>
              <p:nvSpPr>
                <p:cNvPr id="102" name="Freeform 101"/>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03" name="Isosceles Triangle 102"/>
                <p:cNvSpPr/>
                <p:nvPr/>
              </p:nvSpPr>
              <p:spPr bwMode="gray">
                <a:xfrm rot="17350313">
                  <a:off x="5298149" y="722287"/>
                  <a:ext cx="167617" cy="164502"/>
                </a:xfrm>
                <a:prstGeom prst="triangle">
                  <a:avLst/>
                </a:prstGeom>
                <a:solidFill>
                  <a:schemeClr val="bg1"/>
                </a:solid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04" name="Oval 103"/>
                <p:cNvSpPr/>
                <p:nvPr/>
              </p:nvSpPr>
              <p:spPr bwMode="gray">
                <a:xfrm>
                  <a:off x="5264934" y="990981"/>
                  <a:ext cx="97182" cy="97182"/>
                </a:xfrm>
                <a:prstGeom prst="ellipse">
                  <a:avLst/>
                </a:prstGeom>
                <a:solidFill>
                  <a:schemeClr val="bg1"/>
                </a:solid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nvGrpSpPr>
              <p:cNvPr id="65" name="Group 64"/>
              <p:cNvGrpSpPr/>
              <p:nvPr/>
            </p:nvGrpSpPr>
            <p:grpSpPr>
              <a:xfrm rot="19800000" flipH="1">
                <a:off x="1372796" y="1664230"/>
                <a:ext cx="2292286" cy="2376098"/>
                <a:chOff x="4904176" y="720729"/>
                <a:chExt cx="2292286" cy="2376098"/>
              </a:xfrm>
            </p:grpSpPr>
            <p:sp>
              <p:nvSpPr>
                <p:cNvPr id="99" name="Freeform 98"/>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00" name="Isosceles Triangle 99"/>
                <p:cNvSpPr/>
                <p:nvPr/>
              </p:nvSpPr>
              <p:spPr bwMode="gray">
                <a:xfrm rot="17350313">
                  <a:off x="5298149" y="722287"/>
                  <a:ext cx="167617" cy="164502"/>
                </a:xfrm>
                <a:prstGeom prst="triangle">
                  <a:avLst/>
                </a:prstGeom>
                <a:solidFill>
                  <a:schemeClr val="bg1"/>
                </a:solid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01" name="Oval 100"/>
                <p:cNvSpPr/>
                <p:nvPr/>
              </p:nvSpPr>
              <p:spPr bwMode="gray">
                <a:xfrm>
                  <a:off x="5264934" y="990981"/>
                  <a:ext cx="97182" cy="97182"/>
                </a:xfrm>
                <a:prstGeom prst="ellipse">
                  <a:avLst/>
                </a:prstGeom>
                <a:solidFill>
                  <a:schemeClr val="bg1"/>
                </a:solidFill>
                <a:ln w="28575"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66" name="Group 65"/>
              <p:cNvGrpSpPr/>
              <p:nvPr/>
            </p:nvGrpSpPr>
            <p:grpSpPr>
              <a:xfrm rot="16200000" flipH="1">
                <a:off x="1893816" y="3729731"/>
                <a:ext cx="2292286" cy="2376098"/>
                <a:chOff x="4904176" y="720729"/>
                <a:chExt cx="2292286" cy="2376098"/>
              </a:xfrm>
            </p:grpSpPr>
            <p:sp>
              <p:nvSpPr>
                <p:cNvPr id="96" name="Freeform 95"/>
                <p:cNvSpPr/>
                <p:nvPr/>
              </p:nvSpPr>
              <p:spPr bwMode="gray">
                <a:xfrm>
                  <a:off x="4904176" y="804538"/>
                  <a:ext cx="2292286" cy="229228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97" name="Isosceles Triangle 96"/>
                <p:cNvSpPr/>
                <p:nvPr/>
              </p:nvSpPr>
              <p:spPr bwMode="gray">
                <a:xfrm rot="17350313">
                  <a:off x="5298149" y="722287"/>
                  <a:ext cx="167617" cy="164502"/>
                </a:xfrm>
                <a:prstGeom prst="triangl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98" name="Oval 97"/>
                <p:cNvSpPr/>
                <p:nvPr/>
              </p:nvSpPr>
              <p:spPr bwMode="gray">
                <a:xfrm>
                  <a:off x="5264934" y="990981"/>
                  <a:ext cx="97182" cy="97182"/>
                </a:xfrm>
                <a:prstGeom prst="ellipse">
                  <a:avLst/>
                </a:prstGeom>
                <a:solidFill>
                  <a:schemeClr val="bg1"/>
                </a:solid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sp>
            <p:nvSpPr>
              <p:cNvPr id="67" name="Rectangle 66"/>
              <p:cNvSpPr/>
              <p:nvPr/>
            </p:nvSpPr>
            <p:spPr>
              <a:xfrm>
                <a:off x="3607695" y="2991637"/>
                <a:ext cx="1943848" cy="92450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a:t>
                </a:r>
                <a:endParaRPr kumimoji="0" lang="en-US" sz="1000" b="1" i="0" u="none" strike="noStrike" kern="1200" cap="none" spc="0" normalizeH="0" baseline="0" noProof="0" dirty="0">
                  <a:ln>
                    <a:noFill/>
                  </a:ln>
                  <a:solidFill>
                    <a:prstClr val="white"/>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grpSp>
            <p:nvGrpSpPr>
              <p:cNvPr id="68" name="Group 318"/>
              <p:cNvGrpSpPr>
                <a:grpSpLocks noChangeAspect="1"/>
              </p:cNvGrpSpPr>
              <p:nvPr/>
            </p:nvGrpSpPr>
            <p:grpSpPr bwMode="auto">
              <a:xfrm>
                <a:off x="2412836" y="2342541"/>
                <a:ext cx="548640" cy="548640"/>
                <a:chOff x="5850" y="1203"/>
                <a:chExt cx="340" cy="340"/>
              </a:xfrm>
              <a:solidFill>
                <a:srgbClr val="2C5234"/>
              </a:solidFill>
            </p:grpSpPr>
            <p:sp>
              <p:nvSpPr>
                <p:cNvPr id="94"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95"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sp>
            <p:nvSpPr>
              <p:cNvPr id="69" name="Rectangle 68"/>
              <p:cNvSpPr/>
              <p:nvPr/>
            </p:nvSpPr>
            <p:spPr>
              <a:xfrm>
                <a:off x="2020259" y="3136222"/>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grpSp>
            <p:nvGrpSpPr>
              <p:cNvPr id="70" name="Group 360"/>
              <p:cNvGrpSpPr>
                <a:grpSpLocks noChangeAspect="1"/>
              </p:cNvGrpSpPr>
              <p:nvPr/>
            </p:nvGrpSpPr>
            <p:grpSpPr bwMode="auto">
              <a:xfrm>
                <a:off x="5856423" y="1529878"/>
                <a:ext cx="550254" cy="548640"/>
                <a:chOff x="1935" y="1199"/>
                <a:chExt cx="341" cy="340"/>
              </a:xfrm>
              <a:solidFill>
                <a:schemeClr val="accent1"/>
              </a:solidFill>
            </p:grpSpPr>
            <p:sp>
              <p:nvSpPr>
                <p:cNvPr id="92"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93"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grpSp>
            <p:nvGrpSpPr>
              <p:cNvPr id="71" name="Group 336"/>
              <p:cNvGrpSpPr>
                <a:grpSpLocks noChangeAspect="1"/>
              </p:cNvGrpSpPr>
              <p:nvPr/>
            </p:nvGrpSpPr>
            <p:grpSpPr bwMode="auto">
              <a:xfrm rot="60000">
                <a:off x="6135489" y="3338635"/>
                <a:ext cx="548640" cy="548640"/>
                <a:chOff x="4220" y="1197"/>
                <a:chExt cx="340" cy="340"/>
              </a:xfrm>
              <a:solidFill>
                <a:srgbClr val="2C5234"/>
              </a:solidFill>
            </p:grpSpPr>
            <p:sp>
              <p:nvSpPr>
                <p:cNvPr id="86"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7"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8"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9"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90"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91"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grpSp>
            <p:nvGrpSpPr>
              <p:cNvPr id="72" name="Group 345"/>
              <p:cNvGrpSpPr>
                <a:grpSpLocks noChangeAspect="1"/>
              </p:cNvGrpSpPr>
              <p:nvPr/>
            </p:nvGrpSpPr>
            <p:grpSpPr bwMode="auto">
              <a:xfrm>
                <a:off x="3784833" y="1013158"/>
                <a:ext cx="548640" cy="548640"/>
                <a:chOff x="3451" y="1171"/>
                <a:chExt cx="340" cy="340"/>
              </a:xfrm>
              <a:solidFill>
                <a:srgbClr val="2C5234"/>
              </a:solidFill>
            </p:grpSpPr>
            <p:sp>
              <p:nvSpPr>
                <p:cNvPr id="84"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5"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white"/>
                    </a:solidFill>
                    <a:effectLst/>
                    <a:uLnTx/>
                    <a:uFillTx/>
                    <a:ea typeface="+mn-ea"/>
                    <a:cs typeface="+mn-cs"/>
                  </a:endParaRPr>
                </a:p>
              </p:txBody>
            </p:sp>
          </p:grpSp>
          <p:sp>
            <p:nvSpPr>
              <p:cNvPr id="73" name="Rectangle 72"/>
              <p:cNvSpPr/>
              <p:nvPr/>
            </p:nvSpPr>
            <p:spPr>
              <a:xfrm>
                <a:off x="5167866" y="2284733"/>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sp>
            <p:nvSpPr>
              <p:cNvPr id="74" name="Rectangle 73"/>
              <p:cNvSpPr/>
              <p:nvPr/>
            </p:nvSpPr>
            <p:spPr>
              <a:xfrm>
                <a:off x="3507233" y="1869401"/>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sp>
            <p:nvSpPr>
              <p:cNvPr id="75" name="Rectangle 74"/>
              <p:cNvSpPr/>
              <p:nvPr/>
            </p:nvSpPr>
            <p:spPr>
              <a:xfrm>
                <a:off x="4344798" y="4718574"/>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grpSp>
            <p:nvGrpSpPr>
              <p:cNvPr id="76" name="Group 920"/>
              <p:cNvGrpSpPr>
                <a:grpSpLocks noChangeAspect="1"/>
              </p:cNvGrpSpPr>
              <p:nvPr/>
            </p:nvGrpSpPr>
            <p:grpSpPr bwMode="auto">
              <a:xfrm>
                <a:off x="2734221" y="4751408"/>
                <a:ext cx="548640" cy="548640"/>
                <a:chOff x="5645" y="4510"/>
                <a:chExt cx="340" cy="340"/>
              </a:xfrm>
              <a:solidFill>
                <a:schemeClr val="accent1"/>
              </a:solidFill>
            </p:grpSpPr>
            <p:sp>
              <p:nvSpPr>
                <p:cNvPr id="82"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3"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grpSp>
            <p:nvGrpSpPr>
              <p:cNvPr id="77" name="Group 541"/>
              <p:cNvGrpSpPr>
                <a:grpSpLocks noChangeAspect="1"/>
              </p:cNvGrpSpPr>
              <p:nvPr/>
            </p:nvGrpSpPr>
            <p:grpSpPr bwMode="auto">
              <a:xfrm>
                <a:off x="4868238" y="5350984"/>
                <a:ext cx="548640" cy="548640"/>
                <a:chOff x="5326" y="2494"/>
                <a:chExt cx="340" cy="340"/>
              </a:xfrm>
              <a:solidFill>
                <a:srgbClr val="004F59"/>
              </a:solidFill>
            </p:grpSpPr>
            <p:sp>
              <p:nvSpPr>
                <p:cNvPr id="80"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sp>
              <p:nvSpPr>
                <p:cNvPr id="81"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ea typeface="+mn-ea"/>
                    <a:cs typeface="+mn-cs"/>
                  </a:endParaRPr>
                </a:p>
              </p:txBody>
            </p:sp>
          </p:grpSp>
          <p:sp>
            <p:nvSpPr>
              <p:cNvPr id="78" name="Rectangle 77"/>
              <p:cNvSpPr/>
              <p:nvPr/>
            </p:nvSpPr>
            <p:spPr>
              <a:xfrm>
                <a:off x="5753410" y="4132395"/>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sp>
            <p:nvSpPr>
              <p:cNvPr id="79" name="Rectangle 78"/>
              <p:cNvSpPr/>
              <p:nvPr/>
            </p:nvSpPr>
            <p:spPr>
              <a:xfrm>
                <a:off x="2656041" y="4315732"/>
                <a:ext cx="1333794" cy="2641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a:t>
                </a:r>
              </a:p>
            </p:txBody>
          </p:sp>
        </p:grpSp>
      </p:grpSp>
      <p:sp>
        <p:nvSpPr>
          <p:cNvPr id="114" name="Star: 5 Points 113">
            <a:extLst>
              <a:ext uri="{FF2B5EF4-FFF2-40B4-BE49-F238E27FC236}">
                <a16:creationId xmlns:a16="http://schemas.microsoft.com/office/drawing/2014/main" id="{FCBCDC1D-3D38-4396-AC29-05C2F377D756}"/>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3441885847"/>
      </p:ext>
    </p:extLst>
  </p:cSld>
  <p:clrMapOvr>
    <a:masterClrMapping/>
  </p:clrMapOvr>
  <p:transition>
    <p:fade/>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p:cNvSpPr/>
          <p:nvPr/>
        </p:nvSpPr>
        <p:spPr bwMode="gray">
          <a:xfrm>
            <a:off x="501651" y="1263107"/>
            <a:ext cx="4871646" cy="4871646"/>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3" name="Flowchart: Process 22"/>
          <p:cNvSpPr/>
          <p:nvPr/>
        </p:nvSpPr>
        <p:spPr bwMode="gray">
          <a:xfrm>
            <a:off x="1790275" y="993547"/>
            <a:ext cx="466090" cy="5295917"/>
          </a:xfrm>
          <a:prstGeom prst="flowChartProcess">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0" name="Oval 129"/>
          <p:cNvSpPr/>
          <p:nvPr/>
        </p:nvSpPr>
        <p:spPr bwMode="gray">
          <a:xfrm>
            <a:off x="2177780" y="1250537"/>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1" name="Oval 130"/>
          <p:cNvSpPr/>
          <p:nvPr/>
        </p:nvSpPr>
        <p:spPr bwMode="gray">
          <a:xfrm>
            <a:off x="2176742" y="5959358"/>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64" name="Rectangle 163"/>
          <p:cNvSpPr/>
          <p:nvPr/>
        </p:nvSpPr>
        <p:spPr>
          <a:xfrm>
            <a:off x="2014407" y="3014205"/>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Lorem ipsum dolor sit </a:t>
            </a:r>
            <a:r>
              <a:rPr kumimoji="0" lang="en-US" sz="1800" b="0" i="0" u="none" strike="noStrike" kern="1200" cap="none" spc="0" normalizeH="0" baseline="0" noProof="0" dirty="0" err="1">
                <a:ln>
                  <a:noFill/>
                </a:ln>
                <a:solidFill>
                  <a:srgbClr val="000000"/>
                </a:solidFill>
                <a:effectLst/>
                <a:uLnTx/>
                <a:uFillTx/>
                <a:ea typeface="+mn-ea"/>
                <a:cs typeface="+mn-cs"/>
              </a:rPr>
              <a:t>amet</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consectetur</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adipiscing</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elit</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sed</a:t>
            </a:r>
            <a:r>
              <a:rPr kumimoji="0" lang="en-US" sz="1800" b="0" i="0" u="none" strike="noStrike" kern="1200" cap="none" spc="0" normalizeH="0" baseline="0" noProof="0" dirty="0">
                <a:ln>
                  <a:noFill/>
                </a:ln>
                <a:solidFill>
                  <a:srgbClr val="000000"/>
                </a:solidFill>
                <a:effectLst/>
                <a:uLnTx/>
                <a:uFillTx/>
                <a:ea typeface="+mn-ea"/>
                <a:cs typeface="+mn-cs"/>
              </a:rPr>
              <a:t> do</a:t>
            </a:r>
            <a:endParaRPr kumimoji="0" lang="en-US" sz="2800" b="1" i="0"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ea typeface="+mn-ea"/>
              <a:cs typeface="+mn-cs"/>
            </a:endParaRPr>
          </a:p>
        </p:txBody>
      </p:sp>
      <p:grpSp>
        <p:nvGrpSpPr>
          <p:cNvPr id="18" name="Group 17"/>
          <p:cNvGrpSpPr/>
          <p:nvPr/>
        </p:nvGrpSpPr>
        <p:grpSpPr>
          <a:xfrm>
            <a:off x="4061595" y="1206939"/>
            <a:ext cx="6815741" cy="783023"/>
            <a:chOff x="2271319" y="976644"/>
            <a:chExt cx="6815741" cy="783023"/>
          </a:xfrm>
        </p:grpSpPr>
        <p:grpSp>
          <p:nvGrpSpPr>
            <p:cNvPr id="24" name="Group 23"/>
            <p:cNvGrpSpPr/>
            <p:nvPr/>
          </p:nvGrpSpPr>
          <p:grpSpPr>
            <a:xfrm>
              <a:off x="3797255" y="976644"/>
              <a:ext cx="783023" cy="783023"/>
              <a:chOff x="3193797" y="1167547"/>
              <a:chExt cx="1136224" cy="1136224"/>
            </a:xfrm>
          </p:grpSpPr>
          <p:sp>
            <p:nvSpPr>
              <p:cNvPr id="133" name="Freeform 538"/>
              <p:cNvSpPr>
                <a:spLocks noChangeAspect="1" noEditPoints="1"/>
              </p:cNvSpPr>
              <p:nvPr/>
            </p:nvSpPr>
            <p:spPr bwMode="auto">
              <a:xfrm>
                <a:off x="3267550" y="1244763"/>
                <a:ext cx="981795" cy="981795"/>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4F5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4" name="Oval 133"/>
              <p:cNvSpPr/>
              <p:nvPr/>
            </p:nvSpPr>
            <p:spPr bwMode="gray">
              <a:xfrm>
                <a:off x="3193797" y="1167547"/>
                <a:ext cx="1136224" cy="113622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cxnSp>
          <p:nvCxnSpPr>
            <p:cNvPr id="26" name="Straight Connector 25"/>
            <p:cNvCxnSpPr>
              <a:stCxn id="132" idx="6"/>
            </p:cNvCxnSpPr>
            <p:nvPr/>
          </p:nvCxnSpPr>
          <p:spPr>
            <a:xfrm>
              <a:off x="2456134" y="1370661"/>
              <a:ext cx="1341121" cy="0"/>
            </a:xfrm>
            <a:prstGeom prst="line">
              <a:avLst/>
            </a:prstGeom>
            <a:noFill/>
            <a:ln w="22225" algn="ctr">
              <a:solidFill>
                <a:schemeClr val="tx1">
                  <a:lumMod val="50000"/>
                  <a:lumOff val="50000"/>
                </a:schemeClr>
              </a:solidFill>
              <a:prstDash val="sysDot"/>
              <a:miter lim="800000"/>
              <a:headEnd/>
              <a:tailEnd/>
            </a:ln>
          </p:spPr>
        </p:cxnSp>
        <p:sp>
          <p:nvSpPr>
            <p:cNvPr id="132" name="Oval 131"/>
            <p:cNvSpPr/>
            <p:nvPr/>
          </p:nvSpPr>
          <p:spPr bwMode="gray">
            <a:xfrm>
              <a:off x="2271319" y="1278253"/>
              <a:ext cx="184815" cy="184815"/>
            </a:xfrm>
            <a:prstGeom prst="ellipse">
              <a:avLst/>
            </a:prstGeom>
            <a:solidFill>
              <a:schemeClr val="bg1"/>
            </a:solidFill>
            <a:ln w="34925" algn="ctr">
              <a:solidFill>
                <a:srgbClr val="004F59"/>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71" name="Rectangle 170"/>
            <p:cNvSpPr/>
            <p:nvPr/>
          </p:nvSpPr>
          <p:spPr>
            <a:xfrm>
              <a:off x="4948522" y="1029857"/>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4F59"/>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dolor sit </a:t>
              </a:r>
              <a:r>
                <a:rPr kumimoji="0" lang="en-US" sz="1000" b="0" i="0" u="none" strike="noStrike" kern="1200" cap="none" spc="0" normalizeH="0" baseline="0" noProof="0" dirty="0" err="1">
                  <a:ln>
                    <a:noFill/>
                  </a:ln>
                  <a:solidFill>
                    <a:prstClr val="black"/>
                  </a:solidFill>
                  <a:effectLst/>
                  <a:uLnTx/>
                  <a:uFillTx/>
                  <a:ea typeface="+mn-ea"/>
                  <a:cs typeface="+mn-cs"/>
                </a:rPr>
                <a:t>ame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consectetu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adipiscing</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eli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sed</a:t>
              </a:r>
              <a:r>
                <a:rPr kumimoji="0" lang="en-US" sz="1000" b="0" i="0" u="none" strike="noStrike" kern="1200" cap="none" spc="0" normalizeH="0" baseline="0" noProof="0" dirty="0">
                  <a:ln>
                    <a:noFill/>
                  </a:ln>
                  <a:solidFill>
                    <a:prstClr val="black"/>
                  </a:solidFill>
                  <a:effectLst/>
                  <a:uLnTx/>
                  <a:uFillTx/>
                  <a:ea typeface="+mn-ea"/>
                  <a:cs typeface="+mn-cs"/>
                </a:rPr>
                <a:t> do </a:t>
              </a:r>
              <a:r>
                <a:rPr kumimoji="0" lang="en-US" sz="1000" b="0" i="0" u="none" strike="noStrike" kern="1200" cap="none" spc="0" normalizeH="0" baseline="0" noProof="0" dirty="0" err="1">
                  <a:ln>
                    <a:noFill/>
                  </a:ln>
                  <a:solidFill>
                    <a:prstClr val="black"/>
                  </a:solidFill>
                  <a:effectLst/>
                  <a:uLnTx/>
                  <a:uFillTx/>
                  <a:ea typeface="+mn-ea"/>
                  <a:cs typeface="+mn-cs"/>
                </a:rPr>
                <a:t>eiusmod</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tempo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incididunt</a:t>
              </a:r>
              <a:r>
                <a:rPr kumimoji="0" lang="en-US" sz="1000" b="0" i="0" u="none" strike="noStrike" kern="1200" cap="none" spc="0" normalizeH="0" baseline="0" noProof="0" dirty="0">
                  <a:ln>
                    <a:noFill/>
                  </a:ln>
                  <a:solidFill>
                    <a:prstClr val="black"/>
                  </a:solidFill>
                  <a:effectLst/>
                  <a:uLnTx/>
                  <a:uFillTx/>
                  <a:ea typeface="+mn-ea"/>
                  <a:cs typeface="+mn-cs"/>
                </a:rPr>
                <a:t> </a:t>
              </a:r>
              <a:endParaRPr kumimoji="0" lang="en-US" sz="1000" b="1" i="0" u="none" strike="noStrike" kern="1200" cap="none" spc="0" normalizeH="0" baseline="0" noProof="0" dirty="0">
                <a:ln>
                  <a:noFill/>
                </a:ln>
                <a:solidFill>
                  <a:srgbClr val="000000"/>
                </a:solidFill>
                <a:effectLst/>
                <a:uLnTx/>
                <a:uFillTx/>
                <a:ea typeface="+mn-ea"/>
                <a:cs typeface="+mn-cs"/>
              </a:endParaRPr>
            </a:p>
          </p:txBody>
        </p:sp>
      </p:grpSp>
      <p:grpSp>
        <p:nvGrpSpPr>
          <p:cNvPr id="19" name="Group 18"/>
          <p:cNvGrpSpPr/>
          <p:nvPr/>
        </p:nvGrpSpPr>
        <p:grpSpPr>
          <a:xfrm>
            <a:off x="5188483" y="2563094"/>
            <a:ext cx="5687235" cy="789880"/>
            <a:chOff x="3398207" y="2086438"/>
            <a:chExt cx="5687235" cy="789880"/>
          </a:xfrm>
        </p:grpSpPr>
        <p:cxnSp>
          <p:nvCxnSpPr>
            <p:cNvPr id="149" name="Straight Connector 148"/>
            <p:cNvCxnSpPr>
              <a:stCxn id="147" idx="6"/>
            </p:cNvCxnSpPr>
            <p:nvPr/>
          </p:nvCxnSpPr>
          <p:spPr>
            <a:xfrm flipV="1">
              <a:off x="3583022" y="2481378"/>
              <a:ext cx="211738" cy="2439"/>
            </a:xfrm>
            <a:prstGeom prst="line">
              <a:avLst/>
            </a:prstGeom>
            <a:noFill/>
            <a:ln w="22225" algn="ctr">
              <a:solidFill>
                <a:schemeClr val="tx1">
                  <a:lumMod val="50000"/>
                  <a:lumOff val="50000"/>
                </a:schemeClr>
              </a:solidFill>
              <a:prstDash val="sysDot"/>
              <a:miter lim="800000"/>
              <a:headEnd/>
              <a:tailEnd/>
            </a:ln>
          </p:spPr>
        </p:cxnSp>
        <p:sp>
          <p:nvSpPr>
            <p:cNvPr id="147" name="Oval 146"/>
            <p:cNvSpPr/>
            <p:nvPr/>
          </p:nvSpPr>
          <p:spPr bwMode="gray">
            <a:xfrm>
              <a:off x="3398207" y="2391409"/>
              <a:ext cx="184815" cy="184815"/>
            </a:xfrm>
            <a:prstGeom prst="ellipse">
              <a:avLst/>
            </a:prstGeom>
            <a:solidFill>
              <a:schemeClr val="bg1"/>
            </a:solidFill>
            <a:ln w="34925" algn="ctr">
              <a:solidFill>
                <a:srgbClr val="046A38"/>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3" name="Group 12"/>
            <p:cNvGrpSpPr/>
            <p:nvPr/>
          </p:nvGrpSpPr>
          <p:grpSpPr>
            <a:xfrm>
              <a:off x="3794760" y="2086438"/>
              <a:ext cx="789880" cy="789880"/>
              <a:chOff x="6262417" y="2938689"/>
              <a:chExt cx="919874" cy="919874"/>
            </a:xfrm>
          </p:grpSpPr>
          <p:sp>
            <p:nvSpPr>
              <p:cNvPr id="151" name="Oval 150"/>
              <p:cNvSpPr/>
              <p:nvPr/>
            </p:nvSpPr>
            <p:spPr bwMode="gray">
              <a:xfrm>
                <a:off x="6262417" y="2938689"/>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59" name="Freeform 917"/>
              <p:cNvSpPr>
                <a:spLocks noChangeAspect="1" noEditPoints="1"/>
              </p:cNvSpPr>
              <p:nvPr/>
            </p:nvSpPr>
            <p:spPr bwMode="auto">
              <a:xfrm>
                <a:off x="6324590" y="3000862"/>
                <a:ext cx="795528" cy="795528"/>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3" name="Rectangle 52"/>
            <p:cNvSpPr/>
            <p:nvPr/>
          </p:nvSpPr>
          <p:spPr>
            <a:xfrm>
              <a:off x="4946904" y="2127434"/>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46A38"/>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dolor sit </a:t>
              </a:r>
              <a:r>
                <a:rPr kumimoji="0" lang="en-US" sz="1000" b="0" i="0" u="none" strike="noStrike" kern="1200" cap="none" spc="0" normalizeH="0" baseline="0" noProof="0" dirty="0" err="1">
                  <a:ln>
                    <a:noFill/>
                  </a:ln>
                  <a:solidFill>
                    <a:prstClr val="black"/>
                  </a:solidFill>
                  <a:effectLst/>
                  <a:uLnTx/>
                  <a:uFillTx/>
                  <a:ea typeface="+mn-ea"/>
                  <a:cs typeface="+mn-cs"/>
                </a:rPr>
                <a:t>ame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consectetu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adipiscing</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eli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sed</a:t>
              </a:r>
              <a:r>
                <a:rPr kumimoji="0" lang="en-US" sz="1000" b="0" i="0" u="none" strike="noStrike" kern="1200" cap="none" spc="0" normalizeH="0" baseline="0" noProof="0" dirty="0">
                  <a:ln>
                    <a:noFill/>
                  </a:ln>
                  <a:solidFill>
                    <a:prstClr val="black"/>
                  </a:solidFill>
                  <a:effectLst/>
                  <a:uLnTx/>
                  <a:uFillTx/>
                  <a:ea typeface="+mn-ea"/>
                  <a:cs typeface="+mn-cs"/>
                </a:rPr>
                <a:t> do </a:t>
              </a:r>
              <a:r>
                <a:rPr kumimoji="0" lang="en-US" sz="1000" b="0" i="0" u="none" strike="noStrike" kern="1200" cap="none" spc="0" normalizeH="0" baseline="0" noProof="0" dirty="0" err="1">
                  <a:ln>
                    <a:noFill/>
                  </a:ln>
                  <a:solidFill>
                    <a:prstClr val="black"/>
                  </a:solidFill>
                  <a:effectLst/>
                  <a:uLnTx/>
                  <a:uFillTx/>
                  <a:ea typeface="+mn-ea"/>
                  <a:cs typeface="+mn-cs"/>
                </a:rPr>
                <a:t>eiusmod</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tempo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incididunt</a:t>
              </a:r>
              <a:r>
                <a:rPr kumimoji="0" lang="en-US" sz="1000" b="0" i="0" u="none" strike="noStrike" kern="1200" cap="none" spc="0" normalizeH="0" baseline="0" noProof="0" dirty="0">
                  <a:ln>
                    <a:noFill/>
                  </a:ln>
                  <a:solidFill>
                    <a:prstClr val="black"/>
                  </a:solidFill>
                  <a:effectLst/>
                  <a:uLnTx/>
                  <a:uFillTx/>
                  <a:ea typeface="+mn-ea"/>
                  <a:cs typeface="+mn-cs"/>
                </a:rPr>
                <a:t> </a:t>
              </a:r>
              <a:endParaRPr kumimoji="0" lang="en-US" sz="1000" b="1" i="0" u="none" strike="noStrike" kern="1200" cap="none" spc="0" normalizeH="0" baseline="0" noProof="0" dirty="0">
                <a:ln>
                  <a:noFill/>
                </a:ln>
                <a:solidFill>
                  <a:srgbClr val="000000"/>
                </a:solidFill>
                <a:effectLst/>
                <a:uLnTx/>
                <a:uFillTx/>
                <a:ea typeface="+mn-ea"/>
                <a:cs typeface="+mn-cs"/>
              </a:endParaRPr>
            </a:p>
          </p:txBody>
        </p:sp>
      </p:grpSp>
      <p:grpSp>
        <p:nvGrpSpPr>
          <p:cNvPr id="225" name="Group 224"/>
          <p:cNvGrpSpPr/>
          <p:nvPr/>
        </p:nvGrpSpPr>
        <p:grpSpPr>
          <a:xfrm>
            <a:off x="5191843" y="3926107"/>
            <a:ext cx="5683874" cy="787162"/>
            <a:chOff x="3401568" y="3695813"/>
            <a:chExt cx="5683874" cy="787162"/>
          </a:xfrm>
        </p:grpSpPr>
        <p:cxnSp>
          <p:nvCxnSpPr>
            <p:cNvPr id="61" name="Straight Connector 60"/>
            <p:cNvCxnSpPr/>
            <p:nvPr/>
          </p:nvCxnSpPr>
          <p:spPr>
            <a:xfrm flipV="1">
              <a:off x="3551622" y="4087257"/>
              <a:ext cx="211738" cy="2439"/>
            </a:xfrm>
            <a:prstGeom prst="line">
              <a:avLst/>
            </a:prstGeom>
            <a:noFill/>
            <a:ln w="22225" algn="ctr">
              <a:solidFill>
                <a:schemeClr val="tx1">
                  <a:lumMod val="50000"/>
                  <a:lumOff val="50000"/>
                </a:schemeClr>
              </a:solidFill>
              <a:prstDash val="sysDot"/>
              <a:miter lim="800000"/>
              <a:headEnd/>
              <a:tailEnd/>
            </a:ln>
          </p:spPr>
        </p:cxnSp>
        <p:grpSp>
          <p:nvGrpSpPr>
            <p:cNvPr id="20" name="Group 19"/>
            <p:cNvGrpSpPr/>
            <p:nvPr/>
          </p:nvGrpSpPr>
          <p:grpSpPr>
            <a:xfrm>
              <a:off x="3401568" y="3695813"/>
              <a:ext cx="5683874" cy="787162"/>
              <a:chOff x="3401568" y="3261423"/>
              <a:chExt cx="5683874" cy="787162"/>
            </a:xfrm>
          </p:grpSpPr>
          <p:grpSp>
            <p:nvGrpSpPr>
              <p:cNvPr id="15" name="Group 14"/>
              <p:cNvGrpSpPr/>
              <p:nvPr/>
            </p:nvGrpSpPr>
            <p:grpSpPr>
              <a:xfrm>
                <a:off x="3794760" y="3261423"/>
                <a:ext cx="787162" cy="787162"/>
                <a:chOff x="5548829" y="3384543"/>
                <a:chExt cx="919874" cy="919874"/>
              </a:xfrm>
            </p:grpSpPr>
            <p:sp>
              <p:nvSpPr>
                <p:cNvPr id="157" name="Oval 156"/>
                <p:cNvSpPr/>
                <p:nvPr/>
              </p:nvSpPr>
              <p:spPr bwMode="gray">
                <a:xfrm>
                  <a:off x="5548829" y="3384543"/>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0" name="Freeform 375"/>
                <p:cNvSpPr>
                  <a:spLocks noChangeAspect="1" noEditPoints="1"/>
                </p:cNvSpPr>
                <p:nvPr/>
              </p:nvSpPr>
              <p:spPr bwMode="auto">
                <a:xfrm>
                  <a:off x="5611002" y="3446716"/>
                  <a:ext cx="795528" cy="79552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041E4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4" name="Rectangle 53"/>
              <p:cNvSpPr/>
              <p:nvPr/>
            </p:nvSpPr>
            <p:spPr>
              <a:xfrm>
                <a:off x="4946904" y="3332556"/>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12169"/>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dolor sit </a:t>
                </a:r>
                <a:r>
                  <a:rPr kumimoji="0" lang="en-US" sz="1000" b="0" i="0" u="none" strike="noStrike" kern="1200" cap="none" spc="0" normalizeH="0" baseline="0" noProof="0" dirty="0" err="1">
                    <a:ln>
                      <a:noFill/>
                    </a:ln>
                    <a:solidFill>
                      <a:prstClr val="black"/>
                    </a:solidFill>
                    <a:effectLst/>
                    <a:uLnTx/>
                    <a:uFillTx/>
                    <a:ea typeface="+mn-ea"/>
                    <a:cs typeface="+mn-cs"/>
                  </a:rPr>
                  <a:t>ame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consectetu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adipiscing</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eli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sed</a:t>
                </a:r>
                <a:r>
                  <a:rPr kumimoji="0" lang="en-US" sz="1000" b="0" i="0" u="none" strike="noStrike" kern="1200" cap="none" spc="0" normalizeH="0" baseline="0" noProof="0" dirty="0">
                    <a:ln>
                      <a:noFill/>
                    </a:ln>
                    <a:solidFill>
                      <a:prstClr val="black"/>
                    </a:solidFill>
                    <a:effectLst/>
                    <a:uLnTx/>
                    <a:uFillTx/>
                    <a:ea typeface="+mn-ea"/>
                    <a:cs typeface="+mn-cs"/>
                  </a:rPr>
                  <a:t> do </a:t>
                </a:r>
                <a:r>
                  <a:rPr kumimoji="0" lang="en-US" sz="1000" b="0" i="0" u="none" strike="noStrike" kern="1200" cap="none" spc="0" normalizeH="0" baseline="0" noProof="0" dirty="0" err="1">
                    <a:ln>
                      <a:noFill/>
                    </a:ln>
                    <a:solidFill>
                      <a:prstClr val="black"/>
                    </a:solidFill>
                    <a:effectLst/>
                    <a:uLnTx/>
                    <a:uFillTx/>
                    <a:ea typeface="+mn-ea"/>
                    <a:cs typeface="+mn-cs"/>
                  </a:rPr>
                  <a:t>eiusmod</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tempo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incididunt</a:t>
                </a:r>
                <a:r>
                  <a:rPr kumimoji="0" lang="en-US" sz="1000" b="0" i="0" u="none" strike="noStrike" kern="1200" cap="none" spc="0" normalizeH="0" baseline="0" noProof="0" dirty="0">
                    <a:ln>
                      <a:noFill/>
                    </a:ln>
                    <a:solidFill>
                      <a:prstClr val="black"/>
                    </a:solidFill>
                    <a:effectLst/>
                    <a:uLnTx/>
                    <a:uFillTx/>
                    <a:ea typeface="+mn-ea"/>
                    <a:cs typeface="+mn-cs"/>
                  </a:rPr>
                  <a:t> </a:t>
                </a:r>
                <a:endParaRPr kumimoji="0" lang="en-US" sz="1000" b="1" i="0" u="none" strike="noStrike" kern="1200" cap="none" spc="0" normalizeH="0" baseline="0" noProof="0" dirty="0">
                  <a:ln>
                    <a:noFill/>
                  </a:ln>
                  <a:solidFill>
                    <a:srgbClr val="000000"/>
                  </a:solidFill>
                  <a:effectLst/>
                  <a:uLnTx/>
                  <a:uFillTx/>
                  <a:ea typeface="+mn-ea"/>
                  <a:cs typeface="+mn-cs"/>
                </a:endParaRPr>
              </a:p>
            </p:txBody>
          </p:sp>
          <p:sp>
            <p:nvSpPr>
              <p:cNvPr id="153" name="Oval 152"/>
              <p:cNvSpPr/>
              <p:nvPr/>
            </p:nvSpPr>
            <p:spPr bwMode="gray">
              <a:xfrm>
                <a:off x="3401568" y="3560001"/>
                <a:ext cx="184815" cy="184815"/>
              </a:xfrm>
              <a:prstGeom prst="ellipse">
                <a:avLst/>
              </a:prstGeom>
              <a:solidFill>
                <a:schemeClr val="bg1"/>
              </a:solidFill>
              <a:ln w="34925" algn="ctr">
                <a:solidFill>
                  <a:srgbClr val="012169"/>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grpSp>
        <p:nvGrpSpPr>
          <p:cNvPr id="224" name="Group 223"/>
          <p:cNvGrpSpPr/>
          <p:nvPr/>
        </p:nvGrpSpPr>
        <p:grpSpPr>
          <a:xfrm>
            <a:off x="4264695" y="5286404"/>
            <a:ext cx="6611023" cy="789051"/>
            <a:chOff x="2474419" y="5056109"/>
            <a:chExt cx="6611023" cy="789051"/>
          </a:xfrm>
        </p:grpSpPr>
        <p:cxnSp>
          <p:nvCxnSpPr>
            <p:cNvPr id="155" name="Straight Connector 154"/>
            <p:cNvCxnSpPr/>
            <p:nvPr/>
          </p:nvCxnSpPr>
          <p:spPr>
            <a:xfrm>
              <a:off x="2545976" y="5448910"/>
              <a:ext cx="1248784" cy="0"/>
            </a:xfrm>
            <a:prstGeom prst="line">
              <a:avLst/>
            </a:prstGeom>
            <a:noFill/>
            <a:ln w="22225" algn="ctr">
              <a:solidFill>
                <a:schemeClr val="tx1">
                  <a:lumMod val="50000"/>
                  <a:lumOff val="50000"/>
                </a:schemeClr>
              </a:solidFill>
              <a:prstDash val="sysDot"/>
              <a:miter lim="800000"/>
              <a:headEnd/>
              <a:tailEnd/>
            </a:ln>
          </p:spPr>
        </p:cxnSp>
        <p:sp>
          <p:nvSpPr>
            <p:cNvPr id="141" name="Oval 140"/>
            <p:cNvSpPr/>
            <p:nvPr/>
          </p:nvSpPr>
          <p:spPr bwMode="gray">
            <a:xfrm>
              <a:off x="2474419" y="5362200"/>
              <a:ext cx="184815" cy="184815"/>
            </a:xfrm>
            <a:prstGeom prst="ellipse">
              <a:avLst/>
            </a:prstGeom>
            <a:solidFill>
              <a:schemeClr val="bg1"/>
            </a:solidFill>
            <a:ln w="34925" algn="ctr">
              <a:solidFill>
                <a:srgbClr val="2C5234"/>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1" name="Group 20"/>
            <p:cNvGrpSpPr/>
            <p:nvPr/>
          </p:nvGrpSpPr>
          <p:grpSpPr>
            <a:xfrm>
              <a:off x="3798644" y="5056109"/>
              <a:ext cx="5286798" cy="789051"/>
              <a:chOff x="3798644" y="5056109"/>
              <a:chExt cx="5286798" cy="789051"/>
            </a:xfrm>
          </p:grpSpPr>
          <p:grpSp>
            <p:nvGrpSpPr>
              <p:cNvPr id="16" name="Group 15"/>
              <p:cNvGrpSpPr/>
              <p:nvPr/>
            </p:nvGrpSpPr>
            <p:grpSpPr>
              <a:xfrm>
                <a:off x="3798644" y="5056109"/>
                <a:ext cx="789051" cy="789051"/>
                <a:chOff x="5201202" y="5097900"/>
                <a:chExt cx="919874" cy="919874"/>
              </a:xfrm>
            </p:grpSpPr>
            <p:sp>
              <p:nvSpPr>
                <p:cNvPr id="145" name="Oval 144"/>
                <p:cNvSpPr/>
                <p:nvPr/>
              </p:nvSpPr>
              <p:spPr bwMode="gray">
                <a:xfrm>
                  <a:off x="5201202" y="5097900"/>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1" name="Freeform 627"/>
                <p:cNvSpPr>
                  <a:spLocks noChangeAspect="1" noEditPoints="1"/>
                </p:cNvSpPr>
                <p:nvPr/>
              </p:nvSpPr>
              <p:spPr bwMode="auto">
                <a:xfrm>
                  <a:off x="5263375" y="5160073"/>
                  <a:ext cx="795528" cy="795528"/>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2C523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5" name="Rectangle 54"/>
              <p:cNvSpPr/>
              <p:nvPr/>
            </p:nvSpPr>
            <p:spPr>
              <a:xfrm>
                <a:off x="4946904" y="5094967"/>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C5234"/>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dolor sit </a:t>
                </a:r>
                <a:r>
                  <a:rPr kumimoji="0" lang="en-US" sz="1000" b="0" i="0" u="none" strike="noStrike" kern="1200" cap="none" spc="0" normalizeH="0" baseline="0" noProof="0" dirty="0" err="1">
                    <a:ln>
                      <a:noFill/>
                    </a:ln>
                    <a:solidFill>
                      <a:prstClr val="black"/>
                    </a:solidFill>
                    <a:effectLst/>
                    <a:uLnTx/>
                    <a:uFillTx/>
                    <a:ea typeface="+mn-ea"/>
                    <a:cs typeface="+mn-cs"/>
                  </a:rPr>
                  <a:t>ame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consectetu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adipiscing</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elit</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sed</a:t>
                </a:r>
                <a:r>
                  <a:rPr kumimoji="0" lang="en-US" sz="1000" b="0" i="0" u="none" strike="noStrike" kern="1200" cap="none" spc="0" normalizeH="0" baseline="0" noProof="0" dirty="0">
                    <a:ln>
                      <a:noFill/>
                    </a:ln>
                    <a:solidFill>
                      <a:prstClr val="black"/>
                    </a:solidFill>
                    <a:effectLst/>
                    <a:uLnTx/>
                    <a:uFillTx/>
                    <a:ea typeface="+mn-ea"/>
                    <a:cs typeface="+mn-cs"/>
                  </a:rPr>
                  <a:t> do </a:t>
                </a:r>
                <a:r>
                  <a:rPr kumimoji="0" lang="en-US" sz="1000" b="0" i="0" u="none" strike="noStrike" kern="1200" cap="none" spc="0" normalizeH="0" baseline="0" noProof="0" dirty="0" err="1">
                    <a:ln>
                      <a:noFill/>
                    </a:ln>
                    <a:solidFill>
                      <a:prstClr val="black"/>
                    </a:solidFill>
                    <a:effectLst/>
                    <a:uLnTx/>
                    <a:uFillTx/>
                    <a:ea typeface="+mn-ea"/>
                    <a:cs typeface="+mn-cs"/>
                  </a:rPr>
                  <a:t>eiusmod</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tempor</a:t>
                </a:r>
                <a:r>
                  <a:rPr kumimoji="0" lang="en-US" sz="1000" b="0" i="0" u="none" strike="noStrike" kern="1200" cap="none" spc="0" normalizeH="0" baseline="0" noProof="0" dirty="0">
                    <a:ln>
                      <a:noFill/>
                    </a:ln>
                    <a:solidFill>
                      <a:prstClr val="black"/>
                    </a:solidFill>
                    <a:effectLst/>
                    <a:uLnTx/>
                    <a:uFillTx/>
                    <a:ea typeface="+mn-ea"/>
                    <a:cs typeface="+mn-cs"/>
                  </a:rPr>
                  <a:t> </a:t>
                </a:r>
                <a:r>
                  <a:rPr kumimoji="0" lang="en-US" sz="1000" b="0" i="0" u="none" strike="noStrike" kern="1200" cap="none" spc="0" normalizeH="0" baseline="0" noProof="0" dirty="0" err="1">
                    <a:ln>
                      <a:noFill/>
                    </a:ln>
                    <a:solidFill>
                      <a:prstClr val="black"/>
                    </a:solidFill>
                    <a:effectLst/>
                    <a:uLnTx/>
                    <a:uFillTx/>
                    <a:ea typeface="+mn-ea"/>
                    <a:cs typeface="+mn-cs"/>
                  </a:rPr>
                  <a:t>incididunt</a:t>
                </a:r>
                <a:r>
                  <a:rPr kumimoji="0" lang="en-US" sz="1000" b="0" i="0" u="none" strike="noStrike" kern="1200" cap="none" spc="0" normalizeH="0" baseline="0" noProof="0" dirty="0">
                    <a:ln>
                      <a:noFill/>
                    </a:ln>
                    <a:solidFill>
                      <a:prstClr val="black"/>
                    </a:solidFill>
                    <a:effectLst/>
                    <a:uLnTx/>
                    <a:uFillTx/>
                    <a:ea typeface="+mn-ea"/>
                    <a:cs typeface="+mn-cs"/>
                  </a:rPr>
                  <a:t> </a:t>
                </a:r>
                <a:endParaRPr kumimoji="0" lang="en-US" sz="1000" b="1" i="0" u="none" strike="noStrike" kern="1200" cap="none" spc="0" normalizeH="0" baseline="0" noProof="0" dirty="0">
                  <a:ln>
                    <a:noFill/>
                  </a:ln>
                  <a:solidFill>
                    <a:srgbClr val="000000"/>
                  </a:solidFill>
                  <a:effectLst/>
                  <a:uLnTx/>
                  <a:uFillTx/>
                  <a:ea typeface="+mn-ea"/>
                  <a:cs typeface="+mn-cs"/>
                </a:endParaRPr>
              </a:p>
            </p:txBody>
          </p:sp>
        </p:grpSp>
      </p:grpSp>
      <p:sp>
        <p:nvSpPr>
          <p:cNvPr id="2" name="Title 1">
            <a:extLst>
              <a:ext uri="{FF2B5EF4-FFF2-40B4-BE49-F238E27FC236}">
                <a16:creationId xmlns:a16="http://schemas.microsoft.com/office/drawing/2014/main" id="{4AFCD8A2-C900-4946-8B50-12E7652EE270}"/>
              </a:ext>
            </a:extLst>
          </p:cNvPr>
          <p:cNvSpPr>
            <a:spLocks noGrp="1"/>
          </p:cNvSpPr>
          <p:nvPr>
            <p:ph type="title"/>
          </p:nvPr>
        </p:nvSpPr>
        <p:spPr/>
        <p:txBody>
          <a:bodyPr/>
          <a:lstStyle/>
          <a:p>
            <a:r>
              <a:rPr lang="en-US" dirty="0"/>
              <a:t>Circular network</a:t>
            </a:r>
          </a:p>
        </p:txBody>
      </p:sp>
      <p:sp>
        <p:nvSpPr>
          <p:cNvPr id="38" name="Star: 5 Points 37">
            <a:extLst>
              <a:ext uri="{FF2B5EF4-FFF2-40B4-BE49-F238E27FC236}">
                <a16:creationId xmlns:a16="http://schemas.microsoft.com/office/drawing/2014/main" id="{6EAB6FC0-DE6E-4824-BD1B-16D95D64963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09253028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Single color highlight</a:t>
            </a:r>
            <a:endParaRPr lang="en-US" dirty="0"/>
          </a:p>
        </p:txBody>
      </p:sp>
      <p:sp>
        <p:nvSpPr>
          <p:cNvPr id="3" name="Title 2"/>
          <p:cNvSpPr>
            <a:spLocks noGrp="1"/>
          </p:cNvSpPr>
          <p:nvPr>
            <p:ph type="title"/>
          </p:nvPr>
        </p:nvSpPr>
        <p:spPr/>
        <p:txBody>
          <a:bodyPr/>
          <a:lstStyle/>
          <a:p>
            <a:r>
              <a:rPr lang="en-US" dirty="0"/>
              <a:t>Flow table </a:t>
            </a:r>
          </a:p>
        </p:txBody>
      </p:sp>
      <p:graphicFrame>
        <p:nvGraphicFramePr>
          <p:cNvPr id="21" name="Chart Placeholder 19"/>
          <p:cNvGraphicFramePr>
            <a:graphicFrameLocks/>
          </p:cNvGraphicFramePr>
          <p:nvPr>
            <p:extLst>
              <p:ext uri="{D42A27DB-BD31-4B8C-83A1-F6EECF244321}">
                <p14:modId xmlns:p14="http://schemas.microsoft.com/office/powerpoint/2010/main" val="3784704681"/>
              </p:ext>
            </p:extLst>
          </p:nvPr>
        </p:nvGraphicFramePr>
        <p:xfrm>
          <a:off x="528000" y="2505076"/>
          <a:ext cx="11235910" cy="2990525"/>
        </p:xfrm>
        <a:graphic>
          <a:graphicData uri="http://schemas.openxmlformats.org/drawingml/2006/table">
            <a:tbl>
              <a:tblPr>
                <a:tableStyleId>{5C22544A-7EE6-4342-B048-85BDC9FD1C3A}</a:tableStyleId>
              </a:tblPr>
              <a:tblGrid>
                <a:gridCol w="2176390">
                  <a:extLst>
                    <a:ext uri="{9D8B030D-6E8A-4147-A177-3AD203B41FA5}">
                      <a16:colId xmlns:a16="http://schemas.microsoft.com/office/drawing/2014/main" val="20000"/>
                    </a:ext>
                  </a:extLst>
                </a:gridCol>
                <a:gridCol w="2264880">
                  <a:extLst>
                    <a:ext uri="{9D8B030D-6E8A-4147-A177-3AD203B41FA5}">
                      <a16:colId xmlns:a16="http://schemas.microsoft.com/office/drawing/2014/main" val="20001"/>
                    </a:ext>
                  </a:extLst>
                </a:gridCol>
                <a:gridCol w="2264880">
                  <a:extLst>
                    <a:ext uri="{9D8B030D-6E8A-4147-A177-3AD203B41FA5}">
                      <a16:colId xmlns:a16="http://schemas.microsoft.com/office/drawing/2014/main" val="20002"/>
                    </a:ext>
                  </a:extLst>
                </a:gridCol>
                <a:gridCol w="2264880">
                  <a:extLst>
                    <a:ext uri="{9D8B030D-6E8A-4147-A177-3AD203B41FA5}">
                      <a16:colId xmlns:a16="http://schemas.microsoft.com/office/drawing/2014/main" val="20003"/>
                    </a:ext>
                  </a:extLst>
                </a:gridCol>
                <a:gridCol w="2264880">
                  <a:extLst>
                    <a:ext uri="{9D8B030D-6E8A-4147-A177-3AD203B41FA5}">
                      <a16:colId xmlns:a16="http://schemas.microsoft.com/office/drawing/2014/main" val="20004"/>
                    </a:ext>
                  </a:extLst>
                </a:gridCol>
              </a:tblGrid>
              <a:tr h="598105">
                <a:tc>
                  <a:txBody>
                    <a:bodyPr/>
                    <a:lstStyle/>
                    <a:p>
                      <a:pPr marL="0" indent="0">
                        <a:spcBef>
                          <a:spcPts val="300"/>
                        </a:spcBef>
                        <a:buFont typeface="Arial" panose="020B0604020202020204" pitchFamily="34" charset="0"/>
                        <a:buNone/>
                      </a:pPr>
                      <a:r>
                        <a:rPr lang="en-US" sz="1300" b="0" dirty="0">
                          <a:solidFill>
                            <a:schemeClr val="tx1"/>
                          </a:solidFill>
                          <a:latin typeface="+mn-lt"/>
                        </a:rPr>
                        <a:t>Activity #1</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0"/>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2</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1"/>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3</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2"/>
                  </a:ext>
                </a:extLst>
              </a:tr>
              <a:tr h="598105">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Activity #4</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3"/>
                  </a:ext>
                </a:extLst>
              </a:tr>
              <a:tr h="598105">
                <a:tc>
                  <a:txBody>
                    <a:bodyPr/>
                    <a:lstStyle/>
                    <a:p>
                      <a:pPr marL="0" indent="0">
                        <a:spcBef>
                          <a:spcPts val="300"/>
                        </a:spcBef>
                        <a:buFont typeface="Arial" panose="020B0604020202020204" pitchFamily="34" charset="0"/>
                        <a:buNone/>
                      </a:pPr>
                      <a:r>
                        <a:rPr lang="en-US" sz="1300" b="0" dirty="0">
                          <a:solidFill>
                            <a:schemeClr val="tx1"/>
                          </a:solidFill>
                          <a:latin typeface="+mn-lt"/>
                        </a:rPr>
                        <a:t>Activity #5</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b="0" dirty="0">
                          <a:solidFill>
                            <a:schemeClr val="tx1"/>
                          </a:solidFill>
                          <a:latin typeface="+mn-lt"/>
                        </a:rPr>
                        <a:t>Text here</a:t>
                      </a:r>
                    </a:p>
                  </a:txBody>
                  <a:tcPr marT="91440" marB="9144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14" name="Text Placeholder 14"/>
          <p:cNvSpPr txBox="1">
            <a:spLocks/>
          </p:cNvSpPr>
          <p:nvPr/>
        </p:nvSpPr>
        <p:spPr>
          <a:xfrm>
            <a:off x="528000" y="1700215"/>
            <a:ext cx="9744001" cy="265492"/>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300" dirty="0"/>
              <a:t>Table title runs here</a:t>
            </a:r>
          </a:p>
        </p:txBody>
      </p:sp>
      <p:grpSp>
        <p:nvGrpSpPr>
          <p:cNvPr id="10" name="Group 9">
            <a:extLst>
              <a:ext uri="{FF2B5EF4-FFF2-40B4-BE49-F238E27FC236}">
                <a16:creationId xmlns:a16="http://schemas.microsoft.com/office/drawing/2014/main" id="{74A77CAA-2DA5-4769-8565-3779DACA6CB2}"/>
              </a:ext>
            </a:extLst>
          </p:cNvPr>
          <p:cNvGrpSpPr/>
          <p:nvPr/>
        </p:nvGrpSpPr>
        <p:grpSpPr>
          <a:xfrm>
            <a:off x="2395931" y="1916570"/>
            <a:ext cx="9294421" cy="587828"/>
            <a:chOff x="1954696" y="1965706"/>
            <a:chExt cx="6819162" cy="548640"/>
          </a:xfrm>
        </p:grpSpPr>
        <p:sp>
          <p:nvSpPr>
            <p:cNvPr id="11" name="Pentagon 15">
              <a:extLst>
                <a:ext uri="{FF2B5EF4-FFF2-40B4-BE49-F238E27FC236}">
                  <a16:creationId xmlns:a16="http://schemas.microsoft.com/office/drawing/2014/main" id="{75C7352D-0CBA-4AB2-A775-028B69AB51A7}"/>
                </a:ext>
              </a:extLst>
            </p:cNvPr>
            <p:cNvSpPr/>
            <p:nvPr/>
          </p:nvSpPr>
          <p:spPr>
            <a:xfrm>
              <a:off x="1954696" y="1965706"/>
              <a:ext cx="1828800" cy="548640"/>
            </a:xfrm>
            <a:prstGeom prst="homePlat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tx1"/>
                  </a:solidFill>
                </a:rPr>
                <a:t>Name of phase</a:t>
              </a:r>
            </a:p>
          </p:txBody>
        </p:sp>
        <p:sp>
          <p:nvSpPr>
            <p:cNvPr id="12" name="Chevron 17">
              <a:extLst>
                <a:ext uri="{FF2B5EF4-FFF2-40B4-BE49-F238E27FC236}">
                  <a16:creationId xmlns:a16="http://schemas.microsoft.com/office/drawing/2014/main" id="{BEFF86CB-C339-443E-B4D6-CE2539A8E47E}"/>
                </a:ext>
              </a:extLst>
            </p:cNvPr>
            <p:cNvSpPr/>
            <p:nvPr/>
          </p:nvSpPr>
          <p:spPr>
            <a:xfrm>
              <a:off x="3618150" y="1965706"/>
              <a:ext cx="1828800" cy="548640"/>
            </a:xfrm>
            <a:prstGeom prst="chevron">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tx1"/>
                  </a:solidFill>
                </a:rPr>
                <a:t>Name of phase</a:t>
              </a:r>
            </a:p>
          </p:txBody>
        </p:sp>
        <p:sp>
          <p:nvSpPr>
            <p:cNvPr id="13" name="Chevron 18">
              <a:extLst>
                <a:ext uri="{FF2B5EF4-FFF2-40B4-BE49-F238E27FC236}">
                  <a16:creationId xmlns:a16="http://schemas.microsoft.com/office/drawing/2014/main" id="{6FA56AD2-8D48-4D83-A3AC-3BB808B4B780}"/>
                </a:ext>
              </a:extLst>
            </p:cNvPr>
            <p:cNvSpPr/>
            <p:nvPr/>
          </p:nvSpPr>
          <p:spPr>
            <a:xfrm>
              <a:off x="5281604" y="1965706"/>
              <a:ext cx="1828800" cy="548640"/>
            </a:xfrm>
            <a:prstGeom prst="chevron">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tx1"/>
                  </a:solidFill>
                </a:rPr>
                <a:t>Name of phase</a:t>
              </a:r>
            </a:p>
          </p:txBody>
        </p:sp>
        <p:sp>
          <p:nvSpPr>
            <p:cNvPr id="15" name="Chevron 24">
              <a:extLst>
                <a:ext uri="{FF2B5EF4-FFF2-40B4-BE49-F238E27FC236}">
                  <a16:creationId xmlns:a16="http://schemas.microsoft.com/office/drawing/2014/main" id="{A74C587C-22F7-46EF-B0A9-3FAFDB717253}"/>
                </a:ext>
              </a:extLst>
            </p:cNvPr>
            <p:cNvSpPr/>
            <p:nvPr/>
          </p:nvSpPr>
          <p:spPr>
            <a:xfrm>
              <a:off x="6945058" y="1965706"/>
              <a:ext cx="1828800" cy="548640"/>
            </a:xfrm>
            <a:prstGeom prst="chevron">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lstStyle/>
            <a:p>
              <a:r>
                <a:rPr lang="en-US" sz="1300" dirty="0">
                  <a:solidFill>
                    <a:schemeClr val="tx1"/>
                  </a:solidFill>
                </a:rPr>
                <a:t>Name of phase</a:t>
              </a:r>
            </a:p>
          </p:txBody>
        </p:sp>
      </p:grpSp>
    </p:spTree>
    <p:extLst>
      <p:ext uri="{BB962C8B-B14F-4D97-AF65-F5344CB8AC3E}">
        <p14:creationId xmlns:p14="http://schemas.microsoft.com/office/powerpoint/2010/main" val="2515899089"/>
      </p:ext>
    </p:extLst>
  </p:cSld>
  <p:clrMapOvr>
    <a:masterClrMapping/>
  </p:clrMapOvr>
  <p:transition>
    <p:fade/>
  </p:transition>
</p:sld>
</file>

<file path=ppt/slides/slide2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Oval 21"/>
          <p:cNvSpPr/>
          <p:nvPr/>
        </p:nvSpPr>
        <p:spPr bwMode="gray">
          <a:xfrm>
            <a:off x="528000" y="1145452"/>
            <a:ext cx="4871646" cy="4871646"/>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3" name="Flowchart: Process 22"/>
          <p:cNvSpPr/>
          <p:nvPr/>
        </p:nvSpPr>
        <p:spPr bwMode="gray">
          <a:xfrm>
            <a:off x="1816624" y="875892"/>
            <a:ext cx="466090" cy="5295917"/>
          </a:xfrm>
          <a:prstGeom prst="flowChartProcess">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0" name="Oval 129"/>
          <p:cNvSpPr/>
          <p:nvPr/>
        </p:nvSpPr>
        <p:spPr bwMode="gray">
          <a:xfrm>
            <a:off x="2204129" y="1132882"/>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1" name="Oval 130"/>
          <p:cNvSpPr/>
          <p:nvPr/>
        </p:nvSpPr>
        <p:spPr bwMode="gray">
          <a:xfrm>
            <a:off x="2203091" y="5841703"/>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64" name="Rectangle 163"/>
          <p:cNvSpPr/>
          <p:nvPr/>
        </p:nvSpPr>
        <p:spPr>
          <a:xfrm>
            <a:off x="2040756" y="2896550"/>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ea typeface="+mn-ea"/>
                <a:cs typeface="+mn-cs"/>
              </a:rPr>
              <a:t>Lorem ipsum dolor sit </a:t>
            </a:r>
            <a:r>
              <a:rPr kumimoji="0" lang="en-US" sz="1800" b="0" i="0" u="none" strike="noStrike" kern="1200" cap="none" spc="0" normalizeH="0" baseline="0" noProof="0" dirty="0" err="1">
                <a:ln>
                  <a:noFill/>
                </a:ln>
                <a:solidFill>
                  <a:prstClr val="white"/>
                </a:solidFill>
                <a:effectLst/>
                <a:uLnTx/>
                <a:uFillTx/>
                <a:ea typeface="+mn-ea"/>
                <a:cs typeface="+mn-cs"/>
              </a:rPr>
              <a:t>amet</a:t>
            </a:r>
            <a:r>
              <a:rPr kumimoji="0" lang="en-US" sz="1800" b="0" i="0" u="none" strike="noStrike" kern="1200" cap="none" spc="0" normalizeH="0" baseline="0" noProof="0" dirty="0">
                <a:ln>
                  <a:noFill/>
                </a:ln>
                <a:solidFill>
                  <a:prstClr val="white"/>
                </a:solidFill>
                <a:effectLst/>
                <a:uLnTx/>
                <a:uFillTx/>
                <a:ea typeface="+mn-ea"/>
                <a:cs typeface="+mn-cs"/>
              </a:rPr>
              <a:t>, </a:t>
            </a:r>
            <a:r>
              <a:rPr kumimoji="0" lang="en-US" sz="1800" b="0" i="0" u="none" strike="noStrike" kern="1200" cap="none" spc="0" normalizeH="0" baseline="0" noProof="0" dirty="0" err="1">
                <a:ln>
                  <a:noFill/>
                </a:ln>
                <a:solidFill>
                  <a:prstClr val="white"/>
                </a:solidFill>
                <a:effectLst/>
                <a:uLnTx/>
                <a:uFillTx/>
                <a:ea typeface="+mn-ea"/>
                <a:cs typeface="+mn-cs"/>
              </a:rPr>
              <a:t>consectetur</a:t>
            </a:r>
            <a:r>
              <a:rPr kumimoji="0" lang="en-US" sz="1800" b="0" i="0" u="none" strike="noStrike" kern="1200" cap="none" spc="0" normalizeH="0" baseline="0" noProof="0" dirty="0">
                <a:ln>
                  <a:noFill/>
                </a:ln>
                <a:solidFill>
                  <a:prstClr val="white"/>
                </a:solidFill>
                <a:effectLst/>
                <a:uLnTx/>
                <a:uFillTx/>
                <a:ea typeface="+mn-ea"/>
                <a:cs typeface="+mn-cs"/>
              </a:rPr>
              <a:t> </a:t>
            </a:r>
            <a:r>
              <a:rPr kumimoji="0" lang="en-US" sz="1800" b="0" i="0" u="none" strike="noStrike" kern="1200" cap="none" spc="0" normalizeH="0" baseline="0" noProof="0" dirty="0" err="1">
                <a:ln>
                  <a:noFill/>
                </a:ln>
                <a:solidFill>
                  <a:prstClr val="white"/>
                </a:solidFill>
                <a:effectLst/>
                <a:uLnTx/>
                <a:uFillTx/>
                <a:ea typeface="+mn-ea"/>
                <a:cs typeface="+mn-cs"/>
              </a:rPr>
              <a:t>adipiscing</a:t>
            </a:r>
            <a:r>
              <a:rPr kumimoji="0" lang="en-US" sz="1800" b="0" i="0" u="none" strike="noStrike" kern="1200" cap="none" spc="0" normalizeH="0" baseline="0" noProof="0" dirty="0">
                <a:ln>
                  <a:noFill/>
                </a:ln>
                <a:solidFill>
                  <a:prstClr val="white"/>
                </a:solidFill>
                <a:effectLst/>
                <a:uLnTx/>
                <a:uFillTx/>
                <a:ea typeface="+mn-ea"/>
                <a:cs typeface="+mn-cs"/>
              </a:rPr>
              <a:t> </a:t>
            </a:r>
            <a:r>
              <a:rPr kumimoji="0" lang="en-US" sz="1800" b="0" i="0" u="none" strike="noStrike" kern="1200" cap="none" spc="0" normalizeH="0" baseline="0" noProof="0" dirty="0" err="1">
                <a:ln>
                  <a:noFill/>
                </a:ln>
                <a:solidFill>
                  <a:prstClr val="white"/>
                </a:solidFill>
                <a:effectLst/>
                <a:uLnTx/>
                <a:uFillTx/>
                <a:ea typeface="+mn-ea"/>
                <a:cs typeface="+mn-cs"/>
              </a:rPr>
              <a:t>elit</a:t>
            </a:r>
            <a:r>
              <a:rPr kumimoji="0" lang="en-US" sz="1800" b="0" i="0" u="none" strike="noStrike" kern="1200" cap="none" spc="0" normalizeH="0" baseline="0" noProof="0" dirty="0">
                <a:ln>
                  <a:noFill/>
                </a:ln>
                <a:solidFill>
                  <a:prstClr val="white"/>
                </a:solidFill>
                <a:effectLst/>
                <a:uLnTx/>
                <a:uFillTx/>
                <a:ea typeface="+mn-ea"/>
                <a:cs typeface="+mn-cs"/>
              </a:rPr>
              <a:t>, </a:t>
            </a:r>
            <a:r>
              <a:rPr kumimoji="0" lang="en-US" sz="1800" b="0" i="0" u="none" strike="noStrike" kern="1200" cap="none" spc="0" normalizeH="0" baseline="0" noProof="0" dirty="0" err="1">
                <a:ln>
                  <a:noFill/>
                </a:ln>
                <a:solidFill>
                  <a:prstClr val="white"/>
                </a:solidFill>
                <a:effectLst/>
                <a:uLnTx/>
                <a:uFillTx/>
                <a:ea typeface="+mn-ea"/>
                <a:cs typeface="+mn-cs"/>
              </a:rPr>
              <a:t>sed</a:t>
            </a:r>
            <a:r>
              <a:rPr kumimoji="0" lang="en-US" sz="1800" b="0" i="0" u="none" strike="noStrike" kern="1200" cap="none" spc="0" normalizeH="0" baseline="0" noProof="0" dirty="0">
                <a:ln>
                  <a:noFill/>
                </a:ln>
                <a:solidFill>
                  <a:prstClr val="white"/>
                </a:solidFill>
                <a:effectLst/>
                <a:uLnTx/>
                <a:uFillTx/>
                <a:ea typeface="+mn-ea"/>
                <a:cs typeface="+mn-cs"/>
              </a:rPr>
              <a:t> do</a:t>
            </a:r>
            <a:endParaRPr kumimoji="0" lang="en-US" sz="2800" b="1" i="0" u="none" strike="noStrike" kern="1200" cap="none" spc="0" normalizeH="0" baseline="0" noProof="0" dirty="0">
              <a:ln>
                <a:noFill/>
              </a:ln>
              <a:solidFill>
                <a:prstClr val="white"/>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ea typeface="+mn-ea"/>
              <a:cs typeface="+mn-cs"/>
            </a:endParaRPr>
          </a:p>
        </p:txBody>
      </p:sp>
      <p:grpSp>
        <p:nvGrpSpPr>
          <p:cNvPr id="19" name="Group 18"/>
          <p:cNvGrpSpPr/>
          <p:nvPr/>
        </p:nvGrpSpPr>
        <p:grpSpPr>
          <a:xfrm>
            <a:off x="5368246" y="2445439"/>
            <a:ext cx="5533820" cy="789880"/>
            <a:chOff x="3551622" y="2086438"/>
            <a:chExt cx="5533820" cy="789880"/>
          </a:xfrm>
        </p:grpSpPr>
        <p:cxnSp>
          <p:nvCxnSpPr>
            <p:cNvPr id="149" name="Straight Connector 148"/>
            <p:cNvCxnSpPr/>
            <p:nvPr/>
          </p:nvCxnSpPr>
          <p:spPr>
            <a:xfrm>
              <a:off x="3551622" y="2481378"/>
              <a:ext cx="243138" cy="1"/>
            </a:xfrm>
            <a:prstGeom prst="line">
              <a:avLst/>
            </a:prstGeom>
            <a:noFill/>
            <a:ln w="22225" algn="ctr">
              <a:solidFill>
                <a:schemeClr val="tx1">
                  <a:lumMod val="50000"/>
                  <a:lumOff val="50000"/>
                </a:schemeClr>
              </a:solidFill>
              <a:prstDash val="sysDot"/>
              <a:miter lim="800000"/>
              <a:headEnd/>
              <a:tailEnd/>
            </a:ln>
          </p:spPr>
        </p:cxnSp>
        <p:grpSp>
          <p:nvGrpSpPr>
            <p:cNvPr id="13" name="Group 12"/>
            <p:cNvGrpSpPr/>
            <p:nvPr/>
          </p:nvGrpSpPr>
          <p:grpSpPr>
            <a:xfrm>
              <a:off x="3794760" y="2086438"/>
              <a:ext cx="789880" cy="789880"/>
              <a:chOff x="6262417" y="2938689"/>
              <a:chExt cx="919874" cy="919874"/>
            </a:xfrm>
          </p:grpSpPr>
          <p:sp>
            <p:nvSpPr>
              <p:cNvPr id="151" name="Oval 150"/>
              <p:cNvSpPr/>
              <p:nvPr/>
            </p:nvSpPr>
            <p:spPr bwMode="gray">
              <a:xfrm>
                <a:off x="6262417" y="2938689"/>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59" name="Freeform 917"/>
              <p:cNvSpPr>
                <a:spLocks noChangeAspect="1" noEditPoints="1"/>
              </p:cNvSpPr>
              <p:nvPr/>
            </p:nvSpPr>
            <p:spPr bwMode="auto">
              <a:xfrm>
                <a:off x="6324590" y="3000862"/>
                <a:ext cx="795528" cy="795528"/>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3" name="Rectangle 52"/>
            <p:cNvSpPr/>
            <p:nvPr/>
          </p:nvSpPr>
          <p:spPr>
            <a:xfrm>
              <a:off x="4946904" y="2127434"/>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9A44"/>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 </a:t>
              </a:r>
              <a:r>
                <a:rPr kumimoji="0" lang="en-US" sz="1000" b="0" i="0" u="none" strike="noStrike" kern="1200" cap="none" spc="0" normalizeH="0" baseline="0" noProof="0" dirty="0" err="1">
                  <a:ln>
                    <a:noFill/>
                  </a:ln>
                  <a:solidFill>
                    <a:prstClr val="white"/>
                  </a:solidFill>
                  <a:effectLst/>
                  <a:uLnTx/>
                  <a:uFillTx/>
                  <a:ea typeface="+mn-ea"/>
                  <a:cs typeface="+mn-cs"/>
                </a:rPr>
                <a:t>eiusmod</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tempo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incididunt</a:t>
              </a:r>
              <a:r>
                <a:rPr kumimoji="0" lang="en-US" sz="1000" b="0" i="0" u="none" strike="noStrike" kern="1200" cap="none" spc="0" normalizeH="0" baseline="0" noProof="0" dirty="0">
                  <a:ln>
                    <a:noFill/>
                  </a:ln>
                  <a:solidFill>
                    <a:prstClr val="white"/>
                  </a:solidFill>
                  <a:effectLst/>
                  <a:uLnTx/>
                  <a:uFillTx/>
                  <a:ea typeface="+mn-ea"/>
                  <a:cs typeface="+mn-cs"/>
                </a:rPr>
                <a:t> </a:t>
              </a: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nvGrpSpPr>
          <p:cNvPr id="225" name="Group 224"/>
          <p:cNvGrpSpPr/>
          <p:nvPr/>
        </p:nvGrpSpPr>
        <p:grpSpPr>
          <a:xfrm>
            <a:off x="5272780" y="3808452"/>
            <a:ext cx="5629286" cy="787162"/>
            <a:chOff x="3456156" y="3695813"/>
            <a:chExt cx="5629286" cy="787162"/>
          </a:xfrm>
        </p:grpSpPr>
        <p:cxnSp>
          <p:nvCxnSpPr>
            <p:cNvPr id="61" name="Straight Connector 60"/>
            <p:cNvCxnSpPr/>
            <p:nvPr/>
          </p:nvCxnSpPr>
          <p:spPr>
            <a:xfrm flipV="1">
              <a:off x="3551622" y="4087257"/>
              <a:ext cx="211738" cy="2439"/>
            </a:xfrm>
            <a:prstGeom prst="line">
              <a:avLst/>
            </a:prstGeom>
            <a:noFill/>
            <a:ln w="22225" algn="ctr">
              <a:solidFill>
                <a:schemeClr val="tx1">
                  <a:lumMod val="50000"/>
                  <a:lumOff val="50000"/>
                </a:schemeClr>
              </a:solidFill>
              <a:prstDash val="sysDot"/>
              <a:miter lim="800000"/>
              <a:headEnd/>
              <a:tailEnd/>
            </a:ln>
          </p:spPr>
        </p:cxnSp>
        <p:grpSp>
          <p:nvGrpSpPr>
            <p:cNvPr id="20" name="Group 19"/>
            <p:cNvGrpSpPr/>
            <p:nvPr/>
          </p:nvGrpSpPr>
          <p:grpSpPr>
            <a:xfrm>
              <a:off x="3456156" y="3695813"/>
              <a:ext cx="5629286" cy="787162"/>
              <a:chOff x="3456156" y="3261423"/>
              <a:chExt cx="5629286" cy="787162"/>
            </a:xfrm>
          </p:grpSpPr>
          <p:grpSp>
            <p:nvGrpSpPr>
              <p:cNvPr id="15" name="Group 14"/>
              <p:cNvGrpSpPr/>
              <p:nvPr/>
            </p:nvGrpSpPr>
            <p:grpSpPr>
              <a:xfrm>
                <a:off x="3794760" y="3261423"/>
                <a:ext cx="787162" cy="787162"/>
                <a:chOff x="5548829" y="3384543"/>
                <a:chExt cx="919874" cy="919874"/>
              </a:xfrm>
            </p:grpSpPr>
            <p:sp>
              <p:nvSpPr>
                <p:cNvPr id="157" name="Oval 156"/>
                <p:cNvSpPr/>
                <p:nvPr/>
              </p:nvSpPr>
              <p:spPr bwMode="gray">
                <a:xfrm>
                  <a:off x="5548829" y="3384543"/>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0" name="Freeform 375"/>
                <p:cNvSpPr>
                  <a:spLocks noChangeAspect="1" noEditPoints="1"/>
                </p:cNvSpPr>
                <p:nvPr/>
              </p:nvSpPr>
              <p:spPr bwMode="auto">
                <a:xfrm>
                  <a:off x="5611002" y="3446716"/>
                  <a:ext cx="795528" cy="79552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4" name="Rectangle 53"/>
              <p:cNvSpPr/>
              <p:nvPr/>
            </p:nvSpPr>
            <p:spPr>
              <a:xfrm>
                <a:off x="4946904" y="3332556"/>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6BC25"/>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 </a:t>
                </a:r>
                <a:r>
                  <a:rPr kumimoji="0" lang="en-US" sz="1000" b="0" i="0" u="none" strike="noStrike" kern="1200" cap="none" spc="0" normalizeH="0" baseline="0" noProof="0" dirty="0" err="1">
                    <a:ln>
                      <a:noFill/>
                    </a:ln>
                    <a:solidFill>
                      <a:prstClr val="white"/>
                    </a:solidFill>
                    <a:effectLst/>
                    <a:uLnTx/>
                    <a:uFillTx/>
                    <a:ea typeface="+mn-ea"/>
                    <a:cs typeface="+mn-cs"/>
                  </a:rPr>
                  <a:t>eiusmod</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tempo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incididunt</a:t>
                </a:r>
                <a:r>
                  <a:rPr kumimoji="0" lang="en-US" sz="1000" b="0" i="0" u="none" strike="noStrike" kern="1200" cap="none" spc="0" normalizeH="0" baseline="0" noProof="0" dirty="0">
                    <a:ln>
                      <a:noFill/>
                    </a:ln>
                    <a:solidFill>
                      <a:prstClr val="white"/>
                    </a:solidFill>
                    <a:effectLst/>
                    <a:uLnTx/>
                    <a:uFillTx/>
                    <a:ea typeface="+mn-ea"/>
                    <a:cs typeface="+mn-cs"/>
                  </a:rPr>
                  <a:t> </a:t>
                </a: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153" name="Oval 152"/>
              <p:cNvSpPr/>
              <p:nvPr/>
            </p:nvSpPr>
            <p:spPr bwMode="gray">
              <a:xfrm>
                <a:off x="3456156" y="3605134"/>
                <a:ext cx="95466" cy="95466"/>
              </a:xfrm>
              <a:prstGeom prst="ellipse">
                <a:avLst/>
              </a:prstGeom>
              <a:solidFill>
                <a:srgbClr val="86BC25"/>
              </a:solidFill>
              <a:ln w="34925" algn="ctr">
                <a:solidFill>
                  <a:srgbClr val="86BC2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grpSp>
        <p:nvGrpSpPr>
          <p:cNvPr id="2" name="Group 1"/>
          <p:cNvGrpSpPr/>
          <p:nvPr/>
        </p:nvGrpSpPr>
        <p:grpSpPr>
          <a:xfrm>
            <a:off x="4195578" y="1089284"/>
            <a:ext cx="6708107" cy="783023"/>
            <a:chOff x="2378953" y="976644"/>
            <a:chExt cx="6708107" cy="783023"/>
          </a:xfrm>
        </p:grpSpPr>
        <p:grpSp>
          <p:nvGrpSpPr>
            <p:cNvPr id="18" name="Group 17"/>
            <p:cNvGrpSpPr/>
            <p:nvPr/>
          </p:nvGrpSpPr>
          <p:grpSpPr>
            <a:xfrm>
              <a:off x="2456134" y="976644"/>
              <a:ext cx="6630926" cy="783023"/>
              <a:chOff x="2456134" y="976644"/>
              <a:chExt cx="6630926" cy="783023"/>
            </a:xfrm>
          </p:grpSpPr>
          <p:grpSp>
            <p:nvGrpSpPr>
              <p:cNvPr id="24" name="Group 23"/>
              <p:cNvGrpSpPr/>
              <p:nvPr/>
            </p:nvGrpSpPr>
            <p:grpSpPr>
              <a:xfrm>
                <a:off x="3797255" y="976644"/>
                <a:ext cx="783023" cy="783023"/>
                <a:chOff x="3193797" y="1167547"/>
                <a:chExt cx="1136224" cy="1136224"/>
              </a:xfrm>
            </p:grpSpPr>
            <p:sp>
              <p:nvSpPr>
                <p:cNvPr id="133" name="Freeform 538"/>
                <p:cNvSpPr>
                  <a:spLocks noChangeAspect="1" noEditPoints="1"/>
                </p:cNvSpPr>
                <p:nvPr/>
              </p:nvSpPr>
              <p:spPr bwMode="auto">
                <a:xfrm>
                  <a:off x="3267550" y="1244763"/>
                  <a:ext cx="981795" cy="981795"/>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134" name="Oval 133"/>
                <p:cNvSpPr/>
                <p:nvPr/>
              </p:nvSpPr>
              <p:spPr bwMode="gray">
                <a:xfrm>
                  <a:off x="3193797" y="1167547"/>
                  <a:ext cx="1136224" cy="113622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cxnSp>
            <p:nvCxnSpPr>
              <p:cNvPr id="26" name="Straight Connector 25"/>
              <p:cNvCxnSpPr>
                <a:stCxn id="132" idx="6"/>
              </p:cNvCxnSpPr>
              <p:nvPr/>
            </p:nvCxnSpPr>
            <p:spPr>
              <a:xfrm>
                <a:off x="2456134" y="1370661"/>
                <a:ext cx="1341121" cy="0"/>
              </a:xfrm>
              <a:prstGeom prst="line">
                <a:avLst/>
              </a:prstGeom>
              <a:noFill/>
              <a:ln w="22225" algn="ctr">
                <a:solidFill>
                  <a:schemeClr val="tx1">
                    <a:lumMod val="50000"/>
                    <a:lumOff val="50000"/>
                  </a:schemeClr>
                </a:solidFill>
                <a:prstDash val="sysDot"/>
                <a:miter lim="800000"/>
                <a:headEnd/>
                <a:tailEnd/>
              </a:ln>
            </p:spPr>
          </p:cxnSp>
          <p:sp>
            <p:nvSpPr>
              <p:cNvPr id="171" name="Rectangle 170"/>
              <p:cNvSpPr/>
              <p:nvPr/>
            </p:nvSpPr>
            <p:spPr>
              <a:xfrm>
                <a:off x="4948522" y="1029857"/>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A3E0"/>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 </a:t>
                </a:r>
                <a:r>
                  <a:rPr kumimoji="0" lang="en-US" sz="1000" b="0" i="0" u="none" strike="noStrike" kern="1200" cap="none" spc="0" normalizeH="0" baseline="0" noProof="0" dirty="0" err="1">
                    <a:ln>
                      <a:noFill/>
                    </a:ln>
                    <a:solidFill>
                      <a:prstClr val="white"/>
                    </a:solidFill>
                    <a:effectLst/>
                    <a:uLnTx/>
                    <a:uFillTx/>
                    <a:ea typeface="+mn-ea"/>
                    <a:cs typeface="+mn-cs"/>
                  </a:rPr>
                  <a:t>eiusmod</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tempo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incididunt</a:t>
                </a:r>
                <a:r>
                  <a:rPr kumimoji="0" lang="en-US" sz="1000" b="0" i="0" u="none" strike="noStrike" kern="1200" cap="none" spc="0" normalizeH="0" baseline="0" noProof="0" dirty="0">
                    <a:ln>
                      <a:noFill/>
                    </a:ln>
                    <a:solidFill>
                      <a:prstClr val="white"/>
                    </a:solidFill>
                    <a:effectLst/>
                    <a:uLnTx/>
                    <a:uFillTx/>
                    <a:ea typeface="+mn-ea"/>
                    <a:cs typeface="+mn-cs"/>
                  </a:rPr>
                  <a:t> </a:t>
                </a:r>
                <a:endParaRPr kumimoji="0" lang="en-US" sz="1000" b="1" i="0" u="none" strike="noStrike" kern="1200" cap="none" spc="0" normalizeH="0" baseline="0" noProof="0" dirty="0">
                  <a:ln>
                    <a:noFill/>
                  </a:ln>
                  <a:solidFill>
                    <a:prstClr val="white"/>
                  </a:solidFill>
                  <a:effectLst/>
                  <a:uLnTx/>
                  <a:uFillTx/>
                  <a:ea typeface="+mn-ea"/>
                  <a:cs typeface="+mn-cs"/>
                </a:endParaRPr>
              </a:p>
            </p:txBody>
          </p:sp>
        </p:grpSp>
        <p:sp>
          <p:nvSpPr>
            <p:cNvPr id="37" name="Oval 36"/>
            <p:cNvSpPr/>
            <p:nvPr/>
          </p:nvSpPr>
          <p:spPr bwMode="gray">
            <a:xfrm>
              <a:off x="2378953" y="1327048"/>
              <a:ext cx="95466" cy="95466"/>
            </a:xfrm>
            <a:prstGeom prst="ellipse">
              <a:avLst/>
            </a:prstGeom>
            <a:solidFill>
              <a:srgbClr val="00A3E0"/>
            </a:solidFill>
            <a:ln w="34925" algn="ctr">
              <a:solidFill>
                <a:srgbClr val="00A3E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39" name="Oval 38"/>
          <p:cNvSpPr/>
          <p:nvPr/>
        </p:nvSpPr>
        <p:spPr bwMode="gray">
          <a:xfrm>
            <a:off x="5234025" y="2787528"/>
            <a:ext cx="95466" cy="95466"/>
          </a:xfrm>
          <a:prstGeom prst="ellipse">
            <a:avLst/>
          </a:prstGeom>
          <a:solidFill>
            <a:srgbClr val="009A44"/>
          </a:solidFill>
          <a:ln w="34925" algn="ctr">
            <a:solidFill>
              <a:srgbClr val="009A4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5" name="Group 4"/>
          <p:cNvGrpSpPr/>
          <p:nvPr/>
        </p:nvGrpSpPr>
        <p:grpSpPr>
          <a:xfrm>
            <a:off x="4336878" y="5168749"/>
            <a:ext cx="6565189" cy="789051"/>
            <a:chOff x="2520253" y="5056109"/>
            <a:chExt cx="6565189" cy="789051"/>
          </a:xfrm>
        </p:grpSpPr>
        <p:grpSp>
          <p:nvGrpSpPr>
            <p:cNvPr id="224" name="Group 223"/>
            <p:cNvGrpSpPr/>
            <p:nvPr/>
          </p:nvGrpSpPr>
          <p:grpSpPr>
            <a:xfrm>
              <a:off x="2545976" y="5056109"/>
              <a:ext cx="6539466" cy="789051"/>
              <a:chOff x="2545976" y="5056109"/>
              <a:chExt cx="6539466" cy="789051"/>
            </a:xfrm>
          </p:grpSpPr>
          <p:cxnSp>
            <p:nvCxnSpPr>
              <p:cNvPr id="155" name="Straight Connector 154"/>
              <p:cNvCxnSpPr/>
              <p:nvPr/>
            </p:nvCxnSpPr>
            <p:spPr>
              <a:xfrm>
                <a:off x="2545976" y="5448910"/>
                <a:ext cx="1248784" cy="0"/>
              </a:xfrm>
              <a:prstGeom prst="line">
                <a:avLst/>
              </a:prstGeom>
              <a:noFill/>
              <a:ln w="22225" algn="ctr">
                <a:solidFill>
                  <a:schemeClr val="tx1">
                    <a:lumMod val="50000"/>
                    <a:lumOff val="50000"/>
                  </a:schemeClr>
                </a:solidFill>
                <a:prstDash val="sysDot"/>
                <a:miter lim="800000"/>
                <a:headEnd/>
                <a:tailEnd/>
              </a:ln>
            </p:spPr>
          </p:cxnSp>
          <p:grpSp>
            <p:nvGrpSpPr>
              <p:cNvPr id="21" name="Group 20"/>
              <p:cNvGrpSpPr/>
              <p:nvPr/>
            </p:nvGrpSpPr>
            <p:grpSpPr>
              <a:xfrm>
                <a:off x="3798644" y="5056109"/>
                <a:ext cx="5286798" cy="789051"/>
                <a:chOff x="3798644" y="5056109"/>
                <a:chExt cx="5286798" cy="789051"/>
              </a:xfrm>
            </p:grpSpPr>
            <p:grpSp>
              <p:nvGrpSpPr>
                <p:cNvPr id="16" name="Group 15"/>
                <p:cNvGrpSpPr/>
                <p:nvPr/>
              </p:nvGrpSpPr>
              <p:grpSpPr>
                <a:xfrm>
                  <a:off x="3798644" y="5056109"/>
                  <a:ext cx="789051" cy="789051"/>
                  <a:chOff x="5201202" y="5097900"/>
                  <a:chExt cx="919874" cy="919874"/>
                </a:xfrm>
              </p:grpSpPr>
              <p:sp>
                <p:nvSpPr>
                  <p:cNvPr id="145" name="Oval 144"/>
                  <p:cNvSpPr/>
                  <p:nvPr/>
                </p:nvSpPr>
                <p:spPr bwMode="gray">
                  <a:xfrm>
                    <a:off x="5201202" y="5097900"/>
                    <a:ext cx="919874" cy="91987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61" name="Freeform 627"/>
                  <p:cNvSpPr>
                    <a:spLocks noChangeAspect="1" noEditPoints="1"/>
                  </p:cNvSpPr>
                  <p:nvPr/>
                </p:nvSpPr>
                <p:spPr bwMode="auto">
                  <a:xfrm>
                    <a:off x="5263375" y="5160073"/>
                    <a:ext cx="795528" cy="795528"/>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
              <p:nvSpPr>
                <p:cNvPr id="55" name="Rectangle 54"/>
                <p:cNvSpPr/>
                <p:nvPr/>
              </p:nvSpPr>
              <p:spPr>
                <a:xfrm>
                  <a:off x="4946904" y="5094967"/>
                  <a:ext cx="41385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A3E0"/>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Lorem ipsum dolor sit </a:t>
                  </a:r>
                  <a:r>
                    <a:rPr kumimoji="0" lang="en-US" sz="1000" b="0" i="0" u="none" strike="noStrike" kern="1200" cap="none" spc="0" normalizeH="0" baseline="0" noProof="0" dirty="0" err="1">
                      <a:ln>
                        <a:noFill/>
                      </a:ln>
                      <a:solidFill>
                        <a:prstClr val="white"/>
                      </a:solidFill>
                      <a:effectLst/>
                      <a:uLnTx/>
                      <a:uFillTx/>
                      <a:ea typeface="+mn-ea"/>
                      <a:cs typeface="+mn-cs"/>
                    </a:rPr>
                    <a:t>ame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consectetu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adipiscing</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elit</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sed</a:t>
                  </a:r>
                  <a:r>
                    <a:rPr kumimoji="0" lang="en-US" sz="1000" b="0" i="0" u="none" strike="noStrike" kern="1200" cap="none" spc="0" normalizeH="0" baseline="0" noProof="0" dirty="0">
                      <a:ln>
                        <a:noFill/>
                      </a:ln>
                      <a:solidFill>
                        <a:prstClr val="white"/>
                      </a:solidFill>
                      <a:effectLst/>
                      <a:uLnTx/>
                      <a:uFillTx/>
                      <a:ea typeface="+mn-ea"/>
                      <a:cs typeface="+mn-cs"/>
                    </a:rPr>
                    <a:t> do </a:t>
                  </a:r>
                  <a:r>
                    <a:rPr kumimoji="0" lang="en-US" sz="1000" b="0" i="0" u="none" strike="noStrike" kern="1200" cap="none" spc="0" normalizeH="0" baseline="0" noProof="0" dirty="0" err="1">
                      <a:ln>
                        <a:noFill/>
                      </a:ln>
                      <a:solidFill>
                        <a:prstClr val="white"/>
                      </a:solidFill>
                      <a:effectLst/>
                      <a:uLnTx/>
                      <a:uFillTx/>
                      <a:ea typeface="+mn-ea"/>
                      <a:cs typeface="+mn-cs"/>
                    </a:rPr>
                    <a:t>eiusmod</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tempor</a:t>
                  </a:r>
                  <a:r>
                    <a:rPr kumimoji="0" lang="en-US" sz="1000" b="0" i="0" u="none" strike="noStrike" kern="1200" cap="none" spc="0" normalizeH="0" baseline="0" noProof="0" dirty="0">
                      <a:ln>
                        <a:noFill/>
                      </a:ln>
                      <a:solidFill>
                        <a:prstClr val="white"/>
                      </a:solidFill>
                      <a:effectLst/>
                      <a:uLnTx/>
                      <a:uFillTx/>
                      <a:ea typeface="+mn-ea"/>
                      <a:cs typeface="+mn-cs"/>
                    </a:rPr>
                    <a:t> </a:t>
                  </a:r>
                  <a:r>
                    <a:rPr kumimoji="0" lang="en-US" sz="1000" b="0" i="0" u="none" strike="noStrike" kern="1200" cap="none" spc="0" normalizeH="0" baseline="0" noProof="0" dirty="0" err="1">
                      <a:ln>
                        <a:noFill/>
                      </a:ln>
                      <a:solidFill>
                        <a:prstClr val="white"/>
                      </a:solidFill>
                      <a:effectLst/>
                      <a:uLnTx/>
                      <a:uFillTx/>
                      <a:ea typeface="+mn-ea"/>
                      <a:cs typeface="+mn-cs"/>
                    </a:rPr>
                    <a:t>incididunt</a:t>
                  </a:r>
                  <a:r>
                    <a:rPr kumimoji="0" lang="en-US" sz="1000" b="0" i="0" u="none" strike="noStrike" kern="1200" cap="none" spc="0" normalizeH="0" baseline="0" noProof="0" dirty="0">
                      <a:ln>
                        <a:noFill/>
                      </a:ln>
                      <a:solidFill>
                        <a:prstClr val="white"/>
                      </a:solidFill>
                      <a:effectLst/>
                      <a:uLnTx/>
                      <a:uFillTx/>
                      <a:ea typeface="+mn-ea"/>
                      <a:cs typeface="+mn-cs"/>
                    </a:rPr>
                    <a:t> </a:t>
                  </a:r>
                  <a:endParaRPr kumimoji="0" lang="en-US" sz="1000" b="1" i="0" u="none" strike="noStrike" kern="1200" cap="none" spc="0" normalizeH="0" baseline="0" noProof="0" dirty="0">
                    <a:ln>
                      <a:noFill/>
                    </a:ln>
                    <a:solidFill>
                      <a:prstClr val="white"/>
                    </a:solidFill>
                    <a:effectLst/>
                    <a:uLnTx/>
                    <a:uFillTx/>
                    <a:ea typeface="+mn-ea"/>
                    <a:cs typeface="+mn-cs"/>
                  </a:endParaRPr>
                </a:p>
              </p:txBody>
            </p:sp>
          </p:grpSp>
        </p:grpSp>
        <p:sp>
          <p:nvSpPr>
            <p:cNvPr id="42" name="Oval 41"/>
            <p:cNvSpPr/>
            <p:nvPr/>
          </p:nvSpPr>
          <p:spPr bwMode="gray">
            <a:xfrm>
              <a:off x="2520253" y="5401177"/>
              <a:ext cx="95466" cy="95466"/>
            </a:xfrm>
            <a:prstGeom prst="ellipse">
              <a:avLst/>
            </a:prstGeom>
            <a:solidFill>
              <a:srgbClr val="0076A8"/>
            </a:solidFill>
            <a:ln w="34925" algn="ctr">
              <a:solidFill>
                <a:srgbClr val="0076A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8" name="Title 7">
            <a:extLst>
              <a:ext uri="{FF2B5EF4-FFF2-40B4-BE49-F238E27FC236}">
                <a16:creationId xmlns:a16="http://schemas.microsoft.com/office/drawing/2014/main" id="{C0A463EA-FF10-0040-B5BA-FAA2A4673D30}"/>
              </a:ext>
            </a:extLst>
          </p:cNvPr>
          <p:cNvSpPr>
            <a:spLocks noGrp="1"/>
          </p:cNvSpPr>
          <p:nvPr>
            <p:ph type="title"/>
          </p:nvPr>
        </p:nvSpPr>
        <p:spPr/>
        <p:txBody>
          <a:bodyPr/>
          <a:lstStyle/>
          <a:p>
            <a:r>
              <a:rPr lang="en-US" dirty="0"/>
              <a:t>Circular network</a:t>
            </a:r>
          </a:p>
        </p:txBody>
      </p:sp>
      <p:sp>
        <p:nvSpPr>
          <p:cNvPr id="40" name="Star: 5 Points 39">
            <a:extLst>
              <a:ext uri="{FF2B5EF4-FFF2-40B4-BE49-F238E27FC236}">
                <a16:creationId xmlns:a16="http://schemas.microsoft.com/office/drawing/2014/main" id="{2A30094F-311A-47FF-979D-AF633F733317}"/>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4133680269"/>
      </p:ext>
    </p:extLst>
  </p:cSld>
  <p:clrMapOvr>
    <a:masterClrMapping/>
  </p:clrMapOvr>
  <p:transition>
    <p:fade/>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a:off x="6096000" y="3136572"/>
            <a:ext cx="0" cy="7543799"/>
          </a:xfrm>
          <a:prstGeom prst="line">
            <a:avLst/>
          </a:prstGeom>
          <a:ln w="19050">
            <a:noFill/>
          </a:ln>
        </p:spPr>
        <p:style>
          <a:lnRef idx="1">
            <a:schemeClr val="dk1"/>
          </a:lnRef>
          <a:fillRef idx="0">
            <a:schemeClr val="dk1"/>
          </a:fillRef>
          <a:effectRef idx="0">
            <a:schemeClr val="dk1"/>
          </a:effectRef>
          <a:fontRef idx="minor">
            <a:schemeClr val="tx1"/>
          </a:fontRef>
        </p:style>
      </p:cxnSp>
      <p:grpSp>
        <p:nvGrpSpPr>
          <p:cNvPr id="2" name="Group 1"/>
          <p:cNvGrpSpPr/>
          <p:nvPr/>
        </p:nvGrpSpPr>
        <p:grpSpPr>
          <a:xfrm>
            <a:off x="2279515" y="766693"/>
            <a:ext cx="8050282" cy="5731907"/>
            <a:chOff x="755515" y="766692"/>
            <a:chExt cx="8050282" cy="5731907"/>
          </a:xfrm>
        </p:grpSpPr>
        <p:grpSp>
          <p:nvGrpSpPr>
            <p:cNvPr id="19" name="Group 18"/>
            <p:cNvGrpSpPr/>
            <p:nvPr/>
          </p:nvGrpSpPr>
          <p:grpSpPr>
            <a:xfrm>
              <a:off x="958366" y="982450"/>
              <a:ext cx="7847431" cy="5435880"/>
              <a:chOff x="958366" y="982450"/>
              <a:chExt cx="7847431" cy="5435880"/>
            </a:xfrm>
          </p:grpSpPr>
          <p:sp>
            <p:nvSpPr>
              <p:cNvPr id="10" name="Oval 9"/>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 name="Rectangle 10"/>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7" name="Rectangle 66"/>
            <p:cNvSpPr/>
            <p:nvPr/>
          </p:nvSpPr>
          <p:spPr>
            <a:xfrm>
              <a:off x="4832745" y="2901658"/>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Lorem ipsum dolor sit </a:t>
              </a:r>
              <a:r>
                <a:rPr kumimoji="0" lang="en-US" sz="1800" b="0" i="0" u="none" strike="noStrike" kern="1200" cap="none" spc="0" normalizeH="0" baseline="0" noProof="0" dirty="0" err="1">
                  <a:ln>
                    <a:noFill/>
                  </a:ln>
                  <a:solidFill>
                    <a:srgbClr val="000000"/>
                  </a:solidFill>
                  <a:effectLst/>
                  <a:uLnTx/>
                  <a:uFillTx/>
                  <a:ea typeface="+mn-ea"/>
                  <a:cs typeface="+mn-cs"/>
                </a:rPr>
                <a:t>amet</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consectetur</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adipiscing</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elit</a:t>
              </a:r>
              <a:r>
                <a:rPr kumimoji="0" lang="en-US" sz="1800" b="0" i="0" u="none" strike="noStrike" kern="1200" cap="none" spc="0" normalizeH="0" baseline="0" noProof="0" dirty="0">
                  <a:ln>
                    <a:noFill/>
                  </a:ln>
                  <a:solidFill>
                    <a:srgbClr val="000000"/>
                  </a:solidFill>
                  <a:effectLst/>
                  <a:uLnTx/>
                  <a:uFillTx/>
                  <a:ea typeface="+mn-ea"/>
                  <a:cs typeface="+mn-cs"/>
                </a:rPr>
                <a:t>, </a:t>
              </a:r>
              <a:r>
                <a:rPr kumimoji="0" lang="en-US" sz="1800" b="0" i="0" u="none" strike="noStrike" kern="1200" cap="none" spc="0" normalizeH="0" baseline="0" noProof="0" dirty="0" err="1">
                  <a:ln>
                    <a:noFill/>
                  </a:ln>
                  <a:solidFill>
                    <a:srgbClr val="000000"/>
                  </a:solidFill>
                  <a:effectLst/>
                  <a:uLnTx/>
                  <a:uFillTx/>
                  <a:ea typeface="+mn-ea"/>
                  <a:cs typeface="+mn-cs"/>
                </a:rPr>
                <a:t>sed</a:t>
              </a:r>
              <a:r>
                <a:rPr kumimoji="0" lang="en-US" sz="1800" b="0" i="0" u="none" strike="noStrike" kern="1200" cap="none" spc="0" normalizeH="0" baseline="0" noProof="0" dirty="0">
                  <a:ln>
                    <a:noFill/>
                  </a:ln>
                  <a:solidFill>
                    <a:srgbClr val="000000"/>
                  </a:solidFill>
                  <a:effectLst/>
                  <a:uLnTx/>
                  <a:uFillTx/>
                  <a:ea typeface="+mn-ea"/>
                  <a:cs typeface="+mn-cs"/>
                </a:rPr>
                <a:t> do</a:t>
              </a:r>
              <a:endParaRPr kumimoji="0" lang="en-US" sz="2800" b="1"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ea typeface="+mn-ea"/>
                <a:cs typeface="+mn-cs"/>
              </a:endParaRPr>
            </a:p>
          </p:txBody>
        </p:sp>
        <p:grpSp>
          <p:nvGrpSpPr>
            <p:cNvPr id="15" name="Group 14"/>
            <p:cNvGrpSpPr/>
            <p:nvPr/>
          </p:nvGrpSpPr>
          <p:grpSpPr>
            <a:xfrm>
              <a:off x="3198310" y="766692"/>
              <a:ext cx="2908129" cy="553998"/>
              <a:chOff x="3198310" y="766692"/>
              <a:chExt cx="2908129" cy="553998"/>
            </a:xfrm>
          </p:grpSpPr>
          <p:sp>
            <p:nvSpPr>
              <p:cNvPr id="12" name="Rectangle 11"/>
              <p:cNvSpPr/>
              <p:nvPr/>
            </p:nvSpPr>
            <p:spPr bwMode="gray">
              <a:xfrm>
                <a:off x="3942427" y="841716"/>
                <a:ext cx="2164012" cy="40395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13" name="TextBox 12"/>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1</a:t>
                </a:r>
              </a:p>
            </p:txBody>
          </p:sp>
        </p:grpSp>
        <p:grpSp>
          <p:nvGrpSpPr>
            <p:cNvPr id="73" name="Group 72"/>
            <p:cNvGrpSpPr/>
            <p:nvPr/>
          </p:nvGrpSpPr>
          <p:grpSpPr>
            <a:xfrm>
              <a:off x="1335891" y="1802274"/>
              <a:ext cx="2908129" cy="553998"/>
              <a:chOff x="3198310" y="766692"/>
              <a:chExt cx="2908129" cy="553998"/>
            </a:xfrm>
          </p:grpSpPr>
          <p:sp>
            <p:nvSpPr>
              <p:cNvPr id="74" name="Rectangle 73"/>
              <p:cNvSpPr/>
              <p:nvPr/>
            </p:nvSpPr>
            <p:spPr bwMode="gray">
              <a:xfrm>
                <a:off x="3942427" y="841716"/>
                <a:ext cx="2164012" cy="403951"/>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75" name="TextBox 7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2</a:t>
                </a:r>
              </a:p>
            </p:txBody>
          </p:sp>
        </p:grpSp>
        <p:grpSp>
          <p:nvGrpSpPr>
            <p:cNvPr id="78" name="Group 77"/>
            <p:cNvGrpSpPr/>
            <p:nvPr/>
          </p:nvGrpSpPr>
          <p:grpSpPr>
            <a:xfrm>
              <a:off x="795408" y="2837856"/>
              <a:ext cx="2908129" cy="553998"/>
              <a:chOff x="3198310" y="766692"/>
              <a:chExt cx="2908129" cy="553998"/>
            </a:xfrm>
          </p:grpSpPr>
          <p:sp>
            <p:nvSpPr>
              <p:cNvPr id="79" name="Rectangle 78"/>
              <p:cNvSpPr/>
              <p:nvPr/>
            </p:nvSpPr>
            <p:spPr bwMode="gray">
              <a:xfrm>
                <a:off x="3942427" y="841716"/>
                <a:ext cx="2164012" cy="403951"/>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0" name="TextBox 7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3</a:t>
                </a:r>
              </a:p>
            </p:txBody>
          </p:sp>
        </p:grpSp>
        <p:grpSp>
          <p:nvGrpSpPr>
            <p:cNvPr id="83" name="Group 82"/>
            <p:cNvGrpSpPr/>
            <p:nvPr/>
          </p:nvGrpSpPr>
          <p:grpSpPr>
            <a:xfrm>
              <a:off x="755515" y="3873438"/>
              <a:ext cx="2908129" cy="553998"/>
              <a:chOff x="3198310" y="766692"/>
              <a:chExt cx="2908129" cy="553998"/>
            </a:xfrm>
          </p:grpSpPr>
          <p:sp>
            <p:nvSpPr>
              <p:cNvPr id="84" name="Rectangle 83"/>
              <p:cNvSpPr/>
              <p:nvPr/>
            </p:nvSpPr>
            <p:spPr bwMode="gray">
              <a:xfrm>
                <a:off x="3942427" y="841716"/>
                <a:ext cx="2164012" cy="403951"/>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5" name="TextBox 8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4</a:t>
                </a:r>
              </a:p>
            </p:txBody>
          </p:sp>
        </p:grpSp>
        <p:grpSp>
          <p:nvGrpSpPr>
            <p:cNvPr id="88" name="Group 87"/>
            <p:cNvGrpSpPr/>
            <p:nvPr/>
          </p:nvGrpSpPr>
          <p:grpSpPr>
            <a:xfrm>
              <a:off x="1330866" y="4909020"/>
              <a:ext cx="2908129" cy="553998"/>
              <a:chOff x="3198310" y="766692"/>
              <a:chExt cx="2908129" cy="553998"/>
            </a:xfrm>
          </p:grpSpPr>
          <p:sp>
            <p:nvSpPr>
              <p:cNvPr id="89" name="Rectangle 88"/>
              <p:cNvSpPr/>
              <p:nvPr/>
            </p:nvSpPr>
            <p:spPr bwMode="gray">
              <a:xfrm>
                <a:off x="3942427" y="841716"/>
                <a:ext cx="2164012" cy="403951"/>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0" name="TextBox 8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5</a:t>
                </a:r>
              </a:p>
            </p:txBody>
          </p:sp>
        </p:grpSp>
        <p:grpSp>
          <p:nvGrpSpPr>
            <p:cNvPr id="93" name="Group 92"/>
            <p:cNvGrpSpPr/>
            <p:nvPr/>
          </p:nvGrpSpPr>
          <p:grpSpPr>
            <a:xfrm>
              <a:off x="3200400" y="5944601"/>
              <a:ext cx="2908129" cy="553998"/>
              <a:chOff x="3198310" y="766692"/>
              <a:chExt cx="2908129" cy="553998"/>
            </a:xfrm>
          </p:grpSpPr>
          <p:sp>
            <p:nvSpPr>
              <p:cNvPr id="94" name="Rectangle 93"/>
              <p:cNvSpPr/>
              <p:nvPr/>
            </p:nvSpPr>
            <p:spPr bwMode="gray">
              <a:xfrm>
                <a:off x="3942427" y="841716"/>
                <a:ext cx="2164012" cy="403951"/>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5" name="TextBox 9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6</a:t>
                </a:r>
              </a:p>
            </p:txBody>
          </p:sp>
        </p:grpSp>
      </p:grpSp>
      <p:sp>
        <p:nvSpPr>
          <p:cNvPr id="3" name="Title 2">
            <a:extLst>
              <a:ext uri="{FF2B5EF4-FFF2-40B4-BE49-F238E27FC236}">
                <a16:creationId xmlns:a16="http://schemas.microsoft.com/office/drawing/2014/main" id="{EEAA250B-A54C-A946-91CE-1FCEFCB36B02}"/>
              </a:ext>
            </a:extLst>
          </p:cNvPr>
          <p:cNvSpPr>
            <a:spLocks noGrp="1"/>
          </p:cNvSpPr>
          <p:nvPr>
            <p:ph type="title"/>
          </p:nvPr>
        </p:nvSpPr>
        <p:spPr/>
        <p:txBody>
          <a:bodyPr/>
          <a:lstStyle/>
          <a:p>
            <a:r>
              <a:rPr lang="en-US" dirty="0"/>
              <a:t>Circular network numbered</a:t>
            </a:r>
          </a:p>
        </p:txBody>
      </p:sp>
      <p:sp>
        <p:nvSpPr>
          <p:cNvPr id="27" name="Star: 5 Points 26">
            <a:extLst>
              <a:ext uri="{FF2B5EF4-FFF2-40B4-BE49-F238E27FC236}">
                <a16:creationId xmlns:a16="http://schemas.microsoft.com/office/drawing/2014/main" id="{629A6D64-395E-41A1-896B-1EA804B3E018}"/>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144661641"/>
      </p:ext>
    </p:extLst>
  </p:cSld>
  <p:clrMapOvr>
    <a:masterClrMapping/>
  </p:clrMapOvr>
  <p:transition>
    <p:fade/>
  </p:transition>
</p:sld>
</file>

<file path=ppt/slides/slide2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9" name="Straight Connector 8"/>
          <p:cNvCxnSpPr/>
          <p:nvPr/>
        </p:nvCxnSpPr>
        <p:spPr>
          <a:xfrm>
            <a:off x="6096000" y="3136572"/>
            <a:ext cx="0" cy="7543799"/>
          </a:xfrm>
          <a:prstGeom prst="line">
            <a:avLst/>
          </a:prstGeom>
          <a:ln w="19050">
            <a:noFill/>
          </a:ln>
        </p:spPr>
        <p:style>
          <a:lnRef idx="1">
            <a:schemeClr val="dk1"/>
          </a:lnRef>
          <a:fillRef idx="0">
            <a:schemeClr val="dk1"/>
          </a:fillRef>
          <a:effectRef idx="0">
            <a:schemeClr val="dk1"/>
          </a:effectRef>
          <a:fontRef idx="minor">
            <a:schemeClr val="tx1"/>
          </a:fontRef>
        </p:style>
      </p:cxnSp>
      <p:grpSp>
        <p:nvGrpSpPr>
          <p:cNvPr id="19" name="Group 18"/>
          <p:cNvGrpSpPr/>
          <p:nvPr/>
        </p:nvGrpSpPr>
        <p:grpSpPr>
          <a:xfrm>
            <a:off x="2482367" y="982450"/>
            <a:ext cx="7847431" cy="5435880"/>
            <a:chOff x="958366" y="982450"/>
            <a:chExt cx="7847431" cy="5435880"/>
          </a:xfrm>
        </p:grpSpPr>
        <p:sp>
          <p:nvSpPr>
            <p:cNvPr id="10" name="Oval 9"/>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 name="Rectangle 10"/>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7" name="Rectangle 66"/>
          <p:cNvSpPr/>
          <p:nvPr/>
        </p:nvSpPr>
        <p:spPr>
          <a:xfrm>
            <a:off x="6356745" y="2901658"/>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alibri Light"/>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Open Sans"/>
                <a:ea typeface="+mn-ea"/>
                <a:cs typeface="+mn-cs"/>
              </a:rPr>
              <a:t>Lorem ipsum dolor si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amet</a:t>
            </a:r>
            <a:r>
              <a:rPr kumimoji="0" lang="en-US" sz="1800" b="0" i="0" u="none" strike="noStrike" kern="1200" cap="none" spc="0" normalizeH="0" baseline="0" noProof="0" dirty="0">
                <a:ln>
                  <a:noFill/>
                </a:ln>
                <a:solidFill>
                  <a:prstClr val="white"/>
                </a:solidFill>
                <a:effectLst/>
                <a:uLnTx/>
                <a:uFillTx/>
                <a:latin typeface="Open Sans"/>
                <a:ea typeface="+mn-ea"/>
                <a:cs typeface="+mn-cs"/>
              </a:rPr>
              <a: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consectetur</a:t>
            </a:r>
            <a:r>
              <a:rPr kumimoji="0" lang="en-US" sz="1800" b="0" i="0" u="none" strike="noStrike" kern="1200" cap="none" spc="0" normalizeH="0" baseline="0" noProof="0" dirty="0">
                <a:ln>
                  <a:noFill/>
                </a:ln>
                <a:solidFill>
                  <a:prstClr val="white"/>
                </a:solidFill>
                <a:effectLst/>
                <a:uLnTx/>
                <a:uFillTx/>
                <a:latin typeface="Open Sans"/>
                <a:ea typeface="+mn-ea"/>
                <a:cs typeface="+mn-cs"/>
              </a:rPr>
              <a: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adipiscing</a:t>
            </a:r>
            <a:r>
              <a:rPr kumimoji="0" lang="en-US" sz="1800" b="0" i="0" u="none" strike="noStrike" kern="1200" cap="none" spc="0" normalizeH="0" baseline="0" noProof="0" dirty="0">
                <a:ln>
                  <a:noFill/>
                </a:ln>
                <a:solidFill>
                  <a:prstClr val="white"/>
                </a:solidFill>
                <a:effectLst/>
                <a:uLnTx/>
                <a:uFillTx/>
                <a:latin typeface="Open Sans"/>
                <a:ea typeface="+mn-ea"/>
                <a:cs typeface="+mn-cs"/>
              </a:rPr>
              <a: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elit</a:t>
            </a:r>
            <a:r>
              <a:rPr kumimoji="0" lang="en-US" sz="1800" b="0" i="0" u="none" strike="noStrike" kern="1200" cap="none" spc="0" normalizeH="0" baseline="0" noProof="0" dirty="0">
                <a:ln>
                  <a:noFill/>
                </a:ln>
                <a:solidFill>
                  <a:prstClr val="white"/>
                </a:solidFill>
                <a:effectLst/>
                <a:uLnTx/>
                <a:uFillTx/>
                <a:latin typeface="Open Sans"/>
                <a:ea typeface="+mn-ea"/>
                <a:cs typeface="+mn-cs"/>
              </a:rPr>
              <a:t>, </a:t>
            </a:r>
            <a:r>
              <a:rPr kumimoji="0" lang="en-US" sz="1800" b="0" i="0" u="none" strike="noStrike" kern="1200" cap="none" spc="0" normalizeH="0" baseline="0" noProof="0" dirty="0" err="1">
                <a:ln>
                  <a:noFill/>
                </a:ln>
                <a:solidFill>
                  <a:prstClr val="white"/>
                </a:solidFill>
                <a:effectLst/>
                <a:uLnTx/>
                <a:uFillTx/>
                <a:latin typeface="Open Sans"/>
                <a:ea typeface="+mn-ea"/>
                <a:cs typeface="+mn-cs"/>
              </a:rPr>
              <a:t>sed</a:t>
            </a:r>
            <a:r>
              <a:rPr kumimoji="0" lang="en-US" sz="1800" b="0" i="0" u="none" strike="noStrike" kern="1200" cap="none" spc="0" normalizeH="0" baseline="0" noProof="0" dirty="0">
                <a:ln>
                  <a:noFill/>
                </a:ln>
                <a:solidFill>
                  <a:prstClr val="white"/>
                </a:solidFill>
                <a:effectLst/>
                <a:uLnTx/>
                <a:uFillTx/>
                <a:latin typeface="Open Sans"/>
                <a:ea typeface="+mn-ea"/>
                <a:cs typeface="+mn-cs"/>
              </a:rPr>
              <a:t> do</a:t>
            </a:r>
            <a:endParaRPr kumimoji="0" lang="en-US" sz="2800" b="1" i="0" u="none" strike="noStrike" kern="1200" cap="none" spc="0" normalizeH="0" baseline="0" noProof="0" dirty="0">
              <a:ln>
                <a:noFill/>
              </a:ln>
              <a:solidFill>
                <a:prstClr val="white"/>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15" name="Group 14"/>
          <p:cNvGrpSpPr/>
          <p:nvPr/>
        </p:nvGrpSpPr>
        <p:grpSpPr>
          <a:xfrm>
            <a:off x="4722311" y="766692"/>
            <a:ext cx="2908129" cy="553998"/>
            <a:chOff x="3198310" y="766692"/>
            <a:chExt cx="2908129" cy="553998"/>
          </a:xfrm>
        </p:grpSpPr>
        <p:sp>
          <p:nvSpPr>
            <p:cNvPr id="12" name="Rectangle 11"/>
            <p:cNvSpPr/>
            <p:nvPr/>
          </p:nvSpPr>
          <p:spPr bwMode="gray">
            <a:xfrm>
              <a:off x="3942427" y="841716"/>
              <a:ext cx="2164012" cy="40395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13" name="TextBox 12"/>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1</a:t>
              </a:r>
            </a:p>
          </p:txBody>
        </p:sp>
      </p:grpSp>
      <p:grpSp>
        <p:nvGrpSpPr>
          <p:cNvPr id="73" name="Group 72"/>
          <p:cNvGrpSpPr/>
          <p:nvPr/>
        </p:nvGrpSpPr>
        <p:grpSpPr>
          <a:xfrm>
            <a:off x="2859892" y="1802274"/>
            <a:ext cx="2908129" cy="553998"/>
            <a:chOff x="3198310" y="766692"/>
            <a:chExt cx="2908129" cy="553998"/>
          </a:xfrm>
        </p:grpSpPr>
        <p:sp>
          <p:nvSpPr>
            <p:cNvPr id="74" name="Rectangle 73"/>
            <p:cNvSpPr/>
            <p:nvPr/>
          </p:nvSpPr>
          <p:spPr bwMode="gray">
            <a:xfrm>
              <a:off x="3942427" y="841716"/>
              <a:ext cx="2164012" cy="403951"/>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75" name="TextBox 7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2</a:t>
              </a:r>
            </a:p>
          </p:txBody>
        </p:sp>
      </p:grpSp>
      <p:grpSp>
        <p:nvGrpSpPr>
          <p:cNvPr id="78" name="Group 77"/>
          <p:cNvGrpSpPr/>
          <p:nvPr/>
        </p:nvGrpSpPr>
        <p:grpSpPr>
          <a:xfrm>
            <a:off x="2319409" y="2837856"/>
            <a:ext cx="2908129" cy="553998"/>
            <a:chOff x="3198310" y="766692"/>
            <a:chExt cx="2908129" cy="553998"/>
          </a:xfrm>
        </p:grpSpPr>
        <p:sp>
          <p:nvSpPr>
            <p:cNvPr id="79" name="Rectangle 78"/>
            <p:cNvSpPr/>
            <p:nvPr/>
          </p:nvSpPr>
          <p:spPr bwMode="gray">
            <a:xfrm>
              <a:off x="3942427" y="841716"/>
              <a:ext cx="2164012" cy="403951"/>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0" name="TextBox 7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3</a:t>
              </a:r>
            </a:p>
          </p:txBody>
        </p:sp>
      </p:grpSp>
      <p:grpSp>
        <p:nvGrpSpPr>
          <p:cNvPr id="83" name="Group 82"/>
          <p:cNvGrpSpPr/>
          <p:nvPr/>
        </p:nvGrpSpPr>
        <p:grpSpPr>
          <a:xfrm>
            <a:off x="2279516" y="3873438"/>
            <a:ext cx="2908129" cy="553998"/>
            <a:chOff x="3198310" y="766692"/>
            <a:chExt cx="2908129" cy="553998"/>
          </a:xfrm>
        </p:grpSpPr>
        <p:sp>
          <p:nvSpPr>
            <p:cNvPr id="84" name="Rectangle 83"/>
            <p:cNvSpPr/>
            <p:nvPr/>
          </p:nvSpPr>
          <p:spPr bwMode="gray">
            <a:xfrm>
              <a:off x="3942427" y="841716"/>
              <a:ext cx="2164012" cy="403951"/>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5" name="TextBox 8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4</a:t>
              </a:r>
            </a:p>
          </p:txBody>
        </p:sp>
      </p:grpSp>
      <p:grpSp>
        <p:nvGrpSpPr>
          <p:cNvPr id="88" name="Group 87"/>
          <p:cNvGrpSpPr/>
          <p:nvPr/>
        </p:nvGrpSpPr>
        <p:grpSpPr>
          <a:xfrm>
            <a:off x="2854867" y="4909020"/>
            <a:ext cx="2908129" cy="553998"/>
            <a:chOff x="3198310" y="766692"/>
            <a:chExt cx="2908129" cy="553998"/>
          </a:xfrm>
        </p:grpSpPr>
        <p:sp>
          <p:nvSpPr>
            <p:cNvPr id="89" name="Rectangle 88"/>
            <p:cNvSpPr/>
            <p:nvPr/>
          </p:nvSpPr>
          <p:spPr bwMode="gray">
            <a:xfrm>
              <a:off x="3942427" y="841716"/>
              <a:ext cx="2164012" cy="403951"/>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0" name="TextBox 8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5</a:t>
              </a:r>
            </a:p>
          </p:txBody>
        </p:sp>
      </p:grpSp>
      <p:grpSp>
        <p:nvGrpSpPr>
          <p:cNvPr id="93" name="Group 92"/>
          <p:cNvGrpSpPr/>
          <p:nvPr/>
        </p:nvGrpSpPr>
        <p:grpSpPr>
          <a:xfrm>
            <a:off x="4724401" y="5944601"/>
            <a:ext cx="2908129" cy="553998"/>
            <a:chOff x="3198310" y="766692"/>
            <a:chExt cx="2908129" cy="553998"/>
          </a:xfrm>
        </p:grpSpPr>
        <p:sp>
          <p:nvSpPr>
            <p:cNvPr id="94" name="Rectangle 93"/>
            <p:cNvSpPr/>
            <p:nvPr/>
          </p:nvSpPr>
          <p:spPr bwMode="gray">
            <a:xfrm>
              <a:off x="3942427" y="841716"/>
              <a:ext cx="2164012" cy="403951"/>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5" name="TextBox 9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06</a:t>
              </a:r>
            </a:p>
          </p:txBody>
        </p:sp>
      </p:grpSp>
      <p:sp>
        <p:nvSpPr>
          <p:cNvPr id="7" name="Title 6">
            <a:extLst>
              <a:ext uri="{FF2B5EF4-FFF2-40B4-BE49-F238E27FC236}">
                <a16:creationId xmlns:a16="http://schemas.microsoft.com/office/drawing/2014/main" id="{F67D2192-777B-9743-B5F6-01BFE77BB7EA}"/>
              </a:ext>
            </a:extLst>
          </p:cNvPr>
          <p:cNvSpPr>
            <a:spLocks noGrp="1"/>
          </p:cNvSpPr>
          <p:nvPr>
            <p:ph type="title"/>
          </p:nvPr>
        </p:nvSpPr>
        <p:spPr/>
        <p:txBody>
          <a:bodyPr/>
          <a:lstStyle/>
          <a:p>
            <a:r>
              <a:rPr lang="en-US" dirty="0"/>
              <a:t>Circular network numbered</a:t>
            </a:r>
          </a:p>
        </p:txBody>
      </p:sp>
      <p:sp>
        <p:nvSpPr>
          <p:cNvPr id="26" name="Star: 5 Points 25">
            <a:extLst>
              <a:ext uri="{FF2B5EF4-FFF2-40B4-BE49-F238E27FC236}">
                <a16:creationId xmlns:a16="http://schemas.microsoft.com/office/drawing/2014/main" id="{DAA4A16E-21CF-45B0-8B3E-83687259CFE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4246585081"/>
      </p:ext>
    </p:extLst>
  </p:cSld>
  <p:clrMapOvr>
    <a:masterClrMapping/>
  </p:clrMapOvr>
  <p:transition>
    <p:fade/>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a:off x="6096000" y="3136572"/>
            <a:ext cx="0" cy="7543799"/>
          </a:xfrm>
          <a:prstGeom prst="line">
            <a:avLst/>
          </a:prstGeom>
          <a:ln w="19050">
            <a:noFill/>
          </a:ln>
        </p:spPr>
        <p:style>
          <a:lnRef idx="1">
            <a:schemeClr val="dk1"/>
          </a:lnRef>
          <a:fillRef idx="0">
            <a:schemeClr val="dk1"/>
          </a:fillRef>
          <a:effectRef idx="0">
            <a:schemeClr val="dk1"/>
          </a:effectRef>
          <a:fontRef idx="minor">
            <a:schemeClr val="tx1"/>
          </a:fontRef>
        </p:style>
      </p:cxnSp>
      <p:sp>
        <p:nvSpPr>
          <p:cNvPr id="67" name="Rectangle 66"/>
          <p:cNvSpPr/>
          <p:nvPr/>
        </p:nvSpPr>
        <p:spPr>
          <a:xfrm>
            <a:off x="6356745" y="2901658"/>
            <a:ext cx="3061164"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Light"/>
                <a:ea typeface="+mn-ea"/>
                <a:cs typeface="+mn-cs"/>
              </a:rPr>
              <a:t>Lorem ips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Lorem ipsum dolor si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amet</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consectetur</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adipiscing</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elit</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r>
              <a:rPr kumimoji="0" lang="en-US" sz="1800" b="0" i="0" u="none" strike="noStrike" kern="1200" cap="none" spc="0" normalizeH="0" baseline="0" noProof="0" dirty="0" err="1">
                <a:ln>
                  <a:noFill/>
                </a:ln>
                <a:solidFill>
                  <a:srgbClr val="000000"/>
                </a:solidFill>
                <a:effectLst/>
                <a:uLnTx/>
                <a:uFillTx/>
                <a:latin typeface="Open Sans"/>
                <a:ea typeface="+mn-ea"/>
                <a:cs typeface="+mn-cs"/>
              </a:rPr>
              <a:t>sed</a:t>
            </a:r>
            <a:r>
              <a:rPr kumimoji="0" lang="en-US" sz="1800" b="0" i="0" u="none" strike="noStrike" kern="1200" cap="none" spc="0" normalizeH="0" baseline="0" noProof="0" dirty="0">
                <a:ln>
                  <a:noFill/>
                </a:ln>
                <a:solidFill>
                  <a:srgbClr val="000000"/>
                </a:solidFill>
                <a:effectLst/>
                <a:uLnTx/>
                <a:uFillTx/>
                <a:latin typeface="Open Sans"/>
                <a:ea typeface="+mn-ea"/>
                <a:cs typeface="+mn-cs"/>
              </a:rPr>
              <a:t> do</a:t>
            </a:r>
            <a:endParaRPr kumimoji="0" lang="en-US" sz="2800" b="1" i="0" u="none" strike="noStrike" kern="1200" cap="none" spc="0" normalizeH="0" baseline="0" noProof="0" dirty="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73" name="Group 72"/>
          <p:cNvGrpSpPr/>
          <p:nvPr/>
        </p:nvGrpSpPr>
        <p:grpSpPr>
          <a:xfrm>
            <a:off x="3776215" y="1802274"/>
            <a:ext cx="2908129" cy="553998"/>
            <a:chOff x="3198310" y="766692"/>
            <a:chExt cx="2908129" cy="553998"/>
          </a:xfrm>
        </p:grpSpPr>
        <p:sp>
          <p:nvSpPr>
            <p:cNvPr id="74" name="Rectangle 73"/>
            <p:cNvSpPr/>
            <p:nvPr/>
          </p:nvSpPr>
          <p:spPr bwMode="gray">
            <a:xfrm>
              <a:off x="3942427" y="841716"/>
              <a:ext cx="2164012" cy="403951"/>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75" name="TextBox 7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2</a:t>
              </a:r>
            </a:p>
          </p:txBody>
        </p:sp>
      </p:grpSp>
      <p:grpSp>
        <p:nvGrpSpPr>
          <p:cNvPr id="78" name="Group 77"/>
          <p:cNvGrpSpPr/>
          <p:nvPr/>
        </p:nvGrpSpPr>
        <p:grpSpPr>
          <a:xfrm>
            <a:off x="2767659" y="2837856"/>
            <a:ext cx="2908129" cy="553998"/>
            <a:chOff x="3198310" y="766692"/>
            <a:chExt cx="2908129" cy="553998"/>
          </a:xfrm>
        </p:grpSpPr>
        <p:sp>
          <p:nvSpPr>
            <p:cNvPr id="79" name="Rectangle 78"/>
            <p:cNvSpPr/>
            <p:nvPr/>
          </p:nvSpPr>
          <p:spPr bwMode="gray">
            <a:xfrm>
              <a:off x="3942427" y="841716"/>
              <a:ext cx="2164012" cy="403951"/>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0" name="TextBox 7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3</a:t>
              </a:r>
            </a:p>
          </p:txBody>
        </p:sp>
      </p:grpSp>
      <p:grpSp>
        <p:nvGrpSpPr>
          <p:cNvPr id="83" name="Group 82"/>
          <p:cNvGrpSpPr/>
          <p:nvPr/>
        </p:nvGrpSpPr>
        <p:grpSpPr>
          <a:xfrm>
            <a:off x="2767585" y="3873438"/>
            <a:ext cx="2908129" cy="553998"/>
            <a:chOff x="3198310" y="766692"/>
            <a:chExt cx="2908129" cy="553998"/>
          </a:xfrm>
        </p:grpSpPr>
        <p:sp>
          <p:nvSpPr>
            <p:cNvPr id="84" name="Rectangle 83"/>
            <p:cNvSpPr/>
            <p:nvPr/>
          </p:nvSpPr>
          <p:spPr bwMode="gray">
            <a:xfrm>
              <a:off x="3942427" y="841716"/>
              <a:ext cx="2164012" cy="403951"/>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85" name="TextBox 8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4</a:t>
              </a:r>
            </a:p>
          </p:txBody>
        </p:sp>
      </p:grpSp>
      <p:grpSp>
        <p:nvGrpSpPr>
          <p:cNvPr id="88" name="Group 87"/>
          <p:cNvGrpSpPr/>
          <p:nvPr/>
        </p:nvGrpSpPr>
        <p:grpSpPr>
          <a:xfrm>
            <a:off x="3773425" y="4909020"/>
            <a:ext cx="2908129" cy="553998"/>
            <a:chOff x="3198310" y="766692"/>
            <a:chExt cx="2908129" cy="553998"/>
          </a:xfrm>
        </p:grpSpPr>
        <p:sp>
          <p:nvSpPr>
            <p:cNvPr id="89" name="Rectangle 88"/>
            <p:cNvSpPr/>
            <p:nvPr/>
          </p:nvSpPr>
          <p:spPr bwMode="gray">
            <a:xfrm>
              <a:off x="3942427" y="841716"/>
              <a:ext cx="2164012" cy="403951"/>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0" name="TextBox 89"/>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5</a:t>
              </a:r>
            </a:p>
          </p:txBody>
        </p:sp>
      </p:grpSp>
      <p:grpSp>
        <p:nvGrpSpPr>
          <p:cNvPr id="93" name="Group 92"/>
          <p:cNvGrpSpPr/>
          <p:nvPr/>
        </p:nvGrpSpPr>
        <p:grpSpPr>
          <a:xfrm>
            <a:off x="4724401" y="5944601"/>
            <a:ext cx="2908129" cy="553998"/>
            <a:chOff x="3198310" y="766692"/>
            <a:chExt cx="2908129" cy="553998"/>
          </a:xfrm>
        </p:grpSpPr>
        <p:sp>
          <p:nvSpPr>
            <p:cNvPr id="94" name="Rectangle 93"/>
            <p:cNvSpPr/>
            <p:nvPr/>
          </p:nvSpPr>
          <p:spPr bwMode="gray">
            <a:xfrm>
              <a:off x="3942427" y="841716"/>
              <a:ext cx="2164012" cy="403951"/>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95" name="TextBox 94"/>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6</a:t>
              </a:r>
            </a:p>
          </p:txBody>
        </p:sp>
      </p:grpSp>
      <p:sp>
        <p:nvSpPr>
          <p:cNvPr id="2" name="Title 1">
            <a:extLst>
              <a:ext uri="{FF2B5EF4-FFF2-40B4-BE49-F238E27FC236}">
                <a16:creationId xmlns:a16="http://schemas.microsoft.com/office/drawing/2014/main" id="{1CC0984E-8B54-0440-AF8C-79008257C9EB}"/>
              </a:ext>
            </a:extLst>
          </p:cNvPr>
          <p:cNvSpPr>
            <a:spLocks noGrp="1"/>
          </p:cNvSpPr>
          <p:nvPr>
            <p:ph type="title"/>
          </p:nvPr>
        </p:nvSpPr>
        <p:spPr/>
        <p:txBody>
          <a:bodyPr/>
          <a:lstStyle/>
          <a:p>
            <a:r>
              <a:rPr lang="en-US" dirty="0"/>
              <a:t>Square network numbered</a:t>
            </a:r>
          </a:p>
        </p:txBody>
      </p:sp>
      <p:sp>
        <p:nvSpPr>
          <p:cNvPr id="98" name="Footer Placeholder 4"/>
          <p:cNvSpPr>
            <a:spLocks noGrp="1"/>
          </p:cNvSpPr>
          <p:nvPr>
            <p:ph type="ftr" sz="quarter" idx="3"/>
          </p:nvPr>
        </p:nvSpPr>
        <p:spPr>
          <a:xfrm>
            <a:off x="0" y="6407150"/>
            <a:ext cx="7559675" cy="252413"/>
          </a:xfrm>
          <a:prstGeom prst="rect">
            <a:avLst/>
          </a:prstGeom>
        </p:spPr>
        <p:txBody>
          <a:bodyPr vert="horz" lIns="0" tIns="0" rIns="0" bIns="0" rtlCol="0" anchor="ctr" anchorCtr="0"/>
          <a:lstStyle>
            <a:defPPr>
              <a:defRPr lang="en-US"/>
            </a:defPPr>
            <a:lvl1pPr marL="0" algn="l" defTabSz="914400" rtl="0" eaLnBrk="1" latinLnBrk="0" hangingPunct="1">
              <a:defRPr sz="800" b="0" kern="1200">
                <a:solidFill>
                  <a:srgbClr val="8C8C8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8C8C8C"/>
                </a:solidFill>
                <a:effectLst/>
                <a:uLnTx/>
                <a:uFillTx/>
                <a:latin typeface="Calibri Light"/>
                <a:ea typeface="+mn-ea"/>
                <a:cs typeface="+mn-cs"/>
              </a:rPr>
              <a:t>© 2019  </a:t>
            </a:r>
            <a:r>
              <a:rPr kumimoji="0" lang="en-GB" sz="800" b="0" i="0" u="none" strike="noStrike" kern="1200" cap="none" spc="0" normalizeH="0" baseline="0" noProof="0" dirty="0" err="1">
                <a:ln>
                  <a:noFill/>
                </a:ln>
                <a:solidFill>
                  <a:srgbClr val="8C8C8C"/>
                </a:solidFill>
                <a:effectLst/>
                <a:uLnTx/>
                <a:uFillTx/>
                <a:latin typeface="Calibri Light"/>
                <a:ea typeface="+mn-ea"/>
                <a:cs typeface="+mn-cs"/>
              </a:rPr>
              <a:t>Hungay</a:t>
            </a:r>
            <a:endParaRPr kumimoji="0" lang="en-GB" sz="800" b="0" i="0" u="none" strike="noStrike" kern="1200" cap="none" spc="0" normalizeH="0" baseline="0" noProof="0" dirty="0">
              <a:ln>
                <a:noFill/>
              </a:ln>
              <a:solidFill>
                <a:srgbClr val="8C8C8C"/>
              </a:solidFill>
              <a:effectLst/>
              <a:uLnTx/>
              <a:uFillTx/>
              <a:latin typeface="Calibri Light"/>
              <a:ea typeface="+mn-ea"/>
              <a:cs typeface="+mn-cs"/>
            </a:endParaRPr>
          </a:p>
        </p:txBody>
      </p:sp>
      <p:grpSp>
        <p:nvGrpSpPr>
          <p:cNvPr id="32" name="Group 31"/>
          <p:cNvGrpSpPr/>
          <p:nvPr/>
        </p:nvGrpSpPr>
        <p:grpSpPr>
          <a:xfrm>
            <a:off x="7617314" y="1043692"/>
            <a:ext cx="2527389" cy="5208857"/>
            <a:chOff x="6093313" y="1043691"/>
            <a:chExt cx="2527389" cy="5208857"/>
          </a:xfrm>
        </p:grpSpPr>
        <p:cxnSp>
          <p:nvCxnSpPr>
            <p:cNvPr id="7" name="Straight Connector 6"/>
            <p:cNvCxnSpPr/>
            <p:nvPr/>
          </p:nvCxnSpPr>
          <p:spPr>
            <a:xfrm>
              <a:off x="6106439" y="6241313"/>
              <a:ext cx="2514263" cy="0"/>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46" name="Straight Connector 45"/>
            <p:cNvCxnSpPr/>
            <p:nvPr/>
          </p:nvCxnSpPr>
          <p:spPr>
            <a:xfrm>
              <a:off x="6093313" y="1056879"/>
              <a:ext cx="2527389" cy="0"/>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16" name="Straight Connector 15"/>
            <p:cNvCxnSpPr/>
            <p:nvPr/>
          </p:nvCxnSpPr>
          <p:spPr>
            <a:xfrm>
              <a:off x="8620702" y="1043691"/>
              <a:ext cx="0" cy="5208857"/>
            </a:xfrm>
            <a:prstGeom prst="line">
              <a:avLst/>
            </a:prstGeom>
            <a:ln>
              <a:headEnd/>
              <a:tailEnd/>
            </a:ln>
          </p:spPr>
          <p:style>
            <a:lnRef idx="2">
              <a:schemeClr val="dk1"/>
            </a:lnRef>
            <a:fillRef idx="1">
              <a:schemeClr val="lt1"/>
            </a:fillRef>
            <a:effectRef idx="0">
              <a:schemeClr val="dk1"/>
            </a:effectRef>
            <a:fontRef idx="minor">
              <a:schemeClr val="dk1"/>
            </a:fontRef>
          </p:style>
        </p:cxnSp>
      </p:grpSp>
      <p:grpSp>
        <p:nvGrpSpPr>
          <p:cNvPr id="15" name="Group 14"/>
          <p:cNvGrpSpPr/>
          <p:nvPr/>
        </p:nvGrpSpPr>
        <p:grpSpPr>
          <a:xfrm>
            <a:off x="4722311" y="766692"/>
            <a:ext cx="2908129" cy="553998"/>
            <a:chOff x="3198310" y="766692"/>
            <a:chExt cx="2908129" cy="553998"/>
          </a:xfrm>
        </p:grpSpPr>
        <p:sp>
          <p:nvSpPr>
            <p:cNvPr id="12" name="Rectangle 11"/>
            <p:cNvSpPr/>
            <p:nvPr/>
          </p:nvSpPr>
          <p:spPr bwMode="gray">
            <a:xfrm>
              <a:off x="3942427" y="841716"/>
              <a:ext cx="2164012" cy="40395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Lorem ipsum</a:t>
              </a:r>
            </a:p>
          </p:txBody>
        </p:sp>
        <p:sp>
          <p:nvSpPr>
            <p:cNvPr id="13" name="TextBox 12"/>
            <p:cNvSpPr txBox="1"/>
            <p:nvPr/>
          </p:nvSpPr>
          <p:spPr>
            <a:xfrm>
              <a:off x="3198310" y="766692"/>
              <a:ext cx="80584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3600" b="0" i="0" u="none" strike="noStrike" kern="1200" cap="none" spc="0" normalizeH="0" baseline="0" noProof="0" dirty="0">
                  <a:ln>
                    <a:noFill/>
                  </a:ln>
                  <a:solidFill>
                    <a:srgbClr val="313131"/>
                  </a:solidFill>
                  <a:effectLst/>
                  <a:uLnTx/>
                  <a:uFillTx/>
                  <a:latin typeface="Calibri Light"/>
                  <a:ea typeface="+mn-ea"/>
                  <a:cs typeface="+mn-cs"/>
                </a:rPr>
                <a:t>01</a:t>
              </a:r>
            </a:p>
          </p:txBody>
        </p:sp>
      </p:grpSp>
      <p:sp>
        <p:nvSpPr>
          <p:cNvPr id="28" name="Star: 5 Points 27">
            <a:extLst>
              <a:ext uri="{FF2B5EF4-FFF2-40B4-BE49-F238E27FC236}">
                <a16:creationId xmlns:a16="http://schemas.microsoft.com/office/drawing/2014/main" id="{36AF060F-453C-4662-8FFE-D04115837150}"/>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300226402"/>
      </p:ext>
    </p:extLst>
  </p:cSld>
  <p:clrMapOvr>
    <a:masterClrMapping/>
  </p:clrMapOvr>
  <p:transition>
    <p:fade/>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CF553C54-980C-D24C-9D6E-1C1408361D0A}"/>
              </a:ext>
            </a:extLst>
          </p:cNvPr>
          <p:cNvSpPr>
            <a:spLocks noGrp="1"/>
          </p:cNvSpPr>
          <p:nvPr>
            <p:ph type="title"/>
          </p:nvPr>
        </p:nvSpPr>
        <p:spPr/>
        <p:txBody>
          <a:bodyPr/>
          <a:lstStyle/>
          <a:p>
            <a:r>
              <a:rPr lang="en-US" dirty="0"/>
              <a:t>Gameboard</a:t>
            </a:r>
          </a:p>
        </p:txBody>
      </p:sp>
      <p:grpSp>
        <p:nvGrpSpPr>
          <p:cNvPr id="4" name="Group 3"/>
          <p:cNvGrpSpPr/>
          <p:nvPr/>
        </p:nvGrpSpPr>
        <p:grpSpPr>
          <a:xfrm>
            <a:off x="1524000" y="1287390"/>
            <a:ext cx="9144000" cy="4805258"/>
            <a:chOff x="0" y="1287390"/>
            <a:chExt cx="9144000" cy="4805258"/>
          </a:xfrm>
        </p:grpSpPr>
        <p:sp>
          <p:nvSpPr>
            <p:cNvPr id="5" name="Block Arc 4"/>
            <p:cNvSpPr/>
            <p:nvPr/>
          </p:nvSpPr>
          <p:spPr bwMode="gray">
            <a:xfrm>
              <a:off x="2490710" y="1371211"/>
              <a:ext cx="1558678" cy="1558679"/>
            </a:xfrm>
            <a:prstGeom prst="blockArc">
              <a:avLst>
                <a:gd name="adj1" fmla="val 10823994"/>
                <a:gd name="adj2" fmla="val 5529932"/>
                <a:gd name="adj3" fmla="val 1408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 name="Rounded Rectangle 5"/>
            <p:cNvSpPr/>
            <p:nvPr/>
          </p:nvSpPr>
          <p:spPr bwMode="gray">
            <a:xfrm>
              <a:off x="3303118" y="1764027"/>
              <a:ext cx="2784482" cy="773047"/>
            </a:xfrm>
            <a:prstGeom prst="roundRect">
              <a:avLst>
                <a:gd name="adj" fmla="val 50000"/>
              </a:avLst>
            </a:prstGeom>
            <a:solidFill>
              <a:schemeClr val="bg1">
                <a:lumMod val="95000"/>
              </a:schemeClr>
            </a:solidFill>
            <a:ln w="9525" algn="ctr">
              <a:solidFill>
                <a:schemeClr val="accent1"/>
              </a:solidFill>
              <a:miter lim="800000"/>
              <a:headEnd/>
              <a:tailEnd/>
            </a:ln>
          </p:spPr>
          <p:txBody>
            <a:bodyPr wrap="square" lIns="457200" tIns="88900" rIns="88900" bIns="88900" rtlCol="0" anchor="ctr"/>
            <a:lstStyle/>
            <a:p>
              <a:r>
                <a:rPr lang="en-US" sz="1200" b="1" dirty="0">
                  <a:cs typeface="Times New Roman" pitchFamily="18" charset="0"/>
                </a:rPr>
                <a:t>Insert text here</a:t>
              </a:r>
            </a:p>
            <a:p>
              <a:r>
                <a:rPr lang="en-US" sz="1200" dirty="0"/>
                <a:t>This is dummy text</a:t>
              </a:r>
            </a:p>
          </p:txBody>
        </p:sp>
        <p:sp>
          <p:nvSpPr>
            <p:cNvPr id="7" name="Oval 6"/>
            <p:cNvSpPr/>
            <p:nvPr/>
          </p:nvSpPr>
          <p:spPr bwMode="gray">
            <a:xfrm>
              <a:off x="2708208" y="1588710"/>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Oval 7"/>
            <p:cNvSpPr/>
            <p:nvPr/>
          </p:nvSpPr>
          <p:spPr bwMode="gray">
            <a:xfrm>
              <a:off x="2870125" y="1750626"/>
              <a:ext cx="799848" cy="799848"/>
            </a:xfrm>
            <a:prstGeom prst="ellipse">
              <a:avLst/>
            </a:prstGeom>
            <a:solidFill>
              <a:schemeClr val="accent1">
                <a:lumMod val="20000"/>
                <a:lumOff val="80000"/>
              </a:schemeClr>
            </a:solidFill>
            <a:ln w="9525" algn="ctr">
              <a:solidFill>
                <a:schemeClr val="accent1"/>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dirty="0">
                  <a:ln>
                    <a:noFill/>
                  </a:ln>
                  <a:solidFill>
                    <a:prstClr val="black"/>
                  </a:solidFill>
                  <a:effectLst/>
                  <a:uLnTx/>
                  <a:uFillTx/>
                  <a:latin typeface="Calibri Light"/>
                  <a:ea typeface="+mn-ea"/>
                  <a:cs typeface="+mn-cs"/>
                </a:rPr>
                <a:t>01</a:t>
              </a:r>
            </a:p>
          </p:txBody>
        </p:sp>
        <p:sp>
          <p:nvSpPr>
            <p:cNvPr id="9" name="Block Arc 8"/>
            <p:cNvSpPr/>
            <p:nvPr/>
          </p:nvSpPr>
          <p:spPr bwMode="gray">
            <a:xfrm>
              <a:off x="2490710" y="2715184"/>
              <a:ext cx="1558679" cy="1558679"/>
            </a:xfrm>
            <a:prstGeom prst="blockArc">
              <a:avLst>
                <a:gd name="adj1" fmla="val 10296"/>
                <a:gd name="adj2" fmla="val 16171692"/>
                <a:gd name="adj3" fmla="val 13840"/>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0" name="Rounded Rectangle 9"/>
            <p:cNvSpPr/>
            <p:nvPr/>
          </p:nvSpPr>
          <p:spPr bwMode="gray">
            <a:xfrm>
              <a:off x="392724" y="3108000"/>
              <a:ext cx="2784482" cy="773047"/>
            </a:xfrm>
            <a:prstGeom prst="roundRect">
              <a:avLst>
                <a:gd name="adj" fmla="val 50000"/>
              </a:avLst>
            </a:prstGeom>
            <a:solidFill>
              <a:schemeClr val="bg1">
                <a:lumMod val="95000"/>
              </a:schemeClr>
            </a:solidFill>
            <a:ln w="9525" algn="ctr">
              <a:solidFill>
                <a:srgbClr val="00A3E0"/>
              </a:solidFill>
              <a:miter lim="800000"/>
              <a:headEnd/>
              <a:tailEnd/>
            </a:ln>
          </p:spPr>
          <p:txBody>
            <a:bodyPr wrap="square" lIns="91440" tIns="88900" rIns="274320" bIns="88900" rtlCol="0" anchor="ctr"/>
            <a:lstStyle/>
            <a:p>
              <a:r>
                <a:rPr lang="en-US" sz="1200" b="1" dirty="0">
                  <a:cs typeface="Times New Roman" pitchFamily="18" charset="0"/>
                </a:rPr>
                <a:t>Insert text here</a:t>
              </a:r>
            </a:p>
            <a:p>
              <a:r>
                <a:rPr lang="en-US" sz="1200" dirty="0"/>
                <a:t>This is dummy text</a:t>
              </a:r>
            </a:p>
          </p:txBody>
        </p:sp>
        <p:sp>
          <p:nvSpPr>
            <p:cNvPr id="11" name="Oval 10"/>
            <p:cNvSpPr/>
            <p:nvPr/>
          </p:nvSpPr>
          <p:spPr bwMode="gray">
            <a:xfrm>
              <a:off x="2708209" y="2932683"/>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Oval 11"/>
            <p:cNvSpPr/>
            <p:nvPr/>
          </p:nvSpPr>
          <p:spPr bwMode="gray">
            <a:xfrm>
              <a:off x="2870125" y="3094599"/>
              <a:ext cx="799848" cy="799848"/>
            </a:xfrm>
            <a:prstGeom prst="ellipse">
              <a:avLst/>
            </a:prstGeom>
            <a:solidFill>
              <a:schemeClr val="accent6">
                <a:lumMod val="20000"/>
                <a:lumOff val="80000"/>
              </a:schemeClr>
            </a:solidFill>
            <a:ln w="9525" algn="ctr">
              <a:solidFill>
                <a:srgbClr val="00A3E0"/>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dirty="0">
                  <a:ln>
                    <a:noFill/>
                  </a:ln>
                  <a:solidFill>
                    <a:prstClr val="black"/>
                  </a:solidFill>
                  <a:effectLst/>
                  <a:uLnTx/>
                  <a:uFillTx/>
                  <a:latin typeface="Calibri Light"/>
                  <a:ea typeface="+mn-ea"/>
                  <a:cs typeface="+mn-cs"/>
                </a:rPr>
                <a:t>02</a:t>
              </a:r>
            </a:p>
          </p:txBody>
        </p:sp>
        <p:sp>
          <p:nvSpPr>
            <p:cNvPr id="13" name="Block Arc 12"/>
            <p:cNvSpPr/>
            <p:nvPr/>
          </p:nvSpPr>
          <p:spPr bwMode="gray">
            <a:xfrm>
              <a:off x="3831456" y="2723442"/>
              <a:ext cx="1558678" cy="1558679"/>
            </a:xfrm>
            <a:prstGeom prst="blockArc">
              <a:avLst>
                <a:gd name="adj1" fmla="val 10823994"/>
                <a:gd name="adj2" fmla="val 5529932"/>
                <a:gd name="adj3" fmla="val 14080"/>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4" name="Rounded Rectangle 13"/>
            <p:cNvSpPr/>
            <p:nvPr/>
          </p:nvSpPr>
          <p:spPr bwMode="gray">
            <a:xfrm>
              <a:off x="4643863" y="3116258"/>
              <a:ext cx="2784482" cy="773047"/>
            </a:xfrm>
            <a:prstGeom prst="roundRect">
              <a:avLst>
                <a:gd name="adj" fmla="val 50000"/>
              </a:avLst>
            </a:prstGeom>
            <a:solidFill>
              <a:schemeClr val="bg1">
                <a:lumMod val="95000"/>
              </a:schemeClr>
            </a:solidFill>
            <a:ln w="9525" algn="ctr">
              <a:solidFill>
                <a:srgbClr val="009A44"/>
              </a:solidFill>
              <a:miter lim="800000"/>
              <a:headEnd/>
              <a:tailEnd/>
            </a:ln>
          </p:spPr>
          <p:txBody>
            <a:bodyPr wrap="square" lIns="457200" tIns="88900" rIns="88900" bIns="88900" rtlCol="0" anchor="ctr"/>
            <a:lstStyle/>
            <a:p>
              <a:pPr lvl="0">
                <a:lnSpc>
                  <a:spcPct val="106000"/>
                </a:lnSpc>
              </a:pPr>
              <a:r>
                <a:rPr lang="en-US" sz="1200" dirty="0"/>
                <a:t>This is dummy text</a:t>
              </a: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5" name="Oval 14"/>
            <p:cNvSpPr/>
            <p:nvPr/>
          </p:nvSpPr>
          <p:spPr bwMode="gray">
            <a:xfrm>
              <a:off x="4048954" y="2940941"/>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Oval 15"/>
            <p:cNvSpPr/>
            <p:nvPr/>
          </p:nvSpPr>
          <p:spPr bwMode="gray">
            <a:xfrm>
              <a:off x="4210871" y="3102857"/>
              <a:ext cx="799848" cy="799848"/>
            </a:xfrm>
            <a:prstGeom prst="ellipse">
              <a:avLst/>
            </a:prstGeom>
            <a:solidFill>
              <a:srgbClr val="DDEFE8"/>
            </a:solidFill>
            <a:ln w="9525" algn="ctr">
              <a:solidFill>
                <a:srgbClr val="009A4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prstClr val="black"/>
                  </a:solidFill>
                  <a:effectLst/>
                  <a:uLnTx/>
                  <a:uFillTx/>
                  <a:latin typeface="Calibri Light"/>
                  <a:ea typeface="+mn-ea"/>
                  <a:cs typeface="+mn-cs"/>
                </a:rPr>
                <a:t>03</a:t>
              </a:r>
            </a:p>
          </p:txBody>
        </p:sp>
        <p:sp>
          <p:nvSpPr>
            <p:cNvPr id="17" name="Block Arc 16"/>
            <p:cNvSpPr/>
            <p:nvPr/>
          </p:nvSpPr>
          <p:spPr bwMode="gray">
            <a:xfrm>
              <a:off x="3830898" y="4064619"/>
              <a:ext cx="1558679" cy="1558679"/>
            </a:xfrm>
            <a:prstGeom prst="blockArc">
              <a:avLst>
                <a:gd name="adj1" fmla="val 10296"/>
                <a:gd name="adj2" fmla="val 16171692"/>
                <a:gd name="adj3" fmla="val 13840"/>
              </a:avLst>
            </a:prstGeom>
            <a:solidFill>
              <a:srgbClr val="01216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8" name="Rounded Rectangle 17"/>
            <p:cNvSpPr/>
            <p:nvPr/>
          </p:nvSpPr>
          <p:spPr bwMode="gray">
            <a:xfrm>
              <a:off x="1732912" y="4457435"/>
              <a:ext cx="2784482" cy="773047"/>
            </a:xfrm>
            <a:prstGeom prst="roundRect">
              <a:avLst>
                <a:gd name="adj" fmla="val 50000"/>
              </a:avLst>
            </a:prstGeom>
            <a:solidFill>
              <a:schemeClr val="bg1">
                <a:lumMod val="95000"/>
              </a:schemeClr>
            </a:solidFill>
            <a:ln w="9525" algn="ctr">
              <a:solidFill>
                <a:srgbClr val="012169"/>
              </a:solidFill>
              <a:miter lim="800000"/>
              <a:headEnd/>
              <a:tailEnd/>
            </a:ln>
          </p:spPr>
          <p:txBody>
            <a:bodyPr wrap="square" lIns="91440" tIns="88900" rIns="365760" bIns="88900" rtlCol="0" anchor="ctr"/>
            <a:lstStyle/>
            <a:p>
              <a:pPr lvl="0">
                <a:lnSpc>
                  <a:spcPct val="106000"/>
                </a:lnSpc>
              </a:pPr>
              <a:r>
                <a:rPr lang="en-US" sz="1200" dirty="0"/>
                <a:t>This is dummy text</a:t>
              </a: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 name="Oval 18"/>
            <p:cNvSpPr/>
            <p:nvPr/>
          </p:nvSpPr>
          <p:spPr bwMode="gray">
            <a:xfrm>
              <a:off x="4048397" y="4282118"/>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20" name="Oval 19"/>
            <p:cNvSpPr/>
            <p:nvPr/>
          </p:nvSpPr>
          <p:spPr bwMode="gray">
            <a:xfrm>
              <a:off x="4210313" y="4444034"/>
              <a:ext cx="799848" cy="799848"/>
            </a:xfrm>
            <a:prstGeom prst="ellipse">
              <a:avLst/>
            </a:prstGeom>
            <a:solidFill>
              <a:srgbClr val="A0DCFF"/>
            </a:solidFill>
            <a:ln w="9525" algn="ctr">
              <a:solidFill>
                <a:srgbClr val="012169"/>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prstClr val="black"/>
                  </a:solidFill>
                  <a:effectLst/>
                  <a:uLnTx/>
                  <a:uFillTx/>
                  <a:latin typeface="Calibri Light"/>
                  <a:ea typeface="+mn-ea"/>
                  <a:cs typeface="+mn-cs"/>
                </a:rPr>
                <a:t>04</a:t>
              </a:r>
            </a:p>
          </p:txBody>
        </p:sp>
        <p:sp>
          <p:nvSpPr>
            <p:cNvPr id="21" name="Block Arc 20"/>
            <p:cNvSpPr/>
            <p:nvPr/>
          </p:nvSpPr>
          <p:spPr bwMode="gray">
            <a:xfrm>
              <a:off x="5170873" y="4084493"/>
              <a:ext cx="1558678" cy="1558679"/>
            </a:xfrm>
            <a:prstGeom prst="blockArc">
              <a:avLst>
                <a:gd name="adj1" fmla="val 10823994"/>
                <a:gd name="adj2" fmla="val 5529932"/>
                <a:gd name="adj3" fmla="val 14080"/>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2" name="Rounded Rectangle 21"/>
            <p:cNvSpPr/>
            <p:nvPr/>
          </p:nvSpPr>
          <p:spPr bwMode="gray">
            <a:xfrm>
              <a:off x="5983281" y="4477309"/>
              <a:ext cx="2784482" cy="773047"/>
            </a:xfrm>
            <a:prstGeom prst="roundRect">
              <a:avLst>
                <a:gd name="adj" fmla="val 50000"/>
              </a:avLst>
            </a:prstGeom>
            <a:solidFill>
              <a:schemeClr val="bg1">
                <a:lumMod val="95000"/>
              </a:schemeClr>
            </a:solidFill>
            <a:ln w="9525" algn="ctr">
              <a:solidFill>
                <a:schemeClr val="accent5"/>
              </a:solidFill>
              <a:miter lim="800000"/>
              <a:headEnd/>
              <a:tailEnd/>
            </a:ln>
          </p:spPr>
          <p:txBody>
            <a:bodyPr wrap="square" lIns="457200" tIns="88900" rIns="88900" bIns="88900" rtlCol="0" anchor="ctr"/>
            <a:lstStyle/>
            <a:p>
              <a:pPr lvl="0">
                <a:lnSpc>
                  <a:spcPct val="106000"/>
                </a:lnSpc>
              </a:pPr>
              <a:r>
                <a:rPr lang="en-US" sz="1200" dirty="0"/>
                <a:t>This is dummy text</a:t>
              </a: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3" name="Oval 22"/>
            <p:cNvSpPr/>
            <p:nvPr/>
          </p:nvSpPr>
          <p:spPr bwMode="gray">
            <a:xfrm>
              <a:off x="5388371" y="4301992"/>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Oval 23"/>
            <p:cNvSpPr/>
            <p:nvPr/>
          </p:nvSpPr>
          <p:spPr bwMode="gray">
            <a:xfrm>
              <a:off x="5550288" y="4463908"/>
              <a:ext cx="799848" cy="799848"/>
            </a:xfrm>
            <a:prstGeom prst="ellipse">
              <a:avLst/>
            </a:prstGeom>
            <a:solidFill>
              <a:srgbClr val="DDEFE8"/>
            </a:solidFill>
            <a:ln w="9525" algn="ctr">
              <a:solidFill>
                <a:schemeClr val="accent5"/>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prstClr val="black"/>
                  </a:solidFill>
                  <a:effectLst/>
                  <a:uLnTx/>
                  <a:uFillTx/>
                  <a:latin typeface="Calibri Light"/>
                  <a:ea typeface="+mn-ea"/>
                  <a:cs typeface="+mn-cs"/>
                </a:rPr>
                <a:t>05</a:t>
              </a:r>
            </a:p>
          </p:txBody>
        </p:sp>
        <p:sp>
          <p:nvSpPr>
            <p:cNvPr id="25" name="Rounded Rectangle 24"/>
            <p:cNvSpPr/>
            <p:nvPr/>
          </p:nvSpPr>
          <p:spPr bwMode="gray">
            <a:xfrm>
              <a:off x="0" y="2262188"/>
              <a:ext cx="2377691" cy="216487"/>
            </a:xfrm>
            <a:prstGeom prst="roundRect">
              <a:avLst>
                <a:gd name="adj" fmla="val 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6" name="Block Arc 25"/>
            <p:cNvSpPr/>
            <p:nvPr/>
          </p:nvSpPr>
          <p:spPr bwMode="gray">
            <a:xfrm>
              <a:off x="2047175" y="1820034"/>
              <a:ext cx="661032" cy="661032"/>
            </a:xfrm>
            <a:prstGeom prst="blockArc">
              <a:avLst>
                <a:gd name="adj1" fmla="val 21381499"/>
                <a:gd name="adj2" fmla="val 5466996"/>
                <a:gd name="adj3" fmla="val 33084"/>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7" name="Rounded Rectangle 26"/>
            <p:cNvSpPr/>
            <p:nvPr/>
          </p:nvSpPr>
          <p:spPr bwMode="gray">
            <a:xfrm>
              <a:off x="5901264" y="5876161"/>
              <a:ext cx="3236912" cy="216487"/>
            </a:xfrm>
            <a:prstGeom prst="roundRect">
              <a:avLst>
                <a:gd name="adj" fmla="val 0"/>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8" name="Block Arc 27"/>
            <p:cNvSpPr/>
            <p:nvPr/>
          </p:nvSpPr>
          <p:spPr bwMode="gray">
            <a:xfrm>
              <a:off x="5566697" y="5425792"/>
              <a:ext cx="661032" cy="661032"/>
            </a:xfrm>
            <a:prstGeom prst="blockArc">
              <a:avLst>
                <a:gd name="adj1" fmla="val 5256614"/>
                <a:gd name="adj2" fmla="val 17132510"/>
                <a:gd name="adj3" fmla="val 32408"/>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9" name="Freeform 28"/>
            <p:cNvSpPr>
              <a:spLocks noEditPoints="1"/>
            </p:cNvSpPr>
            <p:nvPr/>
          </p:nvSpPr>
          <p:spPr bwMode="auto">
            <a:xfrm>
              <a:off x="5291781" y="1317316"/>
              <a:ext cx="316919" cy="269381"/>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Freeform 464"/>
            <p:cNvSpPr>
              <a:spLocks noEditPoints="1"/>
            </p:cNvSpPr>
            <p:nvPr/>
          </p:nvSpPr>
          <p:spPr bwMode="auto">
            <a:xfrm>
              <a:off x="1101055" y="4776414"/>
              <a:ext cx="338511" cy="135087"/>
            </a:xfrm>
            <a:custGeom>
              <a:avLst/>
              <a:gdLst>
                <a:gd name="T0" fmla="*/ 309 w 320"/>
                <a:gd name="T1" fmla="*/ 53 h 128"/>
                <a:gd name="T2" fmla="*/ 127 w 320"/>
                <a:gd name="T3" fmla="*/ 53 h 128"/>
                <a:gd name="T4" fmla="*/ 64 w 320"/>
                <a:gd name="T5" fmla="*/ 0 h 128"/>
                <a:gd name="T6" fmla="*/ 0 w 320"/>
                <a:gd name="T7" fmla="*/ 64 h 128"/>
                <a:gd name="T8" fmla="*/ 64 w 320"/>
                <a:gd name="T9" fmla="*/ 128 h 128"/>
                <a:gd name="T10" fmla="*/ 127 w 320"/>
                <a:gd name="T11" fmla="*/ 74 h 128"/>
                <a:gd name="T12" fmla="*/ 256 w 320"/>
                <a:gd name="T13" fmla="*/ 74 h 128"/>
                <a:gd name="T14" fmla="*/ 256 w 320"/>
                <a:gd name="T15" fmla="*/ 96 h 128"/>
                <a:gd name="T16" fmla="*/ 266 w 320"/>
                <a:gd name="T17" fmla="*/ 106 h 128"/>
                <a:gd name="T18" fmla="*/ 277 w 320"/>
                <a:gd name="T19" fmla="*/ 96 h 128"/>
                <a:gd name="T20" fmla="*/ 277 w 320"/>
                <a:gd name="T21" fmla="*/ 74 h 128"/>
                <a:gd name="T22" fmla="*/ 298 w 320"/>
                <a:gd name="T23" fmla="*/ 74 h 128"/>
                <a:gd name="T24" fmla="*/ 298 w 320"/>
                <a:gd name="T25" fmla="*/ 117 h 128"/>
                <a:gd name="T26" fmla="*/ 309 w 320"/>
                <a:gd name="T27" fmla="*/ 128 h 128"/>
                <a:gd name="T28" fmla="*/ 320 w 320"/>
                <a:gd name="T29" fmla="*/ 117 h 128"/>
                <a:gd name="T30" fmla="*/ 320 w 320"/>
                <a:gd name="T31" fmla="*/ 64 h 128"/>
                <a:gd name="T32" fmla="*/ 309 w 320"/>
                <a:gd name="T33" fmla="*/ 53 h 128"/>
                <a:gd name="T34" fmla="*/ 64 w 320"/>
                <a:gd name="T35" fmla="*/ 106 h 128"/>
                <a:gd name="T36" fmla="*/ 21 w 320"/>
                <a:gd name="T37" fmla="*/ 64 h 128"/>
                <a:gd name="T38" fmla="*/ 64 w 320"/>
                <a:gd name="T39" fmla="*/ 21 h 128"/>
                <a:gd name="T40" fmla="*/ 106 w 320"/>
                <a:gd name="T41" fmla="*/ 64 h 128"/>
                <a:gd name="T42" fmla="*/ 64 w 320"/>
                <a:gd name="T43"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128">
                  <a:moveTo>
                    <a:pt x="309" y="53"/>
                  </a:moveTo>
                  <a:cubicBezTo>
                    <a:pt x="127" y="53"/>
                    <a:pt x="127" y="53"/>
                    <a:pt x="127" y="53"/>
                  </a:cubicBezTo>
                  <a:cubicBezTo>
                    <a:pt x="122" y="23"/>
                    <a:pt x="95" y="0"/>
                    <a:pt x="64" y="0"/>
                  </a:cubicBezTo>
                  <a:cubicBezTo>
                    <a:pt x="28" y="0"/>
                    <a:pt x="0" y="28"/>
                    <a:pt x="0" y="64"/>
                  </a:cubicBezTo>
                  <a:cubicBezTo>
                    <a:pt x="0" y="99"/>
                    <a:pt x="28" y="128"/>
                    <a:pt x="64" y="128"/>
                  </a:cubicBezTo>
                  <a:cubicBezTo>
                    <a:pt x="95" y="128"/>
                    <a:pt x="122" y="105"/>
                    <a:pt x="127" y="74"/>
                  </a:cubicBezTo>
                  <a:cubicBezTo>
                    <a:pt x="256" y="74"/>
                    <a:pt x="256" y="74"/>
                    <a:pt x="256" y="74"/>
                  </a:cubicBezTo>
                  <a:cubicBezTo>
                    <a:pt x="256" y="96"/>
                    <a:pt x="256" y="96"/>
                    <a:pt x="256" y="96"/>
                  </a:cubicBezTo>
                  <a:cubicBezTo>
                    <a:pt x="256" y="102"/>
                    <a:pt x="260" y="106"/>
                    <a:pt x="266" y="106"/>
                  </a:cubicBezTo>
                  <a:cubicBezTo>
                    <a:pt x="272" y="106"/>
                    <a:pt x="277" y="102"/>
                    <a:pt x="277" y="96"/>
                  </a:cubicBezTo>
                  <a:cubicBezTo>
                    <a:pt x="277" y="74"/>
                    <a:pt x="277" y="74"/>
                    <a:pt x="277" y="74"/>
                  </a:cubicBezTo>
                  <a:cubicBezTo>
                    <a:pt x="298" y="74"/>
                    <a:pt x="298" y="74"/>
                    <a:pt x="298" y="74"/>
                  </a:cubicBezTo>
                  <a:cubicBezTo>
                    <a:pt x="298" y="117"/>
                    <a:pt x="298" y="117"/>
                    <a:pt x="298" y="117"/>
                  </a:cubicBezTo>
                  <a:cubicBezTo>
                    <a:pt x="298" y="123"/>
                    <a:pt x="303" y="128"/>
                    <a:pt x="309" y="128"/>
                  </a:cubicBezTo>
                  <a:cubicBezTo>
                    <a:pt x="315" y="128"/>
                    <a:pt x="320" y="123"/>
                    <a:pt x="320" y="117"/>
                  </a:cubicBezTo>
                  <a:cubicBezTo>
                    <a:pt x="320" y="64"/>
                    <a:pt x="320" y="64"/>
                    <a:pt x="320" y="64"/>
                  </a:cubicBezTo>
                  <a:cubicBezTo>
                    <a:pt x="320" y="58"/>
                    <a:pt x="315" y="53"/>
                    <a:pt x="309" y="53"/>
                  </a:cubicBezTo>
                  <a:close/>
                  <a:moveTo>
                    <a:pt x="64" y="106"/>
                  </a:moveTo>
                  <a:cubicBezTo>
                    <a:pt x="40" y="106"/>
                    <a:pt x="21" y="87"/>
                    <a:pt x="21" y="64"/>
                  </a:cubicBezTo>
                  <a:cubicBezTo>
                    <a:pt x="21" y="40"/>
                    <a:pt x="40" y="21"/>
                    <a:pt x="64" y="21"/>
                  </a:cubicBezTo>
                  <a:cubicBezTo>
                    <a:pt x="87" y="21"/>
                    <a:pt x="106" y="40"/>
                    <a:pt x="106" y="64"/>
                  </a:cubicBezTo>
                  <a:cubicBezTo>
                    <a:pt x="106" y="87"/>
                    <a:pt x="87" y="106"/>
                    <a:pt x="64" y="106"/>
                  </a:cubicBezTo>
                  <a:close/>
                </a:path>
              </a:pathLst>
            </a:custGeom>
            <a:solidFill>
              <a:srgbClr val="01216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1" name="Freeform 41"/>
            <p:cNvSpPr>
              <a:spLocks noEditPoints="1"/>
            </p:cNvSpPr>
            <p:nvPr/>
          </p:nvSpPr>
          <p:spPr bwMode="auto">
            <a:xfrm>
              <a:off x="7938843" y="3991955"/>
              <a:ext cx="341689" cy="340100"/>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2" name="Freeform 872"/>
            <p:cNvSpPr>
              <a:spLocks noEditPoints="1"/>
            </p:cNvSpPr>
            <p:nvPr/>
          </p:nvSpPr>
          <p:spPr bwMode="auto">
            <a:xfrm>
              <a:off x="6583339" y="2637130"/>
              <a:ext cx="292423" cy="32738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rgbClr val="009A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3" name="Isosceles Triangle 32"/>
            <p:cNvSpPr/>
            <p:nvPr/>
          </p:nvSpPr>
          <p:spPr bwMode="gray">
            <a:xfrm>
              <a:off x="6627074"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4" name="Isosceles Triangle 33"/>
            <p:cNvSpPr/>
            <p:nvPr/>
          </p:nvSpPr>
          <p:spPr bwMode="gray">
            <a:xfrm>
              <a:off x="8075580" y="4358435"/>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5" name="Isosceles Triangle 34"/>
            <p:cNvSpPr/>
            <p:nvPr/>
          </p:nvSpPr>
          <p:spPr bwMode="gray">
            <a:xfrm rot="16200000">
              <a:off x="1507626" y="4808486"/>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6" name="Isosceles Triangle 35"/>
            <p:cNvSpPr/>
            <p:nvPr/>
          </p:nvSpPr>
          <p:spPr bwMode="gray">
            <a:xfrm>
              <a:off x="850551"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7" name="Isosceles Triangle 36"/>
            <p:cNvSpPr/>
            <p:nvPr/>
          </p:nvSpPr>
          <p:spPr bwMode="gray">
            <a:xfrm>
              <a:off x="5366843" y="1638167"/>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8" name="Freeform 433"/>
            <p:cNvSpPr>
              <a:spLocks noEditPoints="1"/>
            </p:cNvSpPr>
            <p:nvPr/>
          </p:nvSpPr>
          <p:spPr bwMode="auto">
            <a:xfrm>
              <a:off x="748851" y="2538341"/>
              <a:ext cx="408351" cy="410278"/>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solidFill>
              <a:srgbClr val="00A3E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9" name="Arc 38"/>
            <p:cNvSpPr/>
            <p:nvPr/>
          </p:nvSpPr>
          <p:spPr bwMode="gray">
            <a:xfrm>
              <a:off x="2400288" y="2665379"/>
              <a:ext cx="1714547" cy="1714547"/>
            </a:xfrm>
            <a:prstGeom prst="arc">
              <a:avLst>
                <a:gd name="adj1" fmla="val 476881"/>
                <a:gd name="adj2" fmla="val 8893727"/>
              </a:avLst>
            </a:prstGeom>
            <a:noFill/>
            <a:ln w="12700" algn="ctr">
              <a:solidFill>
                <a:srgbClr val="00A3E0"/>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0" name="Arc 39"/>
            <p:cNvSpPr/>
            <p:nvPr/>
          </p:nvSpPr>
          <p:spPr bwMode="gray">
            <a:xfrm>
              <a:off x="5090730" y="3992988"/>
              <a:ext cx="1714547" cy="1714547"/>
            </a:xfrm>
            <a:prstGeom prst="arc">
              <a:avLst>
                <a:gd name="adj1" fmla="val 10851493"/>
                <a:gd name="adj2" fmla="val 19983526"/>
              </a:avLst>
            </a:prstGeom>
            <a:noFill/>
            <a:ln w="12700" algn="ctr">
              <a:solidFill>
                <a:schemeClr val="accent5"/>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1" name="Arc 40"/>
            <p:cNvSpPr/>
            <p:nvPr/>
          </p:nvSpPr>
          <p:spPr bwMode="gray">
            <a:xfrm>
              <a:off x="2417292" y="1287390"/>
              <a:ext cx="1714547" cy="1714547"/>
            </a:xfrm>
            <a:prstGeom prst="arc">
              <a:avLst>
                <a:gd name="adj1" fmla="val 10944444"/>
                <a:gd name="adj2" fmla="val 19861694"/>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2" name="Arc 41"/>
            <p:cNvSpPr/>
            <p:nvPr/>
          </p:nvSpPr>
          <p:spPr bwMode="gray">
            <a:xfrm>
              <a:off x="3752030" y="4009203"/>
              <a:ext cx="1714547" cy="1714547"/>
            </a:xfrm>
            <a:prstGeom prst="arc">
              <a:avLst>
                <a:gd name="adj1" fmla="val 2767028"/>
                <a:gd name="adj2" fmla="val 8942080"/>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43" name="Straight Connector 42"/>
            <p:cNvCxnSpPr/>
            <p:nvPr/>
          </p:nvCxnSpPr>
          <p:spPr>
            <a:xfrm>
              <a:off x="6512054" y="5756308"/>
              <a:ext cx="2631946" cy="0"/>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228294" y="2563570"/>
              <a:ext cx="1149397" cy="0"/>
            </a:xfrm>
            <a:prstGeom prst="line">
              <a:avLst/>
            </a:prstGeom>
            <a:noFill/>
            <a:ln w="12700" algn="ctr">
              <a:solidFill>
                <a:schemeClr val="tx1">
                  <a:lumMod val="65000"/>
                  <a:lumOff val="35000"/>
                </a:schemeClr>
              </a:solidFill>
              <a:prstDash val="dash"/>
              <a:miter lim="800000"/>
              <a:headEnd/>
              <a:tailEnd/>
            </a:ln>
          </p:spPr>
        </p:cxnSp>
      </p:grpSp>
      <p:sp>
        <p:nvSpPr>
          <p:cNvPr id="46" name="Star: 5 Points 45">
            <a:extLst>
              <a:ext uri="{FF2B5EF4-FFF2-40B4-BE49-F238E27FC236}">
                <a16:creationId xmlns:a16="http://schemas.microsoft.com/office/drawing/2014/main" id="{B666B6CF-173D-4ADC-8622-7BD78B784220}"/>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182026013"/>
      </p:ext>
    </p:extLst>
  </p:cSld>
  <p:clrMapOvr>
    <a:masterClrMapping/>
  </p:clrMapOvr>
  <p:transition>
    <p:fade/>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F1F80-B95E-2D49-8684-0713E092E188}"/>
              </a:ext>
            </a:extLst>
          </p:cNvPr>
          <p:cNvSpPr>
            <a:spLocks noGrp="1"/>
          </p:cNvSpPr>
          <p:nvPr>
            <p:ph type="title"/>
          </p:nvPr>
        </p:nvSpPr>
        <p:spPr/>
        <p:txBody>
          <a:bodyPr/>
          <a:lstStyle/>
          <a:p>
            <a:r>
              <a:rPr lang="en-US" dirty="0"/>
              <a:t>Other</a:t>
            </a:r>
          </a:p>
        </p:txBody>
      </p:sp>
      <p:grpSp>
        <p:nvGrpSpPr>
          <p:cNvPr id="4" name="Group 3">
            <a:extLst>
              <a:ext uri="{FF2B5EF4-FFF2-40B4-BE49-F238E27FC236}">
                <a16:creationId xmlns:a16="http://schemas.microsoft.com/office/drawing/2014/main" id="{DBBA0420-00AE-4C9D-9421-C654167D6F66}"/>
              </a:ext>
            </a:extLst>
          </p:cNvPr>
          <p:cNvGrpSpPr/>
          <p:nvPr/>
        </p:nvGrpSpPr>
        <p:grpSpPr>
          <a:xfrm>
            <a:off x="1663658" y="1280947"/>
            <a:ext cx="8864683" cy="4776728"/>
            <a:chOff x="321723" y="1451600"/>
            <a:chExt cx="8519874" cy="4590928"/>
          </a:xfrm>
        </p:grpSpPr>
        <p:grpSp>
          <p:nvGrpSpPr>
            <p:cNvPr id="5" name="Group 4">
              <a:extLst>
                <a:ext uri="{FF2B5EF4-FFF2-40B4-BE49-F238E27FC236}">
                  <a16:creationId xmlns:a16="http://schemas.microsoft.com/office/drawing/2014/main" id="{87810F1D-291A-4C1A-BE9A-9ABCE3922507}"/>
                </a:ext>
              </a:extLst>
            </p:cNvPr>
            <p:cNvGrpSpPr/>
            <p:nvPr/>
          </p:nvGrpSpPr>
          <p:grpSpPr>
            <a:xfrm>
              <a:off x="465327" y="2515231"/>
              <a:ext cx="7699730" cy="2471371"/>
              <a:chOff x="751586" y="2271014"/>
              <a:chExt cx="6609396" cy="2121408"/>
            </a:xfrm>
          </p:grpSpPr>
          <p:sp>
            <p:nvSpPr>
              <p:cNvPr id="35" name="Hexagon 10">
                <a:extLst>
                  <a:ext uri="{FF2B5EF4-FFF2-40B4-BE49-F238E27FC236}">
                    <a16:creationId xmlns:a16="http://schemas.microsoft.com/office/drawing/2014/main" id="{4ED4AE5B-720C-45AB-AA9B-8BBC3938757E}"/>
                  </a:ext>
                </a:extLst>
              </p:cNvPr>
              <p:cNvSpPr/>
              <p:nvPr/>
            </p:nvSpPr>
            <p:spPr bwMode="gray">
              <a:xfrm rot="5400000">
                <a:off x="658336"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1"/>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6" name="Hexagon 10">
                <a:extLst>
                  <a:ext uri="{FF2B5EF4-FFF2-40B4-BE49-F238E27FC236}">
                    <a16:creationId xmlns:a16="http://schemas.microsoft.com/office/drawing/2014/main" id="{BCA4F1B8-2949-4C17-9741-D7FF5088B684}"/>
                  </a:ext>
                </a:extLst>
              </p:cNvPr>
              <p:cNvSpPr/>
              <p:nvPr/>
            </p:nvSpPr>
            <p:spPr bwMode="gray">
              <a:xfrm rot="5400000" flipH="1">
                <a:off x="2015648"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A3E0"/>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7" name="Hexagon 10">
                <a:extLst>
                  <a:ext uri="{FF2B5EF4-FFF2-40B4-BE49-F238E27FC236}">
                    <a16:creationId xmlns:a16="http://schemas.microsoft.com/office/drawing/2014/main" id="{C9331E50-927B-4389-99AF-19427034F54D}"/>
                  </a:ext>
                </a:extLst>
              </p:cNvPr>
              <p:cNvSpPr/>
              <p:nvPr/>
            </p:nvSpPr>
            <p:spPr bwMode="gray">
              <a:xfrm rot="5400000">
                <a:off x="3349148"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9A44"/>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8" name="Hexagon 10">
                <a:extLst>
                  <a:ext uri="{FF2B5EF4-FFF2-40B4-BE49-F238E27FC236}">
                    <a16:creationId xmlns:a16="http://schemas.microsoft.com/office/drawing/2014/main" id="{89CAD43D-125B-470A-81BD-B874BA7EBC10}"/>
                  </a:ext>
                </a:extLst>
              </p:cNvPr>
              <p:cNvSpPr/>
              <p:nvPr/>
            </p:nvSpPr>
            <p:spPr bwMode="gray">
              <a:xfrm rot="5400000" flipH="1">
                <a:off x="4706460"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6">
                    <a:lumMod val="50000"/>
                  </a:schemeClr>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9" name="Hexagon 10">
                <a:extLst>
                  <a:ext uri="{FF2B5EF4-FFF2-40B4-BE49-F238E27FC236}">
                    <a16:creationId xmlns:a16="http://schemas.microsoft.com/office/drawing/2014/main" id="{A985C7DC-1271-40D4-8F26-D26D86212BF8}"/>
                  </a:ext>
                </a:extLst>
              </p:cNvPr>
              <p:cNvSpPr/>
              <p:nvPr/>
            </p:nvSpPr>
            <p:spPr bwMode="gray">
              <a:xfrm rot="5400000">
                <a:off x="6039960"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6" name="Hexagon 5">
              <a:extLst>
                <a:ext uri="{FF2B5EF4-FFF2-40B4-BE49-F238E27FC236}">
                  <a16:creationId xmlns:a16="http://schemas.microsoft.com/office/drawing/2014/main" id="{BAB72693-D087-4056-8E36-8053277E574E}"/>
                </a:ext>
              </a:extLst>
            </p:cNvPr>
            <p:cNvSpPr/>
            <p:nvPr/>
          </p:nvSpPr>
          <p:spPr bwMode="gray">
            <a:xfrm rot="16200000">
              <a:off x="479746" y="2745513"/>
              <a:ext cx="1390115" cy="1198375"/>
            </a:xfrm>
            <a:prstGeom prst="hexagon">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 name="Hexagon 6">
              <a:extLst>
                <a:ext uri="{FF2B5EF4-FFF2-40B4-BE49-F238E27FC236}">
                  <a16:creationId xmlns:a16="http://schemas.microsoft.com/office/drawing/2014/main" id="{659B4A7D-0844-41F5-A419-0B334866B3EB}"/>
                </a:ext>
              </a:extLst>
            </p:cNvPr>
            <p:cNvSpPr/>
            <p:nvPr/>
          </p:nvSpPr>
          <p:spPr bwMode="gray">
            <a:xfrm rot="16200000">
              <a:off x="2066650" y="3563624"/>
              <a:ext cx="1390115" cy="1198375"/>
            </a:xfrm>
            <a:prstGeom prst="hexagon">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8" name="Hexagon 7">
              <a:extLst>
                <a:ext uri="{FF2B5EF4-FFF2-40B4-BE49-F238E27FC236}">
                  <a16:creationId xmlns:a16="http://schemas.microsoft.com/office/drawing/2014/main" id="{39CD0D0D-52EE-43A0-B437-4A5DC53A2B2B}"/>
                </a:ext>
              </a:extLst>
            </p:cNvPr>
            <p:cNvSpPr/>
            <p:nvPr/>
          </p:nvSpPr>
          <p:spPr bwMode="gray">
            <a:xfrm rot="16200000">
              <a:off x="3620134" y="2739833"/>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 name="Hexagon 8">
              <a:extLst>
                <a:ext uri="{FF2B5EF4-FFF2-40B4-BE49-F238E27FC236}">
                  <a16:creationId xmlns:a16="http://schemas.microsoft.com/office/drawing/2014/main" id="{258E714D-32F8-4B67-8B12-C7AC0F5D8002}"/>
                </a:ext>
              </a:extLst>
            </p:cNvPr>
            <p:cNvSpPr/>
            <p:nvPr/>
          </p:nvSpPr>
          <p:spPr bwMode="gray">
            <a:xfrm rot="16200000">
              <a:off x="5201358" y="3563624"/>
              <a:ext cx="1390115" cy="1198375"/>
            </a:xfrm>
            <a:prstGeom prst="hexagon">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 name="Hexagon 9">
              <a:extLst>
                <a:ext uri="{FF2B5EF4-FFF2-40B4-BE49-F238E27FC236}">
                  <a16:creationId xmlns:a16="http://schemas.microsoft.com/office/drawing/2014/main" id="{B734B82A-0564-4D2F-A03F-719737AE7B1C}"/>
                </a:ext>
              </a:extLst>
            </p:cNvPr>
            <p:cNvSpPr/>
            <p:nvPr/>
          </p:nvSpPr>
          <p:spPr bwMode="gray">
            <a:xfrm rot="16200000">
              <a:off x="6754842" y="2739834"/>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11" name="Group 10">
              <a:extLst>
                <a:ext uri="{FF2B5EF4-FFF2-40B4-BE49-F238E27FC236}">
                  <a16:creationId xmlns:a16="http://schemas.microsoft.com/office/drawing/2014/main" id="{861B5FD5-B463-4F96-9154-1A61ED15EDC1}"/>
                </a:ext>
              </a:extLst>
            </p:cNvPr>
            <p:cNvGrpSpPr/>
            <p:nvPr/>
          </p:nvGrpSpPr>
          <p:grpSpPr>
            <a:xfrm>
              <a:off x="1169125" y="1948070"/>
              <a:ext cx="6282218" cy="572840"/>
              <a:chOff x="1425933" y="1146206"/>
              <a:chExt cx="6282218" cy="1374704"/>
            </a:xfrm>
          </p:grpSpPr>
          <p:cxnSp>
            <p:nvCxnSpPr>
              <p:cNvPr id="32" name="Straight Connector 31">
                <a:extLst>
                  <a:ext uri="{FF2B5EF4-FFF2-40B4-BE49-F238E27FC236}">
                    <a16:creationId xmlns:a16="http://schemas.microsoft.com/office/drawing/2014/main" id="{C374A749-0585-4784-9822-B5042377F5C8}"/>
                  </a:ext>
                </a:extLst>
              </p:cNvPr>
              <p:cNvCxnSpPr>
                <a:cxnSpLocks/>
              </p:cNvCxnSpPr>
              <p:nvPr/>
            </p:nvCxnSpPr>
            <p:spPr>
              <a:xfrm flipH="1" flipV="1">
                <a:off x="142593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56DC8ED-469A-4467-BCD6-19E8DE40CB24}"/>
                  </a:ext>
                </a:extLst>
              </p:cNvPr>
              <p:cNvCxnSpPr>
                <a:cxnSpLocks/>
              </p:cNvCxnSpPr>
              <p:nvPr/>
            </p:nvCxnSpPr>
            <p:spPr>
              <a:xfrm flipH="1" flipV="1">
                <a:off x="4566698"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9C4A9E9-50FC-440D-9686-456AD566C60B}"/>
                  </a:ext>
                </a:extLst>
              </p:cNvPr>
              <p:cNvCxnSpPr>
                <a:cxnSpLocks/>
              </p:cNvCxnSpPr>
              <p:nvPr/>
            </p:nvCxnSpPr>
            <p:spPr>
              <a:xfrm flipH="1" flipV="1">
                <a:off x="770746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0A33CC60-777A-4936-9273-7ED808709BB2}"/>
                </a:ext>
              </a:extLst>
            </p:cNvPr>
            <p:cNvGrpSpPr/>
            <p:nvPr/>
          </p:nvGrpSpPr>
          <p:grpSpPr>
            <a:xfrm>
              <a:off x="2756205" y="4992915"/>
              <a:ext cx="3130094" cy="488554"/>
              <a:chOff x="3013013" y="5005847"/>
              <a:chExt cx="3130094" cy="938942"/>
            </a:xfrm>
          </p:grpSpPr>
          <p:cxnSp>
            <p:nvCxnSpPr>
              <p:cNvPr id="30" name="Straight Connector 29">
                <a:extLst>
                  <a:ext uri="{FF2B5EF4-FFF2-40B4-BE49-F238E27FC236}">
                    <a16:creationId xmlns:a16="http://schemas.microsoft.com/office/drawing/2014/main" id="{28B0631A-F3BC-440A-8185-4EA0E157A934}"/>
                  </a:ext>
                </a:extLst>
              </p:cNvPr>
              <p:cNvCxnSpPr>
                <a:cxnSpLocks/>
              </p:cNvCxnSpPr>
              <p:nvPr/>
            </p:nvCxnSpPr>
            <p:spPr>
              <a:xfrm flipH="1">
                <a:off x="6142419" y="5005849"/>
                <a:ext cx="688" cy="938940"/>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A4BBA98-AFEB-483B-8E94-326F615FABF7}"/>
                  </a:ext>
                </a:extLst>
              </p:cNvPr>
              <p:cNvCxnSpPr>
                <a:cxnSpLocks/>
              </p:cNvCxnSpPr>
              <p:nvPr/>
            </p:nvCxnSpPr>
            <p:spPr>
              <a:xfrm flipH="1">
                <a:off x="3013013" y="5005847"/>
                <a:ext cx="688" cy="938939"/>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55FA6DEC-11A3-4D91-8455-BFE252B719EF}"/>
                </a:ext>
              </a:extLst>
            </p:cNvPr>
            <p:cNvSpPr/>
            <p:nvPr/>
          </p:nvSpPr>
          <p:spPr>
            <a:xfrm>
              <a:off x="321723" y="1451600"/>
              <a:ext cx="1706162" cy="295805"/>
            </a:xfrm>
            <a:prstGeom prst="rect">
              <a:avLst/>
            </a:prstGeom>
          </p:spPr>
          <p:txBody>
            <a:bodyPr wrap="square">
              <a:spAutoFit/>
            </a:bodyPr>
            <a:lstStyle/>
            <a:p>
              <a:pPr lvl="0" algn="ctr"/>
              <a:r>
                <a:rPr lang="en-US" sz="1400" dirty="0">
                  <a:solidFill>
                    <a:prstClr val="black"/>
                  </a:solidFill>
                </a:rPr>
                <a:t>Lorem ipsum</a:t>
              </a:r>
            </a:p>
          </p:txBody>
        </p:sp>
        <p:sp>
          <p:nvSpPr>
            <p:cNvPr id="14" name="Rectangle 13">
              <a:extLst>
                <a:ext uri="{FF2B5EF4-FFF2-40B4-BE49-F238E27FC236}">
                  <a16:creationId xmlns:a16="http://schemas.microsoft.com/office/drawing/2014/main" id="{4852D554-FF31-4EE7-8223-88927D8D9303}"/>
                </a:ext>
              </a:extLst>
            </p:cNvPr>
            <p:cNvSpPr/>
            <p:nvPr/>
          </p:nvSpPr>
          <p:spPr>
            <a:xfrm>
              <a:off x="3600035" y="1451600"/>
              <a:ext cx="1430316" cy="502868"/>
            </a:xfrm>
            <a:prstGeom prst="rect">
              <a:avLst/>
            </a:prstGeom>
          </p:spPr>
          <p:txBody>
            <a:bodyPr wrap="square">
              <a:spAutoFit/>
            </a:bodyPr>
            <a:lstStyle/>
            <a:p>
              <a:pPr lvl="0" algn="ctr"/>
              <a:r>
                <a:rPr lang="en-US" sz="1400" dirty="0">
                  <a:solidFill>
                    <a:prstClr val="black"/>
                  </a:solidFill>
                </a:rPr>
                <a:t>Lorem ipsum dolor sit </a:t>
              </a:r>
              <a:r>
                <a:rPr lang="en-US" sz="1400" dirty="0" err="1">
                  <a:solidFill>
                    <a:prstClr val="black"/>
                  </a:solidFill>
                </a:rPr>
                <a:t>amet</a:t>
              </a:r>
              <a:endParaRPr kumimoji="0" lang="en-US" sz="1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5" name="Rectangle 14">
              <a:extLst>
                <a:ext uri="{FF2B5EF4-FFF2-40B4-BE49-F238E27FC236}">
                  <a16:creationId xmlns:a16="http://schemas.microsoft.com/office/drawing/2014/main" id="{60AD9F76-90C2-4D17-B9ED-D031D7BD523A}"/>
                </a:ext>
              </a:extLst>
            </p:cNvPr>
            <p:cNvSpPr/>
            <p:nvPr/>
          </p:nvSpPr>
          <p:spPr>
            <a:xfrm>
              <a:off x="6093806" y="1451600"/>
              <a:ext cx="2747791" cy="502868"/>
            </a:xfrm>
            <a:prstGeom prst="rect">
              <a:avLst/>
            </a:prstGeom>
          </p:spPr>
          <p:txBody>
            <a:bodyPr wrap="square">
              <a:spAutoFit/>
            </a:bodyPr>
            <a:lstStyle/>
            <a:p>
              <a:pPr lvl="0" algn="ctr"/>
              <a:r>
                <a:rPr lang="en-US" sz="1400" dirty="0">
                  <a:solidFill>
                    <a:prstClr val="black"/>
                  </a:solidFill>
                </a:rPr>
                <a:t>Lorem ipsum dolor sit </a:t>
              </a:r>
              <a:r>
                <a:rPr lang="en-US" sz="1400" dirty="0" err="1">
                  <a:solidFill>
                    <a:prstClr val="black"/>
                  </a:solidFill>
                </a:rPr>
                <a:t>amet</a:t>
              </a:r>
              <a:r>
                <a:rPr lang="en-US" sz="1400" dirty="0">
                  <a:solidFill>
                    <a:prstClr val="black"/>
                  </a:solidFill>
                </a:rPr>
                <a:t>, </a:t>
              </a:r>
              <a:r>
                <a:rPr lang="en-US" sz="1400" dirty="0" err="1">
                  <a:solidFill>
                    <a:prstClr val="black"/>
                  </a:solidFill>
                </a:rPr>
                <a:t>consectetur</a:t>
              </a:r>
              <a:r>
                <a:rPr lang="en-US" sz="1400" dirty="0">
                  <a:solidFill>
                    <a:prstClr val="black"/>
                  </a:solidFill>
                </a:rPr>
                <a:t> </a:t>
              </a:r>
              <a:r>
                <a:rPr lang="en-US" sz="1400" dirty="0" err="1">
                  <a:solidFill>
                    <a:prstClr val="black"/>
                  </a:solidFill>
                </a:rPr>
                <a:t>adipiscing</a:t>
              </a:r>
              <a:r>
                <a:rPr lang="en-US" sz="1400" dirty="0">
                  <a:solidFill>
                    <a:prstClr val="black"/>
                  </a:solidFill>
                </a:rPr>
                <a:t> </a:t>
              </a:r>
              <a:r>
                <a:rPr lang="en-US" sz="1400" dirty="0" err="1">
                  <a:solidFill>
                    <a:prstClr val="black"/>
                  </a:solidFill>
                </a:rPr>
                <a:t>elit</a:t>
              </a:r>
              <a:r>
                <a:rPr lang="en-US" sz="1400" dirty="0">
                  <a:solidFill>
                    <a:prstClr val="black"/>
                  </a:solidFill>
                </a:rPr>
                <a:t>, sed do</a:t>
              </a:r>
            </a:p>
          </p:txBody>
        </p:sp>
        <p:sp>
          <p:nvSpPr>
            <p:cNvPr id="16" name="Rectangle 15">
              <a:extLst>
                <a:ext uri="{FF2B5EF4-FFF2-40B4-BE49-F238E27FC236}">
                  <a16:creationId xmlns:a16="http://schemas.microsoft.com/office/drawing/2014/main" id="{FE1E89D1-DA33-49E3-B1CB-3566838BF3E7}"/>
                </a:ext>
              </a:extLst>
            </p:cNvPr>
            <p:cNvSpPr/>
            <p:nvPr/>
          </p:nvSpPr>
          <p:spPr>
            <a:xfrm>
              <a:off x="1895642" y="5539660"/>
              <a:ext cx="1706162" cy="295805"/>
            </a:xfrm>
            <a:prstGeom prst="rect">
              <a:avLst/>
            </a:prstGeom>
          </p:spPr>
          <p:txBody>
            <a:bodyPr wrap="square">
              <a:spAutoFit/>
            </a:bodyPr>
            <a:lstStyle/>
            <a:p>
              <a:pPr lvl="0" algn="ctr"/>
              <a:r>
                <a:rPr lang="en-US" sz="1400" dirty="0">
                  <a:solidFill>
                    <a:prstClr val="black"/>
                  </a:solidFill>
                </a:rPr>
                <a:t>Lorem ipsum</a:t>
              </a:r>
            </a:p>
          </p:txBody>
        </p:sp>
        <p:sp>
          <p:nvSpPr>
            <p:cNvPr id="17" name="Rectangle 16">
              <a:extLst>
                <a:ext uri="{FF2B5EF4-FFF2-40B4-BE49-F238E27FC236}">
                  <a16:creationId xmlns:a16="http://schemas.microsoft.com/office/drawing/2014/main" id="{903748DA-D9F3-4F2A-9F36-86DD6DC39FBE}"/>
                </a:ext>
              </a:extLst>
            </p:cNvPr>
            <p:cNvSpPr/>
            <p:nvPr/>
          </p:nvSpPr>
          <p:spPr>
            <a:xfrm>
              <a:off x="4527338" y="5539660"/>
              <a:ext cx="2747791" cy="502868"/>
            </a:xfrm>
            <a:prstGeom prst="rect">
              <a:avLst/>
            </a:prstGeom>
          </p:spPr>
          <p:txBody>
            <a:bodyPr wrap="square">
              <a:spAutoFit/>
            </a:bodyPr>
            <a:lstStyle/>
            <a:p>
              <a:pPr lvl="0" algn="ctr"/>
              <a:r>
                <a:rPr lang="en-US" sz="1400" dirty="0">
                  <a:solidFill>
                    <a:prstClr val="black"/>
                  </a:solidFill>
                </a:rPr>
                <a:t>Lorem ipsum dolor sit </a:t>
              </a:r>
              <a:r>
                <a:rPr lang="en-US" sz="1400" dirty="0" err="1">
                  <a:solidFill>
                    <a:prstClr val="black"/>
                  </a:solidFill>
                </a:rPr>
                <a:t>amet</a:t>
              </a:r>
              <a:r>
                <a:rPr lang="en-US" sz="1400" dirty="0">
                  <a:solidFill>
                    <a:prstClr val="black"/>
                  </a:solidFill>
                </a:rPr>
                <a:t>, </a:t>
              </a:r>
              <a:r>
                <a:rPr lang="en-US" sz="1400" dirty="0" err="1">
                  <a:solidFill>
                    <a:prstClr val="black"/>
                  </a:solidFill>
                </a:rPr>
                <a:t>consectetur</a:t>
              </a:r>
              <a:r>
                <a:rPr lang="en-US" sz="1400" dirty="0">
                  <a:solidFill>
                    <a:prstClr val="black"/>
                  </a:solidFill>
                </a:rPr>
                <a:t> </a:t>
              </a:r>
              <a:r>
                <a:rPr lang="en-US" sz="1400" dirty="0" err="1">
                  <a:solidFill>
                    <a:prstClr val="black"/>
                  </a:solidFill>
                </a:rPr>
                <a:t>adipiscing</a:t>
              </a:r>
              <a:r>
                <a:rPr lang="en-US" sz="1400" dirty="0">
                  <a:solidFill>
                    <a:prstClr val="black"/>
                  </a:solidFill>
                </a:rPr>
                <a:t> </a:t>
              </a:r>
              <a:r>
                <a:rPr lang="en-US" sz="1400" dirty="0" err="1">
                  <a:solidFill>
                    <a:prstClr val="black"/>
                  </a:solidFill>
                </a:rPr>
                <a:t>elit</a:t>
              </a:r>
              <a:r>
                <a:rPr lang="en-US" sz="1400" dirty="0">
                  <a:solidFill>
                    <a:prstClr val="black"/>
                  </a:solidFill>
                </a:rPr>
                <a:t>, sed do</a:t>
              </a:r>
            </a:p>
          </p:txBody>
        </p:sp>
        <p:sp>
          <p:nvSpPr>
            <p:cNvPr id="18" name="Freeform 54">
              <a:extLst>
                <a:ext uri="{FF2B5EF4-FFF2-40B4-BE49-F238E27FC236}">
                  <a16:creationId xmlns:a16="http://schemas.microsoft.com/office/drawing/2014/main" id="{DE0EF347-D103-4C4E-A0A4-BD2FE5B095FF}"/>
                </a:ext>
              </a:extLst>
            </p:cNvPr>
            <p:cNvSpPr>
              <a:spLocks noEditPoints="1"/>
            </p:cNvSpPr>
            <p:nvPr/>
          </p:nvSpPr>
          <p:spPr bwMode="auto">
            <a:xfrm>
              <a:off x="872321" y="3045263"/>
              <a:ext cx="593606" cy="596409"/>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accent1"/>
            </a:solidFill>
            <a:ln>
              <a:solidFill>
                <a:schemeClr val="accent1">
                  <a:lumMod val="20000"/>
                  <a:lumOff val="8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9" name="Freeform 425">
              <a:extLst>
                <a:ext uri="{FF2B5EF4-FFF2-40B4-BE49-F238E27FC236}">
                  <a16:creationId xmlns:a16="http://schemas.microsoft.com/office/drawing/2014/main" id="{EBE638AB-7DC4-4C96-9515-C780B5AC547D}"/>
                </a:ext>
              </a:extLst>
            </p:cNvPr>
            <p:cNvSpPr>
              <a:spLocks noEditPoints="1"/>
            </p:cNvSpPr>
            <p:nvPr/>
          </p:nvSpPr>
          <p:spPr bwMode="auto">
            <a:xfrm>
              <a:off x="2459619" y="3897551"/>
              <a:ext cx="566847" cy="533007"/>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solidFill>
              <a:srgbClr val="00A3E0"/>
            </a:solidFill>
            <a:ln>
              <a:solidFill>
                <a:schemeClr val="accent3">
                  <a:lumMod val="20000"/>
                  <a:lumOff val="8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0" name="Freeform 904">
              <a:extLst>
                <a:ext uri="{FF2B5EF4-FFF2-40B4-BE49-F238E27FC236}">
                  <a16:creationId xmlns:a16="http://schemas.microsoft.com/office/drawing/2014/main" id="{8D221056-DAFE-4341-B2E1-77181FE93C31}"/>
                </a:ext>
              </a:extLst>
            </p:cNvPr>
            <p:cNvSpPr>
              <a:spLocks noEditPoints="1"/>
            </p:cNvSpPr>
            <p:nvPr/>
          </p:nvSpPr>
          <p:spPr bwMode="auto">
            <a:xfrm>
              <a:off x="4045231" y="3087213"/>
              <a:ext cx="629735" cy="533007"/>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solidFill>
              <a:srgbClr val="009A44"/>
            </a:solidFill>
            <a:ln>
              <a:solidFill>
                <a:srgbClr val="DDEFE8"/>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1" name="Freeform 809">
              <a:extLst>
                <a:ext uri="{FF2B5EF4-FFF2-40B4-BE49-F238E27FC236}">
                  <a16:creationId xmlns:a16="http://schemas.microsoft.com/office/drawing/2014/main" id="{B547A063-58B8-4C49-B9C8-628401F9FFF3}"/>
                </a:ext>
              </a:extLst>
            </p:cNvPr>
            <p:cNvSpPr>
              <a:spLocks noEditPoints="1"/>
            </p:cNvSpPr>
            <p:nvPr/>
          </p:nvSpPr>
          <p:spPr bwMode="auto">
            <a:xfrm>
              <a:off x="5700952" y="3802297"/>
              <a:ext cx="388073" cy="417603"/>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solidFill>
              <a:schemeClr val="accent6">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2" name="Rectangle 21">
              <a:extLst>
                <a:ext uri="{FF2B5EF4-FFF2-40B4-BE49-F238E27FC236}">
                  <a16:creationId xmlns:a16="http://schemas.microsoft.com/office/drawing/2014/main" id="{C4DB0739-7585-4446-8296-BA859D32E87F}"/>
                </a:ext>
              </a:extLst>
            </p:cNvPr>
            <p:cNvSpPr/>
            <p:nvPr/>
          </p:nvSpPr>
          <p:spPr>
            <a:xfrm>
              <a:off x="5561196" y="4245892"/>
              <a:ext cx="627353" cy="35496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CB0">
                      <a:lumMod val="50000"/>
                    </a:srgbClr>
                  </a:solidFill>
                  <a:effectLst/>
                  <a:uLnTx/>
                  <a:uFillTx/>
                  <a:latin typeface="Calibri Light"/>
                  <a:ea typeface="+mn-ea"/>
                  <a:cs typeface="+mn-cs"/>
                </a:rPr>
                <a:t>2019</a:t>
              </a:r>
            </a:p>
          </p:txBody>
        </p:sp>
        <p:sp>
          <p:nvSpPr>
            <p:cNvPr id="23" name="Freeform 809">
              <a:extLst>
                <a:ext uri="{FF2B5EF4-FFF2-40B4-BE49-F238E27FC236}">
                  <a16:creationId xmlns:a16="http://schemas.microsoft.com/office/drawing/2014/main" id="{CD05CF28-C70F-454C-AA7A-D6307E8F4470}"/>
                </a:ext>
              </a:extLst>
            </p:cNvPr>
            <p:cNvSpPr>
              <a:spLocks noEditPoints="1"/>
            </p:cNvSpPr>
            <p:nvPr/>
          </p:nvSpPr>
          <p:spPr bwMode="auto">
            <a:xfrm>
              <a:off x="7256618" y="3002185"/>
              <a:ext cx="388073" cy="417603"/>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Rectangle 23">
              <a:extLst>
                <a:ext uri="{FF2B5EF4-FFF2-40B4-BE49-F238E27FC236}">
                  <a16:creationId xmlns:a16="http://schemas.microsoft.com/office/drawing/2014/main" id="{E9D969F7-3760-4277-B789-804F3F0DBC43}"/>
                </a:ext>
              </a:extLst>
            </p:cNvPr>
            <p:cNvSpPr/>
            <p:nvPr/>
          </p:nvSpPr>
          <p:spPr>
            <a:xfrm>
              <a:off x="7109219" y="3445780"/>
              <a:ext cx="65274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D8390"/>
                  </a:solidFill>
                  <a:effectLst/>
                  <a:uLnTx/>
                  <a:uFillTx/>
                  <a:latin typeface="Calibri Light"/>
                  <a:ea typeface="+mn-ea"/>
                  <a:cs typeface="+mn-cs"/>
                </a:rPr>
                <a:t>2020</a:t>
              </a:r>
            </a:p>
          </p:txBody>
        </p:sp>
        <p:sp>
          <p:nvSpPr>
            <p:cNvPr id="25" name="Hexagon 58">
              <a:extLst>
                <a:ext uri="{FF2B5EF4-FFF2-40B4-BE49-F238E27FC236}">
                  <a16:creationId xmlns:a16="http://schemas.microsoft.com/office/drawing/2014/main" id="{4756334F-4805-44ED-AAC1-318B70ABA3FE}"/>
                </a:ext>
              </a:extLst>
            </p:cNvPr>
            <p:cNvSpPr/>
            <p:nvPr/>
          </p:nvSpPr>
          <p:spPr bwMode="gray">
            <a:xfrm rot="16200000">
              <a:off x="999230" y="343577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6" name="Hexagon 58">
              <a:extLst>
                <a:ext uri="{FF2B5EF4-FFF2-40B4-BE49-F238E27FC236}">
                  <a16:creationId xmlns:a16="http://schemas.microsoft.com/office/drawing/2014/main" id="{B98B866F-1A2F-4DC8-81FB-CAFAA2A20A39}"/>
                </a:ext>
              </a:extLst>
            </p:cNvPr>
            <p:cNvSpPr/>
            <p:nvPr/>
          </p:nvSpPr>
          <p:spPr bwMode="gray">
            <a:xfrm rot="16200000">
              <a:off x="4128183" y="343009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7" name="Hexagon 58">
              <a:extLst>
                <a:ext uri="{FF2B5EF4-FFF2-40B4-BE49-F238E27FC236}">
                  <a16:creationId xmlns:a16="http://schemas.microsoft.com/office/drawing/2014/main" id="{F7BB3D0F-EF3F-44E4-84DD-6C6BC9FDFC52}"/>
                </a:ext>
              </a:extLst>
            </p:cNvPr>
            <p:cNvSpPr/>
            <p:nvPr/>
          </p:nvSpPr>
          <p:spPr bwMode="gray">
            <a:xfrm rot="16200000">
              <a:off x="7257136" y="342441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8" name="Hexagon 58">
              <a:extLst>
                <a:ext uri="{FF2B5EF4-FFF2-40B4-BE49-F238E27FC236}">
                  <a16:creationId xmlns:a16="http://schemas.microsoft.com/office/drawing/2014/main" id="{26882EF8-F3B4-4994-8E70-C264A35792B3}"/>
                </a:ext>
              </a:extLst>
            </p:cNvPr>
            <p:cNvSpPr/>
            <p:nvPr/>
          </p:nvSpPr>
          <p:spPr bwMode="gray">
            <a:xfrm rot="5400000" flipV="1">
              <a:off x="5690081" y="259735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9" name="Hexagon 58">
              <a:extLst>
                <a:ext uri="{FF2B5EF4-FFF2-40B4-BE49-F238E27FC236}">
                  <a16:creationId xmlns:a16="http://schemas.microsoft.com/office/drawing/2014/main" id="{E0DEA7E1-4E4D-421C-BF7B-732260EA2527}"/>
                </a:ext>
              </a:extLst>
            </p:cNvPr>
            <p:cNvSpPr/>
            <p:nvPr/>
          </p:nvSpPr>
          <p:spPr bwMode="gray">
            <a:xfrm rot="5400000" flipV="1">
              <a:off x="2577792" y="261400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40" name="Star: 5 Points 39">
            <a:extLst>
              <a:ext uri="{FF2B5EF4-FFF2-40B4-BE49-F238E27FC236}">
                <a16:creationId xmlns:a16="http://schemas.microsoft.com/office/drawing/2014/main" id="{0261E46D-0F96-4E6A-B7C7-E845321E32C5}"/>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599070970"/>
      </p:ext>
    </p:extLst>
  </p:cSld>
  <p:clrMapOvr>
    <a:masterClrMapping/>
  </p:clrMapOvr>
  <p:transition>
    <p:fade/>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CA69532-E1E1-8D4D-942F-742B061B9BFD}"/>
              </a:ext>
            </a:extLst>
          </p:cNvPr>
          <p:cNvSpPr>
            <a:spLocks noGrp="1"/>
          </p:cNvSpPr>
          <p:nvPr>
            <p:ph type="title"/>
          </p:nvPr>
        </p:nvSpPr>
        <p:spPr/>
        <p:txBody>
          <a:bodyPr/>
          <a:lstStyle/>
          <a:p>
            <a:r>
              <a:rPr lang="en-US" dirty="0"/>
              <a:t>Right brain/Left brain</a:t>
            </a:r>
          </a:p>
        </p:txBody>
      </p:sp>
      <p:sp>
        <p:nvSpPr>
          <p:cNvPr id="104" name="Rounded Rectangle 56">
            <a:extLst>
              <a:ext uri="{FF2B5EF4-FFF2-40B4-BE49-F238E27FC236}">
                <a16:creationId xmlns:a16="http://schemas.microsoft.com/office/drawing/2014/main" id="{02668AA5-3D4C-F34D-ABD3-EFF3057F174B}"/>
              </a:ext>
            </a:extLst>
          </p:cNvPr>
          <p:cNvSpPr/>
          <p:nvPr/>
        </p:nvSpPr>
        <p:spPr bwMode="gray">
          <a:xfrm>
            <a:off x="9296287" y="5302239"/>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5" name="Rounded Rectangle 56">
            <a:extLst>
              <a:ext uri="{FF2B5EF4-FFF2-40B4-BE49-F238E27FC236}">
                <a16:creationId xmlns:a16="http://schemas.microsoft.com/office/drawing/2014/main" id="{0682AFEC-BDFB-4249-8D84-661F67B8D4AE}"/>
              </a:ext>
            </a:extLst>
          </p:cNvPr>
          <p:cNvSpPr/>
          <p:nvPr/>
        </p:nvSpPr>
        <p:spPr bwMode="gray">
          <a:xfrm>
            <a:off x="1327403" y="5302239"/>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6" name="Rounded Rectangle 56">
            <a:extLst>
              <a:ext uri="{FF2B5EF4-FFF2-40B4-BE49-F238E27FC236}">
                <a16:creationId xmlns:a16="http://schemas.microsoft.com/office/drawing/2014/main" id="{8F38352D-15E3-ED40-A26E-2C73B249C73E}"/>
              </a:ext>
            </a:extLst>
          </p:cNvPr>
          <p:cNvSpPr/>
          <p:nvPr/>
        </p:nvSpPr>
        <p:spPr bwMode="gray">
          <a:xfrm>
            <a:off x="1327403" y="2306564"/>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7" name="Rounded Rectangle 56">
            <a:extLst>
              <a:ext uri="{FF2B5EF4-FFF2-40B4-BE49-F238E27FC236}">
                <a16:creationId xmlns:a16="http://schemas.microsoft.com/office/drawing/2014/main" id="{1748DDF0-1FB2-B240-9C5B-049DB29478E7}"/>
              </a:ext>
            </a:extLst>
          </p:cNvPr>
          <p:cNvSpPr/>
          <p:nvPr/>
        </p:nvSpPr>
        <p:spPr bwMode="gray">
          <a:xfrm>
            <a:off x="647961" y="3804402"/>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8" name="Rounded Rectangle 56">
            <a:extLst>
              <a:ext uri="{FF2B5EF4-FFF2-40B4-BE49-F238E27FC236}">
                <a16:creationId xmlns:a16="http://schemas.microsoft.com/office/drawing/2014/main" id="{3FF0B753-0612-5446-880A-61AABE1FEE6D}"/>
              </a:ext>
            </a:extLst>
          </p:cNvPr>
          <p:cNvSpPr/>
          <p:nvPr/>
        </p:nvSpPr>
        <p:spPr bwMode="gray">
          <a:xfrm>
            <a:off x="9296287" y="2306564"/>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sp>
        <p:nvSpPr>
          <p:cNvPr id="109" name="Rounded Rectangle 56">
            <a:extLst>
              <a:ext uri="{FF2B5EF4-FFF2-40B4-BE49-F238E27FC236}">
                <a16:creationId xmlns:a16="http://schemas.microsoft.com/office/drawing/2014/main" id="{711C021B-475F-3F49-9F20-0B6F4DE717AF}"/>
              </a:ext>
            </a:extLst>
          </p:cNvPr>
          <p:cNvSpPr/>
          <p:nvPr/>
        </p:nvSpPr>
        <p:spPr bwMode="gray">
          <a:xfrm>
            <a:off x="9993967" y="3804402"/>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a:solidFill>
                  <a:prstClr val="white"/>
                </a:solidFill>
              </a:rPr>
              <a:t>Lorem ipsum dolor sit </a:t>
            </a:r>
            <a:r>
              <a:rPr lang="en-US" sz="1200" kern="0" dirty="0" err="1">
                <a:solidFill>
                  <a:prstClr val="white"/>
                </a:solidFill>
              </a:rPr>
              <a:t>amet</a:t>
            </a:r>
            <a:endParaRPr lang="en-US" sz="1200" kern="0" dirty="0">
              <a:solidFill>
                <a:prstClr val="white"/>
              </a:solidFill>
            </a:endParaRPr>
          </a:p>
        </p:txBody>
      </p:sp>
      <p:grpSp>
        <p:nvGrpSpPr>
          <p:cNvPr id="110" name="Group 4">
            <a:extLst>
              <a:ext uri="{FF2B5EF4-FFF2-40B4-BE49-F238E27FC236}">
                <a16:creationId xmlns:a16="http://schemas.microsoft.com/office/drawing/2014/main" id="{99C2D958-ECAF-3B40-9EC4-74629E4522F2}"/>
              </a:ext>
            </a:extLst>
          </p:cNvPr>
          <p:cNvGrpSpPr>
            <a:grpSpLocks noChangeAspect="1"/>
          </p:cNvGrpSpPr>
          <p:nvPr/>
        </p:nvGrpSpPr>
        <p:grpSpPr bwMode="auto">
          <a:xfrm>
            <a:off x="6137286" y="2130458"/>
            <a:ext cx="1596721" cy="3899712"/>
            <a:chOff x="3899" y="1111"/>
            <a:chExt cx="1049" cy="2562"/>
          </a:xfrm>
        </p:grpSpPr>
        <p:sp>
          <p:nvSpPr>
            <p:cNvPr id="111" name="Freeform 5">
              <a:extLst>
                <a:ext uri="{FF2B5EF4-FFF2-40B4-BE49-F238E27FC236}">
                  <a16:creationId xmlns:a16="http://schemas.microsoft.com/office/drawing/2014/main" id="{DBAD9DEF-A178-5942-ABA2-B880984CAB02}"/>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2" name="Line 6">
              <a:extLst>
                <a:ext uri="{FF2B5EF4-FFF2-40B4-BE49-F238E27FC236}">
                  <a16:creationId xmlns:a16="http://schemas.microsoft.com/office/drawing/2014/main" id="{F31683BA-3BC6-A64B-9B03-FF8100C6C3A5}"/>
                </a:ext>
              </a:extLst>
            </p:cNvPr>
            <p:cNvSpPr>
              <a:spLocks noChangeShapeType="1"/>
            </p:cNvSpPr>
            <p:nvPr/>
          </p:nvSpPr>
          <p:spPr bwMode="auto">
            <a:xfrm>
              <a:off x="4152" y="1342"/>
              <a:ext cx="155"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3" name="Freeform 7">
              <a:extLst>
                <a:ext uri="{FF2B5EF4-FFF2-40B4-BE49-F238E27FC236}">
                  <a16:creationId xmlns:a16="http://schemas.microsoft.com/office/drawing/2014/main" id="{4248569F-C90A-8546-ACD4-6E2991B48D7E}"/>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4" name="Freeform 8">
              <a:extLst>
                <a:ext uri="{FF2B5EF4-FFF2-40B4-BE49-F238E27FC236}">
                  <a16:creationId xmlns:a16="http://schemas.microsoft.com/office/drawing/2014/main" id="{1FFD4990-5211-DC40-ACEA-B1364BAA478E}"/>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5" name="Freeform 9">
              <a:extLst>
                <a:ext uri="{FF2B5EF4-FFF2-40B4-BE49-F238E27FC236}">
                  <a16:creationId xmlns:a16="http://schemas.microsoft.com/office/drawing/2014/main" id="{99E6B1C2-F8FD-D44E-AE13-6E54370EF8C2}"/>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6" name="Freeform 10">
              <a:extLst>
                <a:ext uri="{FF2B5EF4-FFF2-40B4-BE49-F238E27FC236}">
                  <a16:creationId xmlns:a16="http://schemas.microsoft.com/office/drawing/2014/main" id="{0AB5F8C2-2696-6C48-BE9C-6B2866552612}"/>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7" name="Freeform 11">
              <a:extLst>
                <a:ext uri="{FF2B5EF4-FFF2-40B4-BE49-F238E27FC236}">
                  <a16:creationId xmlns:a16="http://schemas.microsoft.com/office/drawing/2014/main" id="{A2ECFC80-B02F-8341-B7B7-BBB0A8343B05}"/>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8" name="Freeform 12">
              <a:extLst>
                <a:ext uri="{FF2B5EF4-FFF2-40B4-BE49-F238E27FC236}">
                  <a16:creationId xmlns:a16="http://schemas.microsoft.com/office/drawing/2014/main" id="{210EAEED-53C2-AF44-859D-DC6A1F55F5CE}"/>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9" name="Freeform 13">
              <a:extLst>
                <a:ext uri="{FF2B5EF4-FFF2-40B4-BE49-F238E27FC236}">
                  <a16:creationId xmlns:a16="http://schemas.microsoft.com/office/drawing/2014/main" id="{D7BB21DA-0BCD-1742-9783-4FCA11535736}"/>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0" name="Freeform 14">
              <a:extLst>
                <a:ext uri="{FF2B5EF4-FFF2-40B4-BE49-F238E27FC236}">
                  <a16:creationId xmlns:a16="http://schemas.microsoft.com/office/drawing/2014/main" id="{3599F5DA-5690-F349-ABEA-0EAC014A98F1}"/>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1" name="Line 15">
              <a:extLst>
                <a:ext uri="{FF2B5EF4-FFF2-40B4-BE49-F238E27FC236}">
                  <a16:creationId xmlns:a16="http://schemas.microsoft.com/office/drawing/2014/main" id="{74D828EE-FBDF-F445-A54E-89E83F73A1EE}"/>
                </a:ext>
              </a:extLst>
            </p:cNvPr>
            <p:cNvSpPr>
              <a:spLocks noChangeShapeType="1"/>
            </p:cNvSpPr>
            <p:nvPr/>
          </p:nvSpPr>
          <p:spPr bwMode="auto">
            <a:xfrm flipH="1">
              <a:off x="4047" y="3537"/>
              <a:ext cx="162"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2" name="Freeform 16">
              <a:extLst>
                <a:ext uri="{FF2B5EF4-FFF2-40B4-BE49-F238E27FC236}">
                  <a16:creationId xmlns:a16="http://schemas.microsoft.com/office/drawing/2014/main" id="{7A1157BD-B017-1A4C-B25F-E6431B158970}"/>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3" name="Freeform 17">
              <a:extLst>
                <a:ext uri="{FF2B5EF4-FFF2-40B4-BE49-F238E27FC236}">
                  <a16:creationId xmlns:a16="http://schemas.microsoft.com/office/drawing/2014/main" id="{D3D47C20-34E3-D946-AF72-CECB140A6035}"/>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4" name="Freeform 18">
              <a:extLst>
                <a:ext uri="{FF2B5EF4-FFF2-40B4-BE49-F238E27FC236}">
                  <a16:creationId xmlns:a16="http://schemas.microsoft.com/office/drawing/2014/main" id="{BBA402E1-B578-DD4C-8F77-23B54D078776}"/>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5" name="Freeform 19">
              <a:extLst>
                <a:ext uri="{FF2B5EF4-FFF2-40B4-BE49-F238E27FC236}">
                  <a16:creationId xmlns:a16="http://schemas.microsoft.com/office/drawing/2014/main" id="{01713CB5-8851-3E4C-A0C4-2A9639137381}"/>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6" name="Freeform 20">
              <a:extLst>
                <a:ext uri="{FF2B5EF4-FFF2-40B4-BE49-F238E27FC236}">
                  <a16:creationId xmlns:a16="http://schemas.microsoft.com/office/drawing/2014/main" id="{183AC8EE-1643-6143-9C43-45FF1B9EF2FF}"/>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7" name="Freeform 21">
              <a:extLst>
                <a:ext uri="{FF2B5EF4-FFF2-40B4-BE49-F238E27FC236}">
                  <a16:creationId xmlns:a16="http://schemas.microsoft.com/office/drawing/2014/main" id="{88160F75-88B5-214C-8990-62F1BA87719C}"/>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8" name="Freeform 22">
              <a:extLst>
                <a:ext uri="{FF2B5EF4-FFF2-40B4-BE49-F238E27FC236}">
                  <a16:creationId xmlns:a16="http://schemas.microsoft.com/office/drawing/2014/main" id="{4FF64C5D-8610-5D44-96E8-7123AD89C095}"/>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9" name="Freeform 23">
              <a:extLst>
                <a:ext uri="{FF2B5EF4-FFF2-40B4-BE49-F238E27FC236}">
                  <a16:creationId xmlns:a16="http://schemas.microsoft.com/office/drawing/2014/main" id="{8D239C05-1E83-CC48-85FF-A38A956D3118}"/>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0" name="Freeform 24">
              <a:extLst>
                <a:ext uri="{FF2B5EF4-FFF2-40B4-BE49-F238E27FC236}">
                  <a16:creationId xmlns:a16="http://schemas.microsoft.com/office/drawing/2014/main" id="{7017AD69-A76B-2143-8774-177B3AD8DF1A}"/>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1" name="Freeform 25">
              <a:extLst>
                <a:ext uri="{FF2B5EF4-FFF2-40B4-BE49-F238E27FC236}">
                  <a16:creationId xmlns:a16="http://schemas.microsoft.com/office/drawing/2014/main" id="{AD500F5A-2452-C34D-BBCF-5D1963240E0B}"/>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2" name="Freeform 26">
              <a:extLst>
                <a:ext uri="{FF2B5EF4-FFF2-40B4-BE49-F238E27FC236}">
                  <a16:creationId xmlns:a16="http://schemas.microsoft.com/office/drawing/2014/main" id="{BCBB3558-D392-694D-ACDC-9054D5894521}"/>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3" name="Freeform 27">
              <a:extLst>
                <a:ext uri="{FF2B5EF4-FFF2-40B4-BE49-F238E27FC236}">
                  <a16:creationId xmlns:a16="http://schemas.microsoft.com/office/drawing/2014/main" id="{DE46C4D3-D411-4D49-8AF6-AFA65DCDAB42}"/>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4" name="Freeform 28">
              <a:extLst>
                <a:ext uri="{FF2B5EF4-FFF2-40B4-BE49-F238E27FC236}">
                  <a16:creationId xmlns:a16="http://schemas.microsoft.com/office/drawing/2014/main" id="{916C734F-6E82-D346-ACDC-17790033F05D}"/>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5" name="Freeform 29">
              <a:extLst>
                <a:ext uri="{FF2B5EF4-FFF2-40B4-BE49-F238E27FC236}">
                  <a16:creationId xmlns:a16="http://schemas.microsoft.com/office/drawing/2014/main" id="{A36E3A66-6132-AC4F-8386-1660A623848E}"/>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6" name="Freeform 30">
              <a:extLst>
                <a:ext uri="{FF2B5EF4-FFF2-40B4-BE49-F238E27FC236}">
                  <a16:creationId xmlns:a16="http://schemas.microsoft.com/office/drawing/2014/main" id="{AF725E2C-0CD8-9A44-B04E-23921A07AFFD}"/>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7" name="Freeform 31">
              <a:extLst>
                <a:ext uri="{FF2B5EF4-FFF2-40B4-BE49-F238E27FC236}">
                  <a16:creationId xmlns:a16="http://schemas.microsoft.com/office/drawing/2014/main" id="{DFFEC78C-EEE3-EF4F-A678-A89936F8DEC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8" name="Freeform 32">
              <a:extLst>
                <a:ext uri="{FF2B5EF4-FFF2-40B4-BE49-F238E27FC236}">
                  <a16:creationId xmlns:a16="http://schemas.microsoft.com/office/drawing/2014/main" id="{FBECD0B4-86F8-D54F-A985-93F20D8646DA}"/>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9" name="Freeform 33">
              <a:extLst>
                <a:ext uri="{FF2B5EF4-FFF2-40B4-BE49-F238E27FC236}">
                  <a16:creationId xmlns:a16="http://schemas.microsoft.com/office/drawing/2014/main" id="{0B58CA71-871C-C348-94A1-08CBA9419EDC}"/>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0" name="Line 34">
              <a:extLst>
                <a:ext uri="{FF2B5EF4-FFF2-40B4-BE49-F238E27FC236}">
                  <a16:creationId xmlns:a16="http://schemas.microsoft.com/office/drawing/2014/main" id="{C01EEC80-B33B-784D-A357-7EA6D5D0A400}"/>
                </a:ext>
              </a:extLst>
            </p:cNvPr>
            <p:cNvSpPr>
              <a:spLocks noChangeShapeType="1"/>
            </p:cNvSpPr>
            <p:nvPr/>
          </p:nvSpPr>
          <p:spPr bwMode="auto">
            <a:xfrm>
              <a:off x="4364" y="2457"/>
              <a:ext cx="91" cy="95"/>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1" name="Freeform 35">
              <a:extLst>
                <a:ext uri="{FF2B5EF4-FFF2-40B4-BE49-F238E27FC236}">
                  <a16:creationId xmlns:a16="http://schemas.microsoft.com/office/drawing/2014/main" id="{452C54AF-B1A7-B141-ABE8-9B204056E65E}"/>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grpSp>
        <p:nvGrpSpPr>
          <p:cNvPr id="142" name="Group 4">
            <a:extLst>
              <a:ext uri="{FF2B5EF4-FFF2-40B4-BE49-F238E27FC236}">
                <a16:creationId xmlns:a16="http://schemas.microsoft.com/office/drawing/2014/main" id="{717CFF29-2FD5-5D42-B0E2-2DE7143EA60F}"/>
              </a:ext>
            </a:extLst>
          </p:cNvPr>
          <p:cNvGrpSpPr>
            <a:grpSpLocks noChangeAspect="1"/>
          </p:cNvGrpSpPr>
          <p:nvPr/>
        </p:nvGrpSpPr>
        <p:grpSpPr bwMode="auto">
          <a:xfrm flipH="1">
            <a:off x="4352944" y="2130458"/>
            <a:ext cx="1596721" cy="3899712"/>
            <a:chOff x="3899" y="1111"/>
            <a:chExt cx="1049" cy="2562"/>
          </a:xfrm>
        </p:grpSpPr>
        <p:sp>
          <p:nvSpPr>
            <p:cNvPr id="143" name="Freeform 5">
              <a:extLst>
                <a:ext uri="{FF2B5EF4-FFF2-40B4-BE49-F238E27FC236}">
                  <a16:creationId xmlns:a16="http://schemas.microsoft.com/office/drawing/2014/main" id="{0AE5FCCC-4415-6B4F-8BE8-76D14C1E5487}"/>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4" name="Line 6">
              <a:extLst>
                <a:ext uri="{FF2B5EF4-FFF2-40B4-BE49-F238E27FC236}">
                  <a16:creationId xmlns:a16="http://schemas.microsoft.com/office/drawing/2014/main" id="{08DFCF7A-5E31-A94D-9DA9-6AD1D65C8716}"/>
                </a:ext>
              </a:extLst>
            </p:cNvPr>
            <p:cNvSpPr>
              <a:spLocks noChangeShapeType="1"/>
            </p:cNvSpPr>
            <p:nvPr/>
          </p:nvSpPr>
          <p:spPr bwMode="auto">
            <a:xfrm>
              <a:off x="4152" y="1342"/>
              <a:ext cx="155"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5" name="Freeform 7">
              <a:extLst>
                <a:ext uri="{FF2B5EF4-FFF2-40B4-BE49-F238E27FC236}">
                  <a16:creationId xmlns:a16="http://schemas.microsoft.com/office/drawing/2014/main" id="{727DEDAA-281B-A14C-8969-DE2ECF867F72}"/>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6" name="Freeform 8">
              <a:extLst>
                <a:ext uri="{FF2B5EF4-FFF2-40B4-BE49-F238E27FC236}">
                  <a16:creationId xmlns:a16="http://schemas.microsoft.com/office/drawing/2014/main" id="{2720FDAE-DD46-ED46-BECD-4C8D8EFCDA33}"/>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7" name="Freeform 9">
              <a:extLst>
                <a:ext uri="{FF2B5EF4-FFF2-40B4-BE49-F238E27FC236}">
                  <a16:creationId xmlns:a16="http://schemas.microsoft.com/office/drawing/2014/main" id="{4772D099-305E-1341-8C83-0BB58F247064}"/>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8" name="Freeform 10">
              <a:extLst>
                <a:ext uri="{FF2B5EF4-FFF2-40B4-BE49-F238E27FC236}">
                  <a16:creationId xmlns:a16="http://schemas.microsoft.com/office/drawing/2014/main" id="{7390EF40-7C4B-144E-B294-39EF24025F00}"/>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9" name="Freeform 11">
              <a:extLst>
                <a:ext uri="{FF2B5EF4-FFF2-40B4-BE49-F238E27FC236}">
                  <a16:creationId xmlns:a16="http://schemas.microsoft.com/office/drawing/2014/main" id="{4CCBB072-91C9-C645-8AE2-3AFF01CFC790}"/>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0" name="Freeform 12">
              <a:extLst>
                <a:ext uri="{FF2B5EF4-FFF2-40B4-BE49-F238E27FC236}">
                  <a16:creationId xmlns:a16="http://schemas.microsoft.com/office/drawing/2014/main" id="{8478CB8C-40C6-C041-8101-B0354B8B04C1}"/>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1" name="Freeform 13">
              <a:extLst>
                <a:ext uri="{FF2B5EF4-FFF2-40B4-BE49-F238E27FC236}">
                  <a16:creationId xmlns:a16="http://schemas.microsoft.com/office/drawing/2014/main" id="{C334A1C9-7389-5849-BA06-9985D2258A93}"/>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2" name="Freeform 14">
              <a:extLst>
                <a:ext uri="{FF2B5EF4-FFF2-40B4-BE49-F238E27FC236}">
                  <a16:creationId xmlns:a16="http://schemas.microsoft.com/office/drawing/2014/main" id="{42C853E4-860A-794E-BAE7-7C9A159E0246}"/>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3" name="Line 15">
              <a:extLst>
                <a:ext uri="{FF2B5EF4-FFF2-40B4-BE49-F238E27FC236}">
                  <a16:creationId xmlns:a16="http://schemas.microsoft.com/office/drawing/2014/main" id="{B89D2014-C0B6-9944-A8DD-78EFE1384624}"/>
                </a:ext>
              </a:extLst>
            </p:cNvPr>
            <p:cNvSpPr>
              <a:spLocks noChangeShapeType="1"/>
            </p:cNvSpPr>
            <p:nvPr/>
          </p:nvSpPr>
          <p:spPr bwMode="auto">
            <a:xfrm flipH="1">
              <a:off x="4047" y="3537"/>
              <a:ext cx="162"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4" name="Freeform 16">
              <a:extLst>
                <a:ext uri="{FF2B5EF4-FFF2-40B4-BE49-F238E27FC236}">
                  <a16:creationId xmlns:a16="http://schemas.microsoft.com/office/drawing/2014/main" id="{4DC0C37D-834C-5440-9345-1518CB528623}"/>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5" name="Freeform 17">
              <a:extLst>
                <a:ext uri="{FF2B5EF4-FFF2-40B4-BE49-F238E27FC236}">
                  <a16:creationId xmlns:a16="http://schemas.microsoft.com/office/drawing/2014/main" id="{BEC8B025-C979-6344-9DF5-A872D5174AA1}"/>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6" name="Freeform 18">
              <a:extLst>
                <a:ext uri="{FF2B5EF4-FFF2-40B4-BE49-F238E27FC236}">
                  <a16:creationId xmlns:a16="http://schemas.microsoft.com/office/drawing/2014/main" id="{BB20352D-4BAF-6C48-B951-70DB53576601}"/>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7" name="Freeform 19">
              <a:extLst>
                <a:ext uri="{FF2B5EF4-FFF2-40B4-BE49-F238E27FC236}">
                  <a16:creationId xmlns:a16="http://schemas.microsoft.com/office/drawing/2014/main" id="{AFCDA3EA-4A90-4E48-83CA-AA39402682DA}"/>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8" name="Freeform 20">
              <a:extLst>
                <a:ext uri="{FF2B5EF4-FFF2-40B4-BE49-F238E27FC236}">
                  <a16:creationId xmlns:a16="http://schemas.microsoft.com/office/drawing/2014/main" id="{34E9EF95-7697-5C47-926D-035839E12EC6}"/>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9" name="Freeform 21">
              <a:extLst>
                <a:ext uri="{FF2B5EF4-FFF2-40B4-BE49-F238E27FC236}">
                  <a16:creationId xmlns:a16="http://schemas.microsoft.com/office/drawing/2014/main" id="{ACBC9669-89D1-9940-BAA7-BF15BB92B4A5}"/>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0" name="Freeform 22">
              <a:extLst>
                <a:ext uri="{FF2B5EF4-FFF2-40B4-BE49-F238E27FC236}">
                  <a16:creationId xmlns:a16="http://schemas.microsoft.com/office/drawing/2014/main" id="{8CF0F65D-449B-AB42-8665-DC81EDBFDF01}"/>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1" name="Freeform 23">
              <a:extLst>
                <a:ext uri="{FF2B5EF4-FFF2-40B4-BE49-F238E27FC236}">
                  <a16:creationId xmlns:a16="http://schemas.microsoft.com/office/drawing/2014/main" id="{D0DCD918-E8FA-0042-95C7-95B78C7A87AA}"/>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2" name="Freeform 24">
              <a:extLst>
                <a:ext uri="{FF2B5EF4-FFF2-40B4-BE49-F238E27FC236}">
                  <a16:creationId xmlns:a16="http://schemas.microsoft.com/office/drawing/2014/main" id="{50CEA896-2E30-3E46-AD84-D47D04DCBE65}"/>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3" name="Freeform 25">
              <a:extLst>
                <a:ext uri="{FF2B5EF4-FFF2-40B4-BE49-F238E27FC236}">
                  <a16:creationId xmlns:a16="http://schemas.microsoft.com/office/drawing/2014/main" id="{6399D75B-EA1B-7D44-97DA-8068957BBFF1}"/>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4" name="Freeform 26">
              <a:extLst>
                <a:ext uri="{FF2B5EF4-FFF2-40B4-BE49-F238E27FC236}">
                  <a16:creationId xmlns:a16="http://schemas.microsoft.com/office/drawing/2014/main" id="{90D680A9-5541-3043-81AB-DC2A931BB310}"/>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5" name="Freeform 27">
              <a:extLst>
                <a:ext uri="{FF2B5EF4-FFF2-40B4-BE49-F238E27FC236}">
                  <a16:creationId xmlns:a16="http://schemas.microsoft.com/office/drawing/2014/main" id="{B13714D9-53B8-A548-9B94-48F7ACF22A0A}"/>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6" name="Freeform 28">
              <a:extLst>
                <a:ext uri="{FF2B5EF4-FFF2-40B4-BE49-F238E27FC236}">
                  <a16:creationId xmlns:a16="http://schemas.microsoft.com/office/drawing/2014/main" id="{E56692EB-768A-2E40-830F-07CCB7720344}"/>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7" name="Freeform 29">
              <a:extLst>
                <a:ext uri="{FF2B5EF4-FFF2-40B4-BE49-F238E27FC236}">
                  <a16:creationId xmlns:a16="http://schemas.microsoft.com/office/drawing/2014/main" id="{E338CB3E-4FE8-AC4C-96A2-6E0A187DEF43}"/>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8" name="Freeform 30">
              <a:extLst>
                <a:ext uri="{FF2B5EF4-FFF2-40B4-BE49-F238E27FC236}">
                  <a16:creationId xmlns:a16="http://schemas.microsoft.com/office/drawing/2014/main" id="{4A705FD9-89D8-B749-A01B-3E29F27D7AE1}"/>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9" name="Freeform 31">
              <a:extLst>
                <a:ext uri="{FF2B5EF4-FFF2-40B4-BE49-F238E27FC236}">
                  <a16:creationId xmlns:a16="http://schemas.microsoft.com/office/drawing/2014/main" id="{36092DE1-2929-2F45-A42E-1789BEAC67F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0" name="Freeform 32">
              <a:extLst>
                <a:ext uri="{FF2B5EF4-FFF2-40B4-BE49-F238E27FC236}">
                  <a16:creationId xmlns:a16="http://schemas.microsoft.com/office/drawing/2014/main" id="{DCA8F752-4759-6D4C-B130-E4FADD0EC7AC}"/>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1" name="Freeform 33">
              <a:extLst>
                <a:ext uri="{FF2B5EF4-FFF2-40B4-BE49-F238E27FC236}">
                  <a16:creationId xmlns:a16="http://schemas.microsoft.com/office/drawing/2014/main" id="{B5001C12-4EC6-CB47-82CB-41D841C7CEA3}"/>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2" name="Line 34">
              <a:extLst>
                <a:ext uri="{FF2B5EF4-FFF2-40B4-BE49-F238E27FC236}">
                  <a16:creationId xmlns:a16="http://schemas.microsoft.com/office/drawing/2014/main" id="{067874A8-85BD-0B47-8663-914FD89A0862}"/>
                </a:ext>
              </a:extLst>
            </p:cNvPr>
            <p:cNvSpPr>
              <a:spLocks noChangeShapeType="1"/>
            </p:cNvSpPr>
            <p:nvPr/>
          </p:nvSpPr>
          <p:spPr bwMode="auto">
            <a:xfrm>
              <a:off x="4364" y="2457"/>
              <a:ext cx="91" cy="95"/>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3" name="Freeform 35">
              <a:extLst>
                <a:ext uri="{FF2B5EF4-FFF2-40B4-BE49-F238E27FC236}">
                  <a16:creationId xmlns:a16="http://schemas.microsoft.com/office/drawing/2014/main" id="{64AF0AB6-E14D-A945-9356-9952DBFC09C9}"/>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sp>
        <p:nvSpPr>
          <p:cNvPr id="174" name="Rectangle: Diagonal Corners Snipped 4">
            <a:extLst>
              <a:ext uri="{FF2B5EF4-FFF2-40B4-BE49-F238E27FC236}">
                <a16:creationId xmlns:a16="http://schemas.microsoft.com/office/drawing/2014/main" id="{D7ED53A5-E703-D749-8332-A45BBFA5FC02}"/>
              </a:ext>
            </a:extLst>
          </p:cNvPr>
          <p:cNvSpPr/>
          <p:nvPr/>
        </p:nvSpPr>
        <p:spPr bwMode="gray">
          <a:xfrm>
            <a:off x="5910172" y="2134081"/>
            <a:ext cx="271860" cy="3947548"/>
          </a:xfrm>
          <a:prstGeom prst="snip2DiagRect">
            <a:avLst>
              <a:gd name="adj1" fmla="val 19685"/>
              <a:gd name="adj2" fmla="val 21588"/>
            </a:avLst>
          </a:prstGeom>
          <a:solidFill>
            <a:sysClr val="windowText" lastClr="000000"/>
          </a:solidFill>
          <a:ln w="11113" cap="flat">
            <a:solidFill>
              <a:srgbClr val="53565A">
                <a:lumMod val="90000"/>
              </a:srgbClr>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nvGrpSpPr>
          <p:cNvPr id="175" name="Group 174">
            <a:extLst>
              <a:ext uri="{FF2B5EF4-FFF2-40B4-BE49-F238E27FC236}">
                <a16:creationId xmlns:a16="http://schemas.microsoft.com/office/drawing/2014/main" id="{BD79FFAE-D316-8C40-9713-F528AB34FDD1}"/>
              </a:ext>
            </a:extLst>
          </p:cNvPr>
          <p:cNvGrpSpPr/>
          <p:nvPr/>
        </p:nvGrpSpPr>
        <p:grpSpPr>
          <a:xfrm>
            <a:off x="7616805" y="2719236"/>
            <a:ext cx="1682746" cy="704231"/>
            <a:chOff x="6435796" y="3049357"/>
            <a:chExt cx="3845966" cy="449748"/>
          </a:xfrm>
        </p:grpSpPr>
        <p:cxnSp>
          <p:nvCxnSpPr>
            <p:cNvPr id="176" name="Straight Connector 175">
              <a:extLst>
                <a:ext uri="{FF2B5EF4-FFF2-40B4-BE49-F238E27FC236}">
                  <a16:creationId xmlns:a16="http://schemas.microsoft.com/office/drawing/2014/main" id="{3854AD4C-A717-3B43-8031-14939AD26D90}"/>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77" name="Straight Connector 176">
              <a:extLst>
                <a:ext uri="{FF2B5EF4-FFF2-40B4-BE49-F238E27FC236}">
                  <a16:creationId xmlns:a16="http://schemas.microsoft.com/office/drawing/2014/main" id="{A16684C7-4B37-154A-96BC-52EF9BD3CDA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78" name="Straight Connector 177">
              <a:extLst>
                <a:ext uri="{FF2B5EF4-FFF2-40B4-BE49-F238E27FC236}">
                  <a16:creationId xmlns:a16="http://schemas.microsoft.com/office/drawing/2014/main" id="{9E3C5B68-B5A7-FF49-9F50-247D3417ADE9}"/>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79" name="Group 178">
            <a:extLst>
              <a:ext uri="{FF2B5EF4-FFF2-40B4-BE49-F238E27FC236}">
                <a16:creationId xmlns:a16="http://schemas.microsoft.com/office/drawing/2014/main" id="{6BCDF952-AAAE-1E42-B08B-27D86CBAD72C}"/>
              </a:ext>
            </a:extLst>
          </p:cNvPr>
          <p:cNvGrpSpPr/>
          <p:nvPr/>
        </p:nvGrpSpPr>
        <p:grpSpPr>
          <a:xfrm flipV="1">
            <a:off x="7616804" y="4966110"/>
            <a:ext cx="1676857" cy="704231"/>
            <a:chOff x="6449256" y="3049357"/>
            <a:chExt cx="3832506" cy="449748"/>
          </a:xfrm>
        </p:grpSpPr>
        <p:cxnSp>
          <p:nvCxnSpPr>
            <p:cNvPr id="180" name="Straight Connector 179">
              <a:extLst>
                <a:ext uri="{FF2B5EF4-FFF2-40B4-BE49-F238E27FC236}">
                  <a16:creationId xmlns:a16="http://schemas.microsoft.com/office/drawing/2014/main" id="{EC41165B-A423-2A4A-9DA5-75A1BA8B0F71}"/>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1" name="Straight Connector 180">
              <a:extLst>
                <a:ext uri="{FF2B5EF4-FFF2-40B4-BE49-F238E27FC236}">
                  <a16:creationId xmlns:a16="http://schemas.microsoft.com/office/drawing/2014/main" id="{E5EDF3F6-AFED-5C47-99C7-4C50617544E9}"/>
                </a:ext>
              </a:extLst>
            </p:cNvPr>
            <p:cNvCxnSpPr>
              <a:cxnSpLocks/>
            </p:cNvCxnSpPr>
            <p:nvPr/>
          </p:nvCxnSpPr>
          <p:spPr>
            <a:xfrm flipH="1" flipV="1">
              <a:off x="6449256" y="3499105"/>
              <a:ext cx="1718951" cy="0"/>
            </a:xfrm>
            <a:prstGeom prst="line">
              <a:avLst/>
            </a:prstGeom>
            <a:noFill/>
            <a:ln w="9525" cap="rnd" cmpd="sng" algn="ctr">
              <a:solidFill>
                <a:sysClr val="window" lastClr="FFFFFF"/>
              </a:solidFill>
              <a:prstDash val="sysDash"/>
              <a:headEnd type="none"/>
              <a:tailEnd type="none"/>
            </a:ln>
            <a:effectLst/>
          </p:spPr>
        </p:cxnSp>
        <p:cxnSp>
          <p:nvCxnSpPr>
            <p:cNvPr id="182" name="Straight Connector 181">
              <a:extLst>
                <a:ext uri="{FF2B5EF4-FFF2-40B4-BE49-F238E27FC236}">
                  <a16:creationId xmlns:a16="http://schemas.microsoft.com/office/drawing/2014/main" id="{D1A22F93-175A-A84E-BC29-A8BCDED51147}"/>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83" name="Straight Arrow Connector 182">
            <a:extLst>
              <a:ext uri="{FF2B5EF4-FFF2-40B4-BE49-F238E27FC236}">
                <a16:creationId xmlns:a16="http://schemas.microsoft.com/office/drawing/2014/main" id="{6BB8D130-49FD-4345-9CF0-70446E8159AA}"/>
              </a:ext>
            </a:extLst>
          </p:cNvPr>
          <p:cNvCxnSpPr>
            <a:cxnSpLocks/>
          </p:cNvCxnSpPr>
          <p:nvPr/>
        </p:nvCxnSpPr>
        <p:spPr>
          <a:xfrm flipH="1">
            <a:off x="7734007" y="4184405"/>
            <a:ext cx="2259960"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grpSp>
        <p:nvGrpSpPr>
          <p:cNvPr id="184" name="Group 183">
            <a:extLst>
              <a:ext uri="{FF2B5EF4-FFF2-40B4-BE49-F238E27FC236}">
                <a16:creationId xmlns:a16="http://schemas.microsoft.com/office/drawing/2014/main" id="{C40AB4BA-0848-7A4B-A871-7B8E0B75A9E6}"/>
              </a:ext>
            </a:extLst>
          </p:cNvPr>
          <p:cNvGrpSpPr/>
          <p:nvPr/>
        </p:nvGrpSpPr>
        <p:grpSpPr>
          <a:xfrm flipH="1">
            <a:off x="2789405" y="2719236"/>
            <a:ext cx="1682746" cy="704231"/>
            <a:chOff x="6435796" y="3049357"/>
            <a:chExt cx="3845966" cy="449748"/>
          </a:xfrm>
        </p:grpSpPr>
        <p:cxnSp>
          <p:nvCxnSpPr>
            <p:cNvPr id="185" name="Straight Connector 184">
              <a:extLst>
                <a:ext uri="{FF2B5EF4-FFF2-40B4-BE49-F238E27FC236}">
                  <a16:creationId xmlns:a16="http://schemas.microsoft.com/office/drawing/2014/main" id="{39E30812-48B5-6549-96CD-1BFA91FBF25E}"/>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6" name="Straight Connector 185">
              <a:extLst>
                <a:ext uri="{FF2B5EF4-FFF2-40B4-BE49-F238E27FC236}">
                  <a16:creationId xmlns:a16="http://schemas.microsoft.com/office/drawing/2014/main" id="{BCBF3140-82A6-C34A-8C6A-C7060B574FE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87" name="Straight Connector 186">
              <a:extLst>
                <a:ext uri="{FF2B5EF4-FFF2-40B4-BE49-F238E27FC236}">
                  <a16:creationId xmlns:a16="http://schemas.microsoft.com/office/drawing/2014/main" id="{9745FED8-1E79-684B-B445-85A370E56A88}"/>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88" name="Group 187">
            <a:extLst>
              <a:ext uri="{FF2B5EF4-FFF2-40B4-BE49-F238E27FC236}">
                <a16:creationId xmlns:a16="http://schemas.microsoft.com/office/drawing/2014/main" id="{70683F75-97AD-FF4F-A1E6-E5A8C86883B0}"/>
              </a:ext>
            </a:extLst>
          </p:cNvPr>
          <p:cNvGrpSpPr/>
          <p:nvPr/>
        </p:nvGrpSpPr>
        <p:grpSpPr>
          <a:xfrm flipH="1" flipV="1">
            <a:off x="2766571" y="4966110"/>
            <a:ext cx="1694924" cy="704231"/>
            <a:chOff x="6407963" y="3049357"/>
            <a:chExt cx="3873799" cy="449748"/>
          </a:xfrm>
        </p:grpSpPr>
        <p:cxnSp>
          <p:nvCxnSpPr>
            <p:cNvPr id="189" name="Straight Connector 188">
              <a:extLst>
                <a:ext uri="{FF2B5EF4-FFF2-40B4-BE49-F238E27FC236}">
                  <a16:creationId xmlns:a16="http://schemas.microsoft.com/office/drawing/2014/main" id="{F145FC1F-AA6B-FC44-8628-56D8A09051A3}"/>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90" name="Straight Connector 189">
              <a:extLst>
                <a:ext uri="{FF2B5EF4-FFF2-40B4-BE49-F238E27FC236}">
                  <a16:creationId xmlns:a16="http://schemas.microsoft.com/office/drawing/2014/main" id="{1B3EA6D3-BA44-9640-ABE8-D01C976C3BD2}"/>
                </a:ext>
              </a:extLst>
            </p:cNvPr>
            <p:cNvCxnSpPr>
              <a:cxnSpLocks/>
            </p:cNvCxnSpPr>
            <p:nvPr/>
          </p:nvCxnSpPr>
          <p:spPr>
            <a:xfrm flipH="1" flipV="1">
              <a:off x="6407963" y="3499105"/>
              <a:ext cx="1760242" cy="0"/>
            </a:xfrm>
            <a:prstGeom prst="line">
              <a:avLst/>
            </a:prstGeom>
            <a:noFill/>
            <a:ln w="9525" cap="rnd" cmpd="sng" algn="ctr">
              <a:solidFill>
                <a:sysClr val="window" lastClr="FFFFFF"/>
              </a:solidFill>
              <a:prstDash val="sysDash"/>
              <a:headEnd type="none"/>
              <a:tailEnd type="none"/>
            </a:ln>
            <a:effectLst/>
          </p:spPr>
        </p:cxnSp>
        <p:cxnSp>
          <p:nvCxnSpPr>
            <p:cNvPr id="191" name="Straight Connector 190">
              <a:extLst>
                <a:ext uri="{FF2B5EF4-FFF2-40B4-BE49-F238E27FC236}">
                  <a16:creationId xmlns:a16="http://schemas.microsoft.com/office/drawing/2014/main" id="{D1BA80C2-A861-674B-BA15-002B009013A2}"/>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92" name="Straight Arrow Connector 191">
            <a:extLst>
              <a:ext uri="{FF2B5EF4-FFF2-40B4-BE49-F238E27FC236}">
                <a16:creationId xmlns:a16="http://schemas.microsoft.com/office/drawing/2014/main" id="{9D7FE698-8A25-AF48-97C1-DEEBAB9AB714}"/>
              </a:ext>
            </a:extLst>
          </p:cNvPr>
          <p:cNvCxnSpPr>
            <a:cxnSpLocks/>
            <a:stCxn id="107" idx="3"/>
          </p:cNvCxnSpPr>
          <p:nvPr/>
        </p:nvCxnSpPr>
        <p:spPr>
          <a:xfrm>
            <a:off x="2095922" y="4184406"/>
            <a:ext cx="2239059"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sp>
        <p:nvSpPr>
          <p:cNvPr id="193" name="Round Same Side Corner Rectangle 30">
            <a:extLst>
              <a:ext uri="{FF2B5EF4-FFF2-40B4-BE49-F238E27FC236}">
                <a16:creationId xmlns:a16="http://schemas.microsoft.com/office/drawing/2014/main" id="{7F20B8E5-38B9-874E-801A-0C94EA39DC03}"/>
              </a:ext>
            </a:extLst>
          </p:cNvPr>
          <p:cNvSpPr/>
          <p:nvPr/>
        </p:nvSpPr>
        <p:spPr bwMode="gray">
          <a:xfrm>
            <a:off x="671460" y="1472112"/>
            <a:ext cx="4533523" cy="522192"/>
          </a:xfrm>
          <a:prstGeom prst="round2SameRect">
            <a:avLst>
              <a:gd name="adj1" fmla="val 24620"/>
              <a:gd name="adj2" fmla="val 0"/>
            </a:avLst>
          </a:prstGeom>
          <a:solidFill>
            <a:srgbClr val="86BC25"/>
          </a:solidFill>
          <a:ln w="19050" algn="ctr">
            <a:noFill/>
            <a:miter lim="800000"/>
            <a:headEnd/>
            <a:tailEnd/>
          </a:ln>
        </p:spPr>
        <p:txBody>
          <a:bodyPr wrap="square" lIns="60485" tIns="60485" rIns="60485" bIns="60485" rtlCol="0" anchor="ctr"/>
          <a:lstStyle/>
          <a:p>
            <a:pPr lvl="0" algn="ctr" defTabSz="535802">
              <a:lnSpc>
                <a:spcPts val="1300"/>
              </a:lnSpc>
            </a:pPr>
            <a:r>
              <a:rPr lang="en-US" sz="1200" b="1" kern="0" dirty="0">
                <a:solidFill>
                  <a:prstClr val="black"/>
                </a:solidFill>
              </a:rPr>
              <a:t>Lorem ipsum dolor sit </a:t>
            </a:r>
            <a:r>
              <a:rPr lang="en-US" sz="1200" b="1" kern="0" dirty="0" err="1">
                <a:solidFill>
                  <a:prstClr val="black"/>
                </a:solidFill>
              </a:rPr>
              <a:t>amet</a:t>
            </a:r>
            <a:r>
              <a:rPr lang="en-US" sz="1200" b="1" kern="0" dirty="0">
                <a:solidFill>
                  <a:prstClr val="black"/>
                </a:solidFill>
              </a:rPr>
              <a:t>, </a:t>
            </a:r>
            <a:r>
              <a:rPr lang="en-US" sz="1200" b="1" kern="0" dirty="0" err="1">
                <a:solidFill>
                  <a:prstClr val="black"/>
                </a:solidFill>
              </a:rPr>
              <a:t>consectetur</a:t>
            </a:r>
            <a:endParaRPr lang="en-US" sz="1200" b="1" kern="0" dirty="0">
              <a:solidFill>
                <a:prstClr val="black"/>
              </a:solidFill>
            </a:endParaRPr>
          </a:p>
          <a:p>
            <a:pPr lvl="0" algn="ctr" defTabSz="535802">
              <a:lnSpc>
                <a:spcPts val="1300"/>
              </a:lnSpc>
            </a:pPr>
            <a:r>
              <a:rPr lang="en-US" sz="1200" b="1" kern="0" dirty="0" err="1">
                <a:solidFill>
                  <a:prstClr val="black"/>
                </a:solidFill>
              </a:rPr>
              <a:t>adipiscing</a:t>
            </a:r>
            <a:r>
              <a:rPr lang="en-US" sz="1200" b="1" kern="0" dirty="0">
                <a:solidFill>
                  <a:prstClr val="black"/>
                </a:solidFill>
              </a:rPr>
              <a:t> </a:t>
            </a:r>
            <a:r>
              <a:rPr lang="en-US" sz="1200" b="1" kern="0" dirty="0" err="1">
                <a:solidFill>
                  <a:prstClr val="black"/>
                </a:solidFill>
              </a:rPr>
              <a:t>elit</a:t>
            </a:r>
            <a:r>
              <a:rPr lang="en-US" sz="1200" b="1" kern="0" dirty="0">
                <a:solidFill>
                  <a:prstClr val="black"/>
                </a:solidFill>
              </a:rPr>
              <a:t>, sed do</a:t>
            </a:r>
          </a:p>
        </p:txBody>
      </p:sp>
      <p:sp>
        <p:nvSpPr>
          <p:cNvPr id="194" name="Round Same Side Corner Rectangle 30">
            <a:extLst>
              <a:ext uri="{FF2B5EF4-FFF2-40B4-BE49-F238E27FC236}">
                <a16:creationId xmlns:a16="http://schemas.microsoft.com/office/drawing/2014/main" id="{0EE35670-FFF5-8643-9393-2B74118E3F36}"/>
              </a:ext>
            </a:extLst>
          </p:cNvPr>
          <p:cNvSpPr/>
          <p:nvPr/>
        </p:nvSpPr>
        <p:spPr bwMode="gray">
          <a:xfrm>
            <a:off x="6888971" y="1477138"/>
            <a:ext cx="4538815" cy="522192"/>
          </a:xfrm>
          <a:prstGeom prst="round2SameRect">
            <a:avLst>
              <a:gd name="adj1" fmla="val 24620"/>
              <a:gd name="adj2" fmla="val 0"/>
            </a:avLst>
          </a:prstGeom>
          <a:solidFill>
            <a:srgbClr val="00A3E0"/>
          </a:solidFill>
          <a:ln w="19050" algn="ctr">
            <a:noFill/>
            <a:miter lim="800000"/>
            <a:headEnd/>
            <a:tailEnd/>
          </a:ln>
        </p:spPr>
        <p:txBody>
          <a:bodyPr wrap="square" lIns="60485" tIns="60485" rIns="60485" bIns="60485" rtlCol="0" anchor="ctr"/>
          <a:lstStyle/>
          <a:p>
            <a:pPr lvl="0" algn="ctr" defTabSz="535802">
              <a:lnSpc>
                <a:spcPts val="1300"/>
              </a:lnSpc>
            </a:pPr>
            <a:r>
              <a:rPr lang="en-US" sz="1200" b="1" kern="0" dirty="0">
                <a:solidFill>
                  <a:prstClr val="black"/>
                </a:solidFill>
              </a:rPr>
              <a:t>Lorem ipsum dolor sit </a:t>
            </a:r>
            <a:r>
              <a:rPr lang="en-US" sz="1200" b="1" kern="0" dirty="0" err="1">
                <a:solidFill>
                  <a:prstClr val="black"/>
                </a:solidFill>
              </a:rPr>
              <a:t>amet</a:t>
            </a:r>
            <a:r>
              <a:rPr lang="en-US" sz="1200" b="1" kern="0" dirty="0">
                <a:solidFill>
                  <a:prstClr val="black"/>
                </a:solidFill>
              </a:rPr>
              <a:t>, </a:t>
            </a:r>
            <a:r>
              <a:rPr lang="en-US" sz="1200" b="1" kern="0" dirty="0" err="1">
                <a:solidFill>
                  <a:prstClr val="black"/>
                </a:solidFill>
              </a:rPr>
              <a:t>consectetur</a:t>
            </a:r>
            <a:endParaRPr lang="en-US" sz="1200" b="1" kern="0" dirty="0">
              <a:solidFill>
                <a:prstClr val="black"/>
              </a:solidFill>
            </a:endParaRPr>
          </a:p>
          <a:p>
            <a:pPr lvl="0" algn="ctr" defTabSz="535802">
              <a:lnSpc>
                <a:spcPts val="1300"/>
              </a:lnSpc>
            </a:pPr>
            <a:r>
              <a:rPr lang="en-US" sz="1200" b="1" kern="0" dirty="0" err="1">
                <a:solidFill>
                  <a:prstClr val="black"/>
                </a:solidFill>
              </a:rPr>
              <a:t>adipiscing</a:t>
            </a:r>
            <a:r>
              <a:rPr lang="en-US" sz="1200" b="1" kern="0" dirty="0">
                <a:solidFill>
                  <a:prstClr val="black"/>
                </a:solidFill>
              </a:rPr>
              <a:t> </a:t>
            </a:r>
            <a:r>
              <a:rPr lang="en-US" sz="1200" b="1" kern="0" dirty="0" err="1">
                <a:solidFill>
                  <a:prstClr val="black"/>
                </a:solidFill>
              </a:rPr>
              <a:t>elit</a:t>
            </a:r>
            <a:r>
              <a:rPr lang="en-US" sz="1200" b="1" kern="0" dirty="0">
                <a:solidFill>
                  <a:prstClr val="black"/>
                </a:solidFill>
              </a:rPr>
              <a:t>, sed do</a:t>
            </a:r>
          </a:p>
        </p:txBody>
      </p:sp>
      <p:sp>
        <p:nvSpPr>
          <p:cNvPr id="195" name="Freeform 927">
            <a:extLst>
              <a:ext uri="{FF2B5EF4-FFF2-40B4-BE49-F238E27FC236}">
                <a16:creationId xmlns:a16="http://schemas.microsoft.com/office/drawing/2014/main" id="{B7451C38-35A6-C54D-957E-755428ED5EAE}"/>
              </a:ext>
            </a:extLst>
          </p:cNvPr>
          <p:cNvSpPr>
            <a:spLocks noEditPoints="1"/>
          </p:cNvSpPr>
          <p:nvPr/>
        </p:nvSpPr>
        <p:spPr bwMode="auto">
          <a:xfrm>
            <a:off x="779853" y="1590841"/>
            <a:ext cx="289877" cy="288367"/>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sp>
        <p:nvSpPr>
          <p:cNvPr id="196" name="Freeform 464">
            <a:extLst>
              <a:ext uri="{FF2B5EF4-FFF2-40B4-BE49-F238E27FC236}">
                <a16:creationId xmlns:a16="http://schemas.microsoft.com/office/drawing/2014/main" id="{4F91F6EB-99E8-5B4A-AF11-4922DC4E5334}"/>
              </a:ext>
            </a:extLst>
          </p:cNvPr>
          <p:cNvSpPr>
            <a:spLocks noEditPoints="1"/>
          </p:cNvSpPr>
          <p:nvPr/>
        </p:nvSpPr>
        <p:spPr bwMode="auto">
          <a:xfrm>
            <a:off x="10954212" y="1643799"/>
            <a:ext cx="336350" cy="234811"/>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cxnSp>
        <p:nvCxnSpPr>
          <p:cNvPr id="197" name="Connector: Elbow 47">
            <a:extLst>
              <a:ext uri="{FF2B5EF4-FFF2-40B4-BE49-F238E27FC236}">
                <a16:creationId xmlns:a16="http://schemas.microsoft.com/office/drawing/2014/main" id="{3DC90C3B-62C6-3540-BE8E-173B21A2D722}"/>
              </a:ext>
            </a:extLst>
          </p:cNvPr>
          <p:cNvCxnSpPr>
            <a:cxnSpLocks/>
          </p:cNvCxnSpPr>
          <p:nvPr/>
        </p:nvCxnSpPr>
        <p:spPr>
          <a:xfrm>
            <a:off x="5204984" y="1752032"/>
            <a:ext cx="444822" cy="377297"/>
          </a:xfrm>
          <a:prstGeom prst="bentConnector3">
            <a:avLst>
              <a:gd name="adj1" fmla="val 100302"/>
            </a:avLst>
          </a:prstGeom>
          <a:noFill/>
          <a:ln w="9525" cap="flat" cmpd="sng" algn="ctr">
            <a:solidFill>
              <a:srgbClr val="86BC25"/>
            </a:solidFill>
            <a:prstDash val="solid"/>
            <a:headEnd type="oval"/>
          </a:ln>
          <a:effectLst/>
        </p:spPr>
      </p:cxnSp>
      <p:cxnSp>
        <p:nvCxnSpPr>
          <p:cNvPr id="198" name="Connector: Elbow 515">
            <a:extLst>
              <a:ext uri="{FF2B5EF4-FFF2-40B4-BE49-F238E27FC236}">
                <a16:creationId xmlns:a16="http://schemas.microsoft.com/office/drawing/2014/main" id="{EB14F99E-7DF3-714C-A1D0-B4B311027419}"/>
              </a:ext>
            </a:extLst>
          </p:cNvPr>
          <p:cNvCxnSpPr>
            <a:cxnSpLocks/>
          </p:cNvCxnSpPr>
          <p:nvPr/>
        </p:nvCxnSpPr>
        <p:spPr>
          <a:xfrm flipH="1">
            <a:off x="6448564" y="1752032"/>
            <a:ext cx="444822" cy="377297"/>
          </a:xfrm>
          <a:prstGeom prst="bentConnector3">
            <a:avLst>
              <a:gd name="adj1" fmla="val 100302"/>
            </a:avLst>
          </a:prstGeom>
          <a:noFill/>
          <a:ln w="9525" cap="flat" cmpd="sng" algn="ctr">
            <a:solidFill>
              <a:srgbClr val="00A3E0"/>
            </a:solidFill>
            <a:prstDash val="solid"/>
            <a:headEnd type="oval"/>
          </a:ln>
          <a:effectLst/>
        </p:spPr>
      </p:cxnSp>
      <p:sp>
        <p:nvSpPr>
          <p:cNvPr id="199" name="Oval 198">
            <a:extLst>
              <a:ext uri="{FF2B5EF4-FFF2-40B4-BE49-F238E27FC236}">
                <a16:creationId xmlns:a16="http://schemas.microsoft.com/office/drawing/2014/main" id="{019EAB76-19B9-944C-9122-ABBBF59EF843}"/>
              </a:ext>
            </a:extLst>
          </p:cNvPr>
          <p:cNvSpPr/>
          <p:nvPr/>
        </p:nvSpPr>
        <p:spPr bwMode="gray">
          <a:xfrm>
            <a:off x="4924486" y="6284037"/>
            <a:ext cx="2237088" cy="121026"/>
          </a:xfrm>
          <a:prstGeom prst="ellipse">
            <a:avLst/>
          </a:prstGeom>
          <a:solidFill>
            <a:sysClr val="windowText" lastClr="000000">
              <a:lumMod val="95000"/>
              <a:lumOff val="5000"/>
            </a:sysClr>
          </a:solidFill>
          <a:ln w="19050" algn="ctr">
            <a:noFill/>
            <a:miter lim="800000"/>
            <a:headEnd/>
            <a:tailEnd/>
          </a:ln>
        </p:spPr>
        <p:txBody>
          <a:bodyPr wrap="square" lIns="66675" tIns="66675" rIns="66675" bIns="66675"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endParaRPr>
          </a:p>
        </p:txBody>
      </p:sp>
      <p:sp>
        <p:nvSpPr>
          <p:cNvPr id="99" name="Star: 5 Points 98">
            <a:extLst>
              <a:ext uri="{FF2B5EF4-FFF2-40B4-BE49-F238E27FC236}">
                <a16:creationId xmlns:a16="http://schemas.microsoft.com/office/drawing/2014/main" id="{87A50AB0-63A0-4CB7-91CF-407FD86D211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2133277366"/>
      </p:ext>
    </p:extLst>
  </p:cSld>
  <p:clrMapOvr>
    <a:masterClrMapping/>
  </p:clrMapOvr>
  <p:transition>
    <p:fade/>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74">
            <a:extLst>
              <a:ext uri="{FF2B5EF4-FFF2-40B4-BE49-F238E27FC236}">
                <a16:creationId xmlns:a16="http://schemas.microsoft.com/office/drawing/2014/main" id="{3C73553F-39E6-4044-AE90-EAB4CA989E64}"/>
              </a:ext>
            </a:extLst>
          </p:cNvPr>
          <p:cNvSpPr>
            <a:spLocks noGrp="1"/>
          </p:cNvSpPr>
          <p:nvPr>
            <p:ph type="title"/>
          </p:nvPr>
        </p:nvSpPr>
        <p:spPr/>
        <p:txBody>
          <a:bodyPr/>
          <a:lstStyle/>
          <a:p>
            <a:r>
              <a:rPr lang="en-US" dirty="0"/>
              <a:t>Innovation</a:t>
            </a:r>
          </a:p>
        </p:txBody>
      </p:sp>
      <p:grpSp>
        <p:nvGrpSpPr>
          <p:cNvPr id="74" name="Group 73">
            <a:extLst>
              <a:ext uri="{FF2B5EF4-FFF2-40B4-BE49-F238E27FC236}">
                <a16:creationId xmlns:a16="http://schemas.microsoft.com/office/drawing/2014/main" id="{DF9667FF-DFFF-4F39-A0F3-DAA58F8E7737}"/>
              </a:ext>
            </a:extLst>
          </p:cNvPr>
          <p:cNvGrpSpPr/>
          <p:nvPr/>
        </p:nvGrpSpPr>
        <p:grpSpPr>
          <a:xfrm>
            <a:off x="524612" y="1700212"/>
            <a:ext cx="11142776" cy="4592733"/>
            <a:chOff x="352426" y="2117101"/>
            <a:chExt cx="8312354" cy="3426114"/>
          </a:xfrm>
        </p:grpSpPr>
        <p:grpSp>
          <p:nvGrpSpPr>
            <p:cNvPr id="4" name="Group 574">
              <a:extLst>
                <a:ext uri="{FF2B5EF4-FFF2-40B4-BE49-F238E27FC236}">
                  <a16:creationId xmlns:a16="http://schemas.microsoft.com/office/drawing/2014/main" id="{8C196901-8777-4C2B-856D-E4145BD31FA4}"/>
                </a:ext>
              </a:extLst>
            </p:cNvPr>
            <p:cNvGrpSpPr>
              <a:grpSpLocks noChangeAspect="1"/>
            </p:cNvGrpSpPr>
            <p:nvPr/>
          </p:nvGrpSpPr>
          <p:grpSpPr bwMode="auto">
            <a:xfrm>
              <a:off x="3217477" y="2573951"/>
              <a:ext cx="456270" cy="457612"/>
              <a:chOff x="1921" y="1949"/>
              <a:chExt cx="340" cy="341"/>
            </a:xfrm>
            <a:solidFill>
              <a:schemeClr val="accent5"/>
            </a:solidFill>
          </p:grpSpPr>
          <p:sp>
            <p:nvSpPr>
              <p:cNvPr id="5" name="Freeform 575">
                <a:extLst>
                  <a:ext uri="{FF2B5EF4-FFF2-40B4-BE49-F238E27FC236}">
                    <a16:creationId xmlns:a16="http://schemas.microsoft.com/office/drawing/2014/main" id="{C9DBFD27-6577-4B40-9C99-6855E6A8B7FA}"/>
                  </a:ext>
                </a:extLst>
              </p:cNvPr>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5"/>
              </a:lnRef>
              <a:fillRef idx="1">
                <a:schemeClr val="lt1"/>
              </a:fillRef>
              <a:effectRef idx="0">
                <a:schemeClr val="accent5"/>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 name="Freeform 576">
                <a:extLst>
                  <a:ext uri="{FF2B5EF4-FFF2-40B4-BE49-F238E27FC236}">
                    <a16:creationId xmlns:a16="http://schemas.microsoft.com/office/drawing/2014/main" id="{1465676E-A7BF-499C-A5C1-C170CAFAE7B8}"/>
                  </a:ext>
                </a:extLst>
              </p:cNvPr>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5"/>
              </a:lnRef>
              <a:fillRef idx="1">
                <a:schemeClr val="lt1"/>
              </a:fillRef>
              <a:effectRef idx="0">
                <a:schemeClr val="accent5"/>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7" name="Group 489">
              <a:extLst>
                <a:ext uri="{FF2B5EF4-FFF2-40B4-BE49-F238E27FC236}">
                  <a16:creationId xmlns:a16="http://schemas.microsoft.com/office/drawing/2014/main" id="{D3121BA0-0F11-4198-88D1-A6370549F208}"/>
                </a:ext>
              </a:extLst>
            </p:cNvPr>
            <p:cNvGrpSpPr>
              <a:grpSpLocks noChangeAspect="1"/>
            </p:cNvGrpSpPr>
            <p:nvPr/>
          </p:nvGrpSpPr>
          <p:grpSpPr bwMode="auto">
            <a:xfrm>
              <a:off x="1088668" y="2573951"/>
              <a:ext cx="461930" cy="457612"/>
              <a:chOff x="2920" y="2264"/>
              <a:chExt cx="340" cy="340"/>
            </a:xfrm>
            <a:solidFill>
              <a:schemeClr val="accent5"/>
            </a:solidFill>
          </p:grpSpPr>
          <p:sp>
            <p:nvSpPr>
              <p:cNvPr id="8" name="Freeform 490">
                <a:extLst>
                  <a:ext uri="{FF2B5EF4-FFF2-40B4-BE49-F238E27FC236}">
                    <a16:creationId xmlns:a16="http://schemas.microsoft.com/office/drawing/2014/main" id="{BCD3175F-EFA7-4CCD-B2B4-292A9995CEBA}"/>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 name="Freeform 491">
                <a:extLst>
                  <a:ext uri="{FF2B5EF4-FFF2-40B4-BE49-F238E27FC236}">
                    <a16:creationId xmlns:a16="http://schemas.microsoft.com/office/drawing/2014/main" id="{6ECCB2DF-9D22-4747-B6A3-A4D303E1E941}"/>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0" name="Freeform 492">
                <a:extLst>
                  <a:ext uri="{FF2B5EF4-FFF2-40B4-BE49-F238E27FC236}">
                    <a16:creationId xmlns:a16="http://schemas.microsoft.com/office/drawing/2014/main" id="{2F58D71E-0903-4B02-AAE8-E67ED6247C65}"/>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1" name="Group 10">
              <a:extLst>
                <a:ext uri="{FF2B5EF4-FFF2-40B4-BE49-F238E27FC236}">
                  <a16:creationId xmlns:a16="http://schemas.microsoft.com/office/drawing/2014/main" id="{648D6542-F5A6-4271-A321-4012662AA23B}"/>
                </a:ext>
              </a:extLst>
            </p:cNvPr>
            <p:cNvGrpSpPr/>
            <p:nvPr/>
          </p:nvGrpSpPr>
          <p:grpSpPr>
            <a:xfrm>
              <a:off x="352426" y="2117101"/>
              <a:ext cx="1934414" cy="356534"/>
              <a:chOff x="413228" y="1371600"/>
              <a:chExt cx="1947702" cy="476173"/>
            </a:xfrm>
          </p:grpSpPr>
          <p:sp>
            <p:nvSpPr>
              <p:cNvPr id="12" name="Right Triangle 49">
                <a:extLst>
                  <a:ext uri="{FF2B5EF4-FFF2-40B4-BE49-F238E27FC236}">
                    <a16:creationId xmlns:a16="http://schemas.microsoft.com/office/drawing/2014/main" id="{29868CD8-0A6F-49B7-84C9-1CC24AF99002}"/>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 name="Right Triangle 49">
                <a:extLst>
                  <a:ext uri="{FF2B5EF4-FFF2-40B4-BE49-F238E27FC236}">
                    <a16:creationId xmlns:a16="http://schemas.microsoft.com/office/drawing/2014/main" id="{AD495C6B-75E6-4804-92F2-9B7BF9C4E44B}"/>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4" name="Round Same Side Corner Rectangle 43">
                <a:extLst>
                  <a:ext uri="{FF2B5EF4-FFF2-40B4-BE49-F238E27FC236}">
                    <a16:creationId xmlns:a16="http://schemas.microsoft.com/office/drawing/2014/main" id="{061E7905-79A6-499A-8D5D-704DFF1259AB}"/>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lvl="0" algn="ctr"/>
                <a:r>
                  <a:rPr lang="en-US" sz="1100" b="1" dirty="0">
                    <a:solidFill>
                      <a:prstClr val="white"/>
                    </a:solidFill>
                    <a:latin typeface="Calibri" panose="020F0502020204030204" pitchFamily="34" charset="0"/>
                    <a:cs typeface="Calibri" panose="020F0502020204030204" pitchFamily="34" charset="0"/>
                  </a:rPr>
                  <a:t>Lorem ipsum </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grpSp>
          <p:nvGrpSpPr>
            <p:cNvPr id="15" name="Group 14">
              <a:extLst>
                <a:ext uri="{FF2B5EF4-FFF2-40B4-BE49-F238E27FC236}">
                  <a16:creationId xmlns:a16="http://schemas.microsoft.com/office/drawing/2014/main" id="{DFD3E7B2-3428-4824-A54D-B24C483AB07C}"/>
                </a:ext>
              </a:extLst>
            </p:cNvPr>
            <p:cNvGrpSpPr/>
            <p:nvPr/>
          </p:nvGrpSpPr>
          <p:grpSpPr>
            <a:xfrm>
              <a:off x="352426" y="3547170"/>
              <a:ext cx="1934414" cy="1996045"/>
              <a:chOff x="582909" y="4047068"/>
              <a:chExt cx="2642778" cy="3211966"/>
            </a:xfrm>
          </p:grpSpPr>
          <p:sp>
            <p:nvSpPr>
              <p:cNvPr id="16" name="Rectangle 15">
                <a:extLst>
                  <a:ext uri="{FF2B5EF4-FFF2-40B4-BE49-F238E27FC236}">
                    <a16:creationId xmlns:a16="http://schemas.microsoft.com/office/drawing/2014/main" id="{FF36E524-1298-445B-81CC-5F5266C44617}"/>
                  </a:ext>
                </a:extLst>
              </p:cNvPr>
              <p:cNvSpPr/>
              <p:nvPr/>
            </p:nvSpPr>
            <p:spPr bwMode="gray">
              <a:xfrm>
                <a:off x="582909" y="4047068"/>
                <a:ext cx="2642778" cy="3124270"/>
              </a:xfrm>
              <a:prstGeom prst="rect">
                <a:avLst/>
              </a:prstGeom>
              <a:solidFill>
                <a:schemeClr val="bg1">
                  <a:lumMod val="95000"/>
                </a:schemeClr>
              </a:solidFill>
              <a:ln w="19050" algn="ctr">
                <a:noFill/>
                <a:miter lim="800000"/>
                <a:headEnd/>
                <a:tailEnd/>
              </a:ln>
            </p:spPr>
            <p:txBody>
              <a:bodyPr wrap="square" lIns="40500" tIns="40500" rIns="27000" bIns="27000" rtlCol="0" anchor="t"/>
              <a:lstStyle/>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Light"/>
                    <a:ea typeface="+mn-ea"/>
                    <a:cs typeface="+mn-cs"/>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lang="en-US" sz="1100" dirty="0">
                    <a:solidFill>
                      <a:prstClr val="black"/>
                    </a:solidFill>
                    <a:latin typeface="Calibri Light"/>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Light"/>
                    <a:ea typeface="+mn-ea"/>
                    <a:cs typeface="+mn-cs"/>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lang="en-US" sz="1100" dirty="0">
                    <a:solidFill>
                      <a:prstClr val="black"/>
                    </a:solidFill>
                    <a:latin typeface="Calibri Light"/>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Light"/>
                    <a:ea typeface="+mn-ea"/>
                    <a:cs typeface="+mn-cs"/>
                  </a:rPr>
                  <a:t>Xxx</a:t>
                </a:r>
              </a:p>
              <a:p>
                <a:pPr marL="128588" marR="0" lvl="0" indent="-102870" algn="l" defTabSz="914400" rtl="0" eaLnBrk="1" fontAlgn="auto" latinLnBrk="0" hangingPunct="1">
                  <a:lnSpc>
                    <a:spcPct val="100000"/>
                  </a:lnSpc>
                  <a:spcBef>
                    <a:spcPts val="450"/>
                  </a:spcBef>
                  <a:spcAft>
                    <a:spcPts val="0"/>
                  </a:spcAft>
                  <a:buClrTx/>
                  <a:buSzTx/>
                  <a:buFont typeface="Arial" panose="020B0604020202020204" pitchFamily="34" charset="0"/>
                  <a:buChar char="•"/>
                  <a:tabLst/>
                  <a:defRPr/>
                </a:pPr>
                <a:r>
                  <a:rPr lang="en-US" sz="1100" dirty="0">
                    <a:solidFill>
                      <a:prstClr val="black"/>
                    </a:solidFill>
                    <a:latin typeface="Calibri Light"/>
                  </a:rPr>
                  <a:t>xxx</a:t>
                </a: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7" name="Rectangle 16">
                <a:extLst>
                  <a:ext uri="{FF2B5EF4-FFF2-40B4-BE49-F238E27FC236}">
                    <a16:creationId xmlns:a16="http://schemas.microsoft.com/office/drawing/2014/main" id="{875A85C2-DD85-4D2D-9BAB-86FD318B6471}"/>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18" name="Group 17">
              <a:extLst>
                <a:ext uri="{FF2B5EF4-FFF2-40B4-BE49-F238E27FC236}">
                  <a16:creationId xmlns:a16="http://schemas.microsoft.com/office/drawing/2014/main" id="{D1192240-DB18-4602-BC96-F713F51F5EA2}"/>
                </a:ext>
              </a:extLst>
            </p:cNvPr>
            <p:cNvGrpSpPr/>
            <p:nvPr/>
          </p:nvGrpSpPr>
          <p:grpSpPr>
            <a:xfrm>
              <a:off x="1002419" y="2473635"/>
              <a:ext cx="634427" cy="1049086"/>
              <a:chOff x="757805" y="1635343"/>
              <a:chExt cx="1185062" cy="2012973"/>
            </a:xfrm>
          </p:grpSpPr>
          <p:sp>
            <p:nvSpPr>
              <p:cNvPr id="19" name="Freeform 36">
                <a:extLst>
                  <a:ext uri="{FF2B5EF4-FFF2-40B4-BE49-F238E27FC236}">
                    <a16:creationId xmlns:a16="http://schemas.microsoft.com/office/drawing/2014/main" id="{68DB2047-3620-45A5-8E31-F5A368E64683}"/>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0" name="Round Same Side Corner Rectangle 37">
                <a:extLst>
                  <a:ext uri="{FF2B5EF4-FFF2-40B4-BE49-F238E27FC236}">
                    <a16:creationId xmlns:a16="http://schemas.microsoft.com/office/drawing/2014/main" id="{226606D2-0E15-4F08-959B-39AC659D24D8}"/>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1" name="Round Same Side Corner Rectangle 38">
                <a:extLst>
                  <a:ext uri="{FF2B5EF4-FFF2-40B4-BE49-F238E27FC236}">
                    <a16:creationId xmlns:a16="http://schemas.microsoft.com/office/drawing/2014/main" id="{1A9107EB-116E-43C6-8BF0-1B951A4E8FBE}"/>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2" name="Round Same Side Corner Rectangle 39">
                <a:extLst>
                  <a:ext uri="{FF2B5EF4-FFF2-40B4-BE49-F238E27FC236}">
                    <a16:creationId xmlns:a16="http://schemas.microsoft.com/office/drawing/2014/main" id="{E5978045-D442-4BBC-85F5-15BAD92B52C6}"/>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3" name="Oval 22">
                <a:extLst>
                  <a:ext uri="{FF2B5EF4-FFF2-40B4-BE49-F238E27FC236}">
                    <a16:creationId xmlns:a16="http://schemas.microsoft.com/office/drawing/2014/main" id="{AAA32C12-EC01-4C5A-A527-B7D8D8AE00DB}"/>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24" name="Group 23">
              <a:extLst>
                <a:ext uri="{FF2B5EF4-FFF2-40B4-BE49-F238E27FC236}">
                  <a16:creationId xmlns:a16="http://schemas.microsoft.com/office/drawing/2014/main" id="{C63C369F-B30A-43DD-BA9C-C30E916A68BD}"/>
                </a:ext>
              </a:extLst>
            </p:cNvPr>
            <p:cNvGrpSpPr/>
            <p:nvPr/>
          </p:nvGrpSpPr>
          <p:grpSpPr>
            <a:xfrm>
              <a:off x="2478406" y="2117101"/>
              <a:ext cx="1934414" cy="356534"/>
              <a:chOff x="413228" y="1371600"/>
              <a:chExt cx="1947702" cy="476173"/>
            </a:xfrm>
          </p:grpSpPr>
          <p:sp>
            <p:nvSpPr>
              <p:cNvPr id="25" name="Right Triangle 49">
                <a:extLst>
                  <a:ext uri="{FF2B5EF4-FFF2-40B4-BE49-F238E27FC236}">
                    <a16:creationId xmlns:a16="http://schemas.microsoft.com/office/drawing/2014/main" id="{F41533BE-89DA-4E41-96E0-E4AF200A1CDA}"/>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6" name="Right Triangle 49">
                <a:extLst>
                  <a:ext uri="{FF2B5EF4-FFF2-40B4-BE49-F238E27FC236}">
                    <a16:creationId xmlns:a16="http://schemas.microsoft.com/office/drawing/2014/main" id="{FC06442C-6DD5-414C-B6A7-89E29FC581F4}"/>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7" name="Round Same Side Corner Rectangle 43">
                <a:extLst>
                  <a:ext uri="{FF2B5EF4-FFF2-40B4-BE49-F238E27FC236}">
                    <a16:creationId xmlns:a16="http://schemas.microsoft.com/office/drawing/2014/main" id="{43A258F9-4BBE-4BC4-A384-C7ACF3644F2B}"/>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lvl="0" algn="ctr"/>
                <a:r>
                  <a:rPr lang="en-US" sz="1100" b="1" dirty="0">
                    <a:solidFill>
                      <a:prstClr val="white"/>
                    </a:solidFill>
                    <a:latin typeface="Calibri" panose="020F0502020204030204" pitchFamily="34" charset="0"/>
                    <a:cs typeface="Calibri" panose="020F0502020204030204" pitchFamily="34" charset="0"/>
                  </a:rPr>
                  <a:t>Lorem ipsum </a:t>
                </a:r>
              </a:p>
            </p:txBody>
          </p:sp>
        </p:grpSp>
        <p:grpSp>
          <p:nvGrpSpPr>
            <p:cNvPr id="28" name="Group 27">
              <a:extLst>
                <a:ext uri="{FF2B5EF4-FFF2-40B4-BE49-F238E27FC236}">
                  <a16:creationId xmlns:a16="http://schemas.microsoft.com/office/drawing/2014/main" id="{04C096D6-9225-47B1-BFFD-8BEF50232340}"/>
                </a:ext>
              </a:extLst>
            </p:cNvPr>
            <p:cNvGrpSpPr/>
            <p:nvPr/>
          </p:nvGrpSpPr>
          <p:grpSpPr>
            <a:xfrm>
              <a:off x="2478406" y="3547170"/>
              <a:ext cx="1934414" cy="1996045"/>
              <a:chOff x="582909" y="4047068"/>
              <a:chExt cx="2642778" cy="3211966"/>
            </a:xfrm>
          </p:grpSpPr>
          <p:sp>
            <p:nvSpPr>
              <p:cNvPr id="29" name="Rectangle 28">
                <a:extLst>
                  <a:ext uri="{FF2B5EF4-FFF2-40B4-BE49-F238E27FC236}">
                    <a16:creationId xmlns:a16="http://schemas.microsoft.com/office/drawing/2014/main" id="{9E41F92B-813E-43D6-B4EF-EBB54FF154B3}"/>
                  </a:ext>
                </a:extLst>
              </p:cNvPr>
              <p:cNvSpPr/>
              <p:nvPr/>
            </p:nvSpPr>
            <p:spPr bwMode="gray">
              <a:xfrm>
                <a:off x="582909" y="4047068"/>
                <a:ext cx="2642778" cy="3124270"/>
              </a:xfrm>
              <a:prstGeom prst="rect">
                <a:avLst/>
              </a:prstGeom>
              <a:solidFill>
                <a:schemeClr val="bg1">
                  <a:lumMod val="95000"/>
                </a:schemeClr>
              </a:solidFill>
              <a:ln w="19050" algn="ctr">
                <a:noFill/>
                <a:miter lim="800000"/>
                <a:headEnd/>
                <a:tailEnd/>
              </a:ln>
            </p:spPr>
            <p:txBody>
              <a:bodyPr wrap="square" lIns="40500" tIns="40500" rIns="27000" bIns="27000" rtlCol="0" anchor="t"/>
              <a:lstStyle/>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30" name="Rectangle 29">
                <a:extLst>
                  <a:ext uri="{FF2B5EF4-FFF2-40B4-BE49-F238E27FC236}">
                    <a16:creationId xmlns:a16="http://schemas.microsoft.com/office/drawing/2014/main" id="{6896661A-997A-4EF9-85B9-EB21D6EE5824}"/>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31" name="Group 30">
              <a:extLst>
                <a:ext uri="{FF2B5EF4-FFF2-40B4-BE49-F238E27FC236}">
                  <a16:creationId xmlns:a16="http://schemas.microsoft.com/office/drawing/2014/main" id="{CF172FDE-EB05-4D90-A754-B15132CD7012}"/>
                </a:ext>
              </a:extLst>
            </p:cNvPr>
            <p:cNvGrpSpPr/>
            <p:nvPr/>
          </p:nvGrpSpPr>
          <p:grpSpPr>
            <a:xfrm>
              <a:off x="3128399" y="2473635"/>
              <a:ext cx="634427" cy="1049086"/>
              <a:chOff x="757805" y="1635343"/>
              <a:chExt cx="1185062" cy="2012973"/>
            </a:xfrm>
          </p:grpSpPr>
          <p:sp>
            <p:nvSpPr>
              <p:cNvPr id="32" name="Freeform 36">
                <a:extLst>
                  <a:ext uri="{FF2B5EF4-FFF2-40B4-BE49-F238E27FC236}">
                    <a16:creationId xmlns:a16="http://schemas.microsoft.com/office/drawing/2014/main" id="{724A29E2-8A47-4F31-9236-E47ACD3BA472}"/>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3" name="Round Same Side Corner Rectangle 37">
                <a:extLst>
                  <a:ext uri="{FF2B5EF4-FFF2-40B4-BE49-F238E27FC236}">
                    <a16:creationId xmlns:a16="http://schemas.microsoft.com/office/drawing/2014/main" id="{6A9BBCDF-0A82-4E87-858F-4EED61B77558}"/>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4" name="Round Same Side Corner Rectangle 38">
                <a:extLst>
                  <a:ext uri="{FF2B5EF4-FFF2-40B4-BE49-F238E27FC236}">
                    <a16:creationId xmlns:a16="http://schemas.microsoft.com/office/drawing/2014/main" id="{7A71E38C-DEF5-492B-91EF-F10981600333}"/>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5" name="Round Same Side Corner Rectangle 39">
                <a:extLst>
                  <a:ext uri="{FF2B5EF4-FFF2-40B4-BE49-F238E27FC236}">
                    <a16:creationId xmlns:a16="http://schemas.microsoft.com/office/drawing/2014/main" id="{F13957A4-6B9C-47D5-AD2B-2BEE686BBBD1}"/>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6" name="Oval 35">
                <a:extLst>
                  <a:ext uri="{FF2B5EF4-FFF2-40B4-BE49-F238E27FC236}">
                    <a16:creationId xmlns:a16="http://schemas.microsoft.com/office/drawing/2014/main" id="{A720272A-36BE-42F0-861A-0E8C10ED3A07}"/>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37" name="Group 36">
              <a:extLst>
                <a:ext uri="{FF2B5EF4-FFF2-40B4-BE49-F238E27FC236}">
                  <a16:creationId xmlns:a16="http://schemas.microsoft.com/office/drawing/2014/main" id="{38F749C3-5E1E-4D5A-A95B-7E6796CBDB6C}"/>
                </a:ext>
              </a:extLst>
            </p:cNvPr>
            <p:cNvGrpSpPr/>
            <p:nvPr/>
          </p:nvGrpSpPr>
          <p:grpSpPr>
            <a:xfrm>
              <a:off x="4604386" y="2117101"/>
              <a:ext cx="1934414" cy="356534"/>
              <a:chOff x="413228" y="1371600"/>
              <a:chExt cx="1947702" cy="476173"/>
            </a:xfrm>
          </p:grpSpPr>
          <p:sp>
            <p:nvSpPr>
              <p:cNvPr id="38" name="Right Triangle 49">
                <a:extLst>
                  <a:ext uri="{FF2B5EF4-FFF2-40B4-BE49-F238E27FC236}">
                    <a16:creationId xmlns:a16="http://schemas.microsoft.com/office/drawing/2014/main" id="{B8734AF8-05BF-4419-B312-EF81CA3A6888}"/>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9" name="Right Triangle 49">
                <a:extLst>
                  <a:ext uri="{FF2B5EF4-FFF2-40B4-BE49-F238E27FC236}">
                    <a16:creationId xmlns:a16="http://schemas.microsoft.com/office/drawing/2014/main" id="{95D44E78-734E-499E-9DC8-55C2177F2DE4}"/>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0" name="Round Same Side Corner Rectangle 43">
                <a:extLst>
                  <a:ext uri="{FF2B5EF4-FFF2-40B4-BE49-F238E27FC236}">
                    <a16:creationId xmlns:a16="http://schemas.microsoft.com/office/drawing/2014/main" id="{116E6784-1444-4DAC-A650-9B34753BCF70}"/>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lvl="0" algn="ctr"/>
                <a:r>
                  <a:rPr lang="en-US" sz="1100" b="1" dirty="0">
                    <a:solidFill>
                      <a:prstClr val="white"/>
                    </a:solidFill>
                    <a:latin typeface="Calibri" panose="020F0502020204030204" pitchFamily="34" charset="0"/>
                    <a:cs typeface="Calibri" panose="020F0502020204030204" pitchFamily="34" charset="0"/>
                  </a:rPr>
                  <a:t>Lorem ipsum </a:t>
                </a:r>
              </a:p>
            </p:txBody>
          </p:sp>
        </p:grpSp>
        <p:grpSp>
          <p:nvGrpSpPr>
            <p:cNvPr id="41" name="Group 40">
              <a:extLst>
                <a:ext uri="{FF2B5EF4-FFF2-40B4-BE49-F238E27FC236}">
                  <a16:creationId xmlns:a16="http://schemas.microsoft.com/office/drawing/2014/main" id="{788A0CA4-527A-4B56-AFA7-ABE22FD946E2}"/>
                </a:ext>
              </a:extLst>
            </p:cNvPr>
            <p:cNvGrpSpPr/>
            <p:nvPr/>
          </p:nvGrpSpPr>
          <p:grpSpPr>
            <a:xfrm>
              <a:off x="4604386" y="3547170"/>
              <a:ext cx="1934414" cy="1996045"/>
              <a:chOff x="582909" y="4047068"/>
              <a:chExt cx="2642778" cy="3211966"/>
            </a:xfrm>
            <a:solidFill>
              <a:schemeClr val="bg1">
                <a:lumMod val="95000"/>
              </a:schemeClr>
            </a:solidFill>
          </p:grpSpPr>
          <p:sp>
            <p:nvSpPr>
              <p:cNvPr id="42" name="Rectangle 41">
                <a:extLst>
                  <a:ext uri="{FF2B5EF4-FFF2-40B4-BE49-F238E27FC236}">
                    <a16:creationId xmlns:a16="http://schemas.microsoft.com/office/drawing/2014/main" id="{D97A1E3A-27EB-40F7-B4CC-FADB1D0E8CE6}"/>
                  </a:ext>
                </a:extLst>
              </p:cNvPr>
              <p:cNvSpPr/>
              <p:nvPr/>
            </p:nvSpPr>
            <p:spPr bwMode="gray">
              <a:xfrm>
                <a:off x="582909" y="4047068"/>
                <a:ext cx="2642778" cy="3124270"/>
              </a:xfrm>
              <a:prstGeom prst="rect">
                <a:avLst/>
              </a:prstGeom>
              <a:grpFill/>
              <a:ln w="19050" algn="ctr">
                <a:noFill/>
                <a:miter lim="800000"/>
                <a:headEnd/>
                <a:tailEnd/>
              </a:ln>
            </p:spPr>
            <p:txBody>
              <a:bodyPr wrap="square" lIns="40500" tIns="40500" rIns="27000" bIns="27000" rtlCol="0" anchor="t"/>
              <a:lstStyle/>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43" name="Rectangle 42">
                <a:extLst>
                  <a:ext uri="{FF2B5EF4-FFF2-40B4-BE49-F238E27FC236}">
                    <a16:creationId xmlns:a16="http://schemas.microsoft.com/office/drawing/2014/main" id="{43E834A1-4389-4442-96D1-FF6AFC338FDC}"/>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44" name="Group 43">
              <a:extLst>
                <a:ext uri="{FF2B5EF4-FFF2-40B4-BE49-F238E27FC236}">
                  <a16:creationId xmlns:a16="http://schemas.microsoft.com/office/drawing/2014/main" id="{8EF5F581-0E3E-48D1-81CC-89F5133714CA}"/>
                </a:ext>
              </a:extLst>
            </p:cNvPr>
            <p:cNvGrpSpPr/>
            <p:nvPr/>
          </p:nvGrpSpPr>
          <p:grpSpPr>
            <a:xfrm>
              <a:off x="5254379" y="2473635"/>
              <a:ext cx="634427" cy="1049086"/>
              <a:chOff x="757805" y="1635343"/>
              <a:chExt cx="1185062" cy="2012973"/>
            </a:xfrm>
          </p:grpSpPr>
          <p:sp>
            <p:nvSpPr>
              <p:cNvPr id="45" name="Freeform 36">
                <a:extLst>
                  <a:ext uri="{FF2B5EF4-FFF2-40B4-BE49-F238E27FC236}">
                    <a16:creationId xmlns:a16="http://schemas.microsoft.com/office/drawing/2014/main" id="{83C1787A-0F1A-498B-9531-D8A7FA4CB9BB}"/>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6" name="Round Same Side Corner Rectangle 37">
                <a:extLst>
                  <a:ext uri="{FF2B5EF4-FFF2-40B4-BE49-F238E27FC236}">
                    <a16:creationId xmlns:a16="http://schemas.microsoft.com/office/drawing/2014/main" id="{B5CDBD07-CAFD-4BFB-9DED-630073CB3EA9}"/>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7" name="Round Same Side Corner Rectangle 38">
                <a:extLst>
                  <a:ext uri="{FF2B5EF4-FFF2-40B4-BE49-F238E27FC236}">
                    <a16:creationId xmlns:a16="http://schemas.microsoft.com/office/drawing/2014/main" id="{AEC94D2E-E1A7-4D10-BA81-003849D17C91}"/>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8" name="Round Same Side Corner Rectangle 39">
                <a:extLst>
                  <a:ext uri="{FF2B5EF4-FFF2-40B4-BE49-F238E27FC236}">
                    <a16:creationId xmlns:a16="http://schemas.microsoft.com/office/drawing/2014/main" id="{778F7CB4-BB09-47A7-B414-E5BD0D753ED3}"/>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9" name="Oval 48">
                <a:extLst>
                  <a:ext uri="{FF2B5EF4-FFF2-40B4-BE49-F238E27FC236}">
                    <a16:creationId xmlns:a16="http://schemas.microsoft.com/office/drawing/2014/main" id="{A06532EA-C3F2-4A70-8D22-D8A31D9C4ADE}"/>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50" name="Group 49">
              <a:extLst>
                <a:ext uri="{FF2B5EF4-FFF2-40B4-BE49-F238E27FC236}">
                  <a16:creationId xmlns:a16="http://schemas.microsoft.com/office/drawing/2014/main" id="{6810A403-14F4-4CEE-84D4-01CB80D360D7}"/>
                </a:ext>
              </a:extLst>
            </p:cNvPr>
            <p:cNvGrpSpPr/>
            <p:nvPr/>
          </p:nvGrpSpPr>
          <p:grpSpPr>
            <a:xfrm>
              <a:off x="6730366" y="2117101"/>
              <a:ext cx="1934414" cy="356534"/>
              <a:chOff x="413228" y="1371600"/>
              <a:chExt cx="1947702" cy="476173"/>
            </a:xfrm>
          </p:grpSpPr>
          <p:sp>
            <p:nvSpPr>
              <p:cNvPr id="51" name="Right Triangle 49">
                <a:extLst>
                  <a:ext uri="{FF2B5EF4-FFF2-40B4-BE49-F238E27FC236}">
                    <a16:creationId xmlns:a16="http://schemas.microsoft.com/office/drawing/2014/main" id="{835A0BBA-2E30-4FBF-BECF-27B08DEC5CA1}"/>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52" name="Right Triangle 49">
                <a:extLst>
                  <a:ext uri="{FF2B5EF4-FFF2-40B4-BE49-F238E27FC236}">
                    <a16:creationId xmlns:a16="http://schemas.microsoft.com/office/drawing/2014/main" id="{FACFB63B-EF29-4264-ACCD-44C32269845B}"/>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53" name="Round Same Side Corner Rectangle 43">
                <a:extLst>
                  <a:ext uri="{FF2B5EF4-FFF2-40B4-BE49-F238E27FC236}">
                    <a16:creationId xmlns:a16="http://schemas.microsoft.com/office/drawing/2014/main" id="{38EA0011-0F82-4E99-8439-5E34FCCFA344}"/>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lvl="0" algn="ctr"/>
                <a:r>
                  <a:rPr lang="en-US" sz="1100" b="1" dirty="0">
                    <a:solidFill>
                      <a:prstClr val="white"/>
                    </a:solidFill>
                    <a:latin typeface="Calibri" panose="020F0502020204030204" pitchFamily="34" charset="0"/>
                    <a:cs typeface="Calibri" panose="020F0502020204030204" pitchFamily="34" charset="0"/>
                  </a:rPr>
                  <a:t>Lorem ipsum </a:t>
                </a:r>
              </a:p>
            </p:txBody>
          </p:sp>
        </p:grpSp>
        <p:grpSp>
          <p:nvGrpSpPr>
            <p:cNvPr id="54" name="Group 53">
              <a:extLst>
                <a:ext uri="{FF2B5EF4-FFF2-40B4-BE49-F238E27FC236}">
                  <a16:creationId xmlns:a16="http://schemas.microsoft.com/office/drawing/2014/main" id="{4943F009-1EB0-4023-8B0F-7F53FE2651F1}"/>
                </a:ext>
              </a:extLst>
            </p:cNvPr>
            <p:cNvGrpSpPr/>
            <p:nvPr/>
          </p:nvGrpSpPr>
          <p:grpSpPr>
            <a:xfrm>
              <a:off x="6730366" y="3547170"/>
              <a:ext cx="1934414" cy="1996045"/>
              <a:chOff x="582909" y="4047068"/>
              <a:chExt cx="2642778" cy="3211966"/>
            </a:xfrm>
          </p:grpSpPr>
          <p:sp>
            <p:nvSpPr>
              <p:cNvPr id="55" name="Rectangle 54">
                <a:extLst>
                  <a:ext uri="{FF2B5EF4-FFF2-40B4-BE49-F238E27FC236}">
                    <a16:creationId xmlns:a16="http://schemas.microsoft.com/office/drawing/2014/main" id="{DAC8B880-CF27-45F6-851E-E4E8C36749C1}"/>
                  </a:ext>
                </a:extLst>
              </p:cNvPr>
              <p:cNvSpPr/>
              <p:nvPr/>
            </p:nvSpPr>
            <p:spPr bwMode="gray">
              <a:xfrm>
                <a:off x="582909" y="4047068"/>
                <a:ext cx="2642778" cy="3124270"/>
              </a:xfrm>
              <a:prstGeom prst="rect">
                <a:avLst/>
              </a:prstGeom>
              <a:solidFill>
                <a:schemeClr val="bg1">
                  <a:lumMod val="95000"/>
                </a:schemeClr>
              </a:solidFill>
              <a:ln w="19050" algn="ctr">
                <a:noFill/>
                <a:miter lim="800000"/>
                <a:headEnd/>
                <a:tailEnd/>
              </a:ln>
            </p:spPr>
            <p:txBody>
              <a:bodyPr wrap="square" lIns="40500" tIns="40500" rIns="27000" bIns="27000" rtlCol="0" anchor="t"/>
              <a:lstStyle/>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56" name="Rectangle 55">
                <a:extLst>
                  <a:ext uri="{FF2B5EF4-FFF2-40B4-BE49-F238E27FC236}">
                    <a16:creationId xmlns:a16="http://schemas.microsoft.com/office/drawing/2014/main" id="{A52BF1B0-5895-4A54-BB65-00C08648D2F3}"/>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57" name="Group 56">
              <a:extLst>
                <a:ext uri="{FF2B5EF4-FFF2-40B4-BE49-F238E27FC236}">
                  <a16:creationId xmlns:a16="http://schemas.microsoft.com/office/drawing/2014/main" id="{0A2F2DE4-14F3-4C18-9191-D729AB3582C8}"/>
                </a:ext>
              </a:extLst>
            </p:cNvPr>
            <p:cNvGrpSpPr/>
            <p:nvPr/>
          </p:nvGrpSpPr>
          <p:grpSpPr>
            <a:xfrm>
              <a:off x="7380359" y="2473635"/>
              <a:ext cx="634427" cy="1049086"/>
              <a:chOff x="757805" y="1635343"/>
              <a:chExt cx="1185062" cy="2012973"/>
            </a:xfrm>
          </p:grpSpPr>
          <p:sp>
            <p:nvSpPr>
              <p:cNvPr id="58" name="Freeform 36">
                <a:extLst>
                  <a:ext uri="{FF2B5EF4-FFF2-40B4-BE49-F238E27FC236}">
                    <a16:creationId xmlns:a16="http://schemas.microsoft.com/office/drawing/2014/main" id="{3EE1203B-0DAF-4B6C-B5A1-EB0AFF8C5B23}"/>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59" name="Round Same Side Corner Rectangle 37">
                <a:extLst>
                  <a:ext uri="{FF2B5EF4-FFF2-40B4-BE49-F238E27FC236}">
                    <a16:creationId xmlns:a16="http://schemas.microsoft.com/office/drawing/2014/main" id="{DB5F5DA9-D403-4BB6-A326-6667C11561BF}"/>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0" name="Round Same Side Corner Rectangle 38">
                <a:extLst>
                  <a:ext uri="{FF2B5EF4-FFF2-40B4-BE49-F238E27FC236}">
                    <a16:creationId xmlns:a16="http://schemas.microsoft.com/office/drawing/2014/main" id="{13EF3BFA-9685-43DB-A875-6BA791CF56DD}"/>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1" name="Round Same Side Corner Rectangle 39">
                <a:extLst>
                  <a:ext uri="{FF2B5EF4-FFF2-40B4-BE49-F238E27FC236}">
                    <a16:creationId xmlns:a16="http://schemas.microsoft.com/office/drawing/2014/main" id="{E69A3EB8-FF51-4E4B-A147-F557A9012078}"/>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2" name="Oval 61">
                <a:extLst>
                  <a:ext uri="{FF2B5EF4-FFF2-40B4-BE49-F238E27FC236}">
                    <a16:creationId xmlns:a16="http://schemas.microsoft.com/office/drawing/2014/main" id="{008737F7-8812-4312-B9A2-CA7407484742}"/>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63" name="Group 62">
              <a:extLst>
                <a:ext uri="{FF2B5EF4-FFF2-40B4-BE49-F238E27FC236}">
                  <a16:creationId xmlns:a16="http://schemas.microsoft.com/office/drawing/2014/main" id="{899DF317-2154-4C53-B7AF-DEA85ED0A84E}"/>
                </a:ext>
              </a:extLst>
            </p:cNvPr>
            <p:cNvGrpSpPr>
              <a:grpSpLocks noChangeAspect="1"/>
            </p:cNvGrpSpPr>
            <p:nvPr/>
          </p:nvGrpSpPr>
          <p:grpSpPr>
            <a:xfrm>
              <a:off x="7462054" y="2563358"/>
              <a:ext cx="471035" cy="468204"/>
              <a:chOff x="6537910" y="4611206"/>
              <a:chExt cx="1849437" cy="1838325"/>
            </a:xfrm>
            <a:solidFill>
              <a:schemeClr val="accent5"/>
            </a:solidFill>
          </p:grpSpPr>
          <p:sp>
            <p:nvSpPr>
              <p:cNvPr id="64" name="Freeform 15">
                <a:extLst>
                  <a:ext uri="{FF2B5EF4-FFF2-40B4-BE49-F238E27FC236}">
                    <a16:creationId xmlns:a16="http://schemas.microsoft.com/office/drawing/2014/main" id="{42F4A725-5870-4EEB-83CC-9C64F54F5068}"/>
                  </a:ext>
                </a:extLst>
              </p:cNvPr>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5" name="Freeform 16">
                <a:extLst>
                  <a:ext uri="{FF2B5EF4-FFF2-40B4-BE49-F238E27FC236}">
                    <a16:creationId xmlns:a16="http://schemas.microsoft.com/office/drawing/2014/main" id="{07D11228-8389-4069-890B-775F37242A38}"/>
                  </a:ext>
                </a:extLst>
              </p:cNvPr>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6" name="Freeform 17">
                <a:extLst>
                  <a:ext uri="{FF2B5EF4-FFF2-40B4-BE49-F238E27FC236}">
                    <a16:creationId xmlns:a16="http://schemas.microsoft.com/office/drawing/2014/main" id="{0A95C04F-BDAE-45A6-AE3E-0741893C2C62}"/>
                  </a:ext>
                </a:extLst>
              </p:cNvPr>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Freeform 18">
                <a:extLst>
                  <a:ext uri="{FF2B5EF4-FFF2-40B4-BE49-F238E27FC236}">
                    <a16:creationId xmlns:a16="http://schemas.microsoft.com/office/drawing/2014/main" id="{2241838B-0204-4E8F-A641-F2C952591221}"/>
                  </a:ext>
                </a:extLst>
              </p:cNvPr>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8" name="Freeform 19">
                <a:extLst>
                  <a:ext uri="{FF2B5EF4-FFF2-40B4-BE49-F238E27FC236}">
                    <a16:creationId xmlns:a16="http://schemas.microsoft.com/office/drawing/2014/main" id="{BD53C094-F63F-49DC-9588-E5CE450092D3}"/>
                  </a:ext>
                </a:extLst>
              </p:cNvPr>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69" name="Freeform 20">
                <a:extLst>
                  <a:ext uri="{FF2B5EF4-FFF2-40B4-BE49-F238E27FC236}">
                    <a16:creationId xmlns:a16="http://schemas.microsoft.com/office/drawing/2014/main" id="{41DF33DE-E81B-4805-8E36-1FF427907DF7}"/>
                  </a:ext>
                </a:extLst>
              </p:cNvPr>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70" name="Freeform 21">
                <a:extLst>
                  <a:ext uri="{FF2B5EF4-FFF2-40B4-BE49-F238E27FC236}">
                    <a16:creationId xmlns:a16="http://schemas.microsoft.com/office/drawing/2014/main" id="{EB06B02F-F913-4A46-BC4A-7FAA536AFCD3}"/>
                  </a:ext>
                </a:extLst>
              </p:cNvPr>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71" name="Group 569">
              <a:extLst>
                <a:ext uri="{FF2B5EF4-FFF2-40B4-BE49-F238E27FC236}">
                  <a16:creationId xmlns:a16="http://schemas.microsoft.com/office/drawing/2014/main" id="{88B05465-FCDD-4BA2-944E-7DD0E317D5E5}"/>
                </a:ext>
              </a:extLst>
            </p:cNvPr>
            <p:cNvGrpSpPr>
              <a:grpSpLocks noChangeAspect="1"/>
            </p:cNvGrpSpPr>
            <p:nvPr/>
          </p:nvGrpSpPr>
          <p:grpSpPr bwMode="auto">
            <a:xfrm>
              <a:off x="5341849" y="2572076"/>
              <a:ext cx="459486" cy="459486"/>
              <a:chOff x="5648" y="3248"/>
              <a:chExt cx="340" cy="340"/>
            </a:xfrm>
            <a:solidFill>
              <a:schemeClr val="accent5"/>
            </a:solidFill>
          </p:grpSpPr>
          <p:sp>
            <p:nvSpPr>
              <p:cNvPr id="72" name="Freeform 570">
                <a:extLst>
                  <a:ext uri="{FF2B5EF4-FFF2-40B4-BE49-F238E27FC236}">
                    <a16:creationId xmlns:a16="http://schemas.microsoft.com/office/drawing/2014/main" id="{FEA86E2D-0CB1-4EF4-BF49-021BEA04C81C}"/>
                  </a:ext>
                </a:extLst>
              </p:cNvPr>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Calibri Light"/>
                  <a:ea typeface="+mn-ea"/>
                  <a:cs typeface="+mn-cs"/>
                </a:endParaRPr>
              </a:p>
            </p:txBody>
          </p:sp>
          <p:sp>
            <p:nvSpPr>
              <p:cNvPr id="73" name="Freeform 571">
                <a:extLst>
                  <a:ext uri="{FF2B5EF4-FFF2-40B4-BE49-F238E27FC236}">
                    <a16:creationId xmlns:a16="http://schemas.microsoft.com/office/drawing/2014/main" id="{1ADAA85A-47A1-4B5F-B89B-A02CF39A209C}"/>
                  </a:ext>
                </a:extLst>
              </p:cNvPr>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Calibri Light"/>
                  <a:ea typeface="+mn-ea"/>
                  <a:cs typeface="+mn-cs"/>
                </a:endParaRPr>
              </a:p>
            </p:txBody>
          </p:sp>
        </p:grpSp>
      </p:grpSp>
      <p:sp>
        <p:nvSpPr>
          <p:cNvPr id="76" name="Star: 5 Points 75">
            <a:extLst>
              <a:ext uri="{FF2B5EF4-FFF2-40B4-BE49-F238E27FC236}">
                <a16:creationId xmlns:a16="http://schemas.microsoft.com/office/drawing/2014/main" id="{BDBBBFA3-7739-417B-980F-02278025F28B}"/>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040858889"/>
      </p:ext>
    </p:extLst>
  </p:cSld>
  <p:clrMapOvr>
    <a:masterClrMapping/>
  </p:clrMapOvr>
  <p:transition>
    <p:fade/>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F52A8F-5168-4489-86F4-10C0DF212F13}"/>
              </a:ext>
            </a:extLst>
          </p:cNvPr>
          <p:cNvSpPr>
            <a:spLocks noGrp="1"/>
          </p:cNvSpPr>
          <p:nvPr>
            <p:ph type="title"/>
          </p:nvPr>
        </p:nvSpPr>
        <p:spPr/>
        <p:txBody>
          <a:bodyPr/>
          <a:lstStyle/>
          <a:p>
            <a:r>
              <a:rPr lang="en-US" dirty="0"/>
              <a:t>Progressive motion</a:t>
            </a:r>
          </a:p>
        </p:txBody>
      </p:sp>
      <p:sp>
        <p:nvSpPr>
          <p:cNvPr id="6" name="Freeform 11">
            <a:extLst>
              <a:ext uri="{FF2B5EF4-FFF2-40B4-BE49-F238E27FC236}">
                <a16:creationId xmlns:a16="http://schemas.microsoft.com/office/drawing/2014/main" id="{E6D675EC-425C-4157-A4F5-9ABBC5F6AF8F}"/>
              </a:ext>
            </a:extLst>
          </p:cNvPr>
          <p:cNvSpPr/>
          <p:nvPr>
            <p:custDataLst>
              <p:tags r:id="rId1"/>
            </p:custDataLst>
          </p:nvPr>
        </p:nvSpPr>
        <p:spPr bwMode="auto">
          <a:xfrm>
            <a:off x="-96982" y="524333"/>
            <a:ext cx="12081164" cy="5041435"/>
          </a:xfrm>
          <a:custGeom>
            <a:avLst/>
            <a:gdLst>
              <a:gd name="connsiteX0" fmla="*/ 0 w 9183756"/>
              <a:gd name="connsiteY0" fmla="*/ 4174435 h 4174435"/>
              <a:gd name="connsiteX1" fmla="*/ 1860605 w 9183756"/>
              <a:gd name="connsiteY1" fmla="*/ 287837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544417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289975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18143 w 9183756"/>
              <a:gd name="connsiteY3" fmla="*/ 1391479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74072 h 4174435"/>
              <a:gd name="connsiteX3" fmla="*/ 6979721 w 9183756"/>
              <a:gd name="connsiteY3" fmla="*/ 1447138 h 4174435"/>
              <a:gd name="connsiteX4" fmla="*/ 9183756 w 9183756"/>
              <a:gd name="connsiteY4" fmla="*/ 0 h 4174435"/>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253032"/>
              <a:gd name="connsiteY0" fmla="*/ 4572000 h 4572000"/>
              <a:gd name="connsiteX1" fmla="*/ 1976064 w 9253032"/>
              <a:gd name="connsiteY1" fmla="*/ 3395207 h 4572000"/>
              <a:gd name="connsiteX2" fmla="*/ 4429309 w 9253032"/>
              <a:gd name="connsiteY2" fmla="*/ 2671637 h 4572000"/>
              <a:gd name="connsiteX3" fmla="*/ 6979721 w 9253032"/>
              <a:gd name="connsiteY3" fmla="*/ 1844703 h 4572000"/>
              <a:gd name="connsiteX4" fmla="*/ 9253032 w 9253032"/>
              <a:gd name="connsiteY4" fmla="*/ 0 h 4572000"/>
              <a:gd name="connsiteX0" fmla="*/ 0 w 9283823"/>
              <a:gd name="connsiteY0" fmla="*/ 4572000 h 4572000"/>
              <a:gd name="connsiteX1" fmla="*/ 1976064 w 9283823"/>
              <a:gd name="connsiteY1" fmla="*/ 3395207 h 4572000"/>
              <a:gd name="connsiteX2" fmla="*/ 4429309 w 9283823"/>
              <a:gd name="connsiteY2" fmla="*/ 2671637 h 4572000"/>
              <a:gd name="connsiteX3" fmla="*/ 6979721 w 9283823"/>
              <a:gd name="connsiteY3" fmla="*/ 1844703 h 4572000"/>
              <a:gd name="connsiteX4" fmla="*/ 9283823 w 9283823"/>
              <a:gd name="connsiteY4" fmla="*/ 0 h 457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3823" h="4572000">
                <a:moveTo>
                  <a:pt x="0" y="4572000"/>
                </a:moveTo>
                <a:cubicBezTo>
                  <a:pt x="540026" y="4063116"/>
                  <a:pt x="1237846" y="3711934"/>
                  <a:pt x="1976064" y="3395207"/>
                </a:cubicBezTo>
                <a:cubicBezTo>
                  <a:pt x="2714282" y="3078480"/>
                  <a:pt x="3556880" y="2786930"/>
                  <a:pt x="4429309" y="2671637"/>
                </a:cubicBezTo>
                <a:cubicBezTo>
                  <a:pt x="5301738" y="2556344"/>
                  <a:pt x="6229648" y="2262146"/>
                  <a:pt x="6979721" y="1844703"/>
                </a:cubicBezTo>
                <a:cubicBezTo>
                  <a:pt x="7729794" y="1427260"/>
                  <a:pt x="8572237" y="793143"/>
                  <a:pt x="9283823" y="0"/>
                </a:cubicBezTo>
              </a:path>
            </a:pathLst>
          </a:custGeom>
          <a:noFill/>
          <a:ln w="762000" cap="flat" cmpd="dbl" algn="ctr">
            <a:solidFill>
              <a:schemeClr val="bg1">
                <a:lumMod val="95000"/>
              </a:schemeClr>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7" name="Rectangle 6">
            <a:extLst>
              <a:ext uri="{FF2B5EF4-FFF2-40B4-BE49-F238E27FC236}">
                <a16:creationId xmlns:a16="http://schemas.microsoft.com/office/drawing/2014/main" id="{979194AF-2EDE-466B-9C88-7DFEB74E91A1}"/>
              </a:ext>
            </a:extLst>
          </p:cNvPr>
          <p:cNvSpPr/>
          <p:nvPr>
            <p:custDataLst>
              <p:tags r:id="rId2"/>
            </p:custDataLst>
          </p:nvPr>
        </p:nvSpPr>
        <p:spPr>
          <a:xfrm>
            <a:off x="8602444" y="1092125"/>
            <a:ext cx="2328162" cy="261610"/>
          </a:xfrm>
          <a:prstGeom prst="rect">
            <a:avLst/>
          </a:prstGeom>
        </p:spPr>
        <p:txBody>
          <a:bodyPr wrap="square">
            <a:spAutoFit/>
          </a:bodyPr>
          <a:lstStyle/>
          <a:p>
            <a:pPr lvl="0"/>
            <a:r>
              <a:rPr lang="fr-CA" sz="1100" b="1" dirty="0" err="1">
                <a:solidFill>
                  <a:prstClr val="black"/>
                </a:solidFill>
                <a:latin typeface="Calibri"/>
                <a:cs typeface="Verdana" panose="020B0604030504040204" pitchFamily="34" charset="0"/>
              </a:rPr>
              <a:t>Lorem</a:t>
            </a:r>
            <a:r>
              <a:rPr lang="fr-CA" sz="1100" b="1" dirty="0">
                <a:solidFill>
                  <a:prstClr val="black"/>
                </a:solidFill>
                <a:latin typeface="Calibri"/>
                <a:cs typeface="Verdana" panose="020B0604030504040204" pitchFamily="34" charset="0"/>
              </a:rPr>
              <a:t> </a:t>
            </a:r>
            <a:r>
              <a:rPr lang="fr-CA" sz="1100" b="1" dirty="0" err="1">
                <a:solidFill>
                  <a:prstClr val="black"/>
                </a:solidFill>
                <a:latin typeface="Calibri"/>
                <a:cs typeface="Verdana" panose="020B0604030504040204" pitchFamily="34" charset="0"/>
              </a:rPr>
              <a:t>ipsum</a:t>
            </a:r>
            <a:r>
              <a:rPr lang="fr-CA" sz="1100" b="1" dirty="0">
                <a:solidFill>
                  <a:prstClr val="black"/>
                </a:solidFill>
                <a:latin typeface="Calibri"/>
                <a:cs typeface="Verdana" panose="020B0604030504040204" pitchFamily="34" charset="0"/>
              </a:rPr>
              <a:t> </a:t>
            </a:r>
          </a:p>
        </p:txBody>
      </p:sp>
      <p:sp>
        <p:nvSpPr>
          <p:cNvPr id="8" name="Rectangle 7">
            <a:extLst>
              <a:ext uri="{FF2B5EF4-FFF2-40B4-BE49-F238E27FC236}">
                <a16:creationId xmlns:a16="http://schemas.microsoft.com/office/drawing/2014/main" id="{8AECD474-D2C5-4E5F-B0DB-95193A98B3FD}"/>
              </a:ext>
            </a:extLst>
          </p:cNvPr>
          <p:cNvSpPr/>
          <p:nvPr>
            <p:custDataLst>
              <p:tags r:id="rId3"/>
            </p:custDataLst>
          </p:nvPr>
        </p:nvSpPr>
        <p:spPr>
          <a:xfrm>
            <a:off x="6068191" y="1781091"/>
            <a:ext cx="1932550" cy="261610"/>
          </a:xfrm>
          <a:prstGeom prst="rect">
            <a:avLst/>
          </a:prstGeom>
        </p:spPr>
        <p:txBody>
          <a:bodyPr wrap="square">
            <a:spAutoFit/>
          </a:bodyPr>
          <a:lstStyle/>
          <a:p>
            <a:pPr lvl="0"/>
            <a:r>
              <a:rPr lang="fr-CA" sz="1100" b="1" dirty="0" err="1">
                <a:solidFill>
                  <a:prstClr val="black"/>
                </a:solidFill>
                <a:latin typeface="Calibri"/>
                <a:cs typeface="Verdana" panose="020B0604030504040204" pitchFamily="34" charset="0"/>
              </a:rPr>
              <a:t>Lorem</a:t>
            </a:r>
            <a:r>
              <a:rPr lang="fr-CA" sz="1100" b="1" dirty="0">
                <a:solidFill>
                  <a:prstClr val="black"/>
                </a:solidFill>
                <a:latin typeface="Calibri"/>
                <a:cs typeface="Verdana" panose="020B0604030504040204" pitchFamily="34" charset="0"/>
              </a:rPr>
              <a:t> </a:t>
            </a:r>
            <a:r>
              <a:rPr lang="fr-CA" sz="1100" b="1" dirty="0" err="1">
                <a:solidFill>
                  <a:prstClr val="black"/>
                </a:solidFill>
                <a:latin typeface="Calibri"/>
                <a:cs typeface="Verdana" panose="020B0604030504040204" pitchFamily="34" charset="0"/>
              </a:rPr>
              <a:t>ipsum</a:t>
            </a:r>
            <a:r>
              <a:rPr lang="fr-CA" sz="1100" b="1" dirty="0">
                <a:solidFill>
                  <a:prstClr val="black"/>
                </a:solidFill>
                <a:latin typeface="Calibri"/>
                <a:cs typeface="Verdana" panose="020B0604030504040204" pitchFamily="34" charset="0"/>
              </a:rPr>
              <a:t> </a:t>
            </a:r>
          </a:p>
        </p:txBody>
      </p:sp>
      <p:sp>
        <p:nvSpPr>
          <p:cNvPr id="9" name="Rectangle 8">
            <a:extLst>
              <a:ext uri="{FF2B5EF4-FFF2-40B4-BE49-F238E27FC236}">
                <a16:creationId xmlns:a16="http://schemas.microsoft.com/office/drawing/2014/main" id="{99723836-A1F8-4FB6-9EF9-975A33F2C584}"/>
              </a:ext>
            </a:extLst>
          </p:cNvPr>
          <p:cNvSpPr/>
          <p:nvPr>
            <p:custDataLst>
              <p:tags r:id="rId4"/>
            </p:custDataLst>
          </p:nvPr>
        </p:nvSpPr>
        <p:spPr>
          <a:xfrm>
            <a:off x="3757533" y="2271296"/>
            <a:ext cx="2160115" cy="261610"/>
          </a:xfrm>
          <a:prstGeom prst="rect">
            <a:avLst/>
          </a:prstGeom>
        </p:spPr>
        <p:txBody>
          <a:bodyPr wrap="square">
            <a:spAutoFit/>
          </a:bodyPr>
          <a:lstStyle/>
          <a:p>
            <a:pPr lvl="0"/>
            <a:r>
              <a:rPr lang="fr-CA" sz="1100" b="1" dirty="0" err="1">
                <a:solidFill>
                  <a:prstClr val="black"/>
                </a:solidFill>
                <a:latin typeface="Calibri"/>
                <a:cs typeface="Verdana" panose="020B0604030504040204" pitchFamily="34" charset="0"/>
              </a:rPr>
              <a:t>Lorem</a:t>
            </a:r>
            <a:r>
              <a:rPr lang="fr-CA" sz="1100" b="1" dirty="0">
                <a:solidFill>
                  <a:prstClr val="black"/>
                </a:solidFill>
                <a:latin typeface="Calibri"/>
                <a:cs typeface="Verdana" panose="020B0604030504040204" pitchFamily="34" charset="0"/>
              </a:rPr>
              <a:t> </a:t>
            </a:r>
            <a:r>
              <a:rPr lang="fr-CA" sz="1100" b="1" dirty="0" err="1">
                <a:solidFill>
                  <a:prstClr val="black"/>
                </a:solidFill>
                <a:latin typeface="Calibri"/>
                <a:cs typeface="Verdana" panose="020B0604030504040204" pitchFamily="34" charset="0"/>
              </a:rPr>
              <a:t>ipsum</a:t>
            </a:r>
            <a:r>
              <a:rPr lang="fr-CA" sz="1100" b="1" dirty="0">
                <a:solidFill>
                  <a:prstClr val="black"/>
                </a:solidFill>
                <a:latin typeface="Calibri"/>
                <a:cs typeface="Verdana" panose="020B0604030504040204" pitchFamily="34" charset="0"/>
              </a:rPr>
              <a:t> </a:t>
            </a:r>
          </a:p>
        </p:txBody>
      </p:sp>
      <p:sp>
        <p:nvSpPr>
          <p:cNvPr id="10" name="Rectangle 9">
            <a:extLst>
              <a:ext uri="{FF2B5EF4-FFF2-40B4-BE49-F238E27FC236}">
                <a16:creationId xmlns:a16="http://schemas.microsoft.com/office/drawing/2014/main" id="{7A0946B8-3128-463A-9235-B2A69BAF904B}"/>
              </a:ext>
            </a:extLst>
          </p:cNvPr>
          <p:cNvSpPr/>
          <p:nvPr>
            <p:custDataLst>
              <p:tags r:id="rId5"/>
            </p:custDataLst>
          </p:nvPr>
        </p:nvSpPr>
        <p:spPr>
          <a:xfrm>
            <a:off x="1534401" y="3154101"/>
            <a:ext cx="1992067" cy="261610"/>
          </a:xfrm>
          <a:prstGeom prst="rect">
            <a:avLst/>
          </a:prstGeom>
        </p:spPr>
        <p:txBody>
          <a:bodyPr wrap="square">
            <a:spAutoFit/>
          </a:bodyPr>
          <a:lstStyle/>
          <a:p>
            <a:pPr lvl="0"/>
            <a:r>
              <a:rPr lang="fr-CA" sz="1100" b="1" dirty="0" err="1">
                <a:solidFill>
                  <a:prstClr val="black"/>
                </a:solidFill>
                <a:latin typeface="Calibri"/>
                <a:cs typeface="Verdana" panose="020B0604030504040204" pitchFamily="34" charset="0"/>
              </a:rPr>
              <a:t>Lorem</a:t>
            </a:r>
            <a:r>
              <a:rPr lang="fr-CA" sz="1100" b="1" dirty="0">
                <a:solidFill>
                  <a:prstClr val="black"/>
                </a:solidFill>
                <a:latin typeface="Calibri"/>
                <a:cs typeface="Verdana" panose="020B0604030504040204" pitchFamily="34" charset="0"/>
              </a:rPr>
              <a:t> </a:t>
            </a:r>
            <a:r>
              <a:rPr lang="fr-CA" sz="1100" b="1" dirty="0" err="1">
                <a:solidFill>
                  <a:prstClr val="black"/>
                </a:solidFill>
                <a:latin typeface="Calibri"/>
                <a:cs typeface="Verdana" panose="020B0604030504040204" pitchFamily="34" charset="0"/>
              </a:rPr>
              <a:t>ipsum</a:t>
            </a:r>
            <a:r>
              <a:rPr lang="fr-CA" sz="1100" b="1" dirty="0">
                <a:solidFill>
                  <a:prstClr val="black"/>
                </a:solidFill>
                <a:latin typeface="Calibri"/>
                <a:cs typeface="Verdana" panose="020B0604030504040204" pitchFamily="34" charset="0"/>
              </a:rPr>
              <a:t> </a:t>
            </a:r>
          </a:p>
        </p:txBody>
      </p:sp>
      <p:sp>
        <p:nvSpPr>
          <p:cNvPr id="11" name="AutoShape 117">
            <a:extLst>
              <a:ext uri="{FF2B5EF4-FFF2-40B4-BE49-F238E27FC236}">
                <a16:creationId xmlns:a16="http://schemas.microsoft.com/office/drawing/2014/main" id="{2EF68954-D221-457B-9936-F7D455DFE6F3}"/>
              </a:ext>
            </a:extLst>
          </p:cNvPr>
          <p:cNvSpPr>
            <a:spLocks noChangeAspect="1" noChangeArrowheads="1" noTextEdit="1"/>
          </p:cNvSpPr>
          <p:nvPr>
            <p:custDataLst>
              <p:tags r:id="rId6"/>
            </p:custDataLst>
          </p:nvPr>
        </p:nvSpPr>
        <p:spPr bwMode="auto">
          <a:xfrm>
            <a:off x="1145544" y="734383"/>
            <a:ext cx="8633456" cy="442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2" name="Freeform 120">
            <a:extLst>
              <a:ext uri="{FF2B5EF4-FFF2-40B4-BE49-F238E27FC236}">
                <a16:creationId xmlns:a16="http://schemas.microsoft.com/office/drawing/2014/main" id="{7BCD2CF6-5479-4C60-BCEB-89E8BEE1AA5F}"/>
              </a:ext>
            </a:extLst>
          </p:cNvPr>
          <p:cNvSpPr>
            <a:spLocks/>
          </p:cNvSpPr>
          <p:nvPr>
            <p:custDataLst>
              <p:tags r:id="rId7"/>
            </p:custDataLst>
          </p:nvPr>
        </p:nvSpPr>
        <p:spPr bwMode="auto">
          <a:xfrm>
            <a:off x="6253744" y="2554504"/>
            <a:ext cx="868247" cy="1155329"/>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Lst>
            <a:ahLst/>
            <a:cxnLst>
              <a:cxn ang="0">
                <a:pos x="T0" y="T1"/>
              </a:cxn>
              <a:cxn ang="0">
                <a:pos x="T2" y="T3"/>
              </a:cxn>
              <a:cxn ang="0">
                <a:pos x="T4" y="T5"/>
              </a:cxn>
              <a:cxn ang="0">
                <a:pos x="T6" y="T7"/>
              </a:cxn>
              <a:cxn ang="0">
                <a:pos x="T8" y="T9"/>
              </a:cxn>
              <a:cxn ang="0">
                <a:pos x="T10" y="T11"/>
              </a:cxn>
            </a:cxnLst>
            <a:rect l="0" t="0" r="r" b="b"/>
            <a:pathLst>
              <a:path w="496" h="660">
                <a:moveTo>
                  <a:pt x="0" y="656"/>
                </a:moveTo>
                <a:lnTo>
                  <a:pt x="0" y="0"/>
                </a:lnTo>
                <a:lnTo>
                  <a:pt x="170" y="0"/>
                </a:lnTo>
                <a:lnTo>
                  <a:pt x="496" y="325"/>
                </a:lnTo>
                <a:lnTo>
                  <a:pt x="180" y="656"/>
                </a:lnTo>
                <a:lnTo>
                  <a:pt x="0" y="6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nvGrpSpPr>
          <p:cNvPr id="13" name="Group 12">
            <a:extLst>
              <a:ext uri="{FF2B5EF4-FFF2-40B4-BE49-F238E27FC236}">
                <a16:creationId xmlns:a16="http://schemas.microsoft.com/office/drawing/2014/main" id="{76D46CE1-CE66-4CBC-B04F-3C446CB35EBF}"/>
              </a:ext>
            </a:extLst>
          </p:cNvPr>
          <p:cNvGrpSpPr/>
          <p:nvPr>
            <p:custDataLst>
              <p:tags r:id="rId8"/>
            </p:custDataLst>
          </p:nvPr>
        </p:nvGrpSpPr>
        <p:grpSpPr>
          <a:xfrm rot="21135114">
            <a:off x="6214348" y="2318187"/>
            <a:ext cx="868248" cy="1155329"/>
            <a:chOff x="4953000" y="3322359"/>
            <a:chExt cx="787401" cy="1047750"/>
          </a:xfrm>
        </p:grpSpPr>
        <p:sp>
          <p:nvSpPr>
            <p:cNvPr id="14" name="Freeform 119">
              <a:extLst>
                <a:ext uri="{FF2B5EF4-FFF2-40B4-BE49-F238E27FC236}">
                  <a16:creationId xmlns:a16="http://schemas.microsoft.com/office/drawing/2014/main" id="{44C4B3F0-D1A6-4C20-84E8-E0FFCB250F79}"/>
                </a:ext>
              </a:extLst>
            </p:cNvPr>
            <p:cNvSpPr>
              <a:spLocks/>
            </p:cNvSpPr>
            <p:nvPr/>
          </p:nvSpPr>
          <p:spPr bwMode="auto">
            <a:xfrm>
              <a:off x="4953000" y="3322359"/>
              <a:ext cx="787400" cy="1047750"/>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 name="T12" fmla="*/ 0 w 496"/>
                <a:gd name="T13" fmla="*/ 656 h 660"/>
              </a:gdLst>
              <a:ahLst/>
              <a:cxnLst>
                <a:cxn ang="0">
                  <a:pos x="T0" y="T1"/>
                </a:cxn>
                <a:cxn ang="0">
                  <a:pos x="T2" y="T3"/>
                </a:cxn>
                <a:cxn ang="0">
                  <a:pos x="T4" y="T5"/>
                </a:cxn>
                <a:cxn ang="0">
                  <a:pos x="T6" y="T7"/>
                </a:cxn>
                <a:cxn ang="0">
                  <a:pos x="T8" y="T9"/>
                </a:cxn>
                <a:cxn ang="0">
                  <a:pos x="T10" y="T11"/>
                </a:cxn>
                <a:cxn ang="0">
                  <a:pos x="T12" y="T13"/>
                </a:cxn>
              </a:cxnLst>
              <a:rect l="0" t="0" r="r" b="b"/>
              <a:pathLst>
                <a:path w="496" h="660">
                  <a:moveTo>
                    <a:pt x="0" y="656"/>
                  </a:moveTo>
                  <a:lnTo>
                    <a:pt x="0" y="0"/>
                  </a:lnTo>
                  <a:lnTo>
                    <a:pt x="170" y="0"/>
                  </a:lnTo>
                  <a:lnTo>
                    <a:pt x="496" y="325"/>
                  </a:lnTo>
                  <a:lnTo>
                    <a:pt x="180" y="656"/>
                  </a:lnTo>
                  <a:lnTo>
                    <a:pt x="0" y="660"/>
                  </a:lnTo>
                  <a:lnTo>
                    <a:pt x="0" y="656"/>
                  </a:lnTo>
                  <a:close/>
                </a:path>
              </a:pathLst>
            </a:custGeom>
            <a:solidFill>
              <a:srgbClr val="B1D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5" name="Freeform 121">
              <a:extLst>
                <a:ext uri="{FF2B5EF4-FFF2-40B4-BE49-F238E27FC236}">
                  <a16:creationId xmlns:a16="http://schemas.microsoft.com/office/drawing/2014/main" id="{3A32FC83-3C41-402D-A2AD-DDABC77F9E34}"/>
                </a:ext>
              </a:extLst>
            </p:cNvPr>
            <p:cNvSpPr>
              <a:spLocks/>
            </p:cNvSpPr>
            <p:nvPr/>
          </p:nvSpPr>
          <p:spPr bwMode="auto">
            <a:xfrm>
              <a:off x="5214938" y="3330297"/>
              <a:ext cx="525463" cy="1033462"/>
            </a:xfrm>
            <a:custGeom>
              <a:avLst/>
              <a:gdLst>
                <a:gd name="T0" fmla="*/ 13 w 331"/>
                <a:gd name="T1" fmla="*/ 651 h 651"/>
                <a:gd name="T2" fmla="*/ 13 w 331"/>
                <a:gd name="T3" fmla="*/ 507 h 651"/>
                <a:gd name="T4" fmla="*/ 174 w 331"/>
                <a:gd name="T5" fmla="*/ 326 h 651"/>
                <a:gd name="T6" fmla="*/ 0 w 331"/>
                <a:gd name="T7" fmla="*/ 156 h 651"/>
                <a:gd name="T8" fmla="*/ 0 w 331"/>
                <a:gd name="T9" fmla="*/ 0 h 651"/>
                <a:gd name="T10" fmla="*/ 331 w 331"/>
                <a:gd name="T11" fmla="*/ 326 h 651"/>
                <a:gd name="T12" fmla="*/ 13 w 331"/>
                <a:gd name="T13" fmla="*/ 651 h 651"/>
                <a:gd name="T14" fmla="*/ 13 w 331"/>
                <a:gd name="T15" fmla="*/ 651 h 6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651">
                  <a:moveTo>
                    <a:pt x="13" y="651"/>
                  </a:moveTo>
                  <a:lnTo>
                    <a:pt x="13" y="507"/>
                  </a:lnTo>
                  <a:lnTo>
                    <a:pt x="174" y="326"/>
                  </a:lnTo>
                  <a:lnTo>
                    <a:pt x="0" y="156"/>
                  </a:lnTo>
                  <a:lnTo>
                    <a:pt x="0" y="0"/>
                  </a:lnTo>
                  <a:lnTo>
                    <a:pt x="331" y="326"/>
                  </a:lnTo>
                  <a:lnTo>
                    <a:pt x="13" y="651"/>
                  </a:lnTo>
                  <a:lnTo>
                    <a:pt x="13" y="6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sp>
        <p:nvSpPr>
          <p:cNvPr id="16" name="Rectangle 122">
            <a:extLst>
              <a:ext uri="{FF2B5EF4-FFF2-40B4-BE49-F238E27FC236}">
                <a16:creationId xmlns:a16="http://schemas.microsoft.com/office/drawing/2014/main" id="{36130F71-7ADE-45BD-8F81-67AFAB4B265D}"/>
              </a:ext>
            </a:extLst>
          </p:cNvPr>
          <p:cNvSpPr>
            <a:spLocks noChangeArrowheads="1"/>
          </p:cNvSpPr>
          <p:nvPr>
            <p:custDataLst>
              <p:tags r:id="rId9"/>
            </p:custDataLst>
          </p:nvPr>
        </p:nvSpPr>
        <p:spPr bwMode="auto">
          <a:xfrm>
            <a:off x="5833624" y="1730020"/>
            <a:ext cx="2180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2200" b="1"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rPr>
              <a:t>3.</a:t>
            </a:r>
            <a:endParaRPr kumimoji="0" lang="fr-CA" sz="1800" b="0"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endParaRPr>
          </a:p>
        </p:txBody>
      </p:sp>
      <p:sp>
        <p:nvSpPr>
          <p:cNvPr id="17" name="Rectangle 123">
            <a:extLst>
              <a:ext uri="{FF2B5EF4-FFF2-40B4-BE49-F238E27FC236}">
                <a16:creationId xmlns:a16="http://schemas.microsoft.com/office/drawing/2014/main" id="{AD0A6879-2F53-45E6-91BD-4906244FEA9C}"/>
              </a:ext>
            </a:extLst>
          </p:cNvPr>
          <p:cNvSpPr>
            <a:spLocks noChangeArrowheads="1"/>
          </p:cNvSpPr>
          <p:nvPr>
            <p:custDataLst>
              <p:tags r:id="rId10"/>
            </p:custDataLst>
          </p:nvPr>
        </p:nvSpPr>
        <p:spPr bwMode="auto">
          <a:xfrm>
            <a:off x="8317114" y="1051250"/>
            <a:ext cx="2180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2200" b="1"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rPr>
              <a:t>4.</a:t>
            </a:r>
            <a:endParaRPr kumimoji="0" lang="fr-CA" sz="1800" b="0"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endParaRPr>
          </a:p>
        </p:txBody>
      </p:sp>
      <p:sp>
        <p:nvSpPr>
          <p:cNvPr id="18" name="Freeform 124">
            <a:extLst>
              <a:ext uri="{FF2B5EF4-FFF2-40B4-BE49-F238E27FC236}">
                <a16:creationId xmlns:a16="http://schemas.microsoft.com/office/drawing/2014/main" id="{E0D7A425-A48B-4EA1-8F82-C462A978B205}"/>
              </a:ext>
            </a:extLst>
          </p:cNvPr>
          <p:cNvSpPr>
            <a:spLocks/>
          </p:cNvSpPr>
          <p:nvPr>
            <p:custDataLst>
              <p:tags r:id="rId11"/>
            </p:custDataLst>
          </p:nvPr>
        </p:nvSpPr>
        <p:spPr bwMode="auto">
          <a:xfrm>
            <a:off x="1609673" y="3552129"/>
            <a:ext cx="1060802" cy="1053800"/>
          </a:xfrm>
          <a:custGeom>
            <a:avLst/>
            <a:gdLst>
              <a:gd name="T0" fmla="*/ 0 w 606"/>
              <a:gd name="T1" fmla="*/ 0 h 602"/>
              <a:gd name="T2" fmla="*/ 0 w 606"/>
              <a:gd name="T3" fmla="*/ 602 h 602"/>
              <a:gd name="T4" fmla="*/ 606 w 606"/>
              <a:gd name="T5" fmla="*/ 602 h 602"/>
              <a:gd name="T6" fmla="*/ 606 w 606"/>
              <a:gd name="T7" fmla="*/ 0 h 602"/>
              <a:gd name="T8" fmla="*/ 0 w 606"/>
              <a:gd name="T9" fmla="*/ 0 h 602"/>
              <a:gd name="T10" fmla="*/ 0 w 606"/>
              <a:gd name="T11" fmla="*/ 0 h 602"/>
            </a:gdLst>
            <a:ahLst/>
            <a:cxnLst>
              <a:cxn ang="0">
                <a:pos x="T0" y="T1"/>
              </a:cxn>
              <a:cxn ang="0">
                <a:pos x="T2" y="T3"/>
              </a:cxn>
              <a:cxn ang="0">
                <a:pos x="T4" y="T5"/>
              </a:cxn>
              <a:cxn ang="0">
                <a:pos x="T6" y="T7"/>
              </a:cxn>
              <a:cxn ang="0">
                <a:pos x="T8" y="T9"/>
              </a:cxn>
              <a:cxn ang="0">
                <a:pos x="T10" y="T11"/>
              </a:cxn>
            </a:cxnLst>
            <a:rect l="0" t="0" r="r" b="b"/>
            <a:pathLst>
              <a:path w="606" h="602">
                <a:moveTo>
                  <a:pt x="0" y="0"/>
                </a:moveTo>
                <a:lnTo>
                  <a:pt x="0" y="602"/>
                </a:lnTo>
                <a:lnTo>
                  <a:pt x="606" y="602"/>
                </a:lnTo>
                <a:lnTo>
                  <a:pt x="606" y="0"/>
                </a:lnTo>
                <a:lnTo>
                  <a:pt x="0" y="0"/>
                </a:lnTo>
                <a:lnTo>
                  <a:pt x="0"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9" name="Freeform 125">
            <a:extLst>
              <a:ext uri="{FF2B5EF4-FFF2-40B4-BE49-F238E27FC236}">
                <a16:creationId xmlns:a16="http://schemas.microsoft.com/office/drawing/2014/main" id="{2C6D883F-9675-4A1B-AD97-882EB211E3DF}"/>
              </a:ext>
            </a:extLst>
          </p:cNvPr>
          <p:cNvSpPr>
            <a:spLocks/>
          </p:cNvSpPr>
          <p:nvPr>
            <p:custDataLst>
              <p:tags r:id="rId12"/>
            </p:custDataLst>
          </p:nvPr>
        </p:nvSpPr>
        <p:spPr bwMode="auto">
          <a:xfrm>
            <a:off x="1609673" y="3552129"/>
            <a:ext cx="1060802" cy="1053800"/>
          </a:xfrm>
          <a:custGeom>
            <a:avLst/>
            <a:gdLst>
              <a:gd name="T0" fmla="*/ 0 w 606"/>
              <a:gd name="T1" fmla="*/ 0 h 602"/>
              <a:gd name="T2" fmla="*/ 0 w 606"/>
              <a:gd name="T3" fmla="*/ 602 h 602"/>
              <a:gd name="T4" fmla="*/ 606 w 606"/>
              <a:gd name="T5" fmla="*/ 602 h 602"/>
              <a:gd name="T6" fmla="*/ 606 w 606"/>
              <a:gd name="T7" fmla="*/ 0 h 602"/>
              <a:gd name="T8" fmla="*/ 0 w 606"/>
              <a:gd name="T9" fmla="*/ 0 h 602"/>
              <a:gd name="T10" fmla="*/ 0 w 606"/>
              <a:gd name="T11" fmla="*/ 0 h 602"/>
            </a:gdLst>
            <a:ahLst/>
            <a:cxnLst>
              <a:cxn ang="0">
                <a:pos x="T0" y="T1"/>
              </a:cxn>
              <a:cxn ang="0">
                <a:pos x="T2" y="T3"/>
              </a:cxn>
              <a:cxn ang="0">
                <a:pos x="T4" y="T5"/>
              </a:cxn>
              <a:cxn ang="0">
                <a:pos x="T6" y="T7"/>
              </a:cxn>
              <a:cxn ang="0">
                <a:pos x="T8" y="T9"/>
              </a:cxn>
              <a:cxn ang="0">
                <a:pos x="T10" y="T11"/>
              </a:cxn>
            </a:cxnLst>
            <a:rect l="0" t="0" r="r" b="b"/>
            <a:pathLst>
              <a:path w="606" h="602">
                <a:moveTo>
                  <a:pt x="0" y="0"/>
                </a:moveTo>
                <a:lnTo>
                  <a:pt x="0" y="602"/>
                </a:lnTo>
                <a:lnTo>
                  <a:pt x="606" y="602"/>
                </a:lnTo>
                <a:lnTo>
                  <a:pt x="606"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0" name="Rectangle 126">
            <a:extLst>
              <a:ext uri="{FF2B5EF4-FFF2-40B4-BE49-F238E27FC236}">
                <a16:creationId xmlns:a16="http://schemas.microsoft.com/office/drawing/2014/main" id="{752AC34B-E4AF-4EE5-BEC5-28CE785FD42E}"/>
              </a:ext>
            </a:extLst>
          </p:cNvPr>
          <p:cNvSpPr>
            <a:spLocks noChangeArrowheads="1"/>
          </p:cNvSpPr>
          <p:nvPr>
            <p:custDataLst>
              <p:tags r:id="rId13"/>
            </p:custDataLst>
          </p:nvPr>
        </p:nvSpPr>
        <p:spPr bwMode="auto">
          <a:xfrm>
            <a:off x="1296333" y="3074402"/>
            <a:ext cx="2180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2200" b="1"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rPr>
              <a:t>1.</a:t>
            </a:r>
            <a:endParaRPr kumimoji="0" lang="fr-CA" sz="1800" b="0"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endParaRPr>
          </a:p>
        </p:txBody>
      </p:sp>
      <p:sp>
        <p:nvSpPr>
          <p:cNvPr id="21" name="Freeform 127">
            <a:extLst>
              <a:ext uri="{FF2B5EF4-FFF2-40B4-BE49-F238E27FC236}">
                <a16:creationId xmlns:a16="http://schemas.microsoft.com/office/drawing/2014/main" id="{22ADBE73-5A4E-4715-A583-63FA457EBB5F}"/>
              </a:ext>
            </a:extLst>
          </p:cNvPr>
          <p:cNvSpPr>
            <a:spLocks/>
          </p:cNvSpPr>
          <p:nvPr>
            <p:custDataLst>
              <p:tags r:id="rId14"/>
            </p:custDataLst>
          </p:nvPr>
        </p:nvSpPr>
        <p:spPr bwMode="auto">
          <a:xfrm>
            <a:off x="3838056" y="2831083"/>
            <a:ext cx="827986" cy="1078307"/>
          </a:xfrm>
          <a:custGeom>
            <a:avLst/>
            <a:gdLst>
              <a:gd name="T0" fmla="*/ 0 w 473"/>
              <a:gd name="T1" fmla="*/ 0 h 616"/>
              <a:gd name="T2" fmla="*/ 0 w 473"/>
              <a:gd name="T3" fmla="*/ 616 h 616"/>
              <a:gd name="T4" fmla="*/ 473 w 473"/>
              <a:gd name="T5" fmla="*/ 616 h 616"/>
              <a:gd name="T6" fmla="*/ 473 w 473"/>
              <a:gd name="T7" fmla="*/ 0 h 616"/>
              <a:gd name="T8" fmla="*/ 0 w 473"/>
              <a:gd name="T9" fmla="*/ 0 h 616"/>
              <a:gd name="T10" fmla="*/ 0 w 473"/>
              <a:gd name="T11" fmla="*/ 0 h 616"/>
            </a:gdLst>
            <a:ahLst/>
            <a:cxnLst>
              <a:cxn ang="0">
                <a:pos x="T0" y="T1"/>
              </a:cxn>
              <a:cxn ang="0">
                <a:pos x="T2" y="T3"/>
              </a:cxn>
              <a:cxn ang="0">
                <a:pos x="T4" y="T5"/>
              </a:cxn>
              <a:cxn ang="0">
                <a:pos x="T6" y="T7"/>
              </a:cxn>
              <a:cxn ang="0">
                <a:pos x="T8" y="T9"/>
              </a:cxn>
              <a:cxn ang="0">
                <a:pos x="T10" y="T11"/>
              </a:cxn>
            </a:cxnLst>
            <a:rect l="0" t="0" r="r" b="b"/>
            <a:pathLst>
              <a:path w="473" h="616">
                <a:moveTo>
                  <a:pt x="0" y="0"/>
                </a:moveTo>
                <a:lnTo>
                  <a:pt x="0" y="616"/>
                </a:lnTo>
                <a:lnTo>
                  <a:pt x="473" y="616"/>
                </a:lnTo>
                <a:lnTo>
                  <a:pt x="473" y="0"/>
                </a:lnTo>
                <a:lnTo>
                  <a:pt x="0" y="0"/>
                </a:lnTo>
                <a:lnTo>
                  <a:pt x="0"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2" name="Freeform 128">
            <a:extLst>
              <a:ext uri="{FF2B5EF4-FFF2-40B4-BE49-F238E27FC236}">
                <a16:creationId xmlns:a16="http://schemas.microsoft.com/office/drawing/2014/main" id="{4B7FEB50-6EF2-47D3-8CB5-37CDC84068EC}"/>
              </a:ext>
            </a:extLst>
          </p:cNvPr>
          <p:cNvSpPr>
            <a:spLocks/>
          </p:cNvSpPr>
          <p:nvPr>
            <p:custDataLst>
              <p:tags r:id="rId15"/>
            </p:custDataLst>
          </p:nvPr>
        </p:nvSpPr>
        <p:spPr bwMode="auto">
          <a:xfrm>
            <a:off x="3838056" y="2831083"/>
            <a:ext cx="827986" cy="1078307"/>
          </a:xfrm>
          <a:custGeom>
            <a:avLst/>
            <a:gdLst>
              <a:gd name="T0" fmla="*/ 0 w 473"/>
              <a:gd name="T1" fmla="*/ 0 h 616"/>
              <a:gd name="T2" fmla="*/ 0 w 473"/>
              <a:gd name="T3" fmla="*/ 616 h 616"/>
              <a:gd name="T4" fmla="*/ 473 w 473"/>
              <a:gd name="T5" fmla="*/ 616 h 616"/>
              <a:gd name="T6" fmla="*/ 473 w 473"/>
              <a:gd name="T7" fmla="*/ 0 h 616"/>
              <a:gd name="T8" fmla="*/ 0 w 473"/>
              <a:gd name="T9" fmla="*/ 0 h 616"/>
              <a:gd name="T10" fmla="*/ 0 w 473"/>
              <a:gd name="T11" fmla="*/ 0 h 616"/>
            </a:gdLst>
            <a:ahLst/>
            <a:cxnLst>
              <a:cxn ang="0">
                <a:pos x="T0" y="T1"/>
              </a:cxn>
              <a:cxn ang="0">
                <a:pos x="T2" y="T3"/>
              </a:cxn>
              <a:cxn ang="0">
                <a:pos x="T4" y="T5"/>
              </a:cxn>
              <a:cxn ang="0">
                <a:pos x="T6" y="T7"/>
              </a:cxn>
              <a:cxn ang="0">
                <a:pos x="T8" y="T9"/>
              </a:cxn>
              <a:cxn ang="0">
                <a:pos x="T10" y="T11"/>
              </a:cxn>
            </a:cxnLst>
            <a:rect l="0" t="0" r="r" b="b"/>
            <a:pathLst>
              <a:path w="473" h="616">
                <a:moveTo>
                  <a:pt x="0" y="0"/>
                </a:moveTo>
                <a:lnTo>
                  <a:pt x="0" y="616"/>
                </a:lnTo>
                <a:lnTo>
                  <a:pt x="473" y="616"/>
                </a:lnTo>
                <a:lnTo>
                  <a:pt x="473"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3" name="Freeform 129">
            <a:extLst>
              <a:ext uri="{FF2B5EF4-FFF2-40B4-BE49-F238E27FC236}">
                <a16:creationId xmlns:a16="http://schemas.microsoft.com/office/drawing/2014/main" id="{BB4FECCF-212B-435E-8F30-B30AC59B3325}"/>
              </a:ext>
            </a:extLst>
          </p:cNvPr>
          <p:cNvSpPr>
            <a:spLocks/>
          </p:cNvSpPr>
          <p:nvPr>
            <p:custDataLst>
              <p:tags r:id="rId16"/>
            </p:custDataLst>
          </p:nvPr>
        </p:nvSpPr>
        <p:spPr bwMode="auto">
          <a:xfrm>
            <a:off x="3831054" y="2831083"/>
            <a:ext cx="295835" cy="113957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 name="T10" fmla="*/ 0 w 169"/>
              <a:gd name="T11" fmla="*/ 0 h 651"/>
            </a:gdLst>
            <a:ahLst/>
            <a:cxnLst>
              <a:cxn ang="0">
                <a:pos x="T0" y="T1"/>
              </a:cxn>
              <a:cxn ang="0">
                <a:pos x="T2" y="T3"/>
              </a:cxn>
              <a:cxn ang="0">
                <a:pos x="T4" y="T5"/>
              </a:cxn>
              <a:cxn ang="0">
                <a:pos x="T6" y="T7"/>
              </a:cxn>
              <a:cxn ang="0">
                <a:pos x="T8" y="T9"/>
              </a:cxn>
              <a:cxn ang="0">
                <a:pos x="T10" y="T11"/>
              </a:cxn>
            </a:cxnLst>
            <a:rect l="0" t="0" r="r" b="b"/>
            <a:pathLst>
              <a:path w="169" h="651">
                <a:moveTo>
                  <a:pt x="0" y="0"/>
                </a:moveTo>
                <a:lnTo>
                  <a:pt x="165" y="33"/>
                </a:lnTo>
                <a:lnTo>
                  <a:pt x="169" y="651"/>
                </a:lnTo>
                <a:lnTo>
                  <a:pt x="0" y="612"/>
                </a:lnTo>
                <a:lnTo>
                  <a:pt x="0" y="4"/>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4" name="Freeform 130">
            <a:extLst>
              <a:ext uri="{FF2B5EF4-FFF2-40B4-BE49-F238E27FC236}">
                <a16:creationId xmlns:a16="http://schemas.microsoft.com/office/drawing/2014/main" id="{3B33CF3C-523E-4265-BC07-95B8EE1166CA}"/>
              </a:ext>
            </a:extLst>
          </p:cNvPr>
          <p:cNvSpPr>
            <a:spLocks/>
          </p:cNvSpPr>
          <p:nvPr>
            <p:custDataLst>
              <p:tags r:id="rId17"/>
            </p:custDataLst>
          </p:nvPr>
        </p:nvSpPr>
        <p:spPr bwMode="auto">
          <a:xfrm>
            <a:off x="3831054" y="2831083"/>
            <a:ext cx="295835" cy="113957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Lst>
            <a:ahLst/>
            <a:cxnLst>
              <a:cxn ang="0">
                <a:pos x="T0" y="T1"/>
              </a:cxn>
              <a:cxn ang="0">
                <a:pos x="T2" y="T3"/>
              </a:cxn>
              <a:cxn ang="0">
                <a:pos x="T4" y="T5"/>
              </a:cxn>
              <a:cxn ang="0">
                <a:pos x="T6" y="T7"/>
              </a:cxn>
              <a:cxn ang="0">
                <a:pos x="T8" y="T9"/>
              </a:cxn>
            </a:cxnLst>
            <a:rect l="0" t="0" r="r" b="b"/>
            <a:pathLst>
              <a:path w="169" h="651">
                <a:moveTo>
                  <a:pt x="0" y="0"/>
                </a:moveTo>
                <a:lnTo>
                  <a:pt x="165" y="33"/>
                </a:lnTo>
                <a:lnTo>
                  <a:pt x="169" y="651"/>
                </a:lnTo>
                <a:lnTo>
                  <a:pt x="0" y="612"/>
                </a:lnTo>
                <a:lnTo>
                  <a:pt x="0" y="4"/>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5" name="Freeform 131">
            <a:extLst>
              <a:ext uri="{FF2B5EF4-FFF2-40B4-BE49-F238E27FC236}">
                <a16:creationId xmlns:a16="http://schemas.microsoft.com/office/drawing/2014/main" id="{E7733B74-3B50-4BCD-8CA9-296174C322BD}"/>
              </a:ext>
            </a:extLst>
          </p:cNvPr>
          <p:cNvSpPr>
            <a:spLocks/>
          </p:cNvSpPr>
          <p:nvPr>
            <p:custDataLst>
              <p:tags r:id="rId18"/>
            </p:custDataLst>
          </p:nvPr>
        </p:nvSpPr>
        <p:spPr bwMode="auto">
          <a:xfrm>
            <a:off x="3831054" y="2831083"/>
            <a:ext cx="295835" cy="113957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Lst>
            <a:ahLst/>
            <a:cxnLst>
              <a:cxn ang="0">
                <a:pos x="T0" y="T1"/>
              </a:cxn>
              <a:cxn ang="0">
                <a:pos x="T2" y="T3"/>
              </a:cxn>
              <a:cxn ang="0">
                <a:pos x="T4" y="T5"/>
              </a:cxn>
              <a:cxn ang="0">
                <a:pos x="T6" y="T7"/>
              </a:cxn>
              <a:cxn ang="0">
                <a:pos x="T8" y="T9"/>
              </a:cxn>
            </a:cxnLst>
            <a:rect l="0" t="0" r="r" b="b"/>
            <a:pathLst>
              <a:path w="169" h="651">
                <a:moveTo>
                  <a:pt x="0" y="0"/>
                </a:moveTo>
                <a:lnTo>
                  <a:pt x="165" y="33"/>
                </a:lnTo>
                <a:lnTo>
                  <a:pt x="169" y="651"/>
                </a:lnTo>
                <a:lnTo>
                  <a:pt x="0" y="612"/>
                </a:lnTo>
                <a:lnTo>
                  <a:pt x="0" y="4"/>
                </a:lnTo>
              </a:path>
            </a:pathLst>
          </a:custGeom>
          <a:solidFill>
            <a:schemeClr val="accent1"/>
          </a:solidFill>
          <a:ln w="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6" name="Rectangle 132">
            <a:extLst>
              <a:ext uri="{FF2B5EF4-FFF2-40B4-BE49-F238E27FC236}">
                <a16:creationId xmlns:a16="http://schemas.microsoft.com/office/drawing/2014/main" id="{53CEEE82-62B3-4C77-800B-8757535CEE48}"/>
              </a:ext>
            </a:extLst>
          </p:cNvPr>
          <p:cNvSpPr>
            <a:spLocks noChangeArrowheads="1"/>
          </p:cNvSpPr>
          <p:nvPr>
            <p:custDataLst>
              <p:tags r:id="rId19"/>
            </p:custDataLst>
          </p:nvPr>
        </p:nvSpPr>
        <p:spPr bwMode="auto">
          <a:xfrm>
            <a:off x="3389683" y="2234163"/>
            <a:ext cx="2180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2200" b="1"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rPr>
              <a:t>2.</a:t>
            </a:r>
            <a:endParaRPr kumimoji="0" lang="fr-CA" sz="1800" b="0" i="0" u="none" strike="noStrike" kern="1200" cap="none" spc="0" normalizeH="0" baseline="0" noProof="0" dirty="0">
              <a:ln>
                <a:noFill/>
              </a:ln>
              <a:solidFill>
                <a:srgbClr val="86BC25"/>
              </a:solidFill>
              <a:effectLst/>
              <a:uLnTx/>
              <a:uFillTx/>
              <a:latin typeface="Calibri"/>
              <a:ea typeface="+mn-ea"/>
              <a:cs typeface="Verdana" panose="020B0604030504040204" pitchFamily="34" charset="0"/>
            </a:endParaRPr>
          </a:p>
        </p:txBody>
      </p:sp>
      <p:grpSp>
        <p:nvGrpSpPr>
          <p:cNvPr id="27" name="Group 26">
            <a:extLst>
              <a:ext uri="{FF2B5EF4-FFF2-40B4-BE49-F238E27FC236}">
                <a16:creationId xmlns:a16="http://schemas.microsoft.com/office/drawing/2014/main" id="{1B1A7754-6EAE-4364-AD7F-38E8BFE1C8DC}"/>
              </a:ext>
            </a:extLst>
          </p:cNvPr>
          <p:cNvGrpSpPr/>
          <p:nvPr>
            <p:custDataLst>
              <p:tags r:id="rId20"/>
            </p:custDataLst>
          </p:nvPr>
        </p:nvGrpSpPr>
        <p:grpSpPr>
          <a:xfrm>
            <a:off x="8695339" y="1486410"/>
            <a:ext cx="1277865" cy="1522933"/>
            <a:chOff x="6638925" y="1969809"/>
            <a:chExt cx="1158876" cy="1381125"/>
          </a:xfrm>
        </p:grpSpPr>
        <p:sp>
          <p:nvSpPr>
            <p:cNvPr id="28" name="Freeform 133">
              <a:extLst>
                <a:ext uri="{FF2B5EF4-FFF2-40B4-BE49-F238E27FC236}">
                  <a16:creationId xmlns:a16="http://schemas.microsoft.com/office/drawing/2014/main" id="{A7588C35-8019-4CDB-B846-F384C7884D89}"/>
                </a:ext>
              </a:extLst>
            </p:cNvPr>
            <p:cNvSpPr>
              <a:spLocks/>
            </p:cNvSpPr>
            <p:nvPr/>
          </p:nvSpPr>
          <p:spPr bwMode="auto">
            <a:xfrm>
              <a:off x="7008813" y="2623859"/>
              <a:ext cx="111125" cy="169862"/>
            </a:xfrm>
            <a:custGeom>
              <a:avLst/>
              <a:gdLst>
                <a:gd name="T0" fmla="*/ 0 w 70"/>
                <a:gd name="T1" fmla="*/ 107 h 107"/>
                <a:gd name="T2" fmla="*/ 70 w 70"/>
                <a:gd name="T3" fmla="*/ 39 h 107"/>
                <a:gd name="T4" fmla="*/ 35 w 70"/>
                <a:gd name="T5" fmla="*/ 0 h 107"/>
                <a:gd name="T6" fmla="*/ 0 w 70"/>
                <a:gd name="T7" fmla="*/ 107 h 107"/>
                <a:gd name="T8" fmla="*/ 0 w 70"/>
                <a:gd name="T9" fmla="*/ 107 h 107"/>
              </a:gdLst>
              <a:ahLst/>
              <a:cxnLst>
                <a:cxn ang="0">
                  <a:pos x="T0" y="T1"/>
                </a:cxn>
                <a:cxn ang="0">
                  <a:pos x="T2" y="T3"/>
                </a:cxn>
                <a:cxn ang="0">
                  <a:pos x="T4" y="T5"/>
                </a:cxn>
                <a:cxn ang="0">
                  <a:pos x="T6" y="T7"/>
                </a:cxn>
                <a:cxn ang="0">
                  <a:pos x="T8" y="T9"/>
                </a:cxn>
              </a:cxnLst>
              <a:rect l="0" t="0" r="r" b="b"/>
              <a:pathLst>
                <a:path w="70" h="107">
                  <a:moveTo>
                    <a:pt x="0" y="107"/>
                  </a:moveTo>
                  <a:lnTo>
                    <a:pt x="70" y="39"/>
                  </a:lnTo>
                  <a:lnTo>
                    <a:pt x="35" y="0"/>
                  </a:lnTo>
                  <a:lnTo>
                    <a:pt x="0" y="107"/>
                  </a:lnTo>
                  <a:lnTo>
                    <a:pt x="0" y="107"/>
                  </a:lnTo>
                  <a:close/>
                </a:path>
              </a:pathLst>
            </a:custGeom>
            <a:solidFill>
              <a:srgbClr val="98AA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9" name="Freeform 134">
              <a:extLst>
                <a:ext uri="{FF2B5EF4-FFF2-40B4-BE49-F238E27FC236}">
                  <a16:creationId xmlns:a16="http://schemas.microsoft.com/office/drawing/2014/main" id="{E228C174-738B-4A55-939E-AE32859ED6C8}"/>
                </a:ext>
              </a:extLst>
            </p:cNvPr>
            <p:cNvSpPr>
              <a:spLocks/>
            </p:cNvSpPr>
            <p:nvPr/>
          </p:nvSpPr>
          <p:spPr bwMode="auto">
            <a:xfrm>
              <a:off x="6638925" y="1971397"/>
              <a:ext cx="1158875" cy="593725"/>
            </a:xfrm>
            <a:custGeom>
              <a:avLst/>
              <a:gdLst>
                <a:gd name="T0" fmla="*/ 194 w 730"/>
                <a:gd name="T1" fmla="*/ 374 h 374"/>
                <a:gd name="T2" fmla="*/ 730 w 730"/>
                <a:gd name="T3" fmla="*/ 0 h 374"/>
                <a:gd name="T4" fmla="*/ 31 w 730"/>
                <a:gd name="T5" fmla="*/ 191 h 374"/>
                <a:gd name="T6" fmla="*/ 0 w 730"/>
                <a:gd name="T7" fmla="*/ 281 h 374"/>
                <a:gd name="T8" fmla="*/ 3 w 730"/>
                <a:gd name="T9" fmla="*/ 355 h 374"/>
                <a:gd name="T10" fmla="*/ 194 w 730"/>
                <a:gd name="T11" fmla="*/ 374 h 374"/>
                <a:gd name="T12" fmla="*/ 194 w 730"/>
                <a:gd name="T13" fmla="*/ 374 h 374"/>
              </a:gdLst>
              <a:ahLst/>
              <a:cxnLst>
                <a:cxn ang="0">
                  <a:pos x="T0" y="T1"/>
                </a:cxn>
                <a:cxn ang="0">
                  <a:pos x="T2" y="T3"/>
                </a:cxn>
                <a:cxn ang="0">
                  <a:pos x="T4" y="T5"/>
                </a:cxn>
                <a:cxn ang="0">
                  <a:pos x="T6" y="T7"/>
                </a:cxn>
                <a:cxn ang="0">
                  <a:pos x="T8" y="T9"/>
                </a:cxn>
                <a:cxn ang="0">
                  <a:pos x="T10" y="T11"/>
                </a:cxn>
                <a:cxn ang="0">
                  <a:pos x="T12" y="T13"/>
                </a:cxn>
              </a:cxnLst>
              <a:rect l="0" t="0" r="r" b="b"/>
              <a:pathLst>
                <a:path w="730" h="374">
                  <a:moveTo>
                    <a:pt x="194" y="374"/>
                  </a:moveTo>
                  <a:lnTo>
                    <a:pt x="730" y="0"/>
                  </a:lnTo>
                  <a:lnTo>
                    <a:pt x="31" y="191"/>
                  </a:lnTo>
                  <a:lnTo>
                    <a:pt x="0" y="281"/>
                  </a:lnTo>
                  <a:lnTo>
                    <a:pt x="3" y="355"/>
                  </a:lnTo>
                  <a:lnTo>
                    <a:pt x="194" y="374"/>
                  </a:lnTo>
                  <a:lnTo>
                    <a:pt x="194" y="374"/>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0" name="Freeform 135">
              <a:extLst>
                <a:ext uri="{FF2B5EF4-FFF2-40B4-BE49-F238E27FC236}">
                  <a16:creationId xmlns:a16="http://schemas.microsoft.com/office/drawing/2014/main" id="{8D34F3E4-48FE-4225-8800-FC1B8CF46760}"/>
                </a:ext>
              </a:extLst>
            </p:cNvPr>
            <p:cNvSpPr>
              <a:spLocks/>
            </p:cNvSpPr>
            <p:nvPr/>
          </p:nvSpPr>
          <p:spPr bwMode="auto">
            <a:xfrm>
              <a:off x="7054850" y="1969809"/>
              <a:ext cx="742950" cy="982662"/>
            </a:xfrm>
            <a:custGeom>
              <a:avLst/>
              <a:gdLst>
                <a:gd name="T0" fmla="*/ 468 w 468"/>
                <a:gd name="T1" fmla="*/ 0 h 619"/>
                <a:gd name="T2" fmla="*/ 313 w 468"/>
                <a:gd name="T3" fmla="*/ 580 h 619"/>
                <a:gd name="T4" fmla="*/ 228 w 468"/>
                <a:gd name="T5" fmla="*/ 619 h 619"/>
                <a:gd name="T6" fmla="*/ 100 w 468"/>
                <a:gd name="T7" fmla="*/ 604 h 619"/>
                <a:gd name="T8" fmla="*/ 0 w 468"/>
                <a:gd name="T9" fmla="*/ 428 h 619"/>
                <a:gd name="T10" fmla="*/ 468 w 468"/>
                <a:gd name="T11" fmla="*/ 0 h 619"/>
                <a:gd name="T12" fmla="*/ 468 w 468"/>
                <a:gd name="T13" fmla="*/ 0 h 619"/>
              </a:gdLst>
              <a:ahLst/>
              <a:cxnLst>
                <a:cxn ang="0">
                  <a:pos x="T0" y="T1"/>
                </a:cxn>
                <a:cxn ang="0">
                  <a:pos x="T2" y="T3"/>
                </a:cxn>
                <a:cxn ang="0">
                  <a:pos x="T4" y="T5"/>
                </a:cxn>
                <a:cxn ang="0">
                  <a:pos x="T6" y="T7"/>
                </a:cxn>
                <a:cxn ang="0">
                  <a:pos x="T8" y="T9"/>
                </a:cxn>
                <a:cxn ang="0">
                  <a:pos x="T10" y="T11"/>
                </a:cxn>
                <a:cxn ang="0">
                  <a:pos x="T12" y="T13"/>
                </a:cxn>
              </a:cxnLst>
              <a:rect l="0" t="0" r="r" b="b"/>
              <a:pathLst>
                <a:path w="468" h="619">
                  <a:moveTo>
                    <a:pt x="468" y="0"/>
                  </a:moveTo>
                  <a:lnTo>
                    <a:pt x="313" y="580"/>
                  </a:lnTo>
                  <a:lnTo>
                    <a:pt x="228" y="619"/>
                  </a:lnTo>
                  <a:lnTo>
                    <a:pt x="100" y="604"/>
                  </a:lnTo>
                  <a:lnTo>
                    <a:pt x="0" y="428"/>
                  </a:lnTo>
                  <a:lnTo>
                    <a:pt x="468" y="0"/>
                  </a:lnTo>
                  <a:lnTo>
                    <a:pt x="468"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1" name="Freeform 136">
              <a:extLst>
                <a:ext uri="{FF2B5EF4-FFF2-40B4-BE49-F238E27FC236}">
                  <a16:creationId xmlns:a16="http://schemas.microsoft.com/office/drawing/2014/main" id="{43CB3395-BE95-451C-A5E4-7B2A559F7FEF}"/>
                </a:ext>
              </a:extLst>
            </p:cNvPr>
            <p:cNvSpPr>
              <a:spLocks/>
            </p:cNvSpPr>
            <p:nvPr/>
          </p:nvSpPr>
          <p:spPr bwMode="auto">
            <a:xfrm>
              <a:off x="6638925" y="1990447"/>
              <a:ext cx="1082675" cy="425450"/>
            </a:xfrm>
            <a:custGeom>
              <a:avLst/>
              <a:gdLst>
                <a:gd name="T0" fmla="*/ 682 w 682"/>
                <a:gd name="T1" fmla="*/ 0 h 268"/>
                <a:gd name="T2" fmla="*/ 0 w 682"/>
                <a:gd name="T3" fmla="*/ 268 h 268"/>
                <a:gd name="T4" fmla="*/ 31 w 682"/>
                <a:gd name="T5" fmla="*/ 179 h 268"/>
                <a:gd name="T6" fmla="*/ 682 w 682"/>
                <a:gd name="T7" fmla="*/ 0 h 268"/>
                <a:gd name="T8" fmla="*/ 682 w 682"/>
                <a:gd name="T9" fmla="*/ 0 h 268"/>
              </a:gdLst>
              <a:ahLst/>
              <a:cxnLst>
                <a:cxn ang="0">
                  <a:pos x="T0" y="T1"/>
                </a:cxn>
                <a:cxn ang="0">
                  <a:pos x="T2" y="T3"/>
                </a:cxn>
                <a:cxn ang="0">
                  <a:pos x="T4" y="T5"/>
                </a:cxn>
                <a:cxn ang="0">
                  <a:pos x="T6" y="T7"/>
                </a:cxn>
                <a:cxn ang="0">
                  <a:pos x="T8" y="T9"/>
                </a:cxn>
              </a:cxnLst>
              <a:rect l="0" t="0" r="r" b="b"/>
              <a:pathLst>
                <a:path w="682" h="268">
                  <a:moveTo>
                    <a:pt x="682" y="0"/>
                  </a:moveTo>
                  <a:lnTo>
                    <a:pt x="0" y="268"/>
                  </a:lnTo>
                  <a:lnTo>
                    <a:pt x="31" y="179"/>
                  </a:lnTo>
                  <a:lnTo>
                    <a:pt x="682" y="0"/>
                  </a:lnTo>
                  <a:lnTo>
                    <a:pt x="68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2" name="Freeform 137">
              <a:extLst>
                <a:ext uri="{FF2B5EF4-FFF2-40B4-BE49-F238E27FC236}">
                  <a16:creationId xmlns:a16="http://schemas.microsoft.com/office/drawing/2014/main" id="{068F4CD2-053F-4913-AD39-AA48C0F43783}"/>
                </a:ext>
              </a:extLst>
            </p:cNvPr>
            <p:cNvSpPr>
              <a:spLocks/>
            </p:cNvSpPr>
            <p:nvPr/>
          </p:nvSpPr>
          <p:spPr bwMode="auto">
            <a:xfrm>
              <a:off x="6946900" y="1977747"/>
              <a:ext cx="842963" cy="812800"/>
            </a:xfrm>
            <a:custGeom>
              <a:avLst/>
              <a:gdLst>
                <a:gd name="T0" fmla="*/ 68 w 531"/>
                <a:gd name="T1" fmla="*/ 425 h 512"/>
                <a:gd name="T2" fmla="*/ 39 w 531"/>
                <a:gd name="T3" fmla="*/ 512 h 512"/>
                <a:gd name="T4" fmla="*/ 0 w 531"/>
                <a:gd name="T5" fmla="*/ 370 h 512"/>
                <a:gd name="T6" fmla="*/ 531 w 531"/>
                <a:gd name="T7" fmla="*/ 0 h 512"/>
                <a:gd name="T8" fmla="*/ 68 w 531"/>
                <a:gd name="T9" fmla="*/ 425 h 512"/>
                <a:gd name="T10" fmla="*/ 68 w 531"/>
                <a:gd name="T11" fmla="*/ 425 h 512"/>
              </a:gdLst>
              <a:ahLst/>
              <a:cxnLst>
                <a:cxn ang="0">
                  <a:pos x="T0" y="T1"/>
                </a:cxn>
                <a:cxn ang="0">
                  <a:pos x="T2" y="T3"/>
                </a:cxn>
                <a:cxn ang="0">
                  <a:pos x="T4" y="T5"/>
                </a:cxn>
                <a:cxn ang="0">
                  <a:pos x="T6" y="T7"/>
                </a:cxn>
                <a:cxn ang="0">
                  <a:pos x="T8" y="T9"/>
                </a:cxn>
                <a:cxn ang="0">
                  <a:pos x="T10" y="T11"/>
                </a:cxn>
              </a:cxnLst>
              <a:rect l="0" t="0" r="r" b="b"/>
              <a:pathLst>
                <a:path w="531" h="512">
                  <a:moveTo>
                    <a:pt x="68" y="425"/>
                  </a:moveTo>
                  <a:lnTo>
                    <a:pt x="39" y="512"/>
                  </a:lnTo>
                  <a:lnTo>
                    <a:pt x="0" y="370"/>
                  </a:lnTo>
                  <a:lnTo>
                    <a:pt x="531" y="0"/>
                  </a:lnTo>
                  <a:lnTo>
                    <a:pt x="68" y="425"/>
                  </a:lnTo>
                  <a:lnTo>
                    <a:pt x="68" y="42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3" name="Freeform 138">
              <a:extLst>
                <a:ext uri="{FF2B5EF4-FFF2-40B4-BE49-F238E27FC236}">
                  <a16:creationId xmlns:a16="http://schemas.microsoft.com/office/drawing/2014/main" id="{1A6D8EAC-1DE5-43A9-9261-AAA2B881A42E}"/>
                </a:ext>
              </a:extLst>
            </p:cNvPr>
            <p:cNvSpPr>
              <a:spLocks/>
            </p:cNvSpPr>
            <p:nvPr/>
          </p:nvSpPr>
          <p:spPr bwMode="auto">
            <a:xfrm>
              <a:off x="7421563" y="1969809"/>
              <a:ext cx="376238" cy="979487"/>
            </a:xfrm>
            <a:custGeom>
              <a:avLst/>
              <a:gdLst>
                <a:gd name="T0" fmla="*/ 0 w 237"/>
                <a:gd name="T1" fmla="*/ 617 h 617"/>
                <a:gd name="T2" fmla="*/ 233 w 237"/>
                <a:gd name="T3" fmla="*/ 3 h 617"/>
                <a:gd name="T4" fmla="*/ 237 w 237"/>
                <a:gd name="T5" fmla="*/ 0 h 617"/>
                <a:gd name="T6" fmla="*/ 82 w 237"/>
                <a:gd name="T7" fmla="*/ 580 h 617"/>
                <a:gd name="T8" fmla="*/ 0 w 237"/>
                <a:gd name="T9" fmla="*/ 617 h 617"/>
                <a:gd name="T10" fmla="*/ 0 w 237"/>
                <a:gd name="T11" fmla="*/ 617 h 617"/>
              </a:gdLst>
              <a:ahLst/>
              <a:cxnLst>
                <a:cxn ang="0">
                  <a:pos x="T0" y="T1"/>
                </a:cxn>
                <a:cxn ang="0">
                  <a:pos x="T2" y="T3"/>
                </a:cxn>
                <a:cxn ang="0">
                  <a:pos x="T4" y="T5"/>
                </a:cxn>
                <a:cxn ang="0">
                  <a:pos x="T6" y="T7"/>
                </a:cxn>
                <a:cxn ang="0">
                  <a:pos x="T8" y="T9"/>
                </a:cxn>
                <a:cxn ang="0">
                  <a:pos x="T10" y="T11"/>
                </a:cxn>
              </a:cxnLst>
              <a:rect l="0" t="0" r="r" b="b"/>
              <a:pathLst>
                <a:path w="237" h="617">
                  <a:moveTo>
                    <a:pt x="0" y="617"/>
                  </a:moveTo>
                  <a:lnTo>
                    <a:pt x="233" y="3"/>
                  </a:lnTo>
                  <a:lnTo>
                    <a:pt x="237" y="0"/>
                  </a:lnTo>
                  <a:lnTo>
                    <a:pt x="82" y="580"/>
                  </a:lnTo>
                  <a:lnTo>
                    <a:pt x="0" y="617"/>
                  </a:lnTo>
                  <a:lnTo>
                    <a:pt x="0" y="61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4" name="Freeform 147">
              <a:extLst>
                <a:ext uri="{FF2B5EF4-FFF2-40B4-BE49-F238E27FC236}">
                  <a16:creationId xmlns:a16="http://schemas.microsoft.com/office/drawing/2014/main" id="{927E4C5C-26B7-4A7D-9C8C-E3CB18EF4716}"/>
                </a:ext>
              </a:extLst>
            </p:cNvPr>
            <p:cNvSpPr>
              <a:spLocks/>
            </p:cNvSpPr>
            <p:nvPr/>
          </p:nvSpPr>
          <p:spPr bwMode="auto">
            <a:xfrm>
              <a:off x="6642100" y="2963584"/>
              <a:ext cx="139700" cy="358775"/>
            </a:xfrm>
            <a:custGeom>
              <a:avLst/>
              <a:gdLst>
                <a:gd name="T0" fmla="*/ 0 w 48"/>
                <a:gd name="T1" fmla="*/ 122 h 122"/>
                <a:gd name="T2" fmla="*/ 48 w 48"/>
                <a:gd name="T3" fmla="*/ 0 h 122"/>
              </a:gdLst>
              <a:ahLst/>
              <a:cxnLst>
                <a:cxn ang="0">
                  <a:pos x="T0" y="T1"/>
                </a:cxn>
                <a:cxn ang="0">
                  <a:pos x="T2" y="T3"/>
                </a:cxn>
              </a:cxnLst>
              <a:rect l="0" t="0" r="r" b="b"/>
              <a:pathLst>
                <a:path w="48" h="122">
                  <a:moveTo>
                    <a:pt x="0" y="122"/>
                  </a:moveTo>
                  <a:cubicBezTo>
                    <a:pt x="0" y="122"/>
                    <a:pt x="10" y="35"/>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5" name="Freeform 148">
              <a:extLst>
                <a:ext uri="{FF2B5EF4-FFF2-40B4-BE49-F238E27FC236}">
                  <a16:creationId xmlns:a16="http://schemas.microsoft.com/office/drawing/2014/main" id="{219F4FDD-5ABC-44BC-9236-81A20423966E}"/>
                </a:ext>
              </a:extLst>
            </p:cNvPr>
            <p:cNvSpPr>
              <a:spLocks/>
            </p:cNvSpPr>
            <p:nvPr/>
          </p:nvSpPr>
          <p:spPr bwMode="auto">
            <a:xfrm>
              <a:off x="6638925" y="2935009"/>
              <a:ext cx="149225" cy="415925"/>
            </a:xfrm>
            <a:custGeom>
              <a:avLst/>
              <a:gdLst>
                <a:gd name="T0" fmla="*/ 2 w 51"/>
                <a:gd name="T1" fmla="*/ 123 h 142"/>
                <a:gd name="T2" fmla="*/ 6 w 51"/>
                <a:gd name="T3" fmla="*/ 107 h 142"/>
                <a:gd name="T4" fmla="*/ 15 w 51"/>
                <a:gd name="T5" fmla="*/ 76 h 142"/>
                <a:gd name="T6" fmla="*/ 47 w 51"/>
                <a:gd name="T7" fmla="*/ 20 h 142"/>
                <a:gd name="T8" fmla="*/ 50 w 51"/>
                <a:gd name="T9" fmla="*/ 0 h 142"/>
                <a:gd name="T10" fmla="*/ 0 w 51"/>
                <a:gd name="T11" fmla="*/ 142 h 142"/>
                <a:gd name="T12" fmla="*/ 2 w 51"/>
                <a:gd name="T13" fmla="*/ 123 h 142"/>
                <a:gd name="T14" fmla="*/ 2 w 51"/>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42">
                  <a:moveTo>
                    <a:pt x="2" y="123"/>
                  </a:moveTo>
                  <a:cubicBezTo>
                    <a:pt x="1" y="135"/>
                    <a:pt x="5" y="109"/>
                    <a:pt x="6" y="107"/>
                  </a:cubicBezTo>
                  <a:cubicBezTo>
                    <a:pt x="8" y="96"/>
                    <a:pt x="11" y="86"/>
                    <a:pt x="15" y="76"/>
                  </a:cubicBezTo>
                  <a:cubicBezTo>
                    <a:pt x="22" y="56"/>
                    <a:pt x="32" y="35"/>
                    <a:pt x="47" y="20"/>
                  </a:cubicBezTo>
                  <a:cubicBezTo>
                    <a:pt x="51" y="16"/>
                    <a:pt x="47" y="4"/>
                    <a:pt x="50" y="0"/>
                  </a:cubicBezTo>
                  <a:cubicBezTo>
                    <a:pt x="14" y="35"/>
                    <a:pt x="5" y="93"/>
                    <a:pt x="0" y="142"/>
                  </a:cubicBezTo>
                  <a:cubicBezTo>
                    <a:pt x="0" y="137"/>
                    <a:pt x="2" y="129"/>
                    <a:pt x="2" y="123"/>
                  </a:cubicBezTo>
                  <a:cubicBezTo>
                    <a:pt x="2" y="123"/>
                    <a:pt x="2" y="123"/>
                    <a:pt x="2" y="1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6" name="Freeform 149">
              <a:extLst>
                <a:ext uri="{FF2B5EF4-FFF2-40B4-BE49-F238E27FC236}">
                  <a16:creationId xmlns:a16="http://schemas.microsoft.com/office/drawing/2014/main" id="{A0E68430-C869-4BCC-850B-72863AEFB4AA}"/>
                </a:ext>
              </a:extLst>
            </p:cNvPr>
            <p:cNvSpPr>
              <a:spLocks/>
            </p:cNvSpPr>
            <p:nvPr/>
          </p:nvSpPr>
          <p:spPr bwMode="auto">
            <a:xfrm>
              <a:off x="6638925" y="2935009"/>
              <a:ext cx="149225" cy="415925"/>
            </a:xfrm>
            <a:custGeom>
              <a:avLst/>
              <a:gdLst>
                <a:gd name="T0" fmla="*/ 2 w 51"/>
                <a:gd name="T1" fmla="*/ 123 h 142"/>
                <a:gd name="T2" fmla="*/ 6 w 51"/>
                <a:gd name="T3" fmla="*/ 107 h 142"/>
                <a:gd name="T4" fmla="*/ 15 w 51"/>
                <a:gd name="T5" fmla="*/ 76 h 142"/>
                <a:gd name="T6" fmla="*/ 47 w 51"/>
                <a:gd name="T7" fmla="*/ 20 h 142"/>
                <a:gd name="T8" fmla="*/ 50 w 51"/>
                <a:gd name="T9" fmla="*/ 0 h 142"/>
                <a:gd name="T10" fmla="*/ 0 w 51"/>
                <a:gd name="T11" fmla="*/ 142 h 142"/>
                <a:gd name="T12" fmla="*/ 2 w 51"/>
                <a:gd name="T13" fmla="*/ 123 h 142"/>
                <a:gd name="T14" fmla="*/ 2 w 51"/>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42">
                  <a:moveTo>
                    <a:pt x="2" y="123"/>
                  </a:moveTo>
                  <a:cubicBezTo>
                    <a:pt x="1" y="135"/>
                    <a:pt x="5" y="109"/>
                    <a:pt x="6" y="107"/>
                  </a:cubicBezTo>
                  <a:cubicBezTo>
                    <a:pt x="8" y="96"/>
                    <a:pt x="11" y="86"/>
                    <a:pt x="15" y="76"/>
                  </a:cubicBezTo>
                  <a:cubicBezTo>
                    <a:pt x="22" y="56"/>
                    <a:pt x="32" y="35"/>
                    <a:pt x="47" y="20"/>
                  </a:cubicBezTo>
                  <a:cubicBezTo>
                    <a:pt x="51" y="16"/>
                    <a:pt x="47" y="4"/>
                    <a:pt x="50" y="0"/>
                  </a:cubicBezTo>
                  <a:cubicBezTo>
                    <a:pt x="14" y="35"/>
                    <a:pt x="5" y="93"/>
                    <a:pt x="0" y="142"/>
                  </a:cubicBezTo>
                  <a:cubicBezTo>
                    <a:pt x="0" y="137"/>
                    <a:pt x="2" y="129"/>
                    <a:pt x="2" y="123"/>
                  </a:cubicBezTo>
                  <a:cubicBezTo>
                    <a:pt x="2" y="123"/>
                    <a:pt x="2" y="123"/>
                    <a:pt x="2" y="123"/>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7" name="Freeform 150">
              <a:extLst>
                <a:ext uri="{FF2B5EF4-FFF2-40B4-BE49-F238E27FC236}">
                  <a16:creationId xmlns:a16="http://schemas.microsoft.com/office/drawing/2014/main" id="{1F66235D-2370-481D-8CA9-8BF923074F0B}"/>
                </a:ext>
              </a:extLst>
            </p:cNvPr>
            <p:cNvSpPr>
              <a:spLocks/>
            </p:cNvSpPr>
            <p:nvPr/>
          </p:nvSpPr>
          <p:spPr bwMode="auto">
            <a:xfrm>
              <a:off x="6778625" y="2931834"/>
              <a:ext cx="141288" cy="357187"/>
            </a:xfrm>
            <a:custGeom>
              <a:avLst/>
              <a:gdLst>
                <a:gd name="T0" fmla="*/ 0 w 48"/>
                <a:gd name="T1" fmla="*/ 122 h 122"/>
                <a:gd name="T2" fmla="*/ 48 w 48"/>
                <a:gd name="T3" fmla="*/ 0 h 122"/>
              </a:gdLst>
              <a:ahLst/>
              <a:cxnLst>
                <a:cxn ang="0">
                  <a:pos x="T0" y="T1"/>
                </a:cxn>
                <a:cxn ang="0">
                  <a:pos x="T2" y="T3"/>
                </a:cxn>
              </a:cxnLst>
              <a:rect l="0" t="0" r="r" b="b"/>
              <a:pathLst>
                <a:path w="48" h="122">
                  <a:moveTo>
                    <a:pt x="0" y="122"/>
                  </a:moveTo>
                  <a:cubicBezTo>
                    <a:pt x="0" y="122"/>
                    <a:pt x="10" y="35"/>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8" name="Freeform 151">
              <a:extLst>
                <a:ext uri="{FF2B5EF4-FFF2-40B4-BE49-F238E27FC236}">
                  <a16:creationId xmlns:a16="http://schemas.microsoft.com/office/drawing/2014/main" id="{7A97B14E-1CC2-4ACB-98DA-593FFDFC02ED}"/>
                </a:ext>
              </a:extLst>
            </p:cNvPr>
            <p:cNvSpPr>
              <a:spLocks/>
            </p:cNvSpPr>
            <p:nvPr/>
          </p:nvSpPr>
          <p:spPr bwMode="auto">
            <a:xfrm>
              <a:off x="6777038" y="2901672"/>
              <a:ext cx="152400" cy="417512"/>
            </a:xfrm>
            <a:custGeom>
              <a:avLst/>
              <a:gdLst>
                <a:gd name="T0" fmla="*/ 3 w 52"/>
                <a:gd name="T1" fmla="*/ 123 h 142"/>
                <a:gd name="T2" fmla="*/ 6 w 52"/>
                <a:gd name="T3" fmla="*/ 107 h 142"/>
                <a:gd name="T4" fmla="*/ 15 w 52"/>
                <a:gd name="T5" fmla="*/ 76 h 142"/>
                <a:gd name="T6" fmla="*/ 48 w 52"/>
                <a:gd name="T7" fmla="*/ 20 h 142"/>
                <a:gd name="T8" fmla="*/ 51 w 52"/>
                <a:gd name="T9" fmla="*/ 0 h 142"/>
                <a:gd name="T10" fmla="*/ 0 w 52"/>
                <a:gd name="T11" fmla="*/ 142 h 142"/>
                <a:gd name="T12" fmla="*/ 3 w 52"/>
                <a:gd name="T13" fmla="*/ 123 h 142"/>
                <a:gd name="T14" fmla="*/ 3 w 52"/>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42">
                  <a:moveTo>
                    <a:pt x="3" y="123"/>
                  </a:moveTo>
                  <a:cubicBezTo>
                    <a:pt x="1" y="135"/>
                    <a:pt x="6" y="110"/>
                    <a:pt x="6" y="107"/>
                  </a:cubicBezTo>
                  <a:cubicBezTo>
                    <a:pt x="9" y="97"/>
                    <a:pt x="12" y="87"/>
                    <a:pt x="15" y="76"/>
                  </a:cubicBezTo>
                  <a:cubicBezTo>
                    <a:pt x="22" y="56"/>
                    <a:pt x="32" y="36"/>
                    <a:pt x="48" y="20"/>
                  </a:cubicBezTo>
                  <a:cubicBezTo>
                    <a:pt x="52" y="16"/>
                    <a:pt x="47" y="4"/>
                    <a:pt x="51" y="0"/>
                  </a:cubicBezTo>
                  <a:cubicBezTo>
                    <a:pt x="14" y="36"/>
                    <a:pt x="5" y="94"/>
                    <a:pt x="0" y="142"/>
                  </a:cubicBezTo>
                  <a:cubicBezTo>
                    <a:pt x="0" y="137"/>
                    <a:pt x="2" y="129"/>
                    <a:pt x="3" y="123"/>
                  </a:cubicBezTo>
                  <a:cubicBezTo>
                    <a:pt x="3" y="123"/>
                    <a:pt x="3" y="123"/>
                    <a:pt x="3" y="1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9" name="Freeform 152">
              <a:extLst>
                <a:ext uri="{FF2B5EF4-FFF2-40B4-BE49-F238E27FC236}">
                  <a16:creationId xmlns:a16="http://schemas.microsoft.com/office/drawing/2014/main" id="{6BD5FD34-12BF-4F0C-8CE4-B5D39CF44390}"/>
                </a:ext>
              </a:extLst>
            </p:cNvPr>
            <p:cNvSpPr>
              <a:spLocks/>
            </p:cNvSpPr>
            <p:nvPr/>
          </p:nvSpPr>
          <p:spPr bwMode="auto">
            <a:xfrm>
              <a:off x="6777038" y="2901672"/>
              <a:ext cx="152400" cy="417512"/>
            </a:xfrm>
            <a:custGeom>
              <a:avLst/>
              <a:gdLst>
                <a:gd name="T0" fmla="*/ 3 w 52"/>
                <a:gd name="T1" fmla="*/ 123 h 142"/>
                <a:gd name="T2" fmla="*/ 6 w 52"/>
                <a:gd name="T3" fmla="*/ 107 h 142"/>
                <a:gd name="T4" fmla="*/ 15 w 52"/>
                <a:gd name="T5" fmla="*/ 76 h 142"/>
                <a:gd name="T6" fmla="*/ 48 w 52"/>
                <a:gd name="T7" fmla="*/ 20 h 142"/>
                <a:gd name="T8" fmla="*/ 51 w 52"/>
                <a:gd name="T9" fmla="*/ 0 h 142"/>
                <a:gd name="T10" fmla="*/ 0 w 52"/>
                <a:gd name="T11" fmla="*/ 142 h 142"/>
                <a:gd name="T12" fmla="*/ 3 w 52"/>
                <a:gd name="T13" fmla="*/ 123 h 142"/>
                <a:gd name="T14" fmla="*/ 3 w 52"/>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42">
                  <a:moveTo>
                    <a:pt x="3" y="123"/>
                  </a:moveTo>
                  <a:cubicBezTo>
                    <a:pt x="1" y="135"/>
                    <a:pt x="6" y="110"/>
                    <a:pt x="6" y="107"/>
                  </a:cubicBezTo>
                  <a:cubicBezTo>
                    <a:pt x="9" y="97"/>
                    <a:pt x="12" y="87"/>
                    <a:pt x="15" y="76"/>
                  </a:cubicBezTo>
                  <a:cubicBezTo>
                    <a:pt x="22" y="56"/>
                    <a:pt x="32" y="36"/>
                    <a:pt x="48" y="20"/>
                  </a:cubicBezTo>
                  <a:cubicBezTo>
                    <a:pt x="52" y="16"/>
                    <a:pt x="47" y="4"/>
                    <a:pt x="51" y="0"/>
                  </a:cubicBezTo>
                  <a:cubicBezTo>
                    <a:pt x="14" y="36"/>
                    <a:pt x="5" y="94"/>
                    <a:pt x="0" y="142"/>
                  </a:cubicBezTo>
                  <a:cubicBezTo>
                    <a:pt x="0" y="137"/>
                    <a:pt x="2" y="129"/>
                    <a:pt x="3" y="123"/>
                  </a:cubicBezTo>
                  <a:cubicBezTo>
                    <a:pt x="3" y="123"/>
                    <a:pt x="3" y="123"/>
                    <a:pt x="3" y="123"/>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0" name="Freeform 153">
              <a:extLst>
                <a:ext uri="{FF2B5EF4-FFF2-40B4-BE49-F238E27FC236}">
                  <a16:creationId xmlns:a16="http://schemas.microsoft.com/office/drawing/2014/main" id="{426A75B7-EBC1-4D0A-8E6B-B3AD121AFCFB}"/>
                </a:ext>
              </a:extLst>
            </p:cNvPr>
            <p:cNvSpPr>
              <a:spLocks/>
            </p:cNvSpPr>
            <p:nvPr/>
          </p:nvSpPr>
          <p:spPr bwMode="auto">
            <a:xfrm>
              <a:off x="6964363" y="2958822"/>
              <a:ext cx="106363" cy="225425"/>
            </a:xfrm>
            <a:custGeom>
              <a:avLst/>
              <a:gdLst>
                <a:gd name="T0" fmla="*/ 0 w 36"/>
                <a:gd name="T1" fmla="*/ 77 h 77"/>
                <a:gd name="T2" fmla="*/ 36 w 36"/>
                <a:gd name="T3" fmla="*/ 0 h 77"/>
              </a:gdLst>
              <a:ahLst/>
              <a:cxnLst>
                <a:cxn ang="0">
                  <a:pos x="T0" y="T1"/>
                </a:cxn>
                <a:cxn ang="0">
                  <a:pos x="T2" y="T3"/>
                </a:cxn>
              </a:cxnLst>
              <a:rect l="0" t="0" r="r" b="b"/>
              <a:pathLst>
                <a:path w="36" h="77">
                  <a:moveTo>
                    <a:pt x="0" y="77"/>
                  </a:moveTo>
                  <a:cubicBezTo>
                    <a:pt x="0" y="77"/>
                    <a:pt x="8" y="23"/>
                    <a:pt x="3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1" name="Freeform 154">
              <a:extLst>
                <a:ext uri="{FF2B5EF4-FFF2-40B4-BE49-F238E27FC236}">
                  <a16:creationId xmlns:a16="http://schemas.microsoft.com/office/drawing/2014/main" id="{4AAB9682-4C5C-4BBB-A554-6EE0D022EB02}"/>
                </a:ext>
              </a:extLst>
            </p:cNvPr>
            <p:cNvSpPr>
              <a:spLocks/>
            </p:cNvSpPr>
            <p:nvPr/>
          </p:nvSpPr>
          <p:spPr bwMode="auto">
            <a:xfrm>
              <a:off x="6961188" y="2928659"/>
              <a:ext cx="114300" cy="290512"/>
            </a:xfrm>
            <a:custGeom>
              <a:avLst/>
              <a:gdLst>
                <a:gd name="T0" fmla="*/ 0 w 39"/>
                <a:gd name="T1" fmla="*/ 96 h 99"/>
                <a:gd name="T2" fmla="*/ 35 w 39"/>
                <a:gd name="T3" fmla="*/ 20 h 99"/>
                <a:gd name="T4" fmla="*/ 38 w 39"/>
                <a:gd name="T5" fmla="*/ 0 h 99"/>
                <a:gd name="T6" fmla="*/ 2 w 39"/>
                <a:gd name="T7" fmla="*/ 79 h 99"/>
                <a:gd name="T8" fmla="*/ 0 w 39"/>
                <a:gd name="T9" fmla="*/ 92 h 99"/>
                <a:gd name="T10" fmla="*/ 0 w 39"/>
                <a:gd name="T11" fmla="*/ 96 h 99"/>
                <a:gd name="T12" fmla="*/ 0 w 39"/>
                <a:gd name="T13" fmla="*/ 96 h 99"/>
              </a:gdLst>
              <a:ahLst/>
              <a:cxnLst>
                <a:cxn ang="0">
                  <a:pos x="T0" y="T1"/>
                </a:cxn>
                <a:cxn ang="0">
                  <a:pos x="T2" y="T3"/>
                </a:cxn>
                <a:cxn ang="0">
                  <a:pos x="T4" y="T5"/>
                </a:cxn>
                <a:cxn ang="0">
                  <a:pos x="T6" y="T7"/>
                </a:cxn>
                <a:cxn ang="0">
                  <a:pos x="T8" y="T9"/>
                </a:cxn>
                <a:cxn ang="0">
                  <a:pos x="T10" y="T11"/>
                </a:cxn>
                <a:cxn ang="0">
                  <a:pos x="T12" y="T13"/>
                </a:cxn>
              </a:cxnLst>
              <a:rect l="0" t="0" r="r" b="b"/>
              <a:pathLst>
                <a:path w="39" h="99">
                  <a:moveTo>
                    <a:pt x="0" y="96"/>
                  </a:moveTo>
                  <a:cubicBezTo>
                    <a:pt x="4" y="69"/>
                    <a:pt x="15" y="38"/>
                    <a:pt x="35" y="20"/>
                  </a:cubicBezTo>
                  <a:cubicBezTo>
                    <a:pt x="39" y="17"/>
                    <a:pt x="34" y="4"/>
                    <a:pt x="38" y="0"/>
                  </a:cubicBezTo>
                  <a:cubicBezTo>
                    <a:pt x="16" y="19"/>
                    <a:pt x="7" y="51"/>
                    <a:pt x="2" y="79"/>
                  </a:cubicBezTo>
                  <a:cubicBezTo>
                    <a:pt x="2" y="83"/>
                    <a:pt x="1" y="88"/>
                    <a:pt x="0" y="92"/>
                  </a:cubicBezTo>
                  <a:cubicBezTo>
                    <a:pt x="0" y="93"/>
                    <a:pt x="0" y="99"/>
                    <a:pt x="0" y="96"/>
                  </a:cubicBezTo>
                  <a:cubicBezTo>
                    <a:pt x="0" y="96"/>
                    <a:pt x="0" y="96"/>
                    <a:pt x="0"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2" name="Freeform 155">
              <a:extLst>
                <a:ext uri="{FF2B5EF4-FFF2-40B4-BE49-F238E27FC236}">
                  <a16:creationId xmlns:a16="http://schemas.microsoft.com/office/drawing/2014/main" id="{BA986083-1E37-4772-9FDD-D7AC482830E6}"/>
                </a:ext>
              </a:extLst>
            </p:cNvPr>
            <p:cNvSpPr>
              <a:spLocks/>
            </p:cNvSpPr>
            <p:nvPr/>
          </p:nvSpPr>
          <p:spPr bwMode="auto">
            <a:xfrm>
              <a:off x="6961188" y="2928659"/>
              <a:ext cx="114300" cy="290512"/>
            </a:xfrm>
            <a:custGeom>
              <a:avLst/>
              <a:gdLst>
                <a:gd name="T0" fmla="*/ 0 w 39"/>
                <a:gd name="T1" fmla="*/ 96 h 99"/>
                <a:gd name="T2" fmla="*/ 35 w 39"/>
                <a:gd name="T3" fmla="*/ 20 h 99"/>
                <a:gd name="T4" fmla="*/ 38 w 39"/>
                <a:gd name="T5" fmla="*/ 0 h 99"/>
                <a:gd name="T6" fmla="*/ 2 w 39"/>
                <a:gd name="T7" fmla="*/ 79 h 99"/>
                <a:gd name="T8" fmla="*/ 0 w 39"/>
                <a:gd name="T9" fmla="*/ 92 h 99"/>
                <a:gd name="T10" fmla="*/ 0 w 39"/>
                <a:gd name="T11" fmla="*/ 96 h 99"/>
                <a:gd name="T12" fmla="*/ 0 w 39"/>
                <a:gd name="T13" fmla="*/ 96 h 99"/>
              </a:gdLst>
              <a:ahLst/>
              <a:cxnLst>
                <a:cxn ang="0">
                  <a:pos x="T0" y="T1"/>
                </a:cxn>
                <a:cxn ang="0">
                  <a:pos x="T2" y="T3"/>
                </a:cxn>
                <a:cxn ang="0">
                  <a:pos x="T4" y="T5"/>
                </a:cxn>
                <a:cxn ang="0">
                  <a:pos x="T6" y="T7"/>
                </a:cxn>
                <a:cxn ang="0">
                  <a:pos x="T8" y="T9"/>
                </a:cxn>
                <a:cxn ang="0">
                  <a:pos x="T10" y="T11"/>
                </a:cxn>
                <a:cxn ang="0">
                  <a:pos x="T12" y="T13"/>
                </a:cxn>
              </a:cxnLst>
              <a:rect l="0" t="0" r="r" b="b"/>
              <a:pathLst>
                <a:path w="39" h="99">
                  <a:moveTo>
                    <a:pt x="0" y="96"/>
                  </a:moveTo>
                  <a:cubicBezTo>
                    <a:pt x="4" y="69"/>
                    <a:pt x="15" y="38"/>
                    <a:pt x="35" y="20"/>
                  </a:cubicBezTo>
                  <a:cubicBezTo>
                    <a:pt x="39" y="17"/>
                    <a:pt x="34" y="4"/>
                    <a:pt x="38" y="0"/>
                  </a:cubicBezTo>
                  <a:cubicBezTo>
                    <a:pt x="16" y="19"/>
                    <a:pt x="7" y="51"/>
                    <a:pt x="2" y="79"/>
                  </a:cubicBezTo>
                  <a:cubicBezTo>
                    <a:pt x="2" y="83"/>
                    <a:pt x="1" y="88"/>
                    <a:pt x="0" y="92"/>
                  </a:cubicBezTo>
                  <a:cubicBezTo>
                    <a:pt x="0" y="93"/>
                    <a:pt x="0" y="99"/>
                    <a:pt x="0" y="96"/>
                  </a:cubicBezTo>
                  <a:cubicBezTo>
                    <a:pt x="0" y="96"/>
                    <a:pt x="0" y="96"/>
                    <a:pt x="0" y="96"/>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sp>
        <p:nvSpPr>
          <p:cNvPr id="44" name="Rectangle 43">
            <a:extLst>
              <a:ext uri="{FF2B5EF4-FFF2-40B4-BE49-F238E27FC236}">
                <a16:creationId xmlns:a16="http://schemas.microsoft.com/office/drawing/2014/main" id="{DC13E024-06F5-4919-9DB6-4AD09DBA2E38}"/>
              </a:ext>
            </a:extLst>
          </p:cNvPr>
          <p:cNvSpPr/>
          <p:nvPr>
            <p:custDataLst>
              <p:tags r:id="rId21"/>
            </p:custDataLst>
          </p:nvPr>
        </p:nvSpPr>
        <p:spPr>
          <a:xfrm>
            <a:off x="4076342" y="3941526"/>
            <a:ext cx="2422252" cy="96180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100" b="1" i="0" u="none" strike="noStrike" kern="1200" cap="none" spc="0" normalizeH="0" baseline="0" noProof="0" dirty="0">
                <a:ln>
                  <a:noFill/>
                </a:ln>
                <a:solidFill>
                  <a:srgbClr val="26890D"/>
                </a:solidFill>
                <a:effectLst/>
                <a:uLnTx/>
                <a:uFillTx/>
                <a:latin typeface="Calibri"/>
                <a:ea typeface="+mn-ea"/>
                <a:cs typeface="Verdana" panose="020B0604030504040204" pitchFamily="34" charset="0"/>
              </a:rPr>
              <a:t>Ciblée</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45" name="Rectangle 44">
            <a:extLst>
              <a:ext uri="{FF2B5EF4-FFF2-40B4-BE49-F238E27FC236}">
                <a16:creationId xmlns:a16="http://schemas.microsoft.com/office/drawing/2014/main" id="{31D9FA63-67A9-4702-B8D9-70C282E7D713}"/>
              </a:ext>
            </a:extLst>
          </p:cNvPr>
          <p:cNvSpPr/>
          <p:nvPr>
            <p:custDataLst>
              <p:tags r:id="rId22"/>
            </p:custDataLst>
          </p:nvPr>
        </p:nvSpPr>
        <p:spPr>
          <a:xfrm>
            <a:off x="6571339" y="3382060"/>
            <a:ext cx="2172875" cy="961802"/>
          </a:xfrm>
          <a:prstGeom prst="rect">
            <a:avLst/>
          </a:prstGeom>
        </p:spPr>
        <p:txBody>
          <a:bodyPr wrap="square">
            <a:spAutoFit/>
          </a:bodyPr>
          <a:lstStyle/>
          <a:p>
            <a:pPr lvl="0"/>
            <a:r>
              <a:rPr lang="fr-CA" sz="1100" b="1" dirty="0" err="1">
                <a:solidFill>
                  <a:srgbClr val="26890D"/>
                </a:solidFill>
                <a:latin typeface="Calibri"/>
                <a:cs typeface="Verdana" panose="020B0604030504040204" pitchFamily="34" charset="0"/>
              </a:rPr>
              <a:t>Lorem</a:t>
            </a:r>
            <a:r>
              <a:rPr lang="fr-CA" sz="1100" b="1" dirty="0">
                <a:solidFill>
                  <a:srgbClr val="26890D"/>
                </a:solidFill>
                <a:latin typeface="Calibri"/>
                <a:cs typeface="Verdana" panose="020B0604030504040204" pitchFamily="34" charset="0"/>
              </a:rPr>
              <a:t> </a:t>
            </a:r>
            <a:r>
              <a:rPr lang="fr-CA" sz="1100" b="1" dirty="0" err="1">
                <a:solidFill>
                  <a:srgbClr val="26890D"/>
                </a:solidFill>
                <a:latin typeface="Calibri"/>
                <a:cs typeface="Verdana" panose="020B0604030504040204" pitchFamily="34" charset="0"/>
              </a:rPr>
              <a:t>ipsum</a:t>
            </a:r>
            <a:r>
              <a:rPr lang="fr-CA" sz="1100" b="1" dirty="0">
                <a:solidFill>
                  <a:srgbClr val="26890D"/>
                </a:solidFill>
                <a:latin typeface="Calibri"/>
                <a:cs typeface="Verdana" panose="020B0604030504040204" pitchFamily="34" charset="0"/>
              </a:rPr>
              <a:t> </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46" name="Rectangle 45">
            <a:extLst>
              <a:ext uri="{FF2B5EF4-FFF2-40B4-BE49-F238E27FC236}">
                <a16:creationId xmlns:a16="http://schemas.microsoft.com/office/drawing/2014/main" id="{65B53DAE-766F-4986-8C1A-6A9127C520FE}"/>
              </a:ext>
            </a:extLst>
          </p:cNvPr>
          <p:cNvSpPr/>
          <p:nvPr>
            <p:custDataLst>
              <p:tags r:id="rId23"/>
            </p:custDataLst>
          </p:nvPr>
        </p:nvSpPr>
        <p:spPr>
          <a:xfrm>
            <a:off x="9083428" y="2779882"/>
            <a:ext cx="2192551" cy="961802"/>
          </a:xfrm>
          <a:prstGeom prst="rect">
            <a:avLst/>
          </a:prstGeom>
        </p:spPr>
        <p:txBody>
          <a:bodyPr wrap="square">
            <a:spAutoFit/>
          </a:bodyPr>
          <a:lstStyle/>
          <a:p>
            <a:pPr lvl="0"/>
            <a:r>
              <a:rPr lang="fr-CA" sz="1100" b="1" dirty="0" err="1">
                <a:solidFill>
                  <a:srgbClr val="26890D"/>
                </a:solidFill>
                <a:latin typeface="Calibri"/>
                <a:cs typeface="Verdana" panose="020B0604030504040204" pitchFamily="34" charset="0"/>
              </a:rPr>
              <a:t>Lorem</a:t>
            </a:r>
            <a:r>
              <a:rPr lang="fr-CA" sz="1100" b="1" dirty="0">
                <a:solidFill>
                  <a:srgbClr val="26890D"/>
                </a:solidFill>
                <a:latin typeface="Calibri"/>
                <a:cs typeface="Verdana" panose="020B0604030504040204" pitchFamily="34" charset="0"/>
              </a:rPr>
              <a:t> </a:t>
            </a:r>
            <a:r>
              <a:rPr lang="fr-CA" sz="1100" b="1" dirty="0" err="1">
                <a:solidFill>
                  <a:srgbClr val="26890D"/>
                </a:solidFill>
                <a:latin typeface="Calibri"/>
                <a:cs typeface="Verdana" panose="020B0604030504040204" pitchFamily="34" charset="0"/>
              </a:rPr>
              <a:t>ipsum</a:t>
            </a:r>
            <a:r>
              <a:rPr lang="fr-CA" sz="1100" b="1" dirty="0">
                <a:solidFill>
                  <a:srgbClr val="26890D"/>
                </a:solidFill>
                <a:latin typeface="Calibri"/>
                <a:cs typeface="Verdana" panose="020B0604030504040204" pitchFamily="34" charset="0"/>
              </a:rPr>
              <a:t> </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p:txBody>
      </p:sp>
      <p:sp>
        <p:nvSpPr>
          <p:cNvPr id="47" name="Rectangle 46">
            <a:extLst>
              <a:ext uri="{FF2B5EF4-FFF2-40B4-BE49-F238E27FC236}">
                <a16:creationId xmlns:a16="http://schemas.microsoft.com/office/drawing/2014/main" id="{E00D17FD-6450-4132-A7D8-E6B632330318}"/>
              </a:ext>
            </a:extLst>
          </p:cNvPr>
          <p:cNvSpPr/>
          <p:nvPr>
            <p:custDataLst>
              <p:tags r:id="rId24"/>
            </p:custDataLst>
          </p:nvPr>
        </p:nvSpPr>
        <p:spPr>
          <a:xfrm>
            <a:off x="1145544" y="4653351"/>
            <a:ext cx="3520497" cy="1661993"/>
          </a:xfrm>
          <a:prstGeom prst="rect">
            <a:avLst/>
          </a:prstGeom>
        </p:spPr>
        <p:txBody>
          <a:bodyPr wrap="square">
            <a:spAutoFit/>
          </a:bodyPr>
          <a:lstStyle/>
          <a:p>
            <a:pPr lvl="0"/>
            <a:r>
              <a:rPr lang="fr-CA" sz="1100" b="1" dirty="0" err="1">
                <a:solidFill>
                  <a:srgbClr val="26890D"/>
                </a:solidFill>
                <a:latin typeface="Calibri"/>
                <a:cs typeface="Verdana" panose="020B0604030504040204" pitchFamily="34" charset="0"/>
              </a:rPr>
              <a:t>Lorem</a:t>
            </a:r>
            <a:r>
              <a:rPr lang="fr-CA" sz="1100" b="1" dirty="0">
                <a:solidFill>
                  <a:srgbClr val="26890D"/>
                </a:solidFill>
                <a:latin typeface="Calibri"/>
                <a:cs typeface="Verdana" panose="020B0604030504040204" pitchFamily="34" charset="0"/>
              </a:rPr>
              <a:t> </a:t>
            </a:r>
            <a:r>
              <a:rPr lang="fr-CA" sz="1100" b="1" dirty="0" err="1">
                <a:solidFill>
                  <a:srgbClr val="26890D"/>
                </a:solidFill>
                <a:latin typeface="Calibri"/>
                <a:cs typeface="Verdana" panose="020B0604030504040204" pitchFamily="34" charset="0"/>
              </a:rPr>
              <a:t>ipsum</a:t>
            </a:r>
            <a:r>
              <a:rPr lang="fr-CA" sz="1100" b="1" dirty="0">
                <a:solidFill>
                  <a:srgbClr val="26890D"/>
                </a:solidFill>
                <a:latin typeface="Calibri"/>
                <a:cs typeface="Verdana" panose="020B0604030504040204" pitchFamily="34" charset="0"/>
              </a:rPr>
              <a:t> </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p>
          <a:p>
            <a:pPr marL="128588" lvl="0" indent="-102870">
              <a:spcBef>
                <a:spcPts val="450"/>
              </a:spcBef>
              <a:buFont typeface="Arial" panose="020B0604020202020204" pitchFamily="34" charset="0"/>
              <a:buChar char="•"/>
              <a:defRPr/>
            </a:pPr>
            <a:r>
              <a:rPr lang="en-US" sz="1100" dirty="0">
                <a:solidFill>
                  <a:prstClr val="black"/>
                </a:solidFill>
              </a:rPr>
              <a:t>xxx</a:t>
            </a:r>
            <a:endParaRPr kumimoji="0" lang="fr-CA" sz="11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8" name="Star: 5 Points 47">
            <a:extLst>
              <a:ext uri="{FF2B5EF4-FFF2-40B4-BE49-F238E27FC236}">
                <a16:creationId xmlns:a16="http://schemas.microsoft.com/office/drawing/2014/main" id="{C5E871F1-5F82-411E-B2CA-79A7D94BA2FD}"/>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153067775"/>
      </p:ext>
    </p:extLst>
  </p:cSld>
  <p:clrMapOvr>
    <a:masterClrMapping/>
  </p:clrMapOvr>
  <p:transition>
    <p:fade/>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2383BAE-F690-49E3-AA6B-6F393A16E609}"/>
              </a:ext>
            </a:extLst>
          </p:cNvPr>
          <p:cNvSpPr>
            <a:spLocks noGrp="1"/>
          </p:cNvSpPr>
          <p:nvPr>
            <p:ph type="title"/>
          </p:nvPr>
        </p:nvSpPr>
        <p:spPr/>
        <p:txBody>
          <a:bodyPr/>
          <a:lstStyle/>
          <a:p>
            <a:r>
              <a:rPr lang="en-US" dirty="0"/>
              <a:t>Directional circles</a:t>
            </a:r>
          </a:p>
        </p:txBody>
      </p:sp>
      <p:sp>
        <p:nvSpPr>
          <p:cNvPr id="7" name="ZoneTexte 7">
            <a:extLst>
              <a:ext uri="{FF2B5EF4-FFF2-40B4-BE49-F238E27FC236}">
                <a16:creationId xmlns:a16="http://schemas.microsoft.com/office/drawing/2014/main" id="{3701D79C-AAD6-4190-B24F-A220DA50E6E3}"/>
              </a:ext>
            </a:extLst>
          </p:cNvPr>
          <p:cNvSpPr txBox="1"/>
          <p:nvPr/>
        </p:nvSpPr>
        <p:spPr>
          <a:xfrm>
            <a:off x="661798" y="1863436"/>
            <a:ext cx="162884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50"/>
              </a:spcBef>
              <a:spcAft>
                <a:spcPts val="0"/>
              </a:spcAft>
              <a:buClrTx/>
              <a:buSzPct val="100000"/>
              <a:buFontTx/>
              <a:buNone/>
              <a:tabLst/>
              <a:defRPr/>
            </a:pPr>
            <a:r>
              <a:rPr kumimoji="0" lang="en-CA" sz="180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2 weeks</a:t>
            </a:r>
          </a:p>
        </p:txBody>
      </p:sp>
      <p:sp>
        <p:nvSpPr>
          <p:cNvPr id="8" name="ZoneTexte 9">
            <a:extLst>
              <a:ext uri="{FF2B5EF4-FFF2-40B4-BE49-F238E27FC236}">
                <a16:creationId xmlns:a16="http://schemas.microsoft.com/office/drawing/2014/main" id="{495C8D4C-563B-4DE9-A5BB-CDFCCC572E0D}"/>
              </a:ext>
            </a:extLst>
          </p:cNvPr>
          <p:cNvSpPr txBox="1"/>
          <p:nvPr/>
        </p:nvSpPr>
        <p:spPr>
          <a:xfrm>
            <a:off x="3520548" y="1863436"/>
            <a:ext cx="1990353"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50"/>
              </a:spcBef>
              <a:spcAft>
                <a:spcPts val="0"/>
              </a:spcAft>
              <a:buClrTx/>
              <a:buSzPct val="100000"/>
              <a:buFontTx/>
              <a:buNone/>
              <a:tabLst/>
              <a:defRPr/>
            </a:pPr>
            <a:r>
              <a:rPr kumimoji="0" lang="en-CA" sz="180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2 weeks</a:t>
            </a:r>
          </a:p>
        </p:txBody>
      </p:sp>
      <p:sp>
        <p:nvSpPr>
          <p:cNvPr id="9" name="ZoneTexte 10">
            <a:extLst>
              <a:ext uri="{FF2B5EF4-FFF2-40B4-BE49-F238E27FC236}">
                <a16:creationId xmlns:a16="http://schemas.microsoft.com/office/drawing/2014/main" id="{F4EF94EB-B247-46D4-8D6A-AE80760B7A4F}"/>
              </a:ext>
            </a:extLst>
          </p:cNvPr>
          <p:cNvSpPr txBox="1"/>
          <p:nvPr/>
        </p:nvSpPr>
        <p:spPr>
          <a:xfrm>
            <a:off x="7516498" y="1863436"/>
            <a:ext cx="361141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50"/>
              </a:spcBef>
              <a:spcAft>
                <a:spcPts val="0"/>
              </a:spcAft>
              <a:buClrTx/>
              <a:buSzPct val="100000"/>
              <a:buFontTx/>
              <a:buNone/>
              <a:tabLst/>
              <a:defRPr/>
            </a:pPr>
            <a:r>
              <a:rPr kumimoji="0" lang="en-CA" sz="180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Every 2 weeks</a:t>
            </a:r>
          </a:p>
        </p:txBody>
      </p:sp>
      <p:sp>
        <p:nvSpPr>
          <p:cNvPr id="10" name="Isosceles Triangle 9">
            <a:extLst>
              <a:ext uri="{FF2B5EF4-FFF2-40B4-BE49-F238E27FC236}">
                <a16:creationId xmlns:a16="http://schemas.microsoft.com/office/drawing/2014/main" id="{E975D896-46CE-481F-86A3-6BFCB86BD397}"/>
              </a:ext>
            </a:extLst>
          </p:cNvPr>
          <p:cNvSpPr/>
          <p:nvPr/>
        </p:nvSpPr>
        <p:spPr bwMode="gray">
          <a:xfrm rot="5400000">
            <a:off x="1583235" y="2887866"/>
            <a:ext cx="911211" cy="315840"/>
          </a:xfrm>
          <a:prstGeom prst="triangle">
            <a:avLst/>
          </a:prstGeom>
          <a:solidFill>
            <a:schemeClr val="accent1"/>
          </a:solidFill>
          <a:ln w="19050" algn="ctr">
            <a:noFill/>
            <a:miter lim="800000"/>
            <a:headEnd/>
            <a:tailEnd/>
          </a:ln>
        </p:spPr>
        <p:txBody>
          <a:bodyPr vert="vert270" wrap="none" lIns="66675" tIns="411480" rIns="68580" bIns="66675" rtlCol="0" anchor="ctr"/>
          <a:lstStyle/>
          <a:p>
            <a:pPr lvl="0" algn="r">
              <a:spcBef>
                <a:spcPts val="450"/>
              </a:spcBef>
              <a:buSzPct val="100000"/>
            </a:pPr>
            <a:r>
              <a:rPr lang="en-CA" sz="1100" dirty="0">
                <a:solidFill>
                  <a:prstClr val="black"/>
                </a:solidFill>
                <a:cs typeface="Verdana" panose="020B0604030504040204" pitchFamily="34" charset="0"/>
              </a:rPr>
              <a:t>Lorem ipsum </a:t>
            </a:r>
          </a:p>
          <a:p>
            <a:pPr lvl="0" algn="r">
              <a:spcBef>
                <a:spcPts val="450"/>
              </a:spcBef>
              <a:buSzPct val="100000"/>
            </a:pPr>
            <a:r>
              <a:rPr lang="en-CA" sz="1100" dirty="0">
                <a:solidFill>
                  <a:prstClr val="black"/>
                </a:solidFill>
                <a:cs typeface="Verdana" panose="020B0604030504040204" pitchFamily="34" charset="0"/>
              </a:rPr>
              <a:t>Lorem ipsum </a:t>
            </a:r>
          </a:p>
        </p:txBody>
      </p:sp>
      <p:sp>
        <p:nvSpPr>
          <p:cNvPr id="11" name="Freeform 5">
            <a:extLst>
              <a:ext uri="{FF2B5EF4-FFF2-40B4-BE49-F238E27FC236}">
                <a16:creationId xmlns:a16="http://schemas.microsoft.com/office/drawing/2014/main" id="{F8A266E5-AC18-4612-B537-67C68F5CED9C}"/>
              </a:ext>
            </a:extLst>
          </p:cNvPr>
          <p:cNvSpPr>
            <a:spLocks/>
          </p:cNvSpPr>
          <p:nvPr/>
        </p:nvSpPr>
        <p:spPr bwMode="auto">
          <a:xfrm rot="17100000">
            <a:off x="2860441" y="2634358"/>
            <a:ext cx="3046950" cy="3386028"/>
          </a:xfrm>
          <a:custGeom>
            <a:avLst/>
            <a:gdLst>
              <a:gd name="T0" fmla="*/ 808 w 1714"/>
              <a:gd name="T1" fmla="*/ 0 h 1715"/>
              <a:gd name="T2" fmla="*/ 1187 w 1714"/>
              <a:gd name="T3" fmla="*/ 269 h 1715"/>
              <a:gd name="T4" fmla="*/ 766 w 1714"/>
              <a:gd name="T5" fmla="*/ 463 h 1715"/>
              <a:gd name="T6" fmla="*/ 777 w 1714"/>
              <a:gd name="T7" fmla="*/ 322 h 1715"/>
              <a:gd name="T8" fmla="*/ 725 w 1714"/>
              <a:gd name="T9" fmla="*/ 338 h 1715"/>
              <a:gd name="T10" fmla="*/ 300 w 1714"/>
              <a:gd name="T11" fmla="*/ 848 h 1715"/>
              <a:gd name="T12" fmla="*/ 545 w 1714"/>
              <a:gd name="T13" fmla="*/ 1457 h 1715"/>
              <a:gd name="T14" fmla="*/ 1297 w 1714"/>
              <a:gd name="T15" fmla="*/ 1496 h 1715"/>
              <a:gd name="T16" fmla="*/ 1612 w 1714"/>
              <a:gd name="T17" fmla="*/ 799 h 1715"/>
              <a:gd name="T18" fmla="*/ 1341 w 1714"/>
              <a:gd name="T19" fmla="*/ 352 h 1715"/>
              <a:gd name="T20" fmla="*/ 1539 w 1714"/>
              <a:gd name="T21" fmla="*/ 543 h 1715"/>
              <a:gd name="T22" fmla="*/ 1561 w 1714"/>
              <a:gd name="T23" fmla="*/ 1320 h 1715"/>
              <a:gd name="T24" fmla="*/ 844 w 1714"/>
              <a:gd name="T25" fmla="*/ 1685 h 1715"/>
              <a:gd name="T26" fmla="*/ 221 w 1714"/>
              <a:gd name="T27" fmla="*/ 599 h 1715"/>
              <a:gd name="T28" fmla="*/ 760 w 1714"/>
              <a:gd name="T29" fmla="*/ 161 h 1715"/>
              <a:gd name="T30" fmla="*/ 798 w 1714"/>
              <a:gd name="T31" fmla="*/ 116 h 1715"/>
              <a:gd name="T32" fmla="*/ 808 w 1714"/>
              <a:gd name="T33" fmla="*/ 0 h 1715"/>
              <a:gd name="connsiteX0" fmla="*/ 3842 w 8858"/>
              <a:gd name="connsiteY0" fmla="*/ 0 h 9850"/>
              <a:gd name="connsiteX1" fmla="*/ 6053 w 8858"/>
              <a:gd name="connsiteY1" fmla="*/ 1569 h 9850"/>
              <a:gd name="connsiteX2" fmla="*/ 3597 w 8858"/>
              <a:gd name="connsiteY2" fmla="*/ 2700 h 9850"/>
              <a:gd name="connsiteX3" fmla="*/ 3661 w 8858"/>
              <a:gd name="connsiteY3" fmla="*/ 1878 h 9850"/>
              <a:gd name="connsiteX4" fmla="*/ 3358 w 8858"/>
              <a:gd name="connsiteY4" fmla="*/ 1971 h 9850"/>
              <a:gd name="connsiteX5" fmla="*/ 878 w 8858"/>
              <a:gd name="connsiteY5" fmla="*/ 4945 h 9850"/>
              <a:gd name="connsiteX6" fmla="*/ 2308 w 8858"/>
              <a:gd name="connsiteY6" fmla="*/ 8496 h 9850"/>
              <a:gd name="connsiteX7" fmla="*/ 6695 w 8858"/>
              <a:gd name="connsiteY7" fmla="*/ 8723 h 9850"/>
              <a:gd name="connsiteX8" fmla="*/ 8533 w 8858"/>
              <a:gd name="connsiteY8" fmla="*/ 4659 h 9850"/>
              <a:gd name="connsiteX9" fmla="*/ 6952 w 8858"/>
              <a:gd name="connsiteY9" fmla="*/ 2052 h 9850"/>
              <a:gd name="connsiteX10" fmla="*/ 8107 w 8858"/>
              <a:gd name="connsiteY10" fmla="*/ 3166 h 9850"/>
              <a:gd name="connsiteX11" fmla="*/ 8235 w 8858"/>
              <a:gd name="connsiteY11" fmla="*/ 7697 h 9850"/>
              <a:gd name="connsiteX12" fmla="*/ 4052 w 8858"/>
              <a:gd name="connsiteY12" fmla="*/ 9825 h 9850"/>
              <a:gd name="connsiteX13" fmla="*/ 417 w 8858"/>
              <a:gd name="connsiteY13" fmla="*/ 3493 h 9850"/>
              <a:gd name="connsiteX14" fmla="*/ 3562 w 8858"/>
              <a:gd name="connsiteY14" fmla="*/ 939 h 9850"/>
              <a:gd name="connsiteX15" fmla="*/ 3758 w 8858"/>
              <a:gd name="connsiteY15" fmla="*/ 830 h 9850"/>
              <a:gd name="connsiteX16" fmla="*/ 3842 w 8858"/>
              <a:gd name="connsiteY16" fmla="*/ 0 h 9850"/>
              <a:gd name="connsiteX0" fmla="*/ 4336 w 9999"/>
              <a:gd name="connsiteY0" fmla="*/ 0 h 10000"/>
              <a:gd name="connsiteX1" fmla="*/ 6832 w 9999"/>
              <a:gd name="connsiteY1" fmla="*/ 1593 h 10000"/>
              <a:gd name="connsiteX2" fmla="*/ 4060 w 9999"/>
              <a:gd name="connsiteY2" fmla="*/ 2741 h 10000"/>
              <a:gd name="connsiteX3" fmla="*/ 4132 w 9999"/>
              <a:gd name="connsiteY3" fmla="*/ 1907 h 10000"/>
              <a:gd name="connsiteX4" fmla="*/ 3790 w 9999"/>
              <a:gd name="connsiteY4" fmla="*/ 2001 h 10000"/>
              <a:gd name="connsiteX5" fmla="*/ 990 w 9999"/>
              <a:gd name="connsiteY5" fmla="*/ 5020 h 10000"/>
              <a:gd name="connsiteX6" fmla="*/ 2605 w 9999"/>
              <a:gd name="connsiteY6" fmla="*/ 8625 h 10000"/>
              <a:gd name="connsiteX7" fmla="*/ 7557 w 9999"/>
              <a:gd name="connsiteY7" fmla="*/ 8856 h 10000"/>
              <a:gd name="connsiteX8" fmla="*/ 9632 w 9999"/>
              <a:gd name="connsiteY8" fmla="*/ 4730 h 10000"/>
              <a:gd name="connsiteX9" fmla="*/ 7847 w 9999"/>
              <a:gd name="connsiteY9" fmla="*/ 2083 h 10000"/>
              <a:gd name="connsiteX10" fmla="*/ 9151 w 9999"/>
              <a:gd name="connsiteY10" fmla="*/ 3214 h 10000"/>
              <a:gd name="connsiteX11" fmla="*/ 9296 w 9999"/>
              <a:gd name="connsiteY11" fmla="*/ 7814 h 10000"/>
              <a:gd name="connsiteX12" fmla="*/ 4573 w 9999"/>
              <a:gd name="connsiteY12" fmla="*/ 9975 h 10000"/>
              <a:gd name="connsiteX13" fmla="*/ 470 w 9999"/>
              <a:gd name="connsiteY13" fmla="*/ 3546 h 10000"/>
              <a:gd name="connsiteX14" fmla="*/ 4020 w 9999"/>
              <a:gd name="connsiteY14" fmla="*/ 953 h 10000"/>
              <a:gd name="connsiteX15" fmla="*/ 4241 w 9999"/>
              <a:gd name="connsiteY15" fmla="*/ 843 h 10000"/>
              <a:gd name="connsiteX16" fmla="*/ 4336 w 9999"/>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00" h="10000">
                <a:moveTo>
                  <a:pt x="4336" y="0"/>
                </a:moveTo>
                <a:lnTo>
                  <a:pt x="6833" y="1593"/>
                </a:lnTo>
                <a:lnTo>
                  <a:pt x="4060" y="2741"/>
                </a:lnTo>
                <a:cubicBezTo>
                  <a:pt x="4086" y="2457"/>
                  <a:pt x="4106" y="2196"/>
                  <a:pt x="4132" y="1907"/>
                </a:cubicBezTo>
                <a:cubicBezTo>
                  <a:pt x="3994" y="1942"/>
                  <a:pt x="3888" y="1965"/>
                  <a:pt x="3790" y="2001"/>
                </a:cubicBezTo>
                <a:cubicBezTo>
                  <a:pt x="2215" y="2528"/>
                  <a:pt x="1248" y="3534"/>
                  <a:pt x="990" y="5020"/>
                </a:cubicBezTo>
                <a:cubicBezTo>
                  <a:pt x="741" y="6482"/>
                  <a:pt x="1301" y="7714"/>
                  <a:pt x="2605" y="8625"/>
                </a:cubicBezTo>
                <a:cubicBezTo>
                  <a:pt x="4053" y="9644"/>
                  <a:pt x="5997" y="9715"/>
                  <a:pt x="7558" y="8856"/>
                </a:cubicBezTo>
                <a:cubicBezTo>
                  <a:pt x="9119" y="8003"/>
                  <a:pt x="9956" y="6334"/>
                  <a:pt x="9633" y="4730"/>
                </a:cubicBezTo>
                <a:cubicBezTo>
                  <a:pt x="9415" y="3647"/>
                  <a:pt x="8803" y="2741"/>
                  <a:pt x="7848" y="2083"/>
                </a:cubicBezTo>
                <a:cubicBezTo>
                  <a:pt x="8217" y="2238"/>
                  <a:pt x="8816" y="2741"/>
                  <a:pt x="9152" y="3214"/>
                </a:cubicBezTo>
                <a:cubicBezTo>
                  <a:pt x="10205" y="4724"/>
                  <a:pt x="10305" y="6281"/>
                  <a:pt x="9297" y="7814"/>
                </a:cubicBezTo>
                <a:cubicBezTo>
                  <a:pt x="8250" y="9412"/>
                  <a:pt x="6623" y="10152"/>
                  <a:pt x="4573" y="9975"/>
                </a:cubicBezTo>
                <a:cubicBezTo>
                  <a:pt x="1096" y="9673"/>
                  <a:pt x="-985" y="6388"/>
                  <a:pt x="470" y="3546"/>
                </a:cubicBezTo>
                <a:cubicBezTo>
                  <a:pt x="1175" y="2166"/>
                  <a:pt x="2367" y="1303"/>
                  <a:pt x="4020" y="953"/>
                </a:cubicBezTo>
                <a:cubicBezTo>
                  <a:pt x="4199" y="912"/>
                  <a:pt x="4249" y="901"/>
                  <a:pt x="4241" y="894"/>
                </a:cubicBezTo>
                <a:cubicBezTo>
                  <a:pt x="4257" y="673"/>
                  <a:pt x="4246" y="898"/>
                  <a:pt x="4336" y="0"/>
                </a:cubicBezTo>
                <a:close/>
              </a:path>
            </a:pathLst>
          </a:custGeom>
          <a:solidFill>
            <a:schemeClr val="accent1"/>
          </a:solidFill>
          <a:ln w="1588" cap="flat">
            <a:no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endParaRPr>
          </a:p>
        </p:txBody>
      </p:sp>
      <p:sp>
        <p:nvSpPr>
          <p:cNvPr id="12" name="Rectangle 9">
            <a:extLst>
              <a:ext uri="{FF2B5EF4-FFF2-40B4-BE49-F238E27FC236}">
                <a16:creationId xmlns:a16="http://schemas.microsoft.com/office/drawing/2014/main" id="{59C901BC-5415-4DD7-A5CA-BBBCAF26D853}"/>
              </a:ext>
            </a:extLst>
          </p:cNvPr>
          <p:cNvSpPr>
            <a:spLocks noChangeArrowheads="1"/>
          </p:cNvSpPr>
          <p:nvPr>
            <p:custDataLst>
              <p:tags r:id="rId1"/>
            </p:custDataLst>
          </p:nvPr>
        </p:nvSpPr>
        <p:spPr bwMode="blackWhite">
          <a:xfrm>
            <a:off x="6265034" y="3602709"/>
            <a:ext cx="177934" cy="160813"/>
          </a:xfrm>
          <a:prstGeom prst="rect">
            <a:avLst/>
          </a:prstGeom>
          <a:noFill/>
          <a:ln w="9525">
            <a:noFill/>
            <a:miter lim="800000"/>
            <a:headEnd/>
            <a:tailEnd/>
          </a:ln>
        </p:spPr>
        <p:txBody>
          <a:bodyPr wrap="none" lIns="0" tIns="0" rIns="0" bIns="0" anchor="ctr" anchorCtr="1">
            <a:spAutoFit/>
          </a:bodyPr>
          <a:lstStyle/>
          <a:p>
            <a:pPr marL="0" marR="0" lvl="0" indent="0" algn="ctr" defTabSz="590550" rtl="0" eaLnBrk="1" fontAlgn="auto" latinLnBrk="0" hangingPunct="1">
              <a:lnSpc>
                <a:spcPct val="95000"/>
              </a:lnSpc>
              <a:spcBef>
                <a:spcPct val="80000"/>
              </a:spcBef>
              <a:spcAft>
                <a:spcPts val="0"/>
              </a:spcAft>
              <a:buClr>
                <a:prstClr val="white"/>
              </a:buClr>
              <a:buSzTx/>
              <a:buFontTx/>
              <a:buNone/>
              <a:tabLst/>
              <a:defRPr/>
            </a:pPr>
            <a:r>
              <a:rPr kumimoji="0" lang="en-CA" sz="11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rPr>
              <a:t>xxx</a:t>
            </a:r>
          </a:p>
        </p:txBody>
      </p:sp>
      <p:sp>
        <p:nvSpPr>
          <p:cNvPr id="13" name="Rectangle 10">
            <a:extLst>
              <a:ext uri="{FF2B5EF4-FFF2-40B4-BE49-F238E27FC236}">
                <a16:creationId xmlns:a16="http://schemas.microsoft.com/office/drawing/2014/main" id="{C9D02787-089A-49B2-8174-DFE820AA0314}"/>
              </a:ext>
            </a:extLst>
          </p:cNvPr>
          <p:cNvSpPr>
            <a:spLocks noChangeArrowheads="1"/>
          </p:cNvSpPr>
          <p:nvPr>
            <p:custDataLst>
              <p:tags r:id="rId2"/>
            </p:custDataLst>
          </p:nvPr>
        </p:nvSpPr>
        <p:spPr bwMode="blackWhite">
          <a:xfrm>
            <a:off x="6176828" y="5089087"/>
            <a:ext cx="177934" cy="160813"/>
          </a:xfrm>
          <a:prstGeom prst="rect">
            <a:avLst/>
          </a:prstGeom>
          <a:noFill/>
          <a:ln w="9525">
            <a:noFill/>
            <a:miter lim="800000"/>
            <a:headEnd/>
            <a:tailEnd/>
          </a:ln>
        </p:spPr>
        <p:txBody>
          <a:bodyPr wrap="none" lIns="0" tIns="0" rIns="0" bIns="0" anchor="ctr" anchorCtr="1">
            <a:spAutoFit/>
          </a:bodyPr>
          <a:lstStyle/>
          <a:p>
            <a:pPr marL="0" marR="0" lvl="0" indent="0" algn="ctr" defTabSz="590550" rtl="0" eaLnBrk="1" fontAlgn="auto" latinLnBrk="0" hangingPunct="1">
              <a:lnSpc>
                <a:spcPct val="95000"/>
              </a:lnSpc>
              <a:spcBef>
                <a:spcPct val="80000"/>
              </a:spcBef>
              <a:spcAft>
                <a:spcPts val="0"/>
              </a:spcAft>
              <a:buClr>
                <a:prstClr val="white"/>
              </a:buClr>
              <a:buSzTx/>
              <a:buFontTx/>
              <a:buNone/>
              <a:tabLst/>
              <a:defRPr/>
            </a:pPr>
            <a:r>
              <a:rPr kumimoji="0" lang="en-CA" sz="11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rPr>
              <a:t>xxx</a:t>
            </a:r>
          </a:p>
        </p:txBody>
      </p:sp>
      <p:sp>
        <p:nvSpPr>
          <p:cNvPr id="14" name="Rectangle 11">
            <a:extLst>
              <a:ext uri="{FF2B5EF4-FFF2-40B4-BE49-F238E27FC236}">
                <a16:creationId xmlns:a16="http://schemas.microsoft.com/office/drawing/2014/main" id="{F7C8709A-90D8-4547-A26F-F6275E5F53AD}"/>
              </a:ext>
            </a:extLst>
          </p:cNvPr>
          <p:cNvSpPr>
            <a:spLocks noChangeArrowheads="1"/>
          </p:cNvSpPr>
          <p:nvPr>
            <p:custDataLst>
              <p:tags r:id="rId3"/>
            </p:custDataLst>
          </p:nvPr>
        </p:nvSpPr>
        <p:spPr bwMode="blackWhite">
          <a:xfrm>
            <a:off x="5040520" y="5948232"/>
            <a:ext cx="177934"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15" name="Rectangle 13">
            <a:extLst>
              <a:ext uri="{FF2B5EF4-FFF2-40B4-BE49-F238E27FC236}">
                <a16:creationId xmlns:a16="http://schemas.microsoft.com/office/drawing/2014/main" id="{C3D0D39B-6798-4CCF-804C-86A1EA33B5B8}"/>
              </a:ext>
            </a:extLst>
          </p:cNvPr>
          <p:cNvSpPr>
            <a:spLocks noChangeArrowheads="1"/>
          </p:cNvSpPr>
          <p:nvPr>
            <p:custDataLst>
              <p:tags r:id="rId4"/>
            </p:custDataLst>
          </p:nvPr>
        </p:nvSpPr>
        <p:spPr bwMode="blackWhite">
          <a:xfrm>
            <a:off x="2644773" y="4234998"/>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16" name="Rectangle 12">
            <a:extLst>
              <a:ext uri="{FF2B5EF4-FFF2-40B4-BE49-F238E27FC236}">
                <a16:creationId xmlns:a16="http://schemas.microsoft.com/office/drawing/2014/main" id="{521DA1FC-B2A5-43C3-A0AE-9A2C04C20365}"/>
              </a:ext>
            </a:extLst>
          </p:cNvPr>
          <p:cNvSpPr>
            <a:spLocks noChangeArrowheads="1"/>
          </p:cNvSpPr>
          <p:nvPr>
            <p:custDataLst>
              <p:tags r:id="rId5"/>
            </p:custDataLst>
          </p:nvPr>
        </p:nvSpPr>
        <p:spPr bwMode="blackWhite">
          <a:xfrm>
            <a:off x="2826462" y="5318435"/>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grpSp>
        <p:nvGrpSpPr>
          <p:cNvPr id="17" name="Group 16">
            <a:extLst>
              <a:ext uri="{FF2B5EF4-FFF2-40B4-BE49-F238E27FC236}">
                <a16:creationId xmlns:a16="http://schemas.microsoft.com/office/drawing/2014/main" id="{2369E661-1F09-4EE6-932C-1E62ADD29097}"/>
              </a:ext>
            </a:extLst>
          </p:cNvPr>
          <p:cNvGrpSpPr/>
          <p:nvPr/>
        </p:nvGrpSpPr>
        <p:grpSpPr>
          <a:xfrm>
            <a:off x="2990817" y="3764907"/>
            <a:ext cx="449707" cy="449707"/>
            <a:chOff x="3368752" y="3469032"/>
            <a:chExt cx="436680" cy="436680"/>
          </a:xfrm>
        </p:grpSpPr>
        <p:sp>
          <p:nvSpPr>
            <p:cNvPr id="18" name="Oval 17">
              <a:extLst>
                <a:ext uri="{FF2B5EF4-FFF2-40B4-BE49-F238E27FC236}">
                  <a16:creationId xmlns:a16="http://schemas.microsoft.com/office/drawing/2014/main" id="{CD46F295-AB35-428C-BD6A-B671D856B853}"/>
                </a:ext>
              </a:extLst>
            </p:cNvPr>
            <p:cNvSpPr/>
            <p:nvPr/>
          </p:nvSpPr>
          <p:spPr bwMode="gray">
            <a:xfrm>
              <a:off x="3368752" y="3469032"/>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19" name="Freeform 36">
              <a:extLst>
                <a:ext uri="{FF2B5EF4-FFF2-40B4-BE49-F238E27FC236}">
                  <a16:creationId xmlns:a16="http://schemas.microsoft.com/office/drawing/2014/main" id="{96853E2B-42B6-4E33-87F2-4A9506D6447F}"/>
                </a:ext>
              </a:extLst>
            </p:cNvPr>
            <p:cNvSpPr>
              <a:spLocks noChangeAspect="1" noEditPoints="1"/>
            </p:cNvSpPr>
            <p:nvPr>
              <p:custDataLst>
                <p:tags r:id="rId24"/>
              </p:custDataLst>
            </p:nvPr>
          </p:nvSpPr>
          <p:spPr bwMode="auto">
            <a:xfrm>
              <a:off x="3403277" y="3503557"/>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20" name="Group 19">
            <a:extLst>
              <a:ext uri="{FF2B5EF4-FFF2-40B4-BE49-F238E27FC236}">
                <a16:creationId xmlns:a16="http://schemas.microsoft.com/office/drawing/2014/main" id="{A902C212-1637-4604-8AFA-5E557EB8D99D}"/>
              </a:ext>
            </a:extLst>
          </p:cNvPr>
          <p:cNvGrpSpPr/>
          <p:nvPr/>
        </p:nvGrpSpPr>
        <p:grpSpPr>
          <a:xfrm>
            <a:off x="3222224" y="4976105"/>
            <a:ext cx="449707" cy="449707"/>
            <a:chOff x="3529994" y="4645143"/>
            <a:chExt cx="436680" cy="436680"/>
          </a:xfrm>
        </p:grpSpPr>
        <p:sp>
          <p:nvSpPr>
            <p:cNvPr id="21" name="Oval 20">
              <a:extLst>
                <a:ext uri="{FF2B5EF4-FFF2-40B4-BE49-F238E27FC236}">
                  <a16:creationId xmlns:a16="http://schemas.microsoft.com/office/drawing/2014/main" id="{FC0108AB-50B0-437B-9C60-F88F8D4DE5A2}"/>
                </a:ext>
              </a:extLst>
            </p:cNvPr>
            <p:cNvSpPr/>
            <p:nvPr/>
          </p:nvSpPr>
          <p:spPr bwMode="gray">
            <a:xfrm>
              <a:off x="3529994" y="4645143"/>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22" name="Freeform 769">
              <a:extLst>
                <a:ext uri="{FF2B5EF4-FFF2-40B4-BE49-F238E27FC236}">
                  <a16:creationId xmlns:a16="http://schemas.microsoft.com/office/drawing/2014/main" id="{6E09E230-58B9-4682-B3F1-396672EF379A}"/>
                </a:ext>
              </a:extLst>
            </p:cNvPr>
            <p:cNvSpPr>
              <a:spLocks noChangeAspect="1" noEditPoints="1"/>
            </p:cNvSpPr>
            <p:nvPr>
              <p:custDataLst>
                <p:tags r:id="rId23"/>
              </p:custDataLst>
            </p:nvPr>
          </p:nvSpPr>
          <p:spPr bwMode="auto">
            <a:xfrm>
              <a:off x="3563802" y="4679492"/>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02 w 512"/>
                <a:gd name="T33" fmla="*/ 266 h 512"/>
                <a:gd name="T34" fmla="*/ 192 w 512"/>
                <a:gd name="T35" fmla="*/ 256 h 512"/>
                <a:gd name="T36" fmla="*/ 202 w 512"/>
                <a:gd name="T37" fmla="*/ 245 h 512"/>
                <a:gd name="T38" fmla="*/ 309 w 512"/>
                <a:gd name="T39" fmla="*/ 245 h 512"/>
                <a:gd name="T40" fmla="*/ 320 w 512"/>
                <a:gd name="T41" fmla="*/ 256 h 512"/>
                <a:gd name="T42" fmla="*/ 309 w 512"/>
                <a:gd name="T43" fmla="*/ 266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94 w 512"/>
                <a:gd name="T55" fmla="*/ 384 h 512"/>
                <a:gd name="T56" fmla="*/ 384 w 512"/>
                <a:gd name="T57" fmla="*/ 394 h 512"/>
                <a:gd name="T58" fmla="*/ 128 w 512"/>
                <a:gd name="T59" fmla="*/ 394 h 512"/>
                <a:gd name="T60" fmla="*/ 117 w 512"/>
                <a:gd name="T61" fmla="*/ 384 h 512"/>
                <a:gd name="T62" fmla="*/ 117 w 512"/>
                <a:gd name="T63" fmla="*/ 128 h 512"/>
                <a:gd name="T64" fmla="*/ 128 w 512"/>
                <a:gd name="T65" fmla="*/ 117 h 512"/>
                <a:gd name="T66" fmla="*/ 181 w 512"/>
                <a:gd name="T67" fmla="*/ 117 h 512"/>
                <a:gd name="T68" fmla="*/ 181 w 512"/>
                <a:gd name="T69" fmla="*/ 106 h 512"/>
                <a:gd name="T70" fmla="*/ 192 w 512"/>
                <a:gd name="T71" fmla="*/ 96 h 512"/>
                <a:gd name="T72" fmla="*/ 202 w 512"/>
                <a:gd name="T73" fmla="*/ 106 h 512"/>
                <a:gd name="T74" fmla="*/ 202 w 512"/>
                <a:gd name="T75" fmla="*/ 117 h 512"/>
                <a:gd name="T76" fmla="*/ 309 w 512"/>
                <a:gd name="T77" fmla="*/ 117 h 512"/>
                <a:gd name="T78" fmla="*/ 309 w 512"/>
                <a:gd name="T79" fmla="*/ 106 h 512"/>
                <a:gd name="T80" fmla="*/ 320 w 512"/>
                <a:gd name="T81" fmla="*/ 96 h 512"/>
                <a:gd name="T82" fmla="*/ 330 w 512"/>
                <a:gd name="T83" fmla="*/ 106 h 512"/>
                <a:gd name="T84" fmla="*/ 330 w 512"/>
                <a:gd name="T85" fmla="*/ 117 h 512"/>
                <a:gd name="T86" fmla="*/ 384 w 512"/>
                <a:gd name="T87" fmla="*/ 117 h 512"/>
                <a:gd name="T88" fmla="*/ 394 w 512"/>
                <a:gd name="T89" fmla="*/ 128 h 512"/>
                <a:gd name="T90" fmla="*/ 394 w 512"/>
                <a:gd name="T9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02" y="266"/>
                    <a:pt x="202" y="266"/>
                    <a:pt x="202" y="266"/>
                  </a:cubicBezTo>
                  <a:cubicBezTo>
                    <a:pt x="196" y="266"/>
                    <a:pt x="192" y="262"/>
                    <a:pt x="192" y="256"/>
                  </a:cubicBezTo>
                  <a:cubicBezTo>
                    <a:pt x="192" y="250"/>
                    <a:pt x="196" y="245"/>
                    <a:pt x="202"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23" name="Group 22">
            <a:extLst>
              <a:ext uri="{FF2B5EF4-FFF2-40B4-BE49-F238E27FC236}">
                <a16:creationId xmlns:a16="http://schemas.microsoft.com/office/drawing/2014/main" id="{7AE338F3-8521-4D7A-B117-C2DAC3CEA4A0}"/>
              </a:ext>
            </a:extLst>
          </p:cNvPr>
          <p:cNvGrpSpPr/>
          <p:nvPr/>
        </p:nvGrpSpPr>
        <p:grpSpPr>
          <a:xfrm>
            <a:off x="4290872" y="5551114"/>
            <a:ext cx="449707" cy="449707"/>
            <a:chOff x="4877886" y="5268911"/>
            <a:chExt cx="436680" cy="436680"/>
          </a:xfrm>
        </p:grpSpPr>
        <p:sp>
          <p:nvSpPr>
            <p:cNvPr id="24" name="Oval 23">
              <a:extLst>
                <a:ext uri="{FF2B5EF4-FFF2-40B4-BE49-F238E27FC236}">
                  <a16:creationId xmlns:a16="http://schemas.microsoft.com/office/drawing/2014/main" id="{E71D548B-7E23-469A-A7CC-BC7889D4640E}"/>
                </a:ext>
              </a:extLst>
            </p:cNvPr>
            <p:cNvSpPr/>
            <p:nvPr/>
          </p:nvSpPr>
          <p:spPr bwMode="gray">
            <a:xfrm>
              <a:off x="4877886" y="5268911"/>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25" name="Freeform 346">
              <a:extLst>
                <a:ext uri="{FF2B5EF4-FFF2-40B4-BE49-F238E27FC236}">
                  <a16:creationId xmlns:a16="http://schemas.microsoft.com/office/drawing/2014/main" id="{2FA489FA-6234-41A7-9AD3-5FF6FCAF7D12}"/>
                </a:ext>
              </a:extLst>
            </p:cNvPr>
            <p:cNvSpPr>
              <a:spLocks noChangeAspect="1" noEditPoints="1"/>
            </p:cNvSpPr>
            <p:nvPr>
              <p:custDataLst>
                <p:tags r:id="rId22"/>
              </p:custDataLst>
            </p:nvPr>
          </p:nvSpPr>
          <p:spPr bwMode="auto">
            <a:xfrm>
              <a:off x="4912411" y="5303436"/>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26" name="Group 25">
            <a:extLst>
              <a:ext uri="{FF2B5EF4-FFF2-40B4-BE49-F238E27FC236}">
                <a16:creationId xmlns:a16="http://schemas.microsoft.com/office/drawing/2014/main" id="{1FAB779C-F264-4CDE-8DF4-A3D4A20502F7}"/>
              </a:ext>
            </a:extLst>
          </p:cNvPr>
          <p:cNvGrpSpPr/>
          <p:nvPr/>
        </p:nvGrpSpPr>
        <p:grpSpPr>
          <a:xfrm>
            <a:off x="5592537" y="4699261"/>
            <a:ext cx="449707" cy="449707"/>
            <a:chOff x="6038573" y="4159255"/>
            <a:chExt cx="436680" cy="436680"/>
          </a:xfrm>
        </p:grpSpPr>
        <p:sp>
          <p:nvSpPr>
            <p:cNvPr id="27" name="Oval 26">
              <a:extLst>
                <a:ext uri="{FF2B5EF4-FFF2-40B4-BE49-F238E27FC236}">
                  <a16:creationId xmlns:a16="http://schemas.microsoft.com/office/drawing/2014/main" id="{89A3B42B-1BAA-4D62-9525-F12C16BEA622}"/>
                </a:ext>
              </a:extLst>
            </p:cNvPr>
            <p:cNvSpPr/>
            <p:nvPr/>
          </p:nvSpPr>
          <p:spPr bwMode="gray">
            <a:xfrm>
              <a:off x="6038573" y="4159255"/>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28" name="Freeform 787">
              <a:extLst>
                <a:ext uri="{FF2B5EF4-FFF2-40B4-BE49-F238E27FC236}">
                  <a16:creationId xmlns:a16="http://schemas.microsoft.com/office/drawing/2014/main" id="{3104B62A-BB7B-4F72-9A2C-086CF606DB47}"/>
                </a:ext>
              </a:extLst>
            </p:cNvPr>
            <p:cNvSpPr>
              <a:spLocks noChangeAspect="1" noEditPoints="1"/>
            </p:cNvSpPr>
            <p:nvPr>
              <p:custDataLst>
                <p:tags r:id="rId21"/>
              </p:custDataLst>
            </p:nvPr>
          </p:nvSpPr>
          <p:spPr bwMode="auto">
            <a:xfrm>
              <a:off x="6072922" y="4193604"/>
              <a:ext cx="367982"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29" name="Group 28">
            <a:extLst>
              <a:ext uri="{FF2B5EF4-FFF2-40B4-BE49-F238E27FC236}">
                <a16:creationId xmlns:a16="http://schemas.microsoft.com/office/drawing/2014/main" id="{2A979CB0-56B8-4990-B044-E01A5B05274B}"/>
              </a:ext>
            </a:extLst>
          </p:cNvPr>
          <p:cNvGrpSpPr/>
          <p:nvPr/>
        </p:nvGrpSpPr>
        <p:grpSpPr>
          <a:xfrm>
            <a:off x="5535590" y="3334261"/>
            <a:ext cx="449707" cy="449707"/>
            <a:chOff x="5839805" y="3050861"/>
            <a:chExt cx="436680" cy="436680"/>
          </a:xfrm>
        </p:grpSpPr>
        <p:sp>
          <p:nvSpPr>
            <p:cNvPr id="30" name="Oval 29">
              <a:extLst>
                <a:ext uri="{FF2B5EF4-FFF2-40B4-BE49-F238E27FC236}">
                  <a16:creationId xmlns:a16="http://schemas.microsoft.com/office/drawing/2014/main" id="{300C2C00-EAB9-4E96-BD54-6C4B08A9491B}"/>
                </a:ext>
              </a:extLst>
            </p:cNvPr>
            <p:cNvSpPr/>
            <p:nvPr/>
          </p:nvSpPr>
          <p:spPr bwMode="gray">
            <a:xfrm>
              <a:off x="5839805" y="3050861"/>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grpSp>
          <p:nvGrpSpPr>
            <p:cNvPr id="31" name="Group 897">
              <a:extLst>
                <a:ext uri="{FF2B5EF4-FFF2-40B4-BE49-F238E27FC236}">
                  <a16:creationId xmlns:a16="http://schemas.microsoft.com/office/drawing/2014/main" id="{AE996CDA-9C98-45C3-8817-8B89AEB165E1}"/>
                </a:ext>
              </a:extLst>
            </p:cNvPr>
            <p:cNvGrpSpPr>
              <a:grpSpLocks noChangeAspect="1"/>
            </p:cNvGrpSpPr>
            <p:nvPr>
              <p:custDataLst>
                <p:tags r:id="rId20"/>
              </p:custDataLst>
            </p:nvPr>
          </p:nvGrpSpPr>
          <p:grpSpPr bwMode="auto">
            <a:xfrm>
              <a:off x="5875265" y="3086321"/>
              <a:ext cx="365760" cy="365760"/>
              <a:chOff x="3891" y="3455"/>
              <a:chExt cx="340" cy="340"/>
            </a:xfrm>
            <a:solidFill>
              <a:schemeClr val="accent6"/>
            </a:solidFill>
          </p:grpSpPr>
          <p:sp>
            <p:nvSpPr>
              <p:cNvPr id="32" name="Freeform 898">
                <a:extLst>
                  <a:ext uri="{FF2B5EF4-FFF2-40B4-BE49-F238E27FC236}">
                    <a16:creationId xmlns:a16="http://schemas.microsoft.com/office/drawing/2014/main" id="{4995EE7F-9BE6-4356-B83D-8A22EA20C0E4}"/>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sp>
            <p:nvSpPr>
              <p:cNvPr id="33" name="Oval 899">
                <a:extLst>
                  <a:ext uri="{FF2B5EF4-FFF2-40B4-BE49-F238E27FC236}">
                    <a16:creationId xmlns:a16="http://schemas.microsoft.com/office/drawing/2014/main" id="{FFA82E57-496B-4D7A-8821-3F341BC2D6FA}"/>
                  </a:ext>
                </a:extLst>
              </p:cNvPr>
              <p:cNvSpPr>
                <a:spLocks noChangeArrowheads="1"/>
              </p:cNvSpPr>
              <p:nvPr/>
            </p:nvSpPr>
            <p:spPr bwMode="auto">
              <a:xfrm>
                <a:off x="3969" y="3533"/>
                <a:ext cx="113" cy="113"/>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grpSp>
        <p:nvGrpSpPr>
          <p:cNvPr id="34" name="Group 33">
            <a:extLst>
              <a:ext uri="{FF2B5EF4-FFF2-40B4-BE49-F238E27FC236}">
                <a16:creationId xmlns:a16="http://schemas.microsoft.com/office/drawing/2014/main" id="{39F62A37-94F6-421B-BD5D-FFD283669C24}"/>
              </a:ext>
            </a:extLst>
          </p:cNvPr>
          <p:cNvGrpSpPr/>
          <p:nvPr/>
        </p:nvGrpSpPr>
        <p:grpSpPr>
          <a:xfrm>
            <a:off x="4171772" y="2720953"/>
            <a:ext cx="449707" cy="449707"/>
            <a:chOff x="4515496" y="2455320"/>
            <a:chExt cx="436680" cy="436680"/>
          </a:xfrm>
        </p:grpSpPr>
        <p:sp>
          <p:nvSpPr>
            <p:cNvPr id="35" name="Oval 34">
              <a:extLst>
                <a:ext uri="{FF2B5EF4-FFF2-40B4-BE49-F238E27FC236}">
                  <a16:creationId xmlns:a16="http://schemas.microsoft.com/office/drawing/2014/main" id="{124ACC24-9513-4DAA-830E-17DCEF84552F}"/>
                </a:ext>
              </a:extLst>
            </p:cNvPr>
            <p:cNvSpPr/>
            <p:nvPr/>
          </p:nvSpPr>
          <p:spPr bwMode="gray">
            <a:xfrm>
              <a:off x="4515496" y="2455320"/>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36" name="Freeform 805">
              <a:extLst>
                <a:ext uri="{FF2B5EF4-FFF2-40B4-BE49-F238E27FC236}">
                  <a16:creationId xmlns:a16="http://schemas.microsoft.com/office/drawing/2014/main" id="{B0ADF5EB-6978-4BBF-9FE2-ADEC15E139E2}"/>
                </a:ext>
              </a:extLst>
            </p:cNvPr>
            <p:cNvSpPr>
              <a:spLocks noChangeAspect="1" noEditPoints="1"/>
            </p:cNvSpPr>
            <p:nvPr>
              <p:custDataLst>
                <p:tags r:id="rId19"/>
              </p:custDataLst>
            </p:nvPr>
          </p:nvSpPr>
          <p:spPr bwMode="auto">
            <a:xfrm>
              <a:off x="4549845" y="2489669"/>
              <a:ext cx="367982" cy="367982"/>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endParaRPr>
            </a:p>
          </p:txBody>
        </p:sp>
      </p:grpSp>
      <p:sp>
        <p:nvSpPr>
          <p:cNvPr id="37" name="Rectangle 8">
            <a:extLst>
              <a:ext uri="{FF2B5EF4-FFF2-40B4-BE49-F238E27FC236}">
                <a16:creationId xmlns:a16="http://schemas.microsoft.com/office/drawing/2014/main" id="{3FACD774-61A5-4471-8FE6-1A81D7956750}"/>
              </a:ext>
            </a:extLst>
          </p:cNvPr>
          <p:cNvSpPr>
            <a:spLocks noChangeArrowheads="1"/>
          </p:cNvSpPr>
          <p:nvPr>
            <p:custDataLst>
              <p:tags r:id="rId6"/>
            </p:custDataLst>
          </p:nvPr>
        </p:nvSpPr>
        <p:spPr bwMode="blackWhite">
          <a:xfrm>
            <a:off x="2733738" y="2569318"/>
            <a:ext cx="1469423" cy="752981"/>
          </a:xfrm>
          <a:prstGeom prst="rect">
            <a:avLst/>
          </a:prstGeom>
          <a:solidFill>
            <a:schemeClr val="bg1"/>
          </a:solidFill>
          <a:ln w="9525">
            <a:noFill/>
            <a:miter lim="800000"/>
            <a:headEnd/>
            <a:tailEnd/>
          </a:ln>
        </p:spPr>
        <p:txBody>
          <a:bodyPr wrap="square" lIns="0" tIns="0" rIns="137160" bIns="0" anchor="ctr">
            <a:no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38" name="Freeform 5">
            <a:extLst>
              <a:ext uri="{FF2B5EF4-FFF2-40B4-BE49-F238E27FC236}">
                <a16:creationId xmlns:a16="http://schemas.microsoft.com/office/drawing/2014/main" id="{3EC31592-913F-4DBD-A482-0FDE016E1C3F}"/>
              </a:ext>
            </a:extLst>
          </p:cNvPr>
          <p:cNvSpPr>
            <a:spLocks/>
          </p:cNvSpPr>
          <p:nvPr/>
        </p:nvSpPr>
        <p:spPr bwMode="auto">
          <a:xfrm rot="17100000">
            <a:off x="7666921" y="2634358"/>
            <a:ext cx="3046950" cy="3386028"/>
          </a:xfrm>
          <a:custGeom>
            <a:avLst/>
            <a:gdLst>
              <a:gd name="T0" fmla="*/ 808 w 1714"/>
              <a:gd name="T1" fmla="*/ 0 h 1715"/>
              <a:gd name="T2" fmla="*/ 1187 w 1714"/>
              <a:gd name="T3" fmla="*/ 269 h 1715"/>
              <a:gd name="T4" fmla="*/ 766 w 1714"/>
              <a:gd name="T5" fmla="*/ 463 h 1715"/>
              <a:gd name="T6" fmla="*/ 777 w 1714"/>
              <a:gd name="T7" fmla="*/ 322 h 1715"/>
              <a:gd name="T8" fmla="*/ 725 w 1714"/>
              <a:gd name="T9" fmla="*/ 338 h 1715"/>
              <a:gd name="T10" fmla="*/ 300 w 1714"/>
              <a:gd name="T11" fmla="*/ 848 h 1715"/>
              <a:gd name="T12" fmla="*/ 545 w 1714"/>
              <a:gd name="T13" fmla="*/ 1457 h 1715"/>
              <a:gd name="T14" fmla="*/ 1297 w 1714"/>
              <a:gd name="T15" fmla="*/ 1496 h 1715"/>
              <a:gd name="T16" fmla="*/ 1612 w 1714"/>
              <a:gd name="T17" fmla="*/ 799 h 1715"/>
              <a:gd name="T18" fmla="*/ 1341 w 1714"/>
              <a:gd name="T19" fmla="*/ 352 h 1715"/>
              <a:gd name="T20" fmla="*/ 1539 w 1714"/>
              <a:gd name="T21" fmla="*/ 543 h 1715"/>
              <a:gd name="T22" fmla="*/ 1561 w 1714"/>
              <a:gd name="T23" fmla="*/ 1320 h 1715"/>
              <a:gd name="T24" fmla="*/ 844 w 1714"/>
              <a:gd name="T25" fmla="*/ 1685 h 1715"/>
              <a:gd name="T26" fmla="*/ 221 w 1714"/>
              <a:gd name="T27" fmla="*/ 599 h 1715"/>
              <a:gd name="T28" fmla="*/ 760 w 1714"/>
              <a:gd name="T29" fmla="*/ 161 h 1715"/>
              <a:gd name="T30" fmla="*/ 798 w 1714"/>
              <a:gd name="T31" fmla="*/ 116 h 1715"/>
              <a:gd name="T32" fmla="*/ 808 w 1714"/>
              <a:gd name="T33" fmla="*/ 0 h 1715"/>
              <a:gd name="connsiteX0" fmla="*/ 3842 w 8858"/>
              <a:gd name="connsiteY0" fmla="*/ 0 h 9850"/>
              <a:gd name="connsiteX1" fmla="*/ 6053 w 8858"/>
              <a:gd name="connsiteY1" fmla="*/ 1569 h 9850"/>
              <a:gd name="connsiteX2" fmla="*/ 3597 w 8858"/>
              <a:gd name="connsiteY2" fmla="*/ 2700 h 9850"/>
              <a:gd name="connsiteX3" fmla="*/ 3661 w 8858"/>
              <a:gd name="connsiteY3" fmla="*/ 1878 h 9850"/>
              <a:gd name="connsiteX4" fmla="*/ 3358 w 8858"/>
              <a:gd name="connsiteY4" fmla="*/ 1971 h 9850"/>
              <a:gd name="connsiteX5" fmla="*/ 878 w 8858"/>
              <a:gd name="connsiteY5" fmla="*/ 4945 h 9850"/>
              <a:gd name="connsiteX6" fmla="*/ 2308 w 8858"/>
              <a:gd name="connsiteY6" fmla="*/ 8496 h 9850"/>
              <a:gd name="connsiteX7" fmla="*/ 6695 w 8858"/>
              <a:gd name="connsiteY7" fmla="*/ 8723 h 9850"/>
              <a:gd name="connsiteX8" fmla="*/ 8533 w 8858"/>
              <a:gd name="connsiteY8" fmla="*/ 4659 h 9850"/>
              <a:gd name="connsiteX9" fmla="*/ 6952 w 8858"/>
              <a:gd name="connsiteY9" fmla="*/ 2052 h 9850"/>
              <a:gd name="connsiteX10" fmla="*/ 8107 w 8858"/>
              <a:gd name="connsiteY10" fmla="*/ 3166 h 9850"/>
              <a:gd name="connsiteX11" fmla="*/ 8235 w 8858"/>
              <a:gd name="connsiteY11" fmla="*/ 7697 h 9850"/>
              <a:gd name="connsiteX12" fmla="*/ 4052 w 8858"/>
              <a:gd name="connsiteY12" fmla="*/ 9825 h 9850"/>
              <a:gd name="connsiteX13" fmla="*/ 417 w 8858"/>
              <a:gd name="connsiteY13" fmla="*/ 3493 h 9850"/>
              <a:gd name="connsiteX14" fmla="*/ 3562 w 8858"/>
              <a:gd name="connsiteY14" fmla="*/ 939 h 9850"/>
              <a:gd name="connsiteX15" fmla="*/ 3758 w 8858"/>
              <a:gd name="connsiteY15" fmla="*/ 830 h 9850"/>
              <a:gd name="connsiteX16" fmla="*/ 3842 w 8858"/>
              <a:gd name="connsiteY16" fmla="*/ 0 h 9850"/>
              <a:gd name="connsiteX0" fmla="*/ 4336 w 9999"/>
              <a:gd name="connsiteY0" fmla="*/ 0 h 10000"/>
              <a:gd name="connsiteX1" fmla="*/ 6832 w 9999"/>
              <a:gd name="connsiteY1" fmla="*/ 1593 h 10000"/>
              <a:gd name="connsiteX2" fmla="*/ 4060 w 9999"/>
              <a:gd name="connsiteY2" fmla="*/ 2741 h 10000"/>
              <a:gd name="connsiteX3" fmla="*/ 4132 w 9999"/>
              <a:gd name="connsiteY3" fmla="*/ 1907 h 10000"/>
              <a:gd name="connsiteX4" fmla="*/ 3790 w 9999"/>
              <a:gd name="connsiteY4" fmla="*/ 2001 h 10000"/>
              <a:gd name="connsiteX5" fmla="*/ 990 w 9999"/>
              <a:gd name="connsiteY5" fmla="*/ 5020 h 10000"/>
              <a:gd name="connsiteX6" fmla="*/ 2605 w 9999"/>
              <a:gd name="connsiteY6" fmla="*/ 8625 h 10000"/>
              <a:gd name="connsiteX7" fmla="*/ 7557 w 9999"/>
              <a:gd name="connsiteY7" fmla="*/ 8856 h 10000"/>
              <a:gd name="connsiteX8" fmla="*/ 9632 w 9999"/>
              <a:gd name="connsiteY8" fmla="*/ 4730 h 10000"/>
              <a:gd name="connsiteX9" fmla="*/ 7847 w 9999"/>
              <a:gd name="connsiteY9" fmla="*/ 2083 h 10000"/>
              <a:gd name="connsiteX10" fmla="*/ 9151 w 9999"/>
              <a:gd name="connsiteY10" fmla="*/ 3214 h 10000"/>
              <a:gd name="connsiteX11" fmla="*/ 9296 w 9999"/>
              <a:gd name="connsiteY11" fmla="*/ 7814 h 10000"/>
              <a:gd name="connsiteX12" fmla="*/ 4573 w 9999"/>
              <a:gd name="connsiteY12" fmla="*/ 9975 h 10000"/>
              <a:gd name="connsiteX13" fmla="*/ 470 w 9999"/>
              <a:gd name="connsiteY13" fmla="*/ 3546 h 10000"/>
              <a:gd name="connsiteX14" fmla="*/ 4020 w 9999"/>
              <a:gd name="connsiteY14" fmla="*/ 953 h 10000"/>
              <a:gd name="connsiteX15" fmla="*/ 4241 w 9999"/>
              <a:gd name="connsiteY15" fmla="*/ 843 h 10000"/>
              <a:gd name="connsiteX16" fmla="*/ 4336 w 9999"/>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43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 name="connsiteX0" fmla="*/ 4336 w 10000"/>
              <a:gd name="connsiteY0" fmla="*/ 0 h 10000"/>
              <a:gd name="connsiteX1" fmla="*/ 6833 w 10000"/>
              <a:gd name="connsiteY1" fmla="*/ 1593 h 10000"/>
              <a:gd name="connsiteX2" fmla="*/ 4060 w 10000"/>
              <a:gd name="connsiteY2" fmla="*/ 2741 h 10000"/>
              <a:gd name="connsiteX3" fmla="*/ 4132 w 10000"/>
              <a:gd name="connsiteY3" fmla="*/ 1907 h 10000"/>
              <a:gd name="connsiteX4" fmla="*/ 3790 w 10000"/>
              <a:gd name="connsiteY4" fmla="*/ 2001 h 10000"/>
              <a:gd name="connsiteX5" fmla="*/ 990 w 10000"/>
              <a:gd name="connsiteY5" fmla="*/ 5020 h 10000"/>
              <a:gd name="connsiteX6" fmla="*/ 2605 w 10000"/>
              <a:gd name="connsiteY6" fmla="*/ 8625 h 10000"/>
              <a:gd name="connsiteX7" fmla="*/ 7558 w 10000"/>
              <a:gd name="connsiteY7" fmla="*/ 8856 h 10000"/>
              <a:gd name="connsiteX8" fmla="*/ 9633 w 10000"/>
              <a:gd name="connsiteY8" fmla="*/ 4730 h 10000"/>
              <a:gd name="connsiteX9" fmla="*/ 7848 w 10000"/>
              <a:gd name="connsiteY9" fmla="*/ 2083 h 10000"/>
              <a:gd name="connsiteX10" fmla="*/ 9152 w 10000"/>
              <a:gd name="connsiteY10" fmla="*/ 3214 h 10000"/>
              <a:gd name="connsiteX11" fmla="*/ 9297 w 10000"/>
              <a:gd name="connsiteY11" fmla="*/ 7814 h 10000"/>
              <a:gd name="connsiteX12" fmla="*/ 4573 w 10000"/>
              <a:gd name="connsiteY12" fmla="*/ 9975 h 10000"/>
              <a:gd name="connsiteX13" fmla="*/ 470 w 10000"/>
              <a:gd name="connsiteY13" fmla="*/ 3546 h 10000"/>
              <a:gd name="connsiteX14" fmla="*/ 4020 w 10000"/>
              <a:gd name="connsiteY14" fmla="*/ 953 h 10000"/>
              <a:gd name="connsiteX15" fmla="*/ 4241 w 10000"/>
              <a:gd name="connsiteY15" fmla="*/ 894 h 10000"/>
              <a:gd name="connsiteX16" fmla="*/ 4336 w 10000"/>
              <a:gd name="connsiteY1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00" h="10000">
                <a:moveTo>
                  <a:pt x="4336" y="0"/>
                </a:moveTo>
                <a:lnTo>
                  <a:pt x="6833" y="1593"/>
                </a:lnTo>
                <a:lnTo>
                  <a:pt x="4060" y="2741"/>
                </a:lnTo>
                <a:cubicBezTo>
                  <a:pt x="4086" y="2457"/>
                  <a:pt x="4106" y="2196"/>
                  <a:pt x="4132" y="1907"/>
                </a:cubicBezTo>
                <a:cubicBezTo>
                  <a:pt x="3994" y="1942"/>
                  <a:pt x="3888" y="1965"/>
                  <a:pt x="3790" y="2001"/>
                </a:cubicBezTo>
                <a:cubicBezTo>
                  <a:pt x="2215" y="2528"/>
                  <a:pt x="1248" y="3534"/>
                  <a:pt x="990" y="5020"/>
                </a:cubicBezTo>
                <a:cubicBezTo>
                  <a:pt x="741" y="6482"/>
                  <a:pt x="1301" y="7714"/>
                  <a:pt x="2605" y="8625"/>
                </a:cubicBezTo>
                <a:cubicBezTo>
                  <a:pt x="4053" y="9644"/>
                  <a:pt x="5997" y="9715"/>
                  <a:pt x="7558" y="8856"/>
                </a:cubicBezTo>
                <a:cubicBezTo>
                  <a:pt x="9119" y="8003"/>
                  <a:pt x="9956" y="6334"/>
                  <a:pt x="9633" y="4730"/>
                </a:cubicBezTo>
                <a:cubicBezTo>
                  <a:pt x="9415" y="3647"/>
                  <a:pt x="8803" y="2741"/>
                  <a:pt x="7848" y="2083"/>
                </a:cubicBezTo>
                <a:cubicBezTo>
                  <a:pt x="8217" y="2238"/>
                  <a:pt x="8816" y="2741"/>
                  <a:pt x="9152" y="3214"/>
                </a:cubicBezTo>
                <a:cubicBezTo>
                  <a:pt x="10205" y="4724"/>
                  <a:pt x="10305" y="6281"/>
                  <a:pt x="9297" y="7814"/>
                </a:cubicBezTo>
                <a:cubicBezTo>
                  <a:pt x="8250" y="9412"/>
                  <a:pt x="6623" y="10152"/>
                  <a:pt x="4573" y="9975"/>
                </a:cubicBezTo>
                <a:cubicBezTo>
                  <a:pt x="1096" y="9673"/>
                  <a:pt x="-985" y="6388"/>
                  <a:pt x="470" y="3546"/>
                </a:cubicBezTo>
                <a:cubicBezTo>
                  <a:pt x="1175" y="2166"/>
                  <a:pt x="2367" y="1303"/>
                  <a:pt x="4020" y="953"/>
                </a:cubicBezTo>
                <a:cubicBezTo>
                  <a:pt x="4199" y="912"/>
                  <a:pt x="4249" y="901"/>
                  <a:pt x="4241" y="894"/>
                </a:cubicBezTo>
                <a:cubicBezTo>
                  <a:pt x="4257" y="673"/>
                  <a:pt x="4246" y="898"/>
                  <a:pt x="4336" y="0"/>
                </a:cubicBezTo>
                <a:close/>
              </a:path>
            </a:pathLst>
          </a:custGeom>
          <a:solidFill>
            <a:schemeClr val="accent1"/>
          </a:solidFill>
          <a:ln w="1588" cap="flat">
            <a:no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endParaRPr>
          </a:p>
        </p:txBody>
      </p:sp>
      <p:sp>
        <p:nvSpPr>
          <p:cNvPr id="39" name="Rectangle 9">
            <a:extLst>
              <a:ext uri="{FF2B5EF4-FFF2-40B4-BE49-F238E27FC236}">
                <a16:creationId xmlns:a16="http://schemas.microsoft.com/office/drawing/2014/main" id="{21D833E2-10F6-4378-BE4B-0262E9BD0671}"/>
              </a:ext>
            </a:extLst>
          </p:cNvPr>
          <p:cNvSpPr>
            <a:spLocks noChangeArrowheads="1"/>
          </p:cNvSpPr>
          <p:nvPr>
            <p:custDataLst>
              <p:tags r:id="rId7"/>
            </p:custDataLst>
          </p:nvPr>
        </p:nvSpPr>
        <p:spPr bwMode="blackWhite">
          <a:xfrm>
            <a:off x="11071513" y="3602709"/>
            <a:ext cx="177934"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40" name="Rectangle 10">
            <a:extLst>
              <a:ext uri="{FF2B5EF4-FFF2-40B4-BE49-F238E27FC236}">
                <a16:creationId xmlns:a16="http://schemas.microsoft.com/office/drawing/2014/main" id="{42B75545-4D26-40B0-A078-13AB6271A4CC}"/>
              </a:ext>
            </a:extLst>
          </p:cNvPr>
          <p:cNvSpPr>
            <a:spLocks noChangeArrowheads="1"/>
          </p:cNvSpPr>
          <p:nvPr>
            <p:custDataLst>
              <p:tags r:id="rId8"/>
            </p:custDataLst>
          </p:nvPr>
        </p:nvSpPr>
        <p:spPr bwMode="blackWhite">
          <a:xfrm>
            <a:off x="10983309" y="5089087"/>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41" name="Rectangle 11">
            <a:extLst>
              <a:ext uri="{FF2B5EF4-FFF2-40B4-BE49-F238E27FC236}">
                <a16:creationId xmlns:a16="http://schemas.microsoft.com/office/drawing/2014/main" id="{2CEB5AEA-6798-4C12-9EDC-4E59EC3149D0}"/>
              </a:ext>
            </a:extLst>
          </p:cNvPr>
          <p:cNvSpPr>
            <a:spLocks noChangeArrowheads="1"/>
          </p:cNvSpPr>
          <p:nvPr>
            <p:custDataLst>
              <p:tags r:id="rId9"/>
            </p:custDataLst>
          </p:nvPr>
        </p:nvSpPr>
        <p:spPr bwMode="blackWhite">
          <a:xfrm>
            <a:off x="9847000" y="5948232"/>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42" name="Rectangle 13">
            <a:extLst>
              <a:ext uri="{FF2B5EF4-FFF2-40B4-BE49-F238E27FC236}">
                <a16:creationId xmlns:a16="http://schemas.microsoft.com/office/drawing/2014/main" id="{E210E962-B607-4EAF-B887-6089BE9CAA6B}"/>
              </a:ext>
            </a:extLst>
          </p:cNvPr>
          <p:cNvSpPr>
            <a:spLocks noChangeArrowheads="1"/>
          </p:cNvSpPr>
          <p:nvPr>
            <p:custDataLst>
              <p:tags r:id="rId10"/>
            </p:custDataLst>
          </p:nvPr>
        </p:nvSpPr>
        <p:spPr bwMode="blackWhite">
          <a:xfrm>
            <a:off x="7451253" y="4234998"/>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43" name="Rectangle 12">
            <a:extLst>
              <a:ext uri="{FF2B5EF4-FFF2-40B4-BE49-F238E27FC236}">
                <a16:creationId xmlns:a16="http://schemas.microsoft.com/office/drawing/2014/main" id="{3AA69C3B-0E61-481F-95A5-0F440E0C6D74}"/>
              </a:ext>
            </a:extLst>
          </p:cNvPr>
          <p:cNvSpPr>
            <a:spLocks noChangeArrowheads="1"/>
          </p:cNvSpPr>
          <p:nvPr>
            <p:custDataLst>
              <p:tags r:id="rId11"/>
            </p:custDataLst>
          </p:nvPr>
        </p:nvSpPr>
        <p:spPr bwMode="blackWhite">
          <a:xfrm>
            <a:off x="7632941" y="5318435"/>
            <a:ext cx="177933" cy="160813"/>
          </a:xfrm>
          <a:prstGeom prst="rect">
            <a:avLst/>
          </a:prstGeom>
          <a:noFill/>
          <a:ln w="9525">
            <a:noFill/>
            <a:miter lim="800000"/>
            <a:headEnd/>
            <a:tailEnd/>
          </a:ln>
        </p:spPr>
        <p:txBody>
          <a:bodyPr wrap="none" lIns="0" tIns="0" rIns="0" bIns="0" anchor="ctr" anchorCtr="1">
            <a:sp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grpSp>
        <p:nvGrpSpPr>
          <p:cNvPr id="44" name="Group 43">
            <a:extLst>
              <a:ext uri="{FF2B5EF4-FFF2-40B4-BE49-F238E27FC236}">
                <a16:creationId xmlns:a16="http://schemas.microsoft.com/office/drawing/2014/main" id="{5DADAA25-1F5C-4A36-AB3A-45635DB331FE}"/>
              </a:ext>
            </a:extLst>
          </p:cNvPr>
          <p:cNvGrpSpPr/>
          <p:nvPr/>
        </p:nvGrpSpPr>
        <p:grpSpPr>
          <a:xfrm>
            <a:off x="7797298" y="3764907"/>
            <a:ext cx="449707" cy="449707"/>
            <a:chOff x="3368752" y="3469032"/>
            <a:chExt cx="436680" cy="436680"/>
          </a:xfrm>
        </p:grpSpPr>
        <p:sp>
          <p:nvSpPr>
            <p:cNvPr id="45" name="Oval 44">
              <a:extLst>
                <a:ext uri="{FF2B5EF4-FFF2-40B4-BE49-F238E27FC236}">
                  <a16:creationId xmlns:a16="http://schemas.microsoft.com/office/drawing/2014/main" id="{E26FDB03-815D-4DE2-939D-D6B9F1E257A4}"/>
                </a:ext>
              </a:extLst>
            </p:cNvPr>
            <p:cNvSpPr/>
            <p:nvPr/>
          </p:nvSpPr>
          <p:spPr bwMode="gray">
            <a:xfrm>
              <a:off x="3368752" y="3469032"/>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46" name="Freeform 36">
              <a:extLst>
                <a:ext uri="{FF2B5EF4-FFF2-40B4-BE49-F238E27FC236}">
                  <a16:creationId xmlns:a16="http://schemas.microsoft.com/office/drawing/2014/main" id="{7F64D108-C40C-4CDE-9370-7019DC9BB54D}"/>
                </a:ext>
              </a:extLst>
            </p:cNvPr>
            <p:cNvSpPr>
              <a:spLocks noChangeAspect="1" noEditPoints="1"/>
            </p:cNvSpPr>
            <p:nvPr>
              <p:custDataLst>
                <p:tags r:id="rId18"/>
              </p:custDataLst>
            </p:nvPr>
          </p:nvSpPr>
          <p:spPr bwMode="auto">
            <a:xfrm>
              <a:off x="3403277" y="3503557"/>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47" name="Group 46">
            <a:extLst>
              <a:ext uri="{FF2B5EF4-FFF2-40B4-BE49-F238E27FC236}">
                <a16:creationId xmlns:a16="http://schemas.microsoft.com/office/drawing/2014/main" id="{4A3F15D6-A078-4495-B578-AF5F8CE8F2EF}"/>
              </a:ext>
            </a:extLst>
          </p:cNvPr>
          <p:cNvGrpSpPr/>
          <p:nvPr/>
        </p:nvGrpSpPr>
        <p:grpSpPr>
          <a:xfrm>
            <a:off x="8028703" y="4976105"/>
            <a:ext cx="449707" cy="449707"/>
            <a:chOff x="3529994" y="4645143"/>
            <a:chExt cx="436680" cy="436680"/>
          </a:xfrm>
        </p:grpSpPr>
        <p:sp>
          <p:nvSpPr>
            <p:cNvPr id="48" name="Oval 47">
              <a:extLst>
                <a:ext uri="{FF2B5EF4-FFF2-40B4-BE49-F238E27FC236}">
                  <a16:creationId xmlns:a16="http://schemas.microsoft.com/office/drawing/2014/main" id="{A2FC9904-E3EA-4C0D-B585-6001EAF87C41}"/>
                </a:ext>
              </a:extLst>
            </p:cNvPr>
            <p:cNvSpPr/>
            <p:nvPr/>
          </p:nvSpPr>
          <p:spPr bwMode="gray">
            <a:xfrm>
              <a:off x="3529994" y="4645143"/>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49" name="Freeform 769">
              <a:extLst>
                <a:ext uri="{FF2B5EF4-FFF2-40B4-BE49-F238E27FC236}">
                  <a16:creationId xmlns:a16="http://schemas.microsoft.com/office/drawing/2014/main" id="{0CD5EE91-C233-4A35-BC11-25FF1F7FDC88}"/>
                </a:ext>
              </a:extLst>
            </p:cNvPr>
            <p:cNvSpPr>
              <a:spLocks noChangeAspect="1" noEditPoints="1"/>
            </p:cNvSpPr>
            <p:nvPr>
              <p:custDataLst>
                <p:tags r:id="rId17"/>
              </p:custDataLst>
            </p:nvPr>
          </p:nvSpPr>
          <p:spPr bwMode="auto">
            <a:xfrm>
              <a:off x="3563802" y="4679492"/>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02 w 512"/>
                <a:gd name="T33" fmla="*/ 266 h 512"/>
                <a:gd name="T34" fmla="*/ 192 w 512"/>
                <a:gd name="T35" fmla="*/ 256 h 512"/>
                <a:gd name="T36" fmla="*/ 202 w 512"/>
                <a:gd name="T37" fmla="*/ 245 h 512"/>
                <a:gd name="T38" fmla="*/ 309 w 512"/>
                <a:gd name="T39" fmla="*/ 245 h 512"/>
                <a:gd name="T40" fmla="*/ 320 w 512"/>
                <a:gd name="T41" fmla="*/ 256 h 512"/>
                <a:gd name="T42" fmla="*/ 309 w 512"/>
                <a:gd name="T43" fmla="*/ 266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94 w 512"/>
                <a:gd name="T55" fmla="*/ 384 h 512"/>
                <a:gd name="T56" fmla="*/ 384 w 512"/>
                <a:gd name="T57" fmla="*/ 394 h 512"/>
                <a:gd name="T58" fmla="*/ 128 w 512"/>
                <a:gd name="T59" fmla="*/ 394 h 512"/>
                <a:gd name="T60" fmla="*/ 117 w 512"/>
                <a:gd name="T61" fmla="*/ 384 h 512"/>
                <a:gd name="T62" fmla="*/ 117 w 512"/>
                <a:gd name="T63" fmla="*/ 128 h 512"/>
                <a:gd name="T64" fmla="*/ 128 w 512"/>
                <a:gd name="T65" fmla="*/ 117 h 512"/>
                <a:gd name="T66" fmla="*/ 181 w 512"/>
                <a:gd name="T67" fmla="*/ 117 h 512"/>
                <a:gd name="T68" fmla="*/ 181 w 512"/>
                <a:gd name="T69" fmla="*/ 106 h 512"/>
                <a:gd name="T70" fmla="*/ 192 w 512"/>
                <a:gd name="T71" fmla="*/ 96 h 512"/>
                <a:gd name="T72" fmla="*/ 202 w 512"/>
                <a:gd name="T73" fmla="*/ 106 h 512"/>
                <a:gd name="T74" fmla="*/ 202 w 512"/>
                <a:gd name="T75" fmla="*/ 117 h 512"/>
                <a:gd name="T76" fmla="*/ 309 w 512"/>
                <a:gd name="T77" fmla="*/ 117 h 512"/>
                <a:gd name="T78" fmla="*/ 309 w 512"/>
                <a:gd name="T79" fmla="*/ 106 h 512"/>
                <a:gd name="T80" fmla="*/ 320 w 512"/>
                <a:gd name="T81" fmla="*/ 96 h 512"/>
                <a:gd name="T82" fmla="*/ 330 w 512"/>
                <a:gd name="T83" fmla="*/ 106 h 512"/>
                <a:gd name="T84" fmla="*/ 330 w 512"/>
                <a:gd name="T85" fmla="*/ 117 h 512"/>
                <a:gd name="T86" fmla="*/ 384 w 512"/>
                <a:gd name="T87" fmla="*/ 117 h 512"/>
                <a:gd name="T88" fmla="*/ 394 w 512"/>
                <a:gd name="T89" fmla="*/ 128 h 512"/>
                <a:gd name="T90" fmla="*/ 394 w 512"/>
                <a:gd name="T9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02" y="266"/>
                    <a:pt x="202" y="266"/>
                    <a:pt x="202" y="266"/>
                  </a:cubicBezTo>
                  <a:cubicBezTo>
                    <a:pt x="196" y="266"/>
                    <a:pt x="192" y="262"/>
                    <a:pt x="192" y="256"/>
                  </a:cubicBezTo>
                  <a:cubicBezTo>
                    <a:pt x="192" y="250"/>
                    <a:pt x="196" y="245"/>
                    <a:pt x="202"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50" name="Group 49">
            <a:extLst>
              <a:ext uri="{FF2B5EF4-FFF2-40B4-BE49-F238E27FC236}">
                <a16:creationId xmlns:a16="http://schemas.microsoft.com/office/drawing/2014/main" id="{C6D0C95B-C7A2-4110-A16B-B66FE0BD6E87}"/>
              </a:ext>
            </a:extLst>
          </p:cNvPr>
          <p:cNvGrpSpPr/>
          <p:nvPr/>
        </p:nvGrpSpPr>
        <p:grpSpPr>
          <a:xfrm>
            <a:off x="9097351" y="5551114"/>
            <a:ext cx="449707" cy="449707"/>
            <a:chOff x="4877886" y="5268911"/>
            <a:chExt cx="436680" cy="436680"/>
          </a:xfrm>
        </p:grpSpPr>
        <p:sp>
          <p:nvSpPr>
            <p:cNvPr id="51" name="Oval 50">
              <a:extLst>
                <a:ext uri="{FF2B5EF4-FFF2-40B4-BE49-F238E27FC236}">
                  <a16:creationId xmlns:a16="http://schemas.microsoft.com/office/drawing/2014/main" id="{260368EB-EE5D-44C3-A1A3-A43A5641FBF3}"/>
                </a:ext>
              </a:extLst>
            </p:cNvPr>
            <p:cNvSpPr/>
            <p:nvPr/>
          </p:nvSpPr>
          <p:spPr bwMode="gray">
            <a:xfrm>
              <a:off x="4877886" y="5268911"/>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52" name="Freeform 346">
              <a:extLst>
                <a:ext uri="{FF2B5EF4-FFF2-40B4-BE49-F238E27FC236}">
                  <a16:creationId xmlns:a16="http://schemas.microsoft.com/office/drawing/2014/main" id="{56751AB7-4F4E-4894-9EB6-957D8B82D966}"/>
                </a:ext>
              </a:extLst>
            </p:cNvPr>
            <p:cNvSpPr>
              <a:spLocks noChangeAspect="1" noEditPoints="1"/>
            </p:cNvSpPr>
            <p:nvPr>
              <p:custDataLst>
                <p:tags r:id="rId16"/>
              </p:custDataLst>
            </p:nvPr>
          </p:nvSpPr>
          <p:spPr bwMode="auto">
            <a:xfrm>
              <a:off x="4912411" y="5303436"/>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53" name="Group 52">
            <a:extLst>
              <a:ext uri="{FF2B5EF4-FFF2-40B4-BE49-F238E27FC236}">
                <a16:creationId xmlns:a16="http://schemas.microsoft.com/office/drawing/2014/main" id="{377E3274-09A0-4CBC-9E14-A90E0084C0D6}"/>
              </a:ext>
            </a:extLst>
          </p:cNvPr>
          <p:cNvGrpSpPr/>
          <p:nvPr/>
        </p:nvGrpSpPr>
        <p:grpSpPr>
          <a:xfrm>
            <a:off x="10399017" y="4699261"/>
            <a:ext cx="449707" cy="449707"/>
            <a:chOff x="6038573" y="4159255"/>
            <a:chExt cx="436680" cy="436680"/>
          </a:xfrm>
        </p:grpSpPr>
        <p:sp>
          <p:nvSpPr>
            <p:cNvPr id="54" name="Oval 53">
              <a:extLst>
                <a:ext uri="{FF2B5EF4-FFF2-40B4-BE49-F238E27FC236}">
                  <a16:creationId xmlns:a16="http://schemas.microsoft.com/office/drawing/2014/main" id="{A02C57B8-F788-4BFC-90B2-2ACA1198BFC9}"/>
                </a:ext>
              </a:extLst>
            </p:cNvPr>
            <p:cNvSpPr/>
            <p:nvPr/>
          </p:nvSpPr>
          <p:spPr bwMode="gray">
            <a:xfrm>
              <a:off x="6038573" y="4159255"/>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55" name="Freeform 787">
              <a:extLst>
                <a:ext uri="{FF2B5EF4-FFF2-40B4-BE49-F238E27FC236}">
                  <a16:creationId xmlns:a16="http://schemas.microsoft.com/office/drawing/2014/main" id="{DE656298-B0DE-4FEC-876C-B4AB90E733A7}"/>
                </a:ext>
              </a:extLst>
            </p:cNvPr>
            <p:cNvSpPr>
              <a:spLocks noChangeAspect="1" noEditPoints="1"/>
            </p:cNvSpPr>
            <p:nvPr>
              <p:custDataLst>
                <p:tags r:id="rId15"/>
              </p:custDataLst>
            </p:nvPr>
          </p:nvSpPr>
          <p:spPr bwMode="auto">
            <a:xfrm>
              <a:off x="6072922" y="4193604"/>
              <a:ext cx="367982"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nvGrpSpPr>
          <p:cNvPr id="56" name="Group 55">
            <a:extLst>
              <a:ext uri="{FF2B5EF4-FFF2-40B4-BE49-F238E27FC236}">
                <a16:creationId xmlns:a16="http://schemas.microsoft.com/office/drawing/2014/main" id="{83CA37D2-8581-4DA7-BA6C-2FA95AA6C556}"/>
              </a:ext>
            </a:extLst>
          </p:cNvPr>
          <p:cNvGrpSpPr/>
          <p:nvPr/>
        </p:nvGrpSpPr>
        <p:grpSpPr>
          <a:xfrm>
            <a:off x="10342069" y="3334261"/>
            <a:ext cx="449707" cy="449707"/>
            <a:chOff x="5839805" y="3050861"/>
            <a:chExt cx="436680" cy="436680"/>
          </a:xfrm>
        </p:grpSpPr>
        <p:sp>
          <p:nvSpPr>
            <p:cNvPr id="57" name="Oval 56">
              <a:extLst>
                <a:ext uri="{FF2B5EF4-FFF2-40B4-BE49-F238E27FC236}">
                  <a16:creationId xmlns:a16="http://schemas.microsoft.com/office/drawing/2014/main" id="{3C49CCDF-FE96-480C-93D1-4CB1107C5984}"/>
                </a:ext>
              </a:extLst>
            </p:cNvPr>
            <p:cNvSpPr/>
            <p:nvPr/>
          </p:nvSpPr>
          <p:spPr bwMode="gray">
            <a:xfrm>
              <a:off x="5839805" y="3050861"/>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grpSp>
          <p:nvGrpSpPr>
            <p:cNvPr id="58" name="Group 897">
              <a:extLst>
                <a:ext uri="{FF2B5EF4-FFF2-40B4-BE49-F238E27FC236}">
                  <a16:creationId xmlns:a16="http://schemas.microsoft.com/office/drawing/2014/main" id="{B6F2D327-36FC-486A-8E62-6679EAA85353}"/>
                </a:ext>
              </a:extLst>
            </p:cNvPr>
            <p:cNvGrpSpPr>
              <a:grpSpLocks noChangeAspect="1"/>
            </p:cNvGrpSpPr>
            <p:nvPr>
              <p:custDataLst>
                <p:tags r:id="rId14"/>
              </p:custDataLst>
            </p:nvPr>
          </p:nvGrpSpPr>
          <p:grpSpPr bwMode="auto">
            <a:xfrm>
              <a:off x="5875265" y="3086321"/>
              <a:ext cx="365760" cy="365760"/>
              <a:chOff x="3891" y="3455"/>
              <a:chExt cx="340" cy="340"/>
            </a:xfrm>
            <a:solidFill>
              <a:schemeClr val="accent6"/>
            </a:solidFill>
          </p:grpSpPr>
          <p:sp>
            <p:nvSpPr>
              <p:cNvPr id="59" name="Freeform 898">
                <a:extLst>
                  <a:ext uri="{FF2B5EF4-FFF2-40B4-BE49-F238E27FC236}">
                    <a16:creationId xmlns:a16="http://schemas.microsoft.com/office/drawing/2014/main" id="{6505EC83-4028-4407-A4D3-EDBE205F0E12}"/>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sp>
            <p:nvSpPr>
              <p:cNvPr id="60" name="Oval 899">
                <a:extLst>
                  <a:ext uri="{FF2B5EF4-FFF2-40B4-BE49-F238E27FC236}">
                    <a16:creationId xmlns:a16="http://schemas.microsoft.com/office/drawing/2014/main" id="{C436A445-0F34-42AC-9FDA-EBCDE28CB68B}"/>
                  </a:ext>
                </a:extLst>
              </p:cNvPr>
              <p:cNvSpPr>
                <a:spLocks noChangeArrowheads="1"/>
              </p:cNvSpPr>
              <p:nvPr/>
            </p:nvSpPr>
            <p:spPr bwMode="auto">
              <a:xfrm>
                <a:off x="3969" y="3533"/>
                <a:ext cx="113" cy="113"/>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7CB0"/>
                  </a:solidFill>
                  <a:effectLst/>
                  <a:uLnTx/>
                  <a:uFillTx/>
                  <a:latin typeface="Calibri Light"/>
                  <a:ea typeface="+mn-ea"/>
                  <a:cs typeface="Verdana" panose="020B0604030504040204" pitchFamily="34" charset="0"/>
                </a:endParaRPr>
              </a:p>
            </p:txBody>
          </p:sp>
        </p:grpSp>
      </p:grpSp>
      <p:grpSp>
        <p:nvGrpSpPr>
          <p:cNvPr id="61" name="Group 60">
            <a:extLst>
              <a:ext uri="{FF2B5EF4-FFF2-40B4-BE49-F238E27FC236}">
                <a16:creationId xmlns:a16="http://schemas.microsoft.com/office/drawing/2014/main" id="{F5DC8A87-FF45-46F4-9A87-CCCAAD77AE62}"/>
              </a:ext>
            </a:extLst>
          </p:cNvPr>
          <p:cNvGrpSpPr/>
          <p:nvPr/>
        </p:nvGrpSpPr>
        <p:grpSpPr>
          <a:xfrm>
            <a:off x="8978253" y="2720953"/>
            <a:ext cx="449707" cy="449707"/>
            <a:chOff x="4515496" y="2455320"/>
            <a:chExt cx="436680" cy="436680"/>
          </a:xfrm>
        </p:grpSpPr>
        <p:sp>
          <p:nvSpPr>
            <p:cNvPr id="62" name="Oval 61">
              <a:extLst>
                <a:ext uri="{FF2B5EF4-FFF2-40B4-BE49-F238E27FC236}">
                  <a16:creationId xmlns:a16="http://schemas.microsoft.com/office/drawing/2014/main" id="{7A13567F-BC35-4A6D-92A4-19DCF7FEB6F3}"/>
                </a:ext>
              </a:extLst>
            </p:cNvPr>
            <p:cNvSpPr/>
            <p:nvPr/>
          </p:nvSpPr>
          <p:spPr bwMode="gray">
            <a:xfrm>
              <a:off x="4515496" y="2455320"/>
              <a:ext cx="436680" cy="436680"/>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Verdana" panose="020B0604030504040204" pitchFamily="34" charset="0"/>
              </a:endParaRPr>
            </a:p>
          </p:txBody>
        </p:sp>
        <p:sp>
          <p:nvSpPr>
            <p:cNvPr id="63" name="Freeform 805">
              <a:extLst>
                <a:ext uri="{FF2B5EF4-FFF2-40B4-BE49-F238E27FC236}">
                  <a16:creationId xmlns:a16="http://schemas.microsoft.com/office/drawing/2014/main" id="{FD5546AD-4B20-4917-A475-6002099FD7D7}"/>
                </a:ext>
              </a:extLst>
            </p:cNvPr>
            <p:cNvSpPr>
              <a:spLocks noChangeAspect="1" noEditPoints="1"/>
            </p:cNvSpPr>
            <p:nvPr>
              <p:custDataLst>
                <p:tags r:id="rId13"/>
              </p:custDataLst>
            </p:nvPr>
          </p:nvSpPr>
          <p:spPr bwMode="auto">
            <a:xfrm>
              <a:off x="4549845" y="2489669"/>
              <a:ext cx="367982" cy="367982"/>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Light"/>
                <a:ea typeface="+mn-ea"/>
                <a:cs typeface="Verdana" panose="020B0604030504040204" pitchFamily="34" charset="0"/>
              </a:endParaRPr>
            </a:p>
          </p:txBody>
        </p:sp>
      </p:grpSp>
      <p:sp>
        <p:nvSpPr>
          <p:cNvPr id="64" name="Rectangle 8">
            <a:extLst>
              <a:ext uri="{FF2B5EF4-FFF2-40B4-BE49-F238E27FC236}">
                <a16:creationId xmlns:a16="http://schemas.microsoft.com/office/drawing/2014/main" id="{FBFCC419-B33A-4FF2-AD15-BBFC6055CF52}"/>
              </a:ext>
            </a:extLst>
          </p:cNvPr>
          <p:cNvSpPr>
            <a:spLocks noChangeArrowheads="1"/>
          </p:cNvSpPr>
          <p:nvPr>
            <p:custDataLst>
              <p:tags r:id="rId12"/>
            </p:custDataLst>
          </p:nvPr>
        </p:nvSpPr>
        <p:spPr bwMode="blackWhite">
          <a:xfrm>
            <a:off x="7540219" y="2569318"/>
            <a:ext cx="1469423" cy="752981"/>
          </a:xfrm>
          <a:prstGeom prst="rect">
            <a:avLst/>
          </a:prstGeom>
          <a:solidFill>
            <a:schemeClr val="bg1"/>
          </a:solidFill>
          <a:ln w="9525">
            <a:noFill/>
            <a:miter lim="800000"/>
            <a:headEnd/>
            <a:tailEnd/>
          </a:ln>
        </p:spPr>
        <p:txBody>
          <a:bodyPr wrap="square" lIns="0" tIns="0" rIns="137160" bIns="0" anchor="ctr">
            <a:noAutofit/>
          </a:bodyPr>
          <a:lstStyle/>
          <a:p>
            <a:pPr lvl="0" algn="ctr" defTabSz="590550">
              <a:lnSpc>
                <a:spcPct val="95000"/>
              </a:lnSpc>
              <a:spcBef>
                <a:spcPct val="80000"/>
              </a:spcBef>
              <a:buClr>
                <a:prstClr val="white"/>
              </a:buClr>
              <a:defRPr/>
            </a:pPr>
            <a:r>
              <a:rPr lang="en-CA" sz="1100" dirty="0">
                <a:solidFill>
                  <a:prstClr val="black"/>
                </a:solidFill>
                <a:cs typeface="Verdana" panose="020B0604030504040204" pitchFamily="34" charset="0"/>
              </a:rPr>
              <a:t>xxx</a:t>
            </a:r>
          </a:p>
        </p:txBody>
      </p:sp>
      <p:sp>
        <p:nvSpPr>
          <p:cNvPr id="65" name="Star: 5 Points 64">
            <a:extLst>
              <a:ext uri="{FF2B5EF4-FFF2-40B4-BE49-F238E27FC236}">
                <a16:creationId xmlns:a16="http://schemas.microsoft.com/office/drawing/2014/main" id="{EAFBA425-4829-45C6-ADF4-DEAECF4D210A}"/>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82863789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dirty="0"/>
              <a:t>Page subtitle</a:t>
            </a:r>
          </a:p>
        </p:txBody>
      </p:sp>
      <p:sp>
        <p:nvSpPr>
          <p:cNvPr id="3" name="Title 2"/>
          <p:cNvSpPr>
            <a:spLocks noGrp="1"/>
          </p:cNvSpPr>
          <p:nvPr>
            <p:ph type="title"/>
          </p:nvPr>
        </p:nvSpPr>
        <p:spPr/>
        <p:txBody>
          <a:bodyPr/>
          <a:lstStyle/>
          <a:p>
            <a:r>
              <a:rPr lang="en-US" dirty="0"/>
              <a:t>Project timeline</a:t>
            </a:r>
          </a:p>
        </p:txBody>
      </p:sp>
      <p:sp>
        <p:nvSpPr>
          <p:cNvPr id="20" name="TextBox 19">
            <a:extLst>
              <a:ext uri="{FF2B5EF4-FFF2-40B4-BE49-F238E27FC236}">
                <a16:creationId xmlns:a16="http://schemas.microsoft.com/office/drawing/2014/main" id="{506747C3-3C05-481E-9249-9760B4D73638}"/>
              </a:ext>
            </a:extLst>
          </p:cNvPr>
          <p:cNvSpPr txBox="1"/>
          <p:nvPr/>
        </p:nvSpPr>
        <p:spPr bwMode="gray">
          <a:xfrm>
            <a:off x="469900" y="1668094"/>
            <a:ext cx="11242991" cy="200055"/>
          </a:xfrm>
          <a:prstGeom prst="rect">
            <a:avLst/>
          </a:prstGeom>
          <a:noFill/>
        </p:spPr>
        <p:txBody>
          <a:bodyPr wrap="square" lIns="0" tIns="0" rIns="0" bIns="0" rtlCol="0">
            <a:spAutoFit/>
          </a:bodyPr>
          <a:lstStyle/>
          <a:p>
            <a:r>
              <a:rPr lang="en-US" sz="1300" dirty="0"/>
              <a:t>Table title runs here</a:t>
            </a:r>
          </a:p>
        </p:txBody>
      </p:sp>
      <p:graphicFrame>
        <p:nvGraphicFramePr>
          <p:cNvPr id="21" name="Table 20">
            <a:extLst>
              <a:ext uri="{FF2B5EF4-FFF2-40B4-BE49-F238E27FC236}">
                <a16:creationId xmlns:a16="http://schemas.microsoft.com/office/drawing/2014/main" id="{409D0114-E780-4A3A-A07D-FC15C925B73A}"/>
              </a:ext>
            </a:extLst>
          </p:cNvPr>
          <p:cNvGraphicFramePr>
            <a:graphicFrameLocks noGrp="1"/>
          </p:cNvGraphicFramePr>
          <p:nvPr>
            <p:extLst>
              <p:ext uri="{D42A27DB-BD31-4B8C-83A1-F6EECF244321}">
                <p14:modId xmlns:p14="http://schemas.microsoft.com/office/powerpoint/2010/main" val="2655601599"/>
              </p:ext>
            </p:extLst>
          </p:nvPr>
        </p:nvGraphicFramePr>
        <p:xfrm>
          <a:off x="469909" y="1852756"/>
          <a:ext cx="11350613" cy="4224495"/>
        </p:xfrm>
        <a:graphic>
          <a:graphicData uri="http://schemas.openxmlformats.org/drawingml/2006/table">
            <a:tbl>
              <a:tblPr firstRow="1" bandRow="1">
                <a:tableStyleId>{5C22544A-7EE6-4342-B048-85BDC9FD1C3A}</a:tableStyleId>
              </a:tblPr>
              <a:tblGrid>
                <a:gridCol w="2854037">
                  <a:extLst>
                    <a:ext uri="{9D8B030D-6E8A-4147-A177-3AD203B41FA5}">
                      <a16:colId xmlns:a16="http://schemas.microsoft.com/office/drawing/2014/main" val="4284568668"/>
                    </a:ext>
                  </a:extLst>
                </a:gridCol>
                <a:gridCol w="354024">
                  <a:extLst>
                    <a:ext uri="{9D8B030D-6E8A-4147-A177-3AD203B41FA5}">
                      <a16:colId xmlns:a16="http://schemas.microsoft.com/office/drawing/2014/main" val="836960948"/>
                    </a:ext>
                  </a:extLst>
                </a:gridCol>
                <a:gridCol w="354024">
                  <a:extLst>
                    <a:ext uri="{9D8B030D-6E8A-4147-A177-3AD203B41FA5}">
                      <a16:colId xmlns:a16="http://schemas.microsoft.com/office/drawing/2014/main" val="2004318409"/>
                    </a:ext>
                  </a:extLst>
                </a:gridCol>
                <a:gridCol w="354024">
                  <a:extLst>
                    <a:ext uri="{9D8B030D-6E8A-4147-A177-3AD203B41FA5}">
                      <a16:colId xmlns:a16="http://schemas.microsoft.com/office/drawing/2014/main" val="1017825163"/>
                    </a:ext>
                  </a:extLst>
                </a:gridCol>
                <a:gridCol w="354024">
                  <a:extLst>
                    <a:ext uri="{9D8B030D-6E8A-4147-A177-3AD203B41FA5}">
                      <a16:colId xmlns:a16="http://schemas.microsoft.com/office/drawing/2014/main" val="2715765131"/>
                    </a:ext>
                  </a:extLst>
                </a:gridCol>
                <a:gridCol w="354024">
                  <a:extLst>
                    <a:ext uri="{9D8B030D-6E8A-4147-A177-3AD203B41FA5}">
                      <a16:colId xmlns:a16="http://schemas.microsoft.com/office/drawing/2014/main" val="2001071721"/>
                    </a:ext>
                  </a:extLst>
                </a:gridCol>
                <a:gridCol w="354024">
                  <a:extLst>
                    <a:ext uri="{9D8B030D-6E8A-4147-A177-3AD203B41FA5}">
                      <a16:colId xmlns:a16="http://schemas.microsoft.com/office/drawing/2014/main" val="261554609"/>
                    </a:ext>
                  </a:extLst>
                </a:gridCol>
                <a:gridCol w="354024">
                  <a:extLst>
                    <a:ext uri="{9D8B030D-6E8A-4147-A177-3AD203B41FA5}">
                      <a16:colId xmlns:a16="http://schemas.microsoft.com/office/drawing/2014/main" val="1892241911"/>
                    </a:ext>
                  </a:extLst>
                </a:gridCol>
                <a:gridCol w="354024">
                  <a:extLst>
                    <a:ext uri="{9D8B030D-6E8A-4147-A177-3AD203B41FA5}">
                      <a16:colId xmlns:a16="http://schemas.microsoft.com/office/drawing/2014/main" val="3314754578"/>
                    </a:ext>
                  </a:extLst>
                </a:gridCol>
                <a:gridCol w="354024">
                  <a:extLst>
                    <a:ext uri="{9D8B030D-6E8A-4147-A177-3AD203B41FA5}">
                      <a16:colId xmlns:a16="http://schemas.microsoft.com/office/drawing/2014/main" val="3950544124"/>
                    </a:ext>
                  </a:extLst>
                </a:gridCol>
                <a:gridCol w="354024">
                  <a:extLst>
                    <a:ext uri="{9D8B030D-6E8A-4147-A177-3AD203B41FA5}">
                      <a16:colId xmlns:a16="http://schemas.microsoft.com/office/drawing/2014/main" val="2182457792"/>
                    </a:ext>
                  </a:extLst>
                </a:gridCol>
                <a:gridCol w="354024">
                  <a:extLst>
                    <a:ext uri="{9D8B030D-6E8A-4147-A177-3AD203B41FA5}">
                      <a16:colId xmlns:a16="http://schemas.microsoft.com/office/drawing/2014/main" val="2759418153"/>
                    </a:ext>
                  </a:extLst>
                </a:gridCol>
                <a:gridCol w="354024">
                  <a:extLst>
                    <a:ext uri="{9D8B030D-6E8A-4147-A177-3AD203B41FA5}">
                      <a16:colId xmlns:a16="http://schemas.microsoft.com/office/drawing/2014/main" val="1229282592"/>
                    </a:ext>
                  </a:extLst>
                </a:gridCol>
                <a:gridCol w="354024">
                  <a:extLst>
                    <a:ext uri="{9D8B030D-6E8A-4147-A177-3AD203B41FA5}">
                      <a16:colId xmlns:a16="http://schemas.microsoft.com/office/drawing/2014/main" val="721608108"/>
                    </a:ext>
                  </a:extLst>
                </a:gridCol>
                <a:gridCol w="354024">
                  <a:extLst>
                    <a:ext uri="{9D8B030D-6E8A-4147-A177-3AD203B41FA5}">
                      <a16:colId xmlns:a16="http://schemas.microsoft.com/office/drawing/2014/main" val="1579713459"/>
                    </a:ext>
                  </a:extLst>
                </a:gridCol>
                <a:gridCol w="354024">
                  <a:extLst>
                    <a:ext uri="{9D8B030D-6E8A-4147-A177-3AD203B41FA5}">
                      <a16:colId xmlns:a16="http://schemas.microsoft.com/office/drawing/2014/main" val="1739190514"/>
                    </a:ext>
                  </a:extLst>
                </a:gridCol>
                <a:gridCol w="354024">
                  <a:extLst>
                    <a:ext uri="{9D8B030D-6E8A-4147-A177-3AD203B41FA5}">
                      <a16:colId xmlns:a16="http://schemas.microsoft.com/office/drawing/2014/main" val="2171498321"/>
                    </a:ext>
                  </a:extLst>
                </a:gridCol>
                <a:gridCol w="354024">
                  <a:extLst>
                    <a:ext uri="{9D8B030D-6E8A-4147-A177-3AD203B41FA5}">
                      <a16:colId xmlns:a16="http://schemas.microsoft.com/office/drawing/2014/main" val="2804590845"/>
                    </a:ext>
                  </a:extLst>
                </a:gridCol>
                <a:gridCol w="354024">
                  <a:extLst>
                    <a:ext uri="{9D8B030D-6E8A-4147-A177-3AD203B41FA5}">
                      <a16:colId xmlns:a16="http://schemas.microsoft.com/office/drawing/2014/main" val="3502522299"/>
                    </a:ext>
                  </a:extLst>
                </a:gridCol>
                <a:gridCol w="354024">
                  <a:extLst>
                    <a:ext uri="{9D8B030D-6E8A-4147-A177-3AD203B41FA5}">
                      <a16:colId xmlns:a16="http://schemas.microsoft.com/office/drawing/2014/main" val="1066764142"/>
                    </a:ext>
                  </a:extLst>
                </a:gridCol>
                <a:gridCol w="354024">
                  <a:extLst>
                    <a:ext uri="{9D8B030D-6E8A-4147-A177-3AD203B41FA5}">
                      <a16:colId xmlns:a16="http://schemas.microsoft.com/office/drawing/2014/main" val="1054838701"/>
                    </a:ext>
                  </a:extLst>
                </a:gridCol>
                <a:gridCol w="354024">
                  <a:extLst>
                    <a:ext uri="{9D8B030D-6E8A-4147-A177-3AD203B41FA5}">
                      <a16:colId xmlns:a16="http://schemas.microsoft.com/office/drawing/2014/main" val="2589886849"/>
                    </a:ext>
                  </a:extLst>
                </a:gridCol>
                <a:gridCol w="354024">
                  <a:extLst>
                    <a:ext uri="{9D8B030D-6E8A-4147-A177-3AD203B41FA5}">
                      <a16:colId xmlns:a16="http://schemas.microsoft.com/office/drawing/2014/main" val="3657955512"/>
                    </a:ext>
                  </a:extLst>
                </a:gridCol>
                <a:gridCol w="354024">
                  <a:extLst>
                    <a:ext uri="{9D8B030D-6E8A-4147-A177-3AD203B41FA5}">
                      <a16:colId xmlns:a16="http://schemas.microsoft.com/office/drawing/2014/main" val="1245657576"/>
                    </a:ext>
                  </a:extLst>
                </a:gridCol>
                <a:gridCol w="354024">
                  <a:extLst>
                    <a:ext uri="{9D8B030D-6E8A-4147-A177-3AD203B41FA5}">
                      <a16:colId xmlns:a16="http://schemas.microsoft.com/office/drawing/2014/main" val="2065718407"/>
                    </a:ext>
                  </a:extLst>
                </a:gridCol>
              </a:tblGrid>
              <a:tr h="265003">
                <a:tc>
                  <a:txBody>
                    <a:bodyPr/>
                    <a:lstStyle/>
                    <a:p>
                      <a:endParaRPr lang="en-GB" sz="1300" b="0" dirty="0">
                        <a:solidFill>
                          <a:schemeClr val="tx1"/>
                        </a:solidFill>
                      </a:endParaRP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4">
                  <a:txBody>
                    <a:bodyPr/>
                    <a:lstStyle/>
                    <a:p>
                      <a:pPr algn="ctr"/>
                      <a:r>
                        <a:rPr lang="en-GB" sz="1300" b="0" dirty="0">
                          <a:solidFill>
                            <a:schemeClr val="tx1"/>
                          </a:solidFill>
                        </a:rPr>
                        <a:t>August</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300" b="0" dirty="0">
                          <a:solidFill>
                            <a:schemeClr val="tx1"/>
                          </a:solidFill>
                        </a:rPr>
                        <a:t>Septem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5">
                  <a:txBody>
                    <a:bodyPr/>
                    <a:lstStyle/>
                    <a:p>
                      <a:pPr algn="ctr"/>
                      <a:r>
                        <a:rPr lang="en-GB" sz="1300" b="0" dirty="0">
                          <a:solidFill>
                            <a:schemeClr val="tx1"/>
                          </a:solidFill>
                        </a:rPr>
                        <a:t>Octo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300" b="0" dirty="0">
                          <a:solidFill>
                            <a:schemeClr val="tx1"/>
                          </a:solidFill>
                        </a:rPr>
                        <a:t>Novem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3">
                  <a:txBody>
                    <a:bodyPr/>
                    <a:lstStyle/>
                    <a:p>
                      <a:pPr algn="ctr"/>
                      <a:r>
                        <a:rPr lang="en-GB" sz="1300" b="0" dirty="0">
                          <a:solidFill>
                            <a:schemeClr val="tx1"/>
                          </a:solidFill>
                        </a:rPr>
                        <a:t>December</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gridSpan="4">
                  <a:txBody>
                    <a:bodyPr/>
                    <a:lstStyle/>
                    <a:p>
                      <a:pPr algn="ctr"/>
                      <a:r>
                        <a:rPr lang="en-GB" sz="1300" b="0" dirty="0">
                          <a:solidFill>
                            <a:schemeClr val="tx1"/>
                          </a:solidFill>
                        </a:rPr>
                        <a:t>January</a:t>
                      </a:r>
                    </a:p>
                  </a:txBody>
                  <a:tcPr marL="36000" marR="36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tc hMerge="1">
                  <a:txBody>
                    <a:bodyPr/>
                    <a:lstStyle/>
                    <a:p>
                      <a:endParaRPr lang="en-GB" sz="800" b="0" dirty="0"/>
                    </a:p>
                  </a:txBody>
                  <a:tcPr marL="36000" marR="36000" marT="36000" marB="36000" anchor="ctr"/>
                </a:tc>
                <a:extLst>
                  <a:ext uri="{0D108BD9-81ED-4DB2-BD59-A6C34878D82A}">
                    <a16:rowId xmlns:a16="http://schemas.microsoft.com/office/drawing/2014/main" val="1576951222"/>
                  </a:ext>
                </a:extLst>
              </a:tr>
              <a:tr h="265003">
                <a:tc>
                  <a:txBody>
                    <a:bodyPr/>
                    <a:lstStyle/>
                    <a:p>
                      <a:endParaRPr lang="en-GB" sz="1300" b="0" dirty="0">
                        <a:solidFill>
                          <a:schemeClr val="tx1"/>
                        </a:solidFill>
                      </a:endParaRP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8</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5</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2</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9</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5</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2</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9</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6</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3</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0</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7</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4</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31</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7</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4</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1</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8</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5</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2</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9</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a:t>
                      </a:r>
                    </a:p>
                  </a:txBody>
                  <a:tcPr marL="36000" marR="36000" marT="36000" marB="36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9</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16</a:t>
                      </a:r>
                    </a:p>
                  </a:txBody>
                  <a:tcPr marL="36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300" b="0" dirty="0">
                          <a:solidFill>
                            <a:schemeClr val="tx1"/>
                          </a:solidFill>
                        </a:rPr>
                        <a:t>23</a:t>
                      </a:r>
                    </a:p>
                  </a:txBody>
                  <a:tcPr marL="36000" marR="36000" marT="36000" marB="36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98908177"/>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1: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2488464"/>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1338347"/>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5344956"/>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2: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0455852"/>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066683"/>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5832365"/>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3: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9346808"/>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7364659"/>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504253"/>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4: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5257486"/>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1424317"/>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7312721"/>
                  </a:ext>
                </a:extLst>
              </a:tr>
              <a:tr h="245617">
                <a:tc>
                  <a:txBody>
                    <a:bodyPr/>
                    <a:lstStyle/>
                    <a:p>
                      <a:pPr marL="0" indent="0">
                        <a:lnSpc>
                          <a:spcPct val="100000"/>
                        </a:lnSpc>
                        <a:spcBef>
                          <a:spcPts val="300"/>
                        </a:spcBef>
                        <a:buFont typeface="Arial" panose="020B0604020202020204" pitchFamily="34" charset="0"/>
                        <a:buNone/>
                      </a:pPr>
                      <a:r>
                        <a:rPr lang="en-US" sz="1300" b="1" dirty="0">
                          <a:solidFill>
                            <a:schemeClr val="tx1"/>
                          </a:solidFill>
                          <a:latin typeface="+mn-lt"/>
                        </a:rPr>
                        <a:t>Stage 5: </a:t>
                      </a:r>
                      <a:r>
                        <a:rPr lang="en-US" sz="1300" dirty="0">
                          <a:solidFill>
                            <a:schemeClr val="tx1"/>
                          </a:solidFill>
                          <a:latin typeface="+mn-lt"/>
                        </a:rPr>
                        <a:t>Stage description</a:t>
                      </a: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3349255"/>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9415919"/>
                  </a:ext>
                </a:extLst>
              </a:tr>
              <a:tr h="245617">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300" dirty="0">
                          <a:solidFill>
                            <a:schemeClr val="tx1"/>
                          </a:solidFill>
                          <a:latin typeface="+mn-lt"/>
                        </a:rPr>
                        <a:t>Activity detail</a:t>
                      </a: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12700" cmpd="sng">
                      <a:noFill/>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dirty="0">
                        <a:solidFill>
                          <a:schemeClr val="tx1"/>
                        </a:solidFill>
                      </a:endParaRPr>
                    </a:p>
                  </a:txBody>
                  <a:tcPr marL="0" marR="0" marT="18000" marB="1800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959485"/>
                  </a:ext>
                </a:extLst>
              </a:tr>
            </a:tbl>
          </a:graphicData>
        </a:graphic>
      </p:graphicFrame>
      <p:sp>
        <p:nvSpPr>
          <p:cNvPr id="22" name="Rectangle 21">
            <a:extLst>
              <a:ext uri="{FF2B5EF4-FFF2-40B4-BE49-F238E27FC236}">
                <a16:creationId xmlns:a16="http://schemas.microsoft.com/office/drawing/2014/main" id="{610DF13F-122E-4BDF-868C-FDF427A26570}"/>
              </a:ext>
            </a:extLst>
          </p:cNvPr>
          <p:cNvSpPr/>
          <p:nvPr/>
        </p:nvSpPr>
        <p:spPr bwMode="gray">
          <a:xfrm>
            <a:off x="4400536" y="2771422"/>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7F1A30F3-BBAF-49F4-8E54-C2AEB5698573}"/>
              </a:ext>
            </a:extLst>
          </p:cNvPr>
          <p:cNvSpPr/>
          <p:nvPr/>
        </p:nvSpPr>
        <p:spPr bwMode="gray">
          <a:xfrm>
            <a:off x="5173788" y="3021132"/>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826E2B74-FDD3-4239-A23A-0F14C4B6CC05}"/>
              </a:ext>
            </a:extLst>
          </p:cNvPr>
          <p:cNvSpPr/>
          <p:nvPr/>
        </p:nvSpPr>
        <p:spPr bwMode="gray">
          <a:xfrm>
            <a:off x="5692102" y="3522784"/>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56CB5726-8C8B-453F-BD6D-5E5F3B5A2F69}"/>
              </a:ext>
            </a:extLst>
          </p:cNvPr>
          <p:cNvSpPr/>
          <p:nvPr/>
        </p:nvSpPr>
        <p:spPr bwMode="gray">
          <a:xfrm>
            <a:off x="6216966" y="3726802"/>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39">
            <a:extLst>
              <a:ext uri="{FF2B5EF4-FFF2-40B4-BE49-F238E27FC236}">
                <a16:creationId xmlns:a16="http://schemas.microsoft.com/office/drawing/2014/main" id="{AD77CE0E-3B0D-4F61-81A0-929E208C1920}"/>
              </a:ext>
            </a:extLst>
          </p:cNvPr>
          <p:cNvSpPr/>
          <p:nvPr/>
        </p:nvSpPr>
        <p:spPr bwMode="gray">
          <a:xfrm>
            <a:off x="6468966" y="4238807"/>
            <a:ext cx="52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EFE1A507-B04E-4919-A6D8-293DC833B163}"/>
              </a:ext>
            </a:extLst>
          </p:cNvPr>
          <p:cNvSpPr/>
          <p:nvPr/>
        </p:nvSpPr>
        <p:spPr bwMode="gray">
          <a:xfrm>
            <a:off x="6987544" y="4465597"/>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a:extLst>
              <a:ext uri="{FF2B5EF4-FFF2-40B4-BE49-F238E27FC236}">
                <a16:creationId xmlns:a16="http://schemas.microsoft.com/office/drawing/2014/main" id="{FC2562A0-647E-4CC8-89A2-60A7D9E2C9B2}"/>
              </a:ext>
            </a:extLst>
          </p:cNvPr>
          <p:cNvSpPr/>
          <p:nvPr/>
        </p:nvSpPr>
        <p:spPr bwMode="gray">
          <a:xfrm>
            <a:off x="7239544" y="4958653"/>
            <a:ext cx="774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4D1D7740-1E6D-4DBC-9FDA-406426B04226}"/>
              </a:ext>
            </a:extLst>
          </p:cNvPr>
          <p:cNvSpPr/>
          <p:nvPr/>
        </p:nvSpPr>
        <p:spPr bwMode="gray">
          <a:xfrm>
            <a:off x="8021402" y="5157548"/>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EBB5731A-2A85-48A5-B5F3-E37C750725CF}"/>
              </a:ext>
            </a:extLst>
          </p:cNvPr>
          <p:cNvSpPr/>
          <p:nvPr/>
        </p:nvSpPr>
        <p:spPr bwMode="gray">
          <a:xfrm>
            <a:off x="8310432" y="5686919"/>
            <a:ext cx="1026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69E259D8-B668-4667-A7E6-B68E89B57E1D}"/>
              </a:ext>
            </a:extLst>
          </p:cNvPr>
          <p:cNvSpPr/>
          <p:nvPr/>
        </p:nvSpPr>
        <p:spPr bwMode="gray">
          <a:xfrm>
            <a:off x="9336432" y="5893410"/>
            <a:ext cx="252000" cy="9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Oval 45">
            <a:extLst>
              <a:ext uri="{FF2B5EF4-FFF2-40B4-BE49-F238E27FC236}">
                <a16:creationId xmlns:a16="http://schemas.microsoft.com/office/drawing/2014/main" id="{756FA861-729B-44C4-A8BE-4011CC6B9E84}"/>
              </a:ext>
            </a:extLst>
          </p:cNvPr>
          <p:cNvSpPr/>
          <p:nvPr/>
        </p:nvSpPr>
        <p:spPr bwMode="gray">
          <a:xfrm>
            <a:off x="6558916" y="3734422"/>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a:extLst>
              <a:ext uri="{FF2B5EF4-FFF2-40B4-BE49-F238E27FC236}">
                <a16:creationId xmlns:a16="http://schemas.microsoft.com/office/drawing/2014/main" id="{C23AC008-C509-4690-8778-857C7BD0B10B}"/>
              </a:ext>
            </a:extLst>
          </p:cNvPr>
          <p:cNvSpPr/>
          <p:nvPr/>
        </p:nvSpPr>
        <p:spPr bwMode="gray">
          <a:xfrm>
            <a:off x="8310432" y="5167512"/>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47">
            <a:extLst>
              <a:ext uri="{FF2B5EF4-FFF2-40B4-BE49-F238E27FC236}">
                <a16:creationId xmlns:a16="http://schemas.microsoft.com/office/drawing/2014/main" id="{1099605F-8FE7-45C6-937F-D87586B2B5F9}"/>
              </a:ext>
            </a:extLst>
          </p:cNvPr>
          <p:cNvSpPr/>
          <p:nvPr/>
        </p:nvSpPr>
        <p:spPr bwMode="gray">
          <a:xfrm>
            <a:off x="9283632" y="6149500"/>
            <a:ext cx="90000" cy="90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49" name="Rectangle 48">
            <a:extLst>
              <a:ext uri="{FF2B5EF4-FFF2-40B4-BE49-F238E27FC236}">
                <a16:creationId xmlns:a16="http://schemas.microsoft.com/office/drawing/2014/main" id="{A68D1411-1F1B-4701-84E4-28D2493A0595}"/>
              </a:ext>
            </a:extLst>
          </p:cNvPr>
          <p:cNvSpPr/>
          <p:nvPr/>
        </p:nvSpPr>
        <p:spPr bwMode="gray">
          <a:xfrm>
            <a:off x="9419769" y="6117556"/>
            <a:ext cx="610745" cy="153888"/>
          </a:xfrm>
          <a:prstGeom prst="rect">
            <a:avLst/>
          </a:prstGeom>
        </p:spPr>
        <p:txBody>
          <a:bodyPr wrap="none" lIns="0" tIns="0" rIns="0" bIns="0">
            <a:noAutofit/>
          </a:bodyPr>
          <a:lstStyle/>
          <a:p>
            <a:r>
              <a:rPr lang="en-US" sz="1000" dirty="0">
                <a:solidFill>
                  <a:schemeClr val="tx1">
                    <a:lumMod val="65000"/>
                    <a:lumOff val="35000"/>
                  </a:schemeClr>
                </a:solidFill>
              </a:rPr>
              <a:t>Milestone</a:t>
            </a:r>
          </a:p>
        </p:txBody>
      </p:sp>
    </p:spTree>
    <p:extLst>
      <p:ext uri="{BB962C8B-B14F-4D97-AF65-F5344CB8AC3E}">
        <p14:creationId xmlns:p14="http://schemas.microsoft.com/office/powerpoint/2010/main" val="3983786201"/>
      </p:ext>
    </p:extLst>
  </p:cSld>
  <p:clrMapOvr>
    <a:masterClrMapping/>
  </p:clrMapOvr>
  <p:transition>
    <p:fade/>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075216-13E6-4489-9986-CF27B18AF3ED}"/>
              </a:ext>
            </a:extLst>
          </p:cNvPr>
          <p:cNvSpPr>
            <a:spLocks noGrp="1"/>
          </p:cNvSpPr>
          <p:nvPr>
            <p:ph type="title"/>
          </p:nvPr>
        </p:nvSpPr>
        <p:spPr/>
        <p:txBody>
          <a:bodyPr/>
          <a:lstStyle/>
          <a:p>
            <a:r>
              <a:rPr lang="en-US" dirty="0"/>
              <a:t>3D target</a:t>
            </a:r>
          </a:p>
        </p:txBody>
      </p:sp>
      <p:sp>
        <p:nvSpPr>
          <p:cNvPr id="5" name="Rectangle 4">
            <a:extLst>
              <a:ext uri="{FF2B5EF4-FFF2-40B4-BE49-F238E27FC236}">
                <a16:creationId xmlns:a16="http://schemas.microsoft.com/office/drawing/2014/main" id="{12913DD4-BACB-4A71-B238-4C61857CAFA9}"/>
              </a:ext>
            </a:extLst>
          </p:cNvPr>
          <p:cNvSpPr/>
          <p:nvPr/>
        </p:nvSpPr>
        <p:spPr bwMode="gray">
          <a:xfrm>
            <a:off x="1473795" y="2235488"/>
            <a:ext cx="3970803" cy="552760"/>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Text</a:t>
            </a:r>
          </a:p>
        </p:txBody>
      </p:sp>
      <p:sp>
        <p:nvSpPr>
          <p:cNvPr id="6" name="Rectangle 5">
            <a:extLst>
              <a:ext uri="{FF2B5EF4-FFF2-40B4-BE49-F238E27FC236}">
                <a16:creationId xmlns:a16="http://schemas.microsoft.com/office/drawing/2014/main" id="{C58E6AAD-877D-4F4E-A31F-075259DFD6D2}"/>
              </a:ext>
            </a:extLst>
          </p:cNvPr>
          <p:cNvSpPr/>
          <p:nvPr/>
        </p:nvSpPr>
        <p:spPr bwMode="gray">
          <a:xfrm>
            <a:off x="1473795" y="3560185"/>
            <a:ext cx="3970803" cy="55276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Text</a:t>
            </a:r>
          </a:p>
        </p:txBody>
      </p:sp>
      <p:sp>
        <p:nvSpPr>
          <p:cNvPr id="7" name="Rectangle 6">
            <a:extLst>
              <a:ext uri="{FF2B5EF4-FFF2-40B4-BE49-F238E27FC236}">
                <a16:creationId xmlns:a16="http://schemas.microsoft.com/office/drawing/2014/main" id="{8D8EA3AC-3D8D-414B-85C7-FBB54976A624}"/>
              </a:ext>
            </a:extLst>
          </p:cNvPr>
          <p:cNvSpPr/>
          <p:nvPr/>
        </p:nvSpPr>
        <p:spPr bwMode="gray">
          <a:xfrm>
            <a:off x="1473795" y="5000838"/>
            <a:ext cx="3970803" cy="552760"/>
          </a:xfrm>
          <a:prstGeom prst="rect">
            <a:avLst/>
          </a:prstGeom>
          <a:solidFill>
            <a:schemeClr val="accent6"/>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Text</a:t>
            </a:r>
          </a:p>
        </p:txBody>
      </p:sp>
      <p:sp>
        <p:nvSpPr>
          <p:cNvPr id="8" name="Oval 7">
            <a:extLst>
              <a:ext uri="{FF2B5EF4-FFF2-40B4-BE49-F238E27FC236}">
                <a16:creationId xmlns:a16="http://schemas.microsoft.com/office/drawing/2014/main" id="{E134A711-2E66-4896-A2AC-45444B0CC8B3}"/>
              </a:ext>
            </a:extLst>
          </p:cNvPr>
          <p:cNvSpPr>
            <a:spLocks noChangeAspect="1"/>
          </p:cNvSpPr>
          <p:nvPr/>
        </p:nvSpPr>
        <p:spPr bwMode="gray">
          <a:xfrm>
            <a:off x="6364673" y="1352558"/>
            <a:ext cx="4908510" cy="4908511"/>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grpSp>
        <p:nvGrpSpPr>
          <p:cNvPr id="9" name="Group 8">
            <a:extLst>
              <a:ext uri="{FF2B5EF4-FFF2-40B4-BE49-F238E27FC236}">
                <a16:creationId xmlns:a16="http://schemas.microsoft.com/office/drawing/2014/main" id="{DDC4D8F7-18F5-4E68-A656-1A7541154C13}"/>
              </a:ext>
            </a:extLst>
          </p:cNvPr>
          <p:cNvGrpSpPr/>
          <p:nvPr/>
        </p:nvGrpSpPr>
        <p:grpSpPr>
          <a:xfrm>
            <a:off x="6362216" y="1350101"/>
            <a:ext cx="4913424" cy="4913424"/>
            <a:chOff x="2538415" y="228600"/>
            <a:chExt cx="4064000" cy="4064000"/>
          </a:xfrm>
        </p:grpSpPr>
        <p:sp>
          <p:nvSpPr>
            <p:cNvPr id="10" name="Arc 9">
              <a:extLst>
                <a:ext uri="{FF2B5EF4-FFF2-40B4-BE49-F238E27FC236}">
                  <a16:creationId xmlns:a16="http://schemas.microsoft.com/office/drawing/2014/main" id="{C13800A4-5CC4-426E-9952-67FA6AAA4CCE}"/>
                </a:ext>
              </a:extLst>
            </p:cNvPr>
            <p:cNvSpPr/>
            <p:nvPr/>
          </p:nvSpPr>
          <p:spPr>
            <a:xfrm flipH="1">
              <a:off x="2538415" y="228600"/>
              <a:ext cx="4064000" cy="4064000"/>
            </a:xfrm>
            <a:prstGeom prst="arc">
              <a:avLst>
                <a:gd name="adj1" fmla="val 5399082"/>
                <a:gd name="adj2" fmla="val 16200068"/>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Arc 10">
              <a:extLst>
                <a:ext uri="{FF2B5EF4-FFF2-40B4-BE49-F238E27FC236}">
                  <a16:creationId xmlns:a16="http://schemas.microsoft.com/office/drawing/2014/main" id="{5DE79213-F4E2-4CB3-B155-85D25661211E}"/>
                </a:ext>
              </a:extLst>
            </p:cNvPr>
            <p:cNvSpPr/>
            <p:nvPr/>
          </p:nvSpPr>
          <p:spPr>
            <a:xfrm>
              <a:off x="3096365" y="228600"/>
              <a:ext cx="2956722" cy="4064000"/>
            </a:xfrm>
            <a:prstGeom prst="arc">
              <a:avLst>
                <a:gd name="adj1" fmla="val 5399082"/>
                <a:gd name="adj2" fmla="val 16200068"/>
              </a:avLst>
            </a:prstGeom>
            <a:solidFill>
              <a:schemeClr val="bg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2" name="Group 11">
            <a:extLst>
              <a:ext uri="{FF2B5EF4-FFF2-40B4-BE49-F238E27FC236}">
                <a16:creationId xmlns:a16="http://schemas.microsoft.com/office/drawing/2014/main" id="{F8B7BEAF-7E79-4F55-95B6-84A965BAB39A}"/>
              </a:ext>
            </a:extLst>
          </p:cNvPr>
          <p:cNvGrpSpPr/>
          <p:nvPr/>
        </p:nvGrpSpPr>
        <p:grpSpPr>
          <a:xfrm>
            <a:off x="7031572" y="2019457"/>
            <a:ext cx="3574712" cy="3574712"/>
            <a:chOff x="4191617" y="228600"/>
            <a:chExt cx="4064000" cy="4064000"/>
          </a:xfrm>
        </p:grpSpPr>
        <p:sp>
          <p:nvSpPr>
            <p:cNvPr id="13" name="Arc 12">
              <a:extLst>
                <a:ext uri="{FF2B5EF4-FFF2-40B4-BE49-F238E27FC236}">
                  <a16:creationId xmlns:a16="http://schemas.microsoft.com/office/drawing/2014/main" id="{E6D7EFD1-0CE6-43FA-9A9D-52BA62D9CCCE}"/>
                </a:ext>
              </a:extLst>
            </p:cNvPr>
            <p:cNvSpPr/>
            <p:nvPr/>
          </p:nvSpPr>
          <p:spPr>
            <a:xfrm flipH="1">
              <a:off x="4191617" y="228600"/>
              <a:ext cx="4064000" cy="4064000"/>
            </a:xfrm>
            <a:prstGeom prst="arc">
              <a:avLst>
                <a:gd name="adj1" fmla="val 5399082"/>
                <a:gd name="adj2" fmla="val 16200068"/>
              </a:avLst>
            </a:prstGeom>
            <a:solidFill>
              <a:schemeClr val="accent1">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Arc 13">
              <a:extLst>
                <a:ext uri="{FF2B5EF4-FFF2-40B4-BE49-F238E27FC236}">
                  <a16:creationId xmlns:a16="http://schemas.microsoft.com/office/drawing/2014/main" id="{8CFFB2EA-E238-4B7C-B86F-CFB29D35F29D}"/>
                </a:ext>
              </a:extLst>
            </p:cNvPr>
            <p:cNvSpPr/>
            <p:nvPr/>
          </p:nvSpPr>
          <p:spPr>
            <a:xfrm>
              <a:off x="4745256" y="228600"/>
              <a:ext cx="2956722" cy="4064000"/>
            </a:xfrm>
            <a:prstGeom prst="arc">
              <a:avLst>
                <a:gd name="adj1" fmla="val 5399082"/>
                <a:gd name="adj2" fmla="val 16200068"/>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5" name="Group 14">
            <a:extLst>
              <a:ext uri="{FF2B5EF4-FFF2-40B4-BE49-F238E27FC236}">
                <a16:creationId xmlns:a16="http://schemas.microsoft.com/office/drawing/2014/main" id="{1CD66D3B-4CBE-4182-923B-298E39213BDC}"/>
              </a:ext>
            </a:extLst>
          </p:cNvPr>
          <p:cNvGrpSpPr/>
          <p:nvPr/>
        </p:nvGrpSpPr>
        <p:grpSpPr>
          <a:xfrm>
            <a:off x="7866951" y="2854837"/>
            <a:ext cx="1903952" cy="1903952"/>
            <a:chOff x="4191617" y="228600"/>
            <a:chExt cx="4064000" cy="4064000"/>
          </a:xfrm>
          <a:solidFill>
            <a:srgbClr val="DDEFE8"/>
          </a:solidFill>
        </p:grpSpPr>
        <p:sp>
          <p:nvSpPr>
            <p:cNvPr id="16" name="Arc 15">
              <a:extLst>
                <a:ext uri="{FF2B5EF4-FFF2-40B4-BE49-F238E27FC236}">
                  <a16:creationId xmlns:a16="http://schemas.microsoft.com/office/drawing/2014/main" id="{19CA5E75-53C5-48F1-89BF-E4D5E3E126D2}"/>
                </a:ext>
              </a:extLst>
            </p:cNvPr>
            <p:cNvSpPr/>
            <p:nvPr/>
          </p:nvSpPr>
          <p:spPr>
            <a:xfrm flipH="1">
              <a:off x="4191617" y="228600"/>
              <a:ext cx="4064000" cy="4064000"/>
            </a:xfrm>
            <a:prstGeom prst="arc">
              <a:avLst>
                <a:gd name="adj1" fmla="val 5399082"/>
                <a:gd name="adj2" fmla="val 16200068"/>
              </a:avLst>
            </a:prstGeom>
            <a:solidFill>
              <a:schemeClr val="accent6">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Arc 16">
              <a:extLst>
                <a:ext uri="{FF2B5EF4-FFF2-40B4-BE49-F238E27FC236}">
                  <a16:creationId xmlns:a16="http://schemas.microsoft.com/office/drawing/2014/main" id="{C94E0DFA-C5A9-4BAF-8D11-1C2D5A8A0F38}"/>
                </a:ext>
              </a:extLst>
            </p:cNvPr>
            <p:cNvSpPr/>
            <p:nvPr/>
          </p:nvSpPr>
          <p:spPr>
            <a:xfrm>
              <a:off x="4745256" y="228600"/>
              <a:ext cx="2956722" cy="4064000"/>
            </a:xfrm>
            <a:prstGeom prst="arc">
              <a:avLst>
                <a:gd name="adj1" fmla="val 5399082"/>
                <a:gd name="adj2" fmla="val 16200068"/>
              </a:avLst>
            </a:prstGeom>
            <a:solidFill>
              <a:schemeClr val="accent6"/>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8" name="Group 854">
            <a:extLst>
              <a:ext uri="{FF2B5EF4-FFF2-40B4-BE49-F238E27FC236}">
                <a16:creationId xmlns:a16="http://schemas.microsoft.com/office/drawing/2014/main" id="{21AFDB75-EC3C-4F4D-BB71-25B17A6DB939}"/>
              </a:ext>
            </a:extLst>
          </p:cNvPr>
          <p:cNvGrpSpPr>
            <a:grpSpLocks noChangeAspect="1"/>
          </p:cNvGrpSpPr>
          <p:nvPr>
            <p:custDataLst>
              <p:tags r:id="rId1"/>
            </p:custDataLst>
          </p:nvPr>
        </p:nvGrpSpPr>
        <p:grpSpPr bwMode="auto">
          <a:xfrm>
            <a:off x="9015313" y="3583342"/>
            <a:ext cx="446943" cy="446943"/>
            <a:chOff x="3903" y="3039"/>
            <a:chExt cx="340" cy="340"/>
          </a:xfrm>
          <a:solidFill>
            <a:schemeClr val="bg1"/>
          </a:solidFill>
        </p:grpSpPr>
        <p:sp>
          <p:nvSpPr>
            <p:cNvPr id="19" name="Oval 855">
              <a:extLst>
                <a:ext uri="{FF2B5EF4-FFF2-40B4-BE49-F238E27FC236}">
                  <a16:creationId xmlns:a16="http://schemas.microsoft.com/office/drawing/2014/main" id="{5388409A-9D56-4B7F-938F-41E702B988DC}"/>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0" name="Rectangle 856">
              <a:extLst>
                <a:ext uri="{FF2B5EF4-FFF2-40B4-BE49-F238E27FC236}">
                  <a16:creationId xmlns:a16="http://schemas.microsoft.com/office/drawing/2014/main" id="{7D6AEC99-7ADA-43B8-A34F-6746E1DCFC4D}"/>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1" name="Freeform 857">
              <a:extLst>
                <a:ext uri="{FF2B5EF4-FFF2-40B4-BE49-F238E27FC236}">
                  <a16:creationId xmlns:a16="http://schemas.microsoft.com/office/drawing/2014/main" id="{B4C769C3-CAE2-4804-83F4-BE970ACE2C60}"/>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2" name="Oval 858">
              <a:extLst>
                <a:ext uri="{FF2B5EF4-FFF2-40B4-BE49-F238E27FC236}">
                  <a16:creationId xmlns:a16="http://schemas.microsoft.com/office/drawing/2014/main" id="{407A7204-E7E3-40CF-A412-2C47019F3D1D}"/>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3" name="Oval 859">
              <a:extLst>
                <a:ext uri="{FF2B5EF4-FFF2-40B4-BE49-F238E27FC236}">
                  <a16:creationId xmlns:a16="http://schemas.microsoft.com/office/drawing/2014/main" id="{8B991DFC-C589-469C-AADA-6B218BCD4C0E}"/>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4" name="Rectangle 860">
              <a:extLst>
                <a:ext uri="{FF2B5EF4-FFF2-40B4-BE49-F238E27FC236}">
                  <a16:creationId xmlns:a16="http://schemas.microsoft.com/office/drawing/2014/main" id="{EE986873-CB81-4E01-9537-1D93E0A9EF44}"/>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5" name="Freeform 861">
              <a:extLst>
                <a:ext uri="{FF2B5EF4-FFF2-40B4-BE49-F238E27FC236}">
                  <a16:creationId xmlns:a16="http://schemas.microsoft.com/office/drawing/2014/main" id="{EBD9EF6C-701D-4ADE-BB7C-3CD429D3359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sp>
        <p:nvSpPr>
          <p:cNvPr id="26" name="Freeform 737">
            <a:extLst>
              <a:ext uri="{FF2B5EF4-FFF2-40B4-BE49-F238E27FC236}">
                <a16:creationId xmlns:a16="http://schemas.microsoft.com/office/drawing/2014/main" id="{F1571A7D-2CE8-41A9-8F00-BD93213613F1}"/>
              </a:ext>
            </a:extLst>
          </p:cNvPr>
          <p:cNvSpPr>
            <a:spLocks noChangeAspect="1" noEditPoints="1"/>
          </p:cNvSpPr>
          <p:nvPr>
            <p:custDataLst>
              <p:tags r:id="rId2"/>
            </p:custDataLst>
          </p:nvPr>
        </p:nvSpPr>
        <p:spPr bwMode="auto">
          <a:xfrm>
            <a:off x="9972351" y="3583342"/>
            <a:ext cx="443757" cy="4450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7" name="Freeform 910">
            <a:extLst>
              <a:ext uri="{FF2B5EF4-FFF2-40B4-BE49-F238E27FC236}">
                <a16:creationId xmlns:a16="http://schemas.microsoft.com/office/drawing/2014/main" id="{24879F60-9589-4B8F-BB83-79F0574ADB3F}"/>
              </a:ext>
            </a:extLst>
          </p:cNvPr>
          <p:cNvSpPr>
            <a:spLocks noChangeAspect="1" noEditPoints="1"/>
          </p:cNvSpPr>
          <p:nvPr>
            <p:custDataLst>
              <p:tags r:id="rId3"/>
            </p:custDataLst>
          </p:nvPr>
        </p:nvSpPr>
        <p:spPr bwMode="auto">
          <a:xfrm>
            <a:off x="10732801" y="3583342"/>
            <a:ext cx="443757" cy="443757"/>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grpSp>
        <p:nvGrpSpPr>
          <p:cNvPr id="28" name="Group 27">
            <a:extLst>
              <a:ext uri="{FF2B5EF4-FFF2-40B4-BE49-F238E27FC236}">
                <a16:creationId xmlns:a16="http://schemas.microsoft.com/office/drawing/2014/main" id="{FF13283C-CDA8-4356-9177-E5E451E4A5AF}"/>
              </a:ext>
            </a:extLst>
          </p:cNvPr>
          <p:cNvGrpSpPr>
            <a:grpSpLocks noChangeAspect="1"/>
          </p:cNvGrpSpPr>
          <p:nvPr>
            <p:custDataLst>
              <p:tags r:id="rId4"/>
            </p:custDataLst>
          </p:nvPr>
        </p:nvGrpSpPr>
        <p:grpSpPr>
          <a:xfrm>
            <a:off x="584004" y="1967097"/>
            <a:ext cx="911122" cy="1079401"/>
            <a:chOff x="3525926" y="2604211"/>
            <a:chExt cx="1887322" cy="2235900"/>
          </a:xfrm>
        </p:grpSpPr>
        <p:sp>
          <p:nvSpPr>
            <p:cNvPr id="29" name="Freeform 36">
              <a:extLst>
                <a:ext uri="{FF2B5EF4-FFF2-40B4-BE49-F238E27FC236}">
                  <a16:creationId xmlns:a16="http://schemas.microsoft.com/office/drawing/2014/main" id="{3A7D4B62-36BA-4286-9CA8-7C44CC923341}"/>
                </a:ext>
              </a:extLst>
            </p:cNvPr>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tx1">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sp>
          <p:nvSpPr>
            <p:cNvPr id="30" name="Freeform 37">
              <a:extLst>
                <a:ext uri="{FF2B5EF4-FFF2-40B4-BE49-F238E27FC236}">
                  <a16:creationId xmlns:a16="http://schemas.microsoft.com/office/drawing/2014/main" id="{B78CB210-F836-4667-904B-365899AD60E7}"/>
                </a:ext>
              </a:extLst>
            </p:cNvPr>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sp>
          <p:nvSpPr>
            <p:cNvPr id="31" name="Freeform 38">
              <a:extLst>
                <a:ext uri="{FF2B5EF4-FFF2-40B4-BE49-F238E27FC236}">
                  <a16:creationId xmlns:a16="http://schemas.microsoft.com/office/drawing/2014/main" id="{BC146B95-E46A-4BE0-8947-C71540683E20}"/>
                </a:ext>
              </a:extLst>
            </p:cNvPr>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grpSp>
      <p:grpSp>
        <p:nvGrpSpPr>
          <p:cNvPr id="32" name="Group 31">
            <a:extLst>
              <a:ext uri="{FF2B5EF4-FFF2-40B4-BE49-F238E27FC236}">
                <a16:creationId xmlns:a16="http://schemas.microsoft.com/office/drawing/2014/main" id="{997A973A-051D-4BB3-A3A9-E214CC593CF1}"/>
              </a:ext>
            </a:extLst>
          </p:cNvPr>
          <p:cNvGrpSpPr>
            <a:grpSpLocks noChangeAspect="1"/>
          </p:cNvGrpSpPr>
          <p:nvPr>
            <p:custDataLst>
              <p:tags r:id="rId5"/>
            </p:custDataLst>
          </p:nvPr>
        </p:nvGrpSpPr>
        <p:grpSpPr>
          <a:xfrm>
            <a:off x="584004" y="3291794"/>
            <a:ext cx="911122" cy="1079401"/>
            <a:chOff x="3525926" y="2604211"/>
            <a:chExt cx="1887322" cy="2235900"/>
          </a:xfrm>
        </p:grpSpPr>
        <p:sp>
          <p:nvSpPr>
            <p:cNvPr id="33" name="Freeform 41">
              <a:extLst>
                <a:ext uri="{FF2B5EF4-FFF2-40B4-BE49-F238E27FC236}">
                  <a16:creationId xmlns:a16="http://schemas.microsoft.com/office/drawing/2014/main" id="{C7B90AC1-7448-43D8-8D75-F7AF82ED6727}"/>
                </a:ext>
              </a:extLst>
            </p:cNvPr>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sp>
          <p:nvSpPr>
            <p:cNvPr id="34" name="Freeform 42">
              <a:extLst>
                <a:ext uri="{FF2B5EF4-FFF2-40B4-BE49-F238E27FC236}">
                  <a16:creationId xmlns:a16="http://schemas.microsoft.com/office/drawing/2014/main" id="{C166294E-D9BD-4762-A061-B95D9C302B12}"/>
                </a:ext>
              </a:extLst>
            </p:cNvPr>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53565A"/>
                </a:solidFill>
                <a:effectLst/>
                <a:uLnTx/>
                <a:uFillTx/>
                <a:latin typeface="Calibri"/>
                <a:ea typeface="+mn-ea"/>
                <a:cs typeface="+mn-cs"/>
              </a:endParaRPr>
            </a:p>
          </p:txBody>
        </p:sp>
        <p:sp>
          <p:nvSpPr>
            <p:cNvPr id="35" name="Freeform 43">
              <a:extLst>
                <a:ext uri="{FF2B5EF4-FFF2-40B4-BE49-F238E27FC236}">
                  <a16:creationId xmlns:a16="http://schemas.microsoft.com/office/drawing/2014/main" id="{669FC364-9F1C-404E-87D9-570FECC5D6B4}"/>
                </a:ext>
              </a:extLst>
            </p:cNvPr>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grpSp>
      <p:grpSp>
        <p:nvGrpSpPr>
          <p:cNvPr id="36" name="Group 35">
            <a:extLst>
              <a:ext uri="{FF2B5EF4-FFF2-40B4-BE49-F238E27FC236}">
                <a16:creationId xmlns:a16="http://schemas.microsoft.com/office/drawing/2014/main" id="{9FDFA656-017B-4D9E-AA10-7231AEFB9331}"/>
              </a:ext>
            </a:extLst>
          </p:cNvPr>
          <p:cNvGrpSpPr>
            <a:grpSpLocks noChangeAspect="1"/>
          </p:cNvGrpSpPr>
          <p:nvPr>
            <p:custDataLst>
              <p:tags r:id="rId6"/>
            </p:custDataLst>
          </p:nvPr>
        </p:nvGrpSpPr>
        <p:grpSpPr>
          <a:xfrm>
            <a:off x="584004" y="4732447"/>
            <a:ext cx="911122" cy="1079401"/>
            <a:chOff x="3525926" y="2604211"/>
            <a:chExt cx="1887322" cy="2235900"/>
          </a:xfrm>
        </p:grpSpPr>
        <p:sp>
          <p:nvSpPr>
            <p:cNvPr id="37" name="Freeform 46">
              <a:extLst>
                <a:ext uri="{FF2B5EF4-FFF2-40B4-BE49-F238E27FC236}">
                  <a16:creationId xmlns:a16="http://schemas.microsoft.com/office/drawing/2014/main" id="{128B5616-B7F0-4166-AFD8-43F9874DDEBD}"/>
                </a:ext>
              </a:extLst>
            </p:cNvPr>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53565A"/>
                </a:solidFill>
                <a:effectLst/>
                <a:uLnTx/>
                <a:uFillTx/>
                <a:latin typeface="Calibri"/>
                <a:ea typeface="+mn-ea"/>
                <a:cs typeface="+mn-cs"/>
              </a:endParaRPr>
            </a:p>
          </p:txBody>
        </p:sp>
        <p:sp>
          <p:nvSpPr>
            <p:cNvPr id="38" name="Freeform 47">
              <a:extLst>
                <a:ext uri="{FF2B5EF4-FFF2-40B4-BE49-F238E27FC236}">
                  <a16:creationId xmlns:a16="http://schemas.microsoft.com/office/drawing/2014/main" id="{1CC7304E-2327-41D6-81CA-F11C79BA80CB}"/>
                </a:ext>
              </a:extLst>
            </p:cNvPr>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53565A"/>
                </a:solidFill>
                <a:effectLst/>
                <a:uLnTx/>
                <a:uFillTx/>
                <a:latin typeface="Calibri"/>
                <a:ea typeface="+mn-ea"/>
                <a:cs typeface="+mn-cs"/>
              </a:endParaRPr>
            </a:p>
          </p:txBody>
        </p:sp>
        <p:sp>
          <p:nvSpPr>
            <p:cNvPr id="39" name="Freeform 48">
              <a:extLst>
                <a:ext uri="{FF2B5EF4-FFF2-40B4-BE49-F238E27FC236}">
                  <a16:creationId xmlns:a16="http://schemas.microsoft.com/office/drawing/2014/main" id="{615F1D61-12E0-4512-B822-CC0206C9D2AB}"/>
                </a:ext>
              </a:extLst>
            </p:cNvPr>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53565A"/>
                </a:solidFill>
                <a:effectLst/>
                <a:uLnTx/>
                <a:uFillTx/>
                <a:latin typeface="Calibri"/>
                <a:ea typeface="+mn-ea"/>
                <a:cs typeface="+mn-cs"/>
              </a:endParaRPr>
            </a:p>
          </p:txBody>
        </p:sp>
      </p:grpSp>
      <p:sp>
        <p:nvSpPr>
          <p:cNvPr id="40" name="Star: 5 Points 39">
            <a:extLst>
              <a:ext uri="{FF2B5EF4-FFF2-40B4-BE49-F238E27FC236}">
                <a16:creationId xmlns:a16="http://schemas.microsoft.com/office/drawing/2014/main" id="{12A13C92-F8A0-4A1A-9019-DE4F0CEADE9F}"/>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4043756019"/>
      </p:ext>
    </p:extLst>
  </p:cSld>
  <p:clrMapOvr>
    <a:masterClrMapping/>
  </p:clrMapOvr>
  <p:transition>
    <p:fade/>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075216-13E6-4489-9986-CF27B18AF3ED}"/>
              </a:ext>
            </a:extLst>
          </p:cNvPr>
          <p:cNvSpPr>
            <a:spLocks noGrp="1"/>
          </p:cNvSpPr>
          <p:nvPr>
            <p:ph type="title"/>
          </p:nvPr>
        </p:nvSpPr>
        <p:spPr/>
        <p:txBody>
          <a:bodyPr/>
          <a:lstStyle/>
          <a:p>
            <a:r>
              <a:rPr lang="en-US" dirty="0"/>
              <a:t>Stacked levels</a:t>
            </a:r>
          </a:p>
        </p:txBody>
      </p:sp>
      <p:grpSp>
        <p:nvGrpSpPr>
          <p:cNvPr id="40" name="Group 39">
            <a:extLst>
              <a:ext uri="{FF2B5EF4-FFF2-40B4-BE49-F238E27FC236}">
                <a16:creationId xmlns:a16="http://schemas.microsoft.com/office/drawing/2014/main" id="{9538D967-88F0-4855-B9A7-C3ECD264D887}"/>
              </a:ext>
            </a:extLst>
          </p:cNvPr>
          <p:cNvGrpSpPr/>
          <p:nvPr/>
        </p:nvGrpSpPr>
        <p:grpSpPr>
          <a:xfrm>
            <a:off x="1793078" y="1813244"/>
            <a:ext cx="3573178" cy="4266144"/>
            <a:chOff x="420422" y="1879634"/>
            <a:chExt cx="3573178" cy="4266144"/>
          </a:xfrm>
        </p:grpSpPr>
        <p:sp>
          <p:nvSpPr>
            <p:cNvPr id="41" name="Parallelogram 40">
              <a:extLst>
                <a:ext uri="{FF2B5EF4-FFF2-40B4-BE49-F238E27FC236}">
                  <a16:creationId xmlns:a16="http://schemas.microsoft.com/office/drawing/2014/main" id="{3D2B2390-3FDA-4D1B-B822-A6ABB0F600E7}"/>
                </a:ext>
              </a:extLst>
            </p:cNvPr>
            <p:cNvSpPr/>
            <p:nvPr/>
          </p:nvSpPr>
          <p:spPr>
            <a:xfrm rot="300000">
              <a:off x="420422" y="5316507"/>
              <a:ext cx="3573178" cy="829271"/>
            </a:xfrm>
            <a:prstGeom prst="parallelogram">
              <a:avLst>
                <a:gd name="adj" fmla="val 129308"/>
              </a:avLst>
            </a:prstGeom>
            <a:solidFill>
              <a:srgbClr val="00000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r>
                <a:rPr kumimoji="0" lang="en-US" sz="1200" b="0" i="0" u="none" strike="noStrike" kern="1200" cap="none" spc="0" normalizeH="0" baseline="0" noProof="0" dirty="0">
                  <a:ln>
                    <a:noFill/>
                  </a:ln>
                  <a:solidFill>
                    <a:srgbClr val="FFFFFF"/>
                  </a:solidFill>
                  <a:effectLst/>
                  <a:uLnTx/>
                  <a:uFillTx/>
                  <a:latin typeface="Calibri Light"/>
                  <a:ea typeface="Verdana" panose="020B0604030504040204" pitchFamily="34" charset="0"/>
                  <a:cs typeface="Verdana" panose="020B0604030504040204" pitchFamily="34" charset="0"/>
                </a:rPr>
                <a:t>Network Data </a:t>
              </a:r>
              <a:r>
                <a:rPr kumimoji="0" lang="en-US" sz="1200" b="0" i="0" u="none" strike="noStrike" kern="1200" cap="none" spc="0" normalizeH="0" baseline="0" noProof="0" dirty="0" err="1">
                  <a:ln>
                    <a:noFill/>
                  </a:ln>
                  <a:solidFill>
                    <a:srgbClr val="FFFFFF"/>
                  </a:solidFill>
                  <a:effectLst/>
                  <a:uLnTx/>
                  <a:uFillTx/>
                  <a:latin typeface="Calibri Light"/>
                  <a:ea typeface="Verdana" panose="020B0604030504040204" pitchFamily="34" charset="0"/>
                  <a:cs typeface="Verdana" panose="020B0604030504040204" pitchFamily="34" charset="0"/>
                </a:rPr>
                <a:t>Synchr</a:t>
              </a:r>
              <a:r>
                <a:rPr lang="en-US" sz="1200" dirty="0">
                  <a:solidFill>
                    <a:srgbClr val="FFFFFF"/>
                  </a:solidFill>
                  <a:ea typeface="Verdana" panose="020B0604030504040204" pitchFamily="34" charset="0"/>
                  <a:cs typeface="Verdana" panose="020B0604030504040204" pitchFamily="34" charset="0"/>
                </a:rPr>
                <a:t>Lorem ips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FFFFFF"/>
                  </a:solidFill>
                  <a:effectLst/>
                  <a:uLnTx/>
                  <a:uFillTx/>
                  <a:latin typeface="Calibri Light"/>
                  <a:ea typeface="Verdana" panose="020B0604030504040204" pitchFamily="34" charset="0"/>
                  <a:cs typeface="Verdana" panose="020B0604030504040204" pitchFamily="34" charset="0"/>
                </a:rPr>
                <a:t>onization</a:t>
              </a:r>
              <a:endParaRPr kumimoji="0" lang="en-US" sz="1200" b="0" i="0" u="none" strike="noStrike" kern="1200" cap="none" spc="0" normalizeH="0" baseline="0" noProof="0" dirty="0">
                <a:ln>
                  <a:noFill/>
                </a:ln>
                <a:solidFill>
                  <a:srgbClr val="FFFFFF"/>
                </a:solidFill>
                <a:effectLst/>
                <a:uLnTx/>
                <a:uFillTx/>
                <a:latin typeface="Calibri Light"/>
                <a:ea typeface="Verdana" panose="020B0604030504040204" pitchFamily="34" charset="0"/>
                <a:cs typeface="Verdana" panose="020B0604030504040204" pitchFamily="34" charset="0"/>
              </a:endParaRPr>
            </a:p>
          </p:txBody>
        </p:sp>
        <p:sp>
          <p:nvSpPr>
            <p:cNvPr id="42" name="Parallelogram 41">
              <a:extLst>
                <a:ext uri="{FF2B5EF4-FFF2-40B4-BE49-F238E27FC236}">
                  <a16:creationId xmlns:a16="http://schemas.microsoft.com/office/drawing/2014/main" id="{42671341-22E9-4A37-8E58-852D9C81D5AA}"/>
                </a:ext>
              </a:extLst>
            </p:cNvPr>
            <p:cNvSpPr/>
            <p:nvPr/>
          </p:nvSpPr>
          <p:spPr>
            <a:xfrm rot="300000">
              <a:off x="420422" y="4643110"/>
              <a:ext cx="3573178" cy="829271"/>
            </a:xfrm>
            <a:prstGeom prst="parallelogram">
              <a:avLst>
                <a:gd name="adj" fmla="val 129308"/>
              </a:avLst>
            </a:prstGeom>
            <a:solidFill>
              <a:srgbClr val="404040">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FFFFFF"/>
                  </a:solidFill>
                  <a:ea typeface="Verdana" panose="020B0604030504040204" pitchFamily="34" charset="0"/>
                  <a:cs typeface="Verdana" panose="020B0604030504040204" pitchFamily="34" charset="0"/>
                </a:rPr>
                <a:t>Lorem ipsum </a:t>
              </a:r>
            </a:p>
          </p:txBody>
        </p:sp>
        <p:sp>
          <p:nvSpPr>
            <p:cNvPr id="43" name="Parallelogram 42">
              <a:extLst>
                <a:ext uri="{FF2B5EF4-FFF2-40B4-BE49-F238E27FC236}">
                  <a16:creationId xmlns:a16="http://schemas.microsoft.com/office/drawing/2014/main" id="{C0AAFE0C-8015-4685-97DF-C3803293EE51}"/>
                </a:ext>
              </a:extLst>
            </p:cNvPr>
            <p:cNvSpPr/>
            <p:nvPr/>
          </p:nvSpPr>
          <p:spPr>
            <a:xfrm rot="300000">
              <a:off x="420422" y="3969714"/>
              <a:ext cx="3573178" cy="829271"/>
            </a:xfrm>
            <a:prstGeom prst="parallelogram">
              <a:avLst>
                <a:gd name="adj" fmla="val 129308"/>
              </a:avLst>
            </a:prstGeom>
            <a:solidFill>
              <a:srgbClr val="7F7F7F">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FFFFFF"/>
                  </a:solidFill>
                  <a:ea typeface="Verdana" panose="020B0604030504040204" pitchFamily="34" charset="0"/>
                  <a:cs typeface="Verdana" panose="020B0604030504040204" pitchFamily="34" charset="0"/>
                </a:rPr>
                <a:t>Lorem ipsum </a:t>
              </a:r>
            </a:p>
          </p:txBody>
        </p:sp>
        <p:sp>
          <p:nvSpPr>
            <p:cNvPr id="44" name="Parallelogram 43">
              <a:extLst>
                <a:ext uri="{FF2B5EF4-FFF2-40B4-BE49-F238E27FC236}">
                  <a16:creationId xmlns:a16="http://schemas.microsoft.com/office/drawing/2014/main" id="{673DD155-7E43-4BD5-94D4-BD92FF8C5FB7}"/>
                </a:ext>
              </a:extLst>
            </p:cNvPr>
            <p:cNvSpPr/>
            <p:nvPr/>
          </p:nvSpPr>
          <p:spPr>
            <a:xfrm rot="300000">
              <a:off x="420422" y="3296318"/>
              <a:ext cx="3573178" cy="829271"/>
            </a:xfrm>
            <a:prstGeom prst="parallelogram">
              <a:avLst>
                <a:gd name="adj" fmla="val 129308"/>
              </a:avLst>
            </a:prstGeom>
            <a:solidFill>
              <a:schemeClr val="accent1">
                <a:lumMod val="40000"/>
                <a:lumOff val="6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Lorem ipsum </a:t>
              </a:r>
            </a:p>
          </p:txBody>
        </p:sp>
        <p:sp>
          <p:nvSpPr>
            <p:cNvPr id="45" name="Parallelogram 44">
              <a:extLst>
                <a:ext uri="{FF2B5EF4-FFF2-40B4-BE49-F238E27FC236}">
                  <a16:creationId xmlns:a16="http://schemas.microsoft.com/office/drawing/2014/main" id="{28C8DA03-D75B-4C31-BBD8-7C786D0D6F67}"/>
                </a:ext>
              </a:extLst>
            </p:cNvPr>
            <p:cNvSpPr/>
            <p:nvPr/>
          </p:nvSpPr>
          <p:spPr>
            <a:xfrm rot="300000">
              <a:off x="420422" y="2622922"/>
              <a:ext cx="3573178" cy="829271"/>
            </a:xfrm>
            <a:prstGeom prst="parallelogram">
              <a:avLst>
                <a:gd name="adj" fmla="val 129308"/>
              </a:avLst>
            </a:prstGeom>
            <a:solidFill>
              <a:schemeClr val="accent1">
                <a:lumMod val="60000"/>
                <a:lumOff val="4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Lorem ipsum </a:t>
              </a:r>
            </a:p>
          </p:txBody>
        </p:sp>
        <p:sp>
          <p:nvSpPr>
            <p:cNvPr id="46" name="Parallelogram 45">
              <a:extLst>
                <a:ext uri="{FF2B5EF4-FFF2-40B4-BE49-F238E27FC236}">
                  <a16:creationId xmlns:a16="http://schemas.microsoft.com/office/drawing/2014/main" id="{B1137AB4-79AA-408C-B526-A05DFCDA81BC}"/>
                </a:ext>
              </a:extLst>
            </p:cNvPr>
            <p:cNvSpPr/>
            <p:nvPr/>
          </p:nvSpPr>
          <p:spPr>
            <a:xfrm rot="300000">
              <a:off x="420422" y="1879634"/>
              <a:ext cx="3573178" cy="829271"/>
            </a:xfrm>
            <a:prstGeom prst="parallelogram">
              <a:avLst>
                <a:gd name="adj" fmla="val 129308"/>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Lorem ipsum </a:t>
              </a:r>
            </a:p>
          </p:txBody>
        </p:sp>
      </p:grpSp>
      <p:grpSp>
        <p:nvGrpSpPr>
          <p:cNvPr id="47" name="Group 46">
            <a:extLst>
              <a:ext uri="{FF2B5EF4-FFF2-40B4-BE49-F238E27FC236}">
                <a16:creationId xmlns:a16="http://schemas.microsoft.com/office/drawing/2014/main" id="{3BCD6E99-6562-4656-AB7B-001EFBE0EF35}"/>
              </a:ext>
            </a:extLst>
          </p:cNvPr>
          <p:cNvGrpSpPr/>
          <p:nvPr/>
        </p:nvGrpSpPr>
        <p:grpSpPr>
          <a:xfrm>
            <a:off x="1334256" y="2035985"/>
            <a:ext cx="517129" cy="3921223"/>
            <a:chOff x="163376" y="2485321"/>
            <a:chExt cx="517129" cy="3538277"/>
          </a:xfrm>
        </p:grpSpPr>
        <p:sp>
          <p:nvSpPr>
            <p:cNvPr id="48" name="Oval 47">
              <a:extLst>
                <a:ext uri="{FF2B5EF4-FFF2-40B4-BE49-F238E27FC236}">
                  <a16:creationId xmlns:a16="http://schemas.microsoft.com/office/drawing/2014/main" id="{43CA98C9-9C83-477F-8855-EB20C6FA2CD4}"/>
                </a:ext>
              </a:extLst>
            </p:cNvPr>
            <p:cNvSpPr/>
            <p:nvPr/>
          </p:nvSpPr>
          <p:spPr>
            <a:xfrm>
              <a:off x="163376" y="2485321"/>
              <a:ext cx="517129" cy="3538277"/>
            </a:xfrm>
            <a:prstGeom prst="ellipse">
              <a:avLst/>
            </a:prstGeom>
            <a:noFill/>
            <a:ln w="1270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Light"/>
                <a:ea typeface="Verdana" panose="020B0604030504040204" pitchFamily="34" charset="0"/>
                <a:cs typeface="Verdana" panose="020B0604030504040204" pitchFamily="34" charset="0"/>
              </a:endParaRPr>
            </a:p>
          </p:txBody>
        </p:sp>
        <p:sp>
          <p:nvSpPr>
            <p:cNvPr id="49" name="TextBox 48">
              <a:extLst>
                <a:ext uri="{FF2B5EF4-FFF2-40B4-BE49-F238E27FC236}">
                  <a16:creationId xmlns:a16="http://schemas.microsoft.com/office/drawing/2014/main" id="{A15802E2-0FAA-4D1E-B61A-757B9CA2616D}"/>
                </a:ext>
              </a:extLst>
            </p:cNvPr>
            <p:cNvSpPr txBox="1"/>
            <p:nvPr/>
          </p:nvSpPr>
          <p:spPr>
            <a:xfrm rot="16200000">
              <a:off x="-327408" y="4035451"/>
              <a:ext cx="1488303" cy="461665"/>
            </a:xfrm>
            <a:prstGeom prst="rect">
              <a:avLst/>
            </a:prstGeom>
            <a:solidFill>
              <a:schemeClr val="bg1">
                <a:alpha val="30000"/>
              </a:schemeClr>
            </a:solidFill>
          </p:spPr>
          <p:txBody>
            <a:bodyPr wrap="square" rtlCol="0">
              <a:spAutoFit/>
            </a:bodyPr>
            <a:lstStyle/>
            <a:p>
              <a:pPr lvl="0" algn="ctr">
                <a:defRPr/>
              </a:pPr>
              <a:r>
                <a:rPr lang="en-US" sz="1200" dirty="0">
                  <a:solidFill>
                    <a:srgbClr val="000000"/>
                  </a:solidFill>
                  <a:ea typeface="Verdana" panose="020B0604030504040204" pitchFamily="34" charset="0"/>
                  <a:cs typeface="Verdana" panose="020B0604030504040204" pitchFamily="34" charset="0"/>
                </a:rPr>
                <a:t>Lorem ipsum </a:t>
              </a:r>
            </a:p>
            <a:p>
              <a:pPr lvl="0" algn="ctr">
                <a:defRPr/>
              </a:pPr>
              <a:endParaRPr lang="en-US" sz="1200" dirty="0">
                <a:solidFill>
                  <a:srgbClr val="000000"/>
                </a:solidFill>
                <a:ea typeface="Verdana" panose="020B0604030504040204" pitchFamily="34" charset="0"/>
                <a:cs typeface="Verdana" panose="020B0604030504040204" pitchFamily="34" charset="0"/>
              </a:endParaRPr>
            </a:p>
          </p:txBody>
        </p:sp>
        <p:cxnSp>
          <p:nvCxnSpPr>
            <p:cNvPr id="50" name="Elbow Connector 13">
              <a:extLst>
                <a:ext uri="{FF2B5EF4-FFF2-40B4-BE49-F238E27FC236}">
                  <a16:creationId xmlns:a16="http://schemas.microsoft.com/office/drawing/2014/main" id="{B7996EE7-18F3-44E1-8F53-9982BC4AF4AD}"/>
                </a:ext>
              </a:extLst>
            </p:cNvPr>
            <p:cNvCxnSpPr/>
            <p:nvPr/>
          </p:nvCxnSpPr>
          <p:spPr>
            <a:xfrm rot="5400000">
              <a:off x="128794" y="4245315"/>
              <a:ext cx="73152" cy="0"/>
            </a:xfrm>
            <a:prstGeom prst="bentConnector3">
              <a:avLst/>
            </a:prstGeom>
            <a:ln w="2857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grpSp>
      <p:cxnSp>
        <p:nvCxnSpPr>
          <p:cNvPr id="51" name="Straight Connector 50">
            <a:extLst>
              <a:ext uri="{FF2B5EF4-FFF2-40B4-BE49-F238E27FC236}">
                <a16:creationId xmlns:a16="http://schemas.microsoft.com/office/drawing/2014/main" id="{D179B4C5-B0AC-4983-98BC-19D4DA3810A4}"/>
              </a:ext>
            </a:extLst>
          </p:cNvPr>
          <p:cNvCxnSpPr/>
          <p:nvPr/>
        </p:nvCxnSpPr>
        <p:spPr>
          <a:xfrm>
            <a:off x="1065067" y="1599476"/>
            <a:ext cx="4206240"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a16="http://schemas.microsoft.com/office/drawing/2014/main" id="{A37D605E-19D9-45C7-AD40-89E032189BAF}"/>
              </a:ext>
            </a:extLst>
          </p:cNvPr>
          <p:cNvSpPr txBox="1"/>
          <p:nvPr/>
        </p:nvSpPr>
        <p:spPr>
          <a:xfrm>
            <a:off x="1065067" y="1395194"/>
            <a:ext cx="836960" cy="184666"/>
          </a:xfrm>
          <a:prstGeom prst="rect">
            <a:avLst/>
          </a:prstGeom>
          <a:noFill/>
        </p:spPr>
        <p:txBody>
          <a:bodyPr wrap="none" lIns="0" tIns="0" rIns="0" bIns="0" rtlCol="0">
            <a:spAutoFit/>
          </a:bodyPr>
          <a:lstStyle/>
          <a:p>
            <a:pPr lvl="0">
              <a:defRPr/>
            </a:pPr>
            <a:r>
              <a:rPr lang="en-US" sz="1200" dirty="0">
                <a:solidFill>
                  <a:srgbClr val="000000"/>
                </a:solidFill>
                <a:ea typeface="Verdana" panose="020B0604030504040204" pitchFamily="34" charset="0"/>
                <a:cs typeface="Verdana" panose="020B0604030504040204" pitchFamily="34" charset="0"/>
              </a:rPr>
              <a:t>Lorem ipsum </a:t>
            </a:r>
          </a:p>
        </p:txBody>
      </p:sp>
      <p:cxnSp>
        <p:nvCxnSpPr>
          <p:cNvPr id="53" name="Straight Connector 52">
            <a:extLst>
              <a:ext uri="{FF2B5EF4-FFF2-40B4-BE49-F238E27FC236}">
                <a16:creationId xmlns:a16="http://schemas.microsoft.com/office/drawing/2014/main" id="{C6EE9C1E-52BD-4993-AB98-8696ADE5E5DF}"/>
              </a:ext>
            </a:extLst>
          </p:cNvPr>
          <p:cNvCxnSpPr/>
          <p:nvPr/>
        </p:nvCxnSpPr>
        <p:spPr>
          <a:xfrm>
            <a:off x="5639174" y="1599476"/>
            <a:ext cx="6053328"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4" name="TextBox 53">
            <a:extLst>
              <a:ext uri="{FF2B5EF4-FFF2-40B4-BE49-F238E27FC236}">
                <a16:creationId xmlns:a16="http://schemas.microsoft.com/office/drawing/2014/main" id="{27910DF8-27C3-412A-AFE8-EA971A57B0AB}"/>
              </a:ext>
            </a:extLst>
          </p:cNvPr>
          <p:cNvSpPr txBox="1"/>
          <p:nvPr/>
        </p:nvSpPr>
        <p:spPr>
          <a:xfrm>
            <a:off x="5639174" y="1395194"/>
            <a:ext cx="836960" cy="184666"/>
          </a:xfrm>
          <a:prstGeom prst="rect">
            <a:avLst/>
          </a:prstGeom>
          <a:noFill/>
          <a:ln>
            <a:noFill/>
          </a:ln>
        </p:spPr>
        <p:txBody>
          <a:bodyPr wrap="none" lIns="0" tIns="0" rIns="0" bIns="0" rtlCol="0">
            <a:spAutoFit/>
          </a:bodyPr>
          <a:lstStyle/>
          <a:p>
            <a:pPr lvl="0">
              <a:defRPr/>
            </a:pPr>
            <a:r>
              <a:rPr lang="en-US" sz="1200" dirty="0">
                <a:solidFill>
                  <a:srgbClr val="000000"/>
                </a:solidFill>
                <a:ea typeface="Verdana" panose="020B0604030504040204" pitchFamily="34" charset="0"/>
                <a:cs typeface="Verdana" panose="020B0604030504040204" pitchFamily="34" charset="0"/>
              </a:rPr>
              <a:t>Lorem ipsum </a:t>
            </a:r>
          </a:p>
        </p:txBody>
      </p:sp>
      <p:graphicFrame>
        <p:nvGraphicFramePr>
          <p:cNvPr id="55" name="Table 54">
            <a:extLst>
              <a:ext uri="{FF2B5EF4-FFF2-40B4-BE49-F238E27FC236}">
                <a16:creationId xmlns:a16="http://schemas.microsoft.com/office/drawing/2014/main" id="{D00A8DDA-BEC2-4228-AA98-BB1AB118D985}"/>
              </a:ext>
            </a:extLst>
          </p:cNvPr>
          <p:cNvGraphicFramePr>
            <a:graphicFrameLocks noGrp="1"/>
          </p:cNvGraphicFramePr>
          <p:nvPr>
            <p:extLst>
              <p:ext uri="{D42A27DB-BD31-4B8C-83A1-F6EECF244321}">
                <p14:modId xmlns:p14="http://schemas.microsoft.com/office/powerpoint/2010/main" val="1719137086"/>
              </p:ext>
            </p:extLst>
          </p:nvPr>
        </p:nvGraphicFramePr>
        <p:xfrm>
          <a:off x="5639174" y="1864007"/>
          <a:ext cx="6051176" cy="4405233"/>
        </p:xfrm>
        <a:graphic>
          <a:graphicData uri="http://schemas.openxmlformats.org/drawingml/2006/table">
            <a:tbl>
              <a:tblPr firstRow="1" bandRow="1">
                <a:tableStyleId>{5C22544A-7EE6-4342-B048-85BDC9FD1C3A}</a:tableStyleId>
              </a:tblPr>
              <a:tblGrid>
                <a:gridCol w="762123">
                  <a:extLst>
                    <a:ext uri="{9D8B030D-6E8A-4147-A177-3AD203B41FA5}">
                      <a16:colId xmlns:a16="http://schemas.microsoft.com/office/drawing/2014/main" val="3975474829"/>
                    </a:ext>
                  </a:extLst>
                </a:gridCol>
                <a:gridCol w="1617693">
                  <a:extLst>
                    <a:ext uri="{9D8B030D-6E8A-4147-A177-3AD203B41FA5}">
                      <a16:colId xmlns:a16="http://schemas.microsoft.com/office/drawing/2014/main" val="844568499"/>
                    </a:ext>
                  </a:extLst>
                </a:gridCol>
                <a:gridCol w="3671360">
                  <a:extLst>
                    <a:ext uri="{9D8B030D-6E8A-4147-A177-3AD203B41FA5}">
                      <a16:colId xmlns:a16="http://schemas.microsoft.com/office/drawing/2014/main" val="1868331620"/>
                    </a:ext>
                  </a:extLst>
                </a:gridCol>
              </a:tblGrid>
              <a:tr h="753535">
                <a:tc>
                  <a:txBody>
                    <a:body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accent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702733">
                <a:tc>
                  <a:txBody>
                    <a:body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accent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2062843"/>
                  </a:ext>
                </a:extLst>
              </a:tr>
              <a:tr h="651933">
                <a:tc>
                  <a:txBody>
                    <a:body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accent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688817">
                <a:tc>
                  <a:txBody>
                    <a:body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tx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r h="725117">
                <a:tc>
                  <a:txBody>
                    <a:body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tx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2064739"/>
                  </a:ext>
                </a:extLst>
              </a:tr>
              <a:tr h="883098">
                <a:tc>
                  <a:txBody>
                    <a:body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tx1"/>
                          </a:solidFill>
                          <a:latin typeface="+mn-lt"/>
                          <a:ea typeface="Verdana" panose="020B0604030504040204" pitchFamily="34" charset="0"/>
                          <a:cs typeface="Verdana" panose="020B0604030504040204" pitchFamily="34" charset="0"/>
                        </a:rPr>
                        <a:t>Lorem ipsum </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a:txBody>
                  <a:tcPr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766495"/>
                  </a:ext>
                </a:extLst>
              </a:tr>
            </a:tbl>
          </a:graphicData>
        </a:graphic>
      </p:graphicFrame>
      <p:pic>
        <p:nvPicPr>
          <p:cNvPr id="56" name="Picture 55">
            <a:extLst>
              <a:ext uri="{FF2B5EF4-FFF2-40B4-BE49-F238E27FC236}">
                <a16:creationId xmlns:a16="http://schemas.microsoft.com/office/drawing/2014/main" id="{73497644-E002-486C-BBD2-B0ACEFAEAE75}"/>
              </a:ext>
            </a:extLst>
          </p:cNvPr>
          <p:cNvPicPr>
            <a:picLocks noChangeAspect="1"/>
          </p:cNvPicPr>
          <p:nvPr/>
        </p:nvPicPr>
        <p:blipFill rotWithShape="1">
          <a:blip r:embed="rId2"/>
          <a:srcRect l="50779" t="11162" r="45996" b="81632"/>
          <a:stretch/>
        </p:blipFill>
        <p:spPr>
          <a:xfrm>
            <a:off x="5878807" y="2035985"/>
            <a:ext cx="343093" cy="411480"/>
          </a:xfrm>
          <a:prstGeom prst="rect">
            <a:avLst/>
          </a:prstGeom>
        </p:spPr>
      </p:pic>
      <p:pic>
        <p:nvPicPr>
          <p:cNvPr id="57" name="Picture 56">
            <a:extLst>
              <a:ext uri="{FF2B5EF4-FFF2-40B4-BE49-F238E27FC236}">
                <a16:creationId xmlns:a16="http://schemas.microsoft.com/office/drawing/2014/main" id="{D1773CD6-09CB-46DD-A57C-FA9BED7FF484}"/>
              </a:ext>
            </a:extLst>
          </p:cNvPr>
          <p:cNvPicPr>
            <a:picLocks noChangeAspect="1"/>
          </p:cNvPicPr>
          <p:nvPr/>
        </p:nvPicPr>
        <p:blipFill rotWithShape="1">
          <a:blip r:embed="rId2"/>
          <a:srcRect l="50479" t="26425" r="45512" b="69011"/>
          <a:stretch/>
        </p:blipFill>
        <p:spPr>
          <a:xfrm>
            <a:off x="5825860" y="2832999"/>
            <a:ext cx="448987" cy="274320"/>
          </a:xfrm>
          <a:prstGeom prst="rect">
            <a:avLst/>
          </a:prstGeom>
        </p:spPr>
      </p:pic>
      <p:pic>
        <p:nvPicPr>
          <p:cNvPr id="58" name="Picture 57">
            <a:extLst>
              <a:ext uri="{FF2B5EF4-FFF2-40B4-BE49-F238E27FC236}">
                <a16:creationId xmlns:a16="http://schemas.microsoft.com/office/drawing/2014/main" id="{077C99C4-8476-4133-AC2A-DDE1C1540D66}"/>
              </a:ext>
            </a:extLst>
          </p:cNvPr>
          <p:cNvPicPr>
            <a:picLocks noChangeAspect="1"/>
          </p:cNvPicPr>
          <p:nvPr/>
        </p:nvPicPr>
        <p:blipFill rotWithShape="1">
          <a:blip r:embed="rId2"/>
          <a:srcRect l="50658" t="39548" r="45735" b="55388"/>
          <a:stretch/>
        </p:blipFill>
        <p:spPr>
          <a:xfrm>
            <a:off x="5872293" y="3520937"/>
            <a:ext cx="356122" cy="268392"/>
          </a:xfrm>
          <a:prstGeom prst="rect">
            <a:avLst/>
          </a:prstGeom>
        </p:spPr>
      </p:pic>
      <p:pic>
        <p:nvPicPr>
          <p:cNvPr id="59" name="Picture 58">
            <a:extLst>
              <a:ext uri="{FF2B5EF4-FFF2-40B4-BE49-F238E27FC236}">
                <a16:creationId xmlns:a16="http://schemas.microsoft.com/office/drawing/2014/main" id="{8942D279-18DC-4A7A-8EE2-D70274A80797}"/>
              </a:ext>
            </a:extLst>
          </p:cNvPr>
          <p:cNvPicPr>
            <a:picLocks noChangeAspect="1"/>
          </p:cNvPicPr>
          <p:nvPr/>
        </p:nvPicPr>
        <p:blipFill rotWithShape="1">
          <a:blip r:embed="rId2"/>
          <a:srcRect l="50142" t="53678" r="44972" b="38547"/>
          <a:stretch/>
        </p:blipFill>
        <p:spPr>
          <a:xfrm>
            <a:off x="5832906" y="4122811"/>
            <a:ext cx="434894" cy="371412"/>
          </a:xfrm>
          <a:prstGeom prst="rect">
            <a:avLst/>
          </a:prstGeom>
        </p:spPr>
      </p:pic>
      <p:pic>
        <p:nvPicPr>
          <p:cNvPr id="60" name="Picture 59">
            <a:extLst>
              <a:ext uri="{FF2B5EF4-FFF2-40B4-BE49-F238E27FC236}">
                <a16:creationId xmlns:a16="http://schemas.microsoft.com/office/drawing/2014/main" id="{C6C1F890-4CE8-4293-B7EA-2DD26E8E43D1}"/>
              </a:ext>
            </a:extLst>
          </p:cNvPr>
          <p:cNvPicPr>
            <a:picLocks noChangeAspect="1"/>
          </p:cNvPicPr>
          <p:nvPr/>
        </p:nvPicPr>
        <p:blipFill rotWithShape="1">
          <a:blip r:embed="rId2"/>
          <a:srcRect l="50342" t="68735" r="45356" b="25892"/>
          <a:stretch/>
        </p:blipFill>
        <p:spPr>
          <a:xfrm>
            <a:off x="5850145" y="4923017"/>
            <a:ext cx="400418" cy="268392"/>
          </a:xfrm>
          <a:prstGeom prst="rect">
            <a:avLst/>
          </a:prstGeom>
        </p:spPr>
      </p:pic>
      <p:pic>
        <p:nvPicPr>
          <p:cNvPr id="61" name="Picture 60">
            <a:extLst>
              <a:ext uri="{FF2B5EF4-FFF2-40B4-BE49-F238E27FC236}">
                <a16:creationId xmlns:a16="http://schemas.microsoft.com/office/drawing/2014/main" id="{12D9EC87-79C0-46CC-9638-2B1165550DED}"/>
              </a:ext>
            </a:extLst>
          </p:cNvPr>
          <p:cNvPicPr>
            <a:picLocks noChangeAspect="1"/>
          </p:cNvPicPr>
          <p:nvPr/>
        </p:nvPicPr>
        <p:blipFill rotWithShape="1">
          <a:blip r:embed="rId2"/>
          <a:srcRect l="49946" t="82082" r="44944" b="10583"/>
          <a:stretch/>
        </p:blipFill>
        <p:spPr>
          <a:xfrm>
            <a:off x="5817943" y="5690441"/>
            <a:ext cx="464820" cy="358140"/>
          </a:xfrm>
          <a:prstGeom prst="rect">
            <a:avLst/>
          </a:prstGeom>
        </p:spPr>
      </p:pic>
      <p:grpSp>
        <p:nvGrpSpPr>
          <p:cNvPr id="62" name="组合 268">
            <a:extLst>
              <a:ext uri="{FF2B5EF4-FFF2-40B4-BE49-F238E27FC236}">
                <a16:creationId xmlns:a16="http://schemas.microsoft.com/office/drawing/2014/main" id="{B305DFA1-97AF-43BC-83E5-DADADBC4C07C}"/>
              </a:ext>
            </a:extLst>
          </p:cNvPr>
          <p:cNvGrpSpPr/>
          <p:nvPr/>
        </p:nvGrpSpPr>
        <p:grpSpPr>
          <a:xfrm rot="16200000">
            <a:off x="-267613" y="3089908"/>
            <a:ext cx="2492639" cy="172720"/>
            <a:chOff x="499437" y="1535322"/>
            <a:chExt cx="862073" cy="192140"/>
          </a:xfrm>
        </p:grpSpPr>
        <p:cxnSp>
          <p:nvCxnSpPr>
            <p:cNvPr id="63" name="Straight Connector 20">
              <a:extLst>
                <a:ext uri="{FF2B5EF4-FFF2-40B4-BE49-F238E27FC236}">
                  <a16:creationId xmlns:a16="http://schemas.microsoft.com/office/drawing/2014/main" id="{7E90DFCE-5155-4D36-B2DB-AAD2E7197435}"/>
                </a:ext>
              </a:extLst>
            </p:cNvPr>
            <p:cNvCxnSpPr>
              <a:cxnSpLocks/>
            </p:cNvCxnSpPr>
            <p:nvPr/>
          </p:nvCxnSpPr>
          <p:spPr>
            <a:xfrm>
              <a:off x="500077" y="1629959"/>
              <a:ext cx="86143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Straight Connector 20">
              <a:extLst>
                <a:ext uri="{FF2B5EF4-FFF2-40B4-BE49-F238E27FC236}">
                  <a16:creationId xmlns:a16="http://schemas.microsoft.com/office/drawing/2014/main" id="{9BDC6F16-08DE-42FF-B394-0B21207E5C23}"/>
                </a:ext>
              </a:extLst>
            </p:cNvPr>
            <p:cNvCxnSpPr>
              <a:cxnSpLocks/>
            </p:cNvCxnSpPr>
            <p:nvPr/>
          </p:nvCxnSpPr>
          <p:spPr>
            <a:xfrm flipV="1">
              <a:off x="136049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Connector 20">
              <a:extLst>
                <a:ext uri="{FF2B5EF4-FFF2-40B4-BE49-F238E27FC236}">
                  <a16:creationId xmlns:a16="http://schemas.microsoft.com/office/drawing/2014/main" id="{3E969A22-EAC3-48C5-8232-B762C279C918}"/>
                </a:ext>
              </a:extLst>
            </p:cNvPr>
            <p:cNvCxnSpPr>
              <a:cxnSpLocks/>
            </p:cNvCxnSpPr>
            <p:nvPr/>
          </p:nvCxnSpPr>
          <p:spPr>
            <a:xfrm flipV="1">
              <a:off x="49943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6" name="Rectangle 65">
            <a:extLst>
              <a:ext uri="{FF2B5EF4-FFF2-40B4-BE49-F238E27FC236}">
                <a16:creationId xmlns:a16="http://schemas.microsoft.com/office/drawing/2014/main" id="{3F86F8EE-AEA6-43C0-ABF6-D65204E799C2}"/>
              </a:ext>
            </a:extLst>
          </p:cNvPr>
          <p:cNvSpPr/>
          <p:nvPr/>
        </p:nvSpPr>
        <p:spPr>
          <a:xfrm rot="16200000">
            <a:off x="-142809" y="2983446"/>
            <a:ext cx="1577344" cy="378099"/>
          </a:xfrm>
          <a:prstGeom prst="rect">
            <a:avLst/>
          </a:prstGeom>
        </p:spPr>
        <p:txBody>
          <a:bodyPr wrap="square" lIns="69643" tIns="34821" rIns="69643" bIns="34821">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86BC25"/>
                </a:solidFill>
                <a:effectLst/>
                <a:uLnTx/>
                <a:uFillTx/>
                <a:latin typeface="Calibri Light"/>
                <a:ea typeface="Verdana" panose="020B0604030504040204" pitchFamily="34" charset="0"/>
                <a:cs typeface="Verdana" panose="020B0604030504040204" pitchFamily="34" charset="0"/>
              </a:rPr>
              <a:t>Level</a:t>
            </a:r>
          </a:p>
        </p:txBody>
      </p:sp>
      <p:grpSp>
        <p:nvGrpSpPr>
          <p:cNvPr id="67" name="组合 268">
            <a:extLst>
              <a:ext uri="{FF2B5EF4-FFF2-40B4-BE49-F238E27FC236}">
                <a16:creationId xmlns:a16="http://schemas.microsoft.com/office/drawing/2014/main" id="{4F3C6CCF-A388-44D0-9C6E-F4DC5B2BE12B}"/>
              </a:ext>
            </a:extLst>
          </p:cNvPr>
          <p:cNvGrpSpPr/>
          <p:nvPr/>
        </p:nvGrpSpPr>
        <p:grpSpPr>
          <a:xfrm rot="16200000">
            <a:off x="162125" y="5215449"/>
            <a:ext cx="1633162" cy="172720"/>
            <a:chOff x="499437" y="1535322"/>
            <a:chExt cx="862073" cy="192140"/>
          </a:xfrm>
        </p:grpSpPr>
        <p:cxnSp>
          <p:nvCxnSpPr>
            <p:cNvPr id="68" name="Straight Connector 20">
              <a:extLst>
                <a:ext uri="{FF2B5EF4-FFF2-40B4-BE49-F238E27FC236}">
                  <a16:creationId xmlns:a16="http://schemas.microsoft.com/office/drawing/2014/main" id="{5EE7799D-4B84-453F-824A-4A0AF653E6BF}"/>
                </a:ext>
              </a:extLst>
            </p:cNvPr>
            <p:cNvCxnSpPr>
              <a:cxnSpLocks/>
            </p:cNvCxnSpPr>
            <p:nvPr/>
          </p:nvCxnSpPr>
          <p:spPr>
            <a:xfrm>
              <a:off x="500077" y="1629959"/>
              <a:ext cx="861433" cy="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69" name="Straight Connector 20">
              <a:extLst>
                <a:ext uri="{FF2B5EF4-FFF2-40B4-BE49-F238E27FC236}">
                  <a16:creationId xmlns:a16="http://schemas.microsoft.com/office/drawing/2014/main" id="{42185026-8893-406E-A2F1-13AE44F4C105}"/>
                </a:ext>
              </a:extLst>
            </p:cNvPr>
            <p:cNvCxnSpPr>
              <a:cxnSpLocks/>
            </p:cNvCxnSpPr>
            <p:nvPr/>
          </p:nvCxnSpPr>
          <p:spPr>
            <a:xfrm flipV="1">
              <a:off x="136049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70" name="Straight Connector 20">
              <a:extLst>
                <a:ext uri="{FF2B5EF4-FFF2-40B4-BE49-F238E27FC236}">
                  <a16:creationId xmlns:a16="http://schemas.microsoft.com/office/drawing/2014/main" id="{62670BF0-C9BB-4FD2-8FB7-7A7E2EE1500D}"/>
                </a:ext>
              </a:extLst>
            </p:cNvPr>
            <p:cNvCxnSpPr>
              <a:cxnSpLocks/>
            </p:cNvCxnSpPr>
            <p:nvPr/>
          </p:nvCxnSpPr>
          <p:spPr>
            <a:xfrm flipV="1">
              <a:off x="49943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grpSp>
      <p:sp>
        <p:nvSpPr>
          <p:cNvPr id="71" name="Rectangle 65">
            <a:extLst>
              <a:ext uri="{FF2B5EF4-FFF2-40B4-BE49-F238E27FC236}">
                <a16:creationId xmlns:a16="http://schemas.microsoft.com/office/drawing/2014/main" id="{AEF3EB23-35B2-43D8-B171-A4C4E89E9BC0}"/>
              </a:ext>
            </a:extLst>
          </p:cNvPr>
          <p:cNvSpPr/>
          <p:nvPr/>
        </p:nvSpPr>
        <p:spPr>
          <a:xfrm rot="16200000">
            <a:off x="-142809" y="5112040"/>
            <a:ext cx="1577344" cy="378099"/>
          </a:xfrm>
          <a:prstGeom prst="rect">
            <a:avLst/>
          </a:prstGeom>
        </p:spPr>
        <p:txBody>
          <a:bodyPr wrap="square" lIns="69643" tIns="34821" rIns="69643" bIns="34821">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626262"/>
                </a:solidFill>
                <a:effectLst/>
                <a:uLnTx/>
                <a:uFillTx/>
                <a:latin typeface="Calibri Light"/>
                <a:ea typeface="Verdana" panose="020B0604030504040204" pitchFamily="34" charset="0"/>
                <a:cs typeface="Verdana" panose="020B0604030504040204" pitchFamily="34" charset="0"/>
              </a:rPr>
              <a:t>Level</a:t>
            </a:r>
          </a:p>
        </p:txBody>
      </p:sp>
      <p:sp>
        <p:nvSpPr>
          <p:cNvPr id="35" name="Star: 5 Points 34">
            <a:extLst>
              <a:ext uri="{FF2B5EF4-FFF2-40B4-BE49-F238E27FC236}">
                <a16:creationId xmlns:a16="http://schemas.microsoft.com/office/drawing/2014/main" id="{D27005D2-73EF-4BAE-96F7-FE7285217F41}"/>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354815772"/>
      </p:ext>
    </p:extLst>
  </p:cSld>
  <p:clrMapOvr>
    <a:masterClrMapping/>
  </p:clrMapOvr>
  <p:transition>
    <p:fade/>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076DF1-F9BA-486F-AF9E-FE4D0808DDA6}"/>
              </a:ext>
            </a:extLst>
          </p:cNvPr>
          <p:cNvSpPr>
            <a:spLocks noGrp="1"/>
          </p:cNvSpPr>
          <p:nvPr>
            <p:ph type="title"/>
          </p:nvPr>
        </p:nvSpPr>
        <p:spPr/>
        <p:txBody>
          <a:bodyPr/>
          <a:lstStyle/>
          <a:p>
            <a:r>
              <a:rPr lang="en-US" dirty="0"/>
              <a:t>Calendar</a:t>
            </a:r>
          </a:p>
        </p:txBody>
      </p:sp>
      <p:sp>
        <p:nvSpPr>
          <p:cNvPr id="5" name="Rectangle 4">
            <a:extLst>
              <a:ext uri="{FF2B5EF4-FFF2-40B4-BE49-F238E27FC236}">
                <a16:creationId xmlns:a16="http://schemas.microsoft.com/office/drawing/2014/main" id="{D729CC27-6679-47BA-8E82-24D781349F73}"/>
              </a:ext>
            </a:extLst>
          </p:cNvPr>
          <p:cNvSpPr/>
          <p:nvPr/>
        </p:nvSpPr>
        <p:spPr bwMode="auto">
          <a:xfrm>
            <a:off x="501651" y="2305384"/>
            <a:ext cx="918958" cy="813582"/>
          </a:xfrm>
          <a:prstGeom prst="rect">
            <a:avLst/>
          </a:prstGeom>
          <a:solidFill>
            <a:schemeClr val="accent6">
              <a:lumMod val="20000"/>
              <a:lumOff val="8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J</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6" name="Rectangle 5">
            <a:extLst>
              <a:ext uri="{FF2B5EF4-FFF2-40B4-BE49-F238E27FC236}">
                <a16:creationId xmlns:a16="http://schemas.microsoft.com/office/drawing/2014/main" id="{5709F92D-CE29-4442-A970-C7BFFCA16084}"/>
              </a:ext>
            </a:extLst>
          </p:cNvPr>
          <p:cNvSpPr/>
          <p:nvPr/>
        </p:nvSpPr>
        <p:spPr bwMode="auto">
          <a:xfrm>
            <a:off x="2368189" y="2305384"/>
            <a:ext cx="918958" cy="813582"/>
          </a:xfrm>
          <a:prstGeom prst="rect">
            <a:avLst/>
          </a:prstGeom>
          <a:solidFill>
            <a:schemeClr val="accent6">
              <a:lumMod val="40000"/>
              <a:lumOff val="6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M</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7" name="Rectangle 6">
            <a:extLst>
              <a:ext uri="{FF2B5EF4-FFF2-40B4-BE49-F238E27FC236}">
                <a16:creationId xmlns:a16="http://schemas.microsoft.com/office/drawing/2014/main" id="{80A36FE0-333D-4734-92EC-DFC6146562EC}"/>
              </a:ext>
            </a:extLst>
          </p:cNvPr>
          <p:cNvSpPr/>
          <p:nvPr/>
        </p:nvSpPr>
        <p:spPr bwMode="auto">
          <a:xfrm>
            <a:off x="3301457" y="2305384"/>
            <a:ext cx="918958" cy="813582"/>
          </a:xfrm>
          <a:prstGeom prst="rect">
            <a:avLst/>
          </a:prstGeom>
          <a:solidFill>
            <a:schemeClr val="accent6">
              <a:lumMod val="60000"/>
              <a:lumOff val="4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A</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8" name="Rectangle 7">
            <a:extLst>
              <a:ext uri="{FF2B5EF4-FFF2-40B4-BE49-F238E27FC236}">
                <a16:creationId xmlns:a16="http://schemas.microsoft.com/office/drawing/2014/main" id="{E0B631E7-82F7-440A-A012-16A6CEBB0B6A}"/>
              </a:ext>
            </a:extLst>
          </p:cNvPr>
          <p:cNvSpPr/>
          <p:nvPr/>
        </p:nvSpPr>
        <p:spPr bwMode="auto">
          <a:xfrm>
            <a:off x="7034533" y="2305384"/>
            <a:ext cx="918958" cy="813582"/>
          </a:xfrm>
          <a:prstGeom prst="rect">
            <a:avLst/>
          </a:prstGeom>
          <a:solidFill>
            <a:schemeClr val="accent6">
              <a:lumMod val="75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A</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9" name="Rectangle 8">
            <a:extLst>
              <a:ext uri="{FF2B5EF4-FFF2-40B4-BE49-F238E27FC236}">
                <a16:creationId xmlns:a16="http://schemas.microsoft.com/office/drawing/2014/main" id="{077EEC3C-9568-4A67-98DD-4BBA10995D7D}"/>
              </a:ext>
            </a:extLst>
          </p:cNvPr>
          <p:cNvSpPr/>
          <p:nvPr/>
        </p:nvSpPr>
        <p:spPr bwMode="auto">
          <a:xfrm>
            <a:off x="9834339" y="2305384"/>
            <a:ext cx="918958" cy="813582"/>
          </a:xfrm>
          <a:prstGeom prst="rect">
            <a:avLst/>
          </a:prstGeom>
          <a:solidFill>
            <a:schemeClr val="accent6">
              <a:lumMod val="5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N</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0" name="Rectangle 9">
            <a:extLst>
              <a:ext uri="{FF2B5EF4-FFF2-40B4-BE49-F238E27FC236}">
                <a16:creationId xmlns:a16="http://schemas.microsoft.com/office/drawing/2014/main" id="{009258DB-BCE9-4F39-BC7E-8B5994E4AA0C}"/>
              </a:ext>
            </a:extLst>
          </p:cNvPr>
          <p:cNvSpPr/>
          <p:nvPr/>
        </p:nvSpPr>
        <p:spPr bwMode="auto">
          <a:xfrm>
            <a:off x="1434920" y="2305384"/>
            <a:ext cx="918958" cy="813582"/>
          </a:xfrm>
          <a:prstGeom prst="rect">
            <a:avLst/>
          </a:prstGeom>
          <a:solidFill>
            <a:schemeClr val="accent3">
              <a:lumMod val="20000"/>
              <a:lumOff val="8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F</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1" name="Rectangle 10">
            <a:extLst>
              <a:ext uri="{FF2B5EF4-FFF2-40B4-BE49-F238E27FC236}">
                <a16:creationId xmlns:a16="http://schemas.microsoft.com/office/drawing/2014/main" id="{F0254049-2144-4906-AD32-1351C6E4248B}"/>
              </a:ext>
            </a:extLst>
          </p:cNvPr>
          <p:cNvSpPr/>
          <p:nvPr/>
        </p:nvSpPr>
        <p:spPr bwMode="auto">
          <a:xfrm>
            <a:off x="4234726" y="2305384"/>
            <a:ext cx="918958" cy="813582"/>
          </a:xfrm>
          <a:prstGeom prst="rect">
            <a:avLst/>
          </a:prstGeom>
          <a:solidFill>
            <a:schemeClr val="accent3">
              <a:lumMod val="40000"/>
              <a:lumOff val="6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M</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2" name="Rectangle 11">
            <a:extLst>
              <a:ext uri="{FF2B5EF4-FFF2-40B4-BE49-F238E27FC236}">
                <a16:creationId xmlns:a16="http://schemas.microsoft.com/office/drawing/2014/main" id="{BEAE285A-189B-4FF8-8BF0-F4F13DBBB667}"/>
              </a:ext>
            </a:extLst>
          </p:cNvPr>
          <p:cNvSpPr/>
          <p:nvPr/>
        </p:nvSpPr>
        <p:spPr bwMode="auto">
          <a:xfrm>
            <a:off x="5167995" y="2305384"/>
            <a:ext cx="918958" cy="813582"/>
          </a:xfrm>
          <a:prstGeom prst="rect">
            <a:avLst/>
          </a:prstGeom>
          <a:solidFill>
            <a:schemeClr val="accent2">
              <a:lumMod val="60000"/>
              <a:lumOff val="4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J</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3" name="Rectangle 12">
            <a:extLst>
              <a:ext uri="{FF2B5EF4-FFF2-40B4-BE49-F238E27FC236}">
                <a16:creationId xmlns:a16="http://schemas.microsoft.com/office/drawing/2014/main" id="{E3F0BC42-773F-4648-AA04-A8B3F0B322DD}"/>
              </a:ext>
            </a:extLst>
          </p:cNvPr>
          <p:cNvSpPr/>
          <p:nvPr/>
        </p:nvSpPr>
        <p:spPr bwMode="auto">
          <a:xfrm>
            <a:off x="8901070" y="2305384"/>
            <a:ext cx="918958" cy="813582"/>
          </a:xfrm>
          <a:prstGeom prst="rect">
            <a:avLst/>
          </a:prstGeom>
          <a:solidFill>
            <a:schemeClr val="accent3">
              <a:lumMod val="75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O</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4" name="Rectangle 13">
            <a:extLst>
              <a:ext uri="{FF2B5EF4-FFF2-40B4-BE49-F238E27FC236}">
                <a16:creationId xmlns:a16="http://schemas.microsoft.com/office/drawing/2014/main" id="{48AC4990-570B-487E-90D5-F91A6AEB2AF2}"/>
              </a:ext>
            </a:extLst>
          </p:cNvPr>
          <p:cNvSpPr/>
          <p:nvPr/>
        </p:nvSpPr>
        <p:spPr bwMode="auto">
          <a:xfrm>
            <a:off x="10767601" y="2305384"/>
            <a:ext cx="918958" cy="813582"/>
          </a:xfrm>
          <a:prstGeom prst="rect">
            <a:avLst/>
          </a:prstGeom>
          <a:solidFill>
            <a:schemeClr val="accent3">
              <a:lumMod val="5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D</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5" name="Rectangle 14">
            <a:extLst>
              <a:ext uri="{FF2B5EF4-FFF2-40B4-BE49-F238E27FC236}">
                <a16:creationId xmlns:a16="http://schemas.microsoft.com/office/drawing/2014/main" id="{04C0E45C-5865-40EA-98E7-E8FDDBA2CF1C}"/>
              </a:ext>
            </a:extLst>
          </p:cNvPr>
          <p:cNvSpPr/>
          <p:nvPr/>
        </p:nvSpPr>
        <p:spPr bwMode="auto">
          <a:xfrm>
            <a:off x="7967801" y="2305384"/>
            <a:ext cx="918958" cy="813582"/>
          </a:xfrm>
          <a:prstGeom prst="rect">
            <a:avLst/>
          </a:prstGeom>
          <a:solidFill>
            <a:schemeClr val="accent3"/>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S</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16" name="TextBox 15">
            <a:extLst>
              <a:ext uri="{FF2B5EF4-FFF2-40B4-BE49-F238E27FC236}">
                <a16:creationId xmlns:a16="http://schemas.microsoft.com/office/drawing/2014/main" id="{3D4CB0BF-BFC4-49B1-B0D5-7892B2B81B88}"/>
              </a:ext>
            </a:extLst>
          </p:cNvPr>
          <p:cNvSpPr txBox="1"/>
          <p:nvPr/>
        </p:nvSpPr>
        <p:spPr>
          <a:xfrm>
            <a:off x="501651" y="1665288"/>
            <a:ext cx="3162093"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2020</a:t>
            </a:r>
          </a:p>
        </p:txBody>
      </p:sp>
      <p:sp>
        <p:nvSpPr>
          <p:cNvPr id="17" name="Rectangle 16">
            <a:extLst>
              <a:ext uri="{FF2B5EF4-FFF2-40B4-BE49-F238E27FC236}">
                <a16:creationId xmlns:a16="http://schemas.microsoft.com/office/drawing/2014/main" id="{52085EE5-F994-40BE-B59E-C4A72DAA2201}"/>
              </a:ext>
            </a:extLst>
          </p:cNvPr>
          <p:cNvSpPr/>
          <p:nvPr/>
        </p:nvSpPr>
        <p:spPr bwMode="auto">
          <a:xfrm>
            <a:off x="6101264" y="2305384"/>
            <a:ext cx="918958" cy="813582"/>
          </a:xfrm>
          <a:prstGeom prst="rect">
            <a:avLst/>
          </a:prstGeom>
          <a:solidFill>
            <a:schemeClr val="accent6"/>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J</a:t>
            </a:r>
            <a:endParaRPr kumimoji="0" lang="en-CA" sz="4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grpSp>
        <p:nvGrpSpPr>
          <p:cNvPr id="18" name="Group 17">
            <a:extLst>
              <a:ext uri="{FF2B5EF4-FFF2-40B4-BE49-F238E27FC236}">
                <a16:creationId xmlns:a16="http://schemas.microsoft.com/office/drawing/2014/main" id="{4B31C94A-E72F-426E-A595-CD6429E26F31}"/>
              </a:ext>
            </a:extLst>
          </p:cNvPr>
          <p:cNvGrpSpPr/>
          <p:nvPr/>
        </p:nvGrpSpPr>
        <p:grpSpPr>
          <a:xfrm>
            <a:off x="501651" y="3188323"/>
            <a:ext cx="11184908" cy="245055"/>
            <a:chOff x="511611" y="3808475"/>
            <a:chExt cx="8347075" cy="607160"/>
          </a:xfrm>
        </p:grpSpPr>
        <p:sp>
          <p:nvSpPr>
            <p:cNvPr id="19" name="Rectangle 18">
              <a:extLst>
                <a:ext uri="{FF2B5EF4-FFF2-40B4-BE49-F238E27FC236}">
                  <a16:creationId xmlns:a16="http://schemas.microsoft.com/office/drawing/2014/main" id="{A61FCF2D-FF02-4995-A0DD-18A7265B061B}"/>
                </a:ext>
              </a:extLst>
            </p:cNvPr>
            <p:cNvSpPr/>
            <p:nvPr/>
          </p:nvSpPr>
          <p:spPr bwMode="auto">
            <a:xfrm>
              <a:off x="511611" y="3808475"/>
              <a:ext cx="685800" cy="607160"/>
            </a:xfrm>
            <a:prstGeom prst="rect">
              <a:avLst/>
            </a:prstGeom>
            <a:solidFill>
              <a:schemeClr val="accent6">
                <a:lumMod val="20000"/>
                <a:lumOff val="8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black"/>
                  </a:solidFill>
                  <a:effectLst/>
                  <a:uLnTx/>
                  <a:uFillTx/>
                  <a:latin typeface="Calibri"/>
                  <a:ea typeface="+mn-ea"/>
                  <a:cs typeface="Verdana" panose="020B0604030504040204" pitchFamily="34" charset="0"/>
                </a:rPr>
                <a:t>January</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0" name="Rectangle 19">
              <a:extLst>
                <a:ext uri="{FF2B5EF4-FFF2-40B4-BE49-F238E27FC236}">
                  <a16:creationId xmlns:a16="http://schemas.microsoft.com/office/drawing/2014/main" id="{4362B04D-9F0A-4FE5-A220-4EF9E9CF6DBD}"/>
                </a:ext>
              </a:extLst>
            </p:cNvPr>
            <p:cNvSpPr/>
            <p:nvPr/>
          </p:nvSpPr>
          <p:spPr bwMode="auto">
            <a:xfrm>
              <a:off x="1904571" y="3808475"/>
              <a:ext cx="685800" cy="607160"/>
            </a:xfrm>
            <a:prstGeom prst="rect">
              <a:avLst/>
            </a:prstGeom>
            <a:solidFill>
              <a:schemeClr val="accent6">
                <a:lumMod val="40000"/>
                <a:lumOff val="6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March</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1" name="Rectangle 20">
              <a:extLst>
                <a:ext uri="{FF2B5EF4-FFF2-40B4-BE49-F238E27FC236}">
                  <a16:creationId xmlns:a16="http://schemas.microsoft.com/office/drawing/2014/main" id="{239F7596-59BD-4BB5-BFA9-97C29CF64D3B}"/>
                </a:ext>
              </a:extLst>
            </p:cNvPr>
            <p:cNvSpPr/>
            <p:nvPr/>
          </p:nvSpPr>
          <p:spPr bwMode="auto">
            <a:xfrm>
              <a:off x="2601051" y="3808475"/>
              <a:ext cx="685800" cy="607160"/>
            </a:xfrm>
            <a:prstGeom prst="rect">
              <a:avLst/>
            </a:prstGeom>
            <a:solidFill>
              <a:schemeClr val="accent6">
                <a:lumMod val="60000"/>
                <a:lumOff val="4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April</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2" name="Rectangle 21">
              <a:extLst>
                <a:ext uri="{FF2B5EF4-FFF2-40B4-BE49-F238E27FC236}">
                  <a16:creationId xmlns:a16="http://schemas.microsoft.com/office/drawing/2014/main" id="{8DFC34BB-E54B-486E-A965-91A24E156F86}"/>
                </a:ext>
              </a:extLst>
            </p:cNvPr>
            <p:cNvSpPr/>
            <p:nvPr/>
          </p:nvSpPr>
          <p:spPr bwMode="auto">
            <a:xfrm>
              <a:off x="5386971" y="3808475"/>
              <a:ext cx="685800" cy="607160"/>
            </a:xfrm>
            <a:prstGeom prst="rect">
              <a:avLst/>
            </a:prstGeom>
            <a:solidFill>
              <a:schemeClr val="accent6">
                <a:lumMod val="75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August</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23" name="Rectangle 22">
              <a:extLst>
                <a:ext uri="{FF2B5EF4-FFF2-40B4-BE49-F238E27FC236}">
                  <a16:creationId xmlns:a16="http://schemas.microsoft.com/office/drawing/2014/main" id="{1D872E99-A4F5-4B6C-89FF-5359D0A8F853}"/>
                </a:ext>
              </a:extLst>
            </p:cNvPr>
            <p:cNvSpPr/>
            <p:nvPr/>
          </p:nvSpPr>
          <p:spPr bwMode="auto">
            <a:xfrm>
              <a:off x="7476411" y="3808475"/>
              <a:ext cx="685800" cy="607160"/>
            </a:xfrm>
            <a:prstGeom prst="rect">
              <a:avLst/>
            </a:prstGeom>
            <a:solidFill>
              <a:schemeClr val="accent6">
                <a:lumMod val="5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white"/>
                  </a:solidFill>
                  <a:effectLst/>
                  <a:uLnTx/>
                  <a:uFillTx/>
                  <a:latin typeface="Calibri"/>
                  <a:ea typeface="+mn-ea"/>
                  <a:cs typeface="Verdana" panose="020B0604030504040204" pitchFamily="34" charset="0"/>
                </a:rPr>
                <a:t>November</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24" name="Rectangle 23">
              <a:extLst>
                <a:ext uri="{FF2B5EF4-FFF2-40B4-BE49-F238E27FC236}">
                  <a16:creationId xmlns:a16="http://schemas.microsoft.com/office/drawing/2014/main" id="{0016239C-6F3C-4551-B8ED-A72D6801BDD7}"/>
                </a:ext>
              </a:extLst>
            </p:cNvPr>
            <p:cNvSpPr/>
            <p:nvPr/>
          </p:nvSpPr>
          <p:spPr bwMode="auto">
            <a:xfrm>
              <a:off x="1208091" y="3808475"/>
              <a:ext cx="685800" cy="607160"/>
            </a:xfrm>
            <a:prstGeom prst="rect">
              <a:avLst/>
            </a:prstGeom>
            <a:solidFill>
              <a:schemeClr val="accent3">
                <a:lumMod val="20000"/>
                <a:lumOff val="8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black"/>
                  </a:solidFill>
                  <a:effectLst/>
                  <a:uLnTx/>
                  <a:uFillTx/>
                  <a:latin typeface="Calibri"/>
                  <a:ea typeface="+mn-ea"/>
                  <a:cs typeface="Verdana" panose="020B0604030504040204" pitchFamily="34" charset="0"/>
                </a:rPr>
                <a:t>February</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5" name="Rectangle 24">
              <a:extLst>
                <a:ext uri="{FF2B5EF4-FFF2-40B4-BE49-F238E27FC236}">
                  <a16:creationId xmlns:a16="http://schemas.microsoft.com/office/drawing/2014/main" id="{4DB9D80C-EFEA-4FC3-85E0-E7CA09F53621}"/>
                </a:ext>
              </a:extLst>
            </p:cNvPr>
            <p:cNvSpPr/>
            <p:nvPr/>
          </p:nvSpPr>
          <p:spPr bwMode="auto">
            <a:xfrm>
              <a:off x="3297531" y="3808475"/>
              <a:ext cx="685800" cy="607160"/>
            </a:xfrm>
            <a:prstGeom prst="rect">
              <a:avLst/>
            </a:prstGeom>
            <a:solidFill>
              <a:schemeClr val="accent3">
                <a:lumMod val="40000"/>
                <a:lumOff val="6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May</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6" name="Rectangle 25">
              <a:extLst>
                <a:ext uri="{FF2B5EF4-FFF2-40B4-BE49-F238E27FC236}">
                  <a16:creationId xmlns:a16="http://schemas.microsoft.com/office/drawing/2014/main" id="{FDD1005B-D668-43F3-A0A6-AEB0DB4D258E}"/>
                </a:ext>
              </a:extLst>
            </p:cNvPr>
            <p:cNvSpPr/>
            <p:nvPr/>
          </p:nvSpPr>
          <p:spPr bwMode="auto">
            <a:xfrm>
              <a:off x="3994011" y="3808475"/>
              <a:ext cx="685800" cy="607160"/>
            </a:xfrm>
            <a:prstGeom prst="rect">
              <a:avLst/>
            </a:prstGeom>
            <a:solidFill>
              <a:schemeClr val="accent2">
                <a:lumMod val="60000"/>
                <a:lumOff val="4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June</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7" name="Rectangle 26">
              <a:extLst>
                <a:ext uri="{FF2B5EF4-FFF2-40B4-BE49-F238E27FC236}">
                  <a16:creationId xmlns:a16="http://schemas.microsoft.com/office/drawing/2014/main" id="{7FF33371-40CA-4E28-9215-E5EA9A7C434A}"/>
                </a:ext>
              </a:extLst>
            </p:cNvPr>
            <p:cNvSpPr/>
            <p:nvPr/>
          </p:nvSpPr>
          <p:spPr bwMode="auto">
            <a:xfrm>
              <a:off x="6779931" y="3808475"/>
              <a:ext cx="685800" cy="607160"/>
            </a:xfrm>
            <a:prstGeom prst="rect">
              <a:avLst/>
            </a:prstGeom>
            <a:solidFill>
              <a:schemeClr val="accent3">
                <a:lumMod val="75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white"/>
                  </a:solidFill>
                  <a:effectLst/>
                  <a:uLnTx/>
                  <a:uFillTx/>
                  <a:latin typeface="Calibri"/>
                  <a:ea typeface="+mn-ea"/>
                  <a:cs typeface="Verdana" panose="020B0604030504040204" pitchFamily="34" charset="0"/>
                </a:rPr>
                <a:t>October</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28" name="Rectangle 27">
              <a:extLst>
                <a:ext uri="{FF2B5EF4-FFF2-40B4-BE49-F238E27FC236}">
                  <a16:creationId xmlns:a16="http://schemas.microsoft.com/office/drawing/2014/main" id="{AE5D016D-98FD-43BC-8976-030F8EC8E283}"/>
                </a:ext>
              </a:extLst>
            </p:cNvPr>
            <p:cNvSpPr/>
            <p:nvPr/>
          </p:nvSpPr>
          <p:spPr bwMode="auto">
            <a:xfrm>
              <a:off x="8172886" y="3808475"/>
              <a:ext cx="685800" cy="607160"/>
            </a:xfrm>
            <a:prstGeom prst="rect">
              <a:avLst/>
            </a:prstGeom>
            <a:solidFill>
              <a:schemeClr val="accent3">
                <a:lumMod val="50000"/>
              </a:schemeClr>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white"/>
                  </a:solidFill>
                  <a:effectLst/>
                  <a:uLnTx/>
                  <a:uFillTx/>
                  <a:latin typeface="Calibri"/>
                  <a:ea typeface="+mn-ea"/>
                  <a:cs typeface="Verdana" panose="020B0604030504040204" pitchFamily="34" charset="0"/>
                </a:rPr>
                <a:t>December</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29" name="Rectangle 28">
              <a:extLst>
                <a:ext uri="{FF2B5EF4-FFF2-40B4-BE49-F238E27FC236}">
                  <a16:creationId xmlns:a16="http://schemas.microsoft.com/office/drawing/2014/main" id="{8231B0A8-F4A9-41A6-8AAF-FEE747AE6964}"/>
                </a:ext>
              </a:extLst>
            </p:cNvPr>
            <p:cNvSpPr/>
            <p:nvPr/>
          </p:nvSpPr>
          <p:spPr bwMode="auto">
            <a:xfrm>
              <a:off x="6083451" y="3808475"/>
              <a:ext cx="685800" cy="607160"/>
            </a:xfrm>
            <a:prstGeom prst="rect">
              <a:avLst/>
            </a:prstGeom>
            <a:solidFill>
              <a:schemeClr val="accent3"/>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err="1">
                  <a:ln>
                    <a:noFill/>
                  </a:ln>
                  <a:solidFill>
                    <a:prstClr val="white"/>
                  </a:solidFill>
                  <a:effectLst/>
                  <a:uLnTx/>
                  <a:uFillTx/>
                  <a:latin typeface="Calibri"/>
                  <a:ea typeface="+mn-ea"/>
                  <a:cs typeface="Verdana" panose="020B0604030504040204" pitchFamily="34" charset="0"/>
                </a:rPr>
                <a:t>September</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sp>
          <p:nvSpPr>
            <p:cNvPr id="30" name="Rectangle 29">
              <a:extLst>
                <a:ext uri="{FF2B5EF4-FFF2-40B4-BE49-F238E27FC236}">
                  <a16:creationId xmlns:a16="http://schemas.microsoft.com/office/drawing/2014/main" id="{33AA6147-F143-4047-996F-7AB6E5B87598}"/>
                </a:ext>
              </a:extLst>
            </p:cNvPr>
            <p:cNvSpPr/>
            <p:nvPr/>
          </p:nvSpPr>
          <p:spPr bwMode="auto">
            <a:xfrm>
              <a:off x="4690491" y="3808475"/>
              <a:ext cx="685800" cy="607160"/>
            </a:xfrm>
            <a:prstGeom prst="rect">
              <a:avLst/>
            </a:prstGeom>
            <a:solidFill>
              <a:schemeClr val="accent6"/>
            </a:solidFill>
            <a:ln w="6350" cap="flat" cmpd="sng" algn="ctr">
              <a:solidFill>
                <a:schemeClr val="bg1"/>
              </a:solidFill>
              <a:prstDash val="solid"/>
              <a:round/>
              <a:headEnd type="none" w="med" len="med"/>
              <a:tailEnd type="none" w="med" len="med"/>
            </a:ln>
            <a:effectLst/>
          </p:spPr>
          <p:txBody>
            <a:bodyPr vert="horz"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rPr>
                <a:t>July</a:t>
              </a:r>
              <a:endParaRPr kumimoji="0" lang="en-CA" sz="1000" b="1" i="0" u="none" strike="noStrike" kern="1200" cap="none" spc="0" normalizeH="0" baseline="0" noProof="0" dirty="0">
                <a:ln>
                  <a:noFill/>
                </a:ln>
                <a:solidFill>
                  <a:prstClr val="white"/>
                </a:solidFill>
                <a:effectLst/>
                <a:uLnTx/>
                <a:uFillTx/>
                <a:latin typeface="Calibri"/>
                <a:ea typeface="+mn-ea"/>
                <a:cs typeface="Verdana" panose="020B0604030504040204" pitchFamily="34" charset="0"/>
              </a:endParaRPr>
            </a:p>
          </p:txBody>
        </p:sp>
      </p:grpSp>
      <p:sp>
        <p:nvSpPr>
          <p:cNvPr id="31" name="Rectangle 30">
            <a:extLst>
              <a:ext uri="{FF2B5EF4-FFF2-40B4-BE49-F238E27FC236}">
                <a16:creationId xmlns:a16="http://schemas.microsoft.com/office/drawing/2014/main" id="{1B039851-5C71-4281-A48E-8859DFE03379}"/>
              </a:ext>
            </a:extLst>
          </p:cNvPr>
          <p:cNvSpPr/>
          <p:nvPr/>
        </p:nvSpPr>
        <p:spPr bwMode="auto">
          <a:xfrm>
            <a:off x="501651"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2" name="Rectangle 31">
            <a:extLst>
              <a:ext uri="{FF2B5EF4-FFF2-40B4-BE49-F238E27FC236}">
                <a16:creationId xmlns:a16="http://schemas.microsoft.com/office/drawing/2014/main" id="{68591313-473F-4E38-AA32-CA7177970450}"/>
              </a:ext>
            </a:extLst>
          </p:cNvPr>
          <p:cNvSpPr/>
          <p:nvPr/>
        </p:nvSpPr>
        <p:spPr bwMode="auto">
          <a:xfrm>
            <a:off x="2368189"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3" name="Rectangle 32">
            <a:extLst>
              <a:ext uri="{FF2B5EF4-FFF2-40B4-BE49-F238E27FC236}">
                <a16:creationId xmlns:a16="http://schemas.microsoft.com/office/drawing/2014/main" id="{F9487988-839F-4823-B474-9790632116AD}"/>
              </a:ext>
            </a:extLst>
          </p:cNvPr>
          <p:cNvSpPr/>
          <p:nvPr/>
        </p:nvSpPr>
        <p:spPr bwMode="auto">
          <a:xfrm>
            <a:off x="3301457"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4" name="Rectangle 33">
            <a:extLst>
              <a:ext uri="{FF2B5EF4-FFF2-40B4-BE49-F238E27FC236}">
                <a16:creationId xmlns:a16="http://schemas.microsoft.com/office/drawing/2014/main" id="{2C11EBC3-AFE8-4D90-93AC-9535669CBE4B}"/>
              </a:ext>
            </a:extLst>
          </p:cNvPr>
          <p:cNvSpPr/>
          <p:nvPr/>
        </p:nvSpPr>
        <p:spPr bwMode="auto">
          <a:xfrm>
            <a:off x="7034533"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5" name="Rectangle 34">
            <a:extLst>
              <a:ext uri="{FF2B5EF4-FFF2-40B4-BE49-F238E27FC236}">
                <a16:creationId xmlns:a16="http://schemas.microsoft.com/office/drawing/2014/main" id="{7CCEC4D5-B8E5-4874-A171-03C8C6C7BC8E}"/>
              </a:ext>
            </a:extLst>
          </p:cNvPr>
          <p:cNvSpPr/>
          <p:nvPr/>
        </p:nvSpPr>
        <p:spPr bwMode="auto">
          <a:xfrm>
            <a:off x="9834339"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6" name="Rectangle 35">
            <a:extLst>
              <a:ext uri="{FF2B5EF4-FFF2-40B4-BE49-F238E27FC236}">
                <a16:creationId xmlns:a16="http://schemas.microsoft.com/office/drawing/2014/main" id="{B390FB4D-24AF-437C-8FDE-CEFBE70EF0F0}"/>
              </a:ext>
            </a:extLst>
          </p:cNvPr>
          <p:cNvSpPr/>
          <p:nvPr/>
        </p:nvSpPr>
        <p:spPr bwMode="auto">
          <a:xfrm>
            <a:off x="1434920"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7" name="Rectangle 36">
            <a:extLst>
              <a:ext uri="{FF2B5EF4-FFF2-40B4-BE49-F238E27FC236}">
                <a16:creationId xmlns:a16="http://schemas.microsoft.com/office/drawing/2014/main" id="{44AE44EC-0895-4EA8-9E5B-501A338BE323}"/>
              </a:ext>
            </a:extLst>
          </p:cNvPr>
          <p:cNvSpPr/>
          <p:nvPr/>
        </p:nvSpPr>
        <p:spPr bwMode="auto">
          <a:xfrm>
            <a:off x="4234726"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8" name="Rectangle 37">
            <a:extLst>
              <a:ext uri="{FF2B5EF4-FFF2-40B4-BE49-F238E27FC236}">
                <a16:creationId xmlns:a16="http://schemas.microsoft.com/office/drawing/2014/main" id="{388F5188-268D-4DED-9477-FD9EC81670A8}"/>
              </a:ext>
            </a:extLst>
          </p:cNvPr>
          <p:cNvSpPr/>
          <p:nvPr/>
        </p:nvSpPr>
        <p:spPr bwMode="auto">
          <a:xfrm>
            <a:off x="5167995"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39" name="Rectangle 38">
            <a:extLst>
              <a:ext uri="{FF2B5EF4-FFF2-40B4-BE49-F238E27FC236}">
                <a16:creationId xmlns:a16="http://schemas.microsoft.com/office/drawing/2014/main" id="{7B18FA89-BCDB-4759-9124-DB571C89E7CF}"/>
              </a:ext>
            </a:extLst>
          </p:cNvPr>
          <p:cNvSpPr/>
          <p:nvPr/>
        </p:nvSpPr>
        <p:spPr bwMode="auto">
          <a:xfrm>
            <a:off x="8901070"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0" name="Rectangle 39">
            <a:extLst>
              <a:ext uri="{FF2B5EF4-FFF2-40B4-BE49-F238E27FC236}">
                <a16:creationId xmlns:a16="http://schemas.microsoft.com/office/drawing/2014/main" id="{A2DE98EB-FDC3-497C-A030-ED199427F9C3}"/>
              </a:ext>
            </a:extLst>
          </p:cNvPr>
          <p:cNvSpPr/>
          <p:nvPr/>
        </p:nvSpPr>
        <p:spPr bwMode="auto">
          <a:xfrm>
            <a:off x="10767601"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1" name="Rectangle 40">
            <a:extLst>
              <a:ext uri="{FF2B5EF4-FFF2-40B4-BE49-F238E27FC236}">
                <a16:creationId xmlns:a16="http://schemas.microsoft.com/office/drawing/2014/main" id="{9E094BC5-4774-4F21-9B44-2AFD7D98C682}"/>
              </a:ext>
            </a:extLst>
          </p:cNvPr>
          <p:cNvSpPr/>
          <p:nvPr/>
        </p:nvSpPr>
        <p:spPr bwMode="auto">
          <a:xfrm>
            <a:off x="7967801"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2" name="Rectangle 41">
            <a:extLst>
              <a:ext uri="{FF2B5EF4-FFF2-40B4-BE49-F238E27FC236}">
                <a16:creationId xmlns:a16="http://schemas.microsoft.com/office/drawing/2014/main" id="{BC8245D8-57E9-41C7-BD8F-64F7A82EA5D6}"/>
              </a:ext>
            </a:extLst>
          </p:cNvPr>
          <p:cNvSpPr/>
          <p:nvPr/>
        </p:nvSpPr>
        <p:spPr bwMode="auto">
          <a:xfrm>
            <a:off x="6101264" y="3472329"/>
            <a:ext cx="918958" cy="189330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vert270" wrap="square" lIns="73152" tIns="73152" rIns="73152" bIns="73152"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fr-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rPr>
              <a:t>TEXT</a:t>
            </a:r>
            <a:endParaRPr kumimoji="0" lang="en-CA" sz="1000" b="1"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cxnSp>
        <p:nvCxnSpPr>
          <p:cNvPr id="43" name="Straight Connector 42">
            <a:extLst>
              <a:ext uri="{FF2B5EF4-FFF2-40B4-BE49-F238E27FC236}">
                <a16:creationId xmlns:a16="http://schemas.microsoft.com/office/drawing/2014/main" id="{B01B9D58-2A9D-4B05-A525-C2971D8977F1}"/>
              </a:ext>
            </a:extLst>
          </p:cNvPr>
          <p:cNvCxnSpPr/>
          <p:nvPr/>
        </p:nvCxnSpPr>
        <p:spPr bwMode="auto">
          <a:xfrm>
            <a:off x="501651"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CC45A196-6C85-4629-834A-380C2FEEF9DD}"/>
              </a:ext>
            </a:extLst>
          </p:cNvPr>
          <p:cNvCxnSpPr/>
          <p:nvPr/>
        </p:nvCxnSpPr>
        <p:spPr bwMode="auto">
          <a:xfrm>
            <a:off x="1433727"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ABBD1A48-F65E-491F-A916-17ACA55E76AB}"/>
              </a:ext>
            </a:extLst>
          </p:cNvPr>
          <p:cNvCxnSpPr/>
          <p:nvPr/>
        </p:nvCxnSpPr>
        <p:spPr bwMode="auto">
          <a:xfrm>
            <a:off x="4229956"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C8F734A6-A993-49CD-88FF-47689800528F}"/>
              </a:ext>
            </a:extLst>
          </p:cNvPr>
          <p:cNvCxnSpPr/>
          <p:nvPr/>
        </p:nvCxnSpPr>
        <p:spPr bwMode="auto">
          <a:xfrm>
            <a:off x="5162032"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0D6C7FA8-DFE3-4861-8FD4-ACD8741D243A}"/>
              </a:ext>
            </a:extLst>
          </p:cNvPr>
          <p:cNvCxnSpPr/>
          <p:nvPr/>
        </p:nvCxnSpPr>
        <p:spPr bwMode="auto">
          <a:xfrm>
            <a:off x="6094108"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31B5798B-9099-4C1A-96D3-276FDEB20900}"/>
              </a:ext>
            </a:extLst>
          </p:cNvPr>
          <p:cNvCxnSpPr/>
          <p:nvPr/>
        </p:nvCxnSpPr>
        <p:spPr bwMode="auto">
          <a:xfrm>
            <a:off x="7026185"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E9EC3CDE-9BA9-48B7-8405-8AB7F9B749A1}"/>
              </a:ext>
            </a:extLst>
          </p:cNvPr>
          <p:cNvCxnSpPr/>
          <p:nvPr/>
        </p:nvCxnSpPr>
        <p:spPr bwMode="auto">
          <a:xfrm>
            <a:off x="7958261"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77CB0D51-7293-4C0B-A3D2-A1217278331E}"/>
              </a:ext>
            </a:extLst>
          </p:cNvPr>
          <p:cNvCxnSpPr/>
          <p:nvPr/>
        </p:nvCxnSpPr>
        <p:spPr bwMode="auto">
          <a:xfrm>
            <a:off x="8890337"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1F9A2A19-B740-4DCC-8424-0D2D090BD96D}"/>
              </a:ext>
            </a:extLst>
          </p:cNvPr>
          <p:cNvCxnSpPr/>
          <p:nvPr/>
        </p:nvCxnSpPr>
        <p:spPr bwMode="auto">
          <a:xfrm>
            <a:off x="9822413"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47324FCD-5B28-4C2A-B843-938A870A4457}"/>
              </a:ext>
            </a:extLst>
          </p:cNvPr>
          <p:cNvCxnSpPr/>
          <p:nvPr/>
        </p:nvCxnSpPr>
        <p:spPr bwMode="auto">
          <a:xfrm>
            <a:off x="10754489"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0164FF28-9368-416E-BFB9-97A25B58CDE3}"/>
              </a:ext>
            </a:extLst>
          </p:cNvPr>
          <p:cNvCxnSpPr/>
          <p:nvPr/>
        </p:nvCxnSpPr>
        <p:spPr bwMode="auto">
          <a:xfrm>
            <a:off x="11686559"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953D5C19-D6BB-43AA-B93A-437055F2C6A0}"/>
              </a:ext>
            </a:extLst>
          </p:cNvPr>
          <p:cNvCxnSpPr/>
          <p:nvPr/>
        </p:nvCxnSpPr>
        <p:spPr bwMode="auto">
          <a:xfrm>
            <a:off x="2365803"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C59ABC28-6FF8-49D7-A663-B6A26E99EC16}"/>
              </a:ext>
            </a:extLst>
          </p:cNvPr>
          <p:cNvCxnSpPr/>
          <p:nvPr/>
        </p:nvCxnSpPr>
        <p:spPr bwMode="auto">
          <a:xfrm>
            <a:off x="3297880" y="3535076"/>
            <a:ext cx="0" cy="1837916"/>
          </a:xfrm>
          <a:prstGeom prst="line">
            <a:avLst/>
          </a:prstGeom>
          <a:noFill/>
          <a:ln w="6350" cap="flat" cmpd="sng" algn="ctr">
            <a:solidFill>
              <a:schemeClr val="bg1">
                <a:lumMod val="50000"/>
              </a:schemeClr>
            </a:solidFill>
            <a:prstDash val="solid"/>
            <a:round/>
            <a:headEnd type="none" w="med" len="med"/>
            <a:tailEnd type="none" w="med" len="med"/>
          </a:ln>
          <a:effectLst/>
        </p:spPr>
      </p:cxnSp>
      <p:sp>
        <p:nvSpPr>
          <p:cNvPr id="56" name="Star: 5 Points 55">
            <a:extLst>
              <a:ext uri="{FF2B5EF4-FFF2-40B4-BE49-F238E27FC236}">
                <a16:creationId xmlns:a16="http://schemas.microsoft.com/office/drawing/2014/main" id="{91CABD4E-4E73-4C99-93D8-D10590931584}"/>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519813619"/>
      </p:ext>
    </p:extLst>
  </p:cSld>
  <p:clrMapOvr>
    <a:masterClrMapping/>
  </p:clrMapOvr>
  <p:transition>
    <p:fade/>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BC53AEB-CDEA-4CE3-8D7D-25C70962317C}"/>
              </a:ext>
            </a:extLst>
          </p:cNvPr>
          <p:cNvGrpSpPr/>
          <p:nvPr/>
        </p:nvGrpSpPr>
        <p:grpSpPr>
          <a:xfrm>
            <a:off x="501650" y="1378262"/>
            <a:ext cx="11068831" cy="4450043"/>
            <a:chOff x="1965325" y="1266944"/>
            <a:chExt cx="7731158" cy="3108186"/>
          </a:xfrm>
        </p:grpSpPr>
        <p:sp>
          <p:nvSpPr>
            <p:cNvPr id="54" name="TextBox 53">
              <a:extLst>
                <a:ext uri="{FF2B5EF4-FFF2-40B4-BE49-F238E27FC236}">
                  <a16:creationId xmlns:a16="http://schemas.microsoft.com/office/drawing/2014/main" id="{6AC2497D-AB16-48D0-992C-2A19AF923380}"/>
                </a:ext>
              </a:extLst>
            </p:cNvPr>
            <p:cNvSpPr txBox="1"/>
            <p:nvPr/>
          </p:nvSpPr>
          <p:spPr>
            <a:xfrm>
              <a:off x="2113107" y="3928854"/>
              <a:ext cx="1371600"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sp>
          <p:nvSpPr>
            <p:cNvPr id="55" name="TextBox 54">
              <a:extLst>
                <a:ext uri="{FF2B5EF4-FFF2-40B4-BE49-F238E27FC236}">
                  <a16:creationId xmlns:a16="http://schemas.microsoft.com/office/drawing/2014/main" id="{81CED3A4-814F-41AB-B212-0011E502078E}"/>
                </a:ext>
              </a:extLst>
            </p:cNvPr>
            <p:cNvSpPr txBox="1"/>
            <p:nvPr/>
          </p:nvSpPr>
          <p:spPr>
            <a:xfrm>
              <a:off x="3629105" y="3928854"/>
              <a:ext cx="1406565"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sp>
          <p:nvSpPr>
            <p:cNvPr id="56" name="TextBox 55">
              <a:extLst>
                <a:ext uri="{FF2B5EF4-FFF2-40B4-BE49-F238E27FC236}">
                  <a16:creationId xmlns:a16="http://schemas.microsoft.com/office/drawing/2014/main" id="{A0087102-C978-4321-8494-773423685B82}"/>
                </a:ext>
              </a:extLst>
            </p:cNvPr>
            <p:cNvSpPr txBox="1"/>
            <p:nvPr/>
          </p:nvSpPr>
          <p:spPr>
            <a:xfrm>
              <a:off x="5145105" y="3928854"/>
              <a:ext cx="1371600"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sp>
          <p:nvSpPr>
            <p:cNvPr id="57" name="TextBox 56">
              <a:extLst>
                <a:ext uri="{FF2B5EF4-FFF2-40B4-BE49-F238E27FC236}">
                  <a16:creationId xmlns:a16="http://schemas.microsoft.com/office/drawing/2014/main" id="{8B6EDE1F-1737-4062-84D6-8D63805A2384}"/>
                </a:ext>
              </a:extLst>
            </p:cNvPr>
            <p:cNvSpPr txBox="1"/>
            <p:nvPr/>
          </p:nvSpPr>
          <p:spPr>
            <a:xfrm>
              <a:off x="6661103" y="3928854"/>
              <a:ext cx="1406569"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sp>
          <p:nvSpPr>
            <p:cNvPr id="58" name="TextBox 57">
              <a:extLst>
                <a:ext uri="{FF2B5EF4-FFF2-40B4-BE49-F238E27FC236}">
                  <a16:creationId xmlns:a16="http://schemas.microsoft.com/office/drawing/2014/main" id="{BE55EEB9-9CB4-40F8-9CC2-808A3851DC4D}"/>
                </a:ext>
              </a:extLst>
            </p:cNvPr>
            <p:cNvSpPr txBox="1"/>
            <p:nvPr/>
          </p:nvSpPr>
          <p:spPr>
            <a:xfrm>
              <a:off x="8177103" y="3928854"/>
              <a:ext cx="1371600" cy="4462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Calibri Light"/>
                  <a:ea typeface="+mn-ea"/>
                  <a:cs typeface="+mn-cs"/>
                </a:rPr>
                <a:t>Title</a:t>
              </a:r>
              <a:r>
                <a:rPr kumimoji="0" lang="en-US" sz="1200" b="0" i="0" u="none" strike="noStrike" kern="1200" cap="none" spc="0" normalizeH="0" baseline="0" noProof="0" dirty="0">
                  <a:ln>
                    <a:noFill/>
                  </a:ln>
                  <a:solidFill>
                    <a:srgbClr val="313131"/>
                  </a:solidFill>
                  <a:effectLst/>
                  <a:uLnTx/>
                  <a:uFillTx/>
                  <a:latin typeface="Calibri Light"/>
                  <a:ea typeface="+mn-ea"/>
                  <a:cs typeface="+mn-cs"/>
                </a:rPr>
                <a:t>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313131"/>
                  </a:solidFill>
                  <a:effectLst/>
                  <a:uLnTx/>
                  <a:uFillTx/>
                  <a:latin typeface="Calibri Light"/>
                  <a:ea typeface="+mn-ea"/>
                  <a:cs typeface="+mn-cs"/>
                </a:rPr>
                <a:t>Subtitle</a:t>
              </a:r>
            </a:p>
          </p:txBody>
        </p:sp>
        <p:grpSp>
          <p:nvGrpSpPr>
            <p:cNvPr id="59" name="Group 58">
              <a:extLst>
                <a:ext uri="{FF2B5EF4-FFF2-40B4-BE49-F238E27FC236}">
                  <a16:creationId xmlns:a16="http://schemas.microsoft.com/office/drawing/2014/main" id="{B87B4D29-7BCE-4C71-A091-42718D645DD4}"/>
                </a:ext>
              </a:extLst>
            </p:cNvPr>
            <p:cNvGrpSpPr/>
            <p:nvPr/>
          </p:nvGrpSpPr>
          <p:grpSpPr>
            <a:xfrm>
              <a:off x="1965325" y="1266944"/>
              <a:ext cx="7731158" cy="2394187"/>
              <a:chOff x="1965325" y="1266944"/>
              <a:chExt cx="7731158" cy="2394187"/>
            </a:xfrm>
          </p:grpSpPr>
          <p:grpSp>
            <p:nvGrpSpPr>
              <p:cNvPr id="60" name="Group 59">
                <a:extLst>
                  <a:ext uri="{FF2B5EF4-FFF2-40B4-BE49-F238E27FC236}">
                    <a16:creationId xmlns:a16="http://schemas.microsoft.com/office/drawing/2014/main" id="{D4871B81-DDE8-4D3C-9A08-C2782A8A77ED}"/>
                  </a:ext>
                </a:extLst>
              </p:cNvPr>
              <p:cNvGrpSpPr/>
              <p:nvPr/>
            </p:nvGrpSpPr>
            <p:grpSpPr>
              <a:xfrm>
                <a:off x="1965325" y="1266944"/>
                <a:ext cx="7731158" cy="2394187"/>
                <a:chOff x="1117600" y="1958738"/>
                <a:chExt cx="7731158" cy="2394187"/>
              </a:xfrm>
            </p:grpSpPr>
            <p:sp>
              <p:nvSpPr>
                <p:cNvPr id="86" name="Arc 85">
                  <a:extLst>
                    <a:ext uri="{FF2B5EF4-FFF2-40B4-BE49-F238E27FC236}">
                      <a16:creationId xmlns:a16="http://schemas.microsoft.com/office/drawing/2014/main" id="{A9988BF7-13B7-482D-8CCB-5D80E6FE7E70}"/>
                    </a:ext>
                  </a:extLst>
                </p:cNvPr>
                <p:cNvSpPr/>
                <p:nvPr/>
              </p:nvSpPr>
              <p:spPr>
                <a:xfrm rot="5074366">
                  <a:off x="4147288" y="1958739"/>
                  <a:ext cx="1671782" cy="1671782"/>
                </a:xfrm>
                <a:prstGeom prst="arc">
                  <a:avLst>
                    <a:gd name="adj1" fmla="val 7056037"/>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87" name="Arc 86">
                  <a:extLst>
                    <a:ext uri="{FF2B5EF4-FFF2-40B4-BE49-F238E27FC236}">
                      <a16:creationId xmlns:a16="http://schemas.microsoft.com/office/drawing/2014/main" id="{423391DB-20EF-4CCC-AF24-FD78F49EF3C9}"/>
                    </a:ext>
                  </a:extLst>
                </p:cNvPr>
                <p:cNvSpPr/>
                <p:nvPr/>
              </p:nvSpPr>
              <p:spPr>
                <a:xfrm rot="5074366">
                  <a:off x="5672895" y="1958739"/>
                  <a:ext cx="1671782" cy="1671782"/>
                </a:xfrm>
                <a:prstGeom prst="arc">
                  <a:avLst>
                    <a:gd name="adj1" fmla="val 7056037"/>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88" name="Arc 87">
                  <a:extLst>
                    <a:ext uri="{FF2B5EF4-FFF2-40B4-BE49-F238E27FC236}">
                      <a16:creationId xmlns:a16="http://schemas.microsoft.com/office/drawing/2014/main" id="{FDB30B88-4465-4911-A835-4F6DA69545E1}"/>
                    </a:ext>
                  </a:extLst>
                </p:cNvPr>
                <p:cNvSpPr/>
                <p:nvPr/>
              </p:nvSpPr>
              <p:spPr>
                <a:xfrm rot="5074366">
                  <a:off x="7176976" y="1958738"/>
                  <a:ext cx="1671782" cy="1671782"/>
                </a:xfrm>
                <a:prstGeom prst="arc">
                  <a:avLst>
                    <a:gd name="adj1" fmla="val 7056037"/>
                    <a:gd name="adj2" fmla="val 4037342"/>
                  </a:avLst>
                </a:prstGeom>
                <a:solidFill>
                  <a:schemeClr val="bg1"/>
                </a:solidFill>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89" name="Arc 88">
                  <a:extLst>
                    <a:ext uri="{FF2B5EF4-FFF2-40B4-BE49-F238E27FC236}">
                      <a16:creationId xmlns:a16="http://schemas.microsoft.com/office/drawing/2014/main" id="{440070C4-0BF5-4D67-BCF6-89634CC4ACD0}"/>
                    </a:ext>
                  </a:extLst>
                </p:cNvPr>
                <p:cNvSpPr/>
                <p:nvPr/>
              </p:nvSpPr>
              <p:spPr>
                <a:xfrm rot="5074366">
                  <a:off x="2632445" y="1958739"/>
                  <a:ext cx="1671782" cy="1671782"/>
                </a:xfrm>
                <a:prstGeom prst="arc">
                  <a:avLst>
                    <a:gd name="adj1" fmla="val 7056037"/>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90" name="Arc 89">
                  <a:extLst>
                    <a:ext uri="{FF2B5EF4-FFF2-40B4-BE49-F238E27FC236}">
                      <a16:creationId xmlns:a16="http://schemas.microsoft.com/office/drawing/2014/main" id="{F434D2D5-C4D5-491F-B5FF-C48269B6AD11}"/>
                    </a:ext>
                  </a:extLst>
                </p:cNvPr>
                <p:cNvSpPr/>
                <p:nvPr/>
              </p:nvSpPr>
              <p:spPr>
                <a:xfrm rot="5074366">
                  <a:off x="2632445" y="1958739"/>
                  <a:ext cx="1671782" cy="1671782"/>
                </a:xfrm>
                <a:prstGeom prst="arc">
                  <a:avLst>
                    <a:gd name="adj1" fmla="val 17745980"/>
                    <a:gd name="adj2" fmla="val 4121998"/>
                  </a:avLst>
                </a:prstGeom>
                <a:solidFill>
                  <a:schemeClr val="bg1"/>
                </a:solidFill>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Frutiger Next Pro Light"/>
                    <a:ea typeface="+mn-ea"/>
                    <a:cs typeface="+mn-cs"/>
                  </a:endParaRPr>
                </a:p>
              </p:txBody>
            </p:sp>
            <p:sp>
              <p:nvSpPr>
                <p:cNvPr id="91" name="Oval 90">
                  <a:extLst>
                    <a:ext uri="{FF2B5EF4-FFF2-40B4-BE49-F238E27FC236}">
                      <a16:creationId xmlns:a16="http://schemas.microsoft.com/office/drawing/2014/main" id="{57C6F2E5-E3B4-49F9-877C-1E6F7FFEFEF6}"/>
                    </a:ext>
                  </a:extLst>
                </p:cNvPr>
                <p:cNvSpPr/>
                <p:nvPr/>
              </p:nvSpPr>
              <p:spPr bwMode="gray">
                <a:xfrm>
                  <a:off x="2784845" y="2111139"/>
                  <a:ext cx="1366982" cy="1366982"/>
                </a:xfrm>
                <a:prstGeom prst="ellipse">
                  <a:avLst/>
                </a:prstGeom>
                <a:solidFill>
                  <a:srgbClr val="046A38"/>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2" name="Arc 91">
                  <a:extLst>
                    <a:ext uri="{FF2B5EF4-FFF2-40B4-BE49-F238E27FC236}">
                      <a16:creationId xmlns:a16="http://schemas.microsoft.com/office/drawing/2014/main" id="{47A8F02E-27E1-4F04-ACCE-5F4987F401A9}"/>
                    </a:ext>
                  </a:extLst>
                </p:cNvPr>
                <p:cNvSpPr/>
                <p:nvPr/>
              </p:nvSpPr>
              <p:spPr>
                <a:xfrm rot="5074366">
                  <a:off x="1117600" y="1958739"/>
                  <a:ext cx="1671782" cy="1671782"/>
                </a:xfrm>
                <a:prstGeom prst="arc">
                  <a:avLst>
                    <a:gd name="adj1" fmla="val 17745980"/>
                    <a:gd name="adj2" fmla="val 14055003"/>
                  </a:avLst>
                </a:prstGeom>
                <a:solidFill>
                  <a:schemeClr val="bg1"/>
                </a:solidFill>
                <a:ln w="9525" cmpd="sng">
                  <a:solidFill>
                    <a:schemeClr val="bg1">
                      <a:lumMod val="65000"/>
                    </a:schemeClr>
                  </a:solidFill>
                  <a:headEnd type="none"/>
                  <a:tailEnd type="arrow"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93" name="Oval 92">
                  <a:extLst>
                    <a:ext uri="{FF2B5EF4-FFF2-40B4-BE49-F238E27FC236}">
                      <a16:creationId xmlns:a16="http://schemas.microsoft.com/office/drawing/2014/main" id="{AB55DD9B-9155-49FC-B5F8-911490E9CBC9}"/>
                    </a:ext>
                  </a:extLst>
                </p:cNvPr>
                <p:cNvSpPr/>
                <p:nvPr/>
              </p:nvSpPr>
              <p:spPr bwMode="gray">
                <a:xfrm>
                  <a:off x="1270000" y="2111139"/>
                  <a:ext cx="1366982" cy="1366982"/>
                </a:xfrm>
                <a:prstGeom prst="ellipse">
                  <a:avLst/>
                </a:prstGeom>
                <a:solidFill>
                  <a:schemeClr val="accent1"/>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4" name="Arc 93">
                  <a:extLst>
                    <a:ext uri="{FF2B5EF4-FFF2-40B4-BE49-F238E27FC236}">
                      <a16:creationId xmlns:a16="http://schemas.microsoft.com/office/drawing/2014/main" id="{245A4ADC-7C88-4B34-93D0-E3F566538F8F}"/>
                    </a:ext>
                  </a:extLst>
                </p:cNvPr>
                <p:cNvSpPr/>
                <p:nvPr/>
              </p:nvSpPr>
              <p:spPr>
                <a:xfrm rot="5074366">
                  <a:off x="4147289" y="1958739"/>
                  <a:ext cx="1671782" cy="1671782"/>
                </a:xfrm>
                <a:prstGeom prst="arc">
                  <a:avLst>
                    <a:gd name="adj1" fmla="val 17745980"/>
                    <a:gd name="adj2" fmla="val 4106414"/>
                  </a:avLst>
                </a:prstGeom>
                <a:solidFill>
                  <a:schemeClr val="bg1"/>
                </a:solidFill>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Frutiger Next Pro Light"/>
                    <a:ea typeface="+mn-ea"/>
                    <a:cs typeface="+mn-cs"/>
                  </a:endParaRPr>
                </a:p>
              </p:txBody>
            </p:sp>
            <p:sp>
              <p:nvSpPr>
                <p:cNvPr id="95" name="Oval 94">
                  <a:extLst>
                    <a:ext uri="{FF2B5EF4-FFF2-40B4-BE49-F238E27FC236}">
                      <a16:creationId xmlns:a16="http://schemas.microsoft.com/office/drawing/2014/main" id="{B910197A-0150-4F18-AA2B-941C347B0A9F}"/>
                    </a:ext>
                  </a:extLst>
                </p:cNvPr>
                <p:cNvSpPr/>
                <p:nvPr/>
              </p:nvSpPr>
              <p:spPr bwMode="gray">
                <a:xfrm>
                  <a:off x="4299689" y="2111139"/>
                  <a:ext cx="1366982" cy="1366982"/>
                </a:xfrm>
                <a:prstGeom prst="ellipse">
                  <a:avLst/>
                </a:prstGeom>
                <a:solidFill>
                  <a:srgbClr val="43B02A"/>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6" name="Oval 95">
                  <a:extLst>
                    <a:ext uri="{FF2B5EF4-FFF2-40B4-BE49-F238E27FC236}">
                      <a16:creationId xmlns:a16="http://schemas.microsoft.com/office/drawing/2014/main" id="{BB29D4F1-4988-4F1A-A4BF-C1A9F0572FA2}"/>
                    </a:ext>
                  </a:extLst>
                </p:cNvPr>
                <p:cNvSpPr/>
                <p:nvPr/>
              </p:nvSpPr>
              <p:spPr bwMode="gray">
                <a:xfrm>
                  <a:off x="7329378" y="2111139"/>
                  <a:ext cx="1366982" cy="1366982"/>
                </a:xfrm>
                <a:prstGeom prst="ellipse">
                  <a:avLst/>
                </a:prstGeom>
                <a:solidFill>
                  <a:srgbClr val="2C5234"/>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7" name="Oval 96">
                  <a:extLst>
                    <a:ext uri="{FF2B5EF4-FFF2-40B4-BE49-F238E27FC236}">
                      <a16:creationId xmlns:a16="http://schemas.microsoft.com/office/drawing/2014/main" id="{604AA596-703F-45CE-8B4C-5FA1FE991AC8}"/>
                    </a:ext>
                  </a:extLst>
                </p:cNvPr>
                <p:cNvSpPr/>
                <p:nvPr/>
              </p:nvSpPr>
              <p:spPr bwMode="gray">
                <a:xfrm>
                  <a:off x="5814534" y="2111139"/>
                  <a:ext cx="1366982" cy="1366982"/>
                </a:xfrm>
                <a:prstGeom prst="ellipse">
                  <a:avLst/>
                </a:prstGeom>
                <a:solidFill>
                  <a:schemeClr val="accent1"/>
                </a:solidFill>
                <a:ln w="120650" algn="ctr">
                  <a:solidFill>
                    <a:schemeClr val="bg2">
                      <a:alpha val="62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8" name="Arc 97">
                  <a:extLst>
                    <a:ext uri="{FF2B5EF4-FFF2-40B4-BE49-F238E27FC236}">
                      <a16:creationId xmlns:a16="http://schemas.microsoft.com/office/drawing/2014/main" id="{D6160555-9BF3-4789-BE22-0E4647997F93}"/>
                    </a:ext>
                  </a:extLst>
                </p:cNvPr>
                <p:cNvSpPr/>
                <p:nvPr/>
              </p:nvSpPr>
              <p:spPr>
                <a:xfrm rot="5074366">
                  <a:off x="5662134" y="1958739"/>
                  <a:ext cx="1671782" cy="1671782"/>
                </a:xfrm>
                <a:prstGeom prst="arc">
                  <a:avLst>
                    <a:gd name="adj1" fmla="val 17745980"/>
                    <a:gd name="adj2" fmla="val 4035647"/>
                  </a:avLst>
                </a:prstGeom>
                <a:ln w="9525" cmpd="sng">
                  <a:solidFill>
                    <a:schemeClr val="bg1">
                      <a:lumMod val="65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Frutiger Next Pro Light"/>
                    <a:ea typeface="+mn-ea"/>
                    <a:cs typeface="+mn-cs"/>
                  </a:endParaRPr>
                </a:p>
              </p:txBody>
            </p:sp>
            <p:cxnSp>
              <p:nvCxnSpPr>
                <p:cNvPr id="99" name="Straight Connector 98">
                  <a:extLst>
                    <a:ext uri="{FF2B5EF4-FFF2-40B4-BE49-F238E27FC236}">
                      <a16:creationId xmlns:a16="http://schemas.microsoft.com/office/drawing/2014/main" id="{D0FFBA2E-2C39-47B4-83E2-9101DFAF136A}"/>
                    </a:ext>
                  </a:extLst>
                </p:cNvPr>
                <p:cNvCxnSpPr>
                  <a:cxnSpLocks/>
                </p:cNvCxnSpPr>
                <p:nvPr/>
              </p:nvCxnSpPr>
              <p:spPr>
                <a:xfrm>
                  <a:off x="1953491"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B4D6FAEB-576A-4B00-82AB-FD6AA04FAE06}"/>
                    </a:ext>
                  </a:extLst>
                </p:cNvPr>
                <p:cNvCxnSpPr>
                  <a:cxnSpLocks/>
                </p:cNvCxnSpPr>
                <p:nvPr/>
              </p:nvCxnSpPr>
              <p:spPr>
                <a:xfrm>
                  <a:off x="3468335"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E65AEC33-A7F4-4CDE-969E-08B815F94921}"/>
                    </a:ext>
                  </a:extLst>
                </p:cNvPr>
                <p:cNvCxnSpPr>
                  <a:cxnSpLocks/>
                </p:cNvCxnSpPr>
                <p:nvPr/>
              </p:nvCxnSpPr>
              <p:spPr>
                <a:xfrm>
                  <a:off x="4983180"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EB141F01-C84E-4676-B4AF-2FAD7D0493A9}"/>
                    </a:ext>
                  </a:extLst>
                </p:cNvPr>
                <p:cNvCxnSpPr>
                  <a:cxnSpLocks/>
                </p:cNvCxnSpPr>
                <p:nvPr/>
              </p:nvCxnSpPr>
              <p:spPr>
                <a:xfrm>
                  <a:off x="6498024"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B8F62EFC-C627-401B-9E02-1968D451EE73}"/>
                    </a:ext>
                  </a:extLst>
                </p:cNvPr>
                <p:cNvCxnSpPr>
                  <a:cxnSpLocks/>
                </p:cNvCxnSpPr>
                <p:nvPr/>
              </p:nvCxnSpPr>
              <p:spPr>
                <a:xfrm>
                  <a:off x="8012869" y="3629025"/>
                  <a:ext cx="0" cy="723900"/>
                </a:xfrm>
                <a:prstGeom prst="line">
                  <a:avLst/>
                </a:prstGeom>
                <a:solidFill>
                  <a:schemeClr val="bg1"/>
                </a:solidFill>
                <a:ln w="9525" cmpd="sng">
                  <a:solidFill>
                    <a:schemeClr val="bg1">
                      <a:lumMod val="65000"/>
                    </a:schemeClr>
                  </a:solidFill>
                  <a:headEnd type="none"/>
                  <a:tailEnd type="oval" w="med" len="med"/>
                </a:ln>
                <a:effectLst/>
              </p:spPr>
              <p:style>
                <a:lnRef idx="2">
                  <a:schemeClr val="accent1"/>
                </a:lnRef>
                <a:fillRef idx="0">
                  <a:schemeClr val="accent1"/>
                </a:fillRef>
                <a:effectRef idx="1">
                  <a:schemeClr val="accent1"/>
                </a:effectRef>
                <a:fontRef idx="minor">
                  <a:schemeClr val="tx1"/>
                </a:fontRef>
              </p:style>
            </p:cxnSp>
          </p:grpSp>
          <p:grpSp>
            <p:nvGrpSpPr>
              <p:cNvPr id="61" name="Group 60">
                <a:extLst>
                  <a:ext uri="{FF2B5EF4-FFF2-40B4-BE49-F238E27FC236}">
                    <a16:creationId xmlns:a16="http://schemas.microsoft.com/office/drawing/2014/main" id="{A1E15662-1BA2-4BE9-80FE-656DB55DE8BF}"/>
                  </a:ext>
                </a:extLst>
              </p:cNvPr>
              <p:cNvGrpSpPr>
                <a:grpSpLocks noChangeAspect="1"/>
              </p:cNvGrpSpPr>
              <p:nvPr/>
            </p:nvGrpSpPr>
            <p:grpSpPr>
              <a:xfrm>
                <a:off x="4059049" y="1861535"/>
                <a:ext cx="527050" cy="514350"/>
                <a:chOff x="12361863" y="5345113"/>
                <a:chExt cx="527050" cy="514350"/>
              </a:xfrm>
              <a:solidFill>
                <a:schemeClr val="bg1"/>
              </a:solidFill>
            </p:grpSpPr>
            <p:sp>
              <p:nvSpPr>
                <p:cNvPr id="81" name="Freeform 673">
                  <a:extLst>
                    <a:ext uri="{FF2B5EF4-FFF2-40B4-BE49-F238E27FC236}">
                      <a16:creationId xmlns:a16="http://schemas.microsoft.com/office/drawing/2014/main" id="{3F6C9975-3272-4A15-BCB4-2A559D64ED94}"/>
                    </a:ext>
                  </a:extLst>
                </p:cNvPr>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2" name="Freeform 674">
                  <a:extLst>
                    <a:ext uri="{FF2B5EF4-FFF2-40B4-BE49-F238E27FC236}">
                      <a16:creationId xmlns:a16="http://schemas.microsoft.com/office/drawing/2014/main" id="{8EBC6DAF-9B30-489C-865C-433CC942A094}"/>
                    </a:ext>
                  </a:extLst>
                </p:cNvPr>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3" name="Freeform 675">
                  <a:extLst>
                    <a:ext uri="{FF2B5EF4-FFF2-40B4-BE49-F238E27FC236}">
                      <a16:creationId xmlns:a16="http://schemas.microsoft.com/office/drawing/2014/main" id="{25D04270-9D61-4C46-8EC9-ADBE2943D07E}"/>
                    </a:ext>
                  </a:extLst>
                </p:cNvPr>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4" name="Freeform 676">
                  <a:extLst>
                    <a:ext uri="{FF2B5EF4-FFF2-40B4-BE49-F238E27FC236}">
                      <a16:creationId xmlns:a16="http://schemas.microsoft.com/office/drawing/2014/main" id="{4E54C017-9A96-4914-9812-F346D4B37692}"/>
                    </a:ext>
                  </a:extLst>
                </p:cNvPr>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5" name="Freeform 677">
                  <a:extLst>
                    <a:ext uri="{FF2B5EF4-FFF2-40B4-BE49-F238E27FC236}">
                      <a16:creationId xmlns:a16="http://schemas.microsoft.com/office/drawing/2014/main" id="{34F1EF4A-FA71-4774-BAC3-AB6085AB79F9}"/>
                    </a:ext>
                  </a:extLst>
                </p:cNvPr>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62" name="Group 61">
                <a:extLst>
                  <a:ext uri="{FF2B5EF4-FFF2-40B4-BE49-F238E27FC236}">
                    <a16:creationId xmlns:a16="http://schemas.microsoft.com/office/drawing/2014/main" id="{F95D9390-118F-47E0-BE90-424EA02443EB}"/>
                  </a:ext>
                </a:extLst>
              </p:cNvPr>
              <p:cNvGrpSpPr>
                <a:grpSpLocks noChangeAspect="1"/>
              </p:cNvGrpSpPr>
              <p:nvPr/>
            </p:nvGrpSpPr>
            <p:grpSpPr>
              <a:xfrm>
                <a:off x="5560235" y="1862329"/>
                <a:ext cx="541338" cy="512762"/>
                <a:chOff x="4662488" y="4738688"/>
                <a:chExt cx="541338" cy="512762"/>
              </a:xfrm>
              <a:solidFill>
                <a:schemeClr val="bg1"/>
              </a:solidFill>
            </p:grpSpPr>
            <p:sp>
              <p:nvSpPr>
                <p:cNvPr id="79" name="Freeform 198">
                  <a:extLst>
                    <a:ext uri="{FF2B5EF4-FFF2-40B4-BE49-F238E27FC236}">
                      <a16:creationId xmlns:a16="http://schemas.microsoft.com/office/drawing/2014/main" id="{3EEF1111-1042-4A57-B14C-75A0558035E2}"/>
                    </a:ext>
                  </a:extLst>
                </p:cNvPr>
                <p:cNvSpPr>
                  <a:spLocks/>
                </p:cNvSpPr>
                <p:nvPr/>
              </p:nvSpPr>
              <p:spPr bwMode="auto">
                <a:xfrm>
                  <a:off x="4662488" y="4738688"/>
                  <a:ext cx="541338" cy="511175"/>
                </a:xfrm>
                <a:custGeom>
                  <a:avLst/>
                  <a:gdLst>
                    <a:gd name="T0" fmla="*/ 235 w 237"/>
                    <a:gd name="T1" fmla="*/ 85 h 223"/>
                    <a:gd name="T2" fmla="*/ 225 w 237"/>
                    <a:gd name="T3" fmla="*/ 77 h 223"/>
                    <a:gd name="T4" fmla="*/ 153 w 237"/>
                    <a:gd name="T5" fmla="*/ 75 h 223"/>
                    <a:gd name="T6" fmla="*/ 129 w 237"/>
                    <a:gd name="T7" fmla="*/ 8 h 223"/>
                    <a:gd name="T8" fmla="*/ 118 w 237"/>
                    <a:gd name="T9" fmla="*/ 0 h 223"/>
                    <a:gd name="T10" fmla="*/ 108 w 237"/>
                    <a:gd name="T11" fmla="*/ 8 h 223"/>
                    <a:gd name="T12" fmla="*/ 84 w 237"/>
                    <a:gd name="T13" fmla="*/ 75 h 223"/>
                    <a:gd name="T14" fmla="*/ 12 w 237"/>
                    <a:gd name="T15" fmla="*/ 77 h 223"/>
                    <a:gd name="T16" fmla="*/ 2 w 237"/>
                    <a:gd name="T17" fmla="*/ 85 h 223"/>
                    <a:gd name="T18" fmla="*/ 6 w 237"/>
                    <a:gd name="T19" fmla="*/ 97 h 223"/>
                    <a:gd name="T20" fmla="*/ 63 w 237"/>
                    <a:gd name="T21" fmla="*/ 140 h 223"/>
                    <a:gd name="T22" fmla="*/ 42 w 237"/>
                    <a:gd name="T23" fmla="*/ 208 h 223"/>
                    <a:gd name="T24" fmla="*/ 46 w 237"/>
                    <a:gd name="T25" fmla="*/ 220 h 223"/>
                    <a:gd name="T26" fmla="*/ 53 w 237"/>
                    <a:gd name="T27" fmla="*/ 223 h 223"/>
                    <a:gd name="T28" fmla="*/ 60 w 237"/>
                    <a:gd name="T29" fmla="*/ 221 h 223"/>
                    <a:gd name="T30" fmla="*/ 121 w 237"/>
                    <a:gd name="T31" fmla="*/ 178 h 223"/>
                    <a:gd name="T32" fmla="*/ 122 w 237"/>
                    <a:gd name="T33" fmla="*/ 172 h 223"/>
                    <a:gd name="T34" fmla="*/ 116 w 237"/>
                    <a:gd name="T35" fmla="*/ 170 h 223"/>
                    <a:gd name="T36" fmla="*/ 54 w 237"/>
                    <a:gd name="T37" fmla="*/ 213 h 223"/>
                    <a:gd name="T38" fmla="*/ 52 w 237"/>
                    <a:gd name="T39" fmla="*/ 213 h 223"/>
                    <a:gd name="T40" fmla="*/ 51 w 237"/>
                    <a:gd name="T41" fmla="*/ 211 h 223"/>
                    <a:gd name="T42" fmla="*/ 73 w 237"/>
                    <a:gd name="T43" fmla="*/ 140 h 223"/>
                    <a:gd name="T44" fmla="*/ 71 w 237"/>
                    <a:gd name="T45" fmla="*/ 134 h 223"/>
                    <a:gd name="T46" fmla="*/ 11 w 237"/>
                    <a:gd name="T47" fmla="*/ 90 h 223"/>
                    <a:gd name="T48" fmla="*/ 11 w 237"/>
                    <a:gd name="T49" fmla="*/ 87 h 223"/>
                    <a:gd name="T50" fmla="*/ 13 w 237"/>
                    <a:gd name="T51" fmla="*/ 86 h 223"/>
                    <a:gd name="T52" fmla="*/ 88 w 237"/>
                    <a:gd name="T53" fmla="*/ 84 h 223"/>
                    <a:gd name="T54" fmla="*/ 92 w 237"/>
                    <a:gd name="T55" fmla="*/ 81 h 223"/>
                    <a:gd name="T56" fmla="*/ 117 w 237"/>
                    <a:gd name="T57" fmla="*/ 11 h 223"/>
                    <a:gd name="T58" fmla="*/ 120 w 237"/>
                    <a:gd name="T59" fmla="*/ 11 h 223"/>
                    <a:gd name="T60" fmla="*/ 145 w 237"/>
                    <a:gd name="T61" fmla="*/ 81 h 223"/>
                    <a:gd name="T62" fmla="*/ 149 w 237"/>
                    <a:gd name="T63" fmla="*/ 84 h 223"/>
                    <a:gd name="T64" fmla="*/ 224 w 237"/>
                    <a:gd name="T65" fmla="*/ 86 h 223"/>
                    <a:gd name="T66" fmla="*/ 226 w 237"/>
                    <a:gd name="T67" fmla="*/ 87 h 223"/>
                    <a:gd name="T68" fmla="*/ 225 w 237"/>
                    <a:gd name="T69" fmla="*/ 90 h 223"/>
                    <a:gd name="T70" fmla="*/ 189 w 237"/>
                    <a:gd name="T71" fmla="*/ 117 h 223"/>
                    <a:gd name="T72" fmla="*/ 188 w 237"/>
                    <a:gd name="T73" fmla="*/ 123 h 223"/>
                    <a:gd name="T74" fmla="*/ 195 w 237"/>
                    <a:gd name="T75" fmla="*/ 124 h 223"/>
                    <a:gd name="T76" fmla="*/ 231 w 237"/>
                    <a:gd name="T77" fmla="*/ 97 h 223"/>
                    <a:gd name="T78" fmla="*/ 235 w 237"/>
                    <a:gd name="T79" fmla="*/ 8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7" h="223">
                      <a:moveTo>
                        <a:pt x="235" y="85"/>
                      </a:moveTo>
                      <a:cubicBezTo>
                        <a:pt x="234" y="80"/>
                        <a:pt x="229" y="77"/>
                        <a:pt x="225" y="77"/>
                      </a:cubicBezTo>
                      <a:cubicBezTo>
                        <a:pt x="153" y="75"/>
                        <a:pt x="153" y="75"/>
                        <a:pt x="153" y="75"/>
                      </a:cubicBezTo>
                      <a:cubicBezTo>
                        <a:pt x="129" y="8"/>
                        <a:pt x="129" y="8"/>
                        <a:pt x="129" y="8"/>
                      </a:cubicBezTo>
                      <a:cubicBezTo>
                        <a:pt x="128" y="4"/>
                        <a:pt x="123" y="0"/>
                        <a:pt x="118" y="0"/>
                      </a:cubicBezTo>
                      <a:cubicBezTo>
                        <a:pt x="114" y="0"/>
                        <a:pt x="109" y="4"/>
                        <a:pt x="108" y="8"/>
                      </a:cubicBezTo>
                      <a:cubicBezTo>
                        <a:pt x="84" y="75"/>
                        <a:pt x="84" y="75"/>
                        <a:pt x="84" y="75"/>
                      </a:cubicBezTo>
                      <a:cubicBezTo>
                        <a:pt x="12" y="77"/>
                        <a:pt x="12" y="77"/>
                        <a:pt x="12" y="77"/>
                      </a:cubicBezTo>
                      <a:cubicBezTo>
                        <a:pt x="7" y="77"/>
                        <a:pt x="3" y="80"/>
                        <a:pt x="2" y="85"/>
                      </a:cubicBezTo>
                      <a:cubicBezTo>
                        <a:pt x="0" y="89"/>
                        <a:pt x="2" y="94"/>
                        <a:pt x="6" y="97"/>
                      </a:cubicBezTo>
                      <a:cubicBezTo>
                        <a:pt x="63" y="140"/>
                        <a:pt x="63" y="140"/>
                        <a:pt x="63" y="140"/>
                      </a:cubicBezTo>
                      <a:cubicBezTo>
                        <a:pt x="42" y="208"/>
                        <a:pt x="42" y="208"/>
                        <a:pt x="42" y="208"/>
                      </a:cubicBezTo>
                      <a:cubicBezTo>
                        <a:pt x="41" y="212"/>
                        <a:pt x="42" y="218"/>
                        <a:pt x="46" y="220"/>
                      </a:cubicBezTo>
                      <a:cubicBezTo>
                        <a:pt x="48" y="222"/>
                        <a:pt x="51" y="223"/>
                        <a:pt x="53" y="223"/>
                      </a:cubicBezTo>
                      <a:cubicBezTo>
                        <a:pt x="55" y="223"/>
                        <a:pt x="58" y="222"/>
                        <a:pt x="60" y="221"/>
                      </a:cubicBezTo>
                      <a:cubicBezTo>
                        <a:pt x="121" y="178"/>
                        <a:pt x="121" y="178"/>
                        <a:pt x="121" y="178"/>
                      </a:cubicBezTo>
                      <a:cubicBezTo>
                        <a:pt x="123" y="177"/>
                        <a:pt x="124" y="174"/>
                        <a:pt x="122" y="172"/>
                      </a:cubicBezTo>
                      <a:cubicBezTo>
                        <a:pt x="121" y="169"/>
                        <a:pt x="118" y="169"/>
                        <a:pt x="116" y="170"/>
                      </a:cubicBezTo>
                      <a:cubicBezTo>
                        <a:pt x="54" y="213"/>
                        <a:pt x="54" y="213"/>
                        <a:pt x="54" y="213"/>
                      </a:cubicBezTo>
                      <a:cubicBezTo>
                        <a:pt x="53" y="213"/>
                        <a:pt x="53" y="213"/>
                        <a:pt x="52" y="213"/>
                      </a:cubicBezTo>
                      <a:cubicBezTo>
                        <a:pt x="51" y="212"/>
                        <a:pt x="51" y="211"/>
                        <a:pt x="51" y="211"/>
                      </a:cubicBezTo>
                      <a:cubicBezTo>
                        <a:pt x="73" y="140"/>
                        <a:pt x="73" y="140"/>
                        <a:pt x="73" y="140"/>
                      </a:cubicBezTo>
                      <a:cubicBezTo>
                        <a:pt x="73" y="138"/>
                        <a:pt x="73" y="136"/>
                        <a:pt x="71" y="134"/>
                      </a:cubicBezTo>
                      <a:cubicBezTo>
                        <a:pt x="11" y="90"/>
                        <a:pt x="11" y="90"/>
                        <a:pt x="11" y="90"/>
                      </a:cubicBezTo>
                      <a:cubicBezTo>
                        <a:pt x="11" y="89"/>
                        <a:pt x="10" y="88"/>
                        <a:pt x="11" y="87"/>
                      </a:cubicBezTo>
                      <a:cubicBezTo>
                        <a:pt x="11" y="87"/>
                        <a:pt x="12" y="86"/>
                        <a:pt x="13" y="86"/>
                      </a:cubicBezTo>
                      <a:cubicBezTo>
                        <a:pt x="88" y="84"/>
                        <a:pt x="88" y="84"/>
                        <a:pt x="88" y="84"/>
                      </a:cubicBezTo>
                      <a:cubicBezTo>
                        <a:pt x="90" y="84"/>
                        <a:pt x="91" y="83"/>
                        <a:pt x="92" y="81"/>
                      </a:cubicBezTo>
                      <a:cubicBezTo>
                        <a:pt x="117" y="11"/>
                        <a:pt x="117" y="11"/>
                        <a:pt x="117" y="11"/>
                      </a:cubicBezTo>
                      <a:cubicBezTo>
                        <a:pt x="117" y="10"/>
                        <a:pt x="120" y="10"/>
                        <a:pt x="120" y="11"/>
                      </a:cubicBezTo>
                      <a:cubicBezTo>
                        <a:pt x="145" y="81"/>
                        <a:pt x="145" y="81"/>
                        <a:pt x="145" y="81"/>
                      </a:cubicBezTo>
                      <a:cubicBezTo>
                        <a:pt x="146" y="83"/>
                        <a:pt x="147" y="84"/>
                        <a:pt x="149" y="84"/>
                      </a:cubicBezTo>
                      <a:cubicBezTo>
                        <a:pt x="224" y="86"/>
                        <a:pt x="224" y="86"/>
                        <a:pt x="224" y="86"/>
                      </a:cubicBezTo>
                      <a:cubicBezTo>
                        <a:pt x="225" y="86"/>
                        <a:pt x="226" y="87"/>
                        <a:pt x="226" y="87"/>
                      </a:cubicBezTo>
                      <a:cubicBezTo>
                        <a:pt x="226" y="88"/>
                        <a:pt x="226" y="89"/>
                        <a:pt x="225" y="90"/>
                      </a:cubicBezTo>
                      <a:cubicBezTo>
                        <a:pt x="189" y="117"/>
                        <a:pt x="189" y="117"/>
                        <a:pt x="189" y="117"/>
                      </a:cubicBezTo>
                      <a:cubicBezTo>
                        <a:pt x="187" y="118"/>
                        <a:pt x="187" y="121"/>
                        <a:pt x="188" y="123"/>
                      </a:cubicBezTo>
                      <a:cubicBezTo>
                        <a:pt x="190" y="126"/>
                        <a:pt x="193" y="126"/>
                        <a:pt x="195" y="124"/>
                      </a:cubicBezTo>
                      <a:cubicBezTo>
                        <a:pt x="231" y="97"/>
                        <a:pt x="231" y="97"/>
                        <a:pt x="231" y="97"/>
                      </a:cubicBezTo>
                      <a:cubicBezTo>
                        <a:pt x="235" y="94"/>
                        <a:pt x="237" y="89"/>
                        <a:pt x="235"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0" name="Freeform 199">
                  <a:extLst>
                    <a:ext uri="{FF2B5EF4-FFF2-40B4-BE49-F238E27FC236}">
                      <a16:creationId xmlns:a16="http://schemas.microsoft.com/office/drawing/2014/main" id="{6A2645E5-1FD6-473F-96FA-A14710BFECDC}"/>
                    </a:ext>
                  </a:extLst>
                </p:cNvPr>
                <p:cNvSpPr>
                  <a:spLocks/>
                </p:cNvSpPr>
                <p:nvPr/>
              </p:nvSpPr>
              <p:spPr bwMode="auto">
                <a:xfrm>
                  <a:off x="4967288" y="5048250"/>
                  <a:ext cx="200025" cy="203200"/>
                </a:xfrm>
                <a:custGeom>
                  <a:avLst/>
                  <a:gdLst>
                    <a:gd name="T0" fmla="*/ 83 w 88"/>
                    <a:gd name="T1" fmla="*/ 40 h 89"/>
                    <a:gd name="T2" fmla="*/ 49 w 88"/>
                    <a:gd name="T3" fmla="*/ 40 h 89"/>
                    <a:gd name="T4" fmla="*/ 49 w 88"/>
                    <a:gd name="T5" fmla="*/ 5 h 89"/>
                    <a:gd name="T6" fmla="*/ 44 w 88"/>
                    <a:gd name="T7" fmla="*/ 0 h 89"/>
                    <a:gd name="T8" fmla="*/ 39 w 88"/>
                    <a:gd name="T9" fmla="*/ 5 h 89"/>
                    <a:gd name="T10" fmla="*/ 39 w 88"/>
                    <a:gd name="T11" fmla="*/ 40 h 89"/>
                    <a:gd name="T12" fmla="*/ 4 w 88"/>
                    <a:gd name="T13" fmla="*/ 40 h 89"/>
                    <a:gd name="T14" fmla="*/ 0 w 88"/>
                    <a:gd name="T15" fmla="*/ 45 h 89"/>
                    <a:gd name="T16" fmla="*/ 4 w 88"/>
                    <a:gd name="T17" fmla="*/ 49 h 89"/>
                    <a:gd name="T18" fmla="*/ 39 w 88"/>
                    <a:gd name="T19" fmla="*/ 49 h 89"/>
                    <a:gd name="T20" fmla="*/ 39 w 88"/>
                    <a:gd name="T21" fmla="*/ 84 h 89"/>
                    <a:gd name="T22" fmla="*/ 44 w 88"/>
                    <a:gd name="T23" fmla="*/ 89 h 89"/>
                    <a:gd name="T24" fmla="*/ 49 w 88"/>
                    <a:gd name="T25" fmla="*/ 84 h 89"/>
                    <a:gd name="T26" fmla="*/ 49 w 88"/>
                    <a:gd name="T27" fmla="*/ 49 h 89"/>
                    <a:gd name="T28" fmla="*/ 83 w 88"/>
                    <a:gd name="T29" fmla="*/ 49 h 89"/>
                    <a:gd name="T30" fmla="*/ 88 w 88"/>
                    <a:gd name="T31" fmla="*/ 45 h 89"/>
                    <a:gd name="T32" fmla="*/ 83 w 88"/>
                    <a:gd name="T33" fmla="*/ 4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89">
                      <a:moveTo>
                        <a:pt x="83" y="40"/>
                      </a:moveTo>
                      <a:cubicBezTo>
                        <a:pt x="49" y="40"/>
                        <a:pt x="49" y="40"/>
                        <a:pt x="49" y="40"/>
                      </a:cubicBezTo>
                      <a:cubicBezTo>
                        <a:pt x="49" y="5"/>
                        <a:pt x="49" y="5"/>
                        <a:pt x="49" y="5"/>
                      </a:cubicBezTo>
                      <a:cubicBezTo>
                        <a:pt x="49" y="3"/>
                        <a:pt x="47" y="0"/>
                        <a:pt x="44" y="0"/>
                      </a:cubicBezTo>
                      <a:cubicBezTo>
                        <a:pt x="41" y="0"/>
                        <a:pt x="39" y="3"/>
                        <a:pt x="39" y="5"/>
                      </a:cubicBezTo>
                      <a:cubicBezTo>
                        <a:pt x="39" y="40"/>
                        <a:pt x="39" y="40"/>
                        <a:pt x="39" y="40"/>
                      </a:cubicBezTo>
                      <a:cubicBezTo>
                        <a:pt x="4" y="40"/>
                        <a:pt x="4" y="40"/>
                        <a:pt x="4" y="40"/>
                      </a:cubicBezTo>
                      <a:cubicBezTo>
                        <a:pt x="2" y="40"/>
                        <a:pt x="0" y="42"/>
                        <a:pt x="0" y="45"/>
                      </a:cubicBezTo>
                      <a:cubicBezTo>
                        <a:pt x="0" y="47"/>
                        <a:pt x="2" y="49"/>
                        <a:pt x="4" y="49"/>
                      </a:cubicBezTo>
                      <a:cubicBezTo>
                        <a:pt x="39" y="49"/>
                        <a:pt x="39" y="49"/>
                        <a:pt x="39" y="49"/>
                      </a:cubicBezTo>
                      <a:cubicBezTo>
                        <a:pt x="39" y="84"/>
                        <a:pt x="39" y="84"/>
                        <a:pt x="39" y="84"/>
                      </a:cubicBezTo>
                      <a:cubicBezTo>
                        <a:pt x="39" y="87"/>
                        <a:pt x="41" y="89"/>
                        <a:pt x="44" y="89"/>
                      </a:cubicBezTo>
                      <a:cubicBezTo>
                        <a:pt x="47" y="89"/>
                        <a:pt x="49" y="87"/>
                        <a:pt x="49" y="84"/>
                      </a:cubicBezTo>
                      <a:cubicBezTo>
                        <a:pt x="49" y="49"/>
                        <a:pt x="49" y="49"/>
                        <a:pt x="49" y="49"/>
                      </a:cubicBezTo>
                      <a:cubicBezTo>
                        <a:pt x="83" y="49"/>
                        <a:pt x="83" y="49"/>
                        <a:pt x="83" y="49"/>
                      </a:cubicBezTo>
                      <a:cubicBezTo>
                        <a:pt x="86" y="49"/>
                        <a:pt x="88" y="47"/>
                        <a:pt x="88" y="45"/>
                      </a:cubicBezTo>
                      <a:cubicBezTo>
                        <a:pt x="88" y="42"/>
                        <a:pt x="86" y="40"/>
                        <a:pt x="83" y="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63" name="Freeform 326">
                <a:extLst>
                  <a:ext uri="{FF2B5EF4-FFF2-40B4-BE49-F238E27FC236}">
                    <a16:creationId xmlns:a16="http://schemas.microsoft.com/office/drawing/2014/main" id="{EB933E63-B38B-4290-89D0-0294287B033A}"/>
                  </a:ext>
                </a:extLst>
              </p:cNvPr>
              <p:cNvSpPr>
                <a:spLocks noChangeAspect="1" noEditPoints="1"/>
              </p:cNvSpPr>
              <p:nvPr/>
            </p:nvSpPr>
            <p:spPr bwMode="auto">
              <a:xfrm>
                <a:off x="8595128" y="1828991"/>
                <a:ext cx="552450" cy="579438"/>
              </a:xfrm>
              <a:custGeom>
                <a:avLst/>
                <a:gdLst>
                  <a:gd name="T0" fmla="*/ 182 w 227"/>
                  <a:gd name="T1" fmla="*/ 82 h 238"/>
                  <a:gd name="T2" fmla="*/ 114 w 227"/>
                  <a:gd name="T3" fmla="*/ 0 h 238"/>
                  <a:gd name="T4" fmla="*/ 45 w 227"/>
                  <a:gd name="T5" fmla="*/ 82 h 238"/>
                  <a:gd name="T6" fmla="*/ 0 w 227"/>
                  <a:gd name="T7" fmla="*/ 147 h 238"/>
                  <a:gd name="T8" fmla="*/ 114 w 227"/>
                  <a:gd name="T9" fmla="*/ 201 h 238"/>
                  <a:gd name="T10" fmla="*/ 158 w 227"/>
                  <a:gd name="T11" fmla="*/ 217 h 238"/>
                  <a:gd name="T12" fmla="*/ 227 w 227"/>
                  <a:gd name="T13" fmla="*/ 147 h 238"/>
                  <a:gd name="T14" fmla="*/ 182 w 227"/>
                  <a:gd name="T15" fmla="*/ 82 h 238"/>
                  <a:gd name="T16" fmla="*/ 114 w 227"/>
                  <a:gd name="T17" fmla="*/ 9 h 238"/>
                  <a:gd name="T18" fmla="*/ 173 w 227"/>
                  <a:gd name="T19" fmla="*/ 79 h 238"/>
                  <a:gd name="T20" fmla="*/ 114 w 227"/>
                  <a:gd name="T21" fmla="*/ 93 h 238"/>
                  <a:gd name="T22" fmla="*/ 54 w 227"/>
                  <a:gd name="T23" fmla="*/ 79 h 238"/>
                  <a:gd name="T24" fmla="*/ 114 w 227"/>
                  <a:gd name="T25" fmla="*/ 9 h 238"/>
                  <a:gd name="T26" fmla="*/ 114 w 227"/>
                  <a:gd name="T27" fmla="*/ 188 h 238"/>
                  <a:gd name="T28" fmla="*/ 98 w 227"/>
                  <a:gd name="T29" fmla="*/ 138 h 238"/>
                  <a:gd name="T30" fmla="*/ 129 w 227"/>
                  <a:gd name="T31" fmla="*/ 138 h 238"/>
                  <a:gd name="T32" fmla="*/ 114 w 227"/>
                  <a:gd name="T33" fmla="*/ 188 h 238"/>
                  <a:gd name="T34" fmla="*/ 100 w 227"/>
                  <a:gd name="T35" fmla="*/ 129 h 238"/>
                  <a:gd name="T36" fmla="*/ 114 w 227"/>
                  <a:gd name="T37" fmla="*/ 106 h 238"/>
                  <a:gd name="T38" fmla="*/ 127 w 227"/>
                  <a:gd name="T39" fmla="*/ 129 h 238"/>
                  <a:gd name="T40" fmla="*/ 100 w 227"/>
                  <a:gd name="T41" fmla="*/ 129 h 238"/>
                  <a:gd name="T42" fmla="*/ 91 w 227"/>
                  <a:gd name="T43" fmla="*/ 126 h 238"/>
                  <a:gd name="T44" fmla="*/ 56 w 227"/>
                  <a:gd name="T45" fmla="*/ 88 h 238"/>
                  <a:gd name="T46" fmla="*/ 107 w 227"/>
                  <a:gd name="T47" fmla="*/ 100 h 238"/>
                  <a:gd name="T48" fmla="*/ 91 w 227"/>
                  <a:gd name="T49" fmla="*/ 126 h 238"/>
                  <a:gd name="T50" fmla="*/ 121 w 227"/>
                  <a:gd name="T51" fmla="*/ 100 h 238"/>
                  <a:gd name="T52" fmla="*/ 171 w 227"/>
                  <a:gd name="T53" fmla="*/ 88 h 238"/>
                  <a:gd name="T54" fmla="*/ 136 w 227"/>
                  <a:gd name="T55" fmla="*/ 126 h 238"/>
                  <a:gd name="T56" fmla="*/ 121 w 227"/>
                  <a:gd name="T57" fmla="*/ 100 h 238"/>
                  <a:gd name="T58" fmla="*/ 9 w 227"/>
                  <a:gd name="T59" fmla="*/ 147 h 238"/>
                  <a:gd name="T60" fmla="*/ 47 w 227"/>
                  <a:gd name="T61" fmla="*/ 91 h 238"/>
                  <a:gd name="T62" fmla="*/ 89 w 227"/>
                  <a:gd name="T63" fmla="*/ 135 h 238"/>
                  <a:gd name="T64" fmla="*/ 107 w 227"/>
                  <a:gd name="T65" fmla="*/ 194 h 238"/>
                  <a:gd name="T66" fmla="*/ 9 w 227"/>
                  <a:gd name="T67" fmla="*/ 147 h 238"/>
                  <a:gd name="T68" fmla="*/ 121 w 227"/>
                  <a:gd name="T69" fmla="*/ 194 h 238"/>
                  <a:gd name="T70" fmla="*/ 138 w 227"/>
                  <a:gd name="T71" fmla="*/ 135 h 238"/>
                  <a:gd name="T72" fmla="*/ 180 w 227"/>
                  <a:gd name="T73" fmla="*/ 91 h 238"/>
                  <a:gd name="T74" fmla="*/ 218 w 227"/>
                  <a:gd name="T75" fmla="*/ 147 h 238"/>
                  <a:gd name="T76" fmla="*/ 121 w 227"/>
                  <a:gd name="T77" fmla="*/ 19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7" h="238">
                    <a:moveTo>
                      <a:pt x="182" y="82"/>
                    </a:moveTo>
                    <a:cubicBezTo>
                      <a:pt x="190" y="38"/>
                      <a:pt x="156" y="0"/>
                      <a:pt x="114" y="0"/>
                    </a:cubicBezTo>
                    <a:cubicBezTo>
                      <a:pt x="71" y="0"/>
                      <a:pt x="38" y="38"/>
                      <a:pt x="45" y="82"/>
                    </a:cubicBezTo>
                    <a:cubicBezTo>
                      <a:pt x="19" y="92"/>
                      <a:pt x="0" y="117"/>
                      <a:pt x="0" y="147"/>
                    </a:cubicBezTo>
                    <a:cubicBezTo>
                      <a:pt x="0" y="206"/>
                      <a:pt x="68" y="238"/>
                      <a:pt x="114" y="201"/>
                    </a:cubicBezTo>
                    <a:cubicBezTo>
                      <a:pt x="126" y="211"/>
                      <a:pt x="141" y="217"/>
                      <a:pt x="158" y="217"/>
                    </a:cubicBezTo>
                    <a:cubicBezTo>
                      <a:pt x="196" y="217"/>
                      <a:pt x="227" y="185"/>
                      <a:pt x="227" y="147"/>
                    </a:cubicBezTo>
                    <a:cubicBezTo>
                      <a:pt x="227" y="117"/>
                      <a:pt x="209" y="92"/>
                      <a:pt x="182" y="82"/>
                    </a:cubicBezTo>
                    <a:close/>
                    <a:moveTo>
                      <a:pt x="114" y="9"/>
                    </a:moveTo>
                    <a:cubicBezTo>
                      <a:pt x="150" y="9"/>
                      <a:pt x="179" y="42"/>
                      <a:pt x="173" y="79"/>
                    </a:cubicBezTo>
                    <a:cubicBezTo>
                      <a:pt x="151" y="74"/>
                      <a:pt x="130" y="80"/>
                      <a:pt x="114" y="93"/>
                    </a:cubicBezTo>
                    <a:cubicBezTo>
                      <a:pt x="97" y="80"/>
                      <a:pt x="76" y="74"/>
                      <a:pt x="54" y="79"/>
                    </a:cubicBezTo>
                    <a:cubicBezTo>
                      <a:pt x="48" y="42"/>
                      <a:pt x="77" y="9"/>
                      <a:pt x="114" y="9"/>
                    </a:cubicBezTo>
                    <a:close/>
                    <a:moveTo>
                      <a:pt x="114" y="188"/>
                    </a:moveTo>
                    <a:cubicBezTo>
                      <a:pt x="101" y="175"/>
                      <a:pt x="95" y="157"/>
                      <a:pt x="98" y="138"/>
                    </a:cubicBezTo>
                    <a:cubicBezTo>
                      <a:pt x="108" y="140"/>
                      <a:pt x="118" y="140"/>
                      <a:pt x="129" y="138"/>
                    </a:cubicBezTo>
                    <a:cubicBezTo>
                      <a:pt x="132" y="157"/>
                      <a:pt x="126" y="175"/>
                      <a:pt x="114" y="188"/>
                    </a:cubicBezTo>
                    <a:close/>
                    <a:moveTo>
                      <a:pt x="100" y="129"/>
                    </a:moveTo>
                    <a:cubicBezTo>
                      <a:pt x="103" y="120"/>
                      <a:pt x="108" y="112"/>
                      <a:pt x="114" y="106"/>
                    </a:cubicBezTo>
                    <a:cubicBezTo>
                      <a:pt x="120" y="112"/>
                      <a:pt x="124" y="120"/>
                      <a:pt x="127" y="129"/>
                    </a:cubicBezTo>
                    <a:cubicBezTo>
                      <a:pt x="118" y="131"/>
                      <a:pt x="109" y="131"/>
                      <a:pt x="100" y="129"/>
                    </a:cubicBezTo>
                    <a:close/>
                    <a:moveTo>
                      <a:pt x="91" y="126"/>
                    </a:moveTo>
                    <a:cubicBezTo>
                      <a:pt x="75" y="119"/>
                      <a:pt x="62" y="105"/>
                      <a:pt x="56" y="88"/>
                    </a:cubicBezTo>
                    <a:cubicBezTo>
                      <a:pt x="75" y="84"/>
                      <a:pt x="93" y="89"/>
                      <a:pt x="107" y="100"/>
                    </a:cubicBezTo>
                    <a:cubicBezTo>
                      <a:pt x="100" y="107"/>
                      <a:pt x="95" y="116"/>
                      <a:pt x="91" y="126"/>
                    </a:cubicBezTo>
                    <a:close/>
                    <a:moveTo>
                      <a:pt x="121" y="100"/>
                    </a:moveTo>
                    <a:cubicBezTo>
                      <a:pt x="135" y="88"/>
                      <a:pt x="153" y="84"/>
                      <a:pt x="171" y="88"/>
                    </a:cubicBezTo>
                    <a:cubicBezTo>
                      <a:pt x="166" y="105"/>
                      <a:pt x="153" y="119"/>
                      <a:pt x="136" y="126"/>
                    </a:cubicBezTo>
                    <a:cubicBezTo>
                      <a:pt x="133" y="116"/>
                      <a:pt x="127" y="107"/>
                      <a:pt x="121" y="100"/>
                    </a:cubicBezTo>
                    <a:close/>
                    <a:moveTo>
                      <a:pt x="9" y="147"/>
                    </a:moveTo>
                    <a:cubicBezTo>
                      <a:pt x="9" y="122"/>
                      <a:pt x="25" y="100"/>
                      <a:pt x="47" y="91"/>
                    </a:cubicBezTo>
                    <a:cubicBezTo>
                      <a:pt x="54" y="111"/>
                      <a:pt x="69" y="127"/>
                      <a:pt x="89" y="135"/>
                    </a:cubicBezTo>
                    <a:cubicBezTo>
                      <a:pt x="85" y="157"/>
                      <a:pt x="92" y="179"/>
                      <a:pt x="107" y="194"/>
                    </a:cubicBezTo>
                    <a:cubicBezTo>
                      <a:pt x="67" y="226"/>
                      <a:pt x="9" y="197"/>
                      <a:pt x="9" y="147"/>
                    </a:cubicBezTo>
                    <a:close/>
                    <a:moveTo>
                      <a:pt x="121" y="194"/>
                    </a:moveTo>
                    <a:cubicBezTo>
                      <a:pt x="135" y="179"/>
                      <a:pt x="142" y="158"/>
                      <a:pt x="138" y="135"/>
                    </a:cubicBezTo>
                    <a:cubicBezTo>
                      <a:pt x="158" y="127"/>
                      <a:pt x="174" y="111"/>
                      <a:pt x="180" y="91"/>
                    </a:cubicBezTo>
                    <a:cubicBezTo>
                      <a:pt x="202" y="100"/>
                      <a:pt x="218" y="122"/>
                      <a:pt x="218" y="147"/>
                    </a:cubicBezTo>
                    <a:cubicBezTo>
                      <a:pt x="218" y="197"/>
                      <a:pt x="160" y="226"/>
                      <a:pt x="121" y="19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64" name="Group 63">
                <a:extLst>
                  <a:ext uri="{FF2B5EF4-FFF2-40B4-BE49-F238E27FC236}">
                    <a16:creationId xmlns:a16="http://schemas.microsoft.com/office/drawing/2014/main" id="{556F7D7E-D27E-4DEF-88EA-DFB9C8D74E13}"/>
                  </a:ext>
                </a:extLst>
              </p:cNvPr>
              <p:cNvGrpSpPr>
                <a:grpSpLocks noChangeAspect="1"/>
              </p:cNvGrpSpPr>
              <p:nvPr/>
            </p:nvGrpSpPr>
            <p:grpSpPr>
              <a:xfrm>
                <a:off x="7030334" y="1800416"/>
                <a:ext cx="641351" cy="636588"/>
                <a:chOff x="9693275" y="5368925"/>
                <a:chExt cx="641351" cy="636588"/>
              </a:xfrm>
              <a:solidFill>
                <a:schemeClr val="bg1"/>
              </a:solidFill>
            </p:grpSpPr>
            <p:sp>
              <p:nvSpPr>
                <p:cNvPr id="72" name="Freeform 579">
                  <a:extLst>
                    <a:ext uri="{FF2B5EF4-FFF2-40B4-BE49-F238E27FC236}">
                      <a16:creationId xmlns:a16="http://schemas.microsoft.com/office/drawing/2014/main" id="{1F152DE6-EB16-46DD-B65A-2C25984C005F}"/>
                    </a:ext>
                  </a:extLst>
                </p:cNvPr>
                <p:cNvSpPr>
                  <a:spLocks/>
                </p:cNvSpPr>
                <p:nvPr/>
              </p:nvSpPr>
              <p:spPr bwMode="auto">
                <a:xfrm>
                  <a:off x="9693275" y="5954713"/>
                  <a:ext cx="57150" cy="26988"/>
                </a:xfrm>
                <a:custGeom>
                  <a:avLst/>
                  <a:gdLst>
                    <a:gd name="T0" fmla="*/ 17 w 21"/>
                    <a:gd name="T1" fmla="*/ 0 h 10"/>
                    <a:gd name="T2" fmla="*/ 5 w 21"/>
                    <a:gd name="T3" fmla="*/ 0 h 10"/>
                    <a:gd name="T4" fmla="*/ 0 w 21"/>
                    <a:gd name="T5" fmla="*/ 5 h 10"/>
                    <a:gd name="T6" fmla="*/ 5 w 21"/>
                    <a:gd name="T7" fmla="*/ 10 h 10"/>
                    <a:gd name="T8" fmla="*/ 17 w 21"/>
                    <a:gd name="T9" fmla="*/ 10 h 10"/>
                    <a:gd name="T10" fmla="*/ 21 w 21"/>
                    <a:gd name="T11" fmla="*/ 5 h 10"/>
                    <a:gd name="T12" fmla="*/ 17 w 2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1" h="10">
                      <a:moveTo>
                        <a:pt x="17" y="0"/>
                      </a:moveTo>
                      <a:cubicBezTo>
                        <a:pt x="5" y="0"/>
                        <a:pt x="5" y="0"/>
                        <a:pt x="5" y="0"/>
                      </a:cubicBezTo>
                      <a:cubicBezTo>
                        <a:pt x="2" y="0"/>
                        <a:pt x="0" y="3"/>
                        <a:pt x="0" y="5"/>
                      </a:cubicBezTo>
                      <a:cubicBezTo>
                        <a:pt x="0" y="8"/>
                        <a:pt x="2" y="10"/>
                        <a:pt x="5" y="10"/>
                      </a:cubicBezTo>
                      <a:cubicBezTo>
                        <a:pt x="17" y="10"/>
                        <a:pt x="17" y="10"/>
                        <a:pt x="17" y="10"/>
                      </a:cubicBezTo>
                      <a:cubicBezTo>
                        <a:pt x="19" y="10"/>
                        <a:pt x="21" y="8"/>
                        <a:pt x="21" y="5"/>
                      </a:cubicBezTo>
                      <a:cubicBezTo>
                        <a:pt x="21" y="3"/>
                        <a:pt x="19" y="0"/>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3" name="Freeform 580">
                  <a:extLst>
                    <a:ext uri="{FF2B5EF4-FFF2-40B4-BE49-F238E27FC236}">
                      <a16:creationId xmlns:a16="http://schemas.microsoft.com/office/drawing/2014/main" id="{723674D7-7C89-4729-83F5-435942884407}"/>
                    </a:ext>
                  </a:extLst>
                </p:cNvPr>
                <p:cNvSpPr>
                  <a:spLocks/>
                </p:cNvSpPr>
                <p:nvPr/>
              </p:nvSpPr>
              <p:spPr bwMode="auto">
                <a:xfrm>
                  <a:off x="9790113" y="5954713"/>
                  <a:ext cx="69850" cy="26988"/>
                </a:xfrm>
                <a:custGeom>
                  <a:avLst/>
                  <a:gdLst>
                    <a:gd name="T0" fmla="*/ 22 w 26"/>
                    <a:gd name="T1" fmla="*/ 0 h 10"/>
                    <a:gd name="T2" fmla="*/ 5 w 26"/>
                    <a:gd name="T3" fmla="*/ 0 h 10"/>
                    <a:gd name="T4" fmla="*/ 0 w 26"/>
                    <a:gd name="T5" fmla="*/ 5 h 10"/>
                    <a:gd name="T6" fmla="*/ 5 w 26"/>
                    <a:gd name="T7" fmla="*/ 10 h 10"/>
                    <a:gd name="T8" fmla="*/ 22 w 26"/>
                    <a:gd name="T9" fmla="*/ 10 h 10"/>
                    <a:gd name="T10" fmla="*/ 26 w 26"/>
                    <a:gd name="T11" fmla="*/ 5 h 10"/>
                    <a:gd name="T12" fmla="*/ 22 w 2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6" h="10">
                      <a:moveTo>
                        <a:pt x="22" y="0"/>
                      </a:moveTo>
                      <a:cubicBezTo>
                        <a:pt x="5" y="0"/>
                        <a:pt x="5" y="0"/>
                        <a:pt x="5" y="0"/>
                      </a:cubicBezTo>
                      <a:cubicBezTo>
                        <a:pt x="2" y="0"/>
                        <a:pt x="0" y="3"/>
                        <a:pt x="0" y="5"/>
                      </a:cubicBezTo>
                      <a:cubicBezTo>
                        <a:pt x="0" y="8"/>
                        <a:pt x="2" y="10"/>
                        <a:pt x="5" y="10"/>
                      </a:cubicBezTo>
                      <a:cubicBezTo>
                        <a:pt x="22" y="10"/>
                        <a:pt x="22" y="10"/>
                        <a:pt x="22" y="10"/>
                      </a:cubicBezTo>
                      <a:cubicBezTo>
                        <a:pt x="24" y="10"/>
                        <a:pt x="26" y="8"/>
                        <a:pt x="26" y="5"/>
                      </a:cubicBezTo>
                      <a:cubicBezTo>
                        <a:pt x="26" y="3"/>
                        <a:pt x="24" y="0"/>
                        <a:pt x="2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4" name="Freeform 581">
                  <a:extLst>
                    <a:ext uri="{FF2B5EF4-FFF2-40B4-BE49-F238E27FC236}">
                      <a16:creationId xmlns:a16="http://schemas.microsoft.com/office/drawing/2014/main" id="{835689C7-10A6-4E4E-89DF-9C8CC425A6C7}"/>
                    </a:ext>
                  </a:extLst>
                </p:cNvPr>
                <p:cNvSpPr>
                  <a:spLocks/>
                </p:cNvSpPr>
                <p:nvPr/>
              </p:nvSpPr>
              <p:spPr bwMode="auto">
                <a:xfrm>
                  <a:off x="9901238" y="5954713"/>
                  <a:ext cx="58738" cy="26988"/>
                </a:xfrm>
                <a:custGeom>
                  <a:avLst/>
                  <a:gdLst>
                    <a:gd name="T0" fmla="*/ 17 w 22"/>
                    <a:gd name="T1" fmla="*/ 0 h 10"/>
                    <a:gd name="T2" fmla="*/ 5 w 22"/>
                    <a:gd name="T3" fmla="*/ 0 h 10"/>
                    <a:gd name="T4" fmla="*/ 0 w 22"/>
                    <a:gd name="T5" fmla="*/ 5 h 10"/>
                    <a:gd name="T6" fmla="*/ 5 w 22"/>
                    <a:gd name="T7" fmla="*/ 10 h 10"/>
                    <a:gd name="T8" fmla="*/ 17 w 22"/>
                    <a:gd name="T9" fmla="*/ 10 h 10"/>
                    <a:gd name="T10" fmla="*/ 22 w 22"/>
                    <a:gd name="T11" fmla="*/ 5 h 10"/>
                    <a:gd name="T12" fmla="*/ 17 w 2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2" h="10">
                      <a:moveTo>
                        <a:pt x="17" y="0"/>
                      </a:moveTo>
                      <a:cubicBezTo>
                        <a:pt x="5" y="0"/>
                        <a:pt x="5" y="0"/>
                        <a:pt x="5" y="0"/>
                      </a:cubicBezTo>
                      <a:cubicBezTo>
                        <a:pt x="2" y="0"/>
                        <a:pt x="0" y="3"/>
                        <a:pt x="0" y="5"/>
                      </a:cubicBezTo>
                      <a:cubicBezTo>
                        <a:pt x="0" y="8"/>
                        <a:pt x="2" y="10"/>
                        <a:pt x="5" y="10"/>
                      </a:cubicBezTo>
                      <a:cubicBezTo>
                        <a:pt x="17" y="10"/>
                        <a:pt x="17" y="10"/>
                        <a:pt x="17" y="10"/>
                      </a:cubicBezTo>
                      <a:cubicBezTo>
                        <a:pt x="19" y="10"/>
                        <a:pt x="22" y="8"/>
                        <a:pt x="22" y="5"/>
                      </a:cubicBezTo>
                      <a:cubicBezTo>
                        <a:pt x="22" y="3"/>
                        <a:pt x="19" y="0"/>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5" name="Freeform 582">
                  <a:extLst>
                    <a:ext uri="{FF2B5EF4-FFF2-40B4-BE49-F238E27FC236}">
                      <a16:creationId xmlns:a16="http://schemas.microsoft.com/office/drawing/2014/main" id="{0FEB0104-7879-43B5-A04D-E804ADC44094}"/>
                    </a:ext>
                  </a:extLst>
                </p:cNvPr>
                <p:cNvSpPr>
                  <a:spLocks/>
                </p:cNvSpPr>
                <p:nvPr/>
              </p:nvSpPr>
              <p:spPr bwMode="auto">
                <a:xfrm>
                  <a:off x="10067925" y="5954713"/>
                  <a:ext cx="60325" cy="26988"/>
                </a:xfrm>
                <a:custGeom>
                  <a:avLst/>
                  <a:gdLst>
                    <a:gd name="T0" fmla="*/ 17 w 22"/>
                    <a:gd name="T1" fmla="*/ 0 h 10"/>
                    <a:gd name="T2" fmla="*/ 5 w 22"/>
                    <a:gd name="T3" fmla="*/ 0 h 10"/>
                    <a:gd name="T4" fmla="*/ 0 w 22"/>
                    <a:gd name="T5" fmla="*/ 5 h 10"/>
                    <a:gd name="T6" fmla="*/ 5 w 22"/>
                    <a:gd name="T7" fmla="*/ 10 h 10"/>
                    <a:gd name="T8" fmla="*/ 17 w 22"/>
                    <a:gd name="T9" fmla="*/ 10 h 10"/>
                    <a:gd name="T10" fmla="*/ 22 w 22"/>
                    <a:gd name="T11" fmla="*/ 5 h 10"/>
                    <a:gd name="T12" fmla="*/ 17 w 2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2" h="10">
                      <a:moveTo>
                        <a:pt x="17" y="0"/>
                      </a:moveTo>
                      <a:cubicBezTo>
                        <a:pt x="5" y="0"/>
                        <a:pt x="5" y="0"/>
                        <a:pt x="5" y="0"/>
                      </a:cubicBezTo>
                      <a:cubicBezTo>
                        <a:pt x="2" y="0"/>
                        <a:pt x="0" y="3"/>
                        <a:pt x="0" y="5"/>
                      </a:cubicBezTo>
                      <a:cubicBezTo>
                        <a:pt x="0" y="8"/>
                        <a:pt x="2" y="10"/>
                        <a:pt x="5" y="10"/>
                      </a:cubicBezTo>
                      <a:cubicBezTo>
                        <a:pt x="17" y="10"/>
                        <a:pt x="17" y="10"/>
                        <a:pt x="17" y="10"/>
                      </a:cubicBezTo>
                      <a:cubicBezTo>
                        <a:pt x="20" y="10"/>
                        <a:pt x="22" y="8"/>
                        <a:pt x="22" y="5"/>
                      </a:cubicBezTo>
                      <a:cubicBezTo>
                        <a:pt x="22" y="3"/>
                        <a:pt x="20" y="0"/>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6" name="Freeform 583">
                  <a:extLst>
                    <a:ext uri="{FF2B5EF4-FFF2-40B4-BE49-F238E27FC236}">
                      <a16:creationId xmlns:a16="http://schemas.microsoft.com/office/drawing/2014/main" id="{81E3E3F6-4929-455A-8DA9-D93B275C8AEF}"/>
                    </a:ext>
                  </a:extLst>
                </p:cNvPr>
                <p:cNvSpPr>
                  <a:spLocks/>
                </p:cNvSpPr>
                <p:nvPr/>
              </p:nvSpPr>
              <p:spPr bwMode="auto">
                <a:xfrm>
                  <a:off x="10164763" y="5954713"/>
                  <a:ext cx="73025" cy="26988"/>
                </a:xfrm>
                <a:custGeom>
                  <a:avLst/>
                  <a:gdLst>
                    <a:gd name="T0" fmla="*/ 22 w 27"/>
                    <a:gd name="T1" fmla="*/ 0 h 10"/>
                    <a:gd name="T2" fmla="*/ 5 w 27"/>
                    <a:gd name="T3" fmla="*/ 0 h 10"/>
                    <a:gd name="T4" fmla="*/ 0 w 27"/>
                    <a:gd name="T5" fmla="*/ 5 h 10"/>
                    <a:gd name="T6" fmla="*/ 5 w 27"/>
                    <a:gd name="T7" fmla="*/ 10 h 10"/>
                    <a:gd name="T8" fmla="*/ 22 w 27"/>
                    <a:gd name="T9" fmla="*/ 10 h 10"/>
                    <a:gd name="T10" fmla="*/ 27 w 27"/>
                    <a:gd name="T11" fmla="*/ 5 h 10"/>
                    <a:gd name="T12" fmla="*/ 22 w 2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7" h="10">
                      <a:moveTo>
                        <a:pt x="22" y="0"/>
                      </a:moveTo>
                      <a:cubicBezTo>
                        <a:pt x="5" y="0"/>
                        <a:pt x="5" y="0"/>
                        <a:pt x="5" y="0"/>
                      </a:cubicBezTo>
                      <a:cubicBezTo>
                        <a:pt x="3" y="0"/>
                        <a:pt x="0" y="3"/>
                        <a:pt x="0" y="5"/>
                      </a:cubicBezTo>
                      <a:cubicBezTo>
                        <a:pt x="0" y="8"/>
                        <a:pt x="3" y="10"/>
                        <a:pt x="5" y="10"/>
                      </a:cubicBezTo>
                      <a:cubicBezTo>
                        <a:pt x="22" y="10"/>
                        <a:pt x="22" y="10"/>
                        <a:pt x="22" y="10"/>
                      </a:cubicBezTo>
                      <a:cubicBezTo>
                        <a:pt x="25" y="10"/>
                        <a:pt x="27" y="8"/>
                        <a:pt x="27" y="5"/>
                      </a:cubicBezTo>
                      <a:cubicBezTo>
                        <a:pt x="27" y="3"/>
                        <a:pt x="25" y="0"/>
                        <a:pt x="2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7" name="Freeform 584">
                  <a:extLst>
                    <a:ext uri="{FF2B5EF4-FFF2-40B4-BE49-F238E27FC236}">
                      <a16:creationId xmlns:a16="http://schemas.microsoft.com/office/drawing/2014/main" id="{BD969BCC-4E15-4078-BBE0-EB78B5DA1315}"/>
                    </a:ext>
                  </a:extLst>
                </p:cNvPr>
                <p:cNvSpPr>
                  <a:spLocks/>
                </p:cNvSpPr>
                <p:nvPr/>
              </p:nvSpPr>
              <p:spPr bwMode="auto">
                <a:xfrm>
                  <a:off x="10279063" y="5954713"/>
                  <a:ext cx="55563" cy="26988"/>
                </a:xfrm>
                <a:custGeom>
                  <a:avLst/>
                  <a:gdLst>
                    <a:gd name="T0" fmla="*/ 17 w 21"/>
                    <a:gd name="T1" fmla="*/ 0 h 10"/>
                    <a:gd name="T2" fmla="*/ 4 w 21"/>
                    <a:gd name="T3" fmla="*/ 0 h 10"/>
                    <a:gd name="T4" fmla="*/ 0 w 21"/>
                    <a:gd name="T5" fmla="*/ 5 h 10"/>
                    <a:gd name="T6" fmla="*/ 4 w 21"/>
                    <a:gd name="T7" fmla="*/ 10 h 10"/>
                    <a:gd name="T8" fmla="*/ 17 w 21"/>
                    <a:gd name="T9" fmla="*/ 10 h 10"/>
                    <a:gd name="T10" fmla="*/ 21 w 21"/>
                    <a:gd name="T11" fmla="*/ 5 h 10"/>
                    <a:gd name="T12" fmla="*/ 17 w 2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1" h="10">
                      <a:moveTo>
                        <a:pt x="17" y="0"/>
                      </a:moveTo>
                      <a:cubicBezTo>
                        <a:pt x="4" y="0"/>
                        <a:pt x="4" y="0"/>
                        <a:pt x="4" y="0"/>
                      </a:cubicBezTo>
                      <a:cubicBezTo>
                        <a:pt x="2" y="0"/>
                        <a:pt x="0" y="3"/>
                        <a:pt x="0" y="5"/>
                      </a:cubicBezTo>
                      <a:cubicBezTo>
                        <a:pt x="0" y="8"/>
                        <a:pt x="2" y="10"/>
                        <a:pt x="4" y="10"/>
                      </a:cubicBezTo>
                      <a:cubicBezTo>
                        <a:pt x="17" y="10"/>
                        <a:pt x="17" y="10"/>
                        <a:pt x="17" y="10"/>
                      </a:cubicBezTo>
                      <a:cubicBezTo>
                        <a:pt x="19" y="10"/>
                        <a:pt x="21" y="8"/>
                        <a:pt x="21" y="5"/>
                      </a:cubicBezTo>
                      <a:cubicBezTo>
                        <a:pt x="21" y="3"/>
                        <a:pt x="19" y="0"/>
                        <a:pt x="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8" name="Freeform 585">
                  <a:extLst>
                    <a:ext uri="{FF2B5EF4-FFF2-40B4-BE49-F238E27FC236}">
                      <a16:creationId xmlns:a16="http://schemas.microsoft.com/office/drawing/2014/main" id="{C9A7D47E-D65E-448A-ABD7-FA52773032CC}"/>
                    </a:ext>
                  </a:extLst>
                </p:cNvPr>
                <p:cNvSpPr>
                  <a:spLocks noEditPoints="1"/>
                </p:cNvSpPr>
                <p:nvPr/>
              </p:nvSpPr>
              <p:spPr bwMode="auto">
                <a:xfrm>
                  <a:off x="9836150" y="5368925"/>
                  <a:ext cx="355600" cy="636588"/>
                </a:xfrm>
                <a:custGeom>
                  <a:avLst/>
                  <a:gdLst>
                    <a:gd name="T0" fmla="*/ 71 w 132"/>
                    <a:gd name="T1" fmla="*/ 210 h 236"/>
                    <a:gd name="T2" fmla="*/ 71 w 132"/>
                    <a:gd name="T3" fmla="*/ 191 h 236"/>
                    <a:gd name="T4" fmla="*/ 132 w 132"/>
                    <a:gd name="T5" fmla="*/ 167 h 236"/>
                    <a:gd name="T6" fmla="*/ 132 w 132"/>
                    <a:gd name="T7" fmla="*/ 164 h 236"/>
                    <a:gd name="T8" fmla="*/ 132 w 132"/>
                    <a:gd name="T9" fmla="*/ 29 h 236"/>
                    <a:gd name="T10" fmla="*/ 66 w 132"/>
                    <a:gd name="T11" fmla="*/ 0 h 236"/>
                    <a:gd name="T12" fmla="*/ 1 w 132"/>
                    <a:gd name="T13" fmla="*/ 26 h 236"/>
                    <a:gd name="T14" fmla="*/ 0 w 132"/>
                    <a:gd name="T15" fmla="*/ 28 h 236"/>
                    <a:gd name="T16" fmla="*/ 0 w 132"/>
                    <a:gd name="T17" fmla="*/ 28 h 236"/>
                    <a:gd name="T18" fmla="*/ 0 w 132"/>
                    <a:gd name="T19" fmla="*/ 29 h 236"/>
                    <a:gd name="T20" fmla="*/ 0 w 132"/>
                    <a:gd name="T21" fmla="*/ 164 h 236"/>
                    <a:gd name="T22" fmla="*/ 1 w 132"/>
                    <a:gd name="T23" fmla="*/ 167 h 236"/>
                    <a:gd name="T24" fmla="*/ 61 w 132"/>
                    <a:gd name="T25" fmla="*/ 191 h 236"/>
                    <a:gd name="T26" fmla="*/ 61 w 132"/>
                    <a:gd name="T27" fmla="*/ 210 h 236"/>
                    <a:gd name="T28" fmla="*/ 53 w 132"/>
                    <a:gd name="T29" fmla="*/ 222 h 236"/>
                    <a:gd name="T30" fmla="*/ 66 w 132"/>
                    <a:gd name="T31" fmla="*/ 236 h 236"/>
                    <a:gd name="T32" fmla="*/ 80 w 132"/>
                    <a:gd name="T33" fmla="*/ 222 h 236"/>
                    <a:gd name="T34" fmla="*/ 71 w 132"/>
                    <a:gd name="T35" fmla="*/ 210 h 236"/>
                    <a:gd name="T36" fmla="*/ 123 w 132"/>
                    <a:gd name="T37" fmla="*/ 40 h 236"/>
                    <a:gd name="T38" fmla="*/ 123 w 132"/>
                    <a:gd name="T39" fmla="*/ 71 h 236"/>
                    <a:gd name="T40" fmla="*/ 122 w 132"/>
                    <a:gd name="T41" fmla="*/ 73 h 236"/>
                    <a:gd name="T42" fmla="*/ 122 w 132"/>
                    <a:gd name="T43" fmla="*/ 73 h 236"/>
                    <a:gd name="T44" fmla="*/ 66 w 132"/>
                    <a:gd name="T45" fmla="*/ 89 h 236"/>
                    <a:gd name="T46" fmla="*/ 10 w 132"/>
                    <a:gd name="T47" fmla="*/ 73 h 236"/>
                    <a:gd name="T48" fmla="*/ 10 w 132"/>
                    <a:gd name="T49" fmla="*/ 40 h 236"/>
                    <a:gd name="T50" fmla="*/ 66 w 132"/>
                    <a:gd name="T51" fmla="*/ 53 h 236"/>
                    <a:gd name="T52" fmla="*/ 123 w 132"/>
                    <a:gd name="T53" fmla="*/ 40 h 236"/>
                    <a:gd name="T54" fmla="*/ 10 w 132"/>
                    <a:gd name="T55" fmla="*/ 85 h 236"/>
                    <a:gd name="T56" fmla="*/ 66 w 132"/>
                    <a:gd name="T57" fmla="*/ 98 h 236"/>
                    <a:gd name="T58" fmla="*/ 123 w 132"/>
                    <a:gd name="T59" fmla="*/ 85 h 236"/>
                    <a:gd name="T60" fmla="*/ 123 w 132"/>
                    <a:gd name="T61" fmla="*/ 116 h 236"/>
                    <a:gd name="T62" fmla="*/ 122 w 132"/>
                    <a:gd name="T63" fmla="*/ 118 h 236"/>
                    <a:gd name="T64" fmla="*/ 122 w 132"/>
                    <a:gd name="T65" fmla="*/ 118 h 236"/>
                    <a:gd name="T66" fmla="*/ 66 w 132"/>
                    <a:gd name="T67" fmla="*/ 134 h 236"/>
                    <a:gd name="T68" fmla="*/ 10 w 132"/>
                    <a:gd name="T69" fmla="*/ 118 h 236"/>
                    <a:gd name="T70" fmla="*/ 10 w 132"/>
                    <a:gd name="T71" fmla="*/ 85 h 236"/>
                    <a:gd name="T72" fmla="*/ 66 w 132"/>
                    <a:gd name="T73" fmla="*/ 10 h 236"/>
                    <a:gd name="T74" fmla="*/ 122 w 132"/>
                    <a:gd name="T75" fmla="*/ 27 h 236"/>
                    <a:gd name="T76" fmla="*/ 122 w 132"/>
                    <a:gd name="T77" fmla="*/ 27 h 236"/>
                    <a:gd name="T78" fmla="*/ 122 w 132"/>
                    <a:gd name="T79" fmla="*/ 27 h 236"/>
                    <a:gd name="T80" fmla="*/ 66 w 132"/>
                    <a:gd name="T81" fmla="*/ 43 h 236"/>
                    <a:gd name="T82" fmla="*/ 10 w 132"/>
                    <a:gd name="T83" fmla="*/ 28 h 236"/>
                    <a:gd name="T84" fmla="*/ 66 w 132"/>
                    <a:gd name="T85" fmla="*/ 10 h 236"/>
                    <a:gd name="T86" fmla="*/ 10 w 132"/>
                    <a:gd name="T87" fmla="*/ 164 h 236"/>
                    <a:gd name="T88" fmla="*/ 10 w 132"/>
                    <a:gd name="T89" fmla="*/ 131 h 236"/>
                    <a:gd name="T90" fmla="*/ 66 w 132"/>
                    <a:gd name="T91" fmla="*/ 144 h 236"/>
                    <a:gd name="T92" fmla="*/ 123 w 132"/>
                    <a:gd name="T93" fmla="*/ 130 h 236"/>
                    <a:gd name="T94" fmla="*/ 123 w 132"/>
                    <a:gd name="T95" fmla="*/ 164 h 236"/>
                    <a:gd name="T96" fmla="*/ 123 w 132"/>
                    <a:gd name="T97" fmla="*/ 164 h 236"/>
                    <a:gd name="T98" fmla="*/ 66 w 132"/>
                    <a:gd name="T99" fmla="*/ 182 h 236"/>
                    <a:gd name="T100" fmla="*/ 10 w 132"/>
                    <a:gd name="T101" fmla="*/ 164 h 236"/>
                    <a:gd name="T102" fmla="*/ 66 w 132"/>
                    <a:gd name="T103" fmla="*/ 226 h 236"/>
                    <a:gd name="T104" fmla="*/ 62 w 132"/>
                    <a:gd name="T105" fmla="*/ 222 h 236"/>
                    <a:gd name="T106" fmla="*/ 63 w 132"/>
                    <a:gd name="T107" fmla="*/ 220 h 236"/>
                    <a:gd name="T108" fmla="*/ 66 w 132"/>
                    <a:gd name="T109" fmla="*/ 218 h 236"/>
                    <a:gd name="T110" fmla="*/ 70 w 132"/>
                    <a:gd name="T111" fmla="*/ 222 h 236"/>
                    <a:gd name="T112" fmla="*/ 66 w 132"/>
                    <a:gd name="T113" fmla="*/ 2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2" h="236">
                      <a:moveTo>
                        <a:pt x="71" y="210"/>
                      </a:moveTo>
                      <a:cubicBezTo>
                        <a:pt x="71" y="191"/>
                        <a:pt x="71" y="191"/>
                        <a:pt x="71" y="191"/>
                      </a:cubicBezTo>
                      <a:cubicBezTo>
                        <a:pt x="98" y="191"/>
                        <a:pt x="128" y="184"/>
                        <a:pt x="132" y="167"/>
                      </a:cubicBezTo>
                      <a:cubicBezTo>
                        <a:pt x="132" y="166"/>
                        <a:pt x="132" y="165"/>
                        <a:pt x="132" y="164"/>
                      </a:cubicBezTo>
                      <a:cubicBezTo>
                        <a:pt x="132" y="29"/>
                        <a:pt x="132" y="29"/>
                        <a:pt x="132" y="29"/>
                      </a:cubicBezTo>
                      <a:cubicBezTo>
                        <a:pt x="132" y="8"/>
                        <a:pt x="97" y="0"/>
                        <a:pt x="66" y="0"/>
                      </a:cubicBezTo>
                      <a:cubicBezTo>
                        <a:pt x="37" y="0"/>
                        <a:pt x="4" y="7"/>
                        <a:pt x="1" y="26"/>
                      </a:cubicBezTo>
                      <a:cubicBezTo>
                        <a:pt x="0" y="27"/>
                        <a:pt x="0" y="27"/>
                        <a:pt x="0" y="28"/>
                      </a:cubicBezTo>
                      <a:cubicBezTo>
                        <a:pt x="0" y="28"/>
                        <a:pt x="0" y="28"/>
                        <a:pt x="0" y="28"/>
                      </a:cubicBezTo>
                      <a:cubicBezTo>
                        <a:pt x="0" y="29"/>
                        <a:pt x="0" y="29"/>
                        <a:pt x="0" y="29"/>
                      </a:cubicBezTo>
                      <a:cubicBezTo>
                        <a:pt x="0" y="164"/>
                        <a:pt x="0" y="164"/>
                        <a:pt x="0" y="164"/>
                      </a:cubicBezTo>
                      <a:cubicBezTo>
                        <a:pt x="0" y="165"/>
                        <a:pt x="0" y="166"/>
                        <a:pt x="1" y="167"/>
                      </a:cubicBezTo>
                      <a:cubicBezTo>
                        <a:pt x="5" y="184"/>
                        <a:pt x="35" y="191"/>
                        <a:pt x="61" y="191"/>
                      </a:cubicBezTo>
                      <a:cubicBezTo>
                        <a:pt x="61" y="210"/>
                        <a:pt x="61" y="210"/>
                        <a:pt x="61" y="210"/>
                      </a:cubicBezTo>
                      <a:cubicBezTo>
                        <a:pt x="56" y="212"/>
                        <a:pt x="53" y="217"/>
                        <a:pt x="53" y="222"/>
                      </a:cubicBezTo>
                      <a:cubicBezTo>
                        <a:pt x="53" y="230"/>
                        <a:pt x="59" y="236"/>
                        <a:pt x="66" y="236"/>
                      </a:cubicBezTo>
                      <a:cubicBezTo>
                        <a:pt x="74" y="236"/>
                        <a:pt x="80" y="230"/>
                        <a:pt x="80" y="222"/>
                      </a:cubicBezTo>
                      <a:cubicBezTo>
                        <a:pt x="80" y="217"/>
                        <a:pt x="76" y="212"/>
                        <a:pt x="71" y="210"/>
                      </a:cubicBezTo>
                      <a:close/>
                      <a:moveTo>
                        <a:pt x="123" y="40"/>
                      </a:moveTo>
                      <a:cubicBezTo>
                        <a:pt x="123" y="71"/>
                        <a:pt x="123" y="71"/>
                        <a:pt x="123" y="71"/>
                      </a:cubicBezTo>
                      <a:cubicBezTo>
                        <a:pt x="122" y="71"/>
                        <a:pt x="122" y="72"/>
                        <a:pt x="122" y="73"/>
                      </a:cubicBezTo>
                      <a:cubicBezTo>
                        <a:pt x="122" y="73"/>
                        <a:pt x="122" y="73"/>
                        <a:pt x="122" y="73"/>
                      </a:cubicBezTo>
                      <a:cubicBezTo>
                        <a:pt x="121" y="76"/>
                        <a:pt x="103" y="89"/>
                        <a:pt x="66" y="89"/>
                      </a:cubicBezTo>
                      <a:cubicBezTo>
                        <a:pt x="29" y="89"/>
                        <a:pt x="11" y="76"/>
                        <a:pt x="10" y="73"/>
                      </a:cubicBezTo>
                      <a:cubicBezTo>
                        <a:pt x="10" y="40"/>
                        <a:pt x="10" y="40"/>
                        <a:pt x="10" y="40"/>
                      </a:cubicBezTo>
                      <a:cubicBezTo>
                        <a:pt x="21" y="47"/>
                        <a:pt x="40" y="53"/>
                        <a:pt x="66" y="53"/>
                      </a:cubicBezTo>
                      <a:cubicBezTo>
                        <a:pt x="93" y="53"/>
                        <a:pt x="112" y="47"/>
                        <a:pt x="123" y="40"/>
                      </a:cubicBezTo>
                      <a:close/>
                      <a:moveTo>
                        <a:pt x="10" y="85"/>
                      </a:moveTo>
                      <a:cubicBezTo>
                        <a:pt x="21" y="92"/>
                        <a:pt x="40" y="98"/>
                        <a:pt x="66" y="98"/>
                      </a:cubicBezTo>
                      <a:cubicBezTo>
                        <a:pt x="93" y="98"/>
                        <a:pt x="112" y="92"/>
                        <a:pt x="123" y="85"/>
                      </a:cubicBezTo>
                      <a:cubicBezTo>
                        <a:pt x="123" y="116"/>
                        <a:pt x="123" y="116"/>
                        <a:pt x="123" y="116"/>
                      </a:cubicBezTo>
                      <a:cubicBezTo>
                        <a:pt x="122" y="117"/>
                        <a:pt x="122" y="117"/>
                        <a:pt x="122" y="118"/>
                      </a:cubicBezTo>
                      <a:cubicBezTo>
                        <a:pt x="122" y="118"/>
                        <a:pt x="122" y="118"/>
                        <a:pt x="122" y="118"/>
                      </a:cubicBezTo>
                      <a:cubicBezTo>
                        <a:pt x="121" y="121"/>
                        <a:pt x="103" y="134"/>
                        <a:pt x="66" y="134"/>
                      </a:cubicBezTo>
                      <a:cubicBezTo>
                        <a:pt x="30" y="134"/>
                        <a:pt x="12" y="122"/>
                        <a:pt x="10" y="118"/>
                      </a:cubicBezTo>
                      <a:lnTo>
                        <a:pt x="10" y="85"/>
                      </a:lnTo>
                      <a:close/>
                      <a:moveTo>
                        <a:pt x="66" y="10"/>
                      </a:moveTo>
                      <a:cubicBezTo>
                        <a:pt x="96" y="10"/>
                        <a:pt x="119" y="17"/>
                        <a:pt x="122" y="27"/>
                      </a:cubicBezTo>
                      <a:cubicBezTo>
                        <a:pt x="122" y="27"/>
                        <a:pt x="122" y="27"/>
                        <a:pt x="122" y="27"/>
                      </a:cubicBezTo>
                      <a:cubicBezTo>
                        <a:pt x="122" y="27"/>
                        <a:pt x="122" y="27"/>
                        <a:pt x="122" y="27"/>
                      </a:cubicBezTo>
                      <a:cubicBezTo>
                        <a:pt x="121" y="30"/>
                        <a:pt x="103" y="43"/>
                        <a:pt x="66" y="43"/>
                      </a:cubicBezTo>
                      <a:cubicBezTo>
                        <a:pt x="30" y="43"/>
                        <a:pt x="12" y="31"/>
                        <a:pt x="10" y="28"/>
                      </a:cubicBezTo>
                      <a:cubicBezTo>
                        <a:pt x="12" y="18"/>
                        <a:pt x="36" y="10"/>
                        <a:pt x="66" y="10"/>
                      </a:cubicBezTo>
                      <a:close/>
                      <a:moveTo>
                        <a:pt x="10" y="164"/>
                      </a:moveTo>
                      <a:cubicBezTo>
                        <a:pt x="10" y="131"/>
                        <a:pt x="10" y="131"/>
                        <a:pt x="10" y="131"/>
                      </a:cubicBezTo>
                      <a:cubicBezTo>
                        <a:pt x="21" y="138"/>
                        <a:pt x="40" y="144"/>
                        <a:pt x="66" y="144"/>
                      </a:cubicBezTo>
                      <a:cubicBezTo>
                        <a:pt x="93" y="144"/>
                        <a:pt x="112" y="137"/>
                        <a:pt x="123" y="130"/>
                      </a:cubicBezTo>
                      <a:cubicBezTo>
                        <a:pt x="123" y="164"/>
                        <a:pt x="123" y="164"/>
                        <a:pt x="123" y="164"/>
                      </a:cubicBezTo>
                      <a:cubicBezTo>
                        <a:pt x="123" y="164"/>
                        <a:pt x="123" y="164"/>
                        <a:pt x="123" y="164"/>
                      </a:cubicBezTo>
                      <a:cubicBezTo>
                        <a:pt x="120" y="174"/>
                        <a:pt x="96" y="182"/>
                        <a:pt x="66" y="182"/>
                      </a:cubicBezTo>
                      <a:cubicBezTo>
                        <a:pt x="37" y="182"/>
                        <a:pt x="12" y="174"/>
                        <a:pt x="10" y="164"/>
                      </a:cubicBezTo>
                      <a:close/>
                      <a:moveTo>
                        <a:pt x="66" y="226"/>
                      </a:moveTo>
                      <a:cubicBezTo>
                        <a:pt x="64" y="226"/>
                        <a:pt x="62" y="225"/>
                        <a:pt x="62" y="222"/>
                      </a:cubicBezTo>
                      <a:cubicBezTo>
                        <a:pt x="62" y="221"/>
                        <a:pt x="63" y="220"/>
                        <a:pt x="63" y="220"/>
                      </a:cubicBezTo>
                      <a:cubicBezTo>
                        <a:pt x="64" y="219"/>
                        <a:pt x="65" y="218"/>
                        <a:pt x="66" y="218"/>
                      </a:cubicBezTo>
                      <a:cubicBezTo>
                        <a:pt x="69" y="218"/>
                        <a:pt x="70" y="220"/>
                        <a:pt x="70" y="222"/>
                      </a:cubicBezTo>
                      <a:cubicBezTo>
                        <a:pt x="70" y="225"/>
                        <a:pt x="69" y="226"/>
                        <a:pt x="66" y="2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65" name="Group 64">
                <a:extLst>
                  <a:ext uri="{FF2B5EF4-FFF2-40B4-BE49-F238E27FC236}">
                    <a16:creationId xmlns:a16="http://schemas.microsoft.com/office/drawing/2014/main" id="{AC758D21-BF69-44FD-A8CE-6ADA47E24D96}"/>
                  </a:ext>
                </a:extLst>
              </p:cNvPr>
              <p:cNvGrpSpPr>
                <a:grpSpLocks noChangeAspect="1"/>
              </p:cNvGrpSpPr>
              <p:nvPr/>
            </p:nvGrpSpPr>
            <p:grpSpPr>
              <a:xfrm>
                <a:off x="2553668" y="1902016"/>
                <a:ext cx="484188" cy="433388"/>
                <a:chOff x="11387138" y="6542088"/>
                <a:chExt cx="484188" cy="433388"/>
              </a:xfrm>
              <a:solidFill>
                <a:schemeClr val="bg1"/>
              </a:solidFill>
            </p:grpSpPr>
            <p:sp>
              <p:nvSpPr>
                <p:cNvPr id="66" name="Freeform 601">
                  <a:extLst>
                    <a:ext uri="{FF2B5EF4-FFF2-40B4-BE49-F238E27FC236}">
                      <a16:creationId xmlns:a16="http://schemas.microsoft.com/office/drawing/2014/main" id="{2CF2E11B-0BB5-416A-8A1D-32424C4EAB33}"/>
                    </a:ext>
                  </a:extLst>
                </p:cNvPr>
                <p:cNvSpPr>
                  <a:spLocks noEditPoints="1"/>
                </p:cNvSpPr>
                <p:nvPr/>
              </p:nvSpPr>
              <p:spPr bwMode="auto">
                <a:xfrm>
                  <a:off x="11387138" y="6542088"/>
                  <a:ext cx="120650" cy="114300"/>
                </a:xfrm>
                <a:custGeom>
                  <a:avLst/>
                  <a:gdLst>
                    <a:gd name="T0" fmla="*/ 46 w 53"/>
                    <a:gd name="T1" fmla="*/ 14 h 50"/>
                    <a:gd name="T2" fmla="*/ 36 w 53"/>
                    <a:gd name="T3" fmla="*/ 14 h 50"/>
                    <a:gd name="T4" fmla="*/ 32 w 53"/>
                    <a:gd name="T5" fmla="*/ 4 h 50"/>
                    <a:gd name="T6" fmla="*/ 26 w 53"/>
                    <a:gd name="T7" fmla="*/ 0 h 50"/>
                    <a:gd name="T8" fmla="*/ 21 w 53"/>
                    <a:gd name="T9" fmla="*/ 4 h 50"/>
                    <a:gd name="T10" fmla="*/ 17 w 53"/>
                    <a:gd name="T11" fmla="*/ 14 h 50"/>
                    <a:gd name="T12" fmla="*/ 7 w 53"/>
                    <a:gd name="T13" fmla="*/ 14 h 50"/>
                    <a:gd name="T14" fmla="*/ 1 w 53"/>
                    <a:gd name="T15" fmla="*/ 18 h 50"/>
                    <a:gd name="T16" fmla="*/ 3 w 53"/>
                    <a:gd name="T17" fmla="*/ 25 h 50"/>
                    <a:gd name="T18" fmla="*/ 11 w 53"/>
                    <a:gd name="T19" fmla="*/ 31 h 50"/>
                    <a:gd name="T20" fmla="*/ 8 w 53"/>
                    <a:gd name="T21" fmla="*/ 41 h 50"/>
                    <a:gd name="T22" fmla="*/ 11 w 53"/>
                    <a:gd name="T23" fmla="*/ 48 h 50"/>
                    <a:gd name="T24" fmla="*/ 18 w 53"/>
                    <a:gd name="T25" fmla="*/ 48 h 50"/>
                    <a:gd name="T26" fmla="*/ 26 w 53"/>
                    <a:gd name="T27" fmla="*/ 42 h 50"/>
                    <a:gd name="T28" fmla="*/ 35 w 53"/>
                    <a:gd name="T29" fmla="*/ 48 h 50"/>
                    <a:gd name="T30" fmla="*/ 39 w 53"/>
                    <a:gd name="T31" fmla="*/ 49 h 50"/>
                    <a:gd name="T32" fmla="*/ 42 w 53"/>
                    <a:gd name="T33" fmla="*/ 48 h 50"/>
                    <a:gd name="T34" fmla="*/ 44 w 53"/>
                    <a:gd name="T35" fmla="*/ 41 h 50"/>
                    <a:gd name="T36" fmla="*/ 41 w 53"/>
                    <a:gd name="T37" fmla="*/ 31 h 50"/>
                    <a:gd name="T38" fmla="*/ 50 w 53"/>
                    <a:gd name="T39" fmla="*/ 25 h 50"/>
                    <a:gd name="T40" fmla="*/ 52 w 53"/>
                    <a:gd name="T41" fmla="*/ 18 h 50"/>
                    <a:gd name="T42" fmla="*/ 46 w 53"/>
                    <a:gd name="T43" fmla="*/ 14 h 50"/>
                    <a:gd name="T44" fmla="*/ 33 w 53"/>
                    <a:gd name="T45" fmla="*/ 26 h 50"/>
                    <a:gd name="T46" fmla="*/ 31 w 53"/>
                    <a:gd name="T47" fmla="*/ 31 h 50"/>
                    <a:gd name="T48" fmla="*/ 32 w 53"/>
                    <a:gd name="T49" fmla="*/ 34 h 50"/>
                    <a:gd name="T50" fmla="*/ 29 w 53"/>
                    <a:gd name="T51" fmla="*/ 32 h 50"/>
                    <a:gd name="T52" fmla="*/ 24 w 53"/>
                    <a:gd name="T53" fmla="*/ 32 h 50"/>
                    <a:gd name="T54" fmla="*/ 21 w 53"/>
                    <a:gd name="T55" fmla="*/ 34 h 50"/>
                    <a:gd name="T56" fmla="*/ 22 w 53"/>
                    <a:gd name="T57" fmla="*/ 31 h 50"/>
                    <a:gd name="T58" fmla="*/ 20 w 53"/>
                    <a:gd name="T59" fmla="*/ 26 h 50"/>
                    <a:gd name="T60" fmla="*/ 17 w 53"/>
                    <a:gd name="T61" fmla="*/ 24 h 50"/>
                    <a:gd name="T62" fmla="*/ 21 w 53"/>
                    <a:gd name="T63" fmla="*/ 24 h 50"/>
                    <a:gd name="T64" fmla="*/ 25 w 53"/>
                    <a:gd name="T65" fmla="*/ 20 h 50"/>
                    <a:gd name="T66" fmla="*/ 26 w 53"/>
                    <a:gd name="T67" fmla="*/ 17 h 50"/>
                    <a:gd name="T68" fmla="*/ 28 w 53"/>
                    <a:gd name="T69" fmla="*/ 20 h 50"/>
                    <a:gd name="T70" fmla="*/ 32 w 53"/>
                    <a:gd name="T71" fmla="*/ 24 h 50"/>
                    <a:gd name="T72" fmla="*/ 36 w 53"/>
                    <a:gd name="T73" fmla="*/ 24 h 50"/>
                    <a:gd name="T74" fmla="*/ 33 w 53"/>
                    <a:gd name="T75"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0">
                      <a:moveTo>
                        <a:pt x="46" y="14"/>
                      </a:moveTo>
                      <a:cubicBezTo>
                        <a:pt x="36" y="14"/>
                        <a:pt x="36" y="14"/>
                        <a:pt x="36" y="14"/>
                      </a:cubicBezTo>
                      <a:cubicBezTo>
                        <a:pt x="32" y="4"/>
                        <a:pt x="32" y="4"/>
                        <a:pt x="32" y="4"/>
                      </a:cubicBezTo>
                      <a:cubicBezTo>
                        <a:pt x="31" y="2"/>
                        <a:pt x="29" y="0"/>
                        <a:pt x="26" y="0"/>
                      </a:cubicBezTo>
                      <a:cubicBezTo>
                        <a:pt x="24" y="0"/>
                        <a:pt x="21" y="2"/>
                        <a:pt x="21" y="4"/>
                      </a:cubicBezTo>
                      <a:cubicBezTo>
                        <a:pt x="17" y="14"/>
                        <a:pt x="17" y="14"/>
                        <a:pt x="17" y="14"/>
                      </a:cubicBezTo>
                      <a:cubicBezTo>
                        <a:pt x="7" y="14"/>
                        <a:pt x="7" y="14"/>
                        <a:pt x="7" y="14"/>
                      </a:cubicBezTo>
                      <a:cubicBezTo>
                        <a:pt x="4" y="14"/>
                        <a:pt x="2" y="16"/>
                        <a:pt x="1" y="18"/>
                      </a:cubicBezTo>
                      <a:cubicBezTo>
                        <a:pt x="0" y="21"/>
                        <a:pt x="1" y="24"/>
                        <a:pt x="3" y="25"/>
                      </a:cubicBezTo>
                      <a:cubicBezTo>
                        <a:pt x="11" y="31"/>
                        <a:pt x="11" y="31"/>
                        <a:pt x="11" y="31"/>
                      </a:cubicBezTo>
                      <a:cubicBezTo>
                        <a:pt x="8" y="41"/>
                        <a:pt x="8" y="41"/>
                        <a:pt x="8" y="41"/>
                      </a:cubicBezTo>
                      <a:cubicBezTo>
                        <a:pt x="8" y="44"/>
                        <a:pt x="8" y="46"/>
                        <a:pt x="11" y="48"/>
                      </a:cubicBezTo>
                      <a:cubicBezTo>
                        <a:pt x="13" y="50"/>
                        <a:pt x="16" y="50"/>
                        <a:pt x="18" y="48"/>
                      </a:cubicBezTo>
                      <a:cubicBezTo>
                        <a:pt x="26" y="42"/>
                        <a:pt x="26" y="42"/>
                        <a:pt x="26" y="42"/>
                      </a:cubicBezTo>
                      <a:cubicBezTo>
                        <a:pt x="35" y="48"/>
                        <a:pt x="35" y="48"/>
                        <a:pt x="35" y="48"/>
                      </a:cubicBezTo>
                      <a:cubicBezTo>
                        <a:pt x="36" y="49"/>
                        <a:pt x="37" y="49"/>
                        <a:pt x="39" y="49"/>
                      </a:cubicBezTo>
                      <a:cubicBezTo>
                        <a:pt x="40" y="49"/>
                        <a:pt x="41" y="49"/>
                        <a:pt x="42" y="48"/>
                      </a:cubicBezTo>
                      <a:cubicBezTo>
                        <a:pt x="44" y="46"/>
                        <a:pt x="45" y="44"/>
                        <a:pt x="44" y="41"/>
                      </a:cubicBezTo>
                      <a:cubicBezTo>
                        <a:pt x="41" y="31"/>
                        <a:pt x="41" y="31"/>
                        <a:pt x="41" y="31"/>
                      </a:cubicBezTo>
                      <a:cubicBezTo>
                        <a:pt x="50" y="25"/>
                        <a:pt x="50" y="25"/>
                        <a:pt x="50" y="25"/>
                      </a:cubicBezTo>
                      <a:cubicBezTo>
                        <a:pt x="52" y="24"/>
                        <a:pt x="53" y="21"/>
                        <a:pt x="52" y="18"/>
                      </a:cubicBezTo>
                      <a:cubicBezTo>
                        <a:pt x="51" y="16"/>
                        <a:pt x="49" y="14"/>
                        <a:pt x="46" y="14"/>
                      </a:cubicBezTo>
                      <a:close/>
                      <a:moveTo>
                        <a:pt x="33" y="26"/>
                      </a:moveTo>
                      <a:cubicBezTo>
                        <a:pt x="31" y="27"/>
                        <a:pt x="30" y="29"/>
                        <a:pt x="31" y="31"/>
                      </a:cubicBezTo>
                      <a:cubicBezTo>
                        <a:pt x="32" y="34"/>
                        <a:pt x="32" y="34"/>
                        <a:pt x="32" y="34"/>
                      </a:cubicBezTo>
                      <a:cubicBezTo>
                        <a:pt x="29" y="32"/>
                        <a:pt x="29" y="32"/>
                        <a:pt x="29" y="32"/>
                      </a:cubicBezTo>
                      <a:cubicBezTo>
                        <a:pt x="28" y="31"/>
                        <a:pt x="25" y="31"/>
                        <a:pt x="24" y="32"/>
                      </a:cubicBezTo>
                      <a:cubicBezTo>
                        <a:pt x="21" y="34"/>
                        <a:pt x="21" y="34"/>
                        <a:pt x="21" y="34"/>
                      </a:cubicBezTo>
                      <a:cubicBezTo>
                        <a:pt x="22" y="31"/>
                        <a:pt x="22" y="31"/>
                        <a:pt x="22" y="31"/>
                      </a:cubicBezTo>
                      <a:cubicBezTo>
                        <a:pt x="22" y="29"/>
                        <a:pt x="22" y="27"/>
                        <a:pt x="20" y="26"/>
                      </a:cubicBezTo>
                      <a:cubicBezTo>
                        <a:pt x="17" y="24"/>
                        <a:pt x="17" y="24"/>
                        <a:pt x="17" y="24"/>
                      </a:cubicBezTo>
                      <a:cubicBezTo>
                        <a:pt x="21" y="24"/>
                        <a:pt x="21" y="24"/>
                        <a:pt x="21" y="24"/>
                      </a:cubicBezTo>
                      <a:cubicBezTo>
                        <a:pt x="23" y="23"/>
                        <a:pt x="25" y="22"/>
                        <a:pt x="25" y="20"/>
                      </a:cubicBezTo>
                      <a:cubicBezTo>
                        <a:pt x="26" y="17"/>
                        <a:pt x="26" y="17"/>
                        <a:pt x="26" y="17"/>
                      </a:cubicBezTo>
                      <a:cubicBezTo>
                        <a:pt x="28" y="20"/>
                        <a:pt x="28" y="20"/>
                        <a:pt x="28" y="20"/>
                      </a:cubicBezTo>
                      <a:cubicBezTo>
                        <a:pt x="28" y="22"/>
                        <a:pt x="30" y="23"/>
                        <a:pt x="32" y="24"/>
                      </a:cubicBezTo>
                      <a:cubicBezTo>
                        <a:pt x="36" y="24"/>
                        <a:pt x="36" y="24"/>
                        <a:pt x="36" y="24"/>
                      </a:cubicBezTo>
                      <a:lnTo>
                        <a:pt x="3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7" name="Freeform 602">
                  <a:extLst>
                    <a:ext uri="{FF2B5EF4-FFF2-40B4-BE49-F238E27FC236}">
                      <a16:creationId xmlns:a16="http://schemas.microsoft.com/office/drawing/2014/main" id="{82613B90-9585-42DA-AC86-D2D006E832DE}"/>
                    </a:ext>
                  </a:extLst>
                </p:cNvPr>
                <p:cNvSpPr>
                  <a:spLocks noEditPoints="1"/>
                </p:cNvSpPr>
                <p:nvPr/>
              </p:nvSpPr>
              <p:spPr bwMode="auto">
                <a:xfrm>
                  <a:off x="11387138" y="6699251"/>
                  <a:ext cx="120650" cy="112713"/>
                </a:xfrm>
                <a:custGeom>
                  <a:avLst/>
                  <a:gdLst>
                    <a:gd name="T0" fmla="*/ 46 w 53"/>
                    <a:gd name="T1" fmla="*/ 14 h 49"/>
                    <a:gd name="T2" fmla="*/ 36 w 53"/>
                    <a:gd name="T3" fmla="*/ 13 h 49"/>
                    <a:gd name="T4" fmla="*/ 32 w 53"/>
                    <a:gd name="T5" fmla="*/ 4 h 49"/>
                    <a:gd name="T6" fmla="*/ 26 w 53"/>
                    <a:gd name="T7" fmla="*/ 0 h 49"/>
                    <a:gd name="T8" fmla="*/ 21 w 53"/>
                    <a:gd name="T9" fmla="*/ 4 h 49"/>
                    <a:gd name="T10" fmla="*/ 17 w 53"/>
                    <a:gd name="T11" fmla="*/ 13 h 49"/>
                    <a:gd name="T12" fmla="*/ 7 w 53"/>
                    <a:gd name="T13" fmla="*/ 14 h 49"/>
                    <a:gd name="T14" fmla="*/ 1 w 53"/>
                    <a:gd name="T15" fmla="*/ 18 h 49"/>
                    <a:gd name="T16" fmla="*/ 3 w 53"/>
                    <a:gd name="T17" fmla="*/ 25 h 49"/>
                    <a:gd name="T18" fmla="*/ 11 w 53"/>
                    <a:gd name="T19" fmla="*/ 31 h 49"/>
                    <a:gd name="T20" fmla="*/ 8 w 53"/>
                    <a:gd name="T21" fmla="*/ 41 h 49"/>
                    <a:gd name="T22" fmla="*/ 11 w 53"/>
                    <a:gd name="T23" fmla="*/ 48 h 49"/>
                    <a:gd name="T24" fmla="*/ 18 w 53"/>
                    <a:gd name="T25" fmla="*/ 48 h 49"/>
                    <a:gd name="T26" fmla="*/ 26 w 53"/>
                    <a:gd name="T27" fmla="*/ 42 h 49"/>
                    <a:gd name="T28" fmla="*/ 35 w 53"/>
                    <a:gd name="T29" fmla="*/ 48 h 49"/>
                    <a:gd name="T30" fmla="*/ 39 w 53"/>
                    <a:gd name="T31" fmla="*/ 49 h 49"/>
                    <a:gd name="T32" fmla="*/ 42 w 53"/>
                    <a:gd name="T33" fmla="*/ 48 h 49"/>
                    <a:gd name="T34" fmla="*/ 44 w 53"/>
                    <a:gd name="T35" fmla="*/ 41 h 49"/>
                    <a:gd name="T36" fmla="*/ 41 w 53"/>
                    <a:gd name="T37" fmla="*/ 31 h 49"/>
                    <a:gd name="T38" fmla="*/ 50 w 53"/>
                    <a:gd name="T39" fmla="*/ 25 h 49"/>
                    <a:gd name="T40" fmla="*/ 52 w 53"/>
                    <a:gd name="T41" fmla="*/ 18 h 49"/>
                    <a:gd name="T42" fmla="*/ 46 w 53"/>
                    <a:gd name="T43" fmla="*/ 14 h 49"/>
                    <a:gd name="T44" fmla="*/ 33 w 53"/>
                    <a:gd name="T45" fmla="*/ 25 h 49"/>
                    <a:gd name="T46" fmla="*/ 31 w 53"/>
                    <a:gd name="T47" fmla="*/ 31 h 49"/>
                    <a:gd name="T48" fmla="*/ 32 w 53"/>
                    <a:gd name="T49" fmla="*/ 34 h 49"/>
                    <a:gd name="T50" fmla="*/ 29 w 53"/>
                    <a:gd name="T51" fmla="*/ 32 h 49"/>
                    <a:gd name="T52" fmla="*/ 24 w 53"/>
                    <a:gd name="T53" fmla="*/ 32 h 49"/>
                    <a:gd name="T54" fmla="*/ 21 w 53"/>
                    <a:gd name="T55" fmla="*/ 34 h 49"/>
                    <a:gd name="T56" fmla="*/ 22 w 53"/>
                    <a:gd name="T57" fmla="*/ 31 h 49"/>
                    <a:gd name="T58" fmla="*/ 20 w 53"/>
                    <a:gd name="T59" fmla="*/ 25 h 49"/>
                    <a:gd name="T60" fmla="*/ 17 w 53"/>
                    <a:gd name="T61" fmla="*/ 23 h 49"/>
                    <a:gd name="T62" fmla="*/ 21 w 53"/>
                    <a:gd name="T63" fmla="*/ 23 h 49"/>
                    <a:gd name="T64" fmla="*/ 25 w 53"/>
                    <a:gd name="T65" fmla="*/ 20 h 49"/>
                    <a:gd name="T66" fmla="*/ 26 w 53"/>
                    <a:gd name="T67" fmla="*/ 17 h 49"/>
                    <a:gd name="T68" fmla="*/ 28 w 53"/>
                    <a:gd name="T69" fmla="*/ 20 h 49"/>
                    <a:gd name="T70" fmla="*/ 32 w 53"/>
                    <a:gd name="T71" fmla="*/ 23 h 49"/>
                    <a:gd name="T72" fmla="*/ 36 w 53"/>
                    <a:gd name="T73" fmla="*/ 23 h 49"/>
                    <a:gd name="T74" fmla="*/ 33 w 53"/>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9">
                      <a:moveTo>
                        <a:pt x="46" y="14"/>
                      </a:moveTo>
                      <a:cubicBezTo>
                        <a:pt x="36" y="13"/>
                        <a:pt x="36" y="13"/>
                        <a:pt x="36" y="13"/>
                      </a:cubicBezTo>
                      <a:cubicBezTo>
                        <a:pt x="32" y="4"/>
                        <a:pt x="32" y="4"/>
                        <a:pt x="32" y="4"/>
                      </a:cubicBezTo>
                      <a:cubicBezTo>
                        <a:pt x="31" y="1"/>
                        <a:pt x="29" y="0"/>
                        <a:pt x="26" y="0"/>
                      </a:cubicBezTo>
                      <a:cubicBezTo>
                        <a:pt x="24" y="0"/>
                        <a:pt x="21" y="1"/>
                        <a:pt x="21" y="4"/>
                      </a:cubicBezTo>
                      <a:cubicBezTo>
                        <a:pt x="17" y="13"/>
                        <a:pt x="17" y="13"/>
                        <a:pt x="17" y="13"/>
                      </a:cubicBezTo>
                      <a:cubicBezTo>
                        <a:pt x="7" y="14"/>
                        <a:pt x="7" y="14"/>
                        <a:pt x="7" y="14"/>
                      </a:cubicBezTo>
                      <a:cubicBezTo>
                        <a:pt x="4" y="14"/>
                        <a:pt x="2" y="15"/>
                        <a:pt x="1" y="18"/>
                      </a:cubicBezTo>
                      <a:cubicBezTo>
                        <a:pt x="0" y="20"/>
                        <a:pt x="1" y="23"/>
                        <a:pt x="3" y="25"/>
                      </a:cubicBezTo>
                      <a:cubicBezTo>
                        <a:pt x="11" y="31"/>
                        <a:pt x="11" y="31"/>
                        <a:pt x="11" y="31"/>
                      </a:cubicBezTo>
                      <a:cubicBezTo>
                        <a:pt x="8" y="41"/>
                        <a:pt x="8" y="41"/>
                        <a:pt x="8" y="41"/>
                      </a:cubicBezTo>
                      <a:cubicBezTo>
                        <a:pt x="8" y="43"/>
                        <a:pt x="8" y="46"/>
                        <a:pt x="11" y="48"/>
                      </a:cubicBezTo>
                      <a:cubicBezTo>
                        <a:pt x="13" y="49"/>
                        <a:pt x="16" y="49"/>
                        <a:pt x="18" y="48"/>
                      </a:cubicBezTo>
                      <a:cubicBezTo>
                        <a:pt x="26" y="42"/>
                        <a:pt x="26" y="42"/>
                        <a:pt x="26" y="42"/>
                      </a:cubicBezTo>
                      <a:cubicBezTo>
                        <a:pt x="35" y="48"/>
                        <a:pt x="35" y="48"/>
                        <a:pt x="35" y="48"/>
                      </a:cubicBezTo>
                      <a:cubicBezTo>
                        <a:pt x="36" y="48"/>
                        <a:pt x="37" y="49"/>
                        <a:pt x="39" y="49"/>
                      </a:cubicBezTo>
                      <a:cubicBezTo>
                        <a:pt x="40" y="49"/>
                        <a:pt x="41" y="48"/>
                        <a:pt x="42" y="48"/>
                      </a:cubicBezTo>
                      <a:cubicBezTo>
                        <a:pt x="44" y="46"/>
                        <a:pt x="45" y="43"/>
                        <a:pt x="44" y="41"/>
                      </a:cubicBezTo>
                      <a:cubicBezTo>
                        <a:pt x="41" y="31"/>
                        <a:pt x="41" y="31"/>
                        <a:pt x="41" y="31"/>
                      </a:cubicBezTo>
                      <a:cubicBezTo>
                        <a:pt x="50" y="25"/>
                        <a:pt x="50" y="25"/>
                        <a:pt x="50" y="25"/>
                      </a:cubicBezTo>
                      <a:cubicBezTo>
                        <a:pt x="52" y="23"/>
                        <a:pt x="53" y="20"/>
                        <a:pt x="52" y="18"/>
                      </a:cubicBezTo>
                      <a:cubicBezTo>
                        <a:pt x="51" y="15"/>
                        <a:pt x="49" y="14"/>
                        <a:pt x="46" y="14"/>
                      </a:cubicBezTo>
                      <a:close/>
                      <a:moveTo>
                        <a:pt x="33" y="25"/>
                      </a:moveTo>
                      <a:cubicBezTo>
                        <a:pt x="31" y="27"/>
                        <a:pt x="30" y="29"/>
                        <a:pt x="31" y="31"/>
                      </a:cubicBezTo>
                      <a:cubicBezTo>
                        <a:pt x="32" y="34"/>
                        <a:pt x="32" y="34"/>
                        <a:pt x="32" y="34"/>
                      </a:cubicBezTo>
                      <a:cubicBezTo>
                        <a:pt x="29" y="32"/>
                        <a:pt x="29" y="32"/>
                        <a:pt x="29" y="32"/>
                      </a:cubicBezTo>
                      <a:cubicBezTo>
                        <a:pt x="28" y="31"/>
                        <a:pt x="25" y="31"/>
                        <a:pt x="24" y="32"/>
                      </a:cubicBezTo>
                      <a:cubicBezTo>
                        <a:pt x="21" y="34"/>
                        <a:pt x="21" y="34"/>
                        <a:pt x="21" y="34"/>
                      </a:cubicBezTo>
                      <a:cubicBezTo>
                        <a:pt x="22" y="31"/>
                        <a:pt x="22" y="31"/>
                        <a:pt x="22" y="31"/>
                      </a:cubicBezTo>
                      <a:cubicBezTo>
                        <a:pt x="22" y="29"/>
                        <a:pt x="22" y="27"/>
                        <a:pt x="20" y="25"/>
                      </a:cubicBezTo>
                      <a:cubicBezTo>
                        <a:pt x="17" y="23"/>
                        <a:pt x="17" y="23"/>
                        <a:pt x="17" y="23"/>
                      </a:cubicBezTo>
                      <a:cubicBezTo>
                        <a:pt x="21" y="23"/>
                        <a:pt x="21" y="23"/>
                        <a:pt x="21" y="23"/>
                      </a:cubicBezTo>
                      <a:cubicBezTo>
                        <a:pt x="23" y="23"/>
                        <a:pt x="25" y="22"/>
                        <a:pt x="25" y="20"/>
                      </a:cubicBezTo>
                      <a:cubicBezTo>
                        <a:pt x="26" y="17"/>
                        <a:pt x="26" y="17"/>
                        <a:pt x="26" y="17"/>
                      </a:cubicBezTo>
                      <a:cubicBezTo>
                        <a:pt x="28" y="20"/>
                        <a:pt x="28" y="20"/>
                        <a:pt x="28" y="20"/>
                      </a:cubicBezTo>
                      <a:cubicBezTo>
                        <a:pt x="28" y="22"/>
                        <a:pt x="30" y="23"/>
                        <a:pt x="32" y="23"/>
                      </a:cubicBezTo>
                      <a:cubicBezTo>
                        <a:pt x="36" y="23"/>
                        <a:pt x="36" y="23"/>
                        <a:pt x="36" y="23"/>
                      </a:cubicBezTo>
                      <a:lnTo>
                        <a:pt x="33"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8" name="Freeform 603">
                  <a:extLst>
                    <a:ext uri="{FF2B5EF4-FFF2-40B4-BE49-F238E27FC236}">
                      <a16:creationId xmlns:a16="http://schemas.microsoft.com/office/drawing/2014/main" id="{3283F62A-BA91-4292-B715-95393C35C276}"/>
                    </a:ext>
                  </a:extLst>
                </p:cNvPr>
                <p:cNvSpPr>
                  <a:spLocks noEditPoints="1"/>
                </p:cNvSpPr>
                <p:nvPr/>
              </p:nvSpPr>
              <p:spPr bwMode="auto">
                <a:xfrm>
                  <a:off x="11387138" y="6861176"/>
                  <a:ext cx="120650" cy="114300"/>
                </a:xfrm>
                <a:custGeom>
                  <a:avLst/>
                  <a:gdLst>
                    <a:gd name="T0" fmla="*/ 46 w 53"/>
                    <a:gd name="T1" fmla="*/ 14 h 50"/>
                    <a:gd name="T2" fmla="*/ 36 w 53"/>
                    <a:gd name="T3" fmla="*/ 14 h 50"/>
                    <a:gd name="T4" fmla="*/ 32 w 53"/>
                    <a:gd name="T5" fmla="*/ 4 h 50"/>
                    <a:gd name="T6" fmla="*/ 26 w 53"/>
                    <a:gd name="T7" fmla="*/ 0 h 50"/>
                    <a:gd name="T8" fmla="*/ 21 w 53"/>
                    <a:gd name="T9" fmla="*/ 4 h 50"/>
                    <a:gd name="T10" fmla="*/ 17 w 53"/>
                    <a:gd name="T11" fmla="*/ 14 h 50"/>
                    <a:gd name="T12" fmla="*/ 7 w 53"/>
                    <a:gd name="T13" fmla="*/ 14 h 50"/>
                    <a:gd name="T14" fmla="*/ 1 w 53"/>
                    <a:gd name="T15" fmla="*/ 18 h 50"/>
                    <a:gd name="T16" fmla="*/ 3 w 53"/>
                    <a:gd name="T17" fmla="*/ 25 h 50"/>
                    <a:gd name="T18" fmla="*/ 11 w 53"/>
                    <a:gd name="T19" fmla="*/ 31 h 50"/>
                    <a:gd name="T20" fmla="*/ 8 w 53"/>
                    <a:gd name="T21" fmla="*/ 41 h 50"/>
                    <a:gd name="T22" fmla="*/ 11 w 53"/>
                    <a:gd name="T23" fmla="*/ 48 h 50"/>
                    <a:gd name="T24" fmla="*/ 14 w 53"/>
                    <a:gd name="T25" fmla="*/ 49 h 50"/>
                    <a:gd name="T26" fmla="*/ 18 w 53"/>
                    <a:gd name="T27" fmla="*/ 48 h 50"/>
                    <a:gd name="T28" fmla="*/ 26 w 53"/>
                    <a:gd name="T29" fmla="*/ 42 h 50"/>
                    <a:gd name="T30" fmla="*/ 35 w 53"/>
                    <a:gd name="T31" fmla="*/ 48 h 50"/>
                    <a:gd name="T32" fmla="*/ 42 w 53"/>
                    <a:gd name="T33" fmla="*/ 48 h 50"/>
                    <a:gd name="T34" fmla="*/ 44 w 53"/>
                    <a:gd name="T35" fmla="*/ 41 h 50"/>
                    <a:gd name="T36" fmla="*/ 41 w 53"/>
                    <a:gd name="T37" fmla="*/ 31 h 50"/>
                    <a:gd name="T38" fmla="*/ 50 w 53"/>
                    <a:gd name="T39" fmla="*/ 25 h 50"/>
                    <a:gd name="T40" fmla="*/ 52 w 53"/>
                    <a:gd name="T41" fmla="*/ 18 h 50"/>
                    <a:gd name="T42" fmla="*/ 46 w 53"/>
                    <a:gd name="T43" fmla="*/ 14 h 50"/>
                    <a:gd name="T44" fmla="*/ 33 w 53"/>
                    <a:gd name="T45" fmla="*/ 26 h 50"/>
                    <a:gd name="T46" fmla="*/ 31 w 53"/>
                    <a:gd name="T47" fmla="*/ 31 h 50"/>
                    <a:gd name="T48" fmla="*/ 32 w 53"/>
                    <a:gd name="T49" fmla="*/ 34 h 50"/>
                    <a:gd name="T50" fmla="*/ 29 w 53"/>
                    <a:gd name="T51" fmla="*/ 32 h 50"/>
                    <a:gd name="T52" fmla="*/ 24 w 53"/>
                    <a:gd name="T53" fmla="*/ 32 h 50"/>
                    <a:gd name="T54" fmla="*/ 21 w 53"/>
                    <a:gd name="T55" fmla="*/ 34 h 50"/>
                    <a:gd name="T56" fmla="*/ 22 w 53"/>
                    <a:gd name="T57" fmla="*/ 31 h 50"/>
                    <a:gd name="T58" fmla="*/ 20 w 53"/>
                    <a:gd name="T59" fmla="*/ 26 h 50"/>
                    <a:gd name="T60" fmla="*/ 17 w 53"/>
                    <a:gd name="T61" fmla="*/ 24 h 50"/>
                    <a:gd name="T62" fmla="*/ 21 w 53"/>
                    <a:gd name="T63" fmla="*/ 24 h 50"/>
                    <a:gd name="T64" fmla="*/ 25 w 53"/>
                    <a:gd name="T65" fmla="*/ 20 h 50"/>
                    <a:gd name="T66" fmla="*/ 26 w 53"/>
                    <a:gd name="T67" fmla="*/ 17 h 50"/>
                    <a:gd name="T68" fmla="*/ 28 w 53"/>
                    <a:gd name="T69" fmla="*/ 20 h 50"/>
                    <a:gd name="T70" fmla="*/ 32 w 53"/>
                    <a:gd name="T71" fmla="*/ 24 h 50"/>
                    <a:gd name="T72" fmla="*/ 36 w 53"/>
                    <a:gd name="T73" fmla="*/ 24 h 50"/>
                    <a:gd name="T74" fmla="*/ 33 w 53"/>
                    <a:gd name="T75"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0">
                      <a:moveTo>
                        <a:pt x="46" y="14"/>
                      </a:moveTo>
                      <a:cubicBezTo>
                        <a:pt x="36" y="14"/>
                        <a:pt x="36" y="14"/>
                        <a:pt x="36" y="14"/>
                      </a:cubicBezTo>
                      <a:cubicBezTo>
                        <a:pt x="32" y="4"/>
                        <a:pt x="32" y="4"/>
                        <a:pt x="32" y="4"/>
                      </a:cubicBezTo>
                      <a:cubicBezTo>
                        <a:pt x="31" y="2"/>
                        <a:pt x="29" y="0"/>
                        <a:pt x="26" y="0"/>
                      </a:cubicBezTo>
                      <a:cubicBezTo>
                        <a:pt x="24" y="0"/>
                        <a:pt x="21" y="2"/>
                        <a:pt x="21" y="4"/>
                      </a:cubicBezTo>
                      <a:cubicBezTo>
                        <a:pt x="17" y="14"/>
                        <a:pt x="17" y="14"/>
                        <a:pt x="17" y="14"/>
                      </a:cubicBezTo>
                      <a:cubicBezTo>
                        <a:pt x="7" y="14"/>
                        <a:pt x="7" y="14"/>
                        <a:pt x="7" y="14"/>
                      </a:cubicBezTo>
                      <a:cubicBezTo>
                        <a:pt x="4" y="14"/>
                        <a:pt x="2" y="16"/>
                        <a:pt x="1" y="18"/>
                      </a:cubicBezTo>
                      <a:cubicBezTo>
                        <a:pt x="0" y="21"/>
                        <a:pt x="1" y="24"/>
                        <a:pt x="3" y="25"/>
                      </a:cubicBezTo>
                      <a:cubicBezTo>
                        <a:pt x="11" y="31"/>
                        <a:pt x="11" y="31"/>
                        <a:pt x="11" y="31"/>
                      </a:cubicBezTo>
                      <a:cubicBezTo>
                        <a:pt x="8" y="41"/>
                        <a:pt x="8" y="41"/>
                        <a:pt x="8" y="41"/>
                      </a:cubicBezTo>
                      <a:cubicBezTo>
                        <a:pt x="8" y="44"/>
                        <a:pt x="8" y="47"/>
                        <a:pt x="11" y="48"/>
                      </a:cubicBezTo>
                      <a:cubicBezTo>
                        <a:pt x="12" y="49"/>
                        <a:pt x="13" y="49"/>
                        <a:pt x="14" y="49"/>
                      </a:cubicBezTo>
                      <a:cubicBezTo>
                        <a:pt x="15" y="49"/>
                        <a:pt x="17" y="49"/>
                        <a:pt x="18" y="48"/>
                      </a:cubicBezTo>
                      <a:cubicBezTo>
                        <a:pt x="26" y="42"/>
                        <a:pt x="26" y="42"/>
                        <a:pt x="26" y="42"/>
                      </a:cubicBezTo>
                      <a:cubicBezTo>
                        <a:pt x="35" y="48"/>
                        <a:pt x="35" y="48"/>
                        <a:pt x="35" y="48"/>
                      </a:cubicBezTo>
                      <a:cubicBezTo>
                        <a:pt x="37" y="50"/>
                        <a:pt x="40" y="50"/>
                        <a:pt x="42" y="48"/>
                      </a:cubicBezTo>
                      <a:cubicBezTo>
                        <a:pt x="44" y="47"/>
                        <a:pt x="45" y="44"/>
                        <a:pt x="44" y="41"/>
                      </a:cubicBezTo>
                      <a:cubicBezTo>
                        <a:pt x="41" y="31"/>
                        <a:pt x="41" y="31"/>
                        <a:pt x="41" y="31"/>
                      </a:cubicBezTo>
                      <a:cubicBezTo>
                        <a:pt x="50" y="25"/>
                        <a:pt x="50" y="25"/>
                        <a:pt x="50" y="25"/>
                      </a:cubicBezTo>
                      <a:cubicBezTo>
                        <a:pt x="52" y="24"/>
                        <a:pt x="53" y="21"/>
                        <a:pt x="52" y="18"/>
                      </a:cubicBezTo>
                      <a:cubicBezTo>
                        <a:pt x="51" y="16"/>
                        <a:pt x="49" y="14"/>
                        <a:pt x="46" y="14"/>
                      </a:cubicBezTo>
                      <a:close/>
                      <a:moveTo>
                        <a:pt x="33" y="26"/>
                      </a:moveTo>
                      <a:cubicBezTo>
                        <a:pt x="31" y="27"/>
                        <a:pt x="30" y="29"/>
                        <a:pt x="31" y="31"/>
                      </a:cubicBezTo>
                      <a:cubicBezTo>
                        <a:pt x="32" y="34"/>
                        <a:pt x="32" y="34"/>
                        <a:pt x="32" y="34"/>
                      </a:cubicBezTo>
                      <a:cubicBezTo>
                        <a:pt x="29" y="32"/>
                        <a:pt x="29" y="32"/>
                        <a:pt x="29" y="32"/>
                      </a:cubicBezTo>
                      <a:cubicBezTo>
                        <a:pt x="27" y="31"/>
                        <a:pt x="25" y="31"/>
                        <a:pt x="24" y="32"/>
                      </a:cubicBezTo>
                      <a:cubicBezTo>
                        <a:pt x="21" y="34"/>
                        <a:pt x="21" y="34"/>
                        <a:pt x="21" y="34"/>
                      </a:cubicBezTo>
                      <a:cubicBezTo>
                        <a:pt x="22" y="31"/>
                        <a:pt x="22" y="31"/>
                        <a:pt x="22" y="31"/>
                      </a:cubicBezTo>
                      <a:cubicBezTo>
                        <a:pt x="22" y="29"/>
                        <a:pt x="22" y="27"/>
                        <a:pt x="20" y="26"/>
                      </a:cubicBezTo>
                      <a:cubicBezTo>
                        <a:pt x="17" y="24"/>
                        <a:pt x="17" y="24"/>
                        <a:pt x="17" y="24"/>
                      </a:cubicBezTo>
                      <a:cubicBezTo>
                        <a:pt x="21" y="24"/>
                        <a:pt x="21" y="24"/>
                        <a:pt x="21" y="24"/>
                      </a:cubicBezTo>
                      <a:cubicBezTo>
                        <a:pt x="23" y="24"/>
                        <a:pt x="25" y="22"/>
                        <a:pt x="25" y="20"/>
                      </a:cubicBezTo>
                      <a:cubicBezTo>
                        <a:pt x="26" y="17"/>
                        <a:pt x="26" y="17"/>
                        <a:pt x="26" y="17"/>
                      </a:cubicBezTo>
                      <a:cubicBezTo>
                        <a:pt x="28" y="20"/>
                        <a:pt x="28" y="20"/>
                        <a:pt x="28" y="20"/>
                      </a:cubicBezTo>
                      <a:cubicBezTo>
                        <a:pt x="28" y="22"/>
                        <a:pt x="30" y="24"/>
                        <a:pt x="32" y="24"/>
                      </a:cubicBezTo>
                      <a:cubicBezTo>
                        <a:pt x="36" y="24"/>
                        <a:pt x="36" y="24"/>
                        <a:pt x="36" y="24"/>
                      </a:cubicBezTo>
                      <a:lnTo>
                        <a:pt x="3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9" name="Freeform 604">
                  <a:extLst>
                    <a:ext uri="{FF2B5EF4-FFF2-40B4-BE49-F238E27FC236}">
                      <a16:creationId xmlns:a16="http://schemas.microsoft.com/office/drawing/2014/main" id="{3FB268B4-0684-4FAB-A677-4A9F2447BAA2}"/>
                    </a:ext>
                  </a:extLst>
                </p:cNvPr>
                <p:cNvSpPr>
                  <a:spLocks/>
                </p:cNvSpPr>
                <p:nvPr/>
              </p:nvSpPr>
              <p:spPr bwMode="auto">
                <a:xfrm>
                  <a:off x="11549063" y="6907213"/>
                  <a:ext cx="322263" cy="23813"/>
                </a:xfrm>
                <a:custGeom>
                  <a:avLst/>
                  <a:gdLst>
                    <a:gd name="T0" fmla="*/ 136 w 141"/>
                    <a:gd name="T1" fmla="*/ 0 h 10"/>
                    <a:gd name="T2" fmla="*/ 5 w 141"/>
                    <a:gd name="T3" fmla="*/ 0 h 10"/>
                    <a:gd name="T4" fmla="*/ 0 w 141"/>
                    <a:gd name="T5" fmla="*/ 5 h 10"/>
                    <a:gd name="T6" fmla="*/ 5 w 141"/>
                    <a:gd name="T7" fmla="*/ 10 h 10"/>
                    <a:gd name="T8" fmla="*/ 136 w 141"/>
                    <a:gd name="T9" fmla="*/ 10 h 10"/>
                    <a:gd name="T10" fmla="*/ 141 w 141"/>
                    <a:gd name="T11" fmla="*/ 5 h 10"/>
                    <a:gd name="T12" fmla="*/ 136 w 14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41" h="10">
                      <a:moveTo>
                        <a:pt x="136" y="0"/>
                      </a:moveTo>
                      <a:cubicBezTo>
                        <a:pt x="5" y="0"/>
                        <a:pt x="5" y="0"/>
                        <a:pt x="5" y="0"/>
                      </a:cubicBezTo>
                      <a:cubicBezTo>
                        <a:pt x="2" y="0"/>
                        <a:pt x="0" y="2"/>
                        <a:pt x="0" y="5"/>
                      </a:cubicBezTo>
                      <a:cubicBezTo>
                        <a:pt x="0" y="7"/>
                        <a:pt x="2" y="10"/>
                        <a:pt x="5" y="10"/>
                      </a:cubicBezTo>
                      <a:cubicBezTo>
                        <a:pt x="136" y="10"/>
                        <a:pt x="136" y="10"/>
                        <a:pt x="136" y="10"/>
                      </a:cubicBezTo>
                      <a:cubicBezTo>
                        <a:pt x="139" y="10"/>
                        <a:pt x="141" y="7"/>
                        <a:pt x="141" y="5"/>
                      </a:cubicBezTo>
                      <a:cubicBezTo>
                        <a:pt x="141" y="2"/>
                        <a:pt x="139" y="0"/>
                        <a:pt x="13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0" name="Freeform 605">
                  <a:extLst>
                    <a:ext uri="{FF2B5EF4-FFF2-40B4-BE49-F238E27FC236}">
                      <a16:creationId xmlns:a16="http://schemas.microsoft.com/office/drawing/2014/main" id="{FDDE94CB-0529-4A3F-B8F8-4175A601E984}"/>
                    </a:ext>
                  </a:extLst>
                </p:cNvPr>
                <p:cNvSpPr>
                  <a:spLocks/>
                </p:cNvSpPr>
                <p:nvPr/>
              </p:nvSpPr>
              <p:spPr bwMode="auto">
                <a:xfrm>
                  <a:off x="11549063" y="6748463"/>
                  <a:ext cx="322263" cy="22225"/>
                </a:xfrm>
                <a:custGeom>
                  <a:avLst/>
                  <a:gdLst>
                    <a:gd name="T0" fmla="*/ 136 w 141"/>
                    <a:gd name="T1" fmla="*/ 0 h 10"/>
                    <a:gd name="T2" fmla="*/ 5 w 141"/>
                    <a:gd name="T3" fmla="*/ 0 h 10"/>
                    <a:gd name="T4" fmla="*/ 0 w 141"/>
                    <a:gd name="T5" fmla="*/ 5 h 10"/>
                    <a:gd name="T6" fmla="*/ 5 w 141"/>
                    <a:gd name="T7" fmla="*/ 10 h 10"/>
                    <a:gd name="T8" fmla="*/ 136 w 141"/>
                    <a:gd name="T9" fmla="*/ 10 h 10"/>
                    <a:gd name="T10" fmla="*/ 141 w 141"/>
                    <a:gd name="T11" fmla="*/ 5 h 10"/>
                    <a:gd name="T12" fmla="*/ 136 w 14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41" h="10">
                      <a:moveTo>
                        <a:pt x="136" y="0"/>
                      </a:moveTo>
                      <a:cubicBezTo>
                        <a:pt x="5" y="0"/>
                        <a:pt x="5" y="0"/>
                        <a:pt x="5" y="0"/>
                      </a:cubicBezTo>
                      <a:cubicBezTo>
                        <a:pt x="2" y="0"/>
                        <a:pt x="0" y="2"/>
                        <a:pt x="0" y="5"/>
                      </a:cubicBezTo>
                      <a:cubicBezTo>
                        <a:pt x="0" y="7"/>
                        <a:pt x="2" y="10"/>
                        <a:pt x="5" y="10"/>
                      </a:cubicBezTo>
                      <a:cubicBezTo>
                        <a:pt x="136" y="10"/>
                        <a:pt x="136" y="10"/>
                        <a:pt x="136" y="10"/>
                      </a:cubicBezTo>
                      <a:cubicBezTo>
                        <a:pt x="139" y="10"/>
                        <a:pt x="141" y="7"/>
                        <a:pt x="141" y="5"/>
                      </a:cubicBezTo>
                      <a:cubicBezTo>
                        <a:pt x="141" y="2"/>
                        <a:pt x="139" y="0"/>
                        <a:pt x="13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1" name="Freeform 606">
                  <a:extLst>
                    <a:ext uri="{FF2B5EF4-FFF2-40B4-BE49-F238E27FC236}">
                      <a16:creationId xmlns:a16="http://schemas.microsoft.com/office/drawing/2014/main" id="{494C89E0-72AD-4A97-B023-3B247D110500}"/>
                    </a:ext>
                  </a:extLst>
                </p:cNvPr>
                <p:cNvSpPr>
                  <a:spLocks/>
                </p:cNvSpPr>
                <p:nvPr/>
              </p:nvSpPr>
              <p:spPr bwMode="auto">
                <a:xfrm>
                  <a:off x="11549063" y="6588126"/>
                  <a:ext cx="322263" cy="20638"/>
                </a:xfrm>
                <a:custGeom>
                  <a:avLst/>
                  <a:gdLst>
                    <a:gd name="T0" fmla="*/ 5 w 141"/>
                    <a:gd name="T1" fmla="*/ 9 h 9"/>
                    <a:gd name="T2" fmla="*/ 136 w 141"/>
                    <a:gd name="T3" fmla="*/ 9 h 9"/>
                    <a:gd name="T4" fmla="*/ 141 w 141"/>
                    <a:gd name="T5" fmla="*/ 5 h 9"/>
                    <a:gd name="T6" fmla="*/ 136 w 141"/>
                    <a:gd name="T7" fmla="*/ 0 h 9"/>
                    <a:gd name="T8" fmla="*/ 5 w 141"/>
                    <a:gd name="T9" fmla="*/ 0 h 9"/>
                    <a:gd name="T10" fmla="*/ 0 w 141"/>
                    <a:gd name="T11" fmla="*/ 5 h 9"/>
                    <a:gd name="T12" fmla="*/ 5 w 141"/>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41" h="9">
                      <a:moveTo>
                        <a:pt x="5" y="9"/>
                      </a:moveTo>
                      <a:cubicBezTo>
                        <a:pt x="136" y="9"/>
                        <a:pt x="136" y="9"/>
                        <a:pt x="136" y="9"/>
                      </a:cubicBezTo>
                      <a:cubicBezTo>
                        <a:pt x="139" y="9"/>
                        <a:pt x="141" y="7"/>
                        <a:pt x="141" y="5"/>
                      </a:cubicBezTo>
                      <a:cubicBezTo>
                        <a:pt x="141" y="2"/>
                        <a:pt x="139" y="0"/>
                        <a:pt x="136" y="0"/>
                      </a:cubicBezTo>
                      <a:cubicBezTo>
                        <a:pt x="5" y="0"/>
                        <a:pt x="5" y="0"/>
                        <a:pt x="5" y="0"/>
                      </a:cubicBezTo>
                      <a:cubicBezTo>
                        <a:pt x="2" y="0"/>
                        <a:pt x="0" y="2"/>
                        <a:pt x="0" y="5"/>
                      </a:cubicBezTo>
                      <a:cubicBezTo>
                        <a:pt x="0" y="7"/>
                        <a:pt x="2" y="9"/>
                        <a:pt x="5"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grpSp>
      <p:sp>
        <p:nvSpPr>
          <p:cNvPr id="4" name="Title 3">
            <a:extLst>
              <a:ext uri="{FF2B5EF4-FFF2-40B4-BE49-F238E27FC236}">
                <a16:creationId xmlns:a16="http://schemas.microsoft.com/office/drawing/2014/main" id="{2BBDD6BE-044F-2649-8196-F7AED5342F1C}"/>
              </a:ext>
            </a:extLst>
          </p:cNvPr>
          <p:cNvSpPr>
            <a:spLocks noGrp="1"/>
          </p:cNvSpPr>
          <p:nvPr>
            <p:ph type="title"/>
          </p:nvPr>
        </p:nvSpPr>
        <p:spPr/>
        <p:txBody>
          <a:bodyPr/>
          <a:lstStyle/>
          <a:p>
            <a:r>
              <a:rPr lang="en-US" dirty="0"/>
              <a:t>Signposts</a:t>
            </a:r>
          </a:p>
        </p:txBody>
      </p:sp>
      <p:sp>
        <p:nvSpPr>
          <p:cNvPr id="104" name="Star: 5 Points 103">
            <a:extLst>
              <a:ext uri="{FF2B5EF4-FFF2-40B4-BE49-F238E27FC236}">
                <a16:creationId xmlns:a16="http://schemas.microsoft.com/office/drawing/2014/main" id="{FB0DB399-E1DC-442B-BD8D-7283544FB478}"/>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62135021"/>
      </p:ext>
    </p:extLst>
  </p:cSld>
  <p:clrMapOvr>
    <a:masterClrMapping/>
  </p:clrMapOvr>
  <p:transition>
    <p:fade/>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2A330F2-E865-4CA6-81A0-366197D31A86}"/>
              </a:ext>
            </a:extLst>
          </p:cNvPr>
          <p:cNvPicPr>
            <a:picLocks noChangeAspect="1"/>
          </p:cNvPicPr>
          <p:nvPr/>
        </p:nvPicPr>
        <p:blipFill>
          <a:blip r:embed="rId6"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475696" y="0"/>
            <a:ext cx="10716304" cy="6858000"/>
          </a:xfrm>
          <a:prstGeom prst="rect">
            <a:avLst/>
          </a:prstGeom>
        </p:spPr>
      </p:pic>
      <p:graphicFrame>
        <p:nvGraphicFramePr>
          <p:cNvPr id="6" name="Object 5" hidden="1">
            <a:extLst>
              <a:ext uri="{FF2B5EF4-FFF2-40B4-BE49-F238E27FC236}">
                <a16:creationId xmlns:a16="http://schemas.microsoft.com/office/drawing/2014/main" id="{5A8BACA4-4E2D-454A-8D80-8EB53FDC9A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Slide" r:id="rId7" imgW="415" imgH="416" progId="TCLayout.ActiveDocument.1">
                  <p:embed/>
                </p:oleObj>
              </mc:Choice>
              <mc:Fallback>
                <p:oleObj name="think-cell Slide" r:id="rId7" imgW="415" imgH="416" progId="TCLayout.ActiveDocument.1">
                  <p:embed/>
                  <p:pic>
                    <p:nvPicPr>
                      <p:cNvPr id="6" name="Object 5" hidden="1">
                        <a:extLst>
                          <a:ext uri="{FF2B5EF4-FFF2-40B4-BE49-F238E27FC236}">
                            <a16:creationId xmlns:a16="http://schemas.microsoft.com/office/drawing/2014/main" id="{5A8BACA4-4E2D-454A-8D80-8EB53FDC9AF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6D5F5A8-6D77-47CD-892D-60DC5C45490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B9C251D7-CF59-43C5-B64C-64862BE5A9FA}"/>
              </a:ext>
            </a:extLst>
          </p:cNvPr>
          <p:cNvSpPr>
            <a:spLocks noGrp="1"/>
          </p:cNvSpPr>
          <p:nvPr>
            <p:ph type="title"/>
          </p:nvPr>
        </p:nvSpPr>
        <p:spPr/>
        <p:txBody>
          <a:bodyPr/>
          <a:lstStyle/>
          <a:p>
            <a:r>
              <a:rPr lang="en-US" dirty="0"/>
              <a:t>Road and signs</a:t>
            </a:r>
          </a:p>
        </p:txBody>
      </p:sp>
      <p:sp>
        <p:nvSpPr>
          <p:cNvPr id="8" name="Rectangle: Rounded Corners 7">
            <a:extLst>
              <a:ext uri="{FF2B5EF4-FFF2-40B4-BE49-F238E27FC236}">
                <a16:creationId xmlns:a16="http://schemas.microsoft.com/office/drawing/2014/main" id="{7C1CB2F8-24E8-44F0-8695-757F381190F9}"/>
              </a:ext>
            </a:extLst>
          </p:cNvPr>
          <p:cNvSpPr/>
          <p:nvPr/>
        </p:nvSpPr>
        <p:spPr>
          <a:xfrm>
            <a:off x="952835" y="3905778"/>
            <a:ext cx="3124200" cy="1313483"/>
          </a:xfrm>
          <a:prstGeom prst="roundRect">
            <a:avLst/>
          </a:prstGeom>
          <a:solidFill>
            <a:schemeClr val="accent1">
              <a:lumMod val="20000"/>
              <a:lumOff val="8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XXX</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xxx</a:t>
            </a:r>
          </a:p>
        </p:txBody>
      </p:sp>
      <p:sp>
        <p:nvSpPr>
          <p:cNvPr id="9" name="Rectangle 8">
            <a:extLst>
              <a:ext uri="{FF2B5EF4-FFF2-40B4-BE49-F238E27FC236}">
                <a16:creationId xmlns:a16="http://schemas.microsoft.com/office/drawing/2014/main" id="{55E3FCD0-63BF-42BF-9AC2-84B2311CED99}"/>
              </a:ext>
            </a:extLst>
          </p:cNvPr>
          <p:cNvSpPr/>
          <p:nvPr/>
        </p:nvSpPr>
        <p:spPr>
          <a:xfrm>
            <a:off x="2462038" y="5217476"/>
            <a:ext cx="105794" cy="7511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49DF06B0-65A2-4564-928E-EA0FE23B3AA4}"/>
              </a:ext>
            </a:extLst>
          </p:cNvPr>
          <p:cNvSpPr/>
          <p:nvPr/>
        </p:nvSpPr>
        <p:spPr>
          <a:xfrm>
            <a:off x="5445972" y="2279264"/>
            <a:ext cx="105794" cy="5660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1" name="Rectangle: Rounded Corners 10">
            <a:extLst>
              <a:ext uri="{FF2B5EF4-FFF2-40B4-BE49-F238E27FC236}">
                <a16:creationId xmlns:a16="http://schemas.microsoft.com/office/drawing/2014/main" id="{55CD4FE1-2C22-4A6D-AB7F-3BC3F74F6BC6}"/>
              </a:ext>
            </a:extLst>
          </p:cNvPr>
          <p:cNvSpPr/>
          <p:nvPr/>
        </p:nvSpPr>
        <p:spPr>
          <a:xfrm>
            <a:off x="7875132" y="227671"/>
            <a:ext cx="2714172" cy="1007858"/>
          </a:xfrm>
          <a:prstGeom prst="roundRect">
            <a:avLst/>
          </a:prstGeom>
          <a:solidFill>
            <a:schemeClr val="accent5">
              <a:lumMod val="20000"/>
              <a:lumOff val="80000"/>
              <a:alpha val="45882"/>
            </a:schemeClr>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XXX</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xxx</a:t>
            </a:r>
          </a:p>
        </p:txBody>
      </p:sp>
      <p:sp>
        <p:nvSpPr>
          <p:cNvPr id="12" name="Rectangle 11">
            <a:extLst>
              <a:ext uri="{FF2B5EF4-FFF2-40B4-BE49-F238E27FC236}">
                <a16:creationId xmlns:a16="http://schemas.microsoft.com/office/drawing/2014/main" id="{576E9BF9-7247-47B1-878E-FE79F323CEED}"/>
              </a:ext>
            </a:extLst>
          </p:cNvPr>
          <p:cNvSpPr/>
          <p:nvPr/>
        </p:nvSpPr>
        <p:spPr>
          <a:xfrm>
            <a:off x="9179321" y="1235530"/>
            <a:ext cx="105794" cy="4571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3" name="Rectangle: Rounded Corners 22">
            <a:extLst>
              <a:ext uri="{FF2B5EF4-FFF2-40B4-BE49-F238E27FC236}">
                <a16:creationId xmlns:a16="http://schemas.microsoft.com/office/drawing/2014/main" id="{62600402-EF1F-48E7-8B36-5F84FC3D10E9}"/>
              </a:ext>
            </a:extLst>
          </p:cNvPr>
          <p:cNvSpPr/>
          <p:nvPr/>
        </p:nvSpPr>
        <p:spPr>
          <a:xfrm>
            <a:off x="6256651" y="3772032"/>
            <a:ext cx="2636977" cy="916235"/>
          </a:xfrm>
          <a:prstGeom prst="roundRect">
            <a:avLst/>
          </a:prstGeom>
          <a:solidFill>
            <a:schemeClr val="accent3">
              <a:lumMod val="20000"/>
              <a:lumOff val="80000"/>
              <a:alpha val="45882"/>
            </a:schemeClr>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XXX</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xxx</a:t>
            </a:r>
          </a:p>
        </p:txBody>
      </p:sp>
      <p:sp>
        <p:nvSpPr>
          <p:cNvPr id="14" name="Rectangle 13">
            <a:extLst>
              <a:ext uri="{FF2B5EF4-FFF2-40B4-BE49-F238E27FC236}">
                <a16:creationId xmlns:a16="http://schemas.microsoft.com/office/drawing/2014/main" id="{97EFE726-31F5-40F3-BCA4-CCD314220E95}"/>
              </a:ext>
            </a:extLst>
          </p:cNvPr>
          <p:cNvSpPr/>
          <p:nvPr/>
        </p:nvSpPr>
        <p:spPr>
          <a:xfrm>
            <a:off x="7491683" y="4691210"/>
            <a:ext cx="105794" cy="4571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Rectangle: Rounded Corners 14">
            <a:extLst>
              <a:ext uri="{FF2B5EF4-FFF2-40B4-BE49-F238E27FC236}">
                <a16:creationId xmlns:a16="http://schemas.microsoft.com/office/drawing/2014/main" id="{A4431FBD-E49B-404E-BDF7-F77774A2A2EB}"/>
              </a:ext>
            </a:extLst>
          </p:cNvPr>
          <p:cNvSpPr/>
          <p:nvPr/>
        </p:nvSpPr>
        <p:spPr>
          <a:xfrm>
            <a:off x="4204252" y="1506873"/>
            <a:ext cx="2589234" cy="989610"/>
          </a:xfrm>
          <a:prstGeom prst="roundRect">
            <a:avLst/>
          </a:prstGeom>
          <a:solidFill>
            <a:schemeClr val="accent2">
              <a:lumMod val="20000"/>
              <a:lumOff val="80000"/>
            </a:schemeClr>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XXX</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xxx</a:t>
            </a:r>
          </a:p>
        </p:txBody>
      </p:sp>
      <p:sp>
        <p:nvSpPr>
          <p:cNvPr id="16" name="Star: 5 Points 15">
            <a:extLst>
              <a:ext uri="{FF2B5EF4-FFF2-40B4-BE49-F238E27FC236}">
                <a16:creationId xmlns:a16="http://schemas.microsoft.com/office/drawing/2014/main" id="{E31DEAC6-28B1-43EF-8F30-DAA4FD02F415}"/>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07580970"/>
      </p:ext>
    </p:extLst>
  </p:cSld>
  <p:clrMapOvr>
    <a:masterClrMapping/>
  </p:clrMapOvr>
  <p:transition>
    <p:fade/>
  </p:transition>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2092E4-2E6E-4631-B89D-72FDB75A8857}"/>
              </a:ext>
            </a:extLst>
          </p:cNvPr>
          <p:cNvSpPr>
            <a:spLocks noGrp="1"/>
          </p:cNvSpPr>
          <p:nvPr>
            <p:ph type="title"/>
          </p:nvPr>
        </p:nvSpPr>
        <p:spPr/>
        <p:txBody>
          <a:bodyPr/>
          <a:lstStyle/>
          <a:p>
            <a:r>
              <a:rPr lang="en-US" dirty="0"/>
              <a:t>Road and signs</a:t>
            </a:r>
          </a:p>
        </p:txBody>
      </p:sp>
      <p:pic>
        <p:nvPicPr>
          <p:cNvPr id="5" name="Picture 4">
            <a:extLst>
              <a:ext uri="{FF2B5EF4-FFF2-40B4-BE49-F238E27FC236}">
                <a16:creationId xmlns:a16="http://schemas.microsoft.com/office/drawing/2014/main" id="{2BEDBECE-7297-4111-9FA4-878D98EA5F7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77743" y="2684752"/>
            <a:ext cx="10198151" cy="3886588"/>
          </a:xfrm>
          <a:prstGeom prst="rect">
            <a:avLst/>
          </a:prstGeom>
        </p:spPr>
      </p:pic>
      <p:sp>
        <p:nvSpPr>
          <p:cNvPr id="6" name="Freeform 15">
            <a:extLst>
              <a:ext uri="{FF2B5EF4-FFF2-40B4-BE49-F238E27FC236}">
                <a16:creationId xmlns:a16="http://schemas.microsoft.com/office/drawing/2014/main" id="{FE103979-C845-4E21-81EE-70D6C44D9D71}"/>
              </a:ext>
            </a:extLst>
          </p:cNvPr>
          <p:cNvSpPr/>
          <p:nvPr/>
        </p:nvSpPr>
        <p:spPr bwMode="gray">
          <a:xfrm>
            <a:off x="1759719" y="3002400"/>
            <a:ext cx="8987246" cy="2943497"/>
          </a:xfrm>
          <a:custGeom>
            <a:avLst/>
            <a:gdLst>
              <a:gd name="connsiteX0" fmla="*/ 0 w 8987246"/>
              <a:gd name="connsiteY0" fmla="*/ 0 h 2943497"/>
              <a:gd name="connsiteX1" fmla="*/ 740229 w 8987246"/>
              <a:gd name="connsiteY1" fmla="*/ 391885 h 2943497"/>
              <a:gd name="connsiteX2" fmla="*/ 2899954 w 8987246"/>
              <a:gd name="connsiteY2" fmla="*/ 592182 h 2943497"/>
              <a:gd name="connsiteX3" fmla="*/ 3971109 w 8987246"/>
              <a:gd name="connsiteY3" fmla="*/ 757645 h 2943497"/>
              <a:gd name="connsiteX4" fmla="*/ 4632960 w 8987246"/>
              <a:gd name="connsiteY4" fmla="*/ 1140822 h 2943497"/>
              <a:gd name="connsiteX5" fmla="*/ 4101737 w 8987246"/>
              <a:gd name="connsiteY5" fmla="*/ 1541417 h 2943497"/>
              <a:gd name="connsiteX6" fmla="*/ 2629989 w 8987246"/>
              <a:gd name="connsiteY6" fmla="*/ 1889760 h 2943497"/>
              <a:gd name="connsiteX7" fmla="*/ 3248297 w 8987246"/>
              <a:gd name="connsiteY7" fmla="*/ 2360022 h 2943497"/>
              <a:gd name="connsiteX8" fmla="*/ 6261463 w 8987246"/>
              <a:gd name="connsiteY8" fmla="*/ 2812868 h 2943497"/>
              <a:gd name="connsiteX9" fmla="*/ 8987246 w 8987246"/>
              <a:gd name="connsiteY9" fmla="*/ 2943497 h 2943497"/>
              <a:gd name="connsiteX10" fmla="*/ 8987246 w 8987246"/>
              <a:gd name="connsiteY10" fmla="*/ 2943497 h 294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87246" h="2943497">
                <a:moveTo>
                  <a:pt x="0" y="0"/>
                </a:moveTo>
                <a:cubicBezTo>
                  <a:pt x="128451" y="146594"/>
                  <a:pt x="256903" y="293188"/>
                  <a:pt x="740229" y="391885"/>
                </a:cubicBezTo>
                <a:cubicBezTo>
                  <a:pt x="1223555" y="490582"/>
                  <a:pt x="2361474" y="531222"/>
                  <a:pt x="2899954" y="592182"/>
                </a:cubicBezTo>
                <a:cubicBezTo>
                  <a:pt x="3438434" y="653142"/>
                  <a:pt x="3682275" y="666205"/>
                  <a:pt x="3971109" y="757645"/>
                </a:cubicBezTo>
                <a:cubicBezTo>
                  <a:pt x="4259943" y="849085"/>
                  <a:pt x="4611189" y="1010193"/>
                  <a:pt x="4632960" y="1140822"/>
                </a:cubicBezTo>
                <a:cubicBezTo>
                  <a:pt x="4654731" y="1271451"/>
                  <a:pt x="4435565" y="1416594"/>
                  <a:pt x="4101737" y="1541417"/>
                </a:cubicBezTo>
                <a:cubicBezTo>
                  <a:pt x="3767909" y="1666240"/>
                  <a:pt x="2772229" y="1753326"/>
                  <a:pt x="2629989" y="1889760"/>
                </a:cubicBezTo>
                <a:cubicBezTo>
                  <a:pt x="2487749" y="2026194"/>
                  <a:pt x="2643051" y="2206171"/>
                  <a:pt x="3248297" y="2360022"/>
                </a:cubicBezTo>
                <a:cubicBezTo>
                  <a:pt x="3853543" y="2513873"/>
                  <a:pt x="5304972" y="2715622"/>
                  <a:pt x="6261463" y="2812868"/>
                </a:cubicBezTo>
                <a:cubicBezTo>
                  <a:pt x="7217955" y="2910114"/>
                  <a:pt x="8987246" y="2943497"/>
                  <a:pt x="8987246" y="2943497"/>
                </a:cubicBezTo>
                <a:lnTo>
                  <a:pt x="8987246" y="2943497"/>
                </a:lnTo>
              </a:path>
            </a:pathLst>
          </a:custGeom>
          <a:noFill/>
          <a:ln w="76200" algn="ctr">
            <a:gradFill>
              <a:gsLst>
                <a:gs pos="0">
                  <a:srgbClr val="F5F5F6"/>
                </a:gs>
                <a:gs pos="20000">
                  <a:schemeClr val="bg1"/>
                </a:gs>
                <a:gs pos="85000">
                  <a:schemeClr val="bg1"/>
                </a:gs>
                <a:gs pos="100000">
                  <a:srgbClr val="D1D2D4"/>
                </a:gs>
              </a:gsLst>
              <a:lin ang="5400000" scaled="1"/>
            </a:gradFill>
            <a:miter lim="800000"/>
            <a:headEnd/>
            <a:tailEnd type="triangle"/>
          </a:ln>
          <a:effectLst>
            <a:outerShdw blurRad="50800" dist="381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7" name="Group 6">
            <a:extLst>
              <a:ext uri="{FF2B5EF4-FFF2-40B4-BE49-F238E27FC236}">
                <a16:creationId xmlns:a16="http://schemas.microsoft.com/office/drawing/2014/main" id="{F6D6F272-0A73-4810-A599-FD1C3BC5B09D}"/>
              </a:ext>
            </a:extLst>
          </p:cNvPr>
          <p:cNvGrpSpPr/>
          <p:nvPr/>
        </p:nvGrpSpPr>
        <p:grpSpPr>
          <a:xfrm>
            <a:off x="501650" y="1516164"/>
            <a:ext cx="2755901" cy="1552996"/>
            <a:chOff x="322832" y="1134035"/>
            <a:chExt cx="2755901" cy="1552996"/>
          </a:xfrm>
        </p:grpSpPr>
        <p:sp>
          <p:nvSpPr>
            <p:cNvPr id="8" name="TextBox 7">
              <a:extLst>
                <a:ext uri="{FF2B5EF4-FFF2-40B4-BE49-F238E27FC236}">
                  <a16:creationId xmlns:a16="http://schemas.microsoft.com/office/drawing/2014/main" id="{1A635CE5-F277-421A-8CDC-E20084F4EFE1}"/>
                </a:ext>
              </a:extLst>
            </p:cNvPr>
            <p:cNvSpPr txBox="1"/>
            <p:nvPr/>
          </p:nvSpPr>
          <p:spPr>
            <a:xfrm>
              <a:off x="815192" y="1134035"/>
              <a:ext cx="1071127" cy="338554"/>
            </a:xfrm>
            <a:prstGeom prst="rect">
              <a:avLst/>
            </a:prstGeom>
            <a:noFill/>
          </p:spPr>
          <p:txBody>
            <a:bodyPr wrap="non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0</a:t>
              </a:r>
              <a:r>
                <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831F7A14-08A4-4C84-98A7-D8AFA4B0DE7F}"/>
                </a:ext>
              </a:extLst>
            </p:cNvPr>
            <p:cNvSpPr txBox="1"/>
            <p:nvPr/>
          </p:nvSpPr>
          <p:spPr>
            <a:xfrm>
              <a:off x="847480" y="1395051"/>
              <a:ext cx="2231253" cy="707886"/>
            </a:xfrm>
            <a:prstGeom prst="rect">
              <a:avLst/>
            </a:prstGeom>
            <a:noFill/>
          </p:spPr>
          <p:txBody>
            <a:bodyPr wrap="square" rtlCol="0">
              <a:spAutoFit/>
            </a:bodyPr>
            <a:lstStyle/>
            <a:p>
              <a:pPr marL="112713" lvl="0" indent="-112713" defTabSz="1219170">
                <a:buFont typeface="Wingdings" panose="05000000000000000000" pitchFamily="2" charset="2"/>
                <a:buChar char="§"/>
                <a:defRPr/>
              </a:pPr>
              <a:r>
                <a:rPr lang="en-US" sz="1000"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p:txBody>
        </p:sp>
        <p:sp>
          <p:nvSpPr>
            <p:cNvPr id="10" name="Freeform 66">
              <a:extLst>
                <a:ext uri="{FF2B5EF4-FFF2-40B4-BE49-F238E27FC236}">
                  <a16:creationId xmlns:a16="http://schemas.microsoft.com/office/drawing/2014/main" id="{9AD994A8-B803-4E51-B6DE-23A54CDD0BE2}"/>
                </a:ext>
              </a:extLst>
            </p:cNvPr>
            <p:cNvSpPr>
              <a:spLocks noChangeAspect="1" noEditPoints="1"/>
            </p:cNvSpPr>
            <p:nvPr/>
          </p:nvSpPr>
          <p:spPr bwMode="auto">
            <a:xfrm>
              <a:off x="322832" y="1184059"/>
              <a:ext cx="487829" cy="487829"/>
            </a:xfrm>
            <a:custGeom>
              <a:avLst/>
              <a:gdLst>
                <a:gd name="T0" fmla="*/ 275 w 512"/>
                <a:gd name="T1" fmla="*/ 260 h 512"/>
                <a:gd name="T2" fmla="*/ 295 w 512"/>
                <a:gd name="T3" fmla="*/ 217 h 512"/>
                <a:gd name="T4" fmla="*/ 251 w 512"/>
                <a:gd name="T5" fmla="*/ 236 h 512"/>
                <a:gd name="T6" fmla="*/ 275 w 512"/>
                <a:gd name="T7" fmla="*/ 260 h 512"/>
                <a:gd name="T8" fmla="*/ 384 w 512"/>
                <a:gd name="T9" fmla="*/ 245 h 512"/>
                <a:gd name="T10" fmla="*/ 394 w 512"/>
                <a:gd name="T11" fmla="*/ 245 h 512"/>
                <a:gd name="T12" fmla="*/ 266 w 512"/>
                <a:gd name="T13" fmla="*/ 118 h 512"/>
                <a:gd name="T14" fmla="*/ 266 w 512"/>
                <a:gd name="T15" fmla="*/ 128 h 512"/>
                <a:gd name="T16" fmla="*/ 256 w 512"/>
                <a:gd name="T17" fmla="*/ 138 h 512"/>
                <a:gd name="T18" fmla="*/ 245 w 512"/>
                <a:gd name="T19" fmla="*/ 128 h 512"/>
                <a:gd name="T20" fmla="*/ 245 w 512"/>
                <a:gd name="T21" fmla="*/ 118 h 512"/>
                <a:gd name="T22" fmla="*/ 118 w 512"/>
                <a:gd name="T23" fmla="*/ 245 h 512"/>
                <a:gd name="T24" fmla="*/ 128 w 512"/>
                <a:gd name="T25" fmla="*/ 245 h 512"/>
                <a:gd name="T26" fmla="*/ 138 w 512"/>
                <a:gd name="T27" fmla="*/ 256 h 512"/>
                <a:gd name="T28" fmla="*/ 128 w 512"/>
                <a:gd name="T29" fmla="*/ 266 h 512"/>
                <a:gd name="T30" fmla="*/ 118 w 512"/>
                <a:gd name="T31" fmla="*/ 266 h 512"/>
                <a:gd name="T32" fmla="*/ 245 w 512"/>
                <a:gd name="T33" fmla="*/ 394 h 512"/>
                <a:gd name="T34" fmla="*/ 245 w 512"/>
                <a:gd name="T35" fmla="*/ 384 h 512"/>
                <a:gd name="T36" fmla="*/ 256 w 512"/>
                <a:gd name="T37" fmla="*/ 373 h 512"/>
                <a:gd name="T38" fmla="*/ 266 w 512"/>
                <a:gd name="T39" fmla="*/ 384 h 512"/>
                <a:gd name="T40" fmla="*/ 266 w 512"/>
                <a:gd name="T41" fmla="*/ 394 h 512"/>
                <a:gd name="T42" fmla="*/ 394 w 512"/>
                <a:gd name="T43" fmla="*/ 266 h 512"/>
                <a:gd name="T44" fmla="*/ 384 w 512"/>
                <a:gd name="T45" fmla="*/ 266 h 512"/>
                <a:gd name="T46" fmla="*/ 373 w 512"/>
                <a:gd name="T47" fmla="*/ 256 h 512"/>
                <a:gd name="T48" fmla="*/ 384 w 512"/>
                <a:gd name="T49" fmla="*/ 245 h 512"/>
                <a:gd name="T50" fmla="*/ 326 w 512"/>
                <a:gd name="T51" fmla="*/ 200 h 512"/>
                <a:gd name="T52" fmla="*/ 288 w 512"/>
                <a:gd name="T53" fmla="*/ 283 h 512"/>
                <a:gd name="T54" fmla="*/ 283 w 512"/>
                <a:gd name="T55" fmla="*/ 288 h 512"/>
                <a:gd name="T56" fmla="*/ 200 w 512"/>
                <a:gd name="T57" fmla="*/ 326 h 512"/>
                <a:gd name="T58" fmla="*/ 195 w 512"/>
                <a:gd name="T59" fmla="*/ 327 h 512"/>
                <a:gd name="T60" fmla="*/ 188 w 512"/>
                <a:gd name="T61" fmla="*/ 324 h 512"/>
                <a:gd name="T62" fmla="*/ 186 w 512"/>
                <a:gd name="T63" fmla="*/ 312 h 512"/>
                <a:gd name="T64" fmla="*/ 223 w 512"/>
                <a:gd name="T65" fmla="*/ 229 h 512"/>
                <a:gd name="T66" fmla="*/ 229 w 512"/>
                <a:gd name="T67" fmla="*/ 223 h 512"/>
                <a:gd name="T68" fmla="*/ 312 w 512"/>
                <a:gd name="T69" fmla="*/ 186 h 512"/>
                <a:gd name="T70" fmla="*/ 324 w 512"/>
                <a:gd name="T71" fmla="*/ 188 h 512"/>
                <a:gd name="T72" fmla="*/ 326 w 512"/>
                <a:gd name="T73" fmla="*/ 200 h 512"/>
                <a:gd name="T74" fmla="*/ 217 w 512"/>
                <a:gd name="T75" fmla="*/ 295 h 512"/>
                <a:gd name="T76" fmla="*/ 260 w 512"/>
                <a:gd name="T77" fmla="*/ 275 h 512"/>
                <a:gd name="T78" fmla="*/ 236 w 512"/>
                <a:gd name="T79" fmla="*/ 251 h 512"/>
                <a:gd name="T80" fmla="*/ 217 w 512"/>
                <a:gd name="T81" fmla="*/ 295 h 512"/>
                <a:gd name="T82" fmla="*/ 256 w 512"/>
                <a:gd name="T83" fmla="*/ 0 h 512"/>
                <a:gd name="T84" fmla="*/ 0 w 512"/>
                <a:gd name="T85" fmla="*/ 256 h 512"/>
                <a:gd name="T86" fmla="*/ 256 w 512"/>
                <a:gd name="T87" fmla="*/ 512 h 512"/>
                <a:gd name="T88" fmla="*/ 512 w 512"/>
                <a:gd name="T89" fmla="*/ 256 h 512"/>
                <a:gd name="T90" fmla="*/ 256 w 512"/>
                <a:gd name="T91" fmla="*/ 0 h 512"/>
                <a:gd name="T92" fmla="*/ 256 w 512"/>
                <a:gd name="T93" fmla="*/ 416 h 512"/>
                <a:gd name="T94" fmla="*/ 96 w 512"/>
                <a:gd name="T95" fmla="*/ 256 h 512"/>
                <a:gd name="T96" fmla="*/ 256 w 512"/>
                <a:gd name="T97" fmla="*/ 96 h 512"/>
                <a:gd name="T98" fmla="*/ 416 w 512"/>
                <a:gd name="T99" fmla="*/ 256 h 512"/>
                <a:gd name="T100" fmla="*/ 256 w 512"/>
                <a:gd name="T10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5" y="260"/>
                  </a:moveTo>
                  <a:cubicBezTo>
                    <a:pt x="295" y="217"/>
                    <a:pt x="295" y="217"/>
                    <a:pt x="295" y="217"/>
                  </a:cubicBezTo>
                  <a:cubicBezTo>
                    <a:pt x="251" y="236"/>
                    <a:pt x="251" y="236"/>
                    <a:pt x="251" y="236"/>
                  </a:cubicBezTo>
                  <a:lnTo>
                    <a:pt x="275" y="260"/>
                  </a:lnTo>
                  <a:close/>
                  <a:moveTo>
                    <a:pt x="384" y="245"/>
                  </a:moveTo>
                  <a:cubicBezTo>
                    <a:pt x="394" y="245"/>
                    <a:pt x="394" y="245"/>
                    <a:pt x="394" y="245"/>
                  </a:cubicBezTo>
                  <a:cubicBezTo>
                    <a:pt x="389" y="177"/>
                    <a:pt x="334" y="123"/>
                    <a:pt x="266" y="118"/>
                  </a:cubicBezTo>
                  <a:cubicBezTo>
                    <a:pt x="266" y="128"/>
                    <a:pt x="266" y="128"/>
                    <a:pt x="266" y="128"/>
                  </a:cubicBezTo>
                  <a:cubicBezTo>
                    <a:pt x="266" y="134"/>
                    <a:pt x="262" y="138"/>
                    <a:pt x="256" y="138"/>
                  </a:cubicBezTo>
                  <a:cubicBezTo>
                    <a:pt x="250" y="138"/>
                    <a:pt x="245" y="134"/>
                    <a:pt x="245" y="128"/>
                  </a:cubicBezTo>
                  <a:cubicBezTo>
                    <a:pt x="245" y="118"/>
                    <a:pt x="245" y="118"/>
                    <a:pt x="245" y="118"/>
                  </a:cubicBezTo>
                  <a:cubicBezTo>
                    <a:pt x="177" y="123"/>
                    <a:pt x="123" y="177"/>
                    <a:pt x="118" y="245"/>
                  </a:cubicBezTo>
                  <a:cubicBezTo>
                    <a:pt x="128" y="245"/>
                    <a:pt x="128" y="245"/>
                    <a:pt x="128" y="245"/>
                  </a:cubicBezTo>
                  <a:cubicBezTo>
                    <a:pt x="134" y="245"/>
                    <a:pt x="138" y="250"/>
                    <a:pt x="138" y="256"/>
                  </a:cubicBezTo>
                  <a:cubicBezTo>
                    <a:pt x="138" y="262"/>
                    <a:pt x="134" y="266"/>
                    <a:pt x="128" y="266"/>
                  </a:cubicBezTo>
                  <a:cubicBezTo>
                    <a:pt x="118" y="266"/>
                    <a:pt x="118" y="266"/>
                    <a:pt x="118" y="266"/>
                  </a:cubicBezTo>
                  <a:cubicBezTo>
                    <a:pt x="123" y="334"/>
                    <a:pt x="177" y="389"/>
                    <a:pt x="245" y="394"/>
                  </a:cubicBezTo>
                  <a:cubicBezTo>
                    <a:pt x="245" y="384"/>
                    <a:pt x="245" y="384"/>
                    <a:pt x="245" y="384"/>
                  </a:cubicBezTo>
                  <a:cubicBezTo>
                    <a:pt x="245" y="378"/>
                    <a:pt x="250" y="373"/>
                    <a:pt x="256" y="373"/>
                  </a:cubicBezTo>
                  <a:cubicBezTo>
                    <a:pt x="262" y="373"/>
                    <a:pt x="266" y="378"/>
                    <a:pt x="266" y="384"/>
                  </a:cubicBezTo>
                  <a:cubicBezTo>
                    <a:pt x="266" y="394"/>
                    <a:pt x="266" y="394"/>
                    <a:pt x="266" y="394"/>
                  </a:cubicBezTo>
                  <a:cubicBezTo>
                    <a:pt x="334" y="389"/>
                    <a:pt x="389" y="334"/>
                    <a:pt x="394" y="266"/>
                  </a:cubicBezTo>
                  <a:cubicBezTo>
                    <a:pt x="384" y="266"/>
                    <a:pt x="384" y="266"/>
                    <a:pt x="384" y="266"/>
                  </a:cubicBezTo>
                  <a:cubicBezTo>
                    <a:pt x="378" y="266"/>
                    <a:pt x="373" y="262"/>
                    <a:pt x="373" y="256"/>
                  </a:cubicBezTo>
                  <a:cubicBezTo>
                    <a:pt x="373" y="250"/>
                    <a:pt x="378" y="245"/>
                    <a:pt x="384" y="245"/>
                  </a:cubicBezTo>
                  <a:close/>
                  <a:moveTo>
                    <a:pt x="326" y="200"/>
                  </a:moveTo>
                  <a:cubicBezTo>
                    <a:pt x="288" y="283"/>
                    <a:pt x="288" y="283"/>
                    <a:pt x="288" y="283"/>
                  </a:cubicBezTo>
                  <a:cubicBezTo>
                    <a:pt x="287" y="285"/>
                    <a:pt x="285" y="287"/>
                    <a:pt x="283" y="288"/>
                  </a:cubicBezTo>
                  <a:cubicBezTo>
                    <a:pt x="200" y="326"/>
                    <a:pt x="200" y="326"/>
                    <a:pt x="200" y="326"/>
                  </a:cubicBezTo>
                  <a:cubicBezTo>
                    <a:pt x="198" y="326"/>
                    <a:pt x="197" y="327"/>
                    <a:pt x="195" y="327"/>
                  </a:cubicBezTo>
                  <a:cubicBezTo>
                    <a:pt x="193" y="327"/>
                    <a:pt x="190" y="326"/>
                    <a:pt x="188" y="324"/>
                  </a:cubicBezTo>
                  <a:cubicBezTo>
                    <a:pt x="185" y="320"/>
                    <a:pt x="184" y="316"/>
                    <a:pt x="186" y="312"/>
                  </a:cubicBezTo>
                  <a:cubicBezTo>
                    <a:pt x="223" y="229"/>
                    <a:pt x="223" y="229"/>
                    <a:pt x="223" y="229"/>
                  </a:cubicBezTo>
                  <a:cubicBezTo>
                    <a:pt x="224" y="226"/>
                    <a:pt x="226" y="224"/>
                    <a:pt x="229" y="223"/>
                  </a:cubicBezTo>
                  <a:cubicBezTo>
                    <a:pt x="312" y="186"/>
                    <a:pt x="312" y="186"/>
                    <a:pt x="312" y="186"/>
                  </a:cubicBezTo>
                  <a:cubicBezTo>
                    <a:pt x="316" y="184"/>
                    <a:pt x="320" y="185"/>
                    <a:pt x="324" y="188"/>
                  </a:cubicBezTo>
                  <a:cubicBezTo>
                    <a:pt x="327" y="191"/>
                    <a:pt x="328" y="196"/>
                    <a:pt x="326" y="200"/>
                  </a:cubicBezTo>
                  <a:close/>
                  <a:moveTo>
                    <a:pt x="217" y="295"/>
                  </a:moveTo>
                  <a:cubicBezTo>
                    <a:pt x="260" y="275"/>
                    <a:pt x="260" y="275"/>
                    <a:pt x="260" y="275"/>
                  </a:cubicBezTo>
                  <a:cubicBezTo>
                    <a:pt x="236" y="251"/>
                    <a:pt x="236" y="251"/>
                    <a:pt x="236" y="251"/>
                  </a:cubicBezTo>
                  <a:lnTo>
                    <a:pt x="217" y="295"/>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1" name="Freeform 6">
              <a:extLst>
                <a:ext uri="{FF2B5EF4-FFF2-40B4-BE49-F238E27FC236}">
                  <a16:creationId xmlns:a16="http://schemas.microsoft.com/office/drawing/2014/main" id="{106EB860-5138-4015-A267-7F9CD313991B}"/>
                </a:ext>
              </a:extLst>
            </p:cNvPr>
            <p:cNvSpPr>
              <a:spLocks noChangeAspect="1" noEditPoints="1"/>
            </p:cNvSpPr>
            <p:nvPr/>
          </p:nvSpPr>
          <p:spPr bwMode="auto">
            <a:xfrm>
              <a:off x="1622797" y="2407699"/>
              <a:ext cx="193554"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12" name="Straight Arrow Connector 11">
              <a:extLst>
                <a:ext uri="{FF2B5EF4-FFF2-40B4-BE49-F238E27FC236}">
                  <a16:creationId xmlns:a16="http://schemas.microsoft.com/office/drawing/2014/main" id="{2014342F-8FD2-495C-B769-120F2F3C0383}"/>
                </a:ext>
              </a:extLst>
            </p:cNvPr>
            <p:cNvCxnSpPr/>
            <p:nvPr/>
          </p:nvCxnSpPr>
          <p:spPr>
            <a:xfrm flipH="1" flipV="1">
              <a:off x="1547971" y="2073403"/>
              <a:ext cx="117639" cy="31453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BA55253E-AD25-4BC2-95E7-C11DC3988ABE}"/>
              </a:ext>
            </a:extLst>
          </p:cNvPr>
          <p:cNvSpPr txBox="1"/>
          <p:nvPr/>
        </p:nvSpPr>
        <p:spPr>
          <a:xfrm>
            <a:off x="3609656" y="1422116"/>
            <a:ext cx="2526490"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1</a:t>
            </a:r>
            <a:r>
              <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endParaRPr>
          </a:p>
        </p:txBody>
      </p:sp>
      <p:sp>
        <p:nvSpPr>
          <p:cNvPr id="14" name="TextBox 13">
            <a:extLst>
              <a:ext uri="{FF2B5EF4-FFF2-40B4-BE49-F238E27FC236}">
                <a16:creationId xmlns:a16="http://schemas.microsoft.com/office/drawing/2014/main" id="{80B9EBED-1576-43DF-9B9C-9F55DE2D33E5}"/>
              </a:ext>
            </a:extLst>
          </p:cNvPr>
          <p:cNvSpPr txBox="1"/>
          <p:nvPr/>
        </p:nvSpPr>
        <p:spPr>
          <a:xfrm>
            <a:off x="3778711" y="1709324"/>
            <a:ext cx="2010498" cy="861774"/>
          </a:xfrm>
          <a:prstGeom prst="rect">
            <a:avLst/>
          </a:prstGeom>
          <a:noFill/>
        </p:spPr>
        <p:txBody>
          <a:bodyPr wrap="square" rtlCol="0">
            <a:spAutoFit/>
          </a:bodyPr>
          <a:lstStyle/>
          <a:p>
            <a:pPr marL="112713" lvl="0" indent="-112713" defTabSz="1219170">
              <a:buFont typeface="Wingdings" panose="05000000000000000000" pitchFamily="2" charset="2"/>
              <a:buChar char="§"/>
              <a:defRPr/>
            </a:pPr>
            <a:r>
              <a:rPr lang="en-US" sz="1000"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endParaRPr kumimoji="0" lang="en-US" sz="1000" b="0" i="0" u="none" strike="noStrike" kern="1200" cap="none" spc="0" normalizeH="0" baseline="0" noProof="0" dirty="0">
              <a:ln>
                <a:noFill/>
              </a:ln>
              <a:solidFill>
                <a:prstClr val="black">
                  <a:lumMod val="95000"/>
                  <a:lumOff val="5000"/>
                </a:prstClr>
              </a:solidFill>
              <a:effectLst/>
              <a:uLnTx/>
              <a:uFillTx/>
              <a:latin typeface="Calibri Light"/>
              <a:ea typeface="Verdana" panose="020B0604030504040204" pitchFamily="34" charset="0"/>
              <a:cs typeface="Verdana" panose="020B0604030504040204" pitchFamily="34" charset="0"/>
            </a:endParaRPr>
          </a:p>
        </p:txBody>
      </p:sp>
      <p:sp>
        <p:nvSpPr>
          <p:cNvPr id="15" name="Freeform 723">
            <a:extLst>
              <a:ext uri="{FF2B5EF4-FFF2-40B4-BE49-F238E27FC236}">
                <a16:creationId xmlns:a16="http://schemas.microsoft.com/office/drawing/2014/main" id="{FD841A56-D41F-4A3D-87A6-431A87C0A863}"/>
              </a:ext>
            </a:extLst>
          </p:cNvPr>
          <p:cNvSpPr>
            <a:spLocks noChangeAspect="1" noEditPoints="1"/>
          </p:cNvSpPr>
          <p:nvPr/>
        </p:nvSpPr>
        <p:spPr bwMode="auto">
          <a:xfrm>
            <a:off x="3127356" y="1482581"/>
            <a:ext cx="487829" cy="487829"/>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6" name="Freeform 6">
            <a:extLst>
              <a:ext uri="{FF2B5EF4-FFF2-40B4-BE49-F238E27FC236}">
                <a16:creationId xmlns:a16="http://schemas.microsoft.com/office/drawing/2014/main" id="{F2360618-69E0-4E7E-A203-68E98CD1C64C}"/>
              </a:ext>
            </a:extLst>
          </p:cNvPr>
          <p:cNvSpPr>
            <a:spLocks noChangeAspect="1" noEditPoints="1"/>
          </p:cNvSpPr>
          <p:nvPr/>
        </p:nvSpPr>
        <p:spPr bwMode="auto">
          <a:xfrm>
            <a:off x="3285658" y="3221390"/>
            <a:ext cx="187276"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17" name="Straight Arrow Connector 16">
            <a:extLst>
              <a:ext uri="{FF2B5EF4-FFF2-40B4-BE49-F238E27FC236}">
                <a16:creationId xmlns:a16="http://schemas.microsoft.com/office/drawing/2014/main" id="{44AF8F74-BBDA-47FD-97DC-A2EFCE61332A}"/>
              </a:ext>
            </a:extLst>
          </p:cNvPr>
          <p:cNvCxnSpPr/>
          <p:nvPr/>
        </p:nvCxnSpPr>
        <p:spPr>
          <a:xfrm flipV="1">
            <a:off x="3451985" y="2727948"/>
            <a:ext cx="363797" cy="4813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E94E091F-F96E-41D2-8FB4-66EB0FE17AB8}"/>
              </a:ext>
            </a:extLst>
          </p:cNvPr>
          <p:cNvGrpSpPr/>
          <p:nvPr/>
        </p:nvGrpSpPr>
        <p:grpSpPr>
          <a:xfrm>
            <a:off x="5839469" y="1753416"/>
            <a:ext cx="4551083" cy="2097341"/>
            <a:chOff x="5799324" y="1429734"/>
            <a:chExt cx="4551083" cy="2097341"/>
          </a:xfrm>
        </p:grpSpPr>
        <p:sp>
          <p:nvSpPr>
            <p:cNvPr id="19" name="TextBox 18">
              <a:extLst>
                <a:ext uri="{FF2B5EF4-FFF2-40B4-BE49-F238E27FC236}">
                  <a16:creationId xmlns:a16="http://schemas.microsoft.com/office/drawing/2014/main" id="{273D48C0-8E29-4E0E-93EA-0D9D29445D37}"/>
                </a:ext>
              </a:extLst>
            </p:cNvPr>
            <p:cNvSpPr txBox="1"/>
            <p:nvPr/>
          </p:nvSpPr>
          <p:spPr>
            <a:xfrm>
              <a:off x="6277634" y="1429734"/>
              <a:ext cx="4072773"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2</a:t>
              </a:r>
              <a:r>
                <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endParaRPr>
            </a:p>
          </p:txBody>
        </p:sp>
        <p:sp>
          <p:nvSpPr>
            <p:cNvPr id="20" name="TextBox 19">
              <a:extLst>
                <a:ext uri="{FF2B5EF4-FFF2-40B4-BE49-F238E27FC236}">
                  <a16:creationId xmlns:a16="http://schemas.microsoft.com/office/drawing/2014/main" id="{AEF9DB8F-FAF2-4065-9F15-23A33734CA36}"/>
                </a:ext>
              </a:extLst>
            </p:cNvPr>
            <p:cNvSpPr txBox="1"/>
            <p:nvPr/>
          </p:nvSpPr>
          <p:spPr>
            <a:xfrm>
              <a:off x="6481473" y="1702237"/>
              <a:ext cx="2681094" cy="707886"/>
            </a:xfrm>
            <a:prstGeom prst="rect">
              <a:avLst/>
            </a:prstGeom>
            <a:noFill/>
          </p:spPr>
          <p:txBody>
            <a:bodyPr wrap="square" rtlCol="0">
              <a:spAutoFit/>
            </a:bodyPr>
            <a:lstStyle/>
            <a:p>
              <a:pPr marL="112713" lvl="0" indent="-112713" defTabSz="1219170">
                <a:buFont typeface="Wingdings" panose="05000000000000000000" pitchFamily="2" charset="2"/>
                <a:buChar char="§"/>
                <a:defRPr/>
              </a:pPr>
              <a:r>
                <a:rPr lang="en-US" sz="1000"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p:txBody>
        </p:sp>
        <p:sp>
          <p:nvSpPr>
            <p:cNvPr id="21" name="Freeform 5">
              <a:extLst>
                <a:ext uri="{FF2B5EF4-FFF2-40B4-BE49-F238E27FC236}">
                  <a16:creationId xmlns:a16="http://schemas.microsoft.com/office/drawing/2014/main" id="{55DA4141-3668-4DAD-AD08-AA6492CE4E34}"/>
                </a:ext>
              </a:extLst>
            </p:cNvPr>
            <p:cNvSpPr>
              <a:spLocks noChangeAspect="1" noEditPoints="1"/>
            </p:cNvSpPr>
            <p:nvPr/>
          </p:nvSpPr>
          <p:spPr bwMode="auto">
            <a:xfrm>
              <a:off x="5832534" y="1462536"/>
              <a:ext cx="487829" cy="487829"/>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46A38"/>
                </a:solidFill>
                <a:effectLst/>
                <a:uLnTx/>
                <a:uFillTx/>
                <a:latin typeface="Calibri Light"/>
                <a:ea typeface="+mn-ea"/>
                <a:cs typeface="+mn-cs"/>
              </a:endParaRPr>
            </a:p>
          </p:txBody>
        </p:sp>
        <p:sp>
          <p:nvSpPr>
            <p:cNvPr id="22" name="Freeform 6">
              <a:extLst>
                <a:ext uri="{FF2B5EF4-FFF2-40B4-BE49-F238E27FC236}">
                  <a16:creationId xmlns:a16="http://schemas.microsoft.com/office/drawing/2014/main" id="{6B469242-4D56-467B-9850-B7B609F1C833}"/>
                </a:ext>
              </a:extLst>
            </p:cNvPr>
            <p:cNvSpPr>
              <a:spLocks noChangeAspect="1" noEditPoints="1"/>
            </p:cNvSpPr>
            <p:nvPr/>
          </p:nvSpPr>
          <p:spPr bwMode="auto">
            <a:xfrm>
              <a:off x="5799324" y="3247743"/>
              <a:ext cx="174857"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23" name="Straight Arrow Connector 22">
              <a:extLst>
                <a:ext uri="{FF2B5EF4-FFF2-40B4-BE49-F238E27FC236}">
                  <a16:creationId xmlns:a16="http://schemas.microsoft.com/office/drawing/2014/main" id="{2DB2862E-4A5F-4300-A350-56DF9CE668F5}"/>
                </a:ext>
              </a:extLst>
            </p:cNvPr>
            <p:cNvCxnSpPr/>
            <p:nvPr/>
          </p:nvCxnSpPr>
          <p:spPr>
            <a:xfrm flipV="1">
              <a:off x="5951916" y="2687031"/>
              <a:ext cx="413111" cy="56046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id="{7C2DA7AE-BDF5-4009-8280-03AB3817CC61}"/>
              </a:ext>
            </a:extLst>
          </p:cNvPr>
          <p:cNvSpPr txBox="1"/>
          <p:nvPr/>
        </p:nvSpPr>
        <p:spPr>
          <a:xfrm>
            <a:off x="7366001" y="3277910"/>
            <a:ext cx="3324984"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4</a:t>
            </a: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25" name="Freeform 259">
            <a:extLst>
              <a:ext uri="{FF2B5EF4-FFF2-40B4-BE49-F238E27FC236}">
                <a16:creationId xmlns:a16="http://schemas.microsoft.com/office/drawing/2014/main" id="{26D29D16-614A-4BAA-BF93-7B820A21E2A6}"/>
              </a:ext>
            </a:extLst>
          </p:cNvPr>
          <p:cNvSpPr>
            <a:spLocks noChangeAspect="1" noEditPoints="1"/>
          </p:cNvSpPr>
          <p:nvPr/>
        </p:nvSpPr>
        <p:spPr bwMode="auto">
          <a:xfrm>
            <a:off x="6981342" y="3435485"/>
            <a:ext cx="486399" cy="487829"/>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6" name="Freeform 6">
            <a:extLst>
              <a:ext uri="{FF2B5EF4-FFF2-40B4-BE49-F238E27FC236}">
                <a16:creationId xmlns:a16="http://schemas.microsoft.com/office/drawing/2014/main" id="{5DA0D959-849D-440F-8C6D-3741E90DAEF2}"/>
              </a:ext>
            </a:extLst>
          </p:cNvPr>
          <p:cNvSpPr>
            <a:spLocks noChangeAspect="1" noEditPoints="1"/>
          </p:cNvSpPr>
          <p:nvPr/>
        </p:nvSpPr>
        <p:spPr bwMode="auto">
          <a:xfrm>
            <a:off x="7711187" y="5520039"/>
            <a:ext cx="174857"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TextBox 26">
            <a:extLst>
              <a:ext uri="{FF2B5EF4-FFF2-40B4-BE49-F238E27FC236}">
                <a16:creationId xmlns:a16="http://schemas.microsoft.com/office/drawing/2014/main" id="{22229B4A-7EA5-4807-B501-A5F72497E579}"/>
              </a:ext>
            </a:extLst>
          </p:cNvPr>
          <p:cNvSpPr txBox="1"/>
          <p:nvPr/>
        </p:nvSpPr>
        <p:spPr>
          <a:xfrm>
            <a:off x="7607261" y="3552683"/>
            <a:ext cx="2311428" cy="707886"/>
          </a:xfrm>
          <a:prstGeom prst="rect">
            <a:avLst/>
          </a:prstGeom>
          <a:noFill/>
        </p:spPr>
        <p:txBody>
          <a:bodyPr wrap="square" rtlCol="0">
            <a:spAutoFit/>
          </a:bodyPr>
          <a:lstStyle>
            <a:defPPr>
              <a:defRPr lang="en-US"/>
            </a:defPPr>
            <a:lvl1pPr marL="115888" marR="0" lvl="0" indent="-115888" fontAlgn="auto">
              <a:lnSpc>
                <a:spcPct val="100000"/>
              </a:lnSpc>
              <a:spcBef>
                <a:spcPts val="0"/>
              </a:spcBef>
              <a:spcAft>
                <a:spcPts val="0"/>
              </a:spcAft>
              <a:buClrTx/>
              <a:buSzTx/>
              <a:buFont typeface="Arial" panose="020B0604020202020204" pitchFamily="34" charset="0"/>
              <a:buChar char="•"/>
              <a:tabLst/>
              <a:defRPr kumimoji="0" sz="800" b="0" i="0" u="none" strike="noStrike" cap="none" spc="0" normalizeH="0" baseline="0">
                <a:ln>
                  <a:noFill/>
                </a:ln>
                <a:solidFill>
                  <a:prstClr val="white">
                    <a:lumMod val="75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112713" indent="-112713" defTabSz="1219170">
              <a:buFont typeface="Wingdings" panose="05000000000000000000" pitchFamily="2" charset="2"/>
              <a:buChar char="§"/>
              <a:defRPr/>
            </a:pPr>
            <a:r>
              <a:rPr lang="en-US" sz="1000" dirty="0">
                <a:solidFill>
                  <a:prstClr val="black">
                    <a:lumMod val="95000"/>
                    <a:lumOff val="5000"/>
                  </a:prstClr>
                </a:solidFill>
                <a:latin typeface="+mn-lt"/>
              </a:rPr>
              <a:t>This is dummy text it is not here to be read. The is just text to show where you could insert text. This is dummy text it is not here to be read.</a:t>
            </a:r>
          </a:p>
        </p:txBody>
      </p:sp>
      <p:cxnSp>
        <p:nvCxnSpPr>
          <p:cNvPr id="28" name="Straight Arrow Connector 27">
            <a:extLst>
              <a:ext uri="{FF2B5EF4-FFF2-40B4-BE49-F238E27FC236}">
                <a16:creationId xmlns:a16="http://schemas.microsoft.com/office/drawing/2014/main" id="{29156276-96AC-4629-9254-1D7F3AE633D1}"/>
              </a:ext>
            </a:extLst>
          </p:cNvPr>
          <p:cNvCxnSpPr>
            <a:cxnSpLocks/>
          </p:cNvCxnSpPr>
          <p:nvPr/>
        </p:nvCxnSpPr>
        <p:spPr>
          <a:xfrm flipV="1">
            <a:off x="7859762" y="4852085"/>
            <a:ext cx="95351" cy="6536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F1C58E1D-A755-46B3-BC40-E50762572542}"/>
              </a:ext>
            </a:extLst>
          </p:cNvPr>
          <p:cNvSpPr txBox="1"/>
          <p:nvPr/>
        </p:nvSpPr>
        <p:spPr>
          <a:xfrm>
            <a:off x="10252166" y="3657362"/>
            <a:ext cx="1826738"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5</a:t>
            </a: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30" name="TextBox 29">
            <a:extLst>
              <a:ext uri="{FF2B5EF4-FFF2-40B4-BE49-F238E27FC236}">
                <a16:creationId xmlns:a16="http://schemas.microsoft.com/office/drawing/2014/main" id="{5A8E5F49-C560-4D79-91D2-AB8BBF13F80A}"/>
              </a:ext>
            </a:extLst>
          </p:cNvPr>
          <p:cNvSpPr txBox="1"/>
          <p:nvPr/>
        </p:nvSpPr>
        <p:spPr>
          <a:xfrm>
            <a:off x="10479408" y="3935491"/>
            <a:ext cx="1656085" cy="1015663"/>
          </a:xfrm>
          <a:prstGeom prst="rect">
            <a:avLst/>
          </a:prstGeom>
          <a:noFill/>
        </p:spPr>
        <p:txBody>
          <a:bodyPr wrap="square" rtlCol="0">
            <a:spAutoFit/>
          </a:bodyPr>
          <a:lstStyle>
            <a:defPPr>
              <a:defRPr lang="en-US"/>
            </a:defPPr>
            <a:lvl1pPr marL="115888" marR="0" lvl="0" indent="-115888" fontAlgn="auto">
              <a:lnSpc>
                <a:spcPct val="100000"/>
              </a:lnSpc>
              <a:spcBef>
                <a:spcPts val="0"/>
              </a:spcBef>
              <a:spcAft>
                <a:spcPts val="0"/>
              </a:spcAft>
              <a:buClrTx/>
              <a:buSzTx/>
              <a:buFont typeface="Arial" panose="020B0604020202020204" pitchFamily="34" charset="0"/>
              <a:buChar char="•"/>
              <a:tabLst/>
              <a:defRPr kumimoji="0" sz="800" b="0" i="0" u="none" strike="noStrike" cap="none" spc="0" normalizeH="0" baseline="0">
                <a:ln>
                  <a:noFill/>
                </a:ln>
                <a:solidFill>
                  <a:prstClr val="white">
                    <a:lumMod val="75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112713" indent="-112713" defTabSz="1219170">
              <a:buFont typeface="Wingdings" panose="05000000000000000000" pitchFamily="2" charset="2"/>
              <a:buChar char="§"/>
              <a:defRPr/>
            </a:pPr>
            <a:r>
              <a:rPr lang="en-US" sz="1000" dirty="0">
                <a:solidFill>
                  <a:prstClr val="black">
                    <a:lumMod val="95000"/>
                    <a:lumOff val="5000"/>
                  </a:prstClr>
                </a:solidFill>
                <a:latin typeface="+mn-lt"/>
              </a:rPr>
              <a:t>This is dummy text it is not here to be read. The is just text to show where you could insert text. This is dummy text it is not here to be read.</a:t>
            </a:r>
          </a:p>
        </p:txBody>
      </p:sp>
      <p:grpSp>
        <p:nvGrpSpPr>
          <p:cNvPr id="31" name="Group 30">
            <a:extLst>
              <a:ext uri="{FF2B5EF4-FFF2-40B4-BE49-F238E27FC236}">
                <a16:creationId xmlns:a16="http://schemas.microsoft.com/office/drawing/2014/main" id="{51ACCA6C-F099-4489-88FF-0848432AD5B8}"/>
              </a:ext>
            </a:extLst>
          </p:cNvPr>
          <p:cNvGrpSpPr>
            <a:grpSpLocks noChangeAspect="1"/>
          </p:cNvGrpSpPr>
          <p:nvPr/>
        </p:nvGrpSpPr>
        <p:grpSpPr bwMode="auto">
          <a:xfrm>
            <a:off x="9972152" y="3803350"/>
            <a:ext cx="472637" cy="703048"/>
            <a:chOff x="880" y="3146"/>
            <a:chExt cx="340" cy="490"/>
          </a:xfrm>
          <a:solidFill>
            <a:schemeClr val="accent3"/>
          </a:solidFill>
        </p:grpSpPr>
        <p:sp>
          <p:nvSpPr>
            <p:cNvPr id="32" name="Oval 899">
              <a:extLst>
                <a:ext uri="{FF2B5EF4-FFF2-40B4-BE49-F238E27FC236}">
                  <a16:creationId xmlns:a16="http://schemas.microsoft.com/office/drawing/2014/main" id="{C0FAC72D-11F5-4860-BE23-8988C977B8B1}"/>
                </a:ext>
              </a:extLst>
            </p:cNvPr>
            <p:cNvSpPr>
              <a:spLocks noChangeArrowheads="1"/>
            </p:cNvSpPr>
            <p:nvPr/>
          </p:nvSpPr>
          <p:spPr bwMode="auto">
            <a:xfrm>
              <a:off x="950" y="3146"/>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3" name="Freeform 900">
              <a:extLst>
                <a:ext uri="{FF2B5EF4-FFF2-40B4-BE49-F238E27FC236}">
                  <a16:creationId xmlns:a16="http://schemas.microsoft.com/office/drawing/2014/main" id="{A47B735C-FDDB-40F1-A0DE-FDB3C7247B83}"/>
                </a:ext>
              </a:extLst>
            </p:cNvPr>
            <p:cNvSpPr>
              <a:spLocks noEditPoints="1"/>
            </p:cNvSpPr>
            <p:nvPr/>
          </p:nvSpPr>
          <p:spPr bwMode="auto">
            <a:xfrm>
              <a:off x="880" y="32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254 w 512"/>
                <a:gd name="T21" fmla="*/ 337 h 512"/>
                <a:gd name="T22" fmla="*/ 200 w 512"/>
                <a:gd name="T23" fmla="*/ 411 h 512"/>
                <a:gd name="T24" fmla="*/ 192 w 512"/>
                <a:gd name="T25" fmla="*/ 416 h 512"/>
                <a:gd name="T26" fmla="*/ 185 w 512"/>
                <a:gd name="T27" fmla="*/ 414 h 512"/>
                <a:gd name="T28" fmla="*/ 183 w 512"/>
                <a:gd name="T29" fmla="*/ 399 h 512"/>
                <a:gd name="T30" fmla="*/ 236 w 512"/>
                <a:gd name="T31" fmla="*/ 324 h 512"/>
                <a:gd name="T32" fmla="*/ 251 w 512"/>
                <a:gd name="T33" fmla="*/ 322 h 512"/>
                <a:gd name="T34" fmla="*/ 254 w 512"/>
                <a:gd name="T35" fmla="*/ 337 h 512"/>
                <a:gd name="T36" fmla="*/ 311 w 512"/>
                <a:gd name="T37" fmla="*/ 416 h 512"/>
                <a:gd name="T38" fmla="*/ 309 w 512"/>
                <a:gd name="T39" fmla="*/ 416 h 512"/>
                <a:gd name="T40" fmla="*/ 298 w 512"/>
                <a:gd name="T41" fmla="*/ 407 h 512"/>
                <a:gd name="T42" fmla="*/ 288 w 512"/>
                <a:gd name="T43" fmla="*/ 335 h 512"/>
                <a:gd name="T44" fmla="*/ 247 w 512"/>
                <a:gd name="T45" fmla="*/ 284 h 512"/>
                <a:gd name="T46" fmla="*/ 245 w 512"/>
                <a:gd name="T47" fmla="*/ 277 h 512"/>
                <a:gd name="T48" fmla="*/ 245 w 512"/>
                <a:gd name="T49" fmla="*/ 202 h 512"/>
                <a:gd name="T50" fmla="*/ 224 w 512"/>
                <a:gd name="T51" fmla="*/ 218 h 512"/>
                <a:gd name="T52" fmla="*/ 224 w 512"/>
                <a:gd name="T53" fmla="*/ 288 h 512"/>
                <a:gd name="T54" fmla="*/ 213 w 512"/>
                <a:gd name="T55" fmla="*/ 298 h 512"/>
                <a:gd name="T56" fmla="*/ 202 w 512"/>
                <a:gd name="T57" fmla="*/ 288 h 512"/>
                <a:gd name="T58" fmla="*/ 202 w 512"/>
                <a:gd name="T59" fmla="*/ 213 h 512"/>
                <a:gd name="T60" fmla="*/ 207 w 512"/>
                <a:gd name="T61" fmla="*/ 204 h 512"/>
                <a:gd name="T62" fmla="*/ 249 w 512"/>
                <a:gd name="T63" fmla="*/ 172 h 512"/>
                <a:gd name="T64" fmla="*/ 260 w 512"/>
                <a:gd name="T65" fmla="*/ 171 h 512"/>
                <a:gd name="T66" fmla="*/ 266 w 512"/>
                <a:gd name="T67" fmla="*/ 181 h 512"/>
                <a:gd name="T68" fmla="*/ 266 w 512"/>
                <a:gd name="T69" fmla="*/ 273 h 512"/>
                <a:gd name="T70" fmla="*/ 307 w 512"/>
                <a:gd name="T71" fmla="*/ 324 h 512"/>
                <a:gd name="T72" fmla="*/ 309 w 512"/>
                <a:gd name="T73" fmla="*/ 329 h 512"/>
                <a:gd name="T74" fmla="*/ 320 w 512"/>
                <a:gd name="T75" fmla="*/ 403 h 512"/>
                <a:gd name="T76" fmla="*/ 311 w 512"/>
                <a:gd name="T77" fmla="*/ 416 h 512"/>
                <a:gd name="T78" fmla="*/ 317 w 512"/>
                <a:gd name="T79" fmla="*/ 274 h 512"/>
                <a:gd name="T80" fmla="*/ 309 w 512"/>
                <a:gd name="T81" fmla="*/ 277 h 512"/>
                <a:gd name="T82" fmla="*/ 301 w 512"/>
                <a:gd name="T83" fmla="*/ 274 h 512"/>
                <a:gd name="T84" fmla="*/ 291 w 512"/>
                <a:gd name="T85" fmla="*/ 263 h 512"/>
                <a:gd name="T86" fmla="*/ 291 w 512"/>
                <a:gd name="T87" fmla="*/ 248 h 512"/>
                <a:gd name="T88" fmla="*/ 306 w 512"/>
                <a:gd name="T89" fmla="*/ 248 h 512"/>
                <a:gd name="T90" fmla="*/ 317 w 512"/>
                <a:gd name="T91" fmla="*/ 259 h 512"/>
                <a:gd name="T92" fmla="*/ 317 w 512"/>
                <a:gd name="T93" fmla="*/ 2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254" y="337"/>
                  </a:moveTo>
                  <a:cubicBezTo>
                    <a:pt x="200" y="411"/>
                    <a:pt x="200" y="411"/>
                    <a:pt x="200" y="411"/>
                  </a:cubicBezTo>
                  <a:cubicBezTo>
                    <a:pt x="198" y="414"/>
                    <a:pt x="195" y="416"/>
                    <a:pt x="192" y="416"/>
                  </a:cubicBezTo>
                  <a:cubicBezTo>
                    <a:pt x="190" y="416"/>
                    <a:pt x="187" y="415"/>
                    <a:pt x="185" y="414"/>
                  </a:cubicBezTo>
                  <a:cubicBezTo>
                    <a:pt x="181" y="410"/>
                    <a:pt x="180" y="404"/>
                    <a:pt x="183" y="399"/>
                  </a:cubicBezTo>
                  <a:cubicBezTo>
                    <a:pt x="236" y="324"/>
                    <a:pt x="236" y="324"/>
                    <a:pt x="236" y="324"/>
                  </a:cubicBezTo>
                  <a:cubicBezTo>
                    <a:pt x="240" y="319"/>
                    <a:pt x="246" y="318"/>
                    <a:pt x="251" y="322"/>
                  </a:cubicBezTo>
                  <a:cubicBezTo>
                    <a:pt x="256" y="325"/>
                    <a:pt x="257" y="332"/>
                    <a:pt x="254" y="337"/>
                  </a:cubicBezTo>
                  <a:close/>
                  <a:moveTo>
                    <a:pt x="311" y="416"/>
                  </a:moveTo>
                  <a:cubicBezTo>
                    <a:pt x="310" y="416"/>
                    <a:pt x="309" y="416"/>
                    <a:pt x="309" y="416"/>
                  </a:cubicBezTo>
                  <a:cubicBezTo>
                    <a:pt x="304" y="416"/>
                    <a:pt x="299" y="412"/>
                    <a:pt x="298" y="407"/>
                  </a:cubicBezTo>
                  <a:cubicBezTo>
                    <a:pt x="288" y="335"/>
                    <a:pt x="288" y="335"/>
                    <a:pt x="288" y="335"/>
                  </a:cubicBezTo>
                  <a:cubicBezTo>
                    <a:pt x="247" y="284"/>
                    <a:pt x="247" y="284"/>
                    <a:pt x="247" y="284"/>
                  </a:cubicBezTo>
                  <a:cubicBezTo>
                    <a:pt x="246" y="282"/>
                    <a:pt x="245" y="279"/>
                    <a:pt x="245" y="277"/>
                  </a:cubicBezTo>
                  <a:cubicBezTo>
                    <a:pt x="245" y="202"/>
                    <a:pt x="245" y="202"/>
                    <a:pt x="245" y="202"/>
                  </a:cubicBezTo>
                  <a:cubicBezTo>
                    <a:pt x="224" y="218"/>
                    <a:pt x="224" y="218"/>
                    <a:pt x="224" y="218"/>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10"/>
                    <a:pt x="204" y="206"/>
                    <a:pt x="207" y="204"/>
                  </a:cubicBezTo>
                  <a:cubicBezTo>
                    <a:pt x="249" y="172"/>
                    <a:pt x="249" y="172"/>
                    <a:pt x="249" y="172"/>
                  </a:cubicBezTo>
                  <a:cubicBezTo>
                    <a:pt x="253" y="170"/>
                    <a:pt x="257" y="170"/>
                    <a:pt x="260" y="171"/>
                  </a:cubicBezTo>
                  <a:cubicBezTo>
                    <a:pt x="264" y="173"/>
                    <a:pt x="266" y="177"/>
                    <a:pt x="266" y="181"/>
                  </a:cubicBezTo>
                  <a:cubicBezTo>
                    <a:pt x="266" y="273"/>
                    <a:pt x="266" y="273"/>
                    <a:pt x="266" y="273"/>
                  </a:cubicBezTo>
                  <a:cubicBezTo>
                    <a:pt x="307" y="324"/>
                    <a:pt x="307" y="324"/>
                    <a:pt x="307" y="324"/>
                  </a:cubicBezTo>
                  <a:cubicBezTo>
                    <a:pt x="308" y="325"/>
                    <a:pt x="309" y="327"/>
                    <a:pt x="309" y="329"/>
                  </a:cubicBezTo>
                  <a:cubicBezTo>
                    <a:pt x="320" y="403"/>
                    <a:pt x="320" y="403"/>
                    <a:pt x="320" y="403"/>
                  </a:cubicBezTo>
                  <a:cubicBezTo>
                    <a:pt x="320" y="409"/>
                    <a:pt x="316" y="415"/>
                    <a:pt x="311" y="416"/>
                  </a:cubicBezTo>
                  <a:close/>
                  <a:moveTo>
                    <a:pt x="317" y="274"/>
                  </a:moveTo>
                  <a:cubicBezTo>
                    <a:pt x="314" y="276"/>
                    <a:pt x="312" y="277"/>
                    <a:pt x="309" y="277"/>
                  </a:cubicBezTo>
                  <a:cubicBezTo>
                    <a:pt x="306" y="277"/>
                    <a:pt x="304" y="276"/>
                    <a:pt x="301" y="274"/>
                  </a:cubicBezTo>
                  <a:cubicBezTo>
                    <a:pt x="291" y="263"/>
                    <a:pt x="291" y="263"/>
                    <a:pt x="291" y="263"/>
                  </a:cubicBezTo>
                  <a:cubicBezTo>
                    <a:pt x="287" y="259"/>
                    <a:pt x="287" y="252"/>
                    <a:pt x="291" y="248"/>
                  </a:cubicBezTo>
                  <a:cubicBezTo>
                    <a:pt x="295" y="244"/>
                    <a:pt x="302" y="244"/>
                    <a:pt x="306" y="248"/>
                  </a:cubicBezTo>
                  <a:cubicBezTo>
                    <a:pt x="317" y="259"/>
                    <a:pt x="317" y="259"/>
                    <a:pt x="317" y="259"/>
                  </a:cubicBezTo>
                  <a:cubicBezTo>
                    <a:pt x="321" y="263"/>
                    <a:pt x="321" y="270"/>
                    <a:pt x="317" y="2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34" name="Freeform 38">
            <a:extLst>
              <a:ext uri="{FF2B5EF4-FFF2-40B4-BE49-F238E27FC236}">
                <a16:creationId xmlns:a16="http://schemas.microsoft.com/office/drawing/2014/main" id="{40B944B3-E077-4D14-B223-7F3A3FA7D3BC}"/>
              </a:ext>
            </a:extLst>
          </p:cNvPr>
          <p:cNvSpPr>
            <a:spLocks noChangeAspect="1" noEditPoints="1"/>
          </p:cNvSpPr>
          <p:nvPr/>
        </p:nvSpPr>
        <p:spPr bwMode="auto">
          <a:xfrm>
            <a:off x="9978737" y="5507772"/>
            <a:ext cx="181444"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35" name="Straight Arrow Connector 34">
            <a:extLst>
              <a:ext uri="{FF2B5EF4-FFF2-40B4-BE49-F238E27FC236}">
                <a16:creationId xmlns:a16="http://schemas.microsoft.com/office/drawing/2014/main" id="{61D92788-1127-4283-9548-79863FD79C34}"/>
              </a:ext>
            </a:extLst>
          </p:cNvPr>
          <p:cNvCxnSpPr>
            <a:cxnSpLocks/>
          </p:cNvCxnSpPr>
          <p:nvPr/>
        </p:nvCxnSpPr>
        <p:spPr>
          <a:xfrm flipV="1">
            <a:off x="10079190" y="4832079"/>
            <a:ext cx="311362" cy="65261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306DF9DA-FD30-49B8-A0E4-24E3D6896AEA}"/>
              </a:ext>
            </a:extLst>
          </p:cNvPr>
          <p:cNvGrpSpPr/>
          <p:nvPr/>
        </p:nvGrpSpPr>
        <p:grpSpPr>
          <a:xfrm>
            <a:off x="4889588" y="3021906"/>
            <a:ext cx="1024224" cy="674107"/>
            <a:chOff x="4245016" y="2629197"/>
            <a:chExt cx="1024224" cy="674107"/>
          </a:xfrm>
        </p:grpSpPr>
        <p:pic>
          <p:nvPicPr>
            <p:cNvPr id="37" name="Picture 36">
              <a:extLst>
                <a:ext uri="{FF2B5EF4-FFF2-40B4-BE49-F238E27FC236}">
                  <a16:creationId xmlns:a16="http://schemas.microsoft.com/office/drawing/2014/main" id="{C1083C8C-DA50-430A-8D6B-F22373B109A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245016" y="2629197"/>
              <a:ext cx="1024224" cy="674107"/>
            </a:xfrm>
            <a:prstGeom prst="rect">
              <a:avLst/>
            </a:prstGeom>
          </p:spPr>
        </p:pic>
        <p:sp>
          <p:nvSpPr>
            <p:cNvPr id="38" name="TextBox 37">
              <a:extLst>
                <a:ext uri="{FF2B5EF4-FFF2-40B4-BE49-F238E27FC236}">
                  <a16:creationId xmlns:a16="http://schemas.microsoft.com/office/drawing/2014/main" id="{3500CB44-127A-421C-8A41-9DD8760EB926}"/>
                </a:ext>
              </a:extLst>
            </p:cNvPr>
            <p:cNvSpPr txBox="1"/>
            <p:nvPr/>
          </p:nvSpPr>
          <p:spPr bwMode="gray">
            <a:xfrm>
              <a:off x="4323379" y="2760226"/>
              <a:ext cx="873910" cy="181145"/>
            </a:xfrm>
            <a:prstGeom prst="rect">
              <a:avLst/>
            </a:prstGeom>
            <a:solidFill>
              <a:schemeClr val="tx1"/>
            </a:solidFill>
          </p:spPr>
          <p:txBody>
            <a:bodyPr wrap="none" lIns="0" rIns="0" rtlCol="0" anchor="t" anchorCtr="0">
              <a:noAutofit/>
            </a:bodyPr>
            <a:lstStyle/>
            <a:p>
              <a:pPr lvl="0" algn="ctr">
                <a:lnSpc>
                  <a:spcPts val="900"/>
                </a:lnSpc>
                <a:defRPr/>
              </a:pPr>
              <a:r>
                <a:rPr lang="en-US" sz="800" b="1" dirty="0">
                  <a:solidFill>
                    <a:prstClr val="white"/>
                  </a:solidFill>
                </a:rPr>
                <a:t>Lorem ipsum </a:t>
              </a:r>
              <a:endParaRPr kumimoji="0" lang="en-US" sz="8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39" name="Freeform 6">
            <a:extLst>
              <a:ext uri="{FF2B5EF4-FFF2-40B4-BE49-F238E27FC236}">
                <a16:creationId xmlns:a16="http://schemas.microsoft.com/office/drawing/2014/main" id="{009DEDC8-7864-44B4-ACC5-EE14143F4323}"/>
              </a:ext>
            </a:extLst>
          </p:cNvPr>
          <p:cNvSpPr>
            <a:spLocks noChangeAspect="1" noEditPoints="1"/>
          </p:cNvSpPr>
          <p:nvPr/>
        </p:nvSpPr>
        <p:spPr bwMode="auto">
          <a:xfrm>
            <a:off x="4285206" y="5163259"/>
            <a:ext cx="174857"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0" name="Freeform 364">
            <a:extLst>
              <a:ext uri="{FF2B5EF4-FFF2-40B4-BE49-F238E27FC236}">
                <a16:creationId xmlns:a16="http://schemas.microsoft.com/office/drawing/2014/main" id="{51E61409-27BD-4643-B627-94C8CDAF2656}"/>
              </a:ext>
            </a:extLst>
          </p:cNvPr>
          <p:cNvSpPr>
            <a:spLocks noChangeAspect="1" noEditPoints="1"/>
          </p:cNvSpPr>
          <p:nvPr/>
        </p:nvSpPr>
        <p:spPr bwMode="auto">
          <a:xfrm>
            <a:off x="677958" y="4314094"/>
            <a:ext cx="487829" cy="486399"/>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41" name="Straight Arrow Connector 40">
            <a:extLst>
              <a:ext uri="{FF2B5EF4-FFF2-40B4-BE49-F238E27FC236}">
                <a16:creationId xmlns:a16="http://schemas.microsoft.com/office/drawing/2014/main" id="{972ACA7C-3306-4AA5-8208-788D010D7D9E}"/>
              </a:ext>
            </a:extLst>
          </p:cNvPr>
          <p:cNvCxnSpPr/>
          <p:nvPr/>
        </p:nvCxnSpPr>
        <p:spPr>
          <a:xfrm flipH="1" flipV="1">
            <a:off x="3450623" y="4979195"/>
            <a:ext cx="787211" cy="21713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D769A30-7F17-41C4-BAD2-676FC7415093}"/>
              </a:ext>
            </a:extLst>
          </p:cNvPr>
          <p:cNvSpPr txBox="1"/>
          <p:nvPr/>
        </p:nvSpPr>
        <p:spPr>
          <a:xfrm>
            <a:off x="1409423" y="4756006"/>
            <a:ext cx="2351952" cy="707886"/>
          </a:xfrm>
          <a:prstGeom prst="rect">
            <a:avLst/>
          </a:prstGeom>
          <a:noFill/>
        </p:spPr>
        <p:txBody>
          <a:bodyPr wrap="square" rtlCol="0">
            <a:spAutoFit/>
          </a:bodyPr>
          <a:lstStyle/>
          <a:p>
            <a:pPr marL="112713" indent="-112713" defTabSz="1219170">
              <a:buFont typeface="Wingdings" panose="05000000000000000000" pitchFamily="2" charset="2"/>
              <a:buChar char="§"/>
              <a:defRPr/>
            </a:pPr>
            <a:r>
              <a:rPr lang="en-US" sz="1000" dirty="0">
                <a:solidFill>
                  <a:prstClr val="black">
                    <a:lumMod val="95000"/>
                    <a:lumOff val="5000"/>
                  </a:prstClr>
                </a:solidFill>
                <a:ea typeface="Verdana" panose="020B0604030504040204" pitchFamily="34" charset="0"/>
                <a:cs typeface="Verdana" panose="020B0604030504040204" pitchFamily="34" charset="0"/>
              </a:rPr>
              <a:t>This is dummy text it is not here to be read. The is just text to show where you could insert text. This is dummy text it is not here to be read.</a:t>
            </a:r>
          </a:p>
        </p:txBody>
      </p:sp>
      <p:sp>
        <p:nvSpPr>
          <p:cNvPr id="43" name="TextBox 42">
            <a:extLst>
              <a:ext uri="{FF2B5EF4-FFF2-40B4-BE49-F238E27FC236}">
                <a16:creationId xmlns:a16="http://schemas.microsoft.com/office/drawing/2014/main" id="{AFCF09BA-6D5D-4431-8F78-68DB7CF05349}"/>
              </a:ext>
            </a:extLst>
          </p:cNvPr>
          <p:cNvSpPr txBox="1"/>
          <p:nvPr/>
        </p:nvSpPr>
        <p:spPr>
          <a:xfrm>
            <a:off x="1195746" y="4308050"/>
            <a:ext cx="2795380"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3</a:t>
            </a: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lang="en-US" sz="1000" b="1" dirty="0">
                <a:solidFill>
                  <a:prstClr val="black"/>
                </a:solidFill>
                <a:latin typeface="Calibri"/>
                <a:ea typeface="Verdana" panose="020B0604030504040204" pitchFamily="34" charset="0"/>
                <a:cs typeface="Verdana" panose="020B0604030504040204" pitchFamily="34" charset="0"/>
              </a:rPr>
              <a:t>Lorem ipsum </a:t>
            </a:r>
            <a:endPar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grpSp>
        <p:nvGrpSpPr>
          <p:cNvPr id="44" name="Group 43">
            <a:extLst>
              <a:ext uri="{FF2B5EF4-FFF2-40B4-BE49-F238E27FC236}">
                <a16:creationId xmlns:a16="http://schemas.microsoft.com/office/drawing/2014/main" id="{AD24DCEB-149C-48B8-BAEE-1FB096DE6457}"/>
              </a:ext>
            </a:extLst>
          </p:cNvPr>
          <p:cNvGrpSpPr/>
          <p:nvPr/>
        </p:nvGrpSpPr>
        <p:grpSpPr>
          <a:xfrm>
            <a:off x="5727106" y="4110438"/>
            <a:ext cx="1489103" cy="502432"/>
            <a:chOff x="5686961" y="3786756"/>
            <a:chExt cx="1489103" cy="502432"/>
          </a:xfrm>
        </p:grpSpPr>
        <p:grpSp>
          <p:nvGrpSpPr>
            <p:cNvPr id="45" name="Group 44">
              <a:extLst>
                <a:ext uri="{FF2B5EF4-FFF2-40B4-BE49-F238E27FC236}">
                  <a16:creationId xmlns:a16="http://schemas.microsoft.com/office/drawing/2014/main" id="{FD6886E3-7D51-48B5-B457-79A1F7B13E50}"/>
                </a:ext>
              </a:extLst>
            </p:cNvPr>
            <p:cNvGrpSpPr/>
            <p:nvPr/>
          </p:nvGrpSpPr>
          <p:grpSpPr>
            <a:xfrm>
              <a:off x="5686961" y="3786756"/>
              <a:ext cx="188197" cy="502432"/>
              <a:chOff x="6076448" y="3831311"/>
              <a:chExt cx="188197" cy="502432"/>
            </a:xfrm>
          </p:grpSpPr>
          <p:cxnSp>
            <p:nvCxnSpPr>
              <p:cNvPr id="47" name="Straight Connector 46">
                <a:extLst>
                  <a:ext uri="{FF2B5EF4-FFF2-40B4-BE49-F238E27FC236}">
                    <a16:creationId xmlns:a16="http://schemas.microsoft.com/office/drawing/2014/main" id="{7C80E62D-1303-452A-9AB2-3741B4B6F78A}"/>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Isosceles Triangle 47">
                <a:extLst>
                  <a:ext uri="{FF2B5EF4-FFF2-40B4-BE49-F238E27FC236}">
                    <a16:creationId xmlns:a16="http://schemas.microsoft.com/office/drawing/2014/main" id="{4BF92306-1760-477B-B84D-D25864CD7690}"/>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46" name="TextBox 45">
              <a:extLst>
                <a:ext uri="{FF2B5EF4-FFF2-40B4-BE49-F238E27FC236}">
                  <a16:creationId xmlns:a16="http://schemas.microsoft.com/office/drawing/2014/main" id="{A00ECF79-B329-40CD-A86F-182B54E75D04}"/>
                </a:ext>
              </a:extLst>
            </p:cNvPr>
            <p:cNvSpPr txBox="1"/>
            <p:nvPr/>
          </p:nvSpPr>
          <p:spPr>
            <a:xfrm>
              <a:off x="5905890" y="3799702"/>
              <a:ext cx="1270174" cy="123111"/>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p:txBody>
        </p:sp>
      </p:grpSp>
      <p:grpSp>
        <p:nvGrpSpPr>
          <p:cNvPr id="49" name="Group 48">
            <a:extLst>
              <a:ext uri="{FF2B5EF4-FFF2-40B4-BE49-F238E27FC236}">
                <a16:creationId xmlns:a16="http://schemas.microsoft.com/office/drawing/2014/main" id="{F4361BC6-C2A7-452B-A62E-8AE576D8D371}"/>
              </a:ext>
            </a:extLst>
          </p:cNvPr>
          <p:cNvGrpSpPr/>
          <p:nvPr/>
        </p:nvGrpSpPr>
        <p:grpSpPr>
          <a:xfrm>
            <a:off x="4819664" y="4832079"/>
            <a:ext cx="1687679" cy="502432"/>
            <a:chOff x="4779519" y="4508397"/>
            <a:chExt cx="1687679" cy="502432"/>
          </a:xfrm>
        </p:grpSpPr>
        <p:grpSp>
          <p:nvGrpSpPr>
            <p:cNvPr id="50" name="Group 49">
              <a:extLst>
                <a:ext uri="{FF2B5EF4-FFF2-40B4-BE49-F238E27FC236}">
                  <a16:creationId xmlns:a16="http://schemas.microsoft.com/office/drawing/2014/main" id="{798E79F8-01DF-48A9-99EF-77EBFE5D1F37}"/>
                </a:ext>
              </a:extLst>
            </p:cNvPr>
            <p:cNvGrpSpPr/>
            <p:nvPr/>
          </p:nvGrpSpPr>
          <p:grpSpPr>
            <a:xfrm>
              <a:off x="4779519" y="4508397"/>
              <a:ext cx="188197" cy="502432"/>
              <a:chOff x="6076448" y="3831311"/>
              <a:chExt cx="188197" cy="502432"/>
            </a:xfrm>
          </p:grpSpPr>
          <p:cxnSp>
            <p:nvCxnSpPr>
              <p:cNvPr id="52" name="Straight Connector 51">
                <a:extLst>
                  <a:ext uri="{FF2B5EF4-FFF2-40B4-BE49-F238E27FC236}">
                    <a16:creationId xmlns:a16="http://schemas.microsoft.com/office/drawing/2014/main" id="{742CC965-F5A0-40B7-82E4-EF97D2907987}"/>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Isosceles Triangle 52">
                <a:extLst>
                  <a:ext uri="{FF2B5EF4-FFF2-40B4-BE49-F238E27FC236}">
                    <a16:creationId xmlns:a16="http://schemas.microsoft.com/office/drawing/2014/main" id="{7E0E53F4-783B-43D6-96D1-C0D7868D959C}"/>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51" name="TextBox 50">
              <a:extLst>
                <a:ext uri="{FF2B5EF4-FFF2-40B4-BE49-F238E27FC236}">
                  <a16:creationId xmlns:a16="http://schemas.microsoft.com/office/drawing/2014/main" id="{51D7825F-A1C7-4AAE-8D42-D3BDB6C0FF32}"/>
                </a:ext>
              </a:extLst>
            </p:cNvPr>
            <p:cNvSpPr txBox="1"/>
            <p:nvPr/>
          </p:nvSpPr>
          <p:spPr>
            <a:xfrm>
              <a:off x="5025363" y="4531529"/>
              <a:ext cx="1441835" cy="123111"/>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p:txBody>
        </p:sp>
      </p:grpSp>
      <p:grpSp>
        <p:nvGrpSpPr>
          <p:cNvPr id="54" name="Group 53">
            <a:extLst>
              <a:ext uri="{FF2B5EF4-FFF2-40B4-BE49-F238E27FC236}">
                <a16:creationId xmlns:a16="http://schemas.microsoft.com/office/drawing/2014/main" id="{890CFD77-DA2C-4CDD-BCEC-E2E1D15CE6E0}"/>
              </a:ext>
            </a:extLst>
          </p:cNvPr>
          <p:cNvGrpSpPr/>
          <p:nvPr/>
        </p:nvGrpSpPr>
        <p:grpSpPr>
          <a:xfrm>
            <a:off x="6546641" y="4995510"/>
            <a:ext cx="1212743" cy="658444"/>
            <a:chOff x="6506496" y="4671828"/>
            <a:chExt cx="1212743" cy="658444"/>
          </a:xfrm>
        </p:grpSpPr>
        <p:grpSp>
          <p:nvGrpSpPr>
            <p:cNvPr id="55" name="Group 54">
              <a:extLst>
                <a:ext uri="{FF2B5EF4-FFF2-40B4-BE49-F238E27FC236}">
                  <a16:creationId xmlns:a16="http://schemas.microsoft.com/office/drawing/2014/main" id="{05A30162-60BA-4354-A43C-5DCABC4B9EB7}"/>
                </a:ext>
              </a:extLst>
            </p:cNvPr>
            <p:cNvGrpSpPr/>
            <p:nvPr/>
          </p:nvGrpSpPr>
          <p:grpSpPr>
            <a:xfrm>
              <a:off x="6506496" y="4827840"/>
              <a:ext cx="188197" cy="502432"/>
              <a:chOff x="6076448" y="3831311"/>
              <a:chExt cx="188197" cy="502432"/>
            </a:xfrm>
          </p:grpSpPr>
          <p:cxnSp>
            <p:nvCxnSpPr>
              <p:cNvPr id="57" name="Straight Connector 56">
                <a:extLst>
                  <a:ext uri="{FF2B5EF4-FFF2-40B4-BE49-F238E27FC236}">
                    <a16:creationId xmlns:a16="http://schemas.microsoft.com/office/drawing/2014/main" id="{6D6509F7-5437-4A03-8190-07BF63142215}"/>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Isosceles Triangle 57">
                <a:extLst>
                  <a:ext uri="{FF2B5EF4-FFF2-40B4-BE49-F238E27FC236}">
                    <a16:creationId xmlns:a16="http://schemas.microsoft.com/office/drawing/2014/main" id="{B03099AF-1418-42F3-9A60-6BEE83EC1F5C}"/>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56" name="TextBox 55">
              <a:extLst>
                <a:ext uri="{FF2B5EF4-FFF2-40B4-BE49-F238E27FC236}">
                  <a16:creationId xmlns:a16="http://schemas.microsoft.com/office/drawing/2014/main" id="{4CA3CEA9-7085-4308-8C84-E46395444B37}"/>
                </a:ext>
              </a:extLst>
            </p:cNvPr>
            <p:cNvSpPr txBox="1"/>
            <p:nvPr/>
          </p:nvSpPr>
          <p:spPr>
            <a:xfrm>
              <a:off x="6746263" y="4671828"/>
              <a:ext cx="972976" cy="271869"/>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a:p>
              <a:pPr lvl="0">
                <a:spcBef>
                  <a:spcPts val="200"/>
                </a:spcBef>
                <a:buSzPct val="100000"/>
                <a:defRPr/>
              </a:pPr>
              <a:r>
                <a:rPr lang="en-US" sz="800" b="1" i="1" dirty="0">
                  <a:solidFill>
                    <a:prstClr val="black"/>
                  </a:solidFill>
                </a:rPr>
                <a:t>Lorem ipsum </a:t>
              </a:r>
            </a:p>
          </p:txBody>
        </p:sp>
      </p:grpSp>
      <p:grpSp>
        <p:nvGrpSpPr>
          <p:cNvPr id="59" name="Group 58">
            <a:extLst>
              <a:ext uri="{FF2B5EF4-FFF2-40B4-BE49-F238E27FC236}">
                <a16:creationId xmlns:a16="http://schemas.microsoft.com/office/drawing/2014/main" id="{9D3D04D0-7C53-45AA-B232-48590179256D}"/>
              </a:ext>
            </a:extLst>
          </p:cNvPr>
          <p:cNvGrpSpPr/>
          <p:nvPr/>
        </p:nvGrpSpPr>
        <p:grpSpPr>
          <a:xfrm>
            <a:off x="8410166" y="5370629"/>
            <a:ext cx="1388383" cy="502432"/>
            <a:chOff x="8370021" y="5046947"/>
            <a:chExt cx="1388383" cy="502432"/>
          </a:xfrm>
        </p:grpSpPr>
        <p:grpSp>
          <p:nvGrpSpPr>
            <p:cNvPr id="60" name="Group 59">
              <a:extLst>
                <a:ext uri="{FF2B5EF4-FFF2-40B4-BE49-F238E27FC236}">
                  <a16:creationId xmlns:a16="http://schemas.microsoft.com/office/drawing/2014/main" id="{F5476A34-598D-4527-9E98-3F026420CAD4}"/>
                </a:ext>
              </a:extLst>
            </p:cNvPr>
            <p:cNvGrpSpPr/>
            <p:nvPr/>
          </p:nvGrpSpPr>
          <p:grpSpPr>
            <a:xfrm>
              <a:off x="8370021" y="5046947"/>
              <a:ext cx="188197" cy="502432"/>
              <a:chOff x="6076448" y="3831311"/>
              <a:chExt cx="188197" cy="502432"/>
            </a:xfrm>
          </p:grpSpPr>
          <p:cxnSp>
            <p:nvCxnSpPr>
              <p:cNvPr id="62" name="Straight Connector 61">
                <a:extLst>
                  <a:ext uri="{FF2B5EF4-FFF2-40B4-BE49-F238E27FC236}">
                    <a16:creationId xmlns:a16="http://schemas.microsoft.com/office/drawing/2014/main" id="{5B55B98A-017B-4639-8151-580A6073485D}"/>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Isosceles Triangle 62">
                <a:extLst>
                  <a:ext uri="{FF2B5EF4-FFF2-40B4-BE49-F238E27FC236}">
                    <a16:creationId xmlns:a16="http://schemas.microsoft.com/office/drawing/2014/main" id="{AED054AD-E555-4CB6-96B5-A55A98FB5012}"/>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1" name="TextBox 60">
              <a:extLst>
                <a:ext uri="{FF2B5EF4-FFF2-40B4-BE49-F238E27FC236}">
                  <a16:creationId xmlns:a16="http://schemas.microsoft.com/office/drawing/2014/main" id="{00791713-420A-4A8C-8447-81F7AA1D0FD8}"/>
                </a:ext>
              </a:extLst>
            </p:cNvPr>
            <p:cNvSpPr txBox="1"/>
            <p:nvPr/>
          </p:nvSpPr>
          <p:spPr>
            <a:xfrm>
              <a:off x="8597958" y="5073246"/>
              <a:ext cx="1160446" cy="271869"/>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a:p>
              <a:pPr lvl="0">
                <a:spcBef>
                  <a:spcPts val="200"/>
                </a:spcBef>
                <a:buSzPct val="100000"/>
                <a:defRPr/>
              </a:pPr>
              <a:r>
                <a:rPr lang="en-US" sz="800" b="1" i="1" dirty="0">
                  <a:solidFill>
                    <a:prstClr val="black"/>
                  </a:solidFill>
                </a:rPr>
                <a:t>Lorem ipsum </a:t>
              </a:r>
            </a:p>
          </p:txBody>
        </p:sp>
      </p:grpSp>
      <p:grpSp>
        <p:nvGrpSpPr>
          <p:cNvPr id="64" name="Group 63">
            <a:extLst>
              <a:ext uri="{FF2B5EF4-FFF2-40B4-BE49-F238E27FC236}">
                <a16:creationId xmlns:a16="http://schemas.microsoft.com/office/drawing/2014/main" id="{77865DA7-2489-46DB-9981-DEC3FF66F179}"/>
              </a:ext>
            </a:extLst>
          </p:cNvPr>
          <p:cNvGrpSpPr/>
          <p:nvPr/>
        </p:nvGrpSpPr>
        <p:grpSpPr>
          <a:xfrm>
            <a:off x="10603874" y="5459688"/>
            <a:ext cx="1522197" cy="502432"/>
            <a:chOff x="10563729" y="5136006"/>
            <a:chExt cx="1522197" cy="502432"/>
          </a:xfrm>
        </p:grpSpPr>
        <p:grpSp>
          <p:nvGrpSpPr>
            <p:cNvPr id="65" name="Group 64">
              <a:extLst>
                <a:ext uri="{FF2B5EF4-FFF2-40B4-BE49-F238E27FC236}">
                  <a16:creationId xmlns:a16="http://schemas.microsoft.com/office/drawing/2014/main" id="{2426E64D-A2BE-4F5B-8165-92B31EC91C80}"/>
                </a:ext>
              </a:extLst>
            </p:cNvPr>
            <p:cNvGrpSpPr/>
            <p:nvPr/>
          </p:nvGrpSpPr>
          <p:grpSpPr>
            <a:xfrm>
              <a:off x="10563729" y="5136006"/>
              <a:ext cx="188197" cy="502432"/>
              <a:chOff x="6076448" y="3831311"/>
              <a:chExt cx="188197" cy="502432"/>
            </a:xfrm>
          </p:grpSpPr>
          <p:cxnSp>
            <p:nvCxnSpPr>
              <p:cNvPr id="67" name="Straight Connector 66">
                <a:extLst>
                  <a:ext uri="{FF2B5EF4-FFF2-40B4-BE49-F238E27FC236}">
                    <a16:creationId xmlns:a16="http://schemas.microsoft.com/office/drawing/2014/main" id="{9D1CEFA2-C773-4150-B671-16FFBA33E693}"/>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Isosceles Triangle 67">
                <a:extLst>
                  <a:ext uri="{FF2B5EF4-FFF2-40B4-BE49-F238E27FC236}">
                    <a16:creationId xmlns:a16="http://schemas.microsoft.com/office/drawing/2014/main" id="{24137F3E-CA73-43B6-B8DF-D91B35FE42B1}"/>
                  </a:ext>
                </a:extLst>
              </p:cNvPr>
              <p:cNvSpPr/>
              <p:nvPr/>
            </p:nvSpPr>
            <p:spPr bwMode="gray">
              <a:xfrm rot="5400000">
                <a:off x="6047059" y="3897041"/>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6" name="TextBox 65">
              <a:extLst>
                <a:ext uri="{FF2B5EF4-FFF2-40B4-BE49-F238E27FC236}">
                  <a16:creationId xmlns:a16="http://schemas.microsoft.com/office/drawing/2014/main" id="{400C3824-E85E-4EC9-BFF9-1D69391ECC69}"/>
                </a:ext>
              </a:extLst>
            </p:cNvPr>
            <p:cNvSpPr txBox="1"/>
            <p:nvPr/>
          </p:nvSpPr>
          <p:spPr>
            <a:xfrm>
              <a:off x="10810238" y="5157743"/>
              <a:ext cx="1275688" cy="271869"/>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a:p>
              <a:pPr lvl="0">
                <a:spcBef>
                  <a:spcPts val="200"/>
                </a:spcBef>
                <a:buSzPct val="100000"/>
                <a:defRPr/>
              </a:pPr>
              <a:r>
                <a:rPr lang="en-US" sz="800" b="1" i="1" dirty="0">
                  <a:solidFill>
                    <a:prstClr val="black"/>
                  </a:solidFill>
                </a:rPr>
                <a:t>Lorem ipsum </a:t>
              </a:r>
            </a:p>
          </p:txBody>
        </p:sp>
      </p:grpSp>
      <p:grpSp>
        <p:nvGrpSpPr>
          <p:cNvPr id="69" name="Group 68">
            <a:extLst>
              <a:ext uri="{FF2B5EF4-FFF2-40B4-BE49-F238E27FC236}">
                <a16:creationId xmlns:a16="http://schemas.microsoft.com/office/drawing/2014/main" id="{E2C0548B-D8BF-48B0-B2A9-053B324C2072}"/>
              </a:ext>
            </a:extLst>
          </p:cNvPr>
          <p:cNvGrpSpPr/>
          <p:nvPr/>
        </p:nvGrpSpPr>
        <p:grpSpPr>
          <a:xfrm>
            <a:off x="3867885" y="3030507"/>
            <a:ext cx="996648" cy="502432"/>
            <a:chOff x="3827740" y="2706825"/>
            <a:chExt cx="996648" cy="502432"/>
          </a:xfrm>
        </p:grpSpPr>
        <p:grpSp>
          <p:nvGrpSpPr>
            <p:cNvPr id="70" name="Group 69">
              <a:extLst>
                <a:ext uri="{FF2B5EF4-FFF2-40B4-BE49-F238E27FC236}">
                  <a16:creationId xmlns:a16="http://schemas.microsoft.com/office/drawing/2014/main" id="{3610704D-B21D-4C82-9692-B357EB9DEEE3}"/>
                </a:ext>
              </a:extLst>
            </p:cNvPr>
            <p:cNvGrpSpPr/>
            <p:nvPr/>
          </p:nvGrpSpPr>
          <p:grpSpPr>
            <a:xfrm>
              <a:off x="3827740" y="2706825"/>
              <a:ext cx="188197" cy="502432"/>
              <a:chOff x="6076448" y="3831311"/>
              <a:chExt cx="188197" cy="502432"/>
            </a:xfrm>
          </p:grpSpPr>
          <p:cxnSp>
            <p:nvCxnSpPr>
              <p:cNvPr id="72" name="Straight Connector 71">
                <a:extLst>
                  <a:ext uri="{FF2B5EF4-FFF2-40B4-BE49-F238E27FC236}">
                    <a16:creationId xmlns:a16="http://schemas.microsoft.com/office/drawing/2014/main" id="{C6958F8A-0841-4042-9F38-9FA47126A5D1}"/>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Isosceles Triangle 72">
                <a:extLst>
                  <a:ext uri="{FF2B5EF4-FFF2-40B4-BE49-F238E27FC236}">
                    <a16:creationId xmlns:a16="http://schemas.microsoft.com/office/drawing/2014/main" id="{0F24768C-049E-45E1-B192-BD0EC962125A}"/>
                  </a:ext>
                </a:extLst>
              </p:cNvPr>
              <p:cNvSpPr/>
              <p:nvPr/>
            </p:nvSpPr>
            <p:spPr bwMode="gray">
              <a:xfrm rot="5400000">
                <a:off x="6047059" y="3897041"/>
                <a:ext cx="263309" cy="171862"/>
              </a:xfrm>
              <a:prstGeom prst="triangle">
                <a:avLst/>
              </a:prstGeom>
              <a:solidFill>
                <a:schemeClr val="accent3"/>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71" name="TextBox 70">
              <a:extLst>
                <a:ext uri="{FF2B5EF4-FFF2-40B4-BE49-F238E27FC236}">
                  <a16:creationId xmlns:a16="http://schemas.microsoft.com/office/drawing/2014/main" id="{5136A3FD-2B53-4316-8348-C8F5E62BC3D2}"/>
                </a:ext>
              </a:extLst>
            </p:cNvPr>
            <p:cNvSpPr txBox="1"/>
            <p:nvPr/>
          </p:nvSpPr>
          <p:spPr>
            <a:xfrm>
              <a:off x="4046669" y="2719771"/>
              <a:ext cx="777719" cy="123111"/>
            </a:xfrm>
            <a:prstGeom prst="rect">
              <a:avLst/>
            </a:prstGeom>
            <a:noFill/>
          </p:spPr>
          <p:txBody>
            <a:bodyPr vert="horz" wrap="square" lIns="0" tIns="0" rIns="0" bIns="0" rtlCol="0">
              <a:spAutoFit/>
            </a:bodyPr>
            <a:lstStyle/>
            <a:p>
              <a:pPr lvl="0">
                <a:spcBef>
                  <a:spcPts val="200"/>
                </a:spcBef>
                <a:buSzPct val="100000"/>
                <a:defRPr/>
              </a:pPr>
              <a:r>
                <a:rPr lang="en-US" sz="800" b="1" i="1" dirty="0">
                  <a:solidFill>
                    <a:prstClr val="black"/>
                  </a:solidFill>
                </a:rPr>
                <a:t>Lorem ipsum </a:t>
              </a:r>
            </a:p>
          </p:txBody>
        </p:sp>
      </p:grpSp>
      <p:sp>
        <p:nvSpPr>
          <p:cNvPr id="74" name="Star: 5 Points 73">
            <a:extLst>
              <a:ext uri="{FF2B5EF4-FFF2-40B4-BE49-F238E27FC236}">
                <a16:creationId xmlns:a16="http://schemas.microsoft.com/office/drawing/2014/main" id="{77350431-64D7-4D4B-A3C9-1D98DF8603C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4241382709"/>
      </p:ext>
    </p:extLst>
  </p:cSld>
  <p:clrMapOvr>
    <a:masterClrMapping/>
  </p:clrMapOvr>
  <p:transition>
    <p:fade/>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E90178-51D2-4AB4-B432-887D6568F493}"/>
              </a:ext>
            </a:extLst>
          </p:cNvPr>
          <p:cNvSpPr>
            <a:spLocks noGrp="1"/>
          </p:cNvSpPr>
          <p:nvPr>
            <p:ph type="title"/>
          </p:nvPr>
        </p:nvSpPr>
        <p:spPr/>
        <p:txBody>
          <a:bodyPr/>
          <a:lstStyle/>
          <a:p>
            <a:r>
              <a:rPr lang="en-US" dirty="0"/>
              <a:t>Structure—building</a:t>
            </a:r>
          </a:p>
        </p:txBody>
      </p:sp>
      <p:sp>
        <p:nvSpPr>
          <p:cNvPr id="49" name="Freeform 34">
            <a:extLst>
              <a:ext uri="{FF2B5EF4-FFF2-40B4-BE49-F238E27FC236}">
                <a16:creationId xmlns:a16="http://schemas.microsoft.com/office/drawing/2014/main" id="{33D67746-898D-43BD-9C42-175028D12B72}"/>
              </a:ext>
            </a:extLst>
          </p:cNvPr>
          <p:cNvSpPr/>
          <p:nvPr/>
        </p:nvSpPr>
        <p:spPr>
          <a:xfrm flipH="1">
            <a:off x="8965786" y="3782972"/>
            <a:ext cx="143246" cy="105235"/>
          </a:xfrm>
          <a:custGeom>
            <a:avLst/>
            <a:gdLst>
              <a:gd name="connsiteX0" fmla="*/ 0 w 104775"/>
              <a:gd name="connsiteY0" fmla="*/ 128587 h 128587"/>
              <a:gd name="connsiteX1" fmla="*/ 103187 w 104775"/>
              <a:gd name="connsiteY1" fmla="*/ 0 h 128587"/>
              <a:gd name="connsiteX2" fmla="*/ 104775 w 104775"/>
              <a:gd name="connsiteY2" fmla="*/ 128587 h 128587"/>
              <a:gd name="connsiteX3" fmla="*/ 0 w 104775"/>
              <a:gd name="connsiteY3" fmla="*/ 128587 h 128587"/>
            </a:gdLst>
            <a:ahLst/>
            <a:cxnLst>
              <a:cxn ang="0">
                <a:pos x="connsiteX0" y="connsiteY0"/>
              </a:cxn>
              <a:cxn ang="0">
                <a:pos x="connsiteX1" y="connsiteY1"/>
              </a:cxn>
              <a:cxn ang="0">
                <a:pos x="connsiteX2" y="connsiteY2"/>
              </a:cxn>
              <a:cxn ang="0">
                <a:pos x="connsiteX3" y="connsiteY3"/>
              </a:cxn>
            </a:cxnLst>
            <a:rect l="l" t="t" r="r" b="b"/>
            <a:pathLst>
              <a:path w="104775" h="128587">
                <a:moveTo>
                  <a:pt x="0" y="128587"/>
                </a:moveTo>
                <a:lnTo>
                  <a:pt x="103187" y="0"/>
                </a:lnTo>
                <a:cubicBezTo>
                  <a:pt x="103716" y="42862"/>
                  <a:pt x="104246" y="85725"/>
                  <a:pt x="104775" y="128587"/>
                </a:cubicBezTo>
                <a:lnTo>
                  <a:pt x="0" y="128587"/>
                </a:lnTo>
                <a:close/>
              </a:path>
            </a:pathLst>
          </a:custGeom>
          <a:solidFill>
            <a:sysClr val="window" lastClr="FFFFFF">
              <a:lumMod val="75000"/>
            </a:sys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0" name="Freeform 35">
            <a:extLst>
              <a:ext uri="{FF2B5EF4-FFF2-40B4-BE49-F238E27FC236}">
                <a16:creationId xmlns:a16="http://schemas.microsoft.com/office/drawing/2014/main" id="{6B01A3EE-298B-40F9-A1D1-5CF9DC939C35}"/>
              </a:ext>
            </a:extLst>
          </p:cNvPr>
          <p:cNvSpPr/>
          <p:nvPr/>
        </p:nvSpPr>
        <p:spPr>
          <a:xfrm>
            <a:off x="537441" y="5517302"/>
            <a:ext cx="1659916"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1"/>
          </a:solidFill>
          <a:ln w="25400" cap="flat" cmpd="sng" algn="ctr">
            <a:noFill/>
            <a:prstDash val="solid"/>
          </a:ln>
          <a:effectLst/>
        </p:spPr>
        <p:txBody>
          <a:bodyPr spcFirstLastPara="0" vert="horz" wrap="none" lIns="0" tIns="36548" rIns="0" bIns="0" numCol="1" spcCol="1270" anchor="t" anchorCtr="0">
            <a:noAutofit/>
          </a:bodyPr>
          <a:lstStyle/>
          <a:p>
            <a:pPr marL="0" marR="0" lvl="0" indent="0" algn="ctr" defTabSz="799477" rtl="0" eaLnBrk="1" fontAlgn="auto" latinLnBrk="0" hangingPunct="1">
              <a:lnSpc>
                <a:spcPct val="100000"/>
              </a:lnSpc>
              <a:spcBef>
                <a:spcPct val="0"/>
              </a:spcBef>
              <a:spcAft>
                <a:spcPts val="0"/>
              </a:spcAft>
              <a:buClrTx/>
              <a:buSzTx/>
              <a:buFontTx/>
              <a:buNone/>
              <a:tabLst/>
              <a:defRPr/>
            </a:pPr>
            <a:r>
              <a:rPr kumimoji="0" lang="en-US" sz="1800" b="1" i="0" u="none" strike="noStrike" kern="0" cap="none" spc="0" normalizeH="0" baseline="-25000" noProof="0" dirty="0">
                <a:ln>
                  <a:noFill/>
                </a:ln>
                <a:solidFill>
                  <a:prstClr val="white"/>
                </a:solidFill>
                <a:effectLst/>
                <a:uLnTx/>
                <a:uFillTx/>
                <a:latin typeface="Calibri Light"/>
                <a:ea typeface="+mn-ea"/>
                <a:cs typeface="+mn-cs"/>
              </a:rPr>
              <a:t>xxx</a:t>
            </a:r>
          </a:p>
        </p:txBody>
      </p:sp>
      <p:sp>
        <p:nvSpPr>
          <p:cNvPr id="51" name="Freeform 36">
            <a:extLst>
              <a:ext uri="{FF2B5EF4-FFF2-40B4-BE49-F238E27FC236}">
                <a16:creationId xmlns:a16="http://schemas.microsoft.com/office/drawing/2014/main" id="{4E672CBA-5982-43F5-BB6C-F605BAD30E13}"/>
              </a:ext>
            </a:extLst>
          </p:cNvPr>
          <p:cNvSpPr/>
          <p:nvPr/>
        </p:nvSpPr>
        <p:spPr>
          <a:xfrm>
            <a:off x="2389786" y="5517302"/>
            <a:ext cx="1687295"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2"/>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b="1" kern="0" baseline="-25000" dirty="0">
                <a:solidFill>
                  <a:prstClr val="white"/>
                </a:solidFill>
              </a:rPr>
              <a:t>xxx</a:t>
            </a:r>
          </a:p>
        </p:txBody>
      </p:sp>
      <p:sp>
        <p:nvSpPr>
          <p:cNvPr id="52" name="Freeform 37">
            <a:extLst>
              <a:ext uri="{FF2B5EF4-FFF2-40B4-BE49-F238E27FC236}">
                <a16:creationId xmlns:a16="http://schemas.microsoft.com/office/drawing/2014/main" id="{6E2BED8E-9148-4050-8088-36BC65D51BE0}"/>
              </a:ext>
            </a:extLst>
          </p:cNvPr>
          <p:cNvSpPr/>
          <p:nvPr/>
        </p:nvSpPr>
        <p:spPr>
          <a:xfrm>
            <a:off x="4269510" y="5517302"/>
            <a:ext cx="1670212"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3"/>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b="1" kern="0" baseline="-25000" dirty="0">
                <a:solidFill>
                  <a:prstClr val="white"/>
                </a:solidFill>
              </a:rPr>
              <a:t>xxx</a:t>
            </a:r>
          </a:p>
        </p:txBody>
      </p:sp>
      <p:sp>
        <p:nvSpPr>
          <p:cNvPr id="53" name="Freeform 38">
            <a:extLst>
              <a:ext uri="{FF2B5EF4-FFF2-40B4-BE49-F238E27FC236}">
                <a16:creationId xmlns:a16="http://schemas.microsoft.com/office/drawing/2014/main" id="{D3C51ABE-A287-48A2-BFAA-7F006BE0EA5A}"/>
              </a:ext>
            </a:extLst>
          </p:cNvPr>
          <p:cNvSpPr/>
          <p:nvPr/>
        </p:nvSpPr>
        <p:spPr>
          <a:xfrm>
            <a:off x="6136777" y="5517302"/>
            <a:ext cx="1695020"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4"/>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b="1" kern="0" baseline="-25000" dirty="0">
                <a:solidFill>
                  <a:prstClr val="white"/>
                </a:solidFill>
              </a:rPr>
              <a:t>xxx</a:t>
            </a:r>
          </a:p>
        </p:txBody>
      </p:sp>
      <p:sp>
        <p:nvSpPr>
          <p:cNvPr id="54" name="Freeform 39">
            <a:extLst>
              <a:ext uri="{FF2B5EF4-FFF2-40B4-BE49-F238E27FC236}">
                <a16:creationId xmlns:a16="http://schemas.microsoft.com/office/drawing/2014/main" id="{D9381F69-F197-41DA-A647-2D3A108EB69B}"/>
              </a:ext>
            </a:extLst>
          </p:cNvPr>
          <p:cNvSpPr/>
          <p:nvPr/>
        </p:nvSpPr>
        <p:spPr>
          <a:xfrm>
            <a:off x="8019601" y="5517302"/>
            <a:ext cx="1681065"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5"/>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b="1" kern="0" baseline="-25000" dirty="0">
                <a:solidFill>
                  <a:prstClr val="white"/>
                </a:solidFill>
              </a:rPr>
              <a:t>xxx</a:t>
            </a:r>
          </a:p>
        </p:txBody>
      </p:sp>
      <p:sp>
        <p:nvSpPr>
          <p:cNvPr id="55" name="Freeform 40">
            <a:extLst>
              <a:ext uri="{FF2B5EF4-FFF2-40B4-BE49-F238E27FC236}">
                <a16:creationId xmlns:a16="http://schemas.microsoft.com/office/drawing/2014/main" id="{5328B63A-BF34-4C01-90EA-D1B8B4E98121}"/>
              </a:ext>
            </a:extLst>
          </p:cNvPr>
          <p:cNvSpPr/>
          <p:nvPr/>
        </p:nvSpPr>
        <p:spPr>
          <a:xfrm>
            <a:off x="9893097" y="5517302"/>
            <a:ext cx="1687272" cy="28387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6"/>
          </a:solidFill>
          <a:ln w="25400" cap="flat" cmpd="sng" algn="ctr">
            <a:noFill/>
            <a:prstDash val="solid"/>
          </a:ln>
          <a:effectLst/>
        </p:spPr>
        <p:txBody>
          <a:bodyPr spcFirstLastPara="0" vert="horz" wrap="none" lIns="0" tIns="36548" rIns="0" bIns="0" numCol="1" spcCol="1270" anchor="t" anchorCtr="0">
            <a:noAutofit/>
          </a:bodyPr>
          <a:lstStyle/>
          <a:p>
            <a:pPr algn="ctr" defTabSz="799477">
              <a:spcBef>
                <a:spcPct val="0"/>
              </a:spcBef>
              <a:defRPr/>
            </a:pPr>
            <a:r>
              <a:rPr lang="en-US" b="1" kern="0" baseline="-25000" dirty="0" err="1">
                <a:solidFill>
                  <a:prstClr val="white"/>
                </a:solidFill>
              </a:rPr>
              <a:t>Qualiaxxx</a:t>
            </a:r>
            <a:endParaRPr lang="en-US" b="1" kern="0" baseline="-25000" dirty="0">
              <a:solidFill>
                <a:prstClr val="white"/>
              </a:solidFill>
            </a:endParaRPr>
          </a:p>
          <a:p>
            <a:pPr marL="0" marR="0" lvl="0" indent="0" algn="ctr" defTabSz="799477" rtl="0" eaLnBrk="1" fontAlgn="auto" latinLnBrk="0" hangingPunct="1">
              <a:lnSpc>
                <a:spcPct val="100000"/>
              </a:lnSpc>
              <a:spcBef>
                <a:spcPct val="0"/>
              </a:spcBef>
              <a:spcAft>
                <a:spcPts val="0"/>
              </a:spcAft>
              <a:buClrTx/>
              <a:buSzTx/>
              <a:buFontTx/>
              <a:buNone/>
              <a:tabLst/>
              <a:defRPr/>
            </a:pPr>
            <a:r>
              <a:rPr kumimoji="0" lang="en-US" sz="1800" b="1" i="0" u="none" strike="noStrike" kern="0" cap="none" spc="0" normalizeH="0" baseline="-25000" noProof="0" dirty="0">
                <a:ln>
                  <a:noFill/>
                </a:ln>
                <a:solidFill>
                  <a:prstClr val="white"/>
                </a:solidFill>
                <a:effectLst/>
                <a:uLnTx/>
                <a:uFillTx/>
                <a:latin typeface="Calibri Light"/>
                <a:ea typeface="+mn-ea"/>
                <a:cs typeface="+mn-cs"/>
              </a:rPr>
              <a:t>ty</a:t>
            </a:r>
          </a:p>
        </p:txBody>
      </p:sp>
      <p:sp>
        <p:nvSpPr>
          <p:cNvPr id="56" name="Freeform 41">
            <a:extLst>
              <a:ext uri="{FF2B5EF4-FFF2-40B4-BE49-F238E27FC236}">
                <a16:creationId xmlns:a16="http://schemas.microsoft.com/office/drawing/2014/main" id="{4A2AF1B2-CECC-44A3-BBDC-ED420C53C1F1}"/>
              </a:ext>
            </a:extLst>
          </p:cNvPr>
          <p:cNvSpPr/>
          <p:nvPr/>
        </p:nvSpPr>
        <p:spPr>
          <a:xfrm>
            <a:off x="5057262" y="1742956"/>
            <a:ext cx="2006017" cy="2110512"/>
          </a:xfrm>
          <a:custGeom>
            <a:avLst/>
            <a:gdLst>
              <a:gd name="connsiteX0" fmla="*/ 842434 w 1689100"/>
              <a:gd name="connsiteY0" fmla="*/ 0 h 1214967"/>
              <a:gd name="connsiteX1" fmla="*/ 0 w 1689100"/>
              <a:gd name="connsiteY1" fmla="*/ 215900 h 1214967"/>
              <a:gd name="connsiteX2" fmla="*/ 0 w 1689100"/>
              <a:gd name="connsiteY2" fmla="*/ 1214967 h 1214967"/>
              <a:gd name="connsiteX3" fmla="*/ 1689100 w 1689100"/>
              <a:gd name="connsiteY3" fmla="*/ 1214967 h 1214967"/>
              <a:gd name="connsiteX4" fmla="*/ 1689100 w 1689100"/>
              <a:gd name="connsiteY4" fmla="*/ 203200 h 1214967"/>
              <a:gd name="connsiteX5" fmla="*/ 842434 w 1689100"/>
              <a:gd name="connsiteY5" fmla="*/ 0 h 121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9100" h="1214967">
                <a:moveTo>
                  <a:pt x="842434" y="0"/>
                </a:moveTo>
                <a:lnTo>
                  <a:pt x="0" y="215900"/>
                </a:lnTo>
                <a:lnTo>
                  <a:pt x="0" y="1214967"/>
                </a:lnTo>
                <a:lnTo>
                  <a:pt x="1689100" y="1214967"/>
                </a:lnTo>
                <a:lnTo>
                  <a:pt x="1689100" y="203200"/>
                </a:lnTo>
                <a:lnTo>
                  <a:pt x="842434" y="0"/>
                </a:lnTo>
                <a:close/>
              </a:path>
            </a:pathLst>
          </a:custGeom>
          <a:solidFill>
            <a:schemeClr val="accent3">
              <a:lumMod val="50000"/>
            </a:scheme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7" name="Freeform 42">
            <a:extLst>
              <a:ext uri="{FF2B5EF4-FFF2-40B4-BE49-F238E27FC236}">
                <a16:creationId xmlns:a16="http://schemas.microsoft.com/office/drawing/2014/main" id="{DA93B67A-B6E9-480B-B5E2-A4DA8885FEC7}"/>
              </a:ext>
            </a:extLst>
          </p:cNvPr>
          <p:cNvSpPr/>
          <p:nvPr/>
        </p:nvSpPr>
        <p:spPr>
          <a:xfrm>
            <a:off x="2765711" y="2128270"/>
            <a:ext cx="2133346" cy="1725200"/>
          </a:xfrm>
          <a:custGeom>
            <a:avLst/>
            <a:gdLst>
              <a:gd name="connsiteX0" fmla="*/ 1320800 w 1325034"/>
              <a:gd name="connsiteY0" fmla="*/ 12700 h 952500"/>
              <a:gd name="connsiteX1" fmla="*/ 0 w 1325034"/>
              <a:gd name="connsiteY1" fmla="*/ 334434 h 952500"/>
              <a:gd name="connsiteX2" fmla="*/ 279400 w 1325034"/>
              <a:gd name="connsiteY2" fmla="*/ 334434 h 952500"/>
              <a:gd name="connsiteX3" fmla="*/ 279400 w 1325034"/>
              <a:gd name="connsiteY3" fmla="*/ 952500 h 952500"/>
              <a:gd name="connsiteX4" fmla="*/ 1325034 w 1325034"/>
              <a:gd name="connsiteY4" fmla="*/ 952500 h 952500"/>
              <a:gd name="connsiteX5" fmla="*/ 1325034 w 1325034"/>
              <a:gd name="connsiteY5"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034" h="952500">
                <a:moveTo>
                  <a:pt x="1320800" y="12700"/>
                </a:moveTo>
                <a:lnTo>
                  <a:pt x="0" y="334434"/>
                </a:lnTo>
                <a:lnTo>
                  <a:pt x="279400" y="334434"/>
                </a:lnTo>
                <a:lnTo>
                  <a:pt x="279400" y="952500"/>
                </a:lnTo>
                <a:lnTo>
                  <a:pt x="1325034" y="952500"/>
                </a:lnTo>
                <a:lnTo>
                  <a:pt x="1325034" y="0"/>
                </a:lnTo>
              </a:path>
            </a:pathLst>
          </a:custGeom>
          <a:solidFill>
            <a:schemeClr val="accent2">
              <a:lumMod val="50000"/>
            </a:scheme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8" name="Freeform 43">
            <a:extLst>
              <a:ext uri="{FF2B5EF4-FFF2-40B4-BE49-F238E27FC236}">
                <a16:creationId xmlns:a16="http://schemas.microsoft.com/office/drawing/2014/main" id="{AD003187-4512-4F0D-81DC-415DB5622A0C}"/>
              </a:ext>
            </a:extLst>
          </p:cNvPr>
          <p:cNvSpPr/>
          <p:nvPr/>
        </p:nvSpPr>
        <p:spPr>
          <a:xfrm flipH="1">
            <a:off x="7221504" y="2128270"/>
            <a:ext cx="2133346" cy="1725200"/>
          </a:xfrm>
          <a:custGeom>
            <a:avLst/>
            <a:gdLst>
              <a:gd name="connsiteX0" fmla="*/ 1320800 w 1325034"/>
              <a:gd name="connsiteY0" fmla="*/ 12700 h 952500"/>
              <a:gd name="connsiteX1" fmla="*/ 0 w 1325034"/>
              <a:gd name="connsiteY1" fmla="*/ 334434 h 952500"/>
              <a:gd name="connsiteX2" fmla="*/ 279400 w 1325034"/>
              <a:gd name="connsiteY2" fmla="*/ 334434 h 952500"/>
              <a:gd name="connsiteX3" fmla="*/ 279400 w 1325034"/>
              <a:gd name="connsiteY3" fmla="*/ 952500 h 952500"/>
              <a:gd name="connsiteX4" fmla="*/ 1325034 w 1325034"/>
              <a:gd name="connsiteY4" fmla="*/ 952500 h 952500"/>
              <a:gd name="connsiteX5" fmla="*/ 1325034 w 1325034"/>
              <a:gd name="connsiteY5"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034" h="952500">
                <a:moveTo>
                  <a:pt x="1320800" y="12700"/>
                </a:moveTo>
                <a:lnTo>
                  <a:pt x="0" y="334434"/>
                </a:lnTo>
                <a:lnTo>
                  <a:pt x="279400" y="334434"/>
                </a:lnTo>
                <a:lnTo>
                  <a:pt x="279400" y="952500"/>
                </a:lnTo>
                <a:lnTo>
                  <a:pt x="1325034" y="952500"/>
                </a:lnTo>
                <a:lnTo>
                  <a:pt x="1325034" y="0"/>
                </a:lnTo>
              </a:path>
            </a:pathLst>
          </a:custGeom>
          <a:solidFill>
            <a:schemeClr val="accent6">
              <a:lumMod val="50000"/>
            </a:scheme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9" name="Freeform 44">
            <a:extLst>
              <a:ext uri="{FF2B5EF4-FFF2-40B4-BE49-F238E27FC236}">
                <a16:creationId xmlns:a16="http://schemas.microsoft.com/office/drawing/2014/main" id="{B17F5B3A-E3D8-4EB0-BB98-40CB05E5D4C0}"/>
              </a:ext>
            </a:extLst>
          </p:cNvPr>
          <p:cNvSpPr/>
          <p:nvPr/>
        </p:nvSpPr>
        <p:spPr>
          <a:xfrm>
            <a:off x="3005180" y="3782972"/>
            <a:ext cx="143246" cy="105235"/>
          </a:xfrm>
          <a:custGeom>
            <a:avLst/>
            <a:gdLst>
              <a:gd name="connsiteX0" fmla="*/ 0 w 104775"/>
              <a:gd name="connsiteY0" fmla="*/ 128587 h 128587"/>
              <a:gd name="connsiteX1" fmla="*/ 103187 w 104775"/>
              <a:gd name="connsiteY1" fmla="*/ 0 h 128587"/>
              <a:gd name="connsiteX2" fmla="*/ 104775 w 104775"/>
              <a:gd name="connsiteY2" fmla="*/ 128587 h 128587"/>
              <a:gd name="connsiteX3" fmla="*/ 0 w 104775"/>
              <a:gd name="connsiteY3" fmla="*/ 128587 h 128587"/>
            </a:gdLst>
            <a:ahLst/>
            <a:cxnLst>
              <a:cxn ang="0">
                <a:pos x="connsiteX0" y="connsiteY0"/>
              </a:cxn>
              <a:cxn ang="0">
                <a:pos x="connsiteX1" y="connsiteY1"/>
              </a:cxn>
              <a:cxn ang="0">
                <a:pos x="connsiteX2" y="connsiteY2"/>
              </a:cxn>
              <a:cxn ang="0">
                <a:pos x="connsiteX3" y="connsiteY3"/>
              </a:cxn>
            </a:cxnLst>
            <a:rect l="l" t="t" r="r" b="b"/>
            <a:pathLst>
              <a:path w="104775" h="128587">
                <a:moveTo>
                  <a:pt x="0" y="128587"/>
                </a:moveTo>
                <a:lnTo>
                  <a:pt x="103187" y="0"/>
                </a:lnTo>
                <a:cubicBezTo>
                  <a:pt x="103716" y="42862"/>
                  <a:pt x="104246" y="85725"/>
                  <a:pt x="104775" y="128587"/>
                </a:cubicBezTo>
                <a:lnTo>
                  <a:pt x="0" y="128587"/>
                </a:lnTo>
                <a:close/>
              </a:path>
            </a:pathLst>
          </a:custGeom>
          <a:solidFill>
            <a:sysClr val="window" lastClr="FFFFFF">
              <a:lumMod val="75000"/>
            </a:sys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60" name="Rectangle 9">
            <a:extLst>
              <a:ext uri="{FF2B5EF4-FFF2-40B4-BE49-F238E27FC236}">
                <a16:creationId xmlns:a16="http://schemas.microsoft.com/office/drawing/2014/main" id="{72EF0B4D-5DD1-4B45-89C9-7B2991221C5B}"/>
              </a:ext>
            </a:extLst>
          </p:cNvPr>
          <p:cNvSpPr>
            <a:spLocks noChangeArrowheads="1"/>
          </p:cNvSpPr>
          <p:nvPr/>
        </p:nvSpPr>
        <p:spPr bwMode="gray">
          <a:xfrm>
            <a:off x="3008786" y="3886246"/>
            <a:ext cx="6100235" cy="674619"/>
          </a:xfrm>
          <a:prstGeom prst="rect">
            <a:avLst/>
          </a:prstGeom>
          <a:solidFill>
            <a:sysClr val="windowText" lastClr="000000">
              <a:lumMod val="65000"/>
              <a:lumOff val="35000"/>
            </a:sysClr>
          </a:solidFill>
          <a:ln w="9525">
            <a:noFill/>
            <a:miter lim="800000"/>
            <a:headEnd/>
            <a:tailEnd/>
          </a:ln>
        </p:spPr>
        <p:txBody>
          <a:bodyPr wrap="square" lIns="0" tIns="45685" rIns="0" bIns="0" anchor="t" anchorCtr="0">
            <a:noAutofit/>
          </a:bodyPr>
          <a:lstStyle/>
          <a:p>
            <a:pPr lvl="0" algn="ctr" defTabSz="786784">
              <a:lnSpc>
                <a:spcPct val="95000"/>
              </a:lnSpc>
              <a:spcBef>
                <a:spcPct val="80000"/>
              </a:spcBef>
              <a:buClr>
                <a:srgbClr val="313131"/>
              </a:buClr>
              <a:defRPr/>
            </a:pPr>
            <a:r>
              <a:rPr lang="en-GB" sz="1400" b="1" kern="0" dirty="0">
                <a:solidFill>
                  <a:prstClr val="white"/>
                </a:solidFill>
                <a:latin typeface="Calibri"/>
                <a:cs typeface="Arial" pitchFamily="34" charset="0"/>
              </a:rPr>
              <a:t>Lorem ipsum </a:t>
            </a:r>
          </a:p>
        </p:txBody>
      </p:sp>
      <p:sp>
        <p:nvSpPr>
          <p:cNvPr id="61" name="Rectangle 60">
            <a:extLst>
              <a:ext uri="{FF2B5EF4-FFF2-40B4-BE49-F238E27FC236}">
                <a16:creationId xmlns:a16="http://schemas.microsoft.com/office/drawing/2014/main" id="{0A714403-0AFC-4304-9EB0-64F3FC8980E2}"/>
              </a:ext>
            </a:extLst>
          </p:cNvPr>
          <p:cNvSpPr/>
          <p:nvPr/>
        </p:nvSpPr>
        <p:spPr>
          <a:xfrm rot="10800000" flipV="1">
            <a:off x="3963957" y="4082892"/>
            <a:ext cx="4248948" cy="461665"/>
          </a:xfrm>
          <a:prstGeom prst="rect">
            <a:avLst/>
          </a:prstGeom>
        </p:spPr>
        <p:txBody>
          <a:bodyPr wrap="square" lIns="0" tIns="0" rIns="0" bIns="0">
            <a:spAutoFit/>
          </a:bodyPr>
          <a:lstStyle/>
          <a:p>
            <a:pPr marL="0" lvl="1" algn="ctr" defTabSz="913686">
              <a:buSzPct val="65000"/>
              <a:defRPr/>
            </a:pPr>
            <a:r>
              <a:rPr lang="en-US" sz="1000" kern="0" dirty="0">
                <a:solidFill>
                  <a:prstClr val="white"/>
                </a:solidFill>
              </a:rPr>
              <a:t>This is dummy text it is not here to be read. The is just text to show where you could insert text. This is dummy text it is not here to be read. </a:t>
            </a:r>
          </a:p>
          <a:p>
            <a:pPr marL="0" lvl="1" algn="ctr" defTabSz="913686">
              <a:buSzPct val="65000"/>
              <a:defRPr/>
            </a:pPr>
            <a:endParaRPr lang="en-US" sz="1000" kern="0" dirty="0">
              <a:solidFill>
                <a:prstClr val="white"/>
              </a:solidFill>
            </a:endParaRPr>
          </a:p>
        </p:txBody>
      </p:sp>
      <p:sp>
        <p:nvSpPr>
          <p:cNvPr id="62" name="Rectangle 61">
            <a:extLst>
              <a:ext uri="{FF2B5EF4-FFF2-40B4-BE49-F238E27FC236}">
                <a16:creationId xmlns:a16="http://schemas.microsoft.com/office/drawing/2014/main" id="{21813416-D41F-4DAA-B217-D9B3DF4238C8}"/>
              </a:ext>
            </a:extLst>
          </p:cNvPr>
          <p:cNvSpPr/>
          <p:nvPr/>
        </p:nvSpPr>
        <p:spPr>
          <a:xfrm>
            <a:off x="7237854" y="2954925"/>
            <a:ext cx="1609852" cy="553998"/>
          </a:xfrm>
          <a:prstGeom prst="rect">
            <a:avLst/>
          </a:prstGeom>
        </p:spPr>
        <p:txBody>
          <a:bodyPr wrap="square" lIns="0" tIns="0" rIns="0" bIns="0">
            <a:spAutoFit/>
          </a:bodyPr>
          <a:lstStyle/>
          <a:p>
            <a:pPr marL="0" lvl="1" algn="ctr" defTabSz="913686">
              <a:buSzPct val="65000"/>
              <a:defRPr/>
            </a:pPr>
            <a:r>
              <a:rPr lang="en-US" sz="900" kern="0" dirty="0">
                <a:solidFill>
                  <a:prstClr val="white"/>
                </a:solidFill>
              </a:rPr>
              <a:t>This is dummy text it is not here to be read. The is just text to show where you could insert text. This is dummy text it is not here</a:t>
            </a:r>
            <a:endParaRPr kumimoji="0" lang="en-US" sz="9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63" name="Rectangle 62">
            <a:extLst>
              <a:ext uri="{FF2B5EF4-FFF2-40B4-BE49-F238E27FC236}">
                <a16:creationId xmlns:a16="http://schemas.microsoft.com/office/drawing/2014/main" id="{290641D1-D9F4-4DED-B1B1-3EEB420F2848}"/>
              </a:ext>
            </a:extLst>
          </p:cNvPr>
          <p:cNvSpPr/>
          <p:nvPr/>
        </p:nvSpPr>
        <p:spPr>
          <a:xfrm>
            <a:off x="5193254" y="2836931"/>
            <a:ext cx="1723628" cy="553998"/>
          </a:xfrm>
          <a:prstGeom prst="rect">
            <a:avLst/>
          </a:prstGeom>
        </p:spPr>
        <p:txBody>
          <a:bodyPr wrap="square" lIns="0" tIns="0" rIns="0" bIns="0">
            <a:spAutoFit/>
          </a:bodyPr>
          <a:lstStyle/>
          <a:p>
            <a:pPr marL="0" lvl="1" algn="ctr" defTabSz="913686">
              <a:buSzPct val="65000"/>
              <a:defRPr/>
            </a:pPr>
            <a:r>
              <a:rPr lang="en-US" sz="900" kern="0" dirty="0">
                <a:solidFill>
                  <a:prstClr val="white"/>
                </a:solidFill>
              </a:rPr>
              <a:t>This is dummy text it is not here to be read. The is just text to show where you could insert text. This is dummy text it is not here to be read. </a:t>
            </a:r>
            <a:endParaRPr kumimoji="0" lang="en-US" sz="9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65" name="Rectangle 64">
            <a:extLst>
              <a:ext uri="{FF2B5EF4-FFF2-40B4-BE49-F238E27FC236}">
                <a16:creationId xmlns:a16="http://schemas.microsoft.com/office/drawing/2014/main" id="{E4D60C62-73F6-4271-8124-8C1194642225}"/>
              </a:ext>
            </a:extLst>
          </p:cNvPr>
          <p:cNvSpPr/>
          <p:nvPr/>
        </p:nvSpPr>
        <p:spPr>
          <a:xfrm>
            <a:off x="3253979" y="3083424"/>
            <a:ext cx="1609589" cy="553998"/>
          </a:xfrm>
          <a:prstGeom prst="rect">
            <a:avLst/>
          </a:prstGeom>
        </p:spPr>
        <p:txBody>
          <a:bodyPr wrap="square" lIns="0" tIns="0" rIns="0" bIns="0">
            <a:spAutoFit/>
          </a:bodyPr>
          <a:lstStyle/>
          <a:p>
            <a:pPr marL="0" lvl="1" algn="ctr" defTabSz="913686">
              <a:buSzPct val="65000"/>
              <a:defRPr/>
            </a:pPr>
            <a:r>
              <a:rPr lang="en-US" sz="900" kern="0" dirty="0">
                <a:solidFill>
                  <a:prstClr val="white"/>
                </a:solidFill>
              </a:rPr>
              <a:t>This is dummy text it is not here to be read. The is just text to show where you could insert text. This is dummy text it is not</a:t>
            </a:r>
            <a:endParaRPr kumimoji="0" lang="en-US" sz="9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71" name="Rectangle 11">
            <a:extLst>
              <a:ext uri="{FF2B5EF4-FFF2-40B4-BE49-F238E27FC236}">
                <a16:creationId xmlns:a16="http://schemas.microsoft.com/office/drawing/2014/main" id="{0CBDA811-6B73-4CB3-8949-7C36E7A5C818}"/>
              </a:ext>
            </a:extLst>
          </p:cNvPr>
          <p:cNvSpPr>
            <a:spLocks noChangeArrowheads="1"/>
          </p:cNvSpPr>
          <p:nvPr/>
        </p:nvSpPr>
        <p:spPr bwMode="gray">
          <a:xfrm flipH="1">
            <a:off x="7398628" y="2657674"/>
            <a:ext cx="1261592" cy="160813"/>
          </a:xfrm>
          <a:prstGeom prst="rect">
            <a:avLst/>
          </a:prstGeom>
          <a:noFill/>
          <a:ln w="9525">
            <a:noFill/>
            <a:miter lim="800000"/>
            <a:headEnd/>
            <a:tailEnd/>
          </a:ln>
        </p:spPr>
        <p:txBody>
          <a:bodyPr wrap="square" lIns="0" tIns="0" rIns="0" bIns="0" anchor="ctr" anchorCtr="0">
            <a:spAutoFit/>
          </a:bodyPr>
          <a:lstStyle/>
          <a:p>
            <a:pPr lvl="0" algn="ctr" defTabSz="786784">
              <a:lnSpc>
                <a:spcPct val="95000"/>
              </a:lnSpc>
              <a:spcBef>
                <a:spcPct val="80000"/>
              </a:spcBef>
              <a:buClr>
                <a:srgbClr val="313131"/>
              </a:buClr>
            </a:pPr>
            <a:r>
              <a:rPr lang="en-GB" sz="1100" b="1" kern="0" dirty="0">
                <a:solidFill>
                  <a:prstClr val="white"/>
                </a:solidFill>
                <a:latin typeface="Calibri"/>
                <a:cs typeface="Arial" pitchFamily="34" charset="0"/>
              </a:rPr>
              <a:t>Lorem ipsum </a:t>
            </a:r>
          </a:p>
        </p:txBody>
      </p:sp>
      <p:sp>
        <p:nvSpPr>
          <p:cNvPr id="72" name="Rectangle 11">
            <a:extLst>
              <a:ext uri="{FF2B5EF4-FFF2-40B4-BE49-F238E27FC236}">
                <a16:creationId xmlns:a16="http://schemas.microsoft.com/office/drawing/2014/main" id="{3E30EA2B-6FB8-486E-8249-8DE994B673AC}"/>
              </a:ext>
            </a:extLst>
          </p:cNvPr>
          <p:cNvSpPr>
            <a:spLocks noChangeArrowheads="1"/>
          </p:cNvSpPr>
          <p:nvPr/>
        </p:nvSpPr>
        <p:spPr bwMode="gray">
          <a:xfrm flipH="1">
            <a:off x="5110096" y="2390263"/>
            <a:ext cx="1839806" cy="160813"/>
          </a:xfrm>
          <a:prstGeom prst="rect">
            <a:avLst/>
          </a:prstGeom>
          <a:noFill/>
          <a:ln w="9525">
            <a:noFill/>
            <a:miter lim="800000"/>
            <a:headEnd/>
            <a:tailEnd/>
          </a:ln>
        </p:spPr>
        <p:txBody>
          <a:bodyPr wrap="square" lIns="0" tIns="0" rIns="0" bIns="0" anchor="ctr" anchorCtr="0">
            <a:spAutoFit/>
          </a:bodyPr>
          <a:lstStyle/>
          <a:p>
            <a:pPr lvl="0" algn="ctr" defTabSz="786784">
              <a:lnSpc>
                <a:spcPct val="95000"/>
              </a:lnSpc>
              <a:spcBef>
                <a:spcPct val="80000"/>
              </a:spcBef>
              <a:buClr>
                <a:srgbClr val="313131"/>
              </a:buClr>
            </a:pPr>
            <a:r>
              <a:rPr lang="en-GB" sz="1100" b="1" kern="0" dirty="0">
                <a:solidFill>
                  <a:prstClr val="white"/>
                </a:solidFill>
                <a:latin typeface="Calibri"/>
                <a:cs typeface="Arial" pitchFamily="34" charset="0"/>
              </a:rPr>
              <a:t>Lorem ipsum </a:t>
            </a:r>
          </a:p>
        </p:txBody>
      </p:sp>
      <p:sp>
        <p:nvSpPr>
          <p:cNvPr id="73" name="Rectangle 11">
            <a:extLst>
              <a:ext uri="{FF2B5EF4-FFF2-40B4-BE49-F238E27FC236}">
                <a16:creationId xmlns:a16="http://schemas.microsoft.com/office/drawing/2014/main" id="{523F16DE-A9EC-43F1-9BF6-B41F43A5DF62}"/>
              </a:ext>
            </a:extLst>
          </p:cNvPr>
          <p:cNvSpPr>
            <a:spLocks noChangeArrowheads="1"/>
          </p:cNvSpPr>
          <p:nvPr/>
        </p:nvSpPr>
        <p:spPr bwMode="gray">
          <a:xfrm flipH="1">
            <a:off x="3277680" y="2751620"/>
            <a:ext cx="1377758" cy="160813"/>
          </a:xfrm>
          <a:prstGeom prst="rect">
            <a:avLst/>
          </a:prstGeom>
          <a:noFill/>
          <a:ln w="9525">
            <a:noFill/>
            <a:miter lim="800000"/>
            <a:headEnd/>
            <a:tailEnd/>
          </a:ln>
        </p:spPr>
        <p:txBody>
          <a:bodyPr wrap="square" lIns="0" tIns="0" rIns="0" bIns="0" anchor="ctr" anchorCtr="0">
            <a:spAutoFit/>
          </a:bodyPr>
          <a:lstStyle/>
          <a:p>
            <a:pPr lvl="0" algn="ctr" defTabSz="786784">
              <a:lnSpc>
                <a:spcPct val="95000"/>
              </a:lnSpc>
              <a:spcBef>
                <a:spcPct val="80000"/>
              </a:spcBef>
              <a:buClr>
                <a:srgbClr val="313131"/>
              </a:buClr>
            </a:pPr>
            <a:r>
              <a:rPr lang="en-GB" sz="1100" b="1" kern="0" dirty="0">
                <a:solidFill>
                  <a:prstClr val="white"/>
                </a:solidFill>
                <a:latin typeface="Calibri"/>
                <a:cs typeface="Arial" pitchFamily="34" charset="0"/>
              </a:rPr>
              <a:t>Lorem ipsum </a:t>
            </a:r>
          </a:p>
        </p:txBody>
      </p:sp>
      <p:sp>
        <p:nvSpPr>
          <p:cNvPr id="75" name="TextBox 74">
            <a:extLst>
              <a:ext uri="{FF2B5EF4-FFF2-40B4-BE49-F238E27FC236}">
                <a16:creationId xmlns:a16="http://schemas.microsoft.com/office/drawing/2014/main" id="{CD07063E-B6F9-4B78-8DBE-D5B63DC1E402}"/>
              </a:ext>
            </a:extLst>
          </p:cNvPr>
          <p:cNvSpPr txBox="1"/>
          <p:nvPr/>
        </p:nvSpPr>
        <p:spPr>
          <a:xfrm>
            <a:off x="537438" y="5827405"/>
            <a:ext cx="1659917"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76" name="TextBox 75">
            <a:extLst>
              <a:ext uri="{FF2B5EF4-FFF2-40B4-BE49-F238E27FC236}">
                <a16:creationId xmlns:a16="http://schemas.microsoft.com/office/drawing/2014/main" id="{AF87D512-D73B-4B0A-A71D-2E71F1F1F58C}"/>
              </a:ext>
            </a:extLst>
          </p:cNvPr>
          <p:cNvSpPr txBox="1"/>
          <p:nvPr/>
        </p:nvSpPr>
        <p:spPr>
          <a:xfrm>
            <a:off x="2536287" y="5827403"/>
            <a:ext cx="1394289"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77" name="TextBox 76">
            <a:extLst>
              <a:ext uri="{FF2B5EF4-FFF2-40B4-BE49-F238E27FC236}">
                <a16:creationId xmlns:a16="http://schemas.microsoft.com/office/drawing/2014/main" id="{CC46852B-0FEB-46C9-B6BD-8DD7E2EE73E8}"/>
              </a:ext>
            </a:extLst>
          </p:cNvPr>
          <p:cNvSpPr txBox="1"/>
          <p:nvPr/>
        </p:nvSpPr>
        <p:spPr>
          <a:xfrm>
            <a:off x="4407471" y="5827405"/>
            <a:ext cx="1394289"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78" name="TextBox 77">
            <a:extLst>
              <a:ext uri="{FF2B5EF4-FFF2-40B4-BE49-F238E27FC236}">
                <a16:creationId xmlns:a16="http://schemas.microsoft.com/office/drawing/2014/main" id="{509D320F-6654-4B13-A7FA-C5E0C293A2CC}"/>
              </a:ext>
            </a:extLst>
          </p:cNvPr>
          <p:cNvSpPr txBox="1"/>
          <p:nvPr/>
        </p:nvSpPr>
        <p:spPr>
          <a:xfrm>
            <a:off x="6132153" y="5827405"/>
            <a:ext cx="1704267"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79" name="TextBox 78">
            <a:extLst>
              <a:ext uri="{FF2B5EF4-FFF2-40B4-BE49-F238E27FC236}">
                <a16:creationId xmlns:a16="http://schemas.microsoft.com/office/drawing/2014/main" id="{9EC24183-9641-4D63-ABC1-FC019AFE66CC}"/>
              </a:ext>
            </a:extLst>
          </p:cNvPr>
          <p:cNvSpPr txBox="1"/>
          <p:nvPr/>
        </p:nvSpPr>
        <p:spPr>
          <a:xfrm>
            <a:off x="7836422" y="5827405"/>
            <a:ext cx="2032356"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80" name="TextBox 79">
            <a:extLst>
              <a:ext uri="{FF2B5EF4-FFF2-40B4-BE49-F238E27FC236}">
                <a16:creationId xmlns:a16="http://schemas.microsoft.com/office/drawing/2014/main" id="{F0E6B577-27F8-427E-826A-C0289DB6700D}"/>
              </a:ext>
            </a:extLst>
          </p:cNvPr>
          <p:cNvSpPr txBox="1"/>
          <p:nvPr/>
        </p:nvSpPr>
        <p:spPr>
          <a:xfrm>
            <a:off x="9809465" y="5827405"/>
            <a:ext cx="1854535" cy="276928"/>
          </a:xfrm>
          <a:prstGeom prst="rect">
            <a:avLst/>
          </a:prstGeom>
          <a:noFill/>
        </p:spPr>
        <p:txBody>
          <a:bodyPr wrap="square" lIns="91370" tIns="45685" rIns="91370" bIns="45685" rtlCol="0">
            <a:spAutoFit/>
          </a:bodyPr>
          <a:lstStyle/>
          <a:p>
            <a:pPr lvl="0" algn="ctr" defTabSz="913686">
              <a:defRPr/>
            </a:pPr>
            <a:r>
              <a:rPr lang="en-US" sz="1200" b="1" kern="0" dirty="0">
                <a:solidFill>
                  <a:prstClr val="black"/>
                </a:solidFill>
              </a:rPr>
              <a:t>Lorem ipsum </a:t>
            </a:r>
          </a:p>
        </p:txBody>
      </p:sp>
      <p:sp>
        <p:nvSpPr>
          <p:cNvPr id="81" name="Freeform 66">
            <a:extLst>
              <a:ext uri="{FF2B5EF4-FFF2-40B4-BE49-F238E27FC236}">
                <a16:creationId xmlns:a16="http://schemas.microsoft.com/office/drawing/2014/main" id="{ED563F1D-C1BF-40BE-B82E-D82A6CAE18DA}"/>
              </a:ext>
            </a:extLst>
          </p:cNvPr>
          <p:cNvSpPr/>
          <p:nvPr/>
        </p:nvSpPr>
        <p:spPr>
          <a:xfrm>
            <a:off x="531071" y="4589405"/>
            <a:ext cx="3381903" cy="912905"/>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2" name="Freeform 67">
            <a:extLst>
              <a:ext uri="{FF2B5EF4-FFF2-40B4-BE49-F238E27FC236}">
                <a16:creationId xmlns:a16="http://schemas.microsoft.com/office/drawing/2014/main" id="{0889A2F5-2A06-4B88-887F-FE161B019E3D}"/>
              </a:ext>
            </a:extLst>
          </p:cNvPr>
          <p:cNvSpPr/>
          <p:nvPr/>
        </p:nvSpPr>
        <p:spPr>
          <a:xfrm>
            <a:off x="2386325" y="4585939"/>
            <a:ext cx="2564681"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1008135 w 1620328"/>
              <a:gd name="connsiteY0" fmla="*/ 0 h 1115483"/>
              <a:gd name="connsiteX1" fmla="*/ 1620328 w 1620328"/>
              <a:gd name="connsiteY1" fmla="*/ 0 h 1115483"/>
              <a:gd name="connsiteX2" fmla="*/ 1178418 w 1620328"/>
              <a:gd name="connsiteY2" fmla="*/ 1115483 h 1115483"/>
              <a:gd name="connsiteX3" fmla="*/ 0 w 1620328"/>
              <a:gd name="connsiteY3" fmla="*/ 1107016 h 1115483"/>
              <a:gd name="connsiteX4" fmla="*/ 1008135 w 1620328"/>
              <a:gd name="connsiteY4" fmla="*/ 0 h 1115483"/>
              <a:gd name="connsiteX0" fmla="*/ 1008135 w 1620328"/>
              <a:gd name="connsiteY0" fmla="*/ 0 h 1107016"/>
              <a:gd name="connsiteX1" fmla="*/ 1620328 w 1620328"/>
              <a:gd name="connsiteY1" fmla="*/ 0 h 1107016"/>
              <a:gd name="connsiteX2" fmla="*/ 1036011 w 1620328"/>
              <a:gd name="connsiteY2" fmla="*/ 1107016 h 1107016"/>
              <a:gd name="connsiteX3" fmla="*/ 0 w 1620328"/>
              <a:gd name="connsiteY3" fmla="*/ 1107016 h 1107016"/>
              <a:gd name="connsiteX4" fmla="*/ 1008135 w 1620328"/>
              <a:gd name="connsiteY4" fmla="*/ 0 h 1107016"/>
              <a:gd name="connsiteX0" fmla="*/ 1008135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08135 w 1577606"/>
              <a:gd name="connsiteY4" fmla="*/ 4234 h 1111250"/>
              <a:gd name="connsiteX0" fmla="*/ 1057977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57977 w 1577606"/>
              <a:gd name="connsiteY4" fmla="*/ 4234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7606" h="1111250">
                <a:moveTo>
                  <a:pt x="1057977" y="4234"/>
                </a:moveTo>
                <a:lnTo>
                  <a:pt x="1577606" y="0"/>
                </a:lnTo>
                <a:lnTo>
                  <a:pt x="1036011" y="1111250"/>
                </a:lnTo>
                <a:lnTo>
                  <a:pt x="0" y="1111250"/>
                </a:lnTo>
                <a:lnTo>
                  <a:pt x="1057977" y="4234"/>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3" name="Freeform 68">
            <a:extLst>
              <a:ext uri="{FF2B5EF4-FFF2-40B4-BE49-F238E27FC236}">
                <a16:creationId xmlns:a16="http://schemas.microsoft.com/office/drawing/2014/main" id="{D4CCDB0F-8324-4A8A-B53E-63129BEFEA39}"/>
              </a:ext>
            </a:extLst>
          </p:cNvPr>
          <p:cNvSpPr/>
          <p:nvPr/>
        </p:nvSpPr>
        <p:spPr>
          <a:xfrm>
            <a:off x="4270504" y="4596335"/>
            <a:ext cx="1679165"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869288 w 1481481"/>
              <a:gd name="connsiteY0" fmla="*/ 0 h 1115483"/>
              <a:gd name="connsiteX1" fmla="*/ 1481481 w 1481481"/>
              <a:gd name="connsiteY1" fmla="*/ 0 h 1115483"/>
              <a:gd name="connsiteX2" fmla="*/ 1471064 w 1481481"/>
              <a:gd name="connsiteY2" fmla="*/ 1115483 h 1115483"/>
              <a:gd name="connsiteX3" fmla="*/ 0 w 1481481"/>
              <a:gd name="connsiteY3" fmla="*/ 1115483 h 1115483"/>
              <a:gd name="connsiteX4" fmla="*/ 869288 w 1481481"/>
              <a:gd name="connsiteY4" fmla="*/ 0 h 1115483"/>
              <a:gd name="connsiteX0" fmla="*/ 442067 w 1054260"/>
              <a:gd name="connsiteY0" fmla="*/ 0 h 1115483"/>
              <a:gd name="connsiteX1" fmla="*/ 1054260 w 1054260"/>
              <a:gd name="connsiteY1" fmla="*/ 0 h 1115483"/>
              <a:gd name="connsiteX2" fmla="*/ 1043843 w 1054260"/>
              <a:gd name="connsiteY2" fmla="*/ 1115483 h 1115483"/>
              <a:gd name="connsiteX3" fmla="*/ 0 w 1054260"/>
              <a:gd name="connsiteY3" fmla="*/ 1115483 h 1115483"/>
              <a:gd name="connsiteX4" fmla="*/ 442067 w 1054260"/>
              <a:gd name="connsiteY4" fmla="*/ 0 h 1115483"/>
              <a:gd name="connsiteX0" fmla="*/ 481229 w 1093422"/>
              <a:gd name="connsiteY0" fmla="*/ 0 h 1119717"/>
              <a:gd name="connsiteX1" fmla="*/ 1093422 w 1093422"/>
              <a:gd name="connsiteY1" fmla="*/ 0 h 1119717"/>
              <a:gd name="connsiteX2" fmla="*/ 1083005 w 1093422"/>
              <a:gd name="connsiteY2" fmla="*/ 1115483 h 1119717"/>
              <a:gd name="connsiteX3" fmla="*/ 0 w 1093422"/>
              <a:gd name="connsiteY3" fmla="*/ 1119717 h 1119717"/>
              <a:gd name="connsiteX4" fmla="*/ 481229 w 1093422"/>
              <a:gd name="connsiteY4" fmla="*/ 0 h 1119717"/>
              <a:gd name="connsiteX0" fmla="*/ 531072 w 1093422"/>
              <a:gd name="connsiteY0" fmla="*/ 8467 h 1119717"/>
              <a:gd name="connsiteX1" fmla="*/ 1093422 w 1093422"/>
              <a:gd name="connsiteY1" fmla="*/ 0 h 1119717"/>
              <a:gd name="connsiteX2" fmla="*/ 1083005 w 1093422"/>
              <a:gd name="connsiteY2" fmla="*/ 1115483 h 1119717"/>
              <a:gd name="connsiteX3" fmla="*/ 0 w 1093422"/>
              <a:gd name="connsiteY3" fmla="*/ 1119717 h 1119717"/>
              <a:gd name="connsiteX4" fmla="*/ 531072 w 1093422"/>
              <a:gd name="connsiteY4" fmla="*/ 8467 h 1119717"/>
              <a:gd name="connsiteX0" fmla="*/ 531072 w 1083157"/>
              <a:gd name="connsiteY0" fmla="*/ 0 h 1111250"/>
              <a:gd name="connsiteX1" fmla="*/ 1032900 w 1083157"/>
              <a:gd name="connsiteY1" fmla="*/ 0 h 1111250"/>
              <a:gd name="connsiteX2" fmla="*/ 1083005 w 1083157"/>
              <a:gd name="connsiteY2" fmla="*/ 1107016 h 1111250"/>
              <a:gd name="connsiteX3" fmla="*/ 0 w 1083157"/>
              <a:gd name="connsiteY3" fmla="*/ 1111250 h 1111250"/>
              <a:gd name="connsiteX4" fmla="*/ 531072 w 1083157"/>
              <a:gd name="connsiteY4" fmla="*/ 0 h 1111250"/>
              <a:gd name="connsiteX0" fmla="*/ 531072 w 1032900"/>
              <a:gd name="connsiteY0" fmla="*/ 0 h 1111250"/>
              <a:gd name="connsiteX1" fmla="*/ 1032900 w 1032900"/>
              <a:gd name="connsiteY1" fmla="*/ 0 h 1111250"/>
              <a:gd name="connsiteX2" fmla="*/ 1022482 w 1032900"/>
              <a:gd name="connsiteY2" fmla="*/ 1102783 h 1111250"/>
              <a:gd name="connsiteX3" fmla="*/ 0 w 1032900"/>
              <a:gd name="connsiteY3" fmla="*/ 1111250 h 1111250"/>
              <a:gd name="connsiteX4" fmla="*/ 531072 w 1032900"/>
              <a:gd name="connsiteY4" fmla="*/ 0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900" h="1111250">
                <a:moveTo>
                  <a:pt x="531072" y="0"/>
                </a:moveTo>
                <a:lnTo>
                  <a:pt x="1032900" y="0"/>
                </a:lnTo>
                <a:cubicBezTo>
                  <a:pt x="1029428" y="371828"/>
                  <a:pt x="1025954" y="730955"/>
                  <a:pt x="1022482" y="1102783"/>
                </a:cubicBezTo>
                <a:lnTo>
                  <a:pt x="0" y="1111250"/>
                </a:lnTo>
                <a:lnTo>
                  <a:pt x="531072"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4" name="Freeform 69">
            <a:extLst>
              <a:ext uri="{FF2B5EF4-FFF2-40B4-BE49-F238E27FC236}">
                <a16:creationId xmlns:a16="http://schemas.microsoft.com/office/drawing/2014/main" id="{825FE679-1722-4579-B5DC-42388B23C9B4}"/>
              </a:ext>
            </a:extLst>
          </p:cNvPr>
          <p:cNvSpPr/>
          <p:nvPr/>
        </p:nvSpPr>
        <p:spPr>
          <a:xfrm flipH="1">
            <a:off x="8177824" y="4589405"/>
            <a:ext cx="3381903" cy="912905"/>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5" name="Freeform 70">
            <a:extLst>
              <a:ext uri="{FF2B5EF4-FFF2-40B4-BE49-F238E27FC236}">
                <a16:creationId xmlns:a16="http://schemas.microsoft.com/office/drawing/2014/main" id="{820C1F3F-4C36-4E32-AA30-DA6415B192FB}"/>
              </a:ext>
            </a:extLst>
          </p:cNvPr>
          <p:cNvSpPr/>
          <p:nvPr/>
        </p:nvSpPr>
        <p:spPr>
          <a:xfrm flipH="1">
            <a:off x="7139792" y="4585939"/>
            <a:ext cx="2564681"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1008135 w 1620328"/>
              <a:gd name="connsiteY0" fmla="*/ 0 h 1115483"/>
              <a:gd name="connsiteX1" fmla="*/ 1620328 w 1620328"/>
              <a:gd name="connsiteY1" fmla="*/ 0 h 1115483"/>
              <a:gd name="connsiteX2" fmla="*/ 1178418 w 1620328"/>
              <a:gd name="connsiteY2" fmla="*/ 1115483 h 1115483"/>
              <a:gd name="connsiteX3" fmla="*/ 0 w 1620328"/>
              <a:gd name="connsiteY3" fmla="*/ 1107016 h 1115483"/>
              <a:gd name="connsiteX4" fmla="*/ 1008135 w 1620328"/>
              <a:gd name="connsiteY4" fmla="*/ 0 h 1115483"/>
              <a:gd name="connsiteX0" fmla="*/ 1008135 w 1620328"/>
              <a:gd name="connsiteY0" fmla="*/ 0 h 1107016"/>
              <a:gd name="connsiteX1" fmla="*/ 1620328 w 1620328"/>
              <a:gd name="connsiteY1" fmla="*/ 0 h 1107016"/>
              <a:gd name="connsiteX2" fmla="*/ 1036011 w 1620328"/>
              <a:gd name="connsiteY2" fmla="*/ 1107016 h 1107016"/>
              <a:gd name="connsiteX3" fmla="*/ 0 w 1620328"/>
              <a:gd name="connsiteY3" fmla="*/ 1107016 h 1107016"/>
              <a:gd name="connsiteX4" fmla="*/ 1008135 w 1620328"/>
              <a:gd name="connsiteY4" fmla="*/ 0 h 1107016"/>
              <a:gd name="connsiteX0" fmla="*/ 1008135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08135 w 1577606"/>
              <a:gd name="connsiteY4" fmla="*/ 4234 h 1111250"/>
              <a:gd name="connsiteX0" fmla="*/ 1057977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57977 w 1577606"/>
              <a:gd name="connsiteY4" fmla="*/ 4234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7606" h="1111250">
                <a:moveTo>
                  <a:pt x="1057977" y="4234"/>
                </a:moveTo>
                <a:lnTo>
                  <a:pt x="1577606" y="0"/>
                </a:lnTo>
                <a:lnTo>
                  <a:pt x="1036011" y="1111250"/>
                </a:lnTo>
                <a:lnTo>
                  <a:pt x="0" y="1111250"/>
                </a:lnTo>
                <a:lnTo>
                  <a:pt x="1057977" y="4234"/>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6" name="Freeform 71">
            <a:extLst>
              <a:ext uri="{FF2B5EF4-FFF2-40B4-BE49-F238E27FC236}">
                <a16:creationId xmlns:a16="http://schemas.microsoft.com/office/drawing/2014/main" id="{A563817C-D1D1-4453-93FF-3D17D5C87A07}"/>
              </a:ext>
            </a:extLst>
          </p:cNvPr>
          <p:cNvSpPr/>
          <p:nvPr/>
        </p:nvSpPr>
        <p:spPr>
          <a:xfrm flipH="1">
            <a:off x="6141130" y="4596335"/>
            <a:ext cx="1679165"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869288 w 1481481"/>
              <a:gd name="connsiteY0" fmla="*/ 0 h 1115483"/>
              <a:gd name="connsiteX1" fmla="*/ 1481481 w 1481481"/>
              <a:gd name="connsiteY1" fmla="*/ 0 h 1115483"/>
              <a:gd name="connsiteX2" fmla="*/ 1471064 w 1481481"/>
              <a:gd name="connsiteY2" fmla="*/ 1115483 h 1115483"/>
              <a:gd name="connsiteX3" fmla="*/ 0 w 1481481"/>
              <a:gd name="connsiteY3" fmla="*/ 1115483 h 1115483"/>
              <a:gd name="connsiteX4" fmla="*/ 869288 w 1481481"/>
              <a:gd name="connsiteY4" fmla="*/ 0 h 1115483"/>
              <a:gd name="connsiteX0" fmla="*/ 442067 w 1054260"/>
              <a:gd name="connsiteY0" fmla="*/ 0 h 1115483"/>
              <a:gd name="connsiteX1" fmla="*/ 1054260 w 1054260"/>
              <a:gd name="connsiteY1" fmla="*/ 0 h 1115483"/>
              <a:gd name="connsiteX2" fmla="*/ 1043843 w 1054260"/>
              <a:gd name="connsiteY2" fmla="*/ 1115483 h 1115483"/>
              <a:gd name="connsiteX3" fmla="*/ 0 w 1054260"/>
              <a:gd name="connsiteY3" fmla="*/ 1115483 h 1115483"/>
              <a:gd name="connsiteX4" fmla="*/ 442067 w 1054260"/>
              <a:gd name="connsiteY4" fmla="*/ 0 h 1115483"/>
              <a:gd name="connsiteX0" fmla="*/ 481229 w 1093422"/>
              <a:gd name="connsiteY0" fmla="*/ 0 h 1119717"/>
              <a:gd name="connsiteX1" fmla="*/ 1093422 w 1093422"/>
              <a:gd name="connsiteY1" fmla="*/ 0 h 1119717"/>
              <a:gd name="connsiteX2" fmla="*/ 1083005 w 1093422"/>
              <a:gd name="connsiteY2" fmla="*/ 1115483 h 1119717"/>
              <a:gd name="connsiteX3" fmla="*/ 0 w 1093422"/>
              <a:gd name="connsiteY3" fmla="*/ 1119717 h 1119717"/>
              <a:gd name="connsiteX4" fmla="*/ 481229 w 1093422"/>
              <a:gd name="connsiteY4" fmla="*/ 0 h 1119717"/>
              <a:gd name="connsiteX0" fmla="*/ 531072 w 1093422"/>
              <a:gd name="connsiteY0" fmla="*/ 8467 h 1119717"/>
              <a:gd name="connsiteX1" fmla="*/ 1093422 w 1093422"/>
              <a:gd name="connsiteY1" fmla="*/ 0 h 1119717"/>
              <a:gd name="connsiteX2" fmla="*/ 1083005 w 1093422"/>
              <a:gd name="connsiteY2" fmla="*/ 1115483 h 1119717"/>
              <a:gd name="connsiteX3" fmla="*/ 0 w 1093422"/>
              <a:gd name="connsiteY3" fmla="*/ 1119717 h 1119717"/>
              <a:gd name="connsiteX4" fmla="*/ 531072 w 1093422"/>
              <a:gd name="connsiteY4" fmla="*/ 8467 h 1119717"/>
              <a:gd name="connsiteX0" fmla="*/ 531072 w 1083157"/>
              <a:gd name="connsiteY0" fmla="*/ 0 h 1111250"/>
              <a:gd name="connsiteX1" fmla="*/ 1032900 w 1083157"/>
              <a:gd name="connsiteY1" fmla="*/ 0 h 1111250"/>
              <a:gd name="connsiteX2" fmla="*/ 1083005 w 1083157"/>
              <a:gd name="connsiteY2" fmla="*/ 1107016 h 1111250"/>
              <a:gd name="connsiteX3" fmla="*/ 0 w 1083157"/>
              <a:gd name="connsiteY3" fmla="*/ 1111250 h 1111250"/>
              <a:gd name="connsiteX4" fmla="*/ 531072 w 1083157"/>
              <a:gd name="connsiteY4" fmla="*/ 0 h 1111250"/>
              <a:gd name="connsiteX0" fmla="*/ 531072 w 1032900"/>
              <a:gd name="connsiteY0" fmla="*/ 0 h 1111250"/>
              <a:gd name="connsiteX1" fmla="*/ 1032900 w 1032900"/>
              <a:gd name="connsiteY1" fmla="*/ 0 h 1111250"/>
              <a:gd name="connsiteX2" fmla="*/ 1022482 w 1032900"/>
              <a:gd name="connsiteY2" fmla="*/ 1102783 h 1111250"/>
              <a:gd name="connsiteX3" fmla="*/ 0 w 1032900"/>
              <a:gd name="connsiteY3" fmla="*/ 1111250 h 1111250"/>
              <a:gd name="connsiteX4" fmla="*/ 531072 w 1032900"/>
              <a:gd name="connsiteY4" fmla="*/ 0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900" h="1111250">
                <a:moveTo>
                  <a:pt x="531072" y="0"/>
                </a:moveTo>
                <a:lnTo>
                  <a:pt x="1032900" y="0"/>
                </a:lnTo>
                <a:cubicBezTo>
                  <a:pt x="1029428" y="371828"/>
                  <a:pt x="1025954" y="730955"/>
                  <a:pt x="1022482" y="1102783"/>
                </a:cubicBezTo>
                <a:lnTo>
                  <a:pt x="0" y="1111250"/>
                </a:lnTo>
                <a:lnTo>
                  <a:pt x="531072"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grpSp>
        <p:nvGrpSpPr>
          <p:cNvPr id="123" name="Group 39">
            <a:extLst>
              <a:ext uri="{FF2B5EF4-FFF2-40B4-BE49-F238E27FC236}">
                <a16:creationId xmlns:a16="http://schemas.microsoft.com/office/drawing/2014/main" id="{85D2C5A2-E37D-4C6C-88FF-6088588DAB8E}"/>
              </a:ext>
            </a:extLst>
          </p:cNvPr>
          <p:cNvGrpSpPr>
            <a:grpSpLocks noChangeAspect="1"/>
          </p:cNvGrpSpPr>
          <p:nvPr/>
        </p:nvGrpSpPr>
        <p:grpSpPr bwMode="auto">
          <a:xfrm>
            <a:off x="4446979" y="2322388"/>
            <a:ext cx="367631" cy="367631"/>
            <a:chOff x="3987" y="1509"/>
            <a:chExt cx="340" cy="340"/>
          </a:xfrm>
          <a:solidFill>
            <a:schemeClr val="bg1"/>
          </a:solidFill>
        </p:grpSpPr>
        <p:sp>
          <p:nvSpPr>
            <p:cNvPr id="124" name="Freeform 40">
              <a:extLst>
                <a:ext uri="{FF2B5EF4-FFF2-40B4-BE49-F238E27FC236}">
                  <a16:creationId xmlns:a16="http://schemas.microsoft.com/office/drawing/2014/main" id="{77458990-34D0-43D1-A27C-E8995E36EE07}"/>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25" name="Freeform 41">
              <a:extLst>
                <a:ext uri="{FF2B5EF4-FFF2-40B4-BE49-F238E27FC236}">
                  <a16:creationId xmlns:a16="http://schemas.microsoft.com/office/drawing/2014/main" id="{AAEFDF59-2F48-4A79-B445-7BE8A6EB61C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26" name="Group 48">
            <a:extLst>
              <a:ext uri="{FF2B5EF4-FFF2-40B4-BE49-F238E27FC236}">
                <a16:creationId xmlns:a16="http://schemas.microsoft.com/office/drawing/2014/main" id="{3CCAAC89-DE21-4220-BF8E-0FEE942C0592}"/>
              </a:ext>
            </a:extLst>
          </p:cNvPr>
          <p:cNvGrpSpPr>
            <a:grpSpLocks noChangeAspect="1"/>
          </p:cNvGrpSpPr>
          <p:nvPr/>
        </p:nvGrpSpPr>
        <p:grpSpPr bwMode="auto">
          <a:xfrm>
            <a:off x="5912184" y="1826948"/>
            <a:ext cx="367631" cy="367631"/>
            <a:chOff x="4277" y="1990"/>
            <a:chExt cx="340" cy="340"/>
          </a:xfrm>
          <a:solidFill>
            <a:schemeClr val="bg1"/>
          </a:solidFill>
        </p:grpSpPr>
        <p:sp>
          <p:nvSpPr>
            <p:cNvPr id="127" name="Freeform 49">
              <a:extLst>
                <a:ext uri="{FF2B5EF4-FFF2-40B4-BE49-F238E27FC236}">
                  <a16:creationId xmlns:a16="http://schemas.microsoft.com/office/drawing/2014/main" id="{CEEC47EC-161A-4747-82FF-CE887D4BB658}"/>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28" name="Freeform 50">
              <a:extLst>
                <a:ext uri="{FF2B5EF4-FFF2-40B4-BE49-F238E27FC236}">
                  <a16:creationId xmlns:a16="http://schemas.microsoft.com/office/drawing/2014/main" id="{3DE2C2E1-1EF3-44B0-90EB-962CBD5F857E}"/>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29" name="Group 795">
            <a:extLst>
              <a:ext uri="{FF2B5EF4-FFF2-40B4-BE49-F238E27FC236}">
                <a16:creationId xmlns:a16="http://schemas.microsoft.com/office/drawing/2014/main" id="{86A57052-8BFA-4FA3-8432-3A37BC151D1E}"/>
              </a:ext>
            </a:extLst>
          </p:cNvPr>
          <p:cNvGrpSpPr>
            <a:grpSpLocks noChangeAspect="1"/>
          </p:cNvGrpSpPr>
          <p:nvPr/>
        </p:nvGrpSpPr>
        <p:grpSpPr bwMode="auto">
          <a:xfrm>
            <a:off x="7398628" y="2329687"/>
            <a:ext cx="369676" cy="369676"/>
            <a:chOff x="7361" y="3009"/>
            <a:chExt cx="340" cy="340"/>
          </a:xfrm>
          <a:solidFill>
            <a:schemeClr val="bg1"/>
          </a:solidFill>
        </p:grpSpPr>
        <p:sp>
          <p:nvSpPr>
            <p:cNvPr id="130" name="Freeform 796">
              <a:extLst>
                <a:ext uri="{FF2B5EF4-FFF2-40B4-BE49-F238E27FC236}">
                  <a16:creationId xmlns:a16="http://schemas.microsoft.com/office/drawing/2014/main" id="{5D1B7AE5-74D6-46FD-914E-24CF2DF5240F}"/>
                </a:ext>
              </a:extLst>
            </p:cNvPr>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1" name="Freeform 797">
              <a:extLst>
                <a:ext uri="{FF2B5EF4-FFF2-40B4-BE49-F238E27FC236}">
                  <a16:creationId xmlns:a16="http://schemas.microsoft.com/office/drawing/2014/main" id="{C4D4EFC6-27B1-46F1-9095-9BC6DDA614BA}"/>
                </a:ext>
              </a:extLst>
            </p:cNvPr>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2" name="Freeform 798">
              <a:extLst>
                <a:ext uri="{FF2B5EF4-FFF2-40B4-BE49-F238E27FC236}">
                  <a16:creationId xmlns:a16="http://schemas.microsoft.com/office/drawing/2014/main" id="{6928F199-CC1C-48F7-B075-65CAEFF16719}"/>
                </a:ext>
              </a:extLst>
            </p:cNvPr>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3" name="Freeform 799">
              <a:extLst>
                <a:ext uri="{FF2B5EF4-FFF2-40B4-BE49-F238E27FC236}">
                  <a16:creationId xmlns:a16="http://schemas.microsoft.com/office/drawing/2014/main" id="{BEF6871F-6E84-4AE7-91BD-B7805BEF4B6B}"/>
                </a:ext>
              </a:extLst>
            </p:cNvPr>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4" name="Freeform 800">
              <a:extLst>
                <a:ext uri="{FF2B5EF4-FFF2-40B4-BE49-F238E27FC236}">
                  <a16:creationId xmlns:a16="http://schemas.microsoft.com/office/drawing/2014/main" id="{D0B9487E-4AE4-42AC-BD4E-862C8D92599A}"/>
                </a:ext>
              </a:extLst>
            </p:cNvPr>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5" name="Freeform 801">
              <a:extLst>
                <a:ext uri="{FF2B5EF4-FFF2-40B4-BE49-F238E27FC236}">
                  <a16:creationId xmlns:a16="http://schemas.microsoft.com/office/drawing/2014/main" id="{7BF91674-52C7-476A-8288-0C41299B8A0D}"/>
                </a:ext>
              </a:extLst>
            </p:cNvPr>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6" name="Freeform 802">
              <a:extLst>
                <a:ext uri="{FF2B5EF4-FFF2-40B4-BE49-F238E27FC236}">
                  <a16:creationId xmlns:a16="http://schemas.microsoft.com/office/drawing/2014/main" id="{25B672D1-F94C-49A2-95CF-3432859D11FC}"/>
                </a:ext>
              </a:extLst>
            </p:cNvPr>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140" name="Freeform 529">
            <a:extLst>
              <a:ext uri="{FF2B5EF4-FFF2-40B4-BE49-F238E27FC236}">
                <a16:creationId xmlns:a16="http://schemas.microsoft.com/office/drawing/2014/main" id="{78648C60-845A-4D0D-BED7-CB414655308D}"/>
              </a:ext>
            </a:extLst>
          </p:cNvPr>
          <p:cNvSpPr>
            <a:spLocks noChangeAspect="1" noEditPoints="1"/>
          </p:cNvSpPr>
          <p:nvPr/>
        </p:nvSpPr>
        <p:spPr bwMode="auto">
          <a:xfrm>
            <a:off x="1232296" y="4844644"/>
            <a:ext cx="627207" cy="625369"/>
          </a:xfrm>
          <a:custGeom>
            <a:avLst/>
            <a:gdLst>
              <a:gd name="T0" fmla="*/ 285 w 512"/>
              <a:gd name="T1" fmla="*/ 352 h 512"/>
              <a:gd name="T2" fmla="*/ 232 w 512"/>
              <a:gd name="T3" fmla="*/ 384 h 512"/>
              <a:gd name="T4" fmla="*/ 512 w 512"/>
              <a:gd name="T5" fmla="*/ 256 h 512"/>
              <a:gd name="T6" fmla="*/ 0 w 512"/>
              <a:gd name="T7" fmla="*/ 256 h 512"/>
              <a:gd name="T8" fmla="*/ 512 w 512"/>
              <a:gd name="T9" fmla="*/ 256 h 512"/>
              <a:gd name="T10" fmla="*/ 170 w 512"/>
              <a:gd name="T11" fmla="*/ 149 h 512"/>
              <a:gd name="T12" fmla="*/ 258 w 512"/>
              <a:gd name="T13" fmla="*/ 127 h 512"/>
              <a:gd name="T14" fmla="*/ 253 w 512"/>
              <a:gd name="T15" fmla="*/ 107 h 512"/>
              <a:gd name="T16" fmla="*/ 160 w 512"/>
              <a:gd name="T17" fmla="*/ 141 h 512"/>
              <a:gd name="T18" fmla="*/ 338 w 512"/>
              <a:gd name="T19" fmla="*/ 256 h 512"/>
              <a:gd name="T20" fmla="*/ 266 w 512"/>
              <a:gd name="T21" fmla="*/ 282 h 512"/>
              <a:gd name="T22" fmla="*/ 245 w 512"/>
              <a:gd name="T23" fmla="*/ 330 h 512"/>
              <a:gd name="T24" fmla="*/ 234 w 512"/>
              <a:gd name="T25" fmla="*/ 288 h 512"/>
              <a:gd name="T26" fmla="*/ 224 w 512"/>
              <a:gd name="T27" fmla="*/ 330 h 512"/>
              <a:gd name="T28" fmla="*/ 205 w 512"/>
              <a:gd name="T29" fmla="*/ 334 h 512"/>
              <a:gd name="T30" fmla="*/ 213 w 512"/>
              <a:gd name="T31" fmla="*/ 396 h 512"/>
              <a:gd name="T32" fmla="*/ 288 w 512"/>
              <a:gd name="T33" fmla="*/ 405 h 512"/>
              <a:gd name="T34" fmla="*/ 309 w 512"/>
              <a:gd name="T35" fmla="*/ 343 h 512"/>
              <a:gd name="T36" fmla="*/ 298 w 512"/>
              <a:gd name="T37" fmla="*/ 330 h 512"/>
              <a:gd name="T38" fmla="*/ 288 w 512"/>
              <a:gd name="T39" fmla="*/ 291 h 512"/>
              <a:gd name="T40" fmla="*/ 351 w 512"/>
              <a:gd name="T41" fmla="*/ 264 h 512"/>
              <a:gd name="T42" fmla="*/ 338 w 512"/>
              <a:gd name="T43" fmla="*/ 213 h 512"/>
              <a:gd name="T44" fmla="*/ 160 w 512"/>
              <a:gd name="T45" fmla="*/ 269 h 512"/>
              <a:gd name="T46" fmla="*/ 173 w 512"/>
              <a:gd name="T47" fmla="*/ 277 h 512"/>
              <a:gd name="T48" fmla="*/ 351 w 512"/>
              <a:gd name="T49" fmla="*/ 221 h 512"/>
              <a:gd name="T50" fmla="*/ 338 w 512"/>
              <a:gd name="T51" fmla="*/ 171 h 512"/>
              <a:gd name="T52" fmla="*/ 160 w 512"/>
              <a:gd name="T53" fmla="*/ 226 h 512"/>
              <a:gd name="T54" fmla="*/ 173 w 512"/>
              <a:gd name="T55" fmla="*/ 234 h 512"/>
              <a:gd name="T56" fmla="*/ 351 w 512"/>
              <a:gd name="T57" fmla="*/ 178 h 512"/>
              <a:gd name="T58" fmla="*/ 338 w 512"/>
              <a:gd name="T59" fmla="*/ 128 h 512"/>
              <a:gd name="T60" fmla="*/ 160 w 512"/>
              <a:gd name="T61" fmla="*/ 184 h 512"/>
              <a:gd name="T62" fmla="*/ 173 w 512"/>
              <a:gd name="T63" fmla="*/ 191 h 512"/>
              <a:gd name="T64" fmla="*/ 351 w 512"/>
              <a:gd name="T65" fmla="*/ 1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26" y="352"/>
                </a:moveTo>
                <a:cubicBezTo>
                  <a:pt x="285" y="352"/>
                  <a:pt x="285" y="352"/>
                  <a:pt x="285" y="352"/>
                </a:cubicBezTo>
                <a:cubicBezTo>
                  <a:pt x="279" y="384"/>
                  <a:pt x="279" y="384"/>
                  <a:pt x="279" y="384"/>
                </a:cubicBezTo>
                <a:cubicBezTo>
                  <a:pt x="232" y="384"/>
                  <a:pt x="232" y="384"/>
                  <a:pt x="232" y="384"/>
                </a:cubicBezTo>
                <a:lnTo>
                  <a:pt x="226"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141"/>
                </a:moveTo>
                <a:cubicBezTo>
                  <a:pt x="161" y="146"/>
                  <a:pt x="166" y="149"/>
                  <a:pt x="170" y="149"/>
                </a:cubicBezTo>
                <a:cubicBezTo>
                  <a:pt x="171" y="149"/>
                  <a:pt x="172" y="149"/>
                  <a:pt x="173" y="149"/>
                </a:cubicBezTo>
                <a:cubicBezTo>
                  <a:pt x="258" y="127"/>
                  <a:pt x="258" y="127"/>
                  <a:pt x="258" y="127"/>
                </a:cubicBezTo>
                <a:cubicBezTo>
                  <a:pt x="264" y="126"/>
                  <a:pt x="267" y="120"/>
                  <a:pt x="266" y="114"/>
                </a:cubicBezTo>
                <a:cubicBezTo>
                  <a:pt x="265" y="109"/>
                  <a:pt x="259" y="105"/>
                  <a:pt x="253" y="107"/>
                </a:cubicBezTo>
                <a:cubicBezTo>
                  <a:pt x="168" y="128"/>
                  <a:pt x="168" y="128"/>
                  <a:pt x="168" y="128"/>
                </a:cubicBezTo>
                <a:cubicBezTo>
                  <a:pt x="162" y="129"/>
                  <a:pt x="159" y="135"/>
                  <a:pt x="160" y="141"/>
                </a:cubicBezTo>
                <a:close/>
                <a:moveTo>
                  <a:pt x="351" y="264"/>
                </a:moveTo>
                <a:cubicBezTo>
                  <a:pt x="350" y="258"/>
                  <a:pt x="344" y="255"/>
                  <a:pt x="338" y="256"/>
                </a:cubicBezTo>
                <a:cubicBezTo>
                  <a:pt x="274" y="272"/>
                  <a:pt x="274" y="272"/>
                  <a:pt x="274" y="272"/>
                </a:cubicBezTo>
                <a:cubicBezTo>
                  <a:pt x="270" y="273"/>
                  <a:pt x="266" y="277"/>
                  <a:pt x="266" y="282"/>
                </a:cubicBezTo>
                <a:cubicBezTo>
                  <a:pt x="266" y="330"/>
                  <a:pt x="266" y="330"/>
                  <a:pt x="266" y="330"/>
                </a:cubicBezTo>
                <a:cubicBezTo>
                  <a:pt x="245" y="330"/>
                  <a:pt x="245" y="330"/>
                  <a:pt x="245" y="330"/>
                </a:cubicBezTo>
                <a:cubicBezTo>
                  <a:pt x="245" y="298"/>
                  <a:pt x="245" y="298"/>
                  <a:pt x="245" y="298"/>
                </a:cubicBezTo>
                <a:cubicBezTo>
                  <a:pt x="245" y="292"/>
                  <a:pt x="240" y="288"/>
                  <a:pt x="234" y="288"/>
                </a:cubicBezTo>
                <a:cubicBezTo>
                  <a:pt x="228" y="288"/>
                  <a:pt x="224" y="292"/>
                  <a:pt x="224" y="298"/>
                </a:cubicBezTo>
                <a:cubicBezTo>
                  <a:pt x="224" y="330"/>
                  <a:pt x="224" y="330"/>
                  <a:pt x="224" y="330"/>
                </a:cubicBezTo>
                <a:cubicBezTo>
                  <a:pt x="213" y="330"/>
                  <a:pt x="213" y="330"/>
                  <a:pt x="213" y="330"/>
                </a:cubicBezTo>
                <a:cubicBezTo>
                  <a:pt x="210" y="330"/>
                  <a:pt x="207" y="332"/>
                  <a:pt x="205" y="334"/>
                </a:cubicBezTo>
                <a:cubicBezTo>
                  <a:pt x="203" y="337"/>
                  <a:pt x="202" y="340"/>
                  <a:pt x="203" y="343"/>
                </a:cubicBezTo>
                <a:cubicBezTo>
                  <a:pt x="213" y="396"/>
                  <a:pt x="213" y="396"/>
                  <a:pt x="213" y="396"/>
                </a:cubicBezTo>
                <a:cubicBezTo>
                  <a:pt x="214" y="401"/>
                  <a:pt x="219" y="405"/>
                  <a:pt x="224" y="405"/>
                </a:cubicBezTo>
                <a:cubicBezTo>
                  <a:pt x="288" y="405"/>
                  <a:pt x="288" y="405"/>
                  <a:pt x="288" y="405"/>
                </a:cubicBezTo>
                <a:cubicBezTo>
                  <a:pt x="293" y="405"/>
                  <a:pt x="297" y="401"/>
                  <a:pt x="298" y="396"/>
                </a:cubicBezTo>
                <a:cubicBezTo>
                  <a:pt x="309" y="343"/>
                  <a:pt x="309" y="343"/>
                  <a:pt x="309" y="343"/>
                </a:cubicBezTo>
                <a:cubicBezTo>
                  <a:pt x="309" y="340"/>
                  <a:pt x="309" y="337"/>
                  <a:pt x="307" y="334"/>
                </a:cubicBezTo>
                <a:cubicBezTo>
                  <a:pt x="305" y="332"/>
                  <a:pt x="302" y="330"/>
                  <a:pt x="298" y="330"/>
                </a:cubicBezTo>
                <a:cubicBezTo>
                  <a:pt x="288" y="330"/>
                  <a:pt x="288" y="330"/>
                  <a:pt x="288" y="330"/>
                </a:cubicBezTo>
                <a:cubicBezTo>
                  <a:pt x="288" y="291"/>
                  <a:pt x="288" y="291"/>
                  <a:pt x="288" y="291"/>
                </a:cubicBezTo>
                <a:cubicBezTo>
                  <a:pt x="344" y="277"/>
                  <a:pt x="344" y="277"/>
                  <a:pt x="344" y="277"/>
                </a:cubicBezTo>
                <a:cubicBezTo>
                  <a:pt x="349" y="275"/>
                  <a:pt x="353" y="269"/>
                  <a:pt x="351" y="264"/>
                </a:cubicBezTo>
                <a:close/>
                <a:moveTo>
                  <a:pt x="351" y="221"/>
                </a:moveTo>
                <a:cubicBezTo>
                  <a:pt x="350" y="215"/>
                  <a:pt x="344" y="212"/>
                  <a:pt x="338" y="213"/>
                </a:cubicBezTo>
                <a:cubicBezTo>
                  <a:pt x="168" y="256"/>
                  <a:pt x="168" y="256"/>
                  <a:pt x="168" y="256"/>
                </a:cubicBezTo>
                <a:cubicBezTo>
                  <a:pt x="162" y="257"/>
                  <a:pt x="159" y="263"/>
                  <a:pt x="160" y="269"/>
                </a:cubicBezTo>
                <a:cubicBezTo>
                  <a:pt x="161" y="274"/>
                  <a:pt x="166" y="277"/>
                  <a:pt x="170" y="277"/>
                </a:cubicBezTo>
                <a:cubicBezTo>
                  <a:pt x="171" y="277"/>
                  <a:pt x="172" y="277"/>
                  <a:pt x="173" y="277"/>
                </a:cubicBezTo>
                <a:cubicBezTo>
                  <a:pt x="344" y="234"/>
                  <a:pt x="344" y="234"/>
                  <a:pt x="344" y="234"/>
                </a:cubicBezTo>
                <a:cubicBezTo>
                  <a:pt x="349" y="233"/>
                  <a:pt x="353" y="227"/>
                  <a:pt x="351" y="221"/>
                </a:cubicBezTo>
                <a:close/>
                <a:moveTo>
                  <a:pt x="351" y="178"/>
                </a:moveTo>
                <a:cubicBezTo>
                  <a:pt x="350" y="173"/>
                  <a:pt x="344" y="169"/>
                  <a:pt x="338" y="171"/>
                </a:cubicBezTo>
                <a:cubicBezTo>
                  <a:pt x="168" y="213"/>
                  <a:pt x="168" y="213"/>
                  <a:pt x="168" y="213"/>
                </a:cubicBezTo>
                <a:cubicBezTo>
                  <a:pt x="162" y="215"/>
                  <a:pt x="159" y="221"/>
                  <a:pt x="160" y="226"/>
                </a:cubicBezTo>
                <a:cubicBezTo>
                  <a:pt x="161" y="231"/>
                  <a:pt x="166" y="234"/>
                  <a:pt x="170" y="234"/>
                </a:cubicBezTo>
                <a:cubicBezTo>
                  <a:pt x="171" y="234"/>
                  <a:pt x="172" y="234"/>
                  <a:pt x="173" y="234"/>
                </a:cubicBezTo>
                <a:cubicBezTo>
                  <a:pt x="344" y="191"/>
                  <a:pt x="344" y="191"/>
                  <a:pt x="344" y="191"/>
                </a:cubicBezTo>
                <a:cubicBezTo>
                  <a:pt x="349" y="190"/>
                  <a:pt x="353" y="184"/>
                  <a:pt x="351" y="178"/>
                </a:cubicBezTo>
                <a:close/>
                <a:moveTo>
                  <a:pt x="351" y="136"/>
                </a:moveTo>
                <a:cubicBezTo>
                  <a:pt x="350" y="130"/>
                  <a:pt x="344" y="127"/>
                  <a:pt x="338" y="128"/>
                </a:cubicBezTo>
                <a:cubicBezTo>
                  <a:pt x="168" y="171"/>
                  <a:pt x="168" y="171"/>
                  <a:pt x="168" y="171"/>
                </a:cubicBezTo>
                <a:cubicBezTo>
                  <a:pt x="162" y="172"/>
                  <a:pt x="159" y="178"/>
                  <a:pt x="160" y="184"/>
                </a:cubicBezTo>
                <a:cubicBezTo>
                  <a:pt x="161" y="188"/>
                  <a:pt x="166" y="192"/>
                  <a:pt x="170" y="192"/>
                </a:cubicBezTo>
                <a:cubicBezTo>
                  <a:pt x="171" y="192"/>
                  <a:pt x="172" y="192"/>
                  <a:pt x="173" y="191"/>
                </a:cubicBezTo>
                <a:cubicBezTo>
                  <a:pt x="344" y="149"/>
                  <a:pt x="344" y="149"/>
                  <a:pt x="344" y="149"/>
                </a:cubicBezTo>
                <a:cubicBezTo>
                  <a:pt x="349" y="147"/>
                  <a:pt x="353" y="141"/>
                  <a:pt x="351" y="1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1" name="Freeform 59">
            <a:extLst>
              <a:ext uri="{FF2B5EF4-FFF2-40B4-BE49-F238E27FC236}">
                <a16:creationId xmlns:a16="http://schemas.microsoft.com/office/drawing/2014/main" id="{D6EB73A3-221B-4669-9425-61CCA3672540}"/>
              </a:ext>
            </a:extLst>
          </p:cNvPr>
          <p:cNvSpPr>
            <a:spLocks noChangeAspect="1" noEditPoints="1"/>
          </p:cNvSpPr>
          <p:nvPr/>
        </p:nvSpPr>
        <p:spPr bwMode="auto">
          <a:xfrm>
            <a:off x="3026309" y="4843724"/>
            <a:ext cx="625370" cy="627208"/>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2" name="Freeform 584">
            <a:extLst>
              <a:ext uri="{FF2B5EF4-FFF2-40B4-BE49-F238E27FC236}">
                <a16:creationId xmlns:a16="http://schemas.microsoft.com/office/drawing/2014/main" id="{92BF5C4E-E1B7-4AFB-9F16-61195339DFAE}"/>
              </a:ext>
            </a:extLst>
          </p:cNvPr>
          <p:cNvSpPr>
            <a:spLocks noChangeAspect="1" noEditPoints="1"/>
          </p:cNvSpPr>
          <p:nvPr/>
        </p:nvSpPr>
        <p:spPr bwMode="auto">
          <a:xfrm>
            <a:off x="4808740" y="4844644"/>
            <a:ext cx="625369" cy="62536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3" name="Freeform 876">
            <a:extLst>
              <a:ext uri="{FF2B5EF4-FFF2-40B4-BE49-F238E27FC236}">
                <a16:creationId xmlns:a16="http://schemas.microsoft.com/office/drawing/2014/main" id="{5E537180-F025-4FFD-878B-AA4594D239C1}"/>
              </a:ext>
            </a:extLst>
          </p:cNvPr>
          <p:cNvSpPr>
            <a:spLocks noChangeAspect="1" noEditPoints="1"/>
          </p:cNvSpPr>
          <p:nvPr/>
        </p:nvSpPr>
        <p:spPr bwMode="auto">
          <a:xfrm>
            <a:off x="6700883" y="4844141"/>
            <a:ext cx="626375" cy="626375"/>
          </a:xfrm>
          <a:custGeom>
            <a:avLst/>
            <a:gdLst>
              <a:gd name="T0" fmla="*/ 245 w 512"/>
              <a:gd name="T1" fmla="*/ 394 h 512"/>
              <a:gd name="T2" fmla="*/ 171 w 512"/>
              <a:gd name="T3" fmla="*/ 330 h 512"/>
              <a:gd name="T4" fmla="*/ 280 w 512"/>
              <a:gd name="T5" fmla="*/ 257 h 512"/>
              <a:gd name="T6" fmla="*/ 301 w 512"/>
              <a:gd name="T7" fmla="*/ 242 h 512"/>
              <a:gd name="T8" fmla="*/ 275 w 512"/>
              <a:gd name="T9" fmla="*/ 246 h 512"/>
              <a:gd name="T10" fmla="*/ 214 w 512"/>
              <a:gd name="T11" fmla="*/ 176 h 512"/>
              <a:gd name="T12" fmla="*/ 183 w 512"/>
              <a:gd name="T13" fmla="*/ 170 h 512"/>
              <a:gd name="T14" fmla="*/ 178 w 512"/>
              <a:gd name="T15" fmla="*/ 185 h 512"/>
              <a:gd name="T16" fmla="*/ 207 w 512"/>
              <a:gd name="T17" fmla="*/ 197 h 512"/>
              <a:gd name="T18" fmla="*/ 316 w 512"/>
              <a:gd name="T19" fmla="*/ 195 h 512"/>
              <a:gd name="T20" fmla="*/ 336 w 512"/>
              <a:gd name="T21" fmla="*/ 175 h 512"/>
              <a:gd name="T22" fmla="*/ 308 w 512"/>
              <a:gd name="T23" fmla="*/ 170 h 512"/>
              <a:gd name="T24" fmla="*/ 304 w 512"/>
              <a:gd name="T25" fmla="*/ 197 h 512"/>
              <a:gd name="T26" fmla="*/ 248 w 512"/>
              <a:gd name="T27" fmla="*/ 153 h 512"/>
              <a:gd name="T28" fmla="*/ 269 w 512"/>
              <a:gd name="T29" fmla="*/ 142 h 512"/>
              <a:gd name="T30" fmla="*/ 243 w 512"/>
              <a:gd name="T31" fmla="*/ 142 h 512"/>
              <a:gd name="T32" fmla="*/ 248 w 512"/>
              <a:gd name="T33" fmla="*/ 153 h 512"/>
              <a:gd name="T34" fmla="*/ 256 w 512"/>
              <a:gd name="T35" fmla="*/ 512 h 512"/>
              <a:gd name="T36" fmla="*/ 256 w 512"/>
              <a:gd name="T37" fmla="*/ 0 h 512"/>
              <a:gd name="T38" fmla="*/ 362 w 512"/>
              <a:gd name="T39" fmla="*/ 320 h 512"/>
              <a:gd name="T40" fmla="*/ 273 w 512"/>
              <a:gd name="T41" fmla="*/ 334 h 512"/>
              <a:gd name="T42" fmla="*/ 266 w 512"/>
              <a:gd name="T43" fmla="*/ 274 h 512"/>
              <a:gd name="T44" fmla="*/ 318 w 512"/>
              <a:gd name="T45" fmla="*/ 287 h 512"/>
              <a:gd name="T46" fmla="*/ 308 w 512"/>
              <a:gd name="T47" fmla="*/ 218 h 512"/>
              <a:gd name="T48" fmla="*/ 350 w 512"/>
              <a:gd name="T49" fmla="*/ 197 h 512"/>
              <a:gd name="T50" fmla="*/ 334 w 512"/>
              <a:gd name="T51" fmla="*/ 149 h 512"/>
              <a:gd name="T52" fmla="*/ 289 w 512"/>
              <a:gd name="T53" fmla="*/ 156 h 512"/>
              <a:gd name="T54" fmla="*/ 256 w 512"/>
              <a:gd name="T55" fmla="*/ 96 h 512"/>
              <a:gd name="T56" fmla="*/ 223 w 512"/>
              <a:gd name="T57" fmla="*/ 156 h 512"/>
              <a:gd name="T58" fmla="*/ 177 w 512"/>
              <a:gd name="T59" fmla="*/ 149 h 512"/>
              <a:gd name="T60" fmla="*/ 162 w 512"/>
              <a:gd name="T61" fmla="*/ 198 h 512"/>
              <a:gd name="T62" fmla="*/ 203 w 512"/>
              <a:gd name="T63" fmla="*/ 219 h 512"/>
              <a:gd name="T64" fmla="*/ 182 w 512"/>
              <a:gd name="T65" fmla="*/ 260 h 512"/>
              <a:gd name="T66" fmla="*/ 210 w 512"/>
              <a:gd name="T67" fmla="*/ 292 h 512"/>
              <a:gd name="T68" fmla="*/ 245 w 512"/>
              <a:gd name="T69" fmla="*/ 274 h 512"/>
              <a:gd name="T70" fmla="*/ 238 w 512"/>
              <a:gd name="T71" fmla="*/ 333 h 512"/>
              <a:gd name="T72" fmla="*/ 149 w 512"/>
              <a:gd name="T73" fmla="*/ 320 h 512"/>
              <a:gd name="T74" fmla="*/ 250 w 512"/>
              <a:gd name="T75" fmla="*/ 416 h 512"/>
              <a:gd name="T76" fmla="*/ 334 w 512"/>
              <a:gd name="T77" fmla="*/ 392 h 512"/>
              <a:gd name="T78" fmla="*/ 267 w 512"/>
              <a:gd name="T79" fmla="*/ 394 h 512"/>
              <a:gd name="T80" fmla="*/ 341 w 512"/>
              <a:gd name="T81" fmla="*/ 330 h 512"/>
              <a:gd name="T82" fmla="*/ 267 w 512"/>
              <a:gd name="T83" fmla="*/ 394 h 512"/>
              <a:gd name="T84" fmla="*/ 210 w 512"/>
              <a:gd name="T85" fmla="*/ 242 h 512"/>
              <a:gd name="T86" fmla="*/ 206 w 512"/>
              <a:gd name="T87" fmla="*/ 270 h 512"/>
              <a:gd name="T88" fmla="*/ 231 w 512"/>
              <a:gd name="T89" fmla="*/ 257 h 512"/>
              <a:gd name="T90" fmla="*/ 227 w 512"/>
              <a:gd name="T91" fmla="*/ 241 h 512"/>
              <a:gd name="T92" fmla="*/ 278 w 512"/>
              <a:gd name="T93" fmla="*/ 217 h 512"/>
              <a:gd name="T94" fmla="*/ 256 w 512"/>
              <a:gd name="T95" fmla="*/ 174 h 512"/>
              <a:gd name="T96" fmla="*/ 233 w 512"/>
              <a:gd name="T97" fmla="*/ 185 h 512"/>
              <a:gd name="T98" fmla="*/ 240 w 512"/>
              <a:gd name="T99" fmla="*/ 224 h 512"/>
              <a:gd name="T100" fmla="*/ 278 w 512"/>
              <a:gd name="T101" fmla="*/ 2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24" y="349"/>
                </a:moveTo>
                <a:cubicBezTo>
                  <a:pt x="236" y="359"/>
                  <a:pt x="243" y="375"/>
                  <a:pt x="245" y="394"/>
                </a:cubicBezTo>
                <a:cubicBezTo>
                  <a:pt x="231" y="394"/>
                  <a:pt x="208" y="390"/>
                  <a:pt x="191" y="375"/>
                </a:cubicBezTo>
                <a:cubicBezTo>
                  <a:pt x="179" y="364"/>
                  <a:pt x="173" y="349"/>
                  <a:pt x="171" y="330"/>
                </a:cubicBezTo>
                <a:cubicBezTo>
                  <a:pt x="184" y="330"/>
                  <a:pt x="207" y="334"/>
                  <a:pt x="224" y="349"/>
                </a:cubicBezTo>
                <a:close/>
                <a:moveTo>
                  <a:pt x="280" y="257"/>
                </a:moveTo>
                <a:cubicBezTo>
                  <a:pt x="289" y="268"/>
                  <a:pt x="301" y="273"/>
                  <a:pt x="306" y="270"/>
                </a:cubicBezTo>
                <a:cubicBezTo>
                  <a:pt x="310" y="266"/>
                  <a:pt x="310" y="253"/>
                  <a:pt x="301" y="242"/>
                </a:cubicBezTo>
                <a:cubicBezTo>
                  <a:pt x="299" y="238"/>
                  <a:pt x="296" y="235"/>
                  <a:pt x="292" y="233"/>
                </a:cubicBezTo>
                <a:cubicBezTo>
                  <a:pt x="288" y="239"/>
                  <a:pt x="282" y="243"/>
                  <a:pt x="275" y="246"/>
                </a:cubicBezTo>
                <a:cubicBezTo>
                  <a:pt x="276" y="250"/>
                  <a:pt x="278" y="254"/>
                  <a:pt x="280" y="257"/>
                </a:cubicBezTo>
                <a:close/>
                <a:moveTo>
                  <a:pt x="214" y="176"/>
                </a:moveTo>
                <a:cubicBezTo>
                  <a:pt x="211" y="174"/>
                  <a:pt x="207" y="172"/>
                  <a:pt x="203" y="171"/>
                </a:cubicBezTo>
                <a:cubicBezTo>
                  <a:pt x="196" y="168"/>
                  <a:pt x="189" y="168"/>
                  <a:pt x="183" y="170"/>
                </a:cubicBezTo>
                <a:cubicBezTo>
                  <a:pt x="181" y="170"/>
                  <a:pt x="176" y="172"/>
                  <a:pt x="175" y="175"/>
                </a:cubicBezTo>
                <a:cubicBezTo>
                  <a:pt x="174" y="179"/>
                  <a:pt x="177" y="183"/>
                  <a:pt x="178" y="185"/>
                </a:cubicBezTo>
                <a:cubicBezTo>
                  <a:pt x="182" y="189"/>
                  <a:pt x="188" y="193"/>
                  <a:pt x="195" y="196"/>
                </a:cubicBezTo>
                <a:cubicBezTo>
                  <a:pt x="199" y="197"/>
                  <a:pt x="203" y="197"/>
                  <a:pt x="207" y="197"/>
                </a:cubicBezTo>
                <a:cubicBezTo>
                  <a:pt x="208" y="190"/>
                  <a:pt x="210" y="183"/>
                  <a:pt x="214" y="176"/>
                </a:cubicBezTo>
                <a:close/>
                <a:moveTo>
                  <a:pt x="316" y="195"/>
                </a:moveTo>
                <a:cubicBezTo>
                  <a:pt x="323" y="193"/>
                  <a:pt x="329" y="189"/>
                  <a:pt x="333" y="184"/>
                </a:cubicBezTo>
                <a:cubicBezTo>
                  <a:pt x="334" y="183"/>
                  <a:pt x="337" y="178"/>
                  <a:pt x="336" y="175"/>
                </a:cubicBezTo>
                <a:cubicBezTo>
                  <a:pt x="335" y="171"/>
                  <a:pt x="330" y="170"/>
                  <a:pt x="328" y="169"/>
                </a:cubicBezTo>
                <a:cubicBezTo>
                  <a:pt x="322" y="168"/>
                  <a:pt x="315" y="168"/>
                  <a:pt x="308" y="170"/>
                </a:cubicBezTo>
                <a:cubicBezTo>
                  <a:pt x="304" y="172"/>
                  <a:pt x="300" y="174"/>
                  <a:pt x="297" y="176"/>
                </a:cubicBezTo>
                <a:cubicBezTo>
                  <a:pt x="301" y="182"/>
                  <a:pt x="303" y="190"/>
                  <a:pt x="304" y="197"/>
                </a:cubicBezTo>
                <a:cubicBezTo>
                  <a:pt x="308" y="197"/>
                  <a:pt x="312" y="197"/>
                  <a:pt x="316" y="195"/>
                </a:cubicBezTo>
                <a:close/>
                <a:moveTo>
                  <a:pt x="248" y="153"/>
                </a:moveTo>
                <a:cubicBezTo>
                  <a:pt x="254" y="152"/>
                  <a:pt x="261" y="153"/>
                  <a:pt x="267" y="154"/>
                </a:cubicBezTo>
                <a:cubicBezTo>
                  <a:pt x="268" y="150"/>
                  <a:pt x="269" y="146"/>
                  <a:pt x="269" y="142"/>
                </a:cubicBezTo>
                <a:cubicBezTo>
                  <a:pt x="269" y="128"/>
                  <a:pt x="262" y="117"/>
                  <a:pt x="256" y="117"/>
                </a:cubicBezTo>
                <a:cubicBezTo>
                  <a:pt x="250" y="117"/>
                  <a:pt x="243" y="128"/>
                  <a:pt x="243" y="142"/>
                </a:cubicBezTo>
                <a:cubicBezTo>
                  <a:pt x="243" y="146"/>
                  <a:pt x="243" y="150"/>
                  <a:pt x="245" y="154"/>
                </a:cubicBezTo>
                <a:cubicBezTo>
                  <a:pt x="246" y="154"/>
                  <a:pt x="247" y="154"/>
                  <a:pt x="248" y="15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320"/>
                </a:moveTo>
                <a:cubicBezTo>
                  <a:pt x="362" y="314"/>
                  <a:pt x="358" y="309"/>
                  <a:pt x="353" y="309"/>
                </a:cubicBezTo>
                <a:cubicBezTo>
                  <a:pt x="351" y="309"/>
                  <a:pt x="304" y="305"/>
                  <a:pt x="273" y="334"/>
                </a:cubicBezTo>
                <a:cubicBezTo>
                  <a:pt x="270" y="336"/>
                  <a:pt x="268" y="338"/>
                  <a:pt x="266" y="340"/>
                </a:cubicBezTo>
                <a:cubicBezTo>
                  <a:pt x="266" y="274"/>
                  <a:pt x="266" y="274"/>
                  <a:pt x="266" y="274"/>
                </a:cubicBezTo>
                <a:cubicBezTo>
                  <a:pt x="276" y="286"/>
                  <a:pt x="289" y="292"/>
                  <a:pt x="301" y="292"/>
                </a:cubicBezTo>
                <a:cubicBezTo>
                  <a:pt x="307" y="292"/>
                  <a:pt x="313" y="290"/>
                  <a:pt x="318" y="287"/>
                </a:cubicBezTo>
                <a:cubicBezTo>
                  <a:pt x="334" y="275"/>
                  <a:pt x="334" y="250"/>
                  <a:pt x="319" y="229"/>
                </a:cubicBezTo>
                <a:cubicBezTo>
                  <a:pt x="316" y="225"/>
                  <a:pt x="312" y="221"/>
                  <a:pt x="308" y="218"/>
                </a:cubicBezTo>
                <a:cubicBezTo>
                  <a:pt x="313" y="218"/>
                  <a:pt x="318" y="217"/>
                  <a:pt x="323" y="215"/>
                </a:cubicBezTo>
                <a:cubicBezTo>
                  <a:pt x="334" y="212"/>
                  <a:pt x="343" y="205"/>
                  <a:pt x="350" y="197"/>
                </a:cubicBezTo>
                <a:cubicBezTo>
                  <a:pt x="357" y="188"/>
                  <a:pt x="359" y="178"/>
                  <a:pt x="356" y="168"/>
                </a:cubicBezTo>
                <a:cubicBezTo>
                  <a:pt x="353" y="159"/>
                  <a:pt x="345" y="152"/>
                  <a:pt x="334" y="149"/>
                </a:cubicBezTo>
                <a:cubicBezTo>
                  <a:pt x="324" y="146"/>
                  <a:pt x="312" y="146"/>
                  <a:pt x="301" y="150"/>
                </a:cubicBezTo>
                <a:cubicBezTo>
                  <a:pt x="297" y="152"/>
                  <a:pt x="292" y="154"/>
                  <a:pt x="289" y="156"/>
                </a:cubicBezTo>
                <a:cubicBezTo>
                  <a:pt x="290" y="151"/>
                  <a:pt x="290" y="147"/>
                  <a:pt x="290" y="142"/>
                </a:cubicBezTo>
                <a:cubicBezTo>
                  <a:pt x="290" y="116"/>
                  <a:pt x="275" y="96"/>
                  <a:pt x="256" y="96"/>
                </a:cubicBezTo>
                <a:cubicBezTo>
                  <a:pt x="236" y="96"/>
                  <a:pt x="221" y="116"/>
                  <a:pt x="221" y="142"/>
                </a:cubicBezTo>
                <a:cubicBezTo>
                  <a:pt x="221" y="147"/>
                  <a:pt x="222" y="152"/>
                  <a:pt x="223" y="156"/>
                </a:cubicBezTo>
                <a:cubicBezTo>
                  <a:pt x="219" y="154"/>
                  <a:pt x="214" y="152"/>
                  <a:pt x="210" y="150"/>
                </a:cubicBezTo>
                <a:cubicBezTo>
                  <a:pt x="199" y="147"/>
                  <a:pt x="187" y="146"/>
                  <a:pt x="177" y="149"/>
                </a:cubicBezTo>
                <a:cubicBezTo>
                  <a:pt x="166" y="152"/>
                  <a:pt x="158" y="159"/>
                  <a:pt x="155" y="169"/>
                </a:cubicBezTo>
                <a:cubicBezTo>
                  <a:pt x="152" y="178"/>
                  <a:pt x="154" y="189"/>
                  <a:pt x="162" y="198"/>
                </a:cubicBezTo>
                <a:cubicBezTo>
                  <a:pt x="168" y="206"/>
                  <a:pt x="177" y="212"/>
                  <a:pt x="189" y="216"/>
                </a:cubicBezTo>
                <a:cubicBezTo>
                  <a:pt x="193" y="217"/>
                  <a:pt x="198" y="218"/>
                  <a:pt x="203" y="219"/>
                </a:cubicBezTo>
                <a:cubicBezTo>
                  <a:pt x="199" y="222"/>
                  <a:pt x="196" y="225"/>
                  <a:pt x="193" y="229"/>
                </a:cubicBezTo>
                <a:cubicBezTo>
                  <a:pt x="186" y="239"/>
                  <a:pt x="182" y="250"/>
                  <a:pt x="182" y="260"/>
                </a:cubicBezTo>
                <a:cubicBezTo>
                  <a:pt x="181" y="271"/>
                  <a:pt x="186" y="281"/>
                  <a:pt x="194" y="287"/>
                </a:cubicBezTo>
                <a:cubicBezTo>
                  <a:pt x="198" y="291"/>
                  <a:pt x="204" y="292"/>
                  <a:pt x="210" y="292"/>
                </a:cubicBezTo>
                <a:cubicBezTo>
                  <a:pt x="215" y="292"/>
                  <a:pt x="219" y="292"/>
                  <a:pt x="223" y="290"/>
                </a:cubicBezTo>
                <a:cubicBezTo>
                  <a:pt x="231" y="287"/>
                  <a:pt x="239" y="281"/>
                  <a:pt x="245" y="274"/>
                </a:cubicBezTo>
                <a:cubicBezTo>
                  <a:pt x="245" y="340"/>
                  <a:pt x="245" y="340"/>
                  <a:pt x="245" y="340"/>
                </a:cubicBezTo>
                <a:cubicBezTo>
                  <a:pt x="243" y="337"/>
                  <a:pt x="241" y="335"/>
                  <a:pt x="238" y="333"/>
                </a:cubicBezTo>
                <a:cubicBezTo>
                  <a:pt x="207" y="304"/>
                  <a:pt x="160" y="309"/>
                  <a:pt x="159" y="309"/>
                </a:cubicBezTo>
                <a:cubicBezTo>
                  <a:pt x="153" y="310"/>
                  <a:pt x="149" y="314"/>
                  <a:pt x="149" y="320"/>
                </a:cubicBezTo>
                <a:cubicBezTo>
                  <a:pt x="149" y="350"/>
                  <a:pt x="158" y="374"/>
                  <a:pt x="177" y="390"/>
                </a:cubicBezTo>
                <a:cubicBezTo>
                  <a:pt x="201" y="413"/>
                  <a:pt x="235" y="416"/>
                  <a:pt x="250" y="416"/>
                </a:cubicBezTo>
                <a:cubicBezTo>
                  <a:pt x="253" y="416"/>
                  <a:pt x="260" y="416"/>
                  <a:pt x="263" y="416"/>
                </a:cubicBezTo>
                <a:cubicBezTo>
                  <a:pt x="279" y="416"/>
                  <a:pt x="311" y="413"/>
                  <a:pt x="334" y="392"/>
                </a:cubicBezTo>
                <a:cubicBezTo>
                  <a:pt x="353" y="375"/>
                  <a:pt x="362" y="351"/>
                  <a:pt x="362" y="320"/>
                </a:cubicBezTo>
                <a:close/>
                <a:moveTo>
                  <a:pt x="267" y="394"/>
                </a:moveTo>
                <a:cubicBezTo>
                  <a:pt x="280" y="394"/>
                  <a:pt x="303" y="391"/>
                  <a:pt x="320" y="376"/>
                </a:cubicBezTo>
                <a:cubicBezTo>
                  <a:pt x="332" y="365"/>
                  <a:pt x="339" y="350"/>
                  <a:pt x="341" y="330"/>
                </a:cubicBezTo>
                <a:cubicBezTo>
                  <a:pt x="327" y="331"/>
                  <a:pt x="304" y="334"/>
                  <a:pt x="287" y="350"/>
                </a:cubicBezTo>
                <a:cubicBezTo>
                  <a:pt x="275" y="360"/>
                  <a:pt x="269" y="375"/>
                  <a:pt x="267" y="394"/>
                </a:cubicBezTo>
                <a:close/>
                <a:moveTo>
                  <a:pt x="219" y="233"/>
                </a:moveTo>
                <a:cubicBezTo>
                  <a:pt x="216" y="236"/>
                  <a:pt x="213" y="238"/>
                  <a:pt x="210" y="242"/>
                </a:cubicBezTo>
                <a:cubicBezTo>
                  <a:pt x="206" y="248"/>
                  <a:pt x="203" y="255"/>
                  <a:pt x="203" y="261"/>
                </a:cubicBezTo>
                <a:cubicBezTo>
                  <a:pt x="203" y="263"/>
                  <a:pt x="203" y="268"/>
                  <a:pt x="206" y="270"/>
                </a:cubicBezTo>
                <a:cubicBezTo>
                  <a:pt x="209" y="272"/>
                  <a:pt x="214" y="271"/>
                  <a:pt x="216" y="270"/>
                </a:cubicBezTo>
                <a:cubicBezTo>
                  <a:pt x="222" y="268"/>
                  <a:pt x="227" y="263"/>
                  <a:pt x="231" y="257"/>
                </a:cubicBezTo>
                <a:cubicBezTo>
                  <a:pt x="234" y="254"/>
                  <a:pt x="236" y="250"/>
                  <a:pt x="237" y="246"/>
                </a:cubicBezTo>
                <a:cubicBezTo>
                  <a:pt x="233" y="245"/>
                  <a:pt x="230" y="243"/>
                  <a:pt x="227" y="241"/>
                </a:cubicBezTo>
                <a:cubicBezTo>
                  <a:pt x="224" y="239"/>
                  <a:pt x="221" y="236"/>
                  <a:pt x="219" y="233"/>
                </a:cubicBezTo>
                <a:close/>
                <a:moveTo>
                  <a:pt x="278" y="217"/>
                </a:moveTo>
                <a:cubicBezTo>
                  <a:pt x="287" y="205"/>
                  <a:pt x="284" y="188"/>
                  <a:pt x="272" y="179"/>
                </a:cubicBezTo>
                <a:cubicBezTo>
                  <a:pt x="267" y="176"/>
                  <a:pt x="261" y="174"/>
                  <a:pt x="256" y="174"/>
                </a:cubicBezTo>
                <a:cubicBezTo>
                  <a:pt x="254" y="174"/>
                  <a:pt x="253" y="174"/>
                  <a:pt x="251" y="174"/>
                </a:cubicBezTo>
                <a:cubicBezTo>
                  <a:pt x="244" y="176"/>
                  <a:pt x="238" y="179"/>
                  <a:pt x="233" y="185"/>
                </a:cubicBezTo>
                <a:cubicBezTo>
                  <a:pt x="229" y="191"/>
                  <a:pt x="227" y="199"/>
                  <a:pt x="229" y="206"/>
                </a:cubicBezTo>
                <a:cubicBezTo>
                  <a:pt x="230" y="213"/>
                  <a:pt x="234" y="219"/>
                  <a:pt x="240" y="224"/>
                </a:cubicBezTo>
                <a:cubicBezTo>
                  <a:pt x="246" y="228"/>
                  <a:pt x="253" y="230"/>
                  <a:pt x="260" y="228"/>
                </a:cubicBezTo>
                <a:cubicBezTo>
                  <a:pt x="267" y="227"/>
                  <a:pt x="274" y="223"/>
                  <a:pt x="278" y="21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4" name="Freeform 189">
            <a:extLst>
              <a:ext uri="{FF2B5EF4-FFF2-40B4-BE49-F238E27FC236}">
                <a16:creationId xmlns:a16="http://schemas.microsoft.com/office/drawing/2014/main" id="{F7EBC2DC-90A4-41C5-BE19-330ED768EFAE}"/>
              </a:ext>
            </a:extLst>
          </p:cNvPr>
          <p:cNvSpPr>
            <a:spLocks noChangeAspect="1" noEditPoints="1"/>
          </p:cNvSpPr>
          <p:nvPr/>
        </p:nvSpPr>
        <p:spPr bwMode="auto">
          <a:xfrm>
            <a:off x="8527379" y="4844644"/>
            <a:ext cx="625371" cy="625369"/>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145" name="Group 681">
            <a:extLst>
              <a:ext uri="{FF2B5EF4-FFF2-40B4-BE49-F238E27FC236}">
                <a16:creationId xmlns:a16="http://schemas.microsoft.com/office/drawing/2014/main" id="{030EB7F2-E3E0-4E3F-9724-6416DC427D34}"/>
              </a:ext>
            </a:extLst>
          </p:cNvPr>
          <p:cNvGrpSpPr>
            <a:grpSpLocks noChangeAspect="1"/>
          </p:cNvGrpSpPr>
          <p:nvPr/>
        </p:nvGrpSpPr>
        <p:grpSpPr bwMode="auto">
          <a:xfrm>
            <a:off x="10483684" y="4842957"/>
            <a:ext cx="628743" cy="628743"/>
            <a:chOff x="6210" y="2696"/>
            <a:chExt cx="340" cy="340"/>
          </a:xfrm>
          <a:solidFill>
            <a:schemeClr val="accent6"/>
          </a:solidFill>
        </p:grpSpPr>
        <p:sp>
          <p:nvSpPr>
            <p:cNvPr id="146" name="Freeform 682">
              <a:extLst>
                <a:ext uri="{FF2B5EF4-FFF2-40B4-BE49-F238E27FC236}">
                  <a16:creationId xmlns:a16="http://schemas.microsoft.com/office/drawing/2014/main" id="{3D525982-CAE8-411F-9ABB-BAAF1CEEF115}"/>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7" name="Freeform 683">
              <a:extLst>
                <a:ext uri="{FF2B5EF4-FFF2-40B4-BE49-F238E27FC236}">
                  <a16:creationId xmlns:a16="http://schemas.microsoft.com/office/drawing/2014/main" id="{9C319EB7-A123-496F-87D7-9A82592A6E87}"/>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8" name="Oval 684">
              <a:extLst>
                <a:ext uri="{FF2B5EF4-FFF2-40B4-BE49-F238E27FC236}">
                  <a16:creationId xmlns:a16="http://schemas.microsoft.com/office/drawing/2014/main" id="{C9E7FFE7-454D-4C48-9A63-17E4162B797E}"/>
                </a:ext>
              </a:extLst>
            </p:cNvPr>
            <p:cNvSpPr>
              <a:spLocks noChangeArrowheads="1"/>
            </p:cNvSpPr>
            <p:nvPr/>
          </p:nvSpPr>
          <p:spPr bwMode="auto">
            <a:xfrm>
              <a:off x="6359" y="2816"/>
              <a:ext cx="42" cy="4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9" name="Freeform 685">
              <a:extLst>
                <a:ext uri="{FF2B5EF4-FFF2-40B4-BE49-F238E27FC236}">
                  <a16:creationId xmlns:a16="http://schemas.microsoft.com/office/drawing/2014/main" id="{E2C910B8-2C3B-4016-BD83-076DD317A2B0}"/>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64" name="Star: 5 Points 63">
            <a:extLst>
              <a:ext uri="{FF2B5EF4-FFF2-40B4-BE49-F238E27FC236}">
                <a16:creationId xmlns:a16="http://schemas.microsoft.com/office/drawing/2014/main" id="{C87E39F2-BAA7-4859-9499-974B3C219B1C}"/>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309460732"/>
      </p:ext>
    </p:extLst>
  </p:cSld>
  <p:clrMapOvr>
    <a:masterClrMapping/>
  </p:clrMapOvr>
  <p:transition>
    <p:fade/>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8A1096-0B37-47D1-B4BD-4ED33225060B}"/>
              </a:ext>
            </a:extLst>
          </p:cNvPr>
          <p:cNvSpPr>
            <a:spLocks noGrp="1"/>
          </p:cNvSpPr>
          <p:nvPr>
            <p:ph type="title"/>
          </p:nvPr>
        </p:nvSpPr>
        <p:spPr/>
        <p:txBody>
          <a:bodyPr/>
          <a:lstStyle/>
          <a:p>
            <a:r>
              <a:rPr lang="en-US" dirty="0"/>
              <a:t>Hexagonal structure</a:t>
            </a:r>
          </a:p>
        </p:txBody>
      </p:sp>
      <p:grpSp>
        <p:nvGrpSpPr>
          <p:cNvPr id="26" name="Group 25">
            <a:extLst>
              <a:ext uri="{FF2B5EF4-FFF2-40B4-BE49-F238E27FC236}">
                <a16:creationId xmlns:a16="http://schemas.microsoft.com/office/drawing/2014/main" id="{43DA6FDD-8C17-4130-87D3-493A34741553}"/>
              </a:ext>
            </a:extLst>
          </p:cNvPr>
          <p:cNvGrpSpPr/>
          <p:nvPr/>
        </p:nvGrpSpPr>
        <p:grpSpPr>
          <a:xfrm>
            <a:off x="2319867" y="1446098"/>
            <a:ext cx="7247466" cy="4642929"/>
            <a:chOff x="738589" y="1620840"/>
            <a:chExt cx="6915283" cy="4687378"/>
          </a:xfrm>
        </p:grpSpPr>
        <p:sp>
          <p:nvSpPr>
            <p:cNvPr id="5" name="Freeform 10">
              <a:extLst>
                <a:ext uri="{FF2B5EF4-FFF2-40B4-BE49-F238E27FC236}">
                  <a16:creationId xmlns:a16="http://schemas.microsoft.com/office/drawing/2014/main" id="{0A4C45EE-21BE-4256-AFB2-6A70F91A7437}"/>
                </a:ext>
              </a:extLst>
            </p:cNvPr>
            <p:cNvSpPr>
              <a:spLocks/>
            </p:cNvSpPr>
            <p:nvPr/>
          </p:nvSpPr>
          <p:spPr bwMode="auto">
            <a:xfrm>
              <a:off x="1493304" y="2040582"/>
              <a:ext cx="2433482" cy="1678974"/>
            </a:xfrm>
            <a:custGeom>
              <a:avLst/>
              <a:gdLst/>
              <a:ahLst/>
              <a:cxnLst/>
              <a:rect l="l" t="t" r="r" b="b"/>
              <a:pathLst>
                <a:path w="3000377" h="2070100">
                  <a:moveTo>
                    <a:pt x="303213" y="0"/>
                  </a:moveTo>
                  <a:lnTo>
                    <a:pt x="900113" y="0"/>
                  </a:lnTo>
                  <a:lnTo>
                    <a:pt x="1203325" y="517525"/>
                  </a:lnTo>
                  <a:lnTo>
                    <a:pt x="1797052" y="517525"/>
                  </a:lnTo>
                  <a:lnTo>
                    <a:pt x="2100265" y="0"/>
                  </a:lnTo>
                  <a:lnTo>
                    <a:pt x="2697165" y="0"/>
                  </a:lnTo>
                  <a:lnTo>
                    <a:pt x="3000377" y="517525"/>
                  </a:lnTo>
                  <a:lnTo>
                    <a:pt x="2697165" y="1035050"/>
                  </a:lnTo>
                  <a:lnTo>
                    <a:pt x="3000377" y="1552575"/>
                  </a:lnTo>
                  <a:lnTo>
                    <a:pt x="2697165" y="2070100"/>
                  </a:lnTo>
                  <a:lnTo>
                    <a:pt x="2100265" y="2070100"/>
                  </a:lnTo>
                  <a:lnTo>
                    <a:pt x="1797052" y="1552575"/>
                  </a:lnTo>
                  <a:lnTo>
                    <a:pt x="1203325" y="1552575"/>
                  </a:lnTo>
                  <a:lnTo>
                    <a:pt x="900113" y="2070100"/>
                  </a:lnTo>
                  <a:lnTo>
                    <a:pt x="303213" y="2070100"/>
                  </a:lnTo>
                  <a:lnTo>
                    <a:pt x="0" y="1552575"/>
                  </a:lnTo>
                  <a:lnTo>
                    <a:pt x="303213" y="1035050"/>
                  </a:lnTo>
                  <a:lnTo>
                    <a:pt x="0" y="517525"/>
                  </a:lnTo>
                  <a:close/>
                </a:path>
              </a:pathLst>
            </a:custGeom>
            <a:solidFill>
              <a:schemeClr val="accent1">
                <a:lumMod val="20000"/>
                <a:lumOff val="80000"/>
                <a:alpha val="50000"/>
              </a:schemeClr>
            </a:solidFill>
            <a:ln w="11113" cap="flat">
              <a:noFill/>
              <a:prstDash val="solid"/>
              <a:miter lim="800000"/>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 name="Freeform 11">
              <a:extLst>
                <a:ext uri="{FF2B5EF4-FFF2-40B4-BE49-F238E27FC236}">
                  <a16:creationId xmlns:a16="http://schemas.microsoft.com/office/drawing/2014/main" id="{F532E6D2-A0B8-4BC2-9E8D-E62B71DAB6CB}"/>
                </a:ext>
              </a:extLst>
            </p:cNvPr>
            <p:cNvSpPr>
              <a:spLocks/>
            </p:cNvSpPr>
            <p:nvPr/>
          </p:nvSpPr>
          <p:spPr bwMode="auto">
            <a:xfrm>
              <a:off x="2222061" y="1620840"/>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3">
                <a:lumMod val="75000"/>
              </a:schemeClr>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a:ea typeface="+mn-ea"/>
                  <a:cs typeface="+mn-cs"/>
                </a:rPr>
                <a:t>xxx</a:t>
              </a:r>
            </a:p>
          </p:txBody>
        </p:sp>
        <p:sp>
          <p:nvSpPr>
            <p:cNvPr id="7" name="Freeform 12">
              <a:extLst>
                <a:ext uri="{FF2B5EF4-FFF2-40B4-BE49-F238E27FC236}">
                  <a16:creationId xmlns:a16="http://schemas.microsoft.com/office/drawing/2014/main" id="{63277764-4B68-47C3-A533-F132F63E2A7E}"/>
                </a:ext>
              </a:extLst>
            </p:cNvPr>
            <p:cNvSpPr>
              <a:spLocks/>
            </p:cNvSpPr>
            <p:nvPr/>
          </p:nvSpPr>
          <p:spPr bwMode="auto">
            <a:xfrm>
              <a:off x="2222061" y="3299813"/>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1"/>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uLnTx/>
                  <a:uFillTx/>
                  <a:latin typeface="Calibri Light"/>
                  <a:ea typeface="+mn-ea"/>
                  <a:cs typeface="+mn-cs"/>
                </a:rPr>
                <a:t>zxxx</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8" name="Freeform 11">
              <a:extLst>
                <a:ext uri="{FF2B5EF4-FFF2-40B4-BE49-F238E27FC236}">
                  <a16:creationId xmlns:a16="http://schemas.microsoft.com/office/drawing/2014/main" id="{E12F535A-3024-4A66-9055-2B6672163D85}"/>
                </a:ext>
              </a:extLst>
            </p:cNvPr>
            <p:cNvSpPr>
              <a:spLocks/>
            </p:cNvSpPr>
            <p:nvPr/>
          </p:nvSpPr>
          <p:spPr bwMode="auto">
            <a:xfrm flipV="1">
              <a:off x="2974232" y="3763277"/>
              <a:ext cx="2433482" cy="2098718"/>
            </a:xfrm>
            <a:custGeom>
              <a:avLst/>
              <a:gdLst/>
              <a:ahLst/>
              <a:cxnLst/>
              <a:rect l="l" t="t" r="r" b="b"/>
              <a:pathLst>
                <a:path w="2067202" h="1782825">
                  <a:moveTo>
                    <a:pt x="827975" y="0"/>
                  </a:moveTo>
                  <a:lnTo>
                    <a:pt x="1239227" y="0"/>
                  </a:lnTo>
                  <a:lnTo>
                    <a:pt x="1448135" y="356565"/>
                  </a:lnTo>
                  <a:lnTo>
                    <a:pt x="1858295" y="356565"/>
                  </a:lnTo>
                  <a:lnTo>
                    <a:pt x="2067202" y="713130"/>
                  </a:lnTo>
                  <a:lnTo>
                    <a:pt x="1858295" y="1069695"/>
                  </a:lnTo>
                  <a:lnTo>
                    <a:pt x="2067202" y="1426260"/>
                  </a:lnTo>
                  <a:lnTo>
                    <a:pt x="1858295" y="1782825"/>
                  </a:lnTo>
                  <a:lnTo>
                    <a:pt x="1447042" y="1782825"/>
                  </a:lnTo>
                  <a:lnTo>
                    <a:pt x="1238134" y="1426260"/>
                  </a:lnTo>
                  <a:lnTo>
                    <a:pt x="829068" y="1426260"/>
                  </a:lnTo>
                  <a:lnTo>
                    <a:pt x="620161" y="1782825"/>
                  </a:lnTo>
                  <a:lnTo>
                    <a:pt x="208908" y="1782825"/>
                  </a:lnTo>
                  <a:lnTo>
                    <a:pt x="0" y="1426260"/>
                  </a:lnTo>
                  <a:lnTo>
                    <a:pt x="208908" y="1069695"/>
                  </a:lnTo>
                  <a:lnTo>
                    <a:pt x="0" y="713130"/>
                  </a:lnTo>
                  <a:lnTo>
                    <a:pt x="208908" y="356565"/>
                  </a:lnTo>
                  <a:lnTo>
                    <a:pt x="619067" y="356565"/>
                  </a:lnTo>
                  <a:close/>
                </a:path>
              </a:pathLst>
            </a:custGeom>
            <a:solidFill>
              <a:schemeClr val="accent4">
                <a:lumMod val="20000"/>
                <a:lumOff val="80000"/>
                <a:alpha val="50000"/>
              </a:schemeClr>
            </a:solidFill>
            <a:ln w="11113" cap="flat">
              <a:noFill/>
              <a:prstDash val="solid"/>
              <a:miter lim="800000"/>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 name="Freeform 12">
              <a:extLst>
                <a:ext uri="{FF2B5EF4-FFF2-40B4-BE49-F238E27FC236}">
                  <a16:creationId xmlns:a16="http://schemas.microsoft.com/office/drawing/2014/main" id="{012FDA0E-BDDF-4AE2-8DFA-438082FC8993}"/>
                </a:ext>
              </a:extLst>
            </p:cNvPr>
            <p:cNvSpPr>
              <a:spLocks/>
            </p:cNvSpPr>
            <p:nvPr/>
          </p:nvSpPr>
          <p:spPr bwMode="auto">
            <a:xfrm>
              <a:off x="3702989" y="3343535"/>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4"/>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Light"/>
                  <a:ea typeface="+mn-ea"/>
                  <a:cs typeface="+mn-cs"/>
                </a:rPr>
                <a:t>xx%</a:t>
              </a:r>
            </a:p>
          </p:txBody>
        </p:sp>
        <p:sp>
          <p:nvSpPr>
            <p:cNvPr id="10" name="Freeform 10">
              <a:extLst>
                <a:ext uri="{FF2B5EF4-FFF2-40B4-BE49-F238E27FC236}">
                  <a16:creationId xmlns:a16="http://schemas.microsoft.com/office/drawing/2014/main" id="{55DAA7C2-9BD2-40E0-8F96-E3F690839B5E}"/>
                </a:ext>
              </a:extLst>
            </p:cNvPr>
            <p:cNvSpPr>
              <a:spLocks/>
            </p:cNvSpPr>
            <p:nvPr/>
          </p:nvSpPr>
          <p:spPr bwMode="auto">
            <a:xfrm>
              <a:off x="4451944" y="2037733"/>
              <a:ext cx="2433482" cy="1678974"/>
            </a:xfrm>
            <a:custGeom>
              <a:avLst/>
              <a:gdLst/>
              <a:ahLst/>
              <a:cxnLst/>
              <a:rect l="l" t="t" r="r" b="b"/>
              <a:pathLst>
                <a:path w="3000377" h="2070100">
                  <a:moveTo>
                    <a:pt x="303213" y="0"/>
                  </a:moveTo>
                  <a:lnTo>
                    <a:pt x="900113" y="0"/>
                  </a:lnTo>
                  <a:lnTo>
                    <a:pt x="1203325" y="517525"/>
                  </a:lnTo>
                  <a:lnTo>
                    <a:pt x="1797052" y="517525"/>
                  </a:lnTo>
                  <a:lnTo>
                    <a:pt x="2100265" y="0"/>
                  </a:lnTo>
                  <a:lnTo>
                    <a:pt x="2697165" y="0"/>
                  </a:lnTo>
                  <a:lnTo>
                    <a:pt x="3000377" y="517525"/>
                  </a:lnTo>
                  <a:lnTo>
                    <a:pt x="2697165" y="1035050"/>
                  </a:lnTo>
                  <a:lnTo>
                    <a:pt x="3000377" y="1552575"/>
                  </a:lnTo>
                  <a:lnTo>
                    <a:pt x="2697165" y="2070100"/>
                  </a:lnTo>
                  <a:lnTo>
                    <a:pt x="2100265" y="2070100"/>
                  </a:lnTo>
                  <a:lnTo>
                    <a:pt x="1797052" y="1552575"/>
                  </a:lnTo>
                  <a:lnTo>
                    <a:pt x="1203325" y="1552575"/>
                  </a:lnTo>
                  <a:lnTo>
                    <a:pt x="900113" y="2070100"/>
                  </a:lnTo>
                  <a:lnTo>
                    <a:pt x="303213" y="2070100"/>
                  </a:lnTo>
                  <a:lnTo>
                    <a:pt x="0" y="1552575"/>
                  </a:lnTo>
                  <a:lnTo>
                    <a:pt x="303213" y="1035050"/>
                  </a:lnTo>
                  <a:lnTo>
                    <a:pt x="0" y="517525"/>
                  </a:lnTo>
                  <a:close/>
                </a:path>
              </a:pathLst>
            </a:custGeom>
            <a:solidFill>
              <a:schemeClr val="accent2">
                <a:lumMod val="20000"/>
                <a:lumOff val="80000"/>
                <a:alpha val="50000"/>
              </a:schemeClr>
            </a:solidFill>
            <a:ln w="11113" cap="flat">
              <a:noFill/>
              <a:prstDash val="solid"/>
              <a:miter lim="800000"/>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1" name="Freeform 11">
              <a:extLst>
                <a:ext uri="{FF2B5EF4-FFF2-40B4-BE49-F238E27FC236}">
                  <a16:creationId xmlns:a16="http://schemas.microsoft.com/office/drawing/2014/main" id="{4074D7C7-4FB2-4C88-8585-A63528776055}"/>
                </a:ext>
              </a:extLst>
            </p:cNvPr>
            <p:cNvSpPr>
              <a:spLocks/>
            </p:cNvSpPr>
            <p:nvPr/>
          </p:nvSpPr>
          <p:spPr bwMode="auto">
            <a:xfrm>
              <a:off x="5191814" y="1629509"/>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4">
                <a:lumMod val="75000"/>
              </a:schemeClr>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a:ea typeface="+mn-ea"/>
                  <a:cs typeface="+mn-cs"/>
                </a:rPr>
                <a:t>xxx</a:t>
              </a:r>
            </a:p>
          </p:txBody>
        </p:sp>
        <p:sp>
          <p:nvSpPr>
            <p:cNvPr id="12" name="Freeform 12">
              <a:extLst>
                <a:ext uri="{FF2B5EF4-FFF2-40B4-BE49-F238E27FC236}">
                  <a16:creationId xmlns:a16="http://schemas.microsoft.com/office/drawing/2014/main" id="{D5E0DAFE-3303-4371-8E3C-1AE887919D4F}"/>
                </a:ext>
              </a:extLst>
            </p:cNvPr>
            <p:cNvSpPr>
              <a:spLocks/>
            </p:cNvSpPr>
            <p:nvPr/>
          </p:nvSpPr>
          <p:spPr bwMode="auto">
            <a:xfrm>
              <a:off x="5180701" y="3296964"/>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2"/>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a:ea typeface="+mn-ea"/>
                  <a:cs typeface="+mn-cs"/>
                </a:rPr>
                <a:t>xxx</a:t>
              </a:r>
            </a:p>
          </p:txBody>
        </p:sp>
        <p:sp>
          <p:nvSpPr>
            <p:cNvPr id="13" name="Freeform 11">
              <a:extLst>
                <a:ext uri="{FF2B5EF4-FFF2-40B4-BE49-F238E27FC236}">
                  <a16:creationId xmlns:a16="http://schemas.microsoft.com/office/drawing/2014/main" id="{31067325-1C68-4E7B-B3B1-6EB228998E15}"/>
                </a:ext>
              </a:extLst>
            </p:cNvPr>
            <p:cNvSpPr>
              <a:spLocks/>
            </p:cNvSpPr>
            <p:nvPr/>
          </p:nvSpPr>
          <p:spPr bwMode="auto">
            <a:xfrm flipV="1">
              <a:off x="5199750" y="4176264"/>
              <a:ext cx="2433482" cy="2098718"/>
            </a:xfrm>
            <a:custGeom>
              <a:avLst/>
              <a:gdLst/>
              <a:ahLst/>
              <a:cxnLst/>
              <a:rect l="l" t="t" r="r" b="b"/>
              <a:pathLst>
                <a:path w="2067202" h="1782825">
                  <a:moveTo>
                    <a:pt x="827975" y="0"/>
                  </a:moveTo>
                  <a:lnTo>
                    <a:pt x="1239227" y="0"/>
                  </a:lnTo>
                  <a:lnTo>
                    <a:pt x="1448135" y="356565"/>
                  </a:lnTo>
                  <a:lnTo>
                    <a:pt x="1858295" y="356565"/>
                  </a:lnTo>
                  <a:lnTo>
                    <a:pt x="2067202" y="713130"/>
                  </a:lnTo>
                  <a:lnTo>
                    <a:pt x="1858295" y="1069695"/>
                  </a:lnTo>
                  <a:lnTo>
                    <a:pt x="2067202" y="1426260"/>
                  </a:lnTo>
                  <a:lnTo>
                    <a:pt x="1858295" y="1782825"/>
                  </a:lnTo>
                  <a:lnTo>
                    <a:pt x="1447042" y="1782825"/>
                  </a:lnTo>
                  <a:lnTo>
                    <a:pt x="1238134" y="1426260"/>
                  </a:lnTo>
                  <a:lnTo>
                    <a:pt x="829068" y="1426260"/>
                  </a:lnTo>
                  <a:lnTo>
                    <a:pt x="620161" y="1782825"/>
                  </a:lnTo>
                  <a:lnTo>
                    <a:pt x="208908" y="1782825"/>
                  </a:lnTo>
                  <a:lnTo>
                    <a:pt x="0" y="1426260"/>
                  </a:lnTo>
                  <a:lnTo>
                    <a:pt x="208908" y="1069695"/>
                  </a:lnTo>
                  <a:lnTo>
                    <a:pt x="0" y="713130"/>
                  </a:lnTo>
                  <a:lnTo>
                    <a:pt x="208908" y="356565"/>
                  </a:lnTo>
                  <a:lnTo>
                    <a:pt x="619067" y="356565"/>
                  </a:lnTo>
                  <a:close/>
                </a:path>
              </a:pathLst>
            </a:custGeom>
            <a:solidFill>
              <a:schemeClr val="accent3">
                <a:lumMod val="20000"/>
                <a:lumOff val="80000"/>
                <a:alpha val="50000"/>
              </a:schemeClr>
            </a:solidFill>
            <a:ln w="11113" cap="flat">
              <a:noFill/>
              <a:prstDash val="solid"/>
              <a:miter lim="800000"/>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 name="Freeform 12">
              <a:extLst>
                <a:ext uri="{FF2B5EF4-FFF2-40B4-BE49-F238E27FC236}">
                  <a16:creationId xmlns:a16="http://schemas.microsoft.com/office/drawing/2014/main" id="{9F2F81E4-A0E4-4251-92E4-DAEDAD284305}"/>
                </a:ext>
              </a:extLst>
            </p:cNvPr>
            <p:cNvSpPr>
              <a:spLocks/>
            </p:cNvSpPr>
            <p:nvPr/>
          </p:nvSpPr>
          <p:spPr bwMode="auto">
            <a:xfrm>
              <a:off x="5928507" y="3756521"/>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accent3"/>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Light"/>
                  <a:ea typeface="+mn-ea"/>
                  <a:cs typeface="+mn-cs"/>
                </a:rPr>
                <a:t>xx%</a:t>
              </a:r>
            </a:p>
          </p:txBody>
        </p:sp>
        <p:sp>
          <p:nvSpPr>
            <p:cNvPr id="15" name="Rectangle 14">
              <a:extLst>
                <a:ext uri="{FF2B5EF4-FFF2-40B4-BE49-F238E27FC236}">
                  <a16:creationId xmlns:a16="http://schemas.microsoft.com/office/drawing/2014/main" id="{A2C98346-4A78-4908-BA8C-BF504D5F6FC6}"/>
                </a:ext>
              </a:extLst>
            </p:cNvPr>
            <p:cNvSpPr/>
            <p:nvPr/>
          </p:nvSpPr>
          <p:spPr>
            <a:xfrm>
              <a:off x="2310747" y="2695402"/>
              <a:ext cx="798598" cy="372868"/>
            </a:xfrm>
            <a:prstGeom prst="rect">
              <a:avLst/>
            </a:prstGeom>
          </p:spPr>
          <p:txBody>
            <a:bodyPr wrap="none" lIns="0" tIns="0" rIns="0" bIns="0">
              <a:spAutoFit/>
            </a:bodyPr>
            <a:lstStyle/>
            <a:p>
              <a:pPr lvl="0" algn="ctr" defTabSz="913686">
                <a:spcBef>
                  <a:spcPts val="600"/>
                </a:spcBef>
              </a:pPr>
              <a:r>
                <a:rPr lang="en-US" sz="1200" dirty="0">
                  <a:solidFill>
                    <a:srgbClr val="313131"/>
                  </a:solidFill>
                </a:rPr>
                <a:t>Lorem ipsum </a:t>
              </a:r>
              <a:br>
                <a:rPr lang="en-US" sz="1200" dirty="0">
                  <a:solidFill>
                    <a:srgbClr val="313131"/>
                  </a:solidFill>
                </a:rPr>
              </a:br>
              <a:r>
                <a:rPr lang="en-US" sz="1200" dirty="0">
                  <a:solidFill>
                    <a:srgbClr val="313131"/>
                  </a:solidFill>
                </a:rPr>
                <a:t>Lorem ipsum </a:t>
              </a:r>
            </a:p>
          </p:txBody>
        </p:sp>
        <p:sp>
          <p:nvSpPr>
            <p:cNvPr id="16" name="Rectangle 15">
              <a:extLst>
                <a:ext uri="{FF2B5EF4-FFF2-40B4-BE49-F238E27FC236}">
                  <a16:creationId xmlns:a16="http://schemas.microsoft.com/office/drawing/2014/main" id="{667E0C57-820D-4259-A2B6-6A199905A459}"/>
                </a:ext>
              </a:extLst>
            </p:cNvPr>
            <p:cNvSpPr/>
            <p:nvPr/>
          </p:nvSpPr>
          <p:spPr>
            <a:xfrm>
              <a:off x="5280502" y="2704073"/>
              <a:ext cx="798598" cy="372868"/>
            </a:xfrm>
            <a:prstGeom prst="rect">
              <a:avLst/>
            </a:prstGeom>
          </p:spPr>
          <p:txBody>
            <a:bodyPr wrap="none" lIns="0" tIns="0" rIns="0" bIns="0">
              <a:spAutoFit/>
            </a:bodyPr>
            <a:lstStyle/>
            <a:p>
              <a:pPr lvl="0" algn="ctr" defTabSz="913686">
                <a:spcBef>
                  <a:spcPts val="600"/>
                </a:spcBef>
              </a:pPr>
              <a:r>
                <a:rPr lang="en-US" sz="1200" dirty="0">
                  <a:solidFill>
                    <a:srgbClr val="313131"/>
                  </a:solidFill>
                </a:rPr>
                <a:t>Lorem ipsum </a:t>
              </a:r>
              <a:br>
                <a:rPr lang="en-US" sz="1200" dirty="0">
                  <a:solidFill>
                    <a:srgbClr val="313131"/>
                  </a:solidFill>
                </a:rPr>
              </a:br>
              <a:r>
                <a:rPr lang="en-US" sz="1200" dirty="0">
                  <a:solidFill>
                    <a:srgbClr val="313131"/>
                  </a:solidFill>
                </a:rPr>
                <a:t>Lorem ipsum </a:t>
              </a:r>
            </a:p>
          </p:txBody>
        </p:sp>
        <p:sp>
          <p:nvSpPr>
            <p:cNvPr id="17" name="Rectangle 16">
              <a:extLst>
                <a:ext uri="{FF2B5EF4-FFF2-40B4-BE49-F238E27FC236}">
                  <a16:creationId xmlns:a16="http://schemas.microsoft.com/office/drawing/2014/main" id="{AC1941A0-5F7C-4ECD-BA8B-E854E1ECE92B}"/>
                </a:ext>
              </a:extLst>
            </p:cNvPr>
            <p:cNvSpPr/>
            <p:nvPr/>
          </p:nvSpPr>
          <p:spPr>
            <a:xfrm>
              <a:off x="3791675" y="4325765"/>
              <a:ext cx="798598" cy="372868"/>
            </a:xfrm>
            <a:prstGeom prst="rect">
              <a:avLst/>
            </a:prstGeom>
          </p:spPr>
          <p:txBody>
            <a:bodyPr wrap="none" lIns="0" tIns="0" rIns="0" bIns="0">
              <a:spAutoFit/>
            </a:bodyPr>
            <a:lstStyle/>
            <a:p>
              <a:pPr lvl="0" algn="ctr" defTabSz="913686">
                <a:spcBef>
                  <a:spcPts val="600"/>
                </a:spcBef>
              </a:pPr>
              <a:r>
                <a:rPr lang="en-US" sz="1200" dirty="0">
                  <a:solidFill>
                    <a:srgbClr val="313131"/>
                  </a:solidFill>
                </a:rPr>
                <a:t>Lorem ipsum </a:t>
              </a:r>
              <a:br>
                <a:rPr lang="en-US" sz="1200" dirty="0">
                  <a:solidFill>
                    <a:srgbClr val="313131"/>
                  </a:solidFill>
                </a:rPr>
              </a:br>
              <a:r>
                <a:rPr lang="en-US" sz="1200" dirty="0">
                  <a:solidFill>
                    <a:srgbClr val="313131"/>
                  </a:solidFill>
                </a:rPr>
                <a:t>Lorem ipsum </a:t>
              </a:r>
            </a:p>
          </p:txBody>
        </p:sp>
        <p:sp>
          <p:nvSpPr>
            <p:cNvPr id="18" name="Rectangle 17">
              <a:extLst>
                <a:ext uri="{FF2B5EF4-FFF2-40B4-BE49-F238E27FC236}">
                  <a16:creationId xmlns:a16="http://schemas.microsoft.com/office/drawing/2014/main" id="{C0D24236-DA6F-4F03-B018-672C587C3701}"/>
                </a:ext>
              </a:extLst>
            </p:cNvPr>
            <p:cNvSpPr/>
            <p:nvPr/>
          </p:nvSpPr>
          <p:spPr>
            <a:xfrm>
              <a:off x="6034659" y="4745508"/>
              <a:ext cx="798598" cy="372868"/>
            </a:xfrm>
            <a:prstGeom prst="rect">
              <a:avLst/>
            </a:prstGeom>
          </p:spPr>
          <p:txBody>
            <a:bodyPr wrap="none" lIns="0" tIns="0" rIns="0" bIns="0">
              <a:spAutoFit/>
            </a:bodyPr>
            <a:lstStyle/>
            <a:p>
              <a:pPr lvl="0" algn="ctr" defTabSz="913686">
                <a:spcBef>
                  <a:spcPts val="600"/>
                </a:spcBef>
              </a:pPr>
              <a:r>
                <a:rPr lang="en-US" sz="1200" dirty="0">
                  <a:solidFill>
                    <a:srgbClr val="313131"/>
                  </a:solidFill>
                </a:rPr>
                <a:t>Lorem ipsum </a:t>
              </a:r>
              <a:br>
                <a:rPr lang="en-US" sz="1200" dirty="0">
                  <a:solidFill>
                    <a:srgbClr val="313131"/>
                  </a:solidFill>
                </a:rPr>
              </a:br>
              <a:r>
                <a:rPr lang="en-US" sz="1200" dirty="0">
                  <a:solidFill>
                    <a:srgbClr val="313131"/>
                  </a:solidFill>
                </a:rPr>
                <a:t>Lorem ipsum </a:t>
              </a:r>
            </a:p>
          </p:txBody>
        </p:sp>
        <p:sp>
          <p:nvSpPr>
            <p:cNvPr id="19" name="Freeform 12">
              <a:extLst>
                <a:ext uri="{FF2B5EF4-FFF2-40B4-BE49-F238E27FC236}">
                  <a16:creationId xmlns:a16="http://schemas.microsoft.com/office/drawing/2014/main" id="{5C05A681-CC92-418B-9B23-881129FEE57B}"/>
                </a:ext>
              </a:extLst>
            </p:cNvPr>
            <p:cNvSpPr>
              <a:spLocks/>
            </p:cNvSpPr>
            <p:nvPr/>
          </p:nvSpPr>
          <p:spPr bwMode="auto">
            <a:xfrm>
              <a:off x="738589" y="2460327"/>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bg2"/>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0" name="Freeform 12">
              <a:extLst>
                <a:ext uri="{FF2B5EF4-FFF2-40B4-BE49-F238E27FC236}">
                  <a16:creationId xmlns:a16="http://schemas.microsoft.com/office/drawing/2014/main" id="{771CBC0F-E07D-4E65-9D2F-EF06E463EB01}"/>
                </a:ext>
              </a:extLst>
            </p:cNvPr>
            <p:cNvSpPr>
              <a:spLocks/>
            </p:cNvSpPr>
            <p:nvPr/>
          </p:nvSpPr>
          <p:spPr bwMode="auto">
            <a:xfrm>
              <a:off x="6677904" y="2462645"/>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bg2"/>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1" name="Freeform 12">
              <a:extLst>
                <a:ext uri="{FF2B5EF4-FFF2-40B4-BE49-F238E27FC236}">
                  <a16:creationId xmlns:a16="http://schemas.microsoft.com/office/drawing/2014/main" id="{DC919930-61F7-4FA4-817B-4FA8BD229982}"/>
                </a:ext>
              </a:extLst>
            </p:cNvPr>
            <p:cNvSpPr>
              <a:spLocks/>
            </p:cNvSpPr>
            <p:nvPr/>
          </p:nvSpPr>
          <p:spPr bwMode="auto">
            <a:xfrm>
              <a:off x="4447979" y="5468731"/>
              <a:ext cx="975968" cy="839487"/>
            </a:xfrm>
            <a:custGeom>
              <a:avLst/>
              <a:gdLst>
                <a:gd name="T0" fmla="*/ 191 w 758"/>
                <a:gd name="T1" fmla="*/ 652 h 652"/>
                <a:gd name="T2" fmla="*/ 0 w 758"/>
                <a:gd name="T3" fmla="*/ 326 h 652"/>
                <a:gd name="T4" fmla="*/ 191 w 758"/>
                <a:gd name="T5" fmla="*/ 0 h 652"/>
                <a:gd name="T6" fmla="*/ 567 w 758"/>
                <a:gd name="T7" fmla="*/ 0 h 652"/>
                <a:gd name="T8" fmla="*/ 758 w 758"/>
                <a:gd name="T9" fmla="*/ 326 h 652"/>
                <a:gd name="T10" fmla="*/ 567 w 758"/>
                <a:gd name="T11" fmla="*/ 652 h 652"/>
                <a:gd name="T12" fmla="*/ 191 w 758"/>
                <a:gd name="T13" fmla="*/ 652 h 652"/>
              </a:gdLst>
              <a:ahLst/>
              <a:cxnLst>
                <a:cxn ang="0">
                  <a:pos x="T0" y="T1"/>
                </a:cxn>
                <a:cxn ang="0">
                  <a:pos x="T2" y="T3"/>
                </a:cxn>
                <a:cxn ang="0">
                  <a:pos x="T4" y="T5"/>
                </a:cxn>
                <a:cxn ang="0">
                  <a:pos x="T6" y="T7"/>
                </a:cxn>
                <a:cxn ang="0">
                  <a:pos x="T8" y="T9"/>
                </a:cxn>
                <a:cxn ang="0">
                  <a:pos x="T10" y="T11"/>
                </a:cxn>
                <a:cxn ang="0">
                  <a:pos x="T12" y="T13"/>
                </a:cxn>
              </a:cxnLst>
              <a:rect l="0" t="0" r="r" b="b"/>
              <a:pathLst>
                <a:path w="758" h="652">
                  <a:moveTo>
                    <a:pt x="191" y="652"/>
                  </a:moveTo>
                  <a:lnTo>
                    <a:pt x="0" y="326"/>
                  </a:lnTo>
                  <a:lnTo>
                    <a:pt x="191" y="0"/>
                  </a:lnTo>
                  <a:lnTo>
                    <a:pt x="567" y="0"/>
                  </a:lnTo>
                  <a:lnTo>
                    <a:pt x="758" y="326"/>
                  </a:lnTo>
                  <a:lnTo>
                    <a:pt x="567" y="652"/>
                  </a:lnTo>
                  <a:lnTo>
                    <a:pt x="191" y="652"/>
                  </a:lnTo>
                  <a:close/>
                </a:path>
              </a:pathLst>
            </a:custGeom>
            <a:solidFill>
              <a:schemeClr val="bg2"/>
            </a:solidFill>
            <a:ln w="12700" cap="flat">
              <a:solidFill>
                <a:schemeClr val="bg1"/>
              </a:solidFill>
              <a:prstDash val="solid"/>
              <a:miter lim="800000"/>
              <a:headEnd/>
              <a:tailEnd/>
            </a:ln>
          </p:spPr>
          <p:txBody>
            <a:bodyPr vert="horz" wrap="square" lIns="91370" tIns="45685" rIns="91370" bIns="45685" numCol="1" anchor="ctr"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2" name="Freeform 32">
              <a:extLst>
                <a:ext uri="{FF2B5EF4-FFF2-40B4-BE49-F238E27FC236}">
                  <a16:creationId xmlns:a16="http://schemas.microsoft.com/office/drawing/2014/main" id="{776B9A9D-1E19-4C73-BA31-B3F6CE9DF7DB}"/>
                </a:ext>
              </a:extLst>
            </p:cNvPr>
            <p:cNvSpPr>
              <a:spLocks noChangeAspect="1" noEditPoints="1"/>
            </p:cNvSpPr>
            <p:nvPr/>
          </p:nvSpPr>
          <p:spPr bwMode="auto">
            <a:xfrm>
              <a:off x="6983303" y="2718879"/>
              <a:ext cx="346118" cy="365120"/>
            </a:xfrm>
            <a:custGeom>
              <a:avLst/>
              <a:gdLst>
                <a:gd name="T0" fmla="*/ 2352 w 3206"/>
                <a:gd name="T1" fmla="*/ 346 h 3382"/>
                <a:gd name="T2" fmla="*/ 2289 w 3206"/>
                <a:gd name="T3" fmla="*/ 507 h 3382"/>
                <a:gd name="T4" fmla="*/ 2382 w 3206"/>
                <a:gd name="T5" fmla="*/ 650 h 3382"/>
                <a:gd name="T6" fmla="*/ 2553 w 3206"/>
                <a:gd name="T7" fmla="*/ 660 h 3382"/>
                <a:gd name="T8" fmla="*/ 2661 w 3206"/>
                <a:gd name="T9" fmla="*/ 524 h 3382"/>
                <a:gd name="T10" fmla="*/ 2617 w 3206"/>
                <a:gd name="T11" fmla="*/ 361 h 3382"/>
                <a:gd name="T12" fmla="*/ 2489 w 3206"/>
                <a:gd name="T13" fmla="*/ 0 h 3382"/>
                <a:gd name="T14" fmla="*/ 2762 w 3206"/>
                <a:gd name="T15" fmla="*/ 92 h 3382"/>
                <a:gd name="T16" fmla="*/ 2933 w 3206"/>
                <a:gd name="T17" fmla="*/ 316 h 3382"/>
                <a:gd name="T18" fmla="*/ 2952 w 3206"/>
                <a:gd name="T19" fmla="*/ 594 h 3382"/>
                <a:gd name="T20" fmla="*/ 2803 w 3206"/>
                <a:gd name="T21" fmla="*/ 848 h 3382"/>
                <a:gd name="T22" fmla="*/ 2537 w 3206"/>
                <a:gd name="T23" fmla="*/ 970 h 3382"/>
                <a:gd name="T24" fmla="*/ 2718 w 3206"/>
                <a:gd name="T25" fmla="*/ 1311 h 3382"/>
                <a:gd name="T26" fmla="*/ 2913 w 3206"/>
                <a:gd name="T27" fmla="*/ 1361 h 3382"/>
                <a:gd name="T28" fmla="*/ 3005 w 3206"/>
                <a:gd name="T29" fmla="*/ 1542 h 3382"/>
                <a:gd name="T30" fmla="*/ 2928 w 3206"/>
                <a:gd name="T31" fmla="*/ 1734 h 3382"/>
                <a:gd name="T32" fmla="*/ 2737 w 3206"/>
                <a:gd name="T33" fmla="*/ 1799 h 3382"/>
                <a:gd name="T34" fmla="*/ 2564 w 3206"/>
                <a:gd name="T35" fmla="*/ 1705 h 3382"/>
                <a:gd name="T36" fmla="*/ 1414 w 3206"/>
                <a:gd name="T37" fmla="*/ 2869 h 3382"/>
                <a:gd name="T38" fmla="*/ 1810 w 3206"/>
                <a:gd name="T39" fmla="*/ 2953 h 3382"/>
                <a:gd name="T40" fmla="*/ 2221 w 3206"/>
                <a:gd name="T41" fmla="*/ 2949 h 3382"/>
                <a:gd name="T42" fmla="*/ 2508 w 3206"/>
                <a:gd name="T43" fmla="*/ 2835 h 3382"/>
                <a:gd name="T44" fmla="*/ 2436 w 3206"/>
                <a:gd name="T45" fmla="*/ 2733 h 3382"/>
                <a:gd name="T46" fmla="*/ 2510 w 3206"/>
                <a:gd name="T47" fmla="*/ 2640 h 3382"/>
                <a:gd name="T48" fmla="*/ 2703 w 3206"/>
                <a:gd name="T49" fmla="*/ 2582 h 3382"/>
                <a:gd name="T50" fmla="*/ 3135 w 3206"/>
                <a:gd name="T51" fmla="*/ 2513 h 3382"/>
                <a:gd name="T52" fmla="*/ 2983 w 3206"/>
                <a:gd name="T53" fmla="*/ 2995 h 3382"/>
                <a:gd name="T54" fmla="*/ 2852 w 3206"/>
                <a:gd name="T55" fmla="*/ 3158 h 3382"/>
                <a:gd name="T56" fmla="*/ 2728 w 3206"/>
                <a:gd name="T57" fmla="*/ 3178 h 3382"/>
                <a:gd name="T58" fmla="*/ 2607 w 3206"/>
                <a:gd name="T59" fmla="*/ 3146 h 3382"/>
                <a:gd name="T60" fmla="*/ 2118 w 3206"/>
                <a:gd name="T61" fmla="*/ 3349 h 3382"/>
                <a:gd name="T62" fmla="*/ 1501 w 3206"/>
                <a:gd name="T63" fmla="*/ 3368 h 3382"/>
                <a:gd name="T64" fmla="*/ 875 w 3206"/>
                <a:gd name="T65" fmla="*/ 3294 h 3382"/>
                <a:gd name="T66" fmla="*/ 534 w 3206"/>
                <a:gd name="T67" fmla="*/ 2838 h 3382"/>
                <a:gd name="T68" fmla="*/ 236 w 3206"/>
                <a:gd name="T69" fmla="*/ 2330 h 3382"/>
                <a:gd name="T70" fmla="*/ 133 w 3206"/>
                <a:gd name="T71" fmla="*/ 1810 h 3382"/>
                <a:gd name="T72" fmla="*/ 67 w 3206"/>
                <a:gd name="T73" fmla="*/ 1637 h 3382"/>
                <a:gd name="T74" fmla="*/ 0 w 3206"/>
                <a:gd name="T75" fmla="*/ 1546 h 3382"/>
                <a:gd name="T76" fmla="*/ 30 w 3206"/>
                <a:gd name="T77" fmla="*/ 1425 h 3382"/>
                <a:gd name="T78" fmla="*/ 299 w 3206"/>
                <a:gd name="T79" fmla="*/ 933 h 3382"/>
                <a:gd name="T80" fmla="*/ 563 w 3206"/>
                <a:gd name="T81" fmla="*/ 1315 h 3382"/>
                <a:gd name="T82" fmla="*/ 624 w 3206"/>
                <a:gd name="T83" fmla="*/ 1551 h 3382"/>
                <a:gd name="T84" fmla="*/ 580 w 3206"/>
                <a:gd name="T85" fmla="*/ 1661 h 3382"/>
                <a:gd name="T86" fmla="*/ 455 w 3206"/>
                <a:gd name="T87" fmla="*/ 1651 h 3382"/>
                <a:gd name="T88" fmla="*/ 522 w 3206"/>
                <a:gd name="T89" fmla="*/ 2011 h 3382"/>
                <a:gd name="T90" fmla="*/ 787 w 3206"/>
                <a:gd name="T91" fmla="*/ 2419 h 3382"/>
                <a:gd name="T92" fmla="*/ 1486 w 3206"/>
                <a:gd name="T93" fmla="*/ 1022 h 3382"/>
                <a:gd name="T94" fmla="*/ 1271 w 3206"/>
                <a:gd name="T95" fmla="*/ 976 h 3382"/>
                <a:gd name="T96" fmla="*/ 1177 w 3206"/>
                <a:gd name="T97" fmla="*/ 796 h 3382"/>
                <a:gd name="T98" fmla="*/ 1255 w 3206"/>
                <a:gd name="T99" fmla="*/ 603 h 3382"/>
                <a:gd name="T100" fmla="*/ 1445 w 3206"/>
                <a:gd name="T101" fmla="*/ 538 h 3382"/>
                <a:gd name="T102" fmla="*/ 1622 w 3206"/>
                <a:gd name="T103" fmla="*/ 638 h 3382"/>
                <a:gd name="T104" fmla="*/ 2083 w 3206"/>
                <a:gd name="T105" fmla="*/ 773 h 3382"/>
                <a:gd name="T106" fmla="*/ 1990 w 3206"/>
                <a:gd name="T107" fmla="*/ 488 h 3382"/>
                <a:gd name="T108" fmla="*/ 2082 w 3206"/>
                <a:gd name="T109" fmla="*/ 201 h 3382"/>
                <a:gd name="T110" fmla="*/ 2305 w 3206"/>
                <a:gd name="T111" fmla="*/ 31 h 3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6" h="3382">
                  <a:moveTo>
                    <a:pt x="2485" y="299"/>
                  </a:moveTo>
                  <a:lnTo>
                    <a:pt x="2456" y="300"/>
                  </a:lnTo>
                  <a:lnTo>
                    <a:pt x="2428" y="305"/>
                  </a:lnTo>
                  <a:lnTo>
                    <a:pt x="2401" y="314"/>
                  </a:lnTo>
                  <a:lnTo>
                    <a:pt x="2375" y="328"/>
                  </a:lnTo>
                  <a:lnTo>
                    <a:pt x="2352" y="346"/>
                  </a:lnTo>
                  <a:lnTo>
                    <a:pt x="2331" y="367"/>
                  </a:lnTo>
                  <a:lnTo>
                    <a:pt x="2314" y="393"/>
                  </a:lnTo>
                  <a:lnTo>
                    <a:pt x="2300" y="421"/>
                  </a:lnTo>
                  <a:lnTo>
                    <a:pt x="2292" y="449"/>
                  </a:lnTo>
                  <a:lnTo>
                    <a:pt x="2288" y="478"/>
                  </a:lnTo>
                  <a:lnTo>
                    <a:pt x="2289" y="507"/>
                  </a:lnTo>
                  <a:lnTo>
                    <a:pt x="2294" y="536"/>
                  </a:lnTo>
                  <a:lnTo>
                    <a:pt x="2304" y="563"/>
                  </a:lnTo>
                  <a:lnTo>
                    <a:pt x="2318" y="589"/>
                  </a:lnTo>
                  <a:lnTo>
                    <a:pt x="2335" y="611"/>
                  </a:lnTo>
                  <a:lnTo>
                    <a:pt x="2357" y="633"/>
                  </a:lnTo>
                  <a:lnTo>
                    <a:pt x="2382" y="650"/>
                  </a:lnTo>
                  <a:lnTo>
                    <a:pt x="2410" y="663"/>
                  </a:lnTo>
                  <a:lnTo>
                    <a:pt x="2439" y="672"/>
                  </a:lnTo>
                  <a:lnTo>
                    <a:pt x="2468" y="675"/>
                  </a:lnTo>
                  <a:lnTo>
                    <a:pt x="2497" y="674"/>
                  </a:lnTo>
                  <a:lnTo>
                    <a:pt x="2525" y="669"/>
                  </a:lnTo>
                  <a:lnTo>
                    <a:pt x="2553" y="660"/>
                  </a:lnTo>
                  <a:lnTo>
                    <a:pt x="2578" y="645"/>
                  </a:lnTo>
                  <a:lnTo>
                    <a:pt x="2602" y="628"/>
                  </a:lnTo>
                  <a:lnTo>
                    <a:pt x="2622" y="606"/>
                  </a:lnTo>
                  <a:lnTo>
                    <a:pt x="2640" y="581"/>
                  </a:lnTo>
                  <a:lnTo>
                    <a:pt x="2653" y="553"/>
                  </a:lnTo>
                  <a:lnTo>
                    <a:pt x="2661" y="524"/>
                  </a:lnTo>
                  <a:lnTo>
                    <a:pt x="2664" y="495"/>
                  </a:lnTo>
                  <a:lnTo>
                    <a:pt x="2663" y="467"/>
                  </a:lnTo>
                  <a:lnTo>
                    <a:pt x="2658" y="438"/>
                  </a:lnTo>
                  <a:lnTo>
                    <a:pt x="2649" y="410"/>
                  </a:lnTo>
                  <a:lnTo>
                    <a:pt x="2636" y="385"/>
                  </a:lnTo>
                  <a:lnTo>
                    <a:pt x="2617" y="361"/>
                  </a:lnTo>
                  <a:lnTo>
                    <a:pt x="2596" y="341"/>
                  </a:lnTo>
                  <a:lnTo>
                    <a:pt x="2571" y="323"/>
                  </a:lnTo>
                  <a:lnTo>
                    <a:pt x="2543" y="310"/>
                  </a:lnTo>
                  <a:lnTo>
                    <a:pt x="2515" y="302"/>
                  </a:lnTo>
                  <a:lnTo>
                    <a:pt x="2485" y="299"/>
                  </a:lnTo>
                  <a:close/>
                  <a:moveTo>
                    <a:pt x="2489" y="0"/>
                  </a:moveTo>
                  <a:lnTo>
                    <a:pt x="2536" y="3"/>
                  </a:lnTo>
                  <a:lnTo>
                    <a:pt x="2583" y="11"/>
                  </a:lnTo>
                  <a:lnTo>
                    <a:pt x="2630" y="25"/>
                  </a:lnTo>
                  <a:lnTo>
                    <a:pt x="2676" y="42"/>
                  </a:lnTo>
                  <a:lnTo>
                    <a:pt x="2720" y="65"/>
                  </a:lnTo>
                  <a:lnTo>
                    <a:pt x="2762" y="92"/>
                  </a:lnTo>
                  <a:lnTo>
                    <a:pt x="2800" y="122"/>
                  </a:lnTo>
                  <a:lnTo>
                    <a:pt x="2835" y="156"/>
                  </a:lnTo>
                  <a:lnTo>
                    <a:pt x="2865" y="193"/>
                  </a:lnTo>
                  <a:lnTo>
                    <a:pt x="2891" y="232"/>
                  </a:lnTo>
                  <a:lnTo>
                    <a:pt x="2915" y="273"/>
                  </a:lnTo>
                  <a:lnTo>
                    <a:pt x="2933" y="316"/>
                  </a:lnTo>
                  <a:lnTo>
                    <a:pt x="2946" y="360"/>
                  </a:lnTo>
                  <a:lnTo>
                    <a:pt x="2957" y="406"/>
                  </a:lnTo>
                  <a:lnTo>
                    <a:pt x="2962" y="452"/>
                  </a:lnTo>
                  <a:lnTo>
                    <a:pt x="2963" y="500"/>
                  </a:lnTo>
                  <a:lnTo>
                    <a:pt x="2960" y="547"/>
                  </a:lnTo>
                  <a:lnTo>
                    <a:pt x="2952" y="594"/>
                  </a:lnTo>
                  <a:lnTo>
                    <a:pt x="2938" y="640"/>
                  </a:lnTo>
                  <a:lnTo>
                    <a:pt x="2921" y="686"/>
                  </a:lnTo>
                  <a:lnTo>
                    <a:pt x="2898" y="730"/>
                  </a:lnTo>
                  <a:lnTo>
                    <a:pt x="2871" y="773"/>
                  </a:lnTo>
                  <a:lnTo>
                    <a:pt x="2839" y="812"/>
                  </a:lnTo>
                  <a:lnTo>
                    <a:pt x="2803" y="848"/>
                  </a:lnTo>
                  <a:lnTo>
                    <a:pt x="2765" y="879"/>
                  </a:lnTo>
                  <a:lnTo>
                    <a:pt x="2723" y="907"/>
                  </a:lnTo>
                  <a:lnTo>
                    <a:pt x="2680" y="929"/>
                  </a:lnTo>
                  <a:lnTo>
                    <a:pt x="2634" y="948"/>
                  </a:lnTo>
                  <a:lnTo>
                    <a:pt x="2587" y="961"/>
                  </a:lnTo>
                  <a:lnTo>
                    <a:pt x="2537" y="970"/>
                  </a:lnTo>
                  <a:lnTo>
                    <a:pt x="2487" y="974"/>
                  </a:lnTo>
                  <a:lnTo>
                    <a:pt x="2437" y="972"/>
                  </a:lnTo>
                  <a:lnTo>
                    <a:pt x="2335" y="1148"/>
                  </a:lnTo>
                  <a:lnTo>
                    <a:pt x="2653" y="1331"/>
                  </a:lnTo>
                  <a:lnTo>
                    <a:pt x="2685" y="1319"/>
                  </a:lnTo>
                  <a:lnTo>
                    <a:pt x="2718" y="1311"/>
                  </a:lnTo>
                  <a:lnTo>
                    <a:pt x="2752" y="1308"/>
                  </a:lnTo>
                  <a:lnTo>
                    <a:pt x="2785" y="1309"/>
                  </a:lnTo>
                  <a:lnTo>
                    <a:pt x="2818" y="1315"/>
                  </a:lnTo>
                  <a:lnTo>
                    <a:pt x="2851" y="1325"/>
                  </a:lnTo>
                  <a:lnTo>
                    <a:pt x="2882" y="1341"/>
                  </a:lnTo>
                  <a:lnTo>
                    <a:pt x="2913" y="1361"/>
                  </a:lnTo>
                  <a:lnTo>
                    <a:pt x="2938" y="1386"/>
                  </a:lnTo>
                  <a:lnTo>
                    <a:pt x="2961" y="1413"/>
                  </a:lnTo>
                  <a:lnTo>
                    <a:pt x="2978" y="1442"/>
                  </a:lnTo>
                  <a:lnTo>
                    <a:pt x="2992" y="1474"/>
                  </a:lnTo>
                  <a:lnTo>
                    <a:pt x="3001" y="1507"/>
                  </a:lnTo>
                  <a:lnTo>
                    <a:pt x="3005" y="1542"/>
                  </a:lnTo>
                  <a:lnTo>
                    <a:pt x="3004" y="1576"/>
                  </a:lnTo>
                  <a:lnTo>
                    <a:pt x="2999" y="1611"/>
                  </a:lnTo>
                  <a:lnTo>
                    <a:pt x="2989" y="1644"/>
                  </a:lnTo>
                  <a:lnTo>
                    <a:pt x="2972" y="1677"/>
                  </a:lnTo>
                  <a:lnTo>
                    <a:pt x="2952" y="1708"/>
                  </a:lnTo>
                  <a:lnTo>
                    <a:pt x="2928" y="1734"/>
                  </a:lnTo>
                  <a:lnTo>
                    <a:pt x="2900" y="1756"/>
                  </a:lnTo>
                  <a:lnTo>
                    <a:pt x="2871" y="1774"/>
                  </a:lnTo>
                  <a:lnTo>
                    <a:pt x="2839" y="1787"/>
                  </a:lnTo>
                  <a:lnTo>
                    <a:pt x="2806" y="1796"/>
                  </a:lnTo>
                  <a:lnTo>
                    <a:pt x="2772" y="1800"/>
                  </a:lnTo>
                  <a:lnTo>
                    <a:pt x="2737" y="1799"/>
                  </a:lnTo>
                  <a:lnTo>
                    <a:pt x="2702" y="1794"/>
                  </a:lnTo>
                  <a:lnTo>
                    <a:pt x="2669" y="1784"/>
                  </a:lnTo>
                  <a:lnTo>
                    <a:pt x="2636" y="1767"/>
                  </a:lnTo>
                  <a:lnTo>
                    <a:pt x="2609" y="1750"/>
                  </a:lnTo>
                  <a:lnTo>
                    <a:pt x="2584" y="1728"/>
                  </a:lnTo>
                  <a:lnTo>
                    <a:pt x="2564" y="1705"/>
                  </a:lnTo>
                  <a:lnTo>
                    <a:pt x="2547" y="1678"/>
                  </a:lnTo>
                  <a:lnTo>
                    <a:pt x="2532" y="1649"/>
                  </a:lnTo>
                  <a:lnTo>
                    <a:pt x="2522" y="1620"/>
                  </a:lnTo>
                  <a:lnTo>
                    <a:pt x="2178" y="1421"/>
                  </a:lnTo>
                  <a:lnTo>
                    <a:pt x="1354" y="2850"/>
                  </a:lnTo>
                  <a:lnTo>
                    <a:pt x="1414" y="2869"/>
                  </a:lnTo>
                  <a:lnTo>
                    <a:pt x="1476" y="2887"/>
                  </a:lnTo>
                  <a:lnTo>
                    <a:pt x="1540" y="2904"/>
                  </a:lnTo>
                  <a:lnTo>
                    <a:pt x="1606" y="2919"/>
                  </a:lnTo>
                  <a:lnTo>
                    <a:pt x="1674" y="2933"/>
                  </a:lnTo>
                  <a:lnTo>
                    <a:pt x="1741" y="2944"/>
                  </a:lnTo>
                  <a:lnTo>
                    <a:pt x="1810" y="2953"/>
                  </a:lnTo>
                  <a:lnTo>
                    <a:pt x="1880" y="2959"/>
                  </a:lnTo>
                  <a:lnTo>
                    <a:pt x="1950" y="2963"/>
                  </a:lnTo>
                  <a:lnTo>
                    <a:pt x="2018" y="2966"/>
                  </a:lnTo>
                  <a:lnTo>
                    <a:pt x="2087" y="2963"/>
                  </a:lnTo>
                  <a:lnTo>
                    <a:pt x="2155" y="2958"/>
                  </a:lnTo>
                  <a:lnTo>
                    <a:pt x="2221" y="2949"/>
                  </a:lnTo>
                  <a:lnTo>
                    <a:pt x="2287" y="2937"/>
                  </a:lnTo>
                  <a:lnTo>
                    <a:pt x="2351" y="2921"/>
                  </a:lnTo>
                  <a:lnTo>
                    <a:pt x="2413" y="2901"/>
                  </a:lnTo>
                  <a:lnTo>
                    <a:pt x="2473" y="2876"/>
                  </a:lnTo>
                  <a:lnTo>
                    <a:pt x="2530" y="2847"/>
                  </a:lnTo>
                  <a:lnTo>
                    <a:pt x="2508" y="2835"/>
                  </a:lnTo>
                  <a:lnTo>
                    <a:pt x="2487" y="2823"/>
                  </a:lnTo>
                  <a:lnTo>
                    <a:pt x="2470" y="2809"/>
                  </a:lnTo>
                  <a:lnTo>
                    <a:pt x="2454" y="2792"/>
                  </a:lnTo>
                  <a:lnTo>
                    <a:pt x="2443" y="2775"/>
                  </a:lnTo>
                  <a:lnTo>
                    <a:pt x="2437" y="2754"/>
                  </a:lnTo>
                  <a:lnTo>
                    <a:pt x="2436" y="2733"/>
                  </a:lnTo>
                  <a:lnTo>
                    <a:pt x="2439" y="2711"/>
                  </a:lnTo>
                  <a:lnTo>
                    <a:pt x="2447" y="2693"/>
                  </a:lnTo>
                  <a:lnTo>
                    <a:pt x="2459" y="2677"/>
                  </a:lnTo>
                  <a:lnTo>
                    <a:pt x="2474" y="2663"/>
                  </a:lnTo>
                  <a:lnTo>
                    <a:pt x="2491" y="2651"/>
                  </a:lnTo>
                  <a:lnTo>
                    <a:pt x="2510" y="2640"/>
                  </a:lnTo>
                  <a:lnTo>
                    <a:pt x="2529" y="2631"/>
                  </a:lnTo>
                  <a:lnTo>
                    <a:pt x="2550" y="2623"/>
                  </a:lnTo>
                  <a:lnTo>
                    <a:pt x="2569" y="2617"/>
                  </a:lnTo>
                  <a:lnTo>
                    <a:pt x="2588" y="2611"/>
                  </a:lnTo>
                  <a:lnTo>
                    <a:pt x="2645" y="2595"/>
                  </a:lnTo>
                  <a:lnTo>
                    <a:pt x="2703" y="2582"/>
                  </a:lnTo>
                  <a:lnTo>
                    <a:pt x="2763" y="2571"/>
                  </a:lnTo>
                  <a:lnTo>
                    <a:pt x="2821" y="2561"/>
                  </a:lnTo>
                  <a:lnTo>
                    <a:pt x="2916" y="2546"/>
                  </a:lnTo>
                  <a:lnTo>
                    <a:pt x="3010" y="2533"/>
                  </a:lnTo>
                  <a:lnTo>
                    <a:pt x="3073" y="2523"/>
                  </a:lnTo>
                  <a:lnTo>
                    <a:pt x="3135" y="2513"/>
                  </a:lnTo>
                  <a:lnTo>
                    <a:pt x="3206" y="2612"/>
                  </a:lnTo>
                  <a:lnTo>
                    <a:pt x="3153" y="2706"/>
                  </a:lnTo>
                  <a:lnTo>
                    <a:pt x="3099" y="2800"/>
                  </a:lnTo>
                  <a:lnTo>
                    <a:pt x="3046" y="2895"/>
                  </a:lnTo>
                  <a:lnTo>
                    <a:pt x="3015" y="2945"/>
                  </a:lnTo>
                  <a:lnTo>
                    <a:pt x="2983" y="2995"/>
                  </a:lnTo>
                  <a:lnTo>
                    <a:pt x="2950" y="3045"/>
                  </a:lnTo>
                  <a:lnTo>
                    <a:pt x="2915" y="3092"/>
                  </a:lnTo>
                  <a:lnTo>
                    <a:pt x="2901" y="3108"/>
                  </a:lnTo>
                  <a:lnTo>
                    <a:pt x="2887" y="3126"/>
                  </a:lnTo>
                  <a:lnTo>
                    <a:pt x="2871" y="3143"/>
                  </a:lnTo>
                  <a:lnTo>
                    <a:pt x="2852" y="3158"/>
                  </a:lnTo>
                  <a:lnTo>
                    <a:pt x="2834" y="3173"/>
                  </a:lnTo>
                  <a:lnTo>
                    <a:pt x="2813" y="3183"/>
                  </a:lnTo>
                  <a:lnTo>
                    <a:pt x="2793" y="3190"/>
                  </a:lnTo>
                  <a:lnTo>
                    <a:pt x="2770" y="3191"/>
                  </a:lnTo>
                  <a:lnTo>
                    <a:pt x="2748" y="3187"/>
                  </a:lnTo>
                  <a:lnTo>
                    <a:pt x="2728" y="3178"/>
                  </a:lnTo>
                  <a:lnTo>
                    <a:pt x="2714" y="3166"/>
                  </a:lnTo>
                  <a:lnTo>
                    <a:pt x="2701" y="3150"/>
                  </a:lnTo>
                  <a:lnTo>
                    <a:pt x="2692" y="3133"/>
                  </a:lnTo>
                  <a:lnTo>
                    <a:pt x="2686" y="3113"/>
                  </a:lnTo>
                  <a:lnTo>
                    <a:pt x="2682" y="3094"/>
                  </a:lnTo>
                  <a:lnTo>
                    <a:pt x="2607" y="3146"/>
                  </a:lnTo>
                  <a:lnTo>
                    <a:pt x="2531" y="3193"/>
                  </a:lnTo>
                  <a:lnTo>
                    <a:pt x="2452" y="3235"/>
                  </a:lnTo>
                  <a:lnTo>
                    <a:pt x="2372" y="3271"/>
                  </a:lnTo>
                  <a:lnTo>
                    <a:pt x="2289" y="3303"/>
                  </a:lnTo>
                  <a:lnTo>
                    <a:pt x="2205" y="3329"/>
                  </a:lnTo>
                  <a:lnTo>
                    <a:pt x="2118" y="3349"/>
                  </a:lnTo>
                  <a:lnTo>
                    <a:pt x="2029" y="3365"/>
                  </a:lnTo>
                  <a:lnTo>
                    <a:pt x="1936" y="3375"/>
                  </a:lnTo>
                  <a:lnTo>
                    <a:pt x="1842" y="3381"/>
                  </a:lnTo>
                  <a:lnTo>
                    <a:pt x="1727" y="3382"/>
                  </a:lnTo>
                  <a:lnTo>
                    <a:pt x="1614" y="3377"/>
                  </a:lnTo>
                  <a:lnTo>
                    <a:pt x="1501" y="3368"/>
                  </a:lnTo>
                  <a:lnTo>
                    <a:pt x="1390" y="3355"/>
                  </a:lnTo>
                  <a:lnTo>
                    <a:pt x="1277" y="3341"/>
                  </a:lnTo>
                  <a:lnTo>
                    <a:pt x="1165" y="3326"/>
                  </a:lnTo>
                  <a:lnTo>
                    <a:pt x="1053" y="3312"/>
                  </a:lnTo>
                  <a:lnTo>
                    <a:pt x="939" y="3300"/>
                  </a:lnTo>
                  <a:lnTo>
                    <a:pt x="875" y="3294"/>
                  </a:lnTo>
                  <a:lnTo>
                    <a:pt x="837" y="3240"/>
                  </a:lnTo>
                  <a:lnTo>
                    <a:pt x="777" y="3158"/>
                  </a:lnTo>
                  <a:lnTo>
                    <a:pt x="717" y="3078"/>
                  </a:lnTo>
                  <a:lnTo>
                    <a:pt x="655" y="2998"/>
                  </a:lnTo>
                  <a:lnTo>
                    <a:pt x="595" y="2918"/>
                  </a:lnTo>
                  <a:lnTo>
                    <a:pt x="534" y="2838"/>
                  </a:lnTo>
                  <a:lnTo>
                    <a:pt x="476" y="2757"/>
                  </a:lnTo>
                  <a:lnTo>
                    <a:pt x="419" y="2674"/>
                  </a:lnTo>
                  <a:lnTo>
                    <a:pt x="366" y="2588"/>
                  </a:lnTo>
                  <a:lnTo>
                    <a:pt x="316" y="2500"/>
                  </a:lnTo>
                  <a:lnTo>
                    <a:pt x="273" y="2415"/>
                  </a:lnTo>
                  <a:lnTo>
                    <a:pt x="236" y="2330"/>
                  </a:lnTo>
                  <a:lnTo>
                    <a:pt x="205" y="2244"/>
                  </a:lnTo>
                  <a:lnTo>
                    <a:pt x="179" y="2159"/>
                  </a:lnTo>
                  <a:lnTo>
                    <a:pt x="159" y="2072"/>
                  </a:lnTo>
                  <a:lnTo>
                    <a:pt x="145" y="1986"/>
                  </a:lnTo>
                  <a:lnTo>
                    <a:pt x="136" y="1898"/>
                  </a:lnTo>
                  <a:lnTo>
                    <a:pt x="133" y="1810"/>
                  </a:lnTo>
                  <a:lnTo>
                    <a:pt x="135" y="1719"/>
                  </a:lnTo>
                  <a:lnTo>
                    <a:pt x="144" y="1628"/>
                  </a:lnTo>
                  <a:lnTo>
                    <a:pt x="125" y="1634"/>
                  </a:lnTo>
                  <a:lnTo>
                    <a:pt x="106" y="1638"/>
                  </a:lnTo>
                  <a:lnTo>
                    <a:pt x="86" y="1639"/>
                  </a:lnTo>
                  <a:lnTo>
                    <a:pt x="67" y="1637"/>
                  </a:lnTo>
                  <a:lnTo>
                    <a:pt x="48" y="1630"/>
                  </a:lnTo>
                  <a:lnTo>
                    <a:pt x="31" y="1618"/>
                  </a:lnTo>
                  <a:lnTo>
                    <a:pt x="16" y="1602"/>
                  </a:lnTo>
                  <a:lnTo>
                    <a:pt x="7" y="1585"/>
                  </a:lnTo>
                  <a:lnTo>
                    <a:pt x="2" y="1565"/>
                  </a:lnTo>
                  <a:lnTo>
                    <a:pt x="0" y="1546"/>
                  </a:lnTo>
                  <a:lnTo>
                    <a:pt x="1" y="1524"/>
                  </a:lnTo>
                  <a:lnTo>
                    <a:pt x="4" y="1504"/>
                  </a:lnTo>
                  <a:lnTo>
                    <a:pt x="9" y="1482"/>
                  </a:lnTo>
                  <a:lnTo>
                    <a:pt x="15" y="1463"/>
                  </a:lnTo>
                  <a:lnTo>
                    <a:pt x="23" y="1443"/>
                  </a:lnTo>
                  <a:lnTo>
                    <a:pt x="30" y="1425"/>
                  </a:lnTo>
                  <a:lnTo>
                    <a:pt x="62" y="1353"/>
                  </a:lnTo>
                  <a:lnTo>
                    <a:pt x="97" y="1282"/>
                  </a:lnTo>
                  <a:lnTo>
                    <a:pt x="134" y="1214"/>
                  </a:lnTo>
                  <a:lnTo>
                    <a:pt x="189" y="1120"/>
                  </a:lnTo>
                  <a:lnTo>
                    <a:pt x="245" y="1027"/>
                  </a:lnTo>
                  <a:lnTo>
                    <a:pt x="299" y="933"/>
                  </a:lnTo>
                  <a:lnTo>
                    <a:pt x="419" y="945"/>
                  </a:lnTo>
                  <a:lnTo>
                    <a:pt x="442" y="1004"/>
                  </a:lnTo>
                  <a:lnTo>
                    <a:pt x="466" y="1064"/>
                  </a:lnTo>
                  <a:lnTo>
                    <a:pt x="502" y="1152"/>
                  </a:lnTo>
                  <a:lnTo>
                    <a:pt x="535" y="1241"/>
                  </a:lnTo>
                  <a:lnTo>
                    <a:pt x="563" y="1315"/>
                  </a:lnTo>
                  <a:lnTo>
                    <a:pt x="589" y="1392"/>
                  </a:lnTo>
                  <a:lnTo>
                    <a:pt x="609" y="1469"/>
                  </a:lnTo>
                  <a:lnTo>
                    <a:pt x="614" y="1487"/>
                  </a:lnTo>
                  <a:lnTo>
                    <a:pt x="618" y="1508"/>
                  </a:lnTo>
                  <a:lnTo>
                    <a:pt x="621" y="1528"/>
                  </a:lnTo>
                  <a:lnTo>
                    <a:pt x="624" y="1551"/>
                  </a:lnTo>
                  <a:lnTo>
                    <a:pt x="624" y="1573"/>
                  </a:lnTo>
                  <a:lnTo>
                    <a:pt x="621" y="1593"/>
                  </a:lnTo>
                  <a:lnTo>
                    <a:pt x="616" y="1613"/>
                  </a:lnTo>
                  <a:lnTo>
                    <a:pt x="608" y="1631"/>
                  </a:lnTo>
                  <a:lnTo>
                    <a:pt x="597" y="1647"/>
                  </a:lnTo>
                  <a:lnTo>
                    <a:pt x="580" y="1661"/>
                  </a:lnTo>
                  <a:lnTo>
                    <a:pt x="560" y="1671"/>
                  </a:lnTo>
                  <a:lnTo>
                    <a:pt x="539" y="1675"/>
                  </a:lnTo>
                  <a:lnTo>
                    <a:pt x="519" y="1675"/>
                  </a:lnTo>
                  <a:lnTo>
                    <a:pt x="497" y="1670"/>
                  </a:lnTo>
                  <a:lnTo>
                    <a:pt x="476" y="1662"/>
                  </a:lnTo>
                  <a:lnTo>
                    <a:pt x="455" y="1651"/>
                  </a:lnTo>
                  <a:lnTo>
                    <a:pt x="434" y="1636"/>
                  </a:lnTo>
                  <a:lnTo>
                    <a:pt x="439" y="1712"/>
                  </a:lnTo>
                  <a:lnTo>
                    <a:pt x="450" y="1788"/>
                  </a:lnTo>
                  <a:lnTo>
                    <a:pt x="468" y="1863"/>
                  </a:lnTo>
                  <a:lnTo>
                    <a:pt x="492" y="1937"/>
                  </a:lnTo>
                  <a:lnTo>
                    <a:pt x="522" y="2011"/>
                  </a:lnTo>
                  <a:lnTo>
                    <a:pt x="557" y="2083"/>
                  </a:lnTo>
                  <a:lnTo>
                    <a:pt x="596" y="2154"/>
                  </a:lnTo>
                  <a:lnTo>
                    <a:pt x="639" y="2223"/>
                  </a:lnTo>
                  <a:lnTo>
                    <a:pt x="686" y="2291"/>
                  </a:lnTo>
                  <a:lnTo>
                    <a:pt x="735" y="2356"/>
                  </a:lnTo>
                  <a:lnTo>
                    <a:pt x="787" y="2419"/>
                  </a:lnTo>
                  <a:lnTo>
                    <a:pt x="840" y="2479"/>
                  </a:lnTo>
                  <a:lnTo>
                    <a:pt x="894" y="2537"/>
                  </a:lnTo>
                  <a:lnTo>
                    <a:pt x="949" y="2591"/>
                  </a:lnTo>
                  <a:lnTo>
                    <a:pt x="1004" y="2642"/>
                  </a:lnTo>
                  <a:lnTo>
                    <a:pt x="1826" y="1218"/>
                  </a:lnTo>
                  <a:lnTo>
                    <a:pt x="1486" y="1022"/>
                  </a:lnTo>
                  <a:lnTo>
                    <a:pt x="1448" y="1028"/>
                  </a:lnTo>
                  <a:lnTo>
                    <a:pt x="1410" y="1029"/>
                  </a:lnTo>
                  <a:lnTo>
                    <a:pt x="1372" y="1024"/>
                  </a:lnTo>
                  <a:lnTo>
                    <a:pt x="1335" y="1014"/>
                  </a:lnTo>
                  <a:lnTo>
                    <a:pt x="1300" y="996"/>
                  </a:lnTo>
                  <a:lnTo>
                    <a:pt x="1271" y="976"/>
                  </a:lnTo>
                  <a:lnTo>
                    <a:pt x="1244" y="952"/>
                  </a:lnTo>
                  <a:lnTo>
                    <a:pt x="1221" y="924"/>
                  </a:lnTo>
                  <a:lnTo>
                    <a:pt x="1204" y="896"/>
                  </a:lnTo>
                  <a:lnTo>
                    <a:pt x="1191" y="864"/>
                  </a:lnTo>
                  <a:lnTo>
                    <a:pt x="1181" y="830"/>
                  </a:lnTo>
                  <a:lnTo>
                    <a:pt x="1177" y="796"/>
                  </a:lnTo>
                  <a:lnTo>
                    <a:pt x="1178" y="761"/>
                  </a:lnTo>
                  <a:lnTo>
                    <a:pt x="1184" y="727"/>
                  </a:lnTo>
                  <a:lnTo>
                    <a:pt x="1195" y="692"/>
                  </a:lnTo>
                  <a:lnTo>
                    <a:pt x="1210" y="660"/>
                  </a:lnTo>
                  <a:lnTo>
                    <a:pt x="1231" y="630"/>
                  </a:lnTo>
                  <a:lnTo>
                    <a:pt x="1255" y="603"/>
                  </a:lnTo>
                  <a:lnTo>
                    <a:pt x="1282" y="582"/>
                  </a:lnTo>
                  <a:lnTo>
                    <a:pt x="1312" y="564"/>
                  </a:lnTo>
                  <a:lnTo>
                    <a:pt x="1344" y="550"/>
                  </a:lnTo>
                  <a:lnTo>
                    <a:pt x="1376" y="542"/>
                  </a:lnTo>
                  <a:lnTo>
                    <a:pt x="1411" y="538"/>
                  </a:lnTo>
                  <a:lnTo>
                    <a:pt x="1445" y="538"/>
                  </a:lnTo>
                  <a:lnTo>
                    <a:pt x="1480" y="544"/>
                  </a:lnTo>
                  <a:lnTo>
                    <a:pt x="1514" y="554"/>
                  </a:lnTo>
                  <a:lnTo>
                    <a:pt x="1547" y="570"/>
                  </a:lnTo>
                  <a:lnTo>
                    <a:pt x="1575" y="589"/>
                  </a:lnTo>
                  <a:lnTo>
                    <a:pt x="1601" y="612"/>
                  </a:lnTo>
                  <a:lnTo>
                    <a:pt x="1622" y="638"/>
                  </a:lnTo>
                  <a:lnTo>
                    <a:pt x="1641" y="667"/>
                  </a:lnTo>
                  <a:lnTo>
                    <a:pt x="1654" y="698"/>
                  </a:lnTo>
                  <a:lnTo>
                    <a:pt x="1663" y="729"/>
                  </a:lnTo>
                  <a:lnTo>
                    <a:pt x="1669" y="763"/>
                  </a:lnTo>
                  <a:lnTo>
                    <a:pt x="1983" y="945"/>
                  </a:lnTo>
                  <a:lnTo>
                    <a:pt x="2083" y="773"/>
                  </a:lnTo>
                  <a:lnTo>
                    <a:pt x="2054" y="730"/>
                  </a:lnTo>
                  <a:lnTo>
                    <a:pt x="2032" y="684"/>
                  </a:lnTo>
                  <a:lnTo>
                    <a:pt x="2013" y="637"/>
                  </a:lnTo>
                  <a:lnTo>
                    <a:pt x="2000" y="588"/>
                  </a:lnTo>
                  <a:lnTo>
                    <a:pt x="1993" y="539"/>
                  </a:lnTo>
                  <a:lnTo>
                    <a:pt x="1990" y="488"/>
                  </a:lnTo>
                  <a:lnTo>
                    <a:pt x="1992" y="438"/>
                  </a:lnTo>
                  <a:lnTo>
                    <a:pt x="2000" y="388"/>
                  </a:lnTo>
                  <a:lnTo>
                    <a:pt x="2012" y="339"/>
                  </a:lnTo>
                  <a:lnTo>
                    <a:pt x="2031" y="290"/>
                  </a:lnTo>
                  <a:lnTo>
                    <a:pt x="2054" y="243"/>
                  </a:lnTo>
                  <a:lnTo>
                    <a:pt x="2082" y="201"/>
                  </a:lnTo>
                  <a:lnTo>
                    <a:pt x="2113" y="163"/>
                  </a:lnTo>
                  <a:lnTo>
                    <a:pt x="2147" y="128"/>
                  </a:lnTo>
                  <a:lnTo>
                    <a:pt x="2182" y="99"/>
                  </a:lnTo>
                  <a:lnTo>
                    <a:pt x="2221" y="72"/>
                  </a:lnTo>
                  <a:lnTo>
                    <a:pt x="2262" y="49"/>
                  </a:lnTo>
                  <a:lnTo>
                    <a:pt x="2305" y="31"/>
                  </a:lnTo>
                  <a:lnTo>
                    <a:pt x="2351" y="16"/>
                  </a:lnTo>
                  <a:lnTo>
                    <a:pt x="2396" y="6"/>
                  </a:lnTo>
                  <a:lnTo>
                    <a:pt x="2443" y="1"/>
                  </a:lnTo>
                  <a:lnTo>
                    <a:pt x="2489" y="0"/>
                  </a:lnTo>
                  <a:close/>
                </a:path>
              </a:pathLst>
            </a:custGeom>
            <a:solidFill>
              <a:schemeClr val="bg1"/>
            </a:solidFill>
            <a:ln w="0">
              <a:noFill/>
              <a:prstDash val="solid"/>
              <a:round/>
              <a:headEnd/>
              <a:tailEnd/>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Light"/>
                <a:ea typeface="+mn-ea"/>
                <a:cs typeface="+mn-cs"/>
              </a:endParaRPr>
            </a:p>
          </p:txBody>
        </p:sp>
        <p:sp>
          <p:nvSpPr>
            <p:cNvPr id="23" name="Freeform 37">
              <a:extLst>
                <a:ext uri="{FF2B5EF4-FFF2-40B4-BE49-F238E27FC236}">
                  <a16:creationId xmlns:a16="http://schemas.microsoft.com/office/drawing/2014/main" id="{6C805AAB-A126-498B-B11A-E071A328562B}"/>
                </a:ext>
              </a:extLst>
            </p:cNvPr>
            <p:cNvSpPr>
              <a:spLocks noChangeAspect="1" noEditPoints="1"/>
            </p:cNvSpPr>
            <p:nvPr/>
          </p:nvSpPr>
          <p:spPr bwMode="auto">
            <a:xfrm>
              <a:off x="4755930" y="5737597"/>
              <a:ext cx="360066" cy="301752"/>
            </a:xfrm>
            <a:custGeom>
              <a:avLst/>
              <a:gdLst>
                <a:gd name="T0" fmla="*/ 0 w 184"/>
                <a:gd name="T1" fmla="*/ 54 h 154"/>
                <a:gd name="T2" fmla="*/ 0 w 184"/>
                <a:gd name="T3" fmla="*/ 135 h 154"/>
                <a:gd name="T4" fmla="*/ 18 w 184"/>
                <a:gd name="T5" fmla="*/ 153 h 154"/>
                <a:gd name="T6" fmla="*/ 28 w 184"/>
                <a:gd name="T7" fmla="*/ 153 h 154"/>
                <a:gd name="T8" fmla="*/ 28 w 184"/>
                <a:gd name="T9" fmla="*/ 38 h 154"/>
                <a:gd name="T10" fmla="*/ 19 w 184"/>
                <a:gd name="T11" fmla="*/ 38 h 154"/>
                <a:gd name="T12" fmla="*/ 0 w 184"/>
                <a:gd name="T13" fmla="*/ 54 h 154"/>
                <a:gd name="T14" fmla="*/ 164 w 184"/>
                <a:gd name="T15" fmla="*/ 38 h 154"/>
                <a:gd name="T16" fmla="*/ 156 w 184"/>
                <a:gd name="T17" fmla="*/ 38 h 154"/>
                <a:gd name="T18" fmla="*/ 156 w 184"/>
                <a:gd name="T19" fmla="*/ 154 h 154"/>
                <a:gd name="T20" fmla="*/ 166 w 184"/>
                <a:gd name="T21" fmla="*/ 154 h 154"/>
                <a:gd name="T22" fmla="*/ 184 w 184"/>
                <a:gd name="T23" fmla="*/ 135 h 154"/>
                <a:gd name="T24" fmla="*/ 184 w 184"/>
                <a:gd name="T25" fmla="*/ 54 h 154"/>
                <a:gd name="T26" fmla="*/ 164 w 184"/>
                <a:gd name="T27" fmla="*/ 38 h 154"/>
                <a:gd name="T28" fmla="*/ 36 w 184"/>
                <a:gd name="T29" fmla="*/ 153 h 154"/>
                <a:gd name="T30" fmla="*/ 148 w 184"/>
                <a:gd name="T31" fmla="*/ 154 h 154"/>
                <a:gd name="T32" fmla="*/ 148 w 184"/>
                <a:gd name="T33" fmla="*/ 38 h 154"/>
                <a:gd name="T34" fmla="*/ 36 w 184"/>
                <a:gd name="T35" fmla="*/ 38 h 154"/>
                <a:gd name="T36" fmla="*/ 36 w 184"/>
                <a:gd name="T37" fmla="*/ 153 h 154"/>
                <a:gd name="T38" fmla="*/ 58 w 184"/>
                <a:gd name="T39" fmla="*/ 31 h 154"/>
                <a:gd name="T40" fmla="*/ 62 w 184"/>
                <a:gd name="T41" fmla="*/ 28 h 154"/>
                <a:gd name="T42" fmla="*/ 62 w 184"/>
                <a:gd name="T43" fmla="*/ 14 h 154"/>
                <a:gd name="T44" fmla="*/ 66 w 184"/>
                <a:gd name="T45" fmla="*/ 9 h 154"/>
                <a:gd name="T46" fmla="*/ 119 w 184"/>
                <a:gd name="T47" fmla="*/ 9 h 154"/>
                <a:gd name="T48" fmla="*/ 123 w 184"/>
                <a:gd name="T49" fmla="*/ 15 h 154"/>
                <a:gd name="T50" fmla="*/ 123 w 184"/>
                <a:gd name="T51" fmla="*/ 27 h 154"/>
                <a:gd name="T52" fmla="*/ 127 w 184"/>
                <a:gd name="T53" fmla="*/ 31 h 154"/>
                <a:gd name="T54" fmla="*/ 131 w 184"/>
                <a:gd name="T55" fmla="*/ 27 h 154"/>
                <a:gd name="T56" fmla="*/ 131 w 184"/>
                <a:gd name="T57" fmla="*/ 6 h 154"/>
                <a:gd name="T58" fmla="*/ 125 w 184"/>
                <a:gd name="T59" fmla="*/ 0 h 154"/>
                <a:gd name="T60" fmla="*/ 60 w 184"/>
                <a:gd name="T61" fmla="*/ 0 h 154"/>
                <a:gd name="T62" fmla="*/ 54 w 184"/>
                <a:gd name="T63" fmla="*/ 7 h 154"/>
                <a:gd name="T64" fmla="*/ 54 w 184"/>
                <a:gd name="T65" fmla="*/ 27 h 154"/>
                <a:gd name="T66" fmla="*/ 58 w 184"/>
                <a:gd name="T67" fmla="*/ 3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154">
                  <a:moveTo>
                    <a:pt x="0" y="54"/>
                  </a:moveTo>
                  <a:cubicBezTo>
                    <a:pt x="0" y="135"/>
                    <a:pt x="0" y="135"/>
                    <a:pt x="0" y="135"/>
                  </a:cubicBezTo>
                  <a:cubicBezTo>
                    <a:pt x="0" y="147"/>
                    <a:pt x="6" y="153"/>
                    <a:pt x="18" y="153"/>
                  </a:cubicBezTo>
                  <a:cubicBezTo>
                    <a:pt x="28" y="153"/>
                    <a:pt x="28" y="153"/>
                    <a:pt x="28" y="153"/>
                  </a:cubicBezTo>
                  <a:cubicBezTo>
                    <a:pt x="28" y="38"/>
                    <a:pt x="28" y="38"/>
                    <a:pt x="28" y="38"/>
                  </a:cubicBezTo>
                  <a:cubicBezTo>
                    <a:pt x="19" y="38"/>
                    <a:pt x="19" y="38"/>
                    <a:pt x="19" y="38"/>
                  </a:cubicBezTo>
                  <a:cubicBezTo>
                    <a:pt x="7" y="38"/>
                    <a:pt x="0" y="42"/>
                    <a:pt x="0" y="54"/>
                  </a:cubicBezTo>
                  <a:close/>
                  <a:moveTo>
                    <a:pt x="164" y="38"/>
                  </a:moveTo>
                  <a:cubicBezTo>
                    <a:pt x="156" y="38"/>
                    <a:pt x="156" y="38"/>
                    <a:pt x="156" y="38"/>
                  </a:cubicBezTo>
                  <a:cubicBezTo>
                    <a:pt x="156" y="154"/>
                    <a:pt x="156" y="154"/>
                    <a:pt x="156" y="154"/>
                  </a:cubicBezTo>
                  <a:cubicBezTo>
                    <a:pt x="166" y="154"/>
                    <a:pt x="166" y="154"/>
                    <a:pt x="166" y="154"/>
                  </a:cubicBezTo>
                  <a:cubicBezTo>
                    <a:pt x="178" y="154"/>
                    <a:pt x="184" y="147"/>
                    <a:pt x="184" y="135"/>
                  </a:cubicBezTo>
                  <a:cubicBezTo>
                    <a:pt x="184" y="54"/>
                    <a:pt x="184" y="54"/>
                    <a:pt x="184" y="54"/>
                  </a:cubicBezTo>
                  <a:cubicBezTo>
                    <a:pt x="184" y="42"/>
                    <a:pt x="176" y="38"/>
                    <a:pt x="164" y="38"/>
                  </a:cubicBezTo>
                  <a:close/>
                  <a:moveTo>
                    <a:pt x="36" y="153"/>
                  </a:moveTo>
                  <a:cubicBezTo>
                    <a:pt x="148" y="154"/>
                    <a:pt x="148" y="154"/>
                    <a:pt x="148" y="154"/>
                  </a:cubicBezTo>
                  <a:cubicBezTo>
                    <a:pt x="148" y="38"/>
                    <a:pt x="148" y="38"/>
                    <a:pt x="148" y="38"/>
                  </a:cubicBezTo>
                  <a:cubicBezTo>
                    <a:pt x="36" y="38"/>
                    <a:pt x="36" y="38"/>
                    <a:pt x="36" y="38"/>
                  </a:cubicBezTo>
                  <a:lnTo>
                    <a:pt x="36" y="153"/>
                  </a:lnTo>
                  <a:close/>
                  <a:moveTo>
                    <a:pt x="58" y="31"/>
                  </a:moveTo>
                  <a:cubicBezTo>
                    <a:pt x="62" y="31"/>
                    <a:pt x="62" y="30"/>
                    <a:pt x="62" y="28"/>
                  </a:cubicBezTo>
                  <a:cubicBezTo>
                    <a:pt x="62" y="14"/>
                    <a:pt x="62" y="14"/>
                    <a:pt x="62" y="14"/>
                  </a:cubicBezTo>
                  <a:cubicBezTo>
                    <a:pt x="62" y="12"/>
                    <a:pt x="62" y="9"/>
                    <a:pt x="66" y="9"/>
                  </a:cubicBezTo>
                  <a:cubicBezTo>
                    <a:pt x="119" y="9"/>
                    <a:pt x="119" y="9"/>
                    <a:pt x="119" y="9"/>
                  </a:cubicBezTo>
                  <a:cubicBezTo>
                    <a:pt x="123" y="9"/>
                    <a:pt x="123" y="11"/>
                    <a:pt x="123" y="15"/>
                  </a:cubicBezTo>
                  <a:cubicBezTo>
                    <a:pt x="123" y="27"/>
                    <a:pt x="123" y="27"/>
                    <a:pt x="123" y="27"/>
                  </a:cubicBezTo>
                  <a:cubicBezTo>
                    <a:pt x="123" y="30"/>
                    <a:pt x="124" y="31"/>
                    <a:pt x="127" y="31"/>
                  </a:cubicBezTo>
                  <a:cubicBezTo>
                    <a:pt x="131" y="31"/>
                    <a:pt x="131" y="30"/>
                    <a:pt x="131" y="27"/>
                  </a:cubicBezTo>
                  <a:cubicBezTo>
                    <a:pt x="131" y="6"/>
                    <a:pt x="131" y="6"/>
                    <a:pt x="131" y="6"/>
                  </a:cubicBezTo>
                  <a:cubicBezTo>
                    <a:pt x="131" y="3"/>
                    <a:pt x="130" y="0"/>
                    <a:pt x="125" y="0"/>
                  </a:cubicBezTo>
                  <a:cubicBezTo>
                    <a:pt x="60" y="0"/>
                    <a:pt x="60" y="0"/>
                    <a:pt x="60" y="0"/>
                  </a:cubicBezTo>
                  <a:cubicBezTo>
                    <a:pt x="55" y="0"/>
                    <a:pt x="54" y="3"/>
                    <a:pt x="54" y="7"/>
                  </a:cubicBezTo>
                  <a:cubicBezTo>
                    <a:pt x="54" y="27"/>
                    <a:pt x="54" y="27"/>
                    <a:pt x="54" y="27"/>
                  </a:cubicBezTo>
                  <a:cubicBezTo>
                    <a:pt x="54" y="30"/>
                    <a:pt x="55" y="31"/>
                    <a:pt x="58" y="31"/>
                  </a:cubicBezTo>
                  <a:close/>
                </a:path>
              </a:pathLst>
            </a:custGeom>
            <a:solidFill>
              <a:schemeClr val="bg1"/>
            </a:solidFill>
            <a:ln>
              <a:noFill/>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4" name="Freeform 93">
              <a:extLst>
                <a:ext uri="{FF2B5EF4-FFF2-40B4-BE49-F238E27FC236}">
                  <a16:creationId xmlns:a16="http://schemas.microsoft.com/office/drawing/2014/main" id="{9EAADB3F-9105-40F6-8113-FBE9BE859745}"/>
                </a:ext>
              </a:extLst>
            </p:cNvPr>
            <p:cNvSpPr>
              <a:spLocks noChangeAspect="1"/>
            </p:cNvSpPr>
            <p:nvPr/>
          </p:nvSpPr>
          <p:spPr bwMode="auto">
            <a:xfrm rot="2789299">
              <a:off x="1002493" y="2568002"/>
              <a:ext cx="275164" cy="301752"/>
            </a:xfrm>
            <a:custGeom>
              <a:avLst/>
              <a:gdLst>
                <a:gd name="T0" fmla="*/ 88 w 88"/>
                <a:gd name="T1" fmla="*/ 68 h 96"/>
                <a:gd name="T2" fmla="*/ 88 w 88"/>
                <a:gd name="T3" fmla="*/ 60 h 96"/>
                <a:gd name="T4" fmla="*/ 52 w 88"/>
                <a:gd name="T5" fmla="*/ 36 h 96"/>
                <a:gd name="T6" fmla="*/ 52 w 88"/>
                <a:gd name="T7" fmla="*/ 8 h 96"/>
                <a:gd name="T8" fmla="*/ 44 w 88"/>
                <a:gd name="T9" fmla="*/ 0 h 96"/>
                <a:gd name="T10" fmla="*/ 36 w 88"/>
                <a:gd name="T11" fmla="*/ 8 h 96"/>
                <a:gd name="T12" fmla="*/ 36 w 88"/>
                <a:gd name="T13" fmla="*/ 36 h 96"/>
                <a:gd name="T14" fmla="*/ 0 w 88"/>
                <a:gd name="T15" fmla="*/ 60 h 96"/>
                <a:gd name="T16" fmla="*/ 0 w 88"/>
                <a:gd name="T17" fmla="*/ 68 h 96"/>
                <a:gd name="T18" fmla="*/ 36 w 88"/>
                <a:gd name="T19" fmla="*/ 56 h 96"/>
                <a:gd name="T20" fmla="*/ 36 w 88"/>
                <a:gd name="T21" fmla="*/ 78 h 96"/>
                <a:gd name="T22" fmla="*/ 24 w 88"/>
                <a:gd name="T23" fmla="*/ 88 h 96"/>
                <a:gd name="T24" fmla="*/ 24 w 88"/>
                <a:gd name="T25" fmla="*/ 96 h 96"/>
                <a:gd name="T26" fmla="*/ 44 w 88"/>
                <a:gd name="T27" fmla="*/ 88 h 96"/>
                <a:gd name="T28" fmla="*/ 64 w 88"/>
                <a:gd name="T29" fmla="*/ 96 h 96"/>
                <a:gd name="T30" fmla="*/ 64 w 88"/>
                <a:gd name="T31" fmla="*/ 88 h 96"/>
                <a:gd name="T32" fmla="*/ 52 w 88"/>
                <a:gd name="T33" fmla="*/ 78 h 96"/>
                <a:gd name="T34" fmla="*/ 52 w 88"/>
                <a:gd name="T35" fmla="*/ 56 h 96"/>
                <a:gd name="T36" fmla="*/ 88 w 88"/>
                <a:gd name="T37"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96">
                  <a:moveTo>
                    <a:pt x="88" y="68"/>
                  </a:moveTo>
                  <a:cubicBezTo>
                    <a:pt x="88" y="60"/>
                    <a:pt x="88" y="60"/>
                    <a:pt x="88" y="60"/>
                  </a:cubicBezTo>
                  <a:cubicBezTo>
                    <a:pt x="52" y="36"/>
                    <a:pt x="52" y="36"/>
                    <a:pt x="52" y="36"/>
                  </a:cubicBezTo>
                  <a:cubicBezTo>
                    <a:pt x="52" y="8"/>
                    <a:pt x="52" y="8"/>
                    <a:pt x="52" y="8"/>
                  </a:cubicBezTo>
                  <a:cubicBezTo>
                    <a:pt x="52" y="8"/>
                    <a:pt x="52" y="0"/>
                    <a:pt x="44" y="0"/>
                  </a:cubicBezTo>
                  <a:cubicBezTo>
                    <a:pt x="36" y="0"/>
                    <a:pt x="36" y="8"/>
                    <a:pt x="36" y="8"/>
                  </a:cubicBezTo>
                  <a:cubicBezTo>
                    <a:pt x="36" y="36"/>
                    <a:pt x="36" y="36"/>
                    <a:pt x="36" y="36"/>
                  </a:cubicBezTo>
                  <a:cubicBezTo>
                    <a:pt x="0" y="60"/>
                    <a:pt x="0" y="60"/>
                    <a:pt x="0" y="60"/>
                  </a:cubicBezTo>
                  <a:cubicBezTo>
                    <a:pt x="0" y="68"/>
                    <a:pt x="0" y="68"/>
                    <a:pt x="0" y="68"/>
                  </a:cubicBezTo>
                  <a:cubicBezTo>
                    <a:pt x="36" y="56"/>
                    <a:pt x="36" y="56"/>
                    <a:pt x="36" y="56"/>
                  </a:cubicBezTo>
                  <a:cubicBezTo>
                    <a:pt x="36" y="78"/>
                    <a:pt x="36" y="78"/>
                    <a:pt x="36" y="78"/>
                  </a:cubicBezTo>
                  <a:cubicBezTo>
                    <a:pt x="24" y="88"/>
                    <a:pt x="24" y="88"/>
                    <a:pt x="24" y="88"/>
                  </a:cubicBezTo>
                  <a:cubicBezTo>
                    <a:pt x="24" y="96"/>
                    <a:pt x="24" y="96"/>
                    <a:pt x="24" y="96"/>
                  </a:cubicBezTo>
                  <a:cubicBezTo>
                    <a:pt x="44" y="88"/>
                    <a:pt x="44" y="88"/>
                    <a:pt x="44" y="88"/>
                  </a:cubicBezTo>
                  <a:cubicBezTo>
                    <a:pt x="64" y="96"/>
                    <a:pt x="64" y="96"/>
                    <a:pt x="64" y="96"/>
                  </a:cubicBezTo>
                  <a:cubicBezTo>
                    <a:pt x="64" y="88"/>
                    <a:pt x="64" y="88"/>
                    <a:pt x="64" y="88"/>
                  </a:cubicBezTo>
                  <a:cubicBezTo>
                    <a:pt x="52" y="78"/>
                    <a:pt x="52" y="78"/>
                    <a:pt x="52" y="78"/>
                  </a:cubicBezTo>
                  <a:cubicBezTo>
                    <a:pt x="52" y="56"/>
                    <a:pt x="52" y="56"/>
                    <a:pt x="52" y="56"/>
                  </a:cubicBezTo>
                  <a:lnTo>
                    <a:pt x="88" y="68"/>
                  </a:lnTo>
                  <a:close/>
                </a:path>
              </a:pathLst>
            </a:custGeom>
            <a:solidFill>
              <a:schemeClr val="bg1"/>
            </a:solidFill>
            <a:ln>
              <a:noFill/>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Light"/>
                <a:ea typeface="+mn-ea"/>
                <a:cs typeface="+mn-cs"/>
              </a:endParaRPr>
            </a:p>
          </p:txBody>
        </p:sp>
        <p:sp>
          <p:nvSpPr>
            <p:cNvPr id="25" name="Freeform 19">
              <a:extLst>
                <a:ext uri="{FF2B5EF4-FFF2-40B4-BE49-F238E27FC236}">
                  <a16:creationId xmlns:a16="http://schemas.microsoft.com/office/drawing/2014/main" id="{0259F660-C77B-460F-83DE-197090029349}"/>
                </a:ext>
              </a:extLst>
            </p:cNvPr>
            <p:cNvSpPr>
              <a:spLocks noEditPoints="1"/>
            </p:cNvSpPr>
            <p:nvPr/>
          </p:nvSpPr>
          <p:spPr bwMode="auto">
            <a:xfrm>
              <a:off x="1064648" y="2877227"/>
              <a:ext cx="323850" cy="327025"/>
            </a:xfrm>
            <a:custGeom>
              <a:avLst/>
              <a:gdLst>
                <a:gd name="T0" fmla="*/ 70 w 141"/>
                <a:gd name="T1" fmla="*/ 0 h 142"/>
                <a:gd name="T2" fmla="*/ 95 w 141"/>
                <a:gd name="T3" fmla="*/ 45 h 142"/>
                <a:gd name="T4" fmla="*/ 91 w 141"/>
                <a:gd name="T5" fmla="*/ 38 h 142"/>
                <a:gd name="T6" fmla="*/ 88 w 141"/>
                <a:gd name="T7" fmla="*/ 42 h 142"/>
                <a:gd name="T8" fmla="*/ 65 w 141"/>
                <a:gd name="T9" fmla="*/ 110 h 142"/>
                <a:gd name="T10" fmla="*/ 53 w 141"/>
                <a:gd name="T11" fmla="*/ 123 h 142"/>
                <a:gd name="T12" fmla="*/ 46 w 141"/>
                <a:gd name="T13" fmla="*/ 131 h 142"/>
                <a:gd name="T14" fmla="*/ 43 w 141"/>
                <a:gd name="T15" fmla="*/ 115 h 142"/>
                <a:gd name="T16" fmla="*/ 36 w 141"/>
                <a:gd name="T17" fmla="*/ 86 h 142"/>
                <a:gd name="T18" fmla="*/ 25 w 141"/>
                <a:gd name="T19" fmla="*/ 80 h 142"/>
                <a:gd name="T20" fmla="*/ 10 w 141"/>
                <a:gd name="T21" fmla="*/ 64 h 142"/>
                <a:gd name="T22" fmla="*/ 25 w 141"/>
                <a:gd name="T23" fmla="*/ 26 h 142"/>
                <a:gd name="T24" fmla="*/ 39 w 141"/>
                <a:gd name="T25" fmla="*/ 25 h 142"/>
                <a:gd name="T26" fmla="*/ 49 w 141"/>
                <a:gd name="T27" fmla="*/ 25 h 142"/>
                <a:gd name="T28" fmla="*/ 51 w 141"/>
                <a:gd name="T29" fmla="*/ 32 h 142"/>
                <a:gd name="T30" fmla="*/ 45 w 141"/>
                <a:gd name="T31" fmla="*/ 28 h 142"/>
                <a:gd name="T32" fmla="*/ 37 w 141"/>
                <a:gd name="T33" fmla="*/ 42 h 142"/>
                <a:gd name="T34" fmla="*/ 51 w 141"/>
                <a:gd name="T35" fmla="*/ 38 h 142"/>
                <a:gd name="T36" fmla="*/ 46 w 141"/>
                <a:gd name="T37" fmla="*/ 50 h 142"/>
                <a:gd name="T38" fmla="*/ 42 w 141"/>
                <a:gd name="T39" fmla="*/ 58 h 142"/>
                <a:gd name="T40" fmla="*/ 35 w 141"/>
                <a:gd name="T41" fmla="*/ 70 h 142"/>
                <a:gd name="T42" fmla="*/ 23 w 141"/>
                <a:gd name="T43" fmla="*/ 68 h 142"/>
                <a:gd name="T44" fmla="*/ 30 w 141"/>
                <a:gd name="T45" fmla="*/ 75 h 142"/>
                <a:gd name="T46" fmla="*/ 37 w 141"/>
                <a:gd name="T47" fmla="*/ 84 h 142"/>
                <a:gd name="T48" fmla="*/ 50 w 141"/>
                <a:gd name="T49" fmla="*/ 82 h 142"/>
                <a:gd name="T50" fmla="*/ 69 w 141"/>
                <a:gd name="T51" fmla="*/ 95 h 142"/>
                <a:gd name="T52" fmla="*/ 63 w 141"/>
                <a:gd name="T53" fmla="*/ 31 h 142"/>
                <a:gd name="T54" fmla="*/ 53 w 141"/>
                <a:gd name="T55" fmla="*/ 13 h 142"/>
                <a:gd name="T56" fmla="*/ 43 w 141"/>
                <a:gd name="T57" fmla="*/ 20 h 142"/>
                <a:gd name="T58" fmla="*/ 35 w 141"/>
                <a:gd name="T59" fmla="*/ 21 h 142"/>
                <a:gd name="T60" fmla="*/ 54 w 141"/>
                <a:gd name="T61" fmla="*/ 8 h 142"/>
                <a:gd name="T62" fmla="*/ 75 w 141"/>
                <a:gd name="T63" fmla="*/ 9 h 142"/>
                <a:gd name="T64" fmla="*/ 86 w 141"/>
                <a:gd name="T65" fmla="*/ 12 h 142"/>
                <a:gd name="T66" fmla="*/ 75 w 141"/>
                <a:gd name="T67" fmla="*/ 27 h 142"/>
                <a:gd name="T68" fmla="*/ 87 w 141"/>
                <a:gd name="T69" fmla="*/ 31 h 142"/>
                <a:gd name="T70" fmla="*/ 80 w 141"/>
                <a:gd name="T71" fmla="*/ 31 h 142"/>
                <a:gd name="T72" fmla="*/ 126 w 141"/>
                <a:gd name="T73" fmla="*/ 106 h 142"/>
                <a:gd name="T74" fmla="*/ 126 w 141"/>
                <a:gd name="T75" fmla="*/ 102 h 142"/>
                <a:gd name="T76" fmla="*/ 128 w 141"/>
                <a:gd name="T77" fmla="*/ 101 h 142"/>
                <a:gd name="T78" fmla="*/ 116 w 141"/>
                <a:gd name="T79" fmla="*/ 110 h 142"/>
                <a:gd name="T80" fmla="*/ 111 w 141"/>
                <a:gd name="T81" fmla="*/ 118 h 142"/>
                <a:gd name="T82" fmla="*/ 98 w 141"/>
                <a:gd name="T83" fmla="*/ 108 h 142"/>
                <a:gd name="T84" fmla="*/ 88 w 141"/>
                <a:gd name="T85" fmla="*/ 88 h 142"/>
                <a:gd name="T86" fmla="*/ 82 w 141"/>
                <a:gd name="T87" fmla="*/ 70 h 142"/>
                <a:gd name="T88" fmla="*/ 96 w 141"/>
                <a:gd name="T89" fmla="*/ 61 h 142"/>
                <a:gd name="T90" fmla="*/ 110 w 141"/>
                <a:gd name="T91" fmla="*/ 65 h 142"/>
                <a:gd name="T92" fmla="*/ 117 w 141"/>
                <a:gd name="T93" fmla="*/ 74 h 142"/>
                <a:gd name="T94" fmla="*/ 133 w 141"/>
                <a:gd name="T95" fmla="*/ 68 h 142"/>
                <a:gd name="T96" fmla="*/ 134 w 141"/>
                <a:gd name="T97" fmla="*/ 72 h 142"/>
                <a:gd name="T98" fmla="*/ 126 w 141"/>
                <a:gd name="T99" fmla="*/ 78 h 142"/>
                <a:gd name="T100" fmla="*/ 119 w 141"/>
                <a:gd name="T101" fmla="*/ 66 h 142"/>
                <a:gd name="T102" fmla="*/ 114 w 141"/>
                <a:gd name="T103" fmla="*/ 56 h 142"/>
                <a:gd name="T104" fmla="*/ 120 w 141"/>
                <a:gd name="T105" fmla="*/ 52 h 142"/>
                <a:gd name="T106" fmla="*/ 110 w 141"/>
                <a:gd name="T107" fmla="*/ 53 h 142"/>
                <a:gd name="T108" fmla="*/ 107 w 141"/>
                <a:gd name="T109" fmla="*/ 57 h 142"/>
                <a:gd name="T110" fmla="*/ 100 w 141"/>
                <a:gd name="T111" fmla="*/ 52 h 142"/>
                <a:gd name="T112" fmla="*/ 91 w 141"/>
                <a:gd name="T113" fmla="*/ 51 h 142"/>
                <a:gd name="T114" fmla="*/ 107 w 141"/>
                <a:gd name="T115" fmla="*/ 41 h 142"/>
                <a:gd name="T116" fmla="*/ 107 w 141"/>
                <a:gd name="T117" fmla="*/ 33 h 142"/>
                <a:gd name="T118" fmla="*/ 109 w 141"/>
                <a:gd name="T119" fmla="*/ 26 h 142"/>
                <a:gd name="T120" fmla="*/ 136 w 141"/>
                <a:gd name="T121" fmla="*/ 6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1" h="142">
                  <a:moveTo>
                    <a:pt x="70" y="0"/>
                  </a:moveTo>
                  <a:cubicBezTo>
                    <a:pt x="31" y="0"/>
                    <a:pt x="0" y="32"/>
                    <a:pt x="0" y="71"/>
                  </a:cubicBezTo>
                  <a:cubicBezTo>
                    <a:pt x="0" y="110"/>
                    <a:pt x="31" y="142"/>
                    <a:pt x="70" y="142"/>
                  </a:cubicBezTo>
                  <a:cubicBezTo>
                    <a:pt x="110" y="142"/>
                    <a:pt x="141" y="110"/>
                    <a:pt x="141" y="71"/>
                  </a:cubicBezTo>
                  <a:cubicBezTo>
                    <a:pt x="141" y="32"/>
                    <a:pt x="110" y="0"/>
                    <a:pt x="70" y="0"/>
                  </a:cubicBezTo>
                  <a:close/>
                  <a:moveTo>
                    <a:pt x="91" y="38"/>
                  </a:moveTo>
                  <a:cubicBezTo>
                    <a:pt x="92" y="38"/>
                    <a:pt x="92" y="39"/>
                    <a:pt x="93" y="39"/>
                  </a:cubicBezTo>
                  <a:cubicBezTo>
                    <a:pt x="95" y="38"/>
                    <a:pt x="94" y="42"/>
                    <a:pt x="95" y="43"/>
                  </a:cubicBezTo>
                  <a:cubicBezTo>
                    <a:pt x="95" y="43"/>
                    <a:pt x="95" y="43"/>
                    <a:pt x="96" y="44"/>
                  </a:cubicBezTo>
                  <a:cubicBezTo>
                    <a:pt x="96" y="44"/>
                    <a:pt x="96" y="45"/>
                    <a:pt x="95" y="45"/>
                  </a:cubicBezTo>
                  <a:cubicBezTo>
                    <a:pt x="95" y="46"/>
                    <a:pt x="94" y="46"/>
                    <a:pt x="93" y="46"/>
                  </a:cubicBezTo>
                  <a:cubicBezTo>
                    <a:pt x="92" y="46"/>
                    <a:pt x="92" y="46"/>
                    <a:pt x="91" y="46"/>
                  </a:cubicBezTo>
                  <a:cubicBezTo>
                    <a:pt x="91" y="45"/>
                    <a:pt x="91" y="45"/>
                    <a:pt x="91" y="44"/>
                  </a:cubicBezTo>
                  <a:cubicBezTo>
                    <a:pt x="92" y="42"/>
                    <a:pt x="92" y="42"/>
                    <a:pt x="91" y="41"/>
                  </a:cubicBezTo>
                  <a:cubicBezTo>
                    <a:pt x="91" y="40"/>
                    <a:pt x="90" y="39"/>
                    <a:pt x="91" y="38"/>
                  </a:cubicBezTo>
                  <a:close/>
                  <a:moveTo>
                    <a:pt x="90" y="42"/>
                  </a:moveTo>
                  <a:cubicBezTo>
                    <a:pt x="91" y="42"/>
                    <a:pt x="90" y="43"/>
                    <a:pt x="90" y="44"/>
                  </a:cubicBezTo>
                  <a:cubicBezTo>
                    <a:pt x="90" y="46"/>
                    <a:pt x="88" y="45"/>
                    <a:pt x="86" y="45"/>
                  </a:cubicBezTo>
                  <a:cubicBezTo>
                    <a:pt x="86" y="45"/>
                    <a:pt x="88" y="44"/>
                    <a:pt x="88" y="44"/>
                  </a:cubicBezTo>
                  <a:cubicBezTo>
                    <a:pt x="88" y="43"/>
                    <a:pt x="88" y="42"/>
                    <a:pt x="88" y="42"/>
                  </a:cubicBezTo>
                  <a:cubicBezTo>
                    <a:pt x="89" y="41"/>
                    <a:pt x="89" y="41"/>
                    <a:pt x="89" y="41"/>
                  </a:cubicBezTo>
                  <a:cubicBezTo>
                    <a:pt x="89" y="41"/>
                    <a:pt x="90" y="41"/>
                    <a:pt x="90" y="42"/>
                  </a:cubicBezTo>
                  <a:close/>
                  <a:moveTo>
                    <a:pt x="71" y="99"/>
                  </a:moveTo>
                  <a:cubicBezTo>
                    <a:pt x="70" y="101"/>
                    <a:pt x="68" y="102"/>
                    <a:pt x="68" y="104"/>
                  </a:cubicBezTo>
                  <a:cubicBezTo>
                    <a:pt x="67" y="106"/>
                    <a:pt x="67" y="108"/>
                    <a:pt x="65" y="110"/>
                  </a:cubicBezTo>
                  <a:cubicBezTo>
                    <a:pt x="64" y="111"/>
                    <a:pt x="63" y="111"/>
                    <a:pt x="61" y="112"/>
                  </a:cubicBezTo>
                  <a:cubicBezTo>
                    <a:pt x="61" y="112"/>
                    <a:pt x="59" y="113"/>
                    <a:pt x="59" y="114"/>
                  </a:cubicBezTo>
                  <a:cubicBezTo>
                    <a:pt x="58" y="115"/>
                    <a:pt x="59" y="116"/>
                    <a:pt x="58" y="118"/>
                  </a:cubicBezTo>
                  <a:cubicBezTo>
                    <a:pt x="58" y="119"/>
                    <a:pt x="56" y="120"/>
                    <a:pt x="56" y="120"/>
                  </a:cubicBezTo>
                  <a:cubicBezTo>
                    <a:pt x="55" y="121"/>
                    <a:pt x="54" y="122"/>
                    <a:pt x="53" y="123"/>
                  </a:cubicBezTo>
                  <a:cubicBezTo>
                    <a:pt x="52" y="123"/>
                    <a:pt x="50" y="123"/>
                    <a:pt x="49" y="124"/>
                  </a:cubicBezTo>
                  <a:cubicBezTo>
                    <a:pt x="48" y="125"/>
                    <a:pt x="49" y="126"/>
                    <a:pt x="48" y="127"/>
                  </a:cubicBezTo>
                  <a:cubicBezTo>
                    <a:pt x="48" y="128"/>
                    <a:pt x="47" y="127"/>
                    <a:pt x="47" y="128"/>
                  </a:cubicBezTo>
                  <a:cubicBezTo>
                    <a:pt x="47" y="129"/>
                    <a:pt x="47" y="129"/>
                    <a:pt x="47" y="130"/>
                  </a:cubicBezTo>
                  <a:cubicBezTo>
                    <a:pt x="47" y="130"/>
                    <a:pt x="46" y="130"/>
                    <a:pt x="46" y="131"/>
                  </a:cubicBezTo>
                  <a:cubicBezTo>
                    <a:pt x="45" y="132"/>
                    <a:pt x="46" y="133"/>
                    <a:pt x="47" y="133"/>
                  </a:cubicBezTo>
                  <a:cubicBezTo>
                    <a:pt x="48" y="133"/>
                    <a:pt x="48" y="133"/>
                    <a:pt x="48" y="133"/>
                  </a:cubicBezTo>
                  <a:cubicBezTo>
                    <a:pt x="47" y="136"/>
                    <a:pt x="44" y="132"/>
                    <a:pt x="43" y="132"/>
                  </a:cubicBezTo>
                  <a:cubicBezTo>
                    <a:pt x="42" y="130"/>
                    <a:pt x="42" y="128"/>
                    <a:pt x="42" y="126"/>
                  </a:cubicBezTo>
                  <a:cubicBezTo>
                    <a:pt x="42" y="122"/>
                    <a:pt x="43" y="120"/>
                    <a:pt x="43" y="115"/>
                  </a:cubicBezTo>
                  <a:cubicBezTo>
                    <a:pt x="43" y="113"/>
                    <a:pt x="43" y="110"/>
                    <a:pt x="41" y="109"/>
                  </a:cubicBezTo>
                  <a:cubicBezTo>
                    <a:pt x="40" y="107"/>
                    <a:pt x="37" y="106"/>
                    <a:pt x="36" y="103"/>
                  </a:cubicBezTo>
                  <a:cubicBezTo>
                    <a:pt x="35" y="101"/>
                    <a:pt x="33" y="98"/>
                    <a:pt x="33" y="96"/>
                  </a:cubicBezTo>
                  <a:cubicBezTo>
                    <a:pt x="33" y="95"/>
                    <a:pt x="34" y="93"/>
                    <a:pt x="34" y="92"/>
                  </a:cubicBezTo>
                  <a:cubicBezTo>
                    <a:pt x="34" y="89"/>
                    <a:pt x="36" y="87"/>
                    <a:pt x="36" y="86"/>
                  </a:cubicBezTo>
                  <a:cubicBezTo>
                    <a:pt x="34" y="85"/>
                    <a:pt x="34" y="85"/>
                    <a:pt x="34" y="85"/>
                  </a:cubicBezTo>
                  <a:cubicBezTo>
                    <a:pt x="32" y="85"/>
                    <a:pt x="31" y="86"/>
                    <a:pt x="30" y="84"/>
                  </a:cubicBezTo>
                  <a:cubicBezTo>
                    <a:pt x="29" y="83"/>
                    <a:pt x="29" y="82"/>
                    <a:pt x="27" y="81"/>
                  </a:cubicBezTo>
                  <a:cubicBezTo>
                    <a:pt x="27" y="81"/>
                    <a:pt x="27" y="81"/>
                    <a:pt x="27" y="81"/>
                  </a:cubicBezTo>
                  <a:cubicBezTo>
                    <a:pt x="26" y="81"/>
                    <a:pt x="25" y="80"/>
                    <a:pt x="25" y="80"/>
                  </a:cubicBezTo>
                  <a:cubicBezTo>
                    <a:pt x="24" y="79"/>
                    <a:pt x="24" y="79"/>
                    <a:pt x="23" y="79"/>
                  </a:cubicBezTo>
                  <a:cubicBezTo>
                    <a:pt x="23" y="78"/>
                    <a:pt x="22" y="78"/>
                    <a:pt x="21" y="78"/>
                  </a:cubicBezTo>
                  <a:cubicBezTo>
                    <a:pt x="20" y="78"/>
                    <a:pt x="18" y="76"/>
                    <a:pt x="17" y="75"/>
                  </a:cubicBezTo>
                  <a:cubicBezTo>
                    <a:pt x="17" y="74"/>
                    <a:pt x="14" y="70"/>
                    <a:pt x="14" y="69"/>
                  </a:cubicBezTo>
                  <a:cubicBezTo>
                    <a:pt x="10" y="64"/>
                    <a:pt x="10" y="64"/>
                    <a:pt x="10" y="64"/>
                  </a:cubicBezTo>
                  <a:cubicBezTo>
                    <a:pt x="10" y="63"/>
                    <a:pt x="10" y="62"/>
                    <a:pt x="10" y="61"/>
                  </a:cubicBezTo>
                  <a:cubicBezTo>
                    <a:pt x="9" y="60"/>
                    <a:pt x="10" y="55"/>
                    <a:pt x="10" y="53"/>
                  </a:cubicBezTo>
                  <a:cubicBezTo>
                    <a:pt x="10" y="51"/>
                    <a:pt x="11" y="48"/>
                    <a:pt x="11" y="47"/>
                  </a:cubicBezTo>
                  <a:cubicBezTo>
                    <a:pt x="12" y="45"/>
                    <a:pt x="15" y="39"/>
                    <a:pt x="15" y="39"/>
                  </a:cubicBezTo>
                  <a:cubicBezTo>
                    <a:pt x="17" y="35"/>
                    <a:pt x="22" y="29"/>
                    <a:pt x="25" y="26"/>
                  </a:cubicBezTo>
                  <a:cubicBezTo>
                    <a:pt x="28" y="24"/>
                    <a:pt x="29" y="23"/>
                    <a:pt x="31" y="23"/>
                  </a:cubicBezTo>
                  <a:cubicBezTo>
                    <a:pt x="32" y="23"/>
                    <a:pt x="31" y="25"/>
                    <a:pt x="32" y="26"/>
                  </a:cubicBezTo>
                  <a:cubicBezTo>
                    <a:pt x="32" y="27"/>
                    <a:pt x="32" y="25"/>
                    <a:pt x="33" y="26"/>
                  </a:cubicBezTo>
                  <a:cubicBezTo>
                    <a:pt x="36" y="26"/>
                    <a:pt x="36" y="26"/>
                    <a:pt x="36" y="26"/>
                  </a:cubicBezTo>
                  <a:cubicBezTo>
                    <a:pt x="37" y="25"/>
                    <a:pt x="38" y="25"/>
                    <a:pt x="39" y="25"/>
                  </a:cubicBezTo>
                  <a:cubicBezTo>
                    <a:pt x="39" y="26"/>
                    <a:pt x="39" y="26"/>
                    <a:pt x="39" y="27"/>
                  </a:cubicBezTo>
                  <a:cubicBezTo>
                    <a:pt x="40" y="28"/>
                    <a:pt x="40" y="28"/>
                    <a:pt x="40" y="28"/>
                  </a:cubicBezTo>
                  <a:cubicBezTo>
                    <a:pt x="42" y="29"/>
                    <a:pt x="40" y="24"/>
                    <a:pt x="42" y="23"/>
                  </a:cubicBezTo>
                  <a:cubicBezTo>
                    <a:pt x="45" y="24"/>
                    <a:pt x="45" y="24"/>
                    <a:pt x="45" y="24"/>
                  </a:cubicBezTo>
                  <a:cubicBezTo>
                    <a:pt x="46" y="24"/>
                    <a:pt x="48" y="25"/>
                    <a:pt x="49" y="25"/>
                  </a:cubicBezTo>
                  <a:cubicBezTo>
                    <a:pt x="49" y="25"/>
                    <a:pt x="49" y="25"/>
                    <a:pt x="50" y="26"/>
                  </a:cubicBezTo>
                  <a:cubicBezTo>
                    <a:pt x="51" y="27"/>
                    <a:pt x="51" y="27"/>
                    <a:pt x="51" y="27"/>
                  </a:cubicBezTo>
                  <a:cubicBezTo>
                    <a:pt x="51" y="28"/>
                    <a:pt x="50" y="28"/>
                    <a:pt x="51" y="29"/>
                  </a:cubicBezTo>
                  <a:cubicBezTo>
                    <a:pt x="51" y="29"/>
                    <a:pt x="54" y="29"/>
                    <a:pt x="54" y="30"/>
                  </a:cubicBezTo>
                  <a:cubicBezTo>
                    <a:pt x="54" y="32"/>
                    <a:pt x="51" y="32"/>
                    <a:pt x="51" y="32"/>
                  </a:cubicBezTo>
                  <a:cubicBezTo>
                    <a:pt x="51" y="33"/>
                    <a:pt x="52" y="34"/>
                    <a:pt x="50" y="35"/>
                  </a:cubicBezTo>
                  <a:cubicBezTo>
                    <a:pt x="49" y="35"/>
                    <a:pt x="44" y="33"/>
                    <a:pt x="45" y="32"/>
                  </a:cubicBezTo>
                  <a:cubicBezTo>
                    <a:pt x="45" y="31"/>
                    <a:pt x="47" y="31"/>
                    <a:pt x="47" y="31"/>
                  </a:cubicBezTo>
                  <a:cubicBezTo>
                    <a:pt x="48" y="30"/>
                    <a:pt x="47" y="30"/>
                    <a:pt x="47" y="30"/>
                  </a:cubicBezTo>
                  <a:cubicBezTo>
                    <a:pt x="46" y="29"/>
                    <a:pt x="47" y="29"/>
                    <a:pt x="45" y="28"/>
                  </a:cubicBezTo>
                  <a:cubicBezTo>
                    <a:pt x="44" y="29"/>
                    <a:pt x="45" y="29"/>
                    <a:pt x="44" y="30"/>
                  </a:cubicBezTo>
                  <a:cubicBezTo>
                    <a:pt x="43" y="30"/>
                    <a:pt x="43" y="31"/>
                    <a:pt x="42" y="32"/>
                  </a:cubicBezTo>
                  <a:cubicBezTo>
                    <a:pt x="41" y="32"/>
                    <a:pt x="33" y="32"/>
                    <a:pt x="34" y="33"/>
                  </a:cubicBezTo>
                  <a:cubicBezTo>
                    <a:pt x="34" y="33"/>
                    <a:pt x="30" y="36"/>
                    <a:pt x="32" y="39"/>
                  </a:cubicBezTo>
                  <a:cubicBezTo>
                    <a:pt x="34" y="41"/>
                    <a:pt x="34" y="40"/>
                    <a:pt x="37" y="42"/>
                  </a:cubicBezTo>
                  <a:cubicBezTo>
                    <a:pt x="38" y="43"/>
                    <a:pt x="42" y="43"/>
                    <a:pt x="42" y="41"/>
                  </a:cubicBezTo>
                  <a:cubicBezTo>
                    <a:pt x="42" y="39"/>
                    <a:pt x="41" y="38"/>
                    <a:pt x="41" y="38"/>
                  </a:cubicBezTo>
                  <a:cubicBezTo>
                    <a:pt x="42" y="37"/>
                    <a:pt x="43" y="34"/>
                    <a:pt x="43" y="35"/>
                  </a:cubicBezTo>
                  <a:cubicBezTo>
                    <a:pt x="44" y="35"/>
                    <a:pt x="46" y="35"/>
                    <a:pt x="47" y="36"/>
                  </a:cubicBezTo>
                  <a:cubicBezTo>
                    <a:pt x="48" y="38"/>
                    <a:pt x="49" y="40"/>
                    <a:pt x="51" y="38"/>
                  </a:cubicBezTo>
                  <a:cubicBezTo>
                    <a:pt x="51" y="37"/>
                    <a:pt x="52" y="39"/>
                    <a:pt x="52" y="41"/>
                  </a:cubicBezTo>
                  <a:cubicBezTo>
                    <a:pt x="52" y="42"/>
                    <a:pt x="53" y="44"/>
                    <a:pt x="54" y="44"/>
                  </a:cubicBezTo>
                  <a:cubicBezTo>
                    <a:pt x="54" y="44"/>
                    <a:pt x="58" y="50"/>
                    <a:pt x="56" y="51"/>
                  </a:cubicBezTo>
                  <a:cubicBezTo>
                    <a:pt x="54" y="52"/>
                    <a:pt x="52" y="47"/>
                    <a:pt x="48" y="47"/>
                  </a:cubicBezTo>
                  <a:cubicBezTo>
                    <a:pt x="47" y="47"/>
                    <a:pt x="47" y="49"/>
                    <a:pt x="46" y="50"/>
                  </a:cubicBezTo>
                  <a:cubicBezTo>
                    <a:pt x="47" y="50"/>
                    <a:pt x="48" y="50"/>
                    <a:pt x="48" y="51"/>
                  </a:cubicBezTo>
                  <a:cubicBezTo>
                    <a:pt x="49" y="50"/>
                    <a:pt x="49" y="51"/>
                    <a:pt x="50" y="51"/>
                  </a:cubicBezTo>
                  <a:cubicBezTo>
                    <a:pt x="50" y="52"/>
                    <a:pt x="50" y="53"/>
                    <a:pt x="50" y="53"/>
                  </a:cubicBezTo>
                  <a:cubicBezTo>
                    <a:pt x="50" y="54"/>
                    <a:pt x="43" y="56"/>
                    <a:pt x="43" y="56"/>
                  </a:cubicBezTo>
                  <a:cubicBezTo>
                    <a:pt x="42" y="57"/>
                    <a:pt x="42" y="57"/>
                    <a:pt x="42" y="58"/>
                  </a:cubicBezTo>
                  <a:cubicBezTo>
                    <a:pt x="41" y="58"/>
                    <a:pt x="40" y="59"/>
                    <a:pt x="40" y="59"/>
                  </a:cubicBezTo>
                  <a:cubicBezTo>
                    <a:pt x="40" y="60"/>
                    <a:pt x="39" y="60"/>
                    <a:pt x="38" y="63"/>
                  </a:cubicBezTo>
                  <a:cubicBezTo>
                    <a:pt x="38" y="64"/>
                    <a:pt x="38" y="64"/>
                    <a:pt x="37" y="65"/>
                  </a:cubicBezTo>
                  <a:cubicBezTo>
                    <a:pt x="36" y="65"/>
                    <a:pt x="36" y="65"/>
                    <a:pt x="36" y="65"/>
                  </a:cubicBezTo>
                  <a:cubicBezTo>
                    <a:pt x="35" y="66"/>
                    <a:pt x="35" y="69"/>
                    <a:pt x="35" y="70"/>
                  </a:cubicBezTo>
                  <a:cubicBezTo>
                    <a:pt x="36" y="71"/>
                    <a:pt x="36" y="72"/>
                    <a:pt x="35" y="73"/>
                  </a:cubicBezTo>
                  <a:cubicBezTo>
                    <a:pt x="34" y="73"/>
                    <a:pt x="34" y="72"/>
                    <a:pt x="34" y="71"/>
                  </a:cubicBezTo>
                  <a:cubicBezTo>
                    <a:pt x="33" y="71"/>
                    <a:pt x="33" y="68"/>
                    <a:pt x="33" y="68"/>
                  </a:cubicBezTo>
                  <a:cubicBezTo>
                    <a:pt x="32" y="67"/>
                    <a:pt x="31" y="67"/>
                    <a:pt x="30" y="66"/>
                  </a:cubicBezTo>
                  <a:cubicBezTo>
                    <a:pt x="28" y="66"/>
                    <a:pt x="24" y="67"/>
                    <a:pt x="23" y="68"/>
                  </a:cubicBezTo>
                  <a:cubicBezTo>
                    <a:pt x="23" y="70"/>
                    <a:pt x="23" y="69"/>
                    <a:pt x="23" y="71"/>
                  </a:cubicBezTo>
                  <a:cubicBezTo>
                    <a:pt x="23" y="72"/>
                    <a:pt x="23" y="73"/>
                    <a:pt x="25" y="75"/>
                  </a:cubicBezTo>
                  <a:cubicBezTo>
                    <a:pt x="25" y="75"/>
                    <a:pt x="26" y="75"/>
                    <a:pt x="26" y="75"/>
                  </a:cubicBezTo>
                  <a:cubicBezTo>
                    <a:pt x="27" y="75"/>
                    <a:pt x="28" y="72"/>
                    <a:pt x="31" y="73"/>
                  </a:cubicBezTo>
                  <a:cubicBezTo>
                    <a:pt x="32" y="74"/>
                    <a:pt x="30" y="75"/>
                    <a:pt x="30" y="75"/>
                  </a:cubicBezTo>
                  <a:cubicBezTo>
                    <a:pt x="30" y="77"/>
                    <a:pt x="30" y="76"/>
                    <a:pt x="30" y="77"/>
                  </a:cubicBezTo>
                  <a:cubicBezTo>
                    <a:pt x="30" y="77"/>
                    <a:pt x="29" y="77"/>
                    <a:pt x="30" y="78"/>
                  </a:cubicBezTo>
                  <a:cubicBezTo>
                    <a:pt x="31" y="78"/>
                    <a:pt x="31" y="77"/>
                    <a:pt x="33" y="78"/>
                  </a:cubicBezTo>
                  <a:cubicBezTo>
                    <a:pt x="33" y="80"/>
                    <a:pt x="32" y="80"/>
                    <a:pt x="33" y="82"/>
                  </a:cubicBezTo>
                  <a:cubicBezTo>
                    <a:pt x="33" y="83"/>
                    <a:pt x="35" y="83"/>
                    <a:pt x="37" y="84"/>
                  </a:cubicBezTo>
                  <a:cubicBezTo>
                    <a:pt x="38" y="83"/>
                    <a:pt x="38" y="83"/>
                    <a:pt x="38" y="83"/>
                  </a:cubicBezTo>
                  <a:cubicBezTo>
                    <a:pt x="38" y="82"/>
                    <a:pt x="38" y="82"/>
                    <a:pt x="39" y="82"/>
                  </a:cubicBezTo>
                  <a:cubicBezTo>
                    <a:pt x="40" y="80"/>
                    <a:pt x="41" y="80"/>
                    <a:pt x="43" y="81"/>
                  </a:cubicBezTo>
                  <a:cubicBezTo>
                    <a:pt x="44" y="82"/>
                    <a:pt x="44" y="83"/>
                    <a:pt x="46" y="82"/>
                  </a:cubicBezTo>
                  <a:cubicBezTo>
                    <a:pt x="47" y="82"/>
                    <a:pt x="48" y="82"/>
                    <a:pt x="50" y="82"/>
                  </a:cubicBezTo>
                  <a:cubicBezTo>
                    <a:pt x="51" y="83"/>
                    <a:pt x="51" y="84"/>
                    <a:pt x="52" y="85"/>
                  </a:cubicBezTo>
                  <a:cubicBezTo>
                    <a:pt x="53" y="86"/>
                    <a:pt x="54" y="86"/>
                    <a:pt x="55" y="86"/>
                  </a:cubicBezTo>
                  <a:cubicBezTo>
                    <a:pt x="57" y="86"/>
                    <a:pt x="57" y="86"/>
                    <a:pt x="59" y="87"/>
                  </a:cubicBezTo>
                  <a:cubicBezTo>
                    <a:pt x="61" y="89"/>
                    <a:pt x="61" y="91"/>
                    <a:pt x="63" y="92"/>
                  </a:cubicBezTo>
                  <a:cubicBezTo>
                    <a:pt x="65" y="94"/>
                    <a:pt x="67" y="94"/>
                    <a:pt x="69" y="95"/>
                  </a:cubicBezTo>
                  <a:cubicBezTo>
                    <a:pt x="71" y="96"/>
                    <a:pt x="72" y="97"/>
                    <a:pt x="71" y="99"/>
                  </a:cubicBezTo>
                  <a:close/>
                  <a:moveTo>
                    <a:pt x="71" y="28"/>
                  </a:moveTo>
                  <a:cubicBezTo>
                    <a:pt x="70" y="28"/>
                    <a:pt x="69" y="29"/>
                    <a:pt x="69" y="30"/>
                  </a:cubicBezTo>
                  <a:cubicBezTo>
                    <a:pt x="68" y="31"/>
                    <a:pt x="68" y="35"/>
                    <a:pt x="66" y="35"/>
                  </a:cubicBezTo>
                  <a:cubicBezTo>
                    <a:pt x="65" y="35"/>
                    <a:pt x="63" y="31"/>
                    <a:pt x="63" y="31"/>
                  </a:cubicBezTo>
                  <a:cubicBezTo>
                    <a:pt x="62" y="29"/>
                    <a:pt x="62" y="27"/>
                    <a:pt x="62" y="25"/>
                  </a:cubicBezTo>
                  <a:cubicBezTo>
                    <a:pt x="62" y="23"/>
                    <a:pt x="62" y="20"/>
                    <a:pt x="61" y="19"/>
                  </a:cubicBezTo>
                  <a:cubicBezTo>
                    <a:pt x="60" y="17"/>
                    <a:pt x="59" y="17"/>
                    <a:pt x="57" y="17"/>
                  </a:cubicBezTo>
                  <a:cubicBezTo>
                    <a:pt x="56" y="17"/>
                    <a:pt x="54" y="17"/>
                    <a:pt x="54" y="16"/>
                  </a:cubicBezTo>
                  <a:cubicBezTo>
                    <a:pt x="53" y="15"/>
                    <a:pt x="54" y="14"/>
                    <a:pt x="53" y="13"/>
                  </a:cubicBezTo>
                  <a:cubicBezTo>
                    <a:pt x="52" y="13"/>
                    <a:pt x="52" y="14"/>
                    <a:pt x="51" y="15"/>
                  </a:cubicBezTo>
                  <a:cubicBezTo>
                    <a:pt x="51" y="15"/>
                    <a:pt x="49" y="16"/>
                    <a:pt x="49" y="16"/>
                  </a:cubicBezTo>
                  <a:cubicBezTo>
                    <a:pt x="48" y="17"/>
                    <a:pt x="48" y="17"/>
                    <a:pt x="48" y="18"/>
                  </a:cubicBezTo>
                  <a:cubicBezTo>
                    <a:pt x="48" y="19"/>
                    <a:pt x="47" y="19"/>
                    <a:pt x="46" y="19"/>
                  </a:cubicBezTo>
                  <a:cubicBezTo>
                    <a:pt x="45" y="19"/>
                    <a:pt x="45" y="21"/>
                    <a:pt x="43" y="20"/>
                  </a:cubicBezTo>
                  <a:cubicBezTo>
                    <a:pt x="42" y="19"/>
                    <a:pt x="42" y="19"/>
                    <a:pt x="41" y="19"/>
                  </a:cubicBezTo>
                  <a:cubicBezTo>
                    <a:pt x="40" y="19"/>
                    <a:pt x="41" y="20"/>
                    <a:pt x="40" y="21"/>
                  </a:cubicBezTo>
                  <a:cubicBezTo>
                    <a:pt x="40" y="22"/>
                    <a:pt x="39" y="21"/>
                    <a:pt x="39" y="21"/>
                  </a:cubicBezTo>
                  <a:cubicBezTo>
                    <a:pt x="38" y="21"/>
                    <a:pt x="38" y="21"/>
                    <a:pt x="37" y="22"/>
                  </a:cubicBezTo>
                  <a:cubicBezTo>
                    <a:pt x="36" y="22"/>
                    <a:pt x="35" y="22"/>
                    <a:pt x="35" y="21"/>
                  </a:cubicBezTo>
                  <a:cubicBezTo>
                    <a:pt x="35" y="19"/>
                    <a:pt x="35" y="19"/>
                    <a:pt x="36" y="18"/>
                  </a:cubicBezTo>
                  <a:cubicBezTo>
                    <a:pt x="37" y="16"/>
                    <a:pt x="38" y="15"/>
                    <a:pt x="39" y="15"/>
                  </a:cubicBezTo>
                  <a:cubicBezTo>
                    <a:pt x="40" y="14"/>
                    <a:pt x="41" y="13"/>
                    <a:pt x="42" y="12"/>
                  </a:cubicBezTo>
                  <a:cubicBezTo>
                    <a:pt x="44" y="12"/>
                    <a:pt x="45" y="11"/>
                    <a:pt x="47" y="10"/>
                  </a:cubicBezTo>
                  <a:cubicBezTo>
                    <a:pt x="49" y="9"/>
                    <a:pt x="52" y="9"/>
                    <a:pt x="54" y="8"/>
                  </a:cubicBezTo>
                  <a:cubicBezTo>
                    <a:pt x="56" y="8"/>
                    <a:pt x="58" y="7"/>
                    <a:pt x="60" y="8"/>
                  </a:cubicBezTo>
                  <a:cubicBezTo>
                    <a:pt x="61" y="9"/>
                    <a:pt x="61" y="9"/>
                    <a:pt x="61" y="9"/>
                  </a:cubicBezTo>
                  <a:cubicBezTo>
                    <a:pt x="62" y="9"/>
                    <a:pt x="62" y="9"/>
                    <a:pt x="63" y="9"/>
                  </a:cubicBezTo>
                  <a:cubicBezTo>
                    <a:pt x="65" y="9"/>
                    <a:pt x="67" y="9"/>
                    <a:pt x="69" y="9"/>
                  </a:cubicBezTo>
                  <a:cubicBezTo>
                    <a:pt x="71" y="9"/>
                    <a:pt x="73" y="9"/>
                    <a:pt x="75" y="9"/>
                  </a:cubicBezTo>
                  <a:cubicBezTo>
                    <a:pt x="77" y="9"/>
                    <a:pt x="79" y="8"/>
                    <a:pt x="80" y="9"/>
                  </a:cubicBezTo>
                  <a:cubicBezTo>
                    <a:pt x="81" y="9"/>
                    <a:pt x="81" y="10"/>
                    <a:pt x="82" y="11"/>
                  </a:cubicBezTo>
                  <a:cubicBezTo>
                    <a:pt x="82" y="11"/>
                    <a:pt x="84" y="10"/>
                    <a:pt x="84" y="10"/>
                  </a:cubicBezTo>
                  <a:cubicBezTo>
                    <a:pt x="85" y="10"/>
                    <a:pt x="89" y="9"/>
                    <a:pt x="88" y="11"/>
                  </a:cubicBezTo>
                  <a:cubicBezTo>
                    <a:pt x="88" y="11"/>
                    <a:pt x="87" y="12"/>
                    <a:pt x="86" y="12"/>
                  </a:cubicBezTo>
                  <a:cubicBezTo>
                    <a:pt x="85" y="13"/>
                    <a:pt x="84" y="13"/>
                    <a:pt x="84" y="14"/>
                  </a:cubicBezTo>
                  <a:cubicBezTo>
                    <a:pt x="84" y="15"/>
                    <a:pt x="85" y="16"/>
                    <a:pt x="85" y="17"/>
                  </a:cubicBezTo>
                  <a:cubicBezTo>
                    <a:pt x="85" y="19"/>
                    <a:pt x="84" y="18"/>
                    <a:pt x="83" y="19"/>
                  </a:cubicBezTo>
                  <a:cubicBezTo>
                    <a:pt x="83" y="21"/>
                    <a:pt x="83" y="23"/>
                    <a:pt x="81" y="24"/>
                  </a:cubicBezTo>
                  <a:cubicBezTo>
                    <a:pt x="79" y="26"/>
                    <a:pt x="77" y="27"/>
                    <a:pt x="75" y="27"/>
                  </a:cubicBezTo>
                  <a:cubicBezTo>
                    <a:pt x="74" y="27"/>
                    <a:pt x="72" y="27"/>
                    <a:pt x="71" y="28"/>
                  </a:cubicBezTo>
                  <a:close/>
                  <a:moveTo>
                    <a:pt x="79" y="30"/>
                  </a:moveTo>
                  <a:cubicBezTo>
                    <a:pt x="78" y="29"/>
                    <a:pt x="82" y="29"/>
                    <a:pt x="83" y="29"/>
                  </a:cubicBezTo>
                  <a:cubicBezTo>
                    <a:pt x="84" y="29"/>
                    <a:pt x="86" y="29"/>
                    <a:pt x="87" y="30"/>
                  </a:cubicBezTo>
                  <a:cubicBezTo>
                    <a:pt x="87" y="31"/>
                    <a:pt x="87" y="31"/>
                    <a:pt x="87" y="31"/>
                  </a:cubicBezTo>
                  <a:cubicBezTo>
                    <a:pt x="87" y="31"/>
                    <a:pt x="87" y="32"/>
                    <a:pt x="87" y="32"/>
                  </a:cubicBezTo>
                  <a:cubicBezTo>
                    <a:pt x="86" y="32"/>
                    <a:pt x="85" y="32"/>
                    <a:pt x="85" y="33"/>
                  </a:cubicBezTo>
                  <a:cubicBezTo>
                    <a:pt x="84" y="33"/>
                    <a:pt x="82" y="34"/>
                    <a:pt x="81" y="33"/>
                  </a:cubicBezTo>
                  <a:cubicBezTo>
                    <a:pt x="81" y="33"/>
                    <a:pt x="81" y="32"/>
                    <a:pt x="81" y="32"/>
                  </a:cubicBezTo>
                  <a:cubicBezTo>
                    <a:pt x="80" y="31"/>
                    <a:pt x="80" y="32"/>
                    <a:pt x="80" y="31"/>
                  </a:cubicBezTo>
                  <a:cubicBezTo>
                    <a:pt x="79" y="31"/>
                    <a:pt x="79" y="31"/>
                    <a:pt x="79" y="30"/>
                  </a:cubicBezTo>
                  <a:close/>
                  <a:moveTo>
                    <a:pt x="127" y="102"/>
                  </a:moveTo>
                  <a:cubicBezTo>
                    <a:pt x="127" y="103"/>
                    <a:pt x="127" y="103"/>
                    <a:pt x="127" y="103"/>
                  </a:cubicBezTo>
                  <a:cubicBezTo>
                    <a:pt x="126" y="104"/>
                    <a:pt x="126" y="104"/>
                    <a:pt x="126" y="104"/>
                  </a:cubicBezTo>
                  <a:cubicBezTo>
                    <a:pt x="126" y="105"/>
                    <a:pt x="126" y="106"/>
                    <a:pt x="126" y="106"/>
                  </a:cubicBezTo>
                  <a:cubicBezTo>
                    <a:pt x="125" y="107"/>
                    <a:pt x="124" y="109"/>
                    <a:pt x="123" y="110"/>
                  </a:cubicBezTo>
                  <a:cubicBezTo>
                    <a:pt x="122" y="110"/>
                    <a:pt x="121" y="109"/>
                    <a:pt x="121" y="108"/>
                  </a:cubicBezTo>
                  <a:cubicBezTo>
                    <a:pt x="121" y="108"/>
                    <a:pt x="122" y="107"/>
                    <a:pt x="122" y="107"/>
                  </a:cubicBezTo>
                  <a:cubicBezTo>
                    <a:pt x="123" y="106"/>
                    <a:pt x="123" y="104"/>
                    <a:pt x="124" y="103"/>
                  </a:cubicBezTo>
                  <a:cubicBezTo>
                    <a:pt x="125" y="103"/>
                    <a:pt x="125" y="103"/>
                    <a:pt x="126" y="102"/>
                  </a:cubicBezTo>
                  <a:cubicBezTo>
                    <a:pt x="126" y="102"/>
                    <a:pt x="126" y="102"/>
                    <a:pt x="126" y="102"/>
                  </a:cubicBezTo>
                  <a:cubicBezTo>
                    <a:pt x="126" y="102"/>
                    <a:pt x="126" y="102"/>
                    <a:pt x="126" y="101"/>
                  </a:cubicBezTo>
                  <a:cubicBezTo>
                    <a:pt x="127" y="101"/>
                    <a:pt x="127" y="101"/>
                    <a:pt x="127" y="101"/>
                  </a:cubicBezTo>
                  <a:cubicBezTo>
                    <a:pt x="127" y="101"/>
                    <a:pt x="127" y="101"/>
                    <a:pt x="127" y="101"/>
                  </a:cubicBezTo>
                  <a:cubicBezTo>
                    <a:pt x="127" y="101"/>
                    <a:pt x="127" y="101"/>
                    <a:pt x="128" y="101"/>
                  </a:cubicBezTo>
                  <a:cubicBezTo>
                    <a:pt x="128" y="102"/>
                    <a:pt x="127" y="102"/>
                    <a:pt x="127" y="102"/>
                  </a:cubicBezTo>
                  <a:close/>
                  <a:moveTo>
                    <a:pt x="120" y="98"/>
                  </a:moveTo>
                  <a:cubicBezTo>
                    <a:pt x="120" y="100"/>
                    <a:pt x="121" y="104"/>
                    <a:pt x="120" y="105"/>
                  </a:cubicBezTo>
                  <a:cubicBezTo>
                    <a:pt x="119" y="105"/>
                    <a:pt x="116" y="108"/>
                    <a:pt x="116" y="108"/>
                  </a:cubicBezTo>
                  <a:cubicBezTo>
                    <a:pt x="116" y="110"/>
                    <a:pt x="116" y="109"/>
                    <a:pt x="116" y="110"/>
                  </a:cubicBezTo>
                  <a:cubicBezTo>
                    <a:pt x="116" y="111"/>
                    <a:pt x="116" y="112"/>
                    <a:pt x="116" y="112"/>
                  </a:cubicBezTo>
                  <a:cubicBezTo>
                    <a:pt x="115" y="113"/>
                    <a:pt x="115" y="113"/>
                    <a:pt x="114" y="113"/>
                  </a:cubicBezTo>
                  <a:cubicBezTo>
                    <a:pt x="113" y="113"/>
                    <a:pt x="113" y="113"/>
                    <a:pt x="113" y="114"/>
                  </a:cubicBezTo>
                  <a:cubicBezTo>
                    <a:pt x="113" y="115"/>
                    <a:pt x="113" y="116"/>
                    <a:pt x="112" y="116"/>
                  </a:cubicBezTo>
                  <a:cubicBezTo>
                    <a:pt x="112" y="117"/>
                    <a:pt x="111" y="117"/>
                    <a:pt x="111" y="118"/>
                  </a:cubicBezTo>
                  <a:cubicBezTo>
                    <a:pt x="110" y="118"/>
                    <a:pt x="109" y="119"/>
                    <a:pt x="108" y="119"/>
                  </a:cubicBezTo>
                  <a:cubicBezTo>
                    <a:pt x="106" y="120"/>
                    <a:pt x="103" y="121"/>
                    <a:pt x="101" y="119"/>
                  </a:cubicBezTo>
                  <a:cubicBezTo>
                    <a:pt x="101" y="118"/>
                    <a:pt x="101" y="119"/>
                    <a:pt x="100" y="118"/>
                  </a:cubicBezTo>
                  <a:cubicBezTo>
                    <a:pt x="99" y="116"/>
                    <a:pt x="98" y="116"/>
                    <a:pt x="98" y="114"/>
                  </a:cubicBezTo>
                  <a:cubicBezTo>
                    <a:pt x="98" y="112"/>
                    <a:pt x="98" y="110"/>
                    <a:pt x="98" y="108"/>
                  </a:cubicBezTo>
                  <a:cubicBezTo>
                    <a:pt x="97" y="108"/>
                    <a:pt x="97" y="94"/>
                    <a:pt x="97" y="94"/>
                  </a:cubicBezTo>
                  <a:cubicBezTo>
                    <a:pt x="96" y="93"/>
                    <a:pt x="95" y="92"/>
                    <a:pt x="95" y="90"/>
                  </a:cubicBezTo>
                  <a:cubicBezTo>
                    <a:pt x="95" y="90"/>
                    <a:pt x="95" y="89"/>
                    <a:pt x="95" y="88"/>
                  </a:cubicBezTo>
                  <a:cubicBezTo>
                    <a:pt x="94" y="88"/>
                    <a:pt x="94" y="87"/>
                    <a:pt x="93" y="87"/>
                  </a:cubicBezTo>
                  <a:cubicBezTo>
                    <a:pt x="92" y="86"/>
                    <a:pt x="90" y="88"/>
                    <a:pt x="88" y="88"/>
                  </a:cubicBezTo>
                  <a:cubicBezTo>
                    <a:pt x="87" y="88"/>
                    <a:pt x="84" y="87"/>
                    <a:pt x="83" y="86"/>
                  </a:cubicBezTo>
                  <a:cubicBezTo>
                    <a:pt x="82" y="85"/>
                    <a:pt x="81" y="84"/>
                    <a:pt x="81" y="82"/>
                  </a:cubicBezTo>
                  <a:cubicBezTo>
                    <a:pt x="80" y="81"/>
                    <a:pt x="80" y="79"/>
                    <a:pt x="80" y="78"/>
                  </a:cubicBezTo>
                  <a:cubicBezTo>
                    <a:pt x="81" y="77"/>
                    <a:pt x="81" y="75"/>
                    <a:pt x="81" y="74"/>
                  </a:cubicBezTo>
                  <a:cubicBezTo>
                    <a:pt x="81" y="73"/>
                    <a:pt x="82" y="72"/>
                    <a:pt x="82" y="70"/>
                  </a:cubicBezTo>
                  <a:cubicBezTo>
                    <a:pt x="83" y="69"/>
                    <a:pt x="84" y="69"/>
                    <a:pt x="85" y="67"/>
                  </a:cubicBezTo>
                  <a:cubicBezTo>
                    <a:pt x="85" y="67"/>
                    <a:pt x="86" y="66"/>
                    <a:pt x="86" y="66"/>
                  </a:cubicBezTo>
                  <a:cubicBezTo>
                    <a:pt x="87" y="65"/>
                    <a:pt x="87" y="64"/>
                    <a:pt x="89" y="63"/>
                  </a:cubicBezTo>
                  <a:cubicBezTo>
                    <a:pt x="91" y="61"/>
                    <a:pt x="90" y="63"/>
                    <a:pt x="93" y="62"/>
                  </a:cubicBezTo>
                  <a:cubicBezTo>
                    <a:pt x="93" y="61"/>
                    <a:pt x="96" y="61"/>
                    <a:pt x="96" y="61"/>
                  </a:cubicBezTo>
                  <a:cubicBezTo>
                    <a:pt x="96" y="61"/>
                    <a:pt x="100" y="60"/>
                    <a:pt x="100" y="60"/>
                  </a:cubicBezTo>
                  <a:cubicBezTo>
                    <a:pt x="102" y="61"/>
                    <a:pt x="101" y="62"/>
                    <a:pt x="101" y="63"/>
                  </a:cubicBezTo>
                  <a:cubicBezTo>
                    <a:pt x="102" y="64"/>
                    <a:pt x="102" y="65"/>
                    <a:pt x="104" y="65"/>
                  </a:cubicBezTo>
                  <a:cubicBezTo>
                    <a:pt x="105" y="66"/>
                    <a:pt x="105" y="67"/>
                    <a:pt x="106" y="67"/>
                  </a:cubicBezTo>
                  <a:cubicBezTo>
                    <a:pt x="107" y="67"/>
                    <a:pt x="108" y="64"/>
                    <a:pt x="110" y="65"/>
                  </a:cubicBezTo>
                  <a:cubicBezTo>
                    <a:pt x="111" y="66"/>
                    <a:pt x="111" y="66"/>
                    <a:pt x="111" y="66"/>
                  </a:cubicBezTo>
                  <a:cubicBezTo>
                    <a:pt x="111" y="66"/>
                    <a:pt x="112" y="66"/>
                    <a:pt x="113" y="66"/>
                  </a:cubicBezTo>
                  <a:cubicBezTo>
                    <a:pt x="114" y="67"/>
                    <a:pt x="114" y="68"/>
                    <a:pt x="115" y="68"/>
                  </a:cubicBezTo>
                  <a:cubicBezTo>
                    <a:pt x="115" y="69"/>
                    <a:pt x="115" y="69"/>
                    <a:pt x="115" y="70"/>
                  </a:cubicBezTo>
                  <a:cubicBezTo>
                    <a:pt x="116" y="71"/>
                    <a:pt x="116" y="73"/>
                    <a:pt x="117" y="74"/>
                  </a:cubicBezTo>
                  <a:cubicBezTo>
                    <a:pt x="118" y="75"/>
                    <a:pt x="118" y="76"/>
                    <a:pt x="119" y="78"/>
                  </a:cubicBezTo>
                  <a:cubicBezTo>
                    <a:pt x="119" y="79"/>
                    <a:pt x="121" y="80"/>
                    <a:pt x="121" y="83"/>
                  </a:cubicBezTo>
                  <a:cubicBezTo>
                    <a:pt x="122" y="84"/>
                    <a:pt x="127" y="82"/>
                    <a:pt x="128" y="83"/>
                  </a:cubicBezTo>
                  <a:cubicBezTo>
                    <a:pt x="128" y="87"/>
                    <a:pt x="119" y="96"/>
                    <a:pt x="120" y="98"/>
                  </a:cubicBezTo>
                  <a:close/>
                  <a:moveTo>
                    <a:pt x="133" y="68"/>
                  </a:moveTo>
                  <a:cubicBezTo>
                    <a:pt x="132" y="68"/>
                    <a:pt x="132" y="67"/>
                    <a:pt x="131" y="66"/>
                  </a:cubicBezTo>
                  <a:cubicBezTo>
                    <a:pt x="130" y="66"/>
                    <a:pt x="129" y="65"/>
                    <a:pt x="129" y="65"/>
                  </a:cubicBezTo>
                  <a:cubicBezTo>
                    <a:pt x="128" y="66"/>
                    <a:pt x="129" y="67"/>
                    <a:pt x="129" y="68"/>
                  </a:cubicBezTo>
                  <a:cubicBezTo>
                    <a:pt x="130" y="70"/>
                    <a:pt x="130" y="71"/>
                    <a:pt x="131" y="71"/>
                  </a:cubicBezTo>
                  <a:cubicBezTo>
                    <a:pt x="132" y="71"/>
                    <a:pt x="134" y="71"/>
                    <a:pt x="134" y="72"/>
                  </a:cubicBezTo>
                  <a:cubicBezTo>
                    <a:pt x="135" y="72"/>
                    <a:pt x="135" y="74"/>
                    <a:pt x="135" y="75"/>
                  </a:cubicBezTo>
                  <a:cubicBezTo>
                    <a:pt x="134" y="75"/>
                    <a:pt x="133" y="76"/>
                    <a:pt x="133" y="76"/>
                  </a:cubicBezTo>
                  <a:cubicBezTo>
                    <a:pt x="132" y="77"/>
                    <a:pt x="131" y="78"/>
                    <a:pt x="130" y="78"/>
                  </a:cubicBezTo>
                  <a:cubicBezTo>
                    <a:pt x="129" y="78"/>
                    <a:pt x="129" y="78"/>
                    <a:pt x="128" y="79"/>
                  </a:cubicBezTo>
                  <a:cubicBezTo>
                    <a:pt x="127" y="80"/>
                    <a:pt x="127" y="79"/>
                    <a:pt x="126" y="78"/>
                  </a:cubicBezTo>
                  <a:cubicBezTo>
                    <a:pt x="126" y="78"/>
                    <a:pt x="126" y="77"/>
                    <a:pt x="126" y="76"/>
                  </a:cubicBezTo>
                  <a:cubicBezTo>
                    <a:pt x="126" y="75"/>
                    <a:pt x="125" y="75"/>
                    <a:pt x="125" y="74"/>
                  </a:cubicBezTo>
                  <a:cubicBezTo>
                    <a:pt x="124" y="72"/>
                    <a:pt x="124" y="71"/>
                    <a:pt x="123" y="69"/>
                  </a:cubicBezTo>
                  <a:cubicBezTo>
                    <a:pt x="122" y="68"/>
                    <a:pt x="122" y="66"/>
                    <a:pt x="120" y="66"/>
                  </a:cubicBezTo>
                  <a:cubicBezTo>
                    <a:pt x="120" y="66"/>
                    <a:pt x="119" y="66"/>
                    <a:pt x="119" y="66"/>
                  </a:cubicBezTo>
                  <a:cubicBezTo>
                    <a:pt x="119" y="66"/>
                    <a:pt x="119" y="66"/>
                    <a:pt x="119" y="66"/>
                  </a:cubicBezTo>
                  <a:cubicBezTo>
                    <a:pt x="119" y="65"/>
                    <a:pt x="118" y="65"/>
                    <a:pt x="119" y="64"/>
                  </a:cubicBezTo>
                  <a:cubicBezTo>
                    <a:pt x="120" y="64"/>
                    <a:pt x="121" y="63"/>
                    <a:pt x="121" y="62"/>
                  </a:cubicBezTo>
                  <a:cubicBezTo>
                    <a:pt x="121" y="60"/>
                    <a:pt x="121" y="58"/>
                    <a:pt x="120" y="59"/>
                  </a:cubicBezTo>
                  <a:cubicBezTo>
                    <a:pt x="118" y="59"/>
                    <a:pt x="114" y="59"/>
                    <a:pt x="114" y="56"/>
                  </a:cubicBezTo>
                  <a:cubicBezTo>
                    <a:pt x="115" y="56"/>
                    <a:pt x="117" y="56"/>
                    <a:pt x="118" y="56"/>
                  </a:cubicBezTo>
                  <a:cubicBezTo>
                    <a:pt x="118" y="56"/>
                    <a:pt x="119" y="56"/>
                    <a:pt x="120" y="56"/>
                  </a:cubicBezTo>
                  <a:cubicBezTo>
                    <a:pt x="121" y="56"/>
                    <a:pt x="123" y="57"/>
                    <a:pt x="124" y="56"/>
                  </a:cubicBezTo>
                  <a:cubicBezTo>
                    <a:pt x="125" y="55"/>
                    <a:pt x="124" y="56"/>
                    <a:pt x="122" y="53"/>
                  </a:cubicBezTo>
                  <a:cubicBezTo>
                    <a:pt x="121" y="52"/>
                    <a:pt x="120" y="52"/>
                    <a:pt x="120" y="52"/>
                  </a:cubicBezTo>
                  <a:cubicBezTo>
                    <a:pt x="119" y="52"/>
                    <a:pt x="119" y="51"/>
                    <a:pt x="118" y="51"/>
                  </a:cubicBezTo>
                  <a:cubicBezTo>
                    <a:pt x="117" y="51"/>
                    <a:pt x="117" y="52"/>
                    <a:pt x="116" y="53"/>
                  </a:cubicBezTo>
                  <a:cubicBezTo>
                    <a:pt x="115" y="54"/>
                    <a:pt x="115" y="54"/>
                    <a:pt x="115" y="55"/>
                  </a:cubicBezTo>
                  <a:cubicBezTo>
                    <a:pt x="113" y="55"/>
                    <a:pt x="113" y="55"/>
                    <a:pt x="111" y="55"/>
                  </a:cubicBezTo>
                  <a:cubicBezTo>
                    <a:pt x="110" y="55"/>
                    <a:pt x="110" y="54"/>
                    <a:pt x="110" y="53"/>
                  </a:cubicBezTo>
                  <a:cubicBezTo>
                    <a:pt x="110" y="52"/>
                    <a:pt x="109" y="51"/>
                    <a:pt x="108" y="51"/>
                  </a:cubicBezTo>
                  <a:cubicBezTo>
                    <a:pt x="107" y="50"/>
                    <a:pt x="104" y="50"/>
                    <a:pt x="105" y="52"/>
                  </a:cubicBezTo>
                  <a:cubicBezTo>
                    <a:pt x="105" y="52"/>
                    <a:pt x="106" y="53"/>
                    <a:pt x="107" y="53"/>
                  </a:cubicBezTo>
                  <a:cubicBezTo>
                    <a:pt x="107" y="54"/>
                    <a:pt x="109" y="57"/>
                    <a:pt x="109" y="58"/>
                  </a:cubicBezTo>
                  <a:cubicBezTo>
                    <a:pt x="109" y="57"/>
                    <a:pt x="107" y="57"/>
                    <a:pt x="107" y="57"/>
                  </a:cubicBezTo>
                  <a:cubicBezTo>
                    <a:pt x="107" y="57"/>
                    <a:pt x="106" y="60"/>
                    <a:pt x="106" y="60"/>
                  </a:cubicBezTo>
                  <a:cubicBezTo>
                    <a:pt x="106" y="59"/>
                    <a:pt x="105" y="55"/>
                    <a:pt x="104" y="54"/>
                  </a:cubicBezTo>
                  <a:cubicBezTo>
                    <a:pt x="104" y="54"/>
                    <a:pt x="104" y="54"/>
                    <a:pt x="103" y="53"/>
                  </a:cubicBezTo>
                  <a:cubicBezTo>
                    <a:pt x="103" y="53"/>
                    <a:pt x="102" y="53"/>
                    <a:pt x="102" y="52"/>
                  </a:cubicBezTo>
                  <a:cubicBezTo>
                    <a:pt x="101" y="52"/>
                    <a:pt x="101" y="52"/>
                    <a:pt x="100" y="52"/>
                  </a:cubicBezTo>
                  <a:cubicBezTo>
                    <a:pt x="99" y="52"/>
                    <a:pt x="99" y="53"/>
                    <a:pt x="98" y="53"/>
                  </a:cubicBezTo>
                  <a:cubicBezTo>
                    <a:pt x="98" y="54"/>
                    <a:pt x="97" y="55"/>
                    <a:pt x="96" y="55"/>
                  </a:cubicBezTo>
                  <a:cubicBezTo>
                    <a:pt x="95" y="56"/>
                    <a:pt x="95" y="59"/>
                    <a:pt x="94" y="59"/>
                  </a:cubicBezTo>
                  <a:cubicBezTo>
                    <a:pt x="93" y="59"/>
                    <a:pt x="89" y="59"/>
                    <a:pt x="89" y="58"/>
                  </a:cubicBezTo>
                  <a:cubicBezTo>
                    <a:pt x="90" y="53"/>
                    <a:pt x="91" y="51"/>
                    <a:pt x="91" y="51"/>
                  </a:cubicBezTo>
                  <a:cubicBezTo>
                    <a:pt x="92" y="51"/>
                    <a:pt x="94" y="52"/>
                    <a:pt x="95" y="51"/>
                  </a:cubicBezTo>
                  <a:cubicBezTo>
                    <a:pt x="95" y="50"/>
                    <a:pt x="94" y="50"/>
                    <a:pt x="94" y="49"/>
                  </a:cubicBezTo>
                  <a:cubicBezTo>
                    <a:pt x="94" y="48"/>
                    <a:pt x="97" y="47"/>
                    <a:pt x="99" y="45"/>
                  </a:cubicBezTo>
                  <a:cubicBezTo>
                    <a:pt x="101" y="44"/>
                    <a:pt x="102" y="42"/>
                    <a:pt x="103" y="42"/>
                  </a:cubicBezTo>
                  <a:cubicBezTo>
                    <a:pt x="104" y="41"/>
                    <a:pt x="106" y="41"/>
                    <a:pt x="107" y="41"/>
                  </a:cubicBezTo>
                  <a:cubicBezTo>
                    <a:pt x="109" y="41"/>
                    <a:pt x="109" y="42"/>
                    <a:pt x="110" y="40"/>
                  </a:cubicBezTo>
                  <a:cubicBezTo>
                    <a:pt x="110" y="40"/>
                    <a:pt x="113" y="38"/>
                    <a:pt x="113" y="38"/>
                  </a:cubicBezTo>
                  <a:cubicBezTo>
                    <a:pt x="113" y="37"/>
                    <a:pt x="110" y="37"/>
                    <a:pt x="110" y="36"/>
                  </a:cubicBezTo>
                  <a:cubicBezTo>
                    <a:pt x="110" y="32"/>
                    <a:pt x="110" y="32"/>
                    <a:pt x="110" y="32"/>
                  </a:cubicBezTo>
                  <a:cubicBezTo>
                    <a:pt x="109" y="32"/>
                    <a:pt x="108" y="33"/>
                    <a:pt x="107" y="33"/>
                  </a:cubicBezTo>
                  <a:cubicBezTo>
                    <a:pt x="107" y="38"/>
                    <a:pt x="107" y="40"/>
                    <a:pt x="105" y="40"/>
                  </a:cubicBezTo>
                  <a:cubicBezTo>
                    <a:pt x="104" y="40"/>
                    <a:pt x="103" y="39"/>
                    <a:pt x="103" y="39"/>
                  </a:cubicBezTo>
                  <a:cubicBezTo>
                    <a:pt x="102" y="39"/>
                    <a:pt x="101" y="39"/>
                    <a:pt x="100" y="39"/>
                  </a:cubicBezTo>
                  <a:cubicBezTo>
                    <a:pt x="96" y="36"/>
                    <a:pt x="103" y="32"/>
                    <a:pt x="103" y="31"/>
                  </a:cubicBezTo>
                  <a:cubicBezTo>
                    <a:pt x="105" y="28"/>
                    <a:pt x="107" y="26"/>
                    <a:pt x="109" y="26"/>
                  </a:cubicBezTo>
                  <a:cubicBezTo>
                    <a:pt x="112" y="25"/>
                    <a:pt x="113" y="24"/>
                    <a:pt x="115" y="25"/>
                  </a:cubicBezTo>
                  <a:cubicBezTo>
                    <a:pt x="120" y="31"/>
                    <a:pt x="120" y="31"/>
                    <a:pt x="120" y="31"/>
                  </a:cubicBezTo>
                  <a:cubicBezTo>
                    <a:pt x="122" y="33"/>
                    <a:pt x="125" y="36"/>
                    <a:pt x="126" y="38"/>
                  </a:cubicBezTo>
                  <a:cubicBezTo>
                    <a:pt x="128" y="41"/>
                    <a:pt x="131" y="48"/>
                    <a:pt x="132" y="52"/>
                  </a:cubicBezTo>
                  <a:cubicBezTo>
                    <a:pt x="134" y="59"/>
                    <a:pt x="136" y="62"/>
                    <a:pt x="136" y="68"/>
                  </a:cubicBezTo>
                  <a:cubicBezTo>
                    <a:pt x="136" y="70"/>
                    <a:pt x="134" y="69"/>
                    <a:pt x="133" y="68"/>
                  </a:cubicBezTo>
                  <a:close/>
                </a:path>
              </a:pathLst>
            </a:custGeom>
            <a:solidFill>
              <a:schemeClr val="bg1"/>
            </a:solidFill>
            <a:ln>
              <a:noFill/>
            </a:ln>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27" name="Star: 5 Points 26">
            <a:extLst>
              <a:ext uri="{FF2B5EF4-FFF2-40B4-BE49-F238E27FC236}">
                <a16:creationId xmlns:a16="http://schemas.microsoft.com/office/drawing/2014/main" id="{919784A5-8A93-4408-9424-FFEC67AEABFA}"/>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497655519"/>
      </p:ext>
    </p:extLst>
  </p:cSld>
  <p:clrMapOvr>
    <a:masterClrMapping/>
  </p:clrMapOvr>
  <p:transition>
    <p:fade/>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sked pie charts</a:t>
            </a:r>
          </a:p>
        </p:txBody>
      </p:sp>
      <p:graphicFrame>
        <p:nvGraphicFramePr>
          <p:cNvPr id="6" name="Chart 5"/>
          <p:cNvGraphicFramePr/>
          <p:nvPr>
            <p:extLst>
              <p:ext uri="{D42A27DB-BD31-4B8C-83A1-F6EECF244321}">
                <p14:modId xmlns:p14="http://schemas.microsoft.com/office/powerpoint/2010/main" val="1919385196"/>
              </p:ext>
            </p:extLst>
          </p:nvPr>
        </p:nvGraphicFramePr>
        <p:xfrm>
          <a:off x="831850" y="2486024"/>
          <a:ext cx="3192463" cy="21283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Chart 26"/>
          <p:cNvGraphicFramePr/>
          <p:nvPr>
            <p:extLst>
              <p:ext uri="{D42A27DB-BD31-4B8C-83A1-F6EECF244321}">
                <p14:modId xmlns:p14="http://schemas.microsoft.com/office/powerpoint/2010/main" val="844499724"/>
              </p:ext>
            </p:extLst>
          </p:nvPr>
        </p:nvGraphicFramePr>
        <p:xfrm>
          <a:off x="4499768" y="2486024"/>
          <a:ext cx="3192463" cy="212830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8" name="Chart 27"/>
          <p:cNvGraphicFramePr/>
          <p:nvPr>
            <p:extLst>
              <p:ext uri="{D42A27DB-BD31-4B8C-83A1-F6EECF244321}">
                <p14:modId xmlns:p14="http://schemas.microsoft.com/office/powerpoint/2010/main" val="3848125928"/>
              </p:ext>
            </p:extLst>
          </p:nvPr>
        </p:nvGraphicFramePr>
        <p:xfrm>
          <a:off x="8167687" y="2486024"/>
          <a:ext cx="3192463" cy="2128309"/>
        </p:xfrm>
        <a:graphic>
          <a:graphicData uri="http://schemas.openxmlformats.org/drawingml/2006/chart">
            <c:chart xmlns:c="http://schemas.openxmlformats.org/drawingml/2006/chart" xmlns:r="http://schemas.openxmlformats.org/officeDocument/2006/relationships" r:id="rId5"/>
          </a:graphicData>
        </a:graphic>
      </p:graphicFrame>
      <p:sp>
        <p:nvSpPr>
          <p:cNvPr id="13" name="Freeform 12">
            <a:extLst>
              <a:ext uri="{FF2B5EF4-FFF2-40B4-BE49-F238E27FC236}">
                <a16:creationId xmlns:a16="http://schemas.microsoft.com/office/drawing/2014/main" id="{98338D72-7DCA-374B-BACC-DC6FA0D393B3}"/>
              </a:ext>
            </a:extLst>
          </p:cNvPr>
          <p:cNvSpPr/>
          <p:nvPr/>
        </p:nvSpPr>
        <p:spPr bwMode="gray">
          <a:xfrm>
            <a:off x="1455737" y="2436918"/>
            <a:ext cx="1944688" cy="1944688"/>
          </a:xfrm>
          <a:custGeom>
            <a:avLst/>
            <a:gdLst>
              <a:gd name="connsiteX0" fmla="*/ 495299 w 1944688"/>
              <a:gd name="connsiteY0" fmla="*/ 474557 h 1944688"/>
              <a:gd name="connsiteX1" fmla="*/ 495299 w 1944688"/>
              <a:gd name="connsiteY1" fmla="*/ 1428645 h 1944688"/>
              <a:gd name="connsiteX2" fmla="*/ 1449389 w 1944688"/>
              <a:gd name="connsiteY2" fmla="*/ 1428645 h 1944688"/>
              <a:gd name="connsiteX3" fmla="*/ 1449389 w 1944688"/>
              <a:gd name="connsiteY3" fmla="*/ 474557 h 1944688"/>
              <a:gd name="connsiteX4" fmla="*/ 972344 w 1944688"/>
              <a:gd name="connsiteY4" fmla="*/ 0 h 1944688"/>
              <a:gd name="connsiteX5" fmla="*/ 1944688 w 1944688"/>
              <a:gd name="connsiteY5" fmla="*/ 972344 h 1944688"/>
              <a:gd name="connsiteX6" fmla="*/ 972344 w 1944688"/>
              <a:gd name="connsiteY6" fmla="*/ 1944688 h 1944688"/>
              <a:gd name="connsiteX7" fmla="*/ 0 w 1944688"/>
              <a:gd name="connsiteY7" fmla="*/ 972344 h 1944688"/>
              <a:gd name="connsiteX8" fmla="*/ 972344 w 1944688"/>
              <a:gd name="connsiteY8" fmla="*/ 0 h 194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8" h="1944688">
                <a:moveTo>
                  <a:pt x="495299" y="474557"/>
                </a:moveTo>
                <a:lnTo>
                  <a:pt x="495299" y="1428645"/>
                </a:lnTo>
                <a:lnTo>
                  <a:pt x="1449389" y="1428645"/>
                </a:lnTo>
                <a:lnTo>
                  <a:pt x="1449389" y="474557"/>
                </a:lnTo>
                <a:close/>
                <a:moveTo>
                  <a:pt x="972344" y="0"/>
                </a:moveTo>
                <a:cubicBezTo>
                  <a:pt x="1509355" y="0"/>
                  <a:pt x="1944688" y="435333"/>
                  <a:pt x="1944688" y="972344"/>
                </a:cubicBezTo>
                <a:cubicBezTo>
                  <a:pt x="1944688" y="1509355"/>
                  <a:pt x="1509355" y="1944688"/>
                  <a:pt x="972344" y="1944688"/>
                </a:cubicBezTo>
                <a:cubicBezTo>
                  <a:pt x="435333" y="1944688"/>
                  <a:pt x="0" y="1509355"/>
                  <a:pt x="0" y="972344"/>
                </a:cubicBezTo>
                <a:cubicBezTo>
                  <a:pt x="0" y="435333"/>
                  <a:pt x="435333" y="0"/>
                  <a:pt x="972344" y="0"/>
                </a:cubicBezTo>
                <a:close/>
              </a:path>
            </a:pathLst>
          </a:cu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4" name="Freeform 13">
            <a:extLst>
              <a:ext uri="{FF2B5EF4-FFF2-40B4-BE49-F238E27FC236}">
                <a16:creationId xmlns:a16="http://schemas.microsoft.com/office/drawing/2014/main" id="{20A45835-6D41-1E46-A575-205001DE5BE8}"/>
              </a:ext>
            </a:extLst>
          </p:cNvPr>
          <p:cNvSpPr/>
          <p:nvPr/>
        </p:nvSpPr>
        <p:spPr bwMode="gray">
          <a:xfrm>
            <a:off x="5123655" y="2436918"/>
            <a:ext cx="1944688" cy="1944688"/>
          </a:xfrm>
          <a:custGeom>
            <a:avLst/>
            <a:gdLst>
              <a:gd name="connsiteX0" fmla="*/ 495299 w 1944688"/>
              <a:gd name="connsiteY0" fmla="*/ 474557 h 1944688"/>
              <a:gd name="connsiteX1" fmla="*/ 495299 w 1944688"/>
              <a:gd name="connsiteY1" fmla="*/ 1428645 h 1944688"/>
              <a:gd name="connsiteX2" fmla="*/ 1449389 w 1944688"/>
              <a:gd name="connsiteY2" fmla="*/ 1428645 h 1944688"/>
              <a:gd name="connsiteX3" fmla="*/ 1449389 w 1944688"/>
              <a:gd name="connsiteY3" fmla="*/ 474557 h 1944688"/>
              <a:gd name="connsiteX4" fmla="*/ 972344 w 1944688"/>
              <a:gd name="connsiteY4" fmla="*/ 0 h 1944688"/>
              <a:gd name="connsiteX5" fmla="*/ 1944688 w 1944688"/>
              <a:gd name="connsiteY5" fmla="*/ 972344 h 1944688"/>
              <a:gd name="connsiteX6" fmla="*/ 972344 w 1944688"/>
              <a:gd name="connsiteY6" fmla="*/ 1944688 h 1944688"/>
              <a:gd name="connsiteX7" fmla="*/ 0 w 1944688"/>
              <a:gd name="connsiteY7" fmla="*/ 972344 h 1944688"/>
              <a:gd name="connsiteX8" fmla="*/ 972344 w 1944688"/>
              <a:gd name="connsiteY8" fmla="*/ 0 h 194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8" h="1944688">
                <a:moveTo>
                  <a:pt x="495299" y="474557"/>
                </a:moveTo>
                <a:lnTo>
                  <a:pt x="495299" y="1428645"/>
                </a:lnTo>
                <a:lnTo>
                  <a:pt x="1449389" y="1428645"/>
                </a:lnTo>
                <a:lnTo>
                  <a:pt x="1449389" y="474557"/>
                </a:lnTo>
                <a:close/>
                <a:moveTo>
                  <a:pt x="972344" y="0"/>
                </a:moveTo>
                <a:cubicBezTo>
                  <a:pt x="1509355" y="0"/>
                  <a:pt x="1944688" y="435333"/>
                  <a:pt x="1944688" y="972344"/>
                </a:cubicBezTo>
                <a:cubicBezTo>
                  <a:pt x="1944688" y="1509355"/>
                  <a:pt x="1509355" y="1944688"/>
                  <a:pt x="972344" y="1944688"/>
                </a:cubicBezTo>
                <a:cubicBezTo>
                  <a:pt x="435333" y="1944688"/>
                  <a:pt x="0" y="1509355"/>
                  <a:pt x="0" y="972344"/>
                </a:cubicBezTo>
                <a:cubicBezTo>
                  <a:pt x="0" y="435333"/>
                  <a:pt x="435333" y="0"/>
                  <a:pt x="972344" y="0"/>
                </a:cubicBezTo>
                <a:close/>
              </a:path>
            </a:pathLst>
          </a:cu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5" name="Freeform 14">
            <a:extLst>
              <a:ext uri="{FF2B5EF4-FFF2-40B4-BE49-F238E27FC236}">
                <a16:creationId xmlns:a16="http://schemas.microsoft.com/office/drawing/2014/main" id="{F655F154-1A92-5149-9FA2-BBA75B37418A}"/>
              </a:ext>
            </a:extLst>
          </p:cNvPr>
          <p:cNvSpPr/>
          <p:nvPr/>
        </p:nvSpPr>
        <p:spPr bwMode="gray">
          <a:xfrm>
            <a:off x="8791574" y="2436918"/>
            <a:ext cx="1944688" cy="1944688"/>
          </a:xfrm>
          <a:custGeom>
            <a:avLst/>
            <a:gdLst>
              <a:gd name="connsiteX0" fmla="*/ 495299 w 1944688"/>
              <a:gd name="connsiteY0" fmla="*/ 474557 h 1944688"/>
              <a:gd name="connsiteX1" fmla="*/ 495299 w 1944688"/>
              <a:gd name="connsiteY1" fmla="*/ 1428645 h 1944688"/>
              <a:gd name="connsiteX2" fmla="*/ 1449389 w 1944688"/>
              <a:gd name="connsiteY2" fmla="*/ 1428645 h 1944688"/>
              <a:gd name="connsiteX3" fmla="*/ 1449389 w 1944688"/>
              <a:gd name="connsiteY3" fmla="*/ 474557 h 1944688"/>
              <a:gd name="connsiteX4" fmla="*/ 972344 w 1944688"/>
              <a:gd name="connsiteY4" fmla="*/ 0 h 1944688"/>
              <a:gd name="connsiteX5" fmla="*/ 1944688 w 1944688"/>
              <a:gd name="connsiteY5" fmla="*/ 972344 h 1944688"/>
              <a:gd name="connsiteX6" fmla="*/ 972344 w 1944688"/>
              <a:gd name="connsiteY6" fmla="*/ 1944688 h 1944688"/>
              <a:gd name="connsiteX7" fmla="*/ 0 w 1944688"/>
              <a:gd name="connsiteY7" fmla="*/ 972344 h 1944688"/>
              <a:gd name="connsiteX8" fmla="*/ 972344 w 1944688"/>
              <a:gd name="connsiteY8" fmla="*/ 0 h 194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688" h="1944688">
                <a:moveTo>
                  <a:pt x="495299" y="474557"/>
                </a:moveTo>
                <a:lnTo>
                  <a:pt x="495299" y="1428645"/>
                </a:lnTo>
                <a:lnTo>
                  <a:pt x="1449389" y="1428645"/>
                </a:lnTo>
                <a:lnTo>
                  <a:pt x="1449389" y="474557"/>
                </a:lnTo>
                <a:close/>
                <a:moveTo>
                  <a:pt x="972344" y="0"/>
                </a:moveTo>
                <a:cubicBezTo>
                  <a:pt x="1509355" y="0"/>
                  <a:pt x="1944688" y="435333"/>
                  <a:pt x="1944688" y="972344"/>
                </a:cubicBezTo>
                <a:cubicBezTo>
                  <a:pt x="1944688" y="1509355"/>
                  <a:pt x="1509355" y="1944688"/>
                  <a:pt x="972344" y="1944688"/>
                </a:cubicBezTo>
                <a:cubicBezTo>
                  <a:pt x="435333" y="1944688"/>
                  <a:pt x="0" y="1509355"/>
                  <a:pt x="0" y="972344"/>
                </a:cubicBezTo>
                <a:cubicBezTo>
                  <a:pt x="0" y="435333"/>
                  <a:pt x="435333" y="0"/>
                  <a:pt x="972344" y="0"/>
                </a:cubicBezTo>
                <a:close/>
              </a:path>
            </a:pathLst>
          </a:cu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 name="Rectangle 10">
            <a:extLst>
              <a:ext uri="{FF2B5EF4-FFF2-40B4-BE49-F238E27FC236}">
                <a16:creationId xmlns:a16="http://schemas.microsoft.com/office/drawing/2014/main" id="{FF365674-3B99-DC45-8988-E3CB445AC7FB}"/>
              </a:ext>
            </a:extLst>
          </p:cNvPr>
          <p:cNvSpPr>
            <a:spLocks noChangeArrowheads="1"/>
          </p:cNvSpPr>
          <p:nvPr/>
        </p:nvSpPr>
        <p:spPr bwMode="auto">
          <a:xfrm>
            <a:off x="8939304" y="0"/>
            <a:ext cx="1690596" cy="1229361"/>
          </a:xfrm>
          <a:prstGeom prst="rect">
            <a:avLst/>
          </a:prstGeom>
          <a:solidFill>
            <a:srgbClr val="FFCD00"/>
          </a:solidFill>
          <a:ln w="6350" algn="ctr">
            <a:noFill/>
            <a:miter lim="800000"/>
            <a:headEnd/>
            <a:tailEnd/>
          </a:ln>
        </p:spPr>
        <p:txBody>
          <a:bodyPr tIns="91440" bIns="9144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prstClr val="black"/>
                </a:solidFill>
                <a:latin typeface="Calibri Light"/>
                <a:ea typeface="ＭＳ Ｐゴシック" charset="-128"/>
              </a:rPr>
              <a:t>No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Light"/>
                <a:ea typeface="ＭＳ Ｐゴシック" charset="-128"/>
                <a:cs typeface="+mn-cs"/>
              </a:rPr>
              <a:t>To modify the pie chart, move the white mask that lies over it, then replace when done.</a:t>
            </a:r>
          </a:p>
        </p:txBody>
      </p:sp>
      <p:sp>
        <p:nvSpPr>
          <p:cNvPr id="12" name="Star: 5 Points 11">
            <a:extLst>
              <a:ext uri="{FF2B5EF4-FFF2-40B4-BE49-F238E27FC236}">
                <a16:creationId xmlns:a16="http://schemas.microsoft.com/office/drawing/2014/main" id="{581DB892-4490-4AC7-85FF-60ABB9BF1667}"/>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317797134"/>
      </p:ext>
    </p:extLst>
  </p:cSld>
  <p:clrMapOvr>
    <a:masterClrMapping/>
  </p:clrMapOvr>
  <p:transition>
    <p:fade/>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E7F53-6842-DC44-9BF3-4E56521260CA}"/>
              </a:ext>
            </a:extLst>
          </p:cNvPr>
          <p:cNvSpPr>
            <a:spLocks noGrp="1"/>
          </p:cNvSpPr>
          <p:nvPr>
            <p:ph type="title"/>
          </p:nvPr>
        </p:nvSpPr>
        <p:spPr/>
        <p:txBody>
          <a:bodyPr/>
          <a:lstStyle/>
          <a:p>
            <a:r>
              <a:rPr lang="en-US" dirty="0"/>
              <a:t>Target chart</a:t>
            </a:r>
          </a:p>
        </p:txBody>
      </p:sp>
      <p:graphicFrame>
        <p:nvGraphicFramePr>
          <p:cNvPr id="4" name="图表 6"/>
          <p:cNvGraphicFramePr/>
          <p:nvPr>
            <p:extLst>
              <p:ext uri="{D42A27DB-BD31-4B8C-83A1-F6EECF244321}">
                <p14:modId xmlns:p14="http://schemas.microsoft.com/office/powerpoint/2010/main" val="1274595298"/>
              </p:ext>
            </p:extLst>
          </p:nvPr>
        </p:nvGraphicFramePr>
        <p:xfrm>
          <a:off x="3541296" y="1299530"/>
          <a:ext cx="5231328" cy="4923180"/>
        </p:xfrm>
        <a:graphic>
          <a:graphicData uri="http://schemas.openxmlformats.org/drawingml/2006/chart">
            <c:chart xmlns:c="http://schemas.openxmlformats.org/drawingml/2006/chart" xmlns:r="http://schemas.openxmlformats.org/officeDocument/2006/relationships" r:id="rId3"/>
          </a:graphicData>
        </a:graphic>
      </p:graphicFrame>
      <p:sp>
        <p:nvSpPr>
          <p:cNvPr id="5" name="文本框 52"/>
          <p:cNvSpPr txBox="1"/>
          <p:nvPr/>
        </p:nvSpPr>
        <p:spPr>
          <a:xfrm>
            <a:off x="4613695" y="1776330"/>
            <a:ext cx="1736032" cy="400110"/>
          </a:xfrm>
          <a:prstGeom prst="rect">
            <a:avLst/>
          </a:prstGeom>
          <a:noFill/>
        </p:spPr>
        <p:txBody>
          <a:bodyPr wrap="square" rtlCol="0">
            <a:spAutoFit/>
          </a:bodyPr>
          <a:lstStyle>
            <a:defPPr>
              <a:defRPr lang="zh-CN"/>
            </a:defPPr>
            <a:lvl1pPr marL="0" algn="l" defTabSz="914150" rtl="0" eaLnBrk="1" latinLnBrk="0" hangingPunct="1">
              <a:defRPr sz="1900" kern="1200">
                <a:solidFill>
                  <a:schemeClr val="tx1"/>
                </a:solidFill>
                <a:latin typeface="+mn-lt"/>
                <a:ea typeface="+mn-ea"/>
                <a:cs typeface="+mn-cs"/>
              </a:defRPr>
            </a:lvl1pPr>
            <a:lvl2pPr marL="457071" algn="l" defTabSz="914150" rtl="0" eaLnBrk="1" latinLnBrk="0" hangingPunct="1">
              <a:defRPr sz="1900" kern="1200">
                <a:solidFill>
                  <a:schemeClr val="tx1"/>
                </a:solidFill>
                <a:latin typeface="+mn-lt"/>
                <a:ea typeface="+mn-ea"/>
                <a:cs typeface="+mn-cs"/>
              </a:defRPr>
            </a:lvl2pPr>
            <a:lvl3pPr marL="914150" algn="l" defTabSz="914150" rtl="0" eaLnBrk="1" latinLnBrk="0" hangingPunct="1">
              <a:defRPr sz="1900" kern="1200">
                <a:solidFill>
                  <a:schemeClr val="tx1"/>
                </a:solidFill>
                <a:latin typeface="+mn-lt"/>
                <a:ea typeface="+mn-ea"/>
                <a:cs typeface="+mn-cs"/>
              </a:defRPr>
            </a:lvl3pPr>
            <a:lvl4pPr marL="1371226" algn="l" defTabSz="914150" rtl="0" eaLnBrk="1" latinLnBrk="0" hangingPunct="1">
              <a:defRPr sz="1900" kern="1200">
                <a:solidFill>
                  <a:schemeClr val="tx1"/>
                </a:solidFill>
                <a:latin typeface="+mn-lt"/>
                <a:ea typeface="+mn-ea"/>
                <a:cs typeface="+mn-cs"/>
              </a:defRPr>
            </a:lvl4pPr>
            <a:lvl5pPr marL="1828301" algn="l" defTabSz="914150" rtl="0" eaLnBrk="1" latinLnBrk="0" hangingPunct="1">
              <a:defRPr sz="1900" kern="1200">
                <a:solidFill>
                  <a:schemeClr val="tx1"/>
                </a:solidFill>
                <a:latin typeface="+mn-lt"/>
                <a:ea typeface="+mn-ea"/>
                <a:cs typeface="+mn-cs"/>
              </a:defRPr>
            </a:lvl5pPr>
            <a:lvl6pPr marL="2285382" algn="l" defTabSz="914150" rtl="0" eaLnBrk="1" latinLnBrk="0" hangingPunct="1">
              <a:defRPr sz="1900" kern="1200">
                <a:solidFill>
                  <a:schemeClr val="tx1"/>
                </a:solidFill>
                <a:latin typeface="+mn-lt"/>
                <a:ea typeface="+mn-ea"/>
                <a:cs typeface="+mn-cs"/>
              </a:defRPr>
            </a:lvl6pPr>
            <a:lvl7pPr marL="2742450" algn="l" defTabSz="914150" rtl="0" eaLnBrk="1" latinLnBrk="0" hangingPunct="1">
              <a:defRPr sz="1900" kern="1200">
                <a:solidFill>
                  <a:schemeClr val="tx1"/>
                </a:solidFill>
                <a:latin typeface="+mn-lt"/>
                <a:ea typeface="+mn-ea"/>
                <a:cs typeface="+mn-cs"/>
              </a:defRPr>
            </a:lvl7pPr>
            <a:lvl8pPr marL="3199520" algn="l" defTabSz="914150" rtl="0" eaLnBrk="1" latinLnBrk="0" hangingPunct="1">
              <a:defRPr sz="1900" kern="1200">
                <a:solidFill>
                  <a:schemeClr val="tx1"/>
                </a:solidFill>
                <a:latin typeface="+mn-lt"/>
                <a:ea typeface="+mn-ea"/>
                <a:cs typeface="+mn-cs"/>
              </a:defRPr>
            </a:lvl8pPr>
            <a:lvl9pPr marL="3656591" algn="l" defTabSz="914150" rtl="0" eaLnBrk="1" latinLnBrk="0" hangingPunct="1">
              <a:defRPr sz="1900" kern="1200">
                <a:solidFill>
                  <a:schemeClr val="tx1"/>
                </a:solidFill>
                <a:latin typeface="+mn-lt"/>
                <a:ea typeface="+mn-ea"/>
                <a:cs typeface="+mn-cs"/>
              </a:defRPr>
            </a:lvl9pPr>
          </a:lstStyle>
          <a:p>
            <a:pPr marL="0" marR="0" lvl="0" indent="0" algn="ctr" defTabSz="91415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prstClr val="black"/>
                </a:solidFill>
                <a:effectLst/>
                <a:uLnTx/>
                <a:uFillTx/>
                <a:ea typeface="+mn-ea"/>
                <a:cs typeface="+mn-cs"/>
              </a:rPr>
              <a:t>00%</a:t>
            </a:r>
            <a:endParaRPr kumimoji="0" lang="zh-CN" altLang="en-US" sz="2000" b="0" i="0" u="none" strike="noStrike" kern="1200" cap="none" spc="0" normalizeH="0" baseline="0" noProof="0" dirty="0">
              <a:ln>
                <a:noFill/>
              </a:ln>
              <a:solidFill>
                <a:prstClr val="black"/>
              </a:solidFill>
              <a:effectLst/>
              <a:uLnTx/>
              <a:uFillTx/>
              <a:ea typeface="+mn-ea"/>
              <a:cs typeface="+mn-cs"/>
            </a:endParaRPr>
          </a:p>
        </p:txBody>
      </p:sp>
      <p:sp>
        <p:nvSpPr>
          <p:cNvPr id="6" name="文本框 10"/>
          <p:cNvSpPr txBox="1"/>
          <p:nvPr/>
        </p:nvSpPr>
        <p:spPr>
          <a:xfrm>
            <a:off x="4613695" y="2766416"/>
            <a:ext cx="1736032" cy="400110"/>
          </a:xfrm>
          <a:prstGeom prst="rect">
            <a:avLst/>
          </a:prstGeom>
          <a:noFill/>
        </p:spPr>
        <p:txBody>
          <a:bodyPr wrap="square" rtlCol="0">
            <a:spAutoFit/>
          </a:bodyPr>
          <a:lstStyle>
            <a:defPPr>
              <a:defRPr lang="zh-CN"/>
            </a:defPPr>
            <a:lvl1pPr marL="0" algn="l" defTabSz="914150" rtl="0" eaLnBrk="1" latinLnBrk="0" hangingPunct="1">
              <a:defRPr sz="1900" kern="1200">
                <a:solidFill>
                  <a:schemeClr val="tx1"/>
                </a:solidFill>
                <a:latin typeface="+mn-lt"/>
                <a:ea typeface="+mn-ea"/>
                <a:cs typeface="+mn-cs"/>
              </a:defRPr>
            </a:lvl1pPr>
            <a:lvl2pPr marL="457071" algn="l" defTabSz="914150" rtl="0" eaLnBrk="1" latinLnBrk="0" hangingPunct="1">
              <a:defRPr sz="1900" kern="1200">
                <a:solidFill>
                  <a:schemeClr val="tx1"/>
                </a:solidFill>
                <a:latin typeface="+mn-lt"/>
                <a:ea typeface="+mn-ea"/>
                <a:cs typeface="+mn-cs"/>
              </a:defRPr>
            </a:lvl2pPr>
            <a:lvl3pPr marL="914150" algn="l" defTabSz="914150" rtl="0" eaLnBrk="1" latinLnBrk="0" hangingPunct="1">
              <a:defRPr sz="1900" kern="1200">
                <a:solidFill>
                  <a:schemeClr val="tx1"/>
                </a:solidFill>
                <a:latin typeface="+mn-lt"/>
                <a:ea typeface="+mn-ea"/>
                <a:cs typeface="+mn-cs"/>
              </a:defRPr>
            </a:lvl3pPr>
            <a:lvl4pPr marL="1371226" algn="l" defTabSz="914150" rtl="0" eaLnBrk="1" latinLnBrk="0" hangingPunct="1">
              <a:defRPr sz="1900" kern="1200">
                <a:solidFill>
                  <a:schemeClr val="tx1"/>
                </a:solidFill>
                <a:latin typeface="+mn-lt"/>
                <a:ea typeface="+mn-ea"/>
                <a:cs typeface="+mn-cs"/>
              </a:defRPr>
            </a:lvl4pPr>
            <a:lvl5pPr marL="1828301" algn="l" defTabSz="914150" rtl="0" eaLnBrk="1" latinLnBrk="0" hangingPunct="1">
              <a:defRPr sz="1900" kern="1200">
                <a:solidFill>
                  <a:schemeClr val="tx1"/>
                </a:solidFill>
                <a:latin typeface="+mn-lt"/>
                <a:ea typeface="+mn-ea"/>
                <a:cs typeface="+mn-cs"/>
              </a:defRPr>
            </a:lvl5pPr>
            <a:lvl6pPr marL="2285382" algn="l" defTabSz="914150" rtl="0" eaLnBrk="1" latinLnBrk="0" hangingPunct="1">
              <a:defRPr sz="1900" kern="1200">
                <a:solidFill>
                  <a:schemeClr val="tx1"/>
                </a:solidFill>
                <a:latin typeface="+mn-lt"/>
                <a:ea typeface="+mn-ea"/>
                <a:cs typeface="+mn-cs"/>
              </a:defRPr>
            </a:lvl6pPr>
            <a:lvl7pPr marL="2742450" algn="l" defTabSz="914150" rtl="0" eaLnBrk="1" latinLnBrk="0" hangingPunct="1">
              <a:defRPr sz="1900" kern="1200">
                <a:solidFill>
                  <a:schemeClr val="tx1"/>
                </a:solidFill>
                <a:latin typeface="+mn-lt"/>
                <a:ea typeface="+mn-ea"/>
                <a:cs typeface="+mn-cs"/>
              </a:defRPr>
            </a:lvl7pPr>
            <a:lvl8pPr marL="3199520" algn="l" defTabSz="914150" rtl="0" eaLnBrk="1" latinLnBrk="0" hangingPunct="1">
              <a:defRPr sz="1900" kern="1200">
                <a:solidFill>
                  <a:schemeClr val="tx1"/>
                </a:solidFill>
                <a:latin typeface="+mn-lt"/>
                <a:ea typeface="+mn-ea"/>
                <a:cs typeface="+mn-cs"/>
              </a:defRPr>
            </a:lvl8pPr>
            <a:lvl9pPr marL="3656591" algn="l" defTabSz="914150" rtl="0" eaLnBrk="1" latinLnBrk="0" hangingPunct="1">
              <a:defRPr sz="1900" kern="1200">
                <a:solidFill>
                  <a:schemeClr val="tx1"/>
                </a:solidFill>
                <a:latin typeface="+mn-lt"/>
                <a:ea typeface="+mn-ea"/>
                <a:cs typeface="+mn-cs"/>
              </a:defRPr>
            </a:lvl9pPr>
          </a:lstStyle>
          <a:p>
            <a:pPr marL="0" marR="0" lvl="0" indent="0" algn="ctr" defTabSz="91415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prstClr val="black"/>
                </a:solidFill>
                <a:effectLst/>
                <a:uLnTx/>
                <a:uFillTx/>
                <a:ea typeface="+mn-ea"/>
                <a:cs typeface="+mn-cs"/>
              </a:rPr>
              <a:t>00%</a:t>
            </a:r>
            <a:endParaRPr kumimoji="0" lang="zh-CN" altLang="en-US" sz="2000" b="0" i="0" u="none" strike="noStrike" kern="1200" cap="none" spc="0" normalizeH="0" baseline="0" noProof="0" dirty="0">
              <a:ln>
                <a:noFill/>
              </a:ln>
              <a:solidFill>
                <a:prstClr val="black"/>
              </a:solidFill>
              <a:effectLst/>
              <a:uLnTx/>
              <a:uFillTx/>
              <a:ea typeface="+mn-ea"/>
              <a:cs typeface="+mn-cs"/>
            </a:endParaRPr>
          </a:p>
        </p:txBody>
      </p:sp>
      <p:sp>
        <p:nvSpPr>
          <p:cNvPr id="7" name="文本框 11"/>
          <p:cNvSpPr txBox="1"/>
          <p:nvPr/>
        </p:nvSpPr>
        <p:spPr>
          <a:xfrm>
            <a:off x="4613695" y="2271373"/>
            <a:ext cx="1736032" cy="400110"/>
          </a:xfrm>
          <a:prstGeom prst="rect">
            <a:avLst/>
          </a:prstGeom>
          <a:noFill/>
        </p:spPr>
        <p:txBody>
          <a:bodyPr wrap="square" rtlCol="0">
            <a:spAutoFit/>
          </a:bodyPr>
          <a:lstStyle>
            <a:defPPr>
              <a:defRPr lang="zh-CN"/>
            </a:defPPr>
            <a:lvl1pPr marL="0" algn="l" defTabSz="914150" rtl="0" eaLnBrk="1" latinLnBrk="0" hangingPunct="1">
              <a:defRPr sz="1900" kern="1200">
                <a:solidFill>
                  <a:schemeClr val="tx1"/>
                </a:solidFill>
                <a:latin typeface="+mn-lt"/>
                <a:ea typeface="+mn-ea"/>
                <a:cs typeface="+mn-cs"/>
              </a:defRPr>
            </a:lvl1pPr>
            <a:lvl2pPr marL="457071" algn="l" defTabSz="914150" rtl="0" eaLnBrk="1" latinLnBrk="0" hangingPunct="1">
              <a:defRPr sz="1900" kern="1200">
                <a:solidFill>
                  <a:schemeClr val="tx1"/>
                </a:solidFill>
                <a:latin typeface="+mn-lt"/>
                <a:ea typeface="+mn-ea"/>
                <a:cs typeface="+mn-cs"/>
              </a:defRPr>
            </a:lvl2pPr>
            <a:lvl3pPr marL="914150" algn="l" defTabSz="914150" rtl="0" eaLnBrk="1" latinLnBrk="0" hangingPunct="1">
              <a:defRPr sz="1900" kern="1200">
                <a:solidFill>
                  <a:schemeClr val="tx1"/>
                </a:solidFill>
                <a:latin typeface="+mn-lt"/>
                <a:ea typeface="+mn-ea"/>
                <a:cs typeface="+mn-cs"/>
              </a:defRPr>
            </a:lvl3pPr>
            <a:lvl4pPr marL="1371226" algn="l" defTabSz="914150" rtl="0" eaLnBrk="1" latinLnBrk="0" hangingPunct="1">
              <a:defRPr sz="1900" kern="1200">
                <a:solidFill>
                  <a:schemeClr val="tx1"/>
                </a:solidFill>
                <a:latin typeface="+mn-lt"/>
                <a:ea typeface="+mn-ea"/>
                <a:cs typeface="+mn-cs"/>
              </a:defRPr>
            </a:lvl4pPr>
            <a:lvl5pPr marL="1828301" algn="l" defTabSz="914150" rtl="0" eaLnBrk="1" latinLnBrk="0" hangingPunct="1">
              <a:defRPr sz="1900" kern="1200">
                <a:solidFill>
                  <a:schemeClr val="tx1"/>
                </a:solidFill>
                <a:latin typeface="+mn-lt"/>
                <a:ea typeface="+mn-ea"/>
                <a:cs typeface="+mn-cs"/>
              </a:defRPr>
            </a:lvl5pPr>
            <a:lvl6pPr marL="2285382" algn="l" defTabSz="914150" rtl="0" eaLnBrk="1" latinLnBrk="0" hangingPunct="1">
              <a:defRPr sz="1900" kern="1200">
                <a:solidFill>
                  <a:schemeClr val="tx1"/>
                </a:solidFill>
                <a:latin typeface="+mn-lt"/>
                <a:ea typeface="+mn-ea"/>
                <a:cs typeface="+mn-cs"/>
              </a:defRPr>
            </a:lvl6pPr>
            <a:lvl7pPr marL="2742450" algn="l" defTabSz="914150" rtl="0" eaLnBrk="1" latinLnBrk="0" hangingPunct="1">
              <a:defRPr sz="1900" kern="1200">
                <a:solidFill>
                  <a:schemeClr val="tx1"/>
                </a:solidFill>
                <a:latin typeface="+mn-lt"/>
                <a:ea typeface="+mn-ea"/>
                <a:cs typeface="+mn-cs"/>
              </a:defRPr>
            </a:lvl7pPr>
            <a:lvl8pPr marL="3199520" algn="l" defTabSz="914150" rtl="0" eaLnBrk="1" latinLnBrk="0" hangingPunct="1">
              <a:defRPr sz="1900" kern="1200">
                <a:solidFill>
                  <a:schemeClr val="tx1"/>
                </a:solidFill>
                <a:latin typeface="+mn-lt"/>
                <a:ea typeface="+mn-ea"/>
                <a:cs typeface="+mn-cs"/>
              </a:defRPr>
            </a:lvl8pPr>
            <a:lvl9pPr marL="3656591" algn="l" defTabSz="914150" rtl="0" eaLnBrk="1" latinLnBrk="0" hangingPunct="1">
              <a:defRPr sz="1900" kern="1200">
                <a:solidFill>
                  <a:schemeClr val="tx1"/>
                </a:solidFill>
                <a:latin typeface="+mn-lt"/>
                <a:ea typeface="+mn-ea"/>
                <a:cs typeface="+mn-cs"/>
              </a:defRPr>
            </a:lvl9pPr>
          </a:lstStyle>
          <a:p>
            <a:pPr marL="0" marR="0" lvl="0" indent="0" algn="ctr" defTabSz="91415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prstClr val="black"/>
                </a:solidFill>
                <a:effectLst/>
                <a:uLnTx/>
                <a:uFillTx/>
                <a:ea typeface="+mn-ea"/>
                <a:cs typeface="+mn-cs"/>
              </a:rPr>
              <a:t>00%</a:t>
            </a:r>
            <a:endParaRPr kumimoji="0" lang="zh-CN" altLang="en-US" sz="2000" b="0" i="0" u="none" strike="noStrike" kern="1200" cap="none" spc="0" normalizeH="0" baseline="0" noProof="0" dirty="0">
              <a:ln>
                <a:noFill/>
              </a:ln>
              <a:solidFill>
                <a:prstClr val="black"/>
              </a:solidFill>
              <a:effectLst/>
              <a:uLnTx/>
              <a:uFillTx/>
              <a:ea typeface="+mn-ea"/>
              <a:cs typeface="+mn-cs"/>
            </a:endParaRPr>
          </a:p>
        </p:txBody>
      </p:sp>
      <p:sp>
        <p:nvSpPr>
          <p:cNvPr id="8" name="椭圆 14"/>
          <p:cNvSpPr/>
          <p:nvPr/>
        </p:nvSpPr>
        <p:spPr>
          <a:xfrm>
            <a:off x="5824105" y="3502756"/>
            <a:ext cx="601661" cy="601661"/>
          </a:xfrm>
          <a:prstGeom prst="ellipse">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150" rtl="0" eaLnBrk="1" latinLnBrk="0" hangingPunct="1">
              <a:defRPr sz="1900" kern="1200">
                <a:solidFill>
                  <a:schemeClr val="lt1"/>
                </a:solidFill>
                <a:latin typeface="+mn-lt"/>
                <a:ea typeface="+mn-ea"/>
                <a:cs typeface="+mn-cs"/>
              </a:defRPr>
            </a:lvl1pPr>
            <a:lvl2pPr marL="457071" algn="l" defTabSz="914150" rtl="0" eaLnBrk="1" latinLnBrk="0" hangingPunct="1">
              <a:defRPr sz="1900" kern="1200">
                <a:solidFill>
                  <a:schemeClr val="lt1"/>
                </a:solidFill>
                <a:latin typeface="+mn-lt"/>
                <a:ea typeface="+mn-ea"/>
                <a:cs typeface="+mn-cs"/>
              </a:defRPr>
            </a:lvl2pPr>
            <a:lvl3pPr marL="914150" algn="l" defTabSz="914150" rtl="0" eaLnBrk="1" latinLnBrk="0" hangingPunct="1">
              <a:defRPr sz="1900" kern="1200">
                <a:solidFill>
                  <a:schemeClr val="lt1"/>
                </a:solidFill>
                <a:latin typeface="+mn-lt"/>
                <a:ea typeface="+mn-ea"/>
                <a:cs typeface="+mn-cs"/>
              </a:defRPr>
            </a:lvl3pPr>
            <a:lvl4pPr marL="1371226" algn="l" defTabSz="914150" rtl="0" eaLnBrk="1" latinLnBrk="0" hangingPunct="1">
              <a:defRPr sz="1900" kern="1200">
                <a:solidFill>
                  <a:schemeClr val="lt1"/>
                </a:solidFill>
                <a:latin typeface="+mn-lt"/>
                <a:ea typeface="+mn-ea"/>
                <a:cs typeface="+mn-cs"/>
              </a:defRPr>
            </a:lvl4pPr>
            <a:lvl5pPr marL="1828301" algn="l" defTabSz="914150" rtl="0" eaLnBrk="1" latinLnBrk="0" hangingPunct="1">
              <a:defRPr sz="1900" kern="1200">
                <a:solidFill>
                  <a:schemeClr val="lt1"/>
                </a:solidFill>
                <a:latin typeface="+mn-lt"/>
                <a:ea typeface="+mn-ea"/>
                <a:cs typeface="+mn-cs"/>
              </a:defRPr>
            </a:lvl5pPr>
            <a:lvl6pPr marL="2285382" algn="l" defTabSz="914150" rtl="0" eaLnBrk="1" latinLnBrk="0" hangingPunct="1">
              <a:defRPr sz="1900" kern="1200">
                <a:solidFill>
                  <a:schemeClr val="lt1"/>
                </a:solidFill>
                <a:latin typeface="+mn-lt"/>
                <a:ea typeface="+mn-ea"/>
                <a:cs typeface="+mn-cs"/>
              </a:defRPr>
            </a:lvl6pPr>
            <a:lvl7pPr marL="2742450" algn="l" defTabSz="914150" rtl="0" eaLnBrk="1" latinLnBrk="0" hangingPunct="1">
              <a:defRPr sz="1900" kern="1200">
                <a:solidFill>
                  <a:schemeClr val="lt1"/>
                </a:solidFill>
                <a:latin typeface="+mn-lt"/>
                <a:ea typeface="+mn-ea"/>
                <a:cs typeface="+mn-cs"/>
              </a:defRPr>
            </a:lvl7pPr>
            <a:lvl8pPr marL="3199520" algn="l" defTabSz="914150" rtl="0" eaLnBrk="1" latinLnBrk="0" hangingPunct="1">
              <a:defRPr sz="1900" kern="1200">
                <a:solidFill>
                  <a:schemeClr val="lt1"/>
                </a:solidFill>
                <a:latin typeface="+mn-lt"/>
                <a:ea typeface="+mn-ea"/>
                <a:cs typeface="+mn-cs"/>
              </a:defRPr>
            </a:lvl8pPr>
            <a:lvl9pPr marL="3656591" algn="l" defTabSz="914150" rtl="0" eaLnBrk="1" latinLnBrk="0" hangingPunct="1">
              <a:defRPr sz="1900" kern="1200">
                <a:solidFill>
                  <a:schemeClr val="lt1"/>
                </a:solidFill>
                <a:latin typeface="+mn-lt"/>
                <a:ea typeface="+mn-ea"/>
                <a:cs typeface="+mn-cs"/>
              </a:defRPr>
            </a:lvl9pPr>
          </a:lstStyle>
          <a:p>
            <a:pPr marL="0" marR="0" lvl="0" indent="0" algn="ctr" defTabSz="914150"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white"/>
              </a:solidFill>
              <a:effectLst/>
              <a:uLnTx/>
              <a:uFillTx/>
              <a:latin typeface="Calibri Light"/>
              <a:ea typeface="+mn-ea"/>
              <a:cs typeface="+mn-cs"/>
            </a:endParaRPr>
          </a:p>
        </p:txBody>
      </p:sp>
      <p:sp>
        <p:nvSpPr>
          <p:cNvPr id="9" name="Star: 5 Points 8">
            <a:extLst>
              <a:ext uri="{FF2B5EF4-FFF2-40B4-BE49-F238E27FC236}">
                <a16:creationId xmlns:a16="http://schemas.microsoft.com/office/drawing/2014/main" id="{698C350F-8665-409C-8289-C19DBDDC5230}"/>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95774969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Three columns</a:t>
            </a:r>
          </a:p>
        </p:txBody>
      </p:sp>
      <p:sp>
        <p:nvSpPr>
          <p:cNvPr id="3" name="Title 2"/>
          <p:cNvSpPr>
            <a:spLocks noGrp="1"/>
          </p:cNvSpPr>
          <p:nvPr>
            <p:ph type="title"/>
          </p:nvPr>
        </p:nvSpPr>
        <p:spPr/>
        <p:txBody>
          <a:bodyPr/>
          <a:lstStyle/>
          <a:p>
            <a:r>
              <a:rPr lang="en-US" dirty="0"/>
              <a:t>Text boxes</a:t>
            </a:r>
          </a:p>
        </p:txBody>
      </p:sp>
      <p:graphicFrame>
        <p:nvGraphicFramePr>
          <p:cNvPr id="10" name="Content Placeholder 6">
            <a:extLst>
              <a:ext uri="{FF2B5EF4-FFF2-40B4-BE49-F238E27FC236}">
                <a16:creationId xmlns:a16="http://schemas.microsoft.com/office/drawing/2014/main" id="{843DB005-09D7-4E64-A66D-813ED873EC0A}"/>
              </a:ext>
            </a:extLst>
          </p:cNvPr>
          <p:cNvGraphicFramePr>
            <a:graphicFrameLocks/>
          </p:cNvGraphicFramePr>
          <p:nvPr>
            <p:extLst>
              <p:ext uri="{D42A27DB-BD31-4B8C-83A1-F6EECF244321}">
                <p14:modId xmlns:p14="http://schemas.microsoft.com/office/powerpoint/2010/main" val="1628590124"/>
              </p:ext>
            </p:extLst>
          </p:nvPr>
        </p:nvGraphicFramePr>
        <p:xfrm>
          <a:off x="501651" y="1727800"/>
          <a:ext cx="3560000" cy="2575560"/>
        </p:xfrm>
        <a:graphic>
          <a:graphicData uri="http://schemas.openxmlformats.org/drawingml/2006/table">
            <a:tbl>
              <a:tblPr firstRow="1" bandRow="1">
                <a:tableStyleId>{5C22544A-7EE6-4342-B048-85BDC9FD1C3A}</a:tableStyleId>
              </a:tblPr>
              <a:tblGrid>
                <a:gridCol w="356000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Text box title runs here</a:t>
                      </a:r>
                      <a:endParaRPr kumimoji="0" lang="en-US"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1" name="Content Placeholder 6">
            <a:extLst>
              <a:ext uri="{FF2B5EF4-FFF2-40B4-BE49-F238E27FC236}">
                <a16:creationId xmlns:a16="http://schemas.microsoft.com/office/drawing/2014/main" id="{822A884D-AB12-4705-B755-21E3CD7971ED}"/>
              </a:ext>
            </a:extLst>
          </p:cNvPr>
          <p:cNvGraphicFramePr>
            <a:graphicFrameLocks/>
          </p:cNvGraphicFramePr>
          <p:nvPr>
            <p:extLst>
              <p:ext uri="{D42A27DB-BD31-4B8C-83A1-F6EECF244321}">
                <p14:modId xmlns:p14="http://schemas.microsoft.com/office/powerpoint/2010/main" val="4245092344"/>
              </p:ext>
            </p:extLst>
          </p:nvPr>
        </p:nvGraphicFramePr>
        <p:xfrm>
          <a:off x="4339360" y="1727800"/>
          <a:ext cx="3560000" cy="2575560"/>
        </p:xfrm>
        <a:graphic>
          <a:graphicData uri="http://schemas.openxmlformats.org/drawingml/2006/table">
            <a:tbl>
              <a:tblPr firstRow="1" bandRow="1">
                <a:tableStyleId>{5C22544A-7EE6-4342-B048-85BDC9FD1C3A}</a:tableStyleId>
              </a:tblPr>
              <a:tblGrid>
                <a:gridCol w="356000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Text box title runs here</a:t>
                      </a:r>
                      <a:endParaRPr kumimoji="0" lang="en-US"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2" name="Content Placeholder 6">
            <a:extLst>
              <a:ext uri="{FF2B5EF4-FFF2-40B4-BE49-F238E27FC236}">
                <a16:creationId xmlns:a16="http://schemas.microsoft.com/office/drawing/2014/main" id="{85BC1F20-4F26-4965-97C8-FE9B47AA0B96}"/>
              </a:ext>
            </a:extLst>
          </p:cNvPr>
          <p:cNvGraphicFramePr>
            <a:graphicFrameLocks/>
          </p:cNvGraphicFramePr>
          <p:nvPr>
            <p:extLst>
              <p:ext uri="{D42A27DB-BD31-4B8C-83A1-F6EECF244321}">
                <p14:modId xmlns:p14="http://schemas.microsoft.com/office/powerpoint/2010/main" val="4042174749"/>
              </p:ext>
            </p:extLst>
          </p:nvPr>
        </p:nvGraphicFramePr>
        <p:xfrm>
          <a:off x="8121651" y="1727800"/>
          <a:ext cx="3560000" cy="2575560"/>
        </p:xfrm>
        <a:graphic>
          <a:graphicData uri="http://schemas.openxmlformats.org/drawingml/2006/table">
            <a:tbl>
              <a:tblPr firstRow="1" bandRow="1">
                <a:tableStyleId>{5C22544A-7EE6-4342-B048-85BDC9FD1C3A}</a:tableStyleId>
              </a:tblPr>
              <a:tblGrid>
                <a:gridCol w="356000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Text box title runs here</a:t>
                      </a:r>
                      <a:endParaRPr kumimoji="0" lang="en-US" sz="16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 </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p>
                      <a:pPr marL="176400" marR="0" lvl="3" indent="-1764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his is dummy text it is not here to be read</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046551406"/>
      </p:ext>
    </p:extLst>
  </p:cSld>
  <p:clrMapOvr>
    <a:masterClrMapping/>
  </p:clrMapOvr>
  <p:transition>
    <p:fade/>
  </p:transition>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E9F8D-85E7-EF47-BC28-99D686AC9585}"/>
              </a:ext>
            </a:extLst>
          </p:cNvPr>
          <p:cNvSpPr>
            <a:spLocks noGrp="1"/>
          </p:cNvSpPr>
          <p:nvPr>
            <p:ph type="title"/>
          </p:nvPr>
        </p:nvSpPr>
        <p:spPr/>
        <p:txBody>
          <a:bodyPr/>
          <a:lstStyle/>
          <a:p>
            <a:r>
              <a:rPr lang="en-US" dirty="0"/>
              <a:t>Dynamic tree</a:t>
            </a:r>
          </a:p>
        </p:txBody>
      </p:sp>
      <p:grpSp>
        <p:nvGrpSpPr>
          <p:cNvPr id="4" name="组合 2">
            <a:extLst>
              <a:ext uri="{FF2B5EF4-FFF2-40B4-BE49-F238E27FC236}">
                <a16:creationId xmlns:a16="http://schemas.microsoft.com/office/drawing/2014/main" id="{50987BEC-1EC0-F346-964E-29263F4F3DB3}"/>
              </a:ext>
            </a:extLst>
          </p:cNvPr>
          <p:cNvGrpSpPr/>
          <p:nvPr/>
        </p:nvGrpSpPr>
        <p:grpSpPr>
          <a:xfrm>
            <a:off x="3362806" y="890751"/>
            <a:ext cx="4801922" cy="5076498"/>
            <a:chOff x="469900" y="1700212"/>
            <a:chExt cx="4346410" cy="4594938"/>
          </a:xfrm>
        </p:grpSpPr>
        <p:grpSp>
          <p:nvGrpSpPr>
            <p:cNvPr id="5" name="Group 59">
              <a:extLst>
                <a:ext uri="{FF2B5EF4-FFF2-40B4-BE49-F238E27FC236}">
                  <a16:creationId xmlns:a16="http://schemas.microsoft.com/office/drawing/2014/main" id="{A96ED933-240F-A942-A7BA-D21484C36F85}"/>
                </a:ext>
              </a:extLst>
            </p:cNvPr>
            <p:cNvGrpSpPr/>
            <p:nvPr/>
          </p:nvGrpSpPr>
          <p:grpSpPr>
            <a:xfrm>
              <a:off x="469900" y="1700212"/>
              <a:ext cx="4346410" cy="4594938"/>
              <a:chOff x="382397" y="1253727"/>
              <a:chExt cx="4346410" cy="4594938"/>
            </a:xfrm>
          </p:grpSpPr>
          <p:grpSp>
            <p:nvGrpSpPr>
              <p:cNvPr id="10" name="Group 37">
                <a:extLst>
                  <a:ext uri="{FF2B5EF4-FFF2-40B4-BE49-F238E27FC236}">
                    <a16:creationId xmlns:a16="http://schemas.microsoft.com/office/drawing/2014/main" id="{9D0E33E2-8733-B84A-B703-265E9AA10D25}"/>
                  </a:ext>
                </a:extLst>
              </p:cNvPr>
              <p:cNvGrpSpPr/>
              <p:nvPr/>
            </p:nvGrpSpPr>
            <p:grpSpPr>
              <a:xfrm flipH="1">
                <a:off x="382397" y="1253727"/>
                <a:ext cx="4346410" cy="4461479"/>
                <a:chOff x="7231737" y="942428"/>
                <a:chExt cx="4763462" cy="4889572"/>
              </a:xfrm>
            </p:grpSpPr>
            <p:grpSp>
              <p:nvGrpSpPr>
                <p:cNvPr id="13" name="Group 34">
                  <a:extLst>
                    <a:ext uri="{FF2B5EF4-FFF2-40B4-BE49-F238E27FC236}">
                      <a16:creationId xmlns:a16="http://schemas.microsoft.com/office/drawing/2014/main" id="{410A49CA-6B08-EB46-8DE9-B7F3EAC89EA5}"/>
                    </a:ext>
                  </a:extLst>
                </p:cNvPr>
                <p:cNvGrpSpPr/>
                <p:nvPr/>
              </p:nvGrpSpPr>
              <p:grpSpPr>
                <a:xfrm>
                  <a:off x="7231737" y="942428"/>
                  <a:ext cx="4763462" cy="4889572"/>
                  <a:chOff x="7231737" y="942428"/>
                  <a:chExt cx="4763462" cy="4889572"/>
                </a:xfrm>
              </p:grpSpPr>
              <p:sp>
                <p:nvSpPr>
                  <p:cNvPr id="29" name="Freeform 20">
                    <a:extLst>
                      <a:ext uri="{FF2B5EF4-FFF2-40B4-BE49-F238E27FC236}">
                        <a16:creationId xmlns:a16="http://schemas.microsoft.com/office/drawing/2014/main" id="{8C0F6492-4358-9241-A356-B4033A88F2F3}"/>
                      </a:ext>
                    </a:extLst>
                  </p:cNvPr>
                  <p:cNvSpPr>
                    <a:spLocks/>
                  </p:cNvSpPr>
                  <p:nvPr/>
                </p:nvSpPr>
                <p:spPr bwMode="auto">
                  <a:xfrm flipH="1">
                    <a:off x="7231737" y="2656358"/>
                    <a:ext cx="226422" cy="1123512"/>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0" name="Freeform 21">
                    <a:extLst>
                      <a:ext uri="{FF2B5EF4-FFF2-40B4-BE49-F238E27FC236}">
                        <a16:creationId xmlns:a16="http://schemas.microsoft.com/office/drawing/2014/main" id="{E575BBBE-7A17-3145-8BC6-10C811BAA2FC}"/>
                      </a:ext>
                    </a:extLst>
                  </p:cNvPr>
                  <p:cNvSpPr>
                    <a:spLocks noEditPoints="1"/>
                  </p:cNvSpPr>
                  <p:nvPr/>
                </p:nvSpPr>
                <p:spPr bwMode="auto">
                  <a:xfrm flipH="1">
                    <a:off x="7483953" y="942428"/>
                    <a:ext cx="4373673" cy="4889572"/>
                  </a:xfrm>
                  <a:custGeom>
                    <a:avLst/>
                    <a:gdLst>
                      <a:gd name="T0" fmla="*/ 405 w 643"/>
                      <a:gd name="T1" fmla="*/ 344 h 719"/>
                      <a:gd name="T2" fmla="*/ 292 w 643"/>
                      <a:gd name="T3" fmla="*/ 257 h 719"/>
                      <a:gd name="T4" fmla="*/ 331 w 643"/>
                      <a:gd name="T5" fmla="*/ 306 h 719"/>
                      <a:gd name="T6" fmla="*/ 329 w 643"/>
                      <a:gd name="T7" fmla="*/ 223 h 719"/>
                      <a:gd name="T8" fmla="*/ 388 w 643"/>
                      <a:gd name="T9" fmla="*/ 258 h 719"/>
                      <a:gd name="T10" fmla="*/ 360 w 643"/>
                      <a:gd name="T11" fmla="*/ 204 h 719"/>
                      <a:gd name="T12" fmla="*/ 352 w 643"/>
                      <a:gd name="T13" fmla="*/ 194 h 719"/>
                      <a:gd name="T14" fmla="*/ 321 w 643"/>
                      <a:gd name="T15" fmla="*/ 36 h 719"/>
                      <a:gd name="T16" fmla="*/ 319 w 643"/>
                      <a:gd name="T17" fmla="*/ 34 h 719"/>
                      <a:gd name="T18" fmla="*/ 165 w 643"/>
                      <a:gd name="T19" fmla="*/ 176 h 719"/>
                      <a:gd name="T20" fmla="*/ 299 w 643"/>
                      <a:gd name="T21" fmla="*/ 244 h 719"/>
                      <a:gd name="T22" fmla="*/ 161 w 643"/>
                      <a:gd name="T23" fmla="*/ 196 h 719"/>
                      <a:gd name="T24" fmla="*/ 226 w 643"/>
                      <a:gd name="T25" fmla="*/ 505 h 719"/>
                      <a:gd name="T26" fmla="*/ 122 w 643"/>
                      <a:gd name="T27" fmla="*/ 531 h 719"/>
                      <a:gd name="T28" fmla="*/ 161 w 643"/>
                      <a:gd name="T29" fmla="*/ 538 h 719"/>
                      <a:gd name="T30" fmla="*/ 206 w 643"/>
                      <a:gd name="T31" fmla="*/ 699 h 719"/>
                      <a:gd name="T32" fmla="*/ 193 w 643"/>
                      <a:gd name="T33" fmla="*/ 635 h 719"/>
                      <a:gd name="T34" fmla="*/ 214 w 643"/>
                      <a:gd name="T35" fmla="*/ 635 h 719"/>
                      <a:gd name="T36" fmla="*/ 367 w 643"/>
                      <a:gd name="T37" fmla="*/ 585 h 719"/>
                      <a:gd name="T38" fmla="*/ 297 w 643"/>
                      <a:gd name="T39" fmla="*/ 716 h 719"/>
                      <a:gd name="T40" fmla="*/ 268 w 643"/>
                      <a:gd name="T41" fmla="*/ 560 h 719"/>
                      <a:gd name="T42" fmla="*/ 333 w 643"/>
                      <a:gd name="T43" fmla="*/ 558 h 719"/>
                      <a:gd name="T44" fmla="*/ 261 w 643"/>
                      <a:gd name="T45" fmla="*/ 554 h 719"/>
                      <a:gd name="T46" fmla="*/ 327 w 643"/>
                      <a:gd name="T47" fmla="*/ 539 h 719"/>
                      <a:gd name="T48" fmla="*/ 367 w 643"/>
                      <a:gd name="T49" fmla="*/ 708 h 719"/>
                      <a:gd name="T50" fmla="*/ 334 w 643"/>
                      <a:gd name="T51" fmla="*/ 534 h 719"/>
                      <a:gd name="T52" fmla="*/ 344 w 643"/>
                      <a:gd name="T53" fmla="*/ 469 h 719"/>
                      <a:gd name="T54" fmla="*/ 427 w 643"/>
                      <a:gd name="T55" fmla="*/ 431 h 719"/>
                      <a:gd name="T56" fmla="*/ 418 w 643"/>
                      <a:gd name="T57" fmla="*/ 406 h 719"/>
                      <a:gd name="T58" fmla="*/ 541 w 643"/>
                      <a:gd name="T59" fmla="*/ 443 h 719"/>
                      <a:gd name="T60" fmla="*/ 538 w 643"/>
                      <a:gd name="T61" fmla="*/ 472 h 719"/>
                      <a:gd name="T62" fmla="*/ 578 w 643"/>
                      <a:gd name="T63" fmla="*/ 526 h 719"/>
                      <a:gd name="T64" fmla="*/ 460 w 643"/>
                      <a:gd name="T65" fmla="*/ 653 h 719"/>
                      <a:gd name="T66" fmla="*/ 629 w 643"/>
                      <a:gd name="T67" fmla="*/ 450 h 719"/>
                      <a:gd name="T68" fmla="*/ 552 w 643"/>
                      <a:gd name="T69" fmla="*/ 445 h 719"/>
                      <a:gd name="T70" fmla="*/ 568 w 643"/>
                      <a:gd name="T71" fmla="*/ 122 h 719"/>
                      <a:gd name="T72" fmla="*/ 354 w 643"/>
                      <a:gd name="T73" fmla="*/ 192 h 719"/>
                      <a:gd name="T74" fmla="*/ 161 w 643"/>
                      <a:gd name="T75" fmla="*/ 515 h 719"/>
                      <a:gd name="T76" fmla="*/ 285 w 643"/>
                      <a:gd name="T77" fmla="*/ 264 h 719"/>
                      <a:gd name="T78" fmla="*/ 293 w 643"/>
                      <a:gd name="T79" fmla="*/ 437 h 719"/>
                      <a:gd name="T80" fmla="*/ 238 w 643"/>
                      <a:gd name="T81" fmla="*/ 500 h 719"/>
                      <a:gd name="T82" fmla="*/ 304 w 643"/>
                      <a:gd name="T83" fmla="*/ 441 h 719"/>
                      <a:gd name="T84" fmla="*/ 326 w 643"/>
                      <a:gd name="T85" fmla="*/ 526 h 719"/>
                      <a:gd name="T86" fmla="*/ 289 w 643"/>
                      <a:gd name="T87" fmla="*/ 485 h 719"/>
                      <a:gd name="T88" fmla="*/ 326 w 643"/>
                      <a:gd name="T89" fmla="*/ 526 h 719"/>
                      <a:gd name="T90" fmla="*/ 338 w 643"/>
                      <a:gd name="T91" fmla="*/ 395 h 719"/>
                      <a:gd name="T92" fmla="*/ 316 w 643"/>
                      <a:gd name="T93" fmla="*/ 445 h 719"/>
                      <a:gd name="T94" fmla="*/ 322 w 643"/>
                      <a:gd name="T95" fmla="*/ 351 h 719"/>
                      <a:gd name="T96" fmla="*/ 449 w 643"/>
                      <a:gd name="T97" fmla="*/ 398 h 719"/>
                      <a:gd name="T98" fmla="*/ 435 w 643"/>
                      <a:gd name="T99" fmla="*/ 350 h 719"/>
                      <a:gd name="T100" fmla="*/ 539 w 643"/>
                      <a:gd name="T101" fmla="*/ 440 h 719"/>
                      <a:gd name="T102" fmla="*/ 438 w 643"/>
                      <a:gd name="T103" fmla="*/ 349 h 719"/>
                      <a:gd name="T104" fmla="*/ 553 w 643"/>
                      <a:gd name="T105" fmla="*/ 43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3" h="719">
                        <a:moveTo>
                          <a:pt x="643" y="338"/>
                        </a:moveTo>
                        <a:cubicBezTo>
                          <a:pt x="643" y="281"/>
                          <a:pt x="596" y="234"/>
                          <a:pt x="539" y="234"/>
                        </a:cubicBezTo>
                        <a:cubicBezTo>
                          <a:pt x="481" y="234"/>
                          <a:pt x="435" y="280"/>
                          <a:pt x="434" y="337"/>
                        </a:cubicBezTo>
                        <a:cubicBezTo>
                          <a:pt x="431" y="337"/>
                          <a:pt x="429" y="340"/>
                          <a:pt x="429" y="342"/>
                        </a:cubicBezTo>
                        <a:cubicBezTo>
                          <a:pt x="405" y="344"/>
                          <a:pt x="405" y="344"/>
                          <a:pt x="405" y="344"/>
                        </a:cubicBezTo>
                        <a:cubicBezTo>
                          <a:pt x="404" y="341"/>
                          <a:pt x="402" y="339"/>
                          <a:pt x="399" y="339"/>
                        </a:cubicBezTo>
                        <a:cubicBezTo>
                          <a:pt x="395" y="339"/>
                          <a:pt x="393" y="341"/>
                          <a:pt x="392" y="344"/>
                        </a:cubicBezTo>
                        <a:cubicBezTo>
                          <a:pt x="322" y="348"/>
                          <a:pt x="322" y="348"/>
                          <a:pt x="322" y="348"/>
                        </a:cubicBezTo>
                        <a:cubicBezTo>
                          <a:pt x="320" y="316"/>
                          <a:pt x="309" y="286"/>
                          <a:pt x="290" y="261"/>
                        </a:cubicBezTo>
                        <a:cubicBezTo>
                          <a:pt x="291" y="260"/>
                          <a:pt x="292" y="259"/>
                          <a:pt x="292" y="257"/>
                        </a:cubicBezTo>
                        <a:cubicBezTo>
                          <a:pt x="292" y="256"/>
                          <a:pt x="291" y="255"/>
                          <a:pt x="291" y="254"/>
                        </a:cubicBezTo>
                        <a:cubicBezTo>
                          <a:pt x="300" y="246"/>
                          <a:pt x="300" y="246"/>
                          <a:pt x="300" y="246"/>
                        </a:cubicBezTo>
                        <a:cubicBezTo>
                          <a:pt x="312" y="261"/>
                          <a:pt x="321" y="277"/>
                          <a:pt x="328" y="294"/>
                        </a:cubicBezTo>
                        <a:cubicBezTo>
                          <a:pt x="326" y="295"/>
                          <a:pt x="325" y="297"/>
                          <a:pt x="325" y="300"/>
                        </a:cubicBezTo>
                        <a:cubicBezTo>
                          <a:pt x="325" y="303"/>
                          <a:pt x="327" y="306"/>
                          <a:pt x="331" y="306"/>
                        </a:cubicBezTo>
                        <a:cubicBezTo>
                          <a:pt x="335" y="306"/>
                          <a:pt x="338" y="303"/>
                          <a:pt x="338" y="300"/>
                        </a:cubicBezTo>
                        <a:cubicBezTo>
                          <a:pt x="338" y="296"/>
                          <a:pt x="335" y="293"/>
                          <a:pt x="331" y="293"/>
                        </a:cubicBezTo>
                        <a:cubicBezTo>
                          <a:pt x="331" y="293"/>
                          <a:pt x="331" y="293"/>
                          <a:pt x="330" y="293"/>
                        </a:cubicBezTo>
                        <a:cubicBezTo>
                          <a:pt x="324" y="276"/>
                          <a:pt x="315" y="259"/>
                          <a:pt x="303" y="245"/>
                        </a:cubicBezTo>
                        <a:cubicBezTo>
                          <a:pt x="329" y="223"/>
                          <a:pt x="329" y="223"/>
                          <a:pt x="329" y="223"/>
                        </a:cubicBezTo>
                        <a:cubicBezTo>
                          <a:pt x="343" y="240"/>
                          <a:pt x="361" y="254"/>
                          <a:pt x="381" y="264"/>
                        </a:cubicBezTo>
                        <a:cubicBezTo>
                          <a:pt x="381" y="264"/>
                          <a:pt x="381" y="265"/>
                          <a:pt x="381" y="265"/>
                        </a:cubicBezTo>
                        <a:cubicBezTo>
                          <a:pt x="381" y="269"/>
                          <a:pt x="384" y="272"/>
                          <a:pt x="388" y="272"/>
                        </a:cubicBezTo>
                        <a:cubicBezTo>
                          <a:pt x="391" y="272"/>
                          <a:pt x="394" y="269"/>
                          <a:pt x="394" y="265"/>
                        </a:cubicBezTo>
                        <a:cubicBezTo>
                          <a:pt x="394" y="261"/>
                          <a:pt x="391" y="258"/>
                          <a:pt x="388" y="258"/>
                        </a:cubicBezTo>
                        <a:cubicBezTo>
                          <a:pt x="386" y="258"/>
                          <a:pt x="384" y="259"/>
                          <a:pt x="383" y="261"/>
                        </a:cubicBezTo>
                        <a:cubicBezTo>
                          <a:pt x="363" y="251"/>
                          <a:pt x="345" y="238"/>
                          <a:pt x="331" y="221"/>
                        </a:cubicBezTo>
                        <a:cubicBezTo>
                          <a:pt x="353" y="203"/>
                          <a:pt x="353" y="203"/>
                          <a:pt x="353" y="203"/>
                        </a:cubicBezTo>
                        <a:cubicBezTo>
                          <a:pt x="354" y="204"/>
                          <a:pt x="355" y="205"/>
                          <a:pt x="357" y="205"/>
                        </a:cubicBezTo>
                        <a:cubicBezTo>
                          <a:pt x="358" y="205"/>
                          <a:pt x="359" y="204"/>
                          <a:pt x="360" y="204"/>
                        </a:cubicBezTo>
                        <a:cubicBezTo>
                          <a:pt x="382" y="228"/>
                          <a:pt x="414" y="243"/>
                          <a:pt x="450" y="243"/>
                        </a:cubicBezTo>
                        <a:cubicBezTo>
                          <a:pt x="517" y="243"/>
                          <a:pt x="571" y="189"/>
                          <a:pt x="571" y="122"/>
                        </a:cubicBezTo>
                        <a:cubicBezTo>
                          <a:pt x="571" y="55"/>
                          <a:pt x="517" y="0"/>
                          <a:pt x="450" y="0"/>
                        </a:cubicBezTo>
                        <a:cubicBezTo>
                          <a:pt x="383" y="0"/>
                          <a:pt x="328" y="55"/>
                          <a:pt x="328" y="122"/>
                        </a:cubicBezTo>
                        <a:cubicBezTo>
                          <a:pt x="328" y="149"/>
                          <a:pt x="337" y="174"/>
                          <a:pt x="352" y="194"/>
                        </a:cubicBezTo>
                        <a:cubicBezTo>
                          <a:pt x="351" y="195"/>
                          <a:pt x="350" y="197"/>
                          <a:pt x="350" y="198"/>
                        </a:cubicBezTo>
                        <a:cubicBezTo>
                          <a:pt x="350" y="199"/>
                          <a:pt x="351" y="200"/>
                          <a:pt x="351" y="201"/>
                        </a:cubicBezTo>
                        <a:cubicBezTo>
                          <a:pt x="329" y="219"/>
                          <a:pt x="329" y="219"/>
                          <a:pt x="329" y="219"/>
                        </a:cubicBezTo>
                        <a:cubicBezTo>
                          <a:pt x="308" y="192"/>
                          <a:pt x="295" y="159"/>
                          <a:pt x="295" y="122"/>
                        </a:cubicBezTo>
                        <a:cubicBezTo>
                          <a:pt x="295" y="90"/>
                          <a:pt x="305" y="60"/>
                          <a:pt x="321" y="36"/>
                        </a:cubicBezTo>
                        <a:cubicBezTo>
                          <a:pt x="322" y="36"/>
                          <a:pt x="323" y="36"/>
                          <a:pt x="324" y="36"/>
                        </a:cubicBezTo>
                        <a:cubicBezTo>
                          <a:pt x="327" y="36"/>
                          <a:pt x="330" y="33"/>
                          <a:pt x="330" y="30"/>
                        </a:cubicBezTo>
                        <a:cubicBezTo>
                          <a:pt x="330" y="26"/>
                          <a:pt x="327" y="23"/>
                          <a:pt x="324" y="23"/>
                        </a:cubicBezTo>
                        <a:cubicBezTo>
                          <a:pt x="320" y="23"/>
                          <a:pt x="317" y="26"/>
                          <a:pt x="317" y="30"/>
                        </a:cubicBezTo>
                        <a:cubicBezTo>
                          <a:pt x="317" y="31"/>
                          <a:pt x="318" y="33"/>
                          <a:pt x="319" y="34"/>
                        </a:cubicBezTo>
                        <a:cubicBezTo>
                          <a:pt x="302" y="59"/>
                          <a:pt x="292" y="89"/>
                          <a:pt x="292" y="122"/>
                        </a:cubicBezTo>
                        <a:cubicBezTo>
                          <a:pt x="292" y="159"/>
                          <a:pt x="305" y="194"/>
                          <a:pt x="327" y="221"/>
                        </a:cubicBezTo>
                        <a:cubicBezTo>
                          <a:pt x="301" y="242"/>
                          <a:pt x="301" y="242"/>
                          <a:pt x="301" y="242"/>
                        </a:cubicBezTo>
                        <a:cubicBezTo>
                          <a:pt x="297" y="238"/>
                          <a:pt x="293" y="233"/>
                          <a:pt x="289" y="229"/>
                        </a:cubicBezTo>
                        <a:cubicBezTo>
                          <a:pt x="256" y="196"/>
                          <a:pt x="212" y="177"/>
                          <a:pt x="165" y="176"/>
                        </a:cubicBezTo>
                        <a:cubicBezTo>
                          <a:pt x="165" y="173"/>
                          <a:pt x="162" y="171"/>
                          <a:pt x="159" y="171"/>
                        </a:cubicBezTo>
                        <a:cubicBezTo>
                          <a:pt x="155" y="171"/>
                          <a:pt x="152" y="174"/>
                          <a:pt x="152" y="178"/>
                        </a:cubicBezTo>
                        <a:cubicBezTo>
                          <a:pt x="152" y="181"/>
                          <a:pt x="155" y="184"/>
                          <a:pt x="159" y="184"/>
                        </a:cubicBezTo>
                        <a:cubicBezTo>
                          <a:pt x="162" y="184"/>
                          <a:pt x="165" y="182"/>
                          <a:pt x="165" y="179"/>
                        </a:cubicBezTo>
                        <a:cubicBezTo>
                          <a:pt x="219" y="180"/>
                          <a:pt x="267" y="206"/>
                          <a:pt x="299" y="244"/>
                        </a:cubicBezTo>
                        <a:cubicBezTo>
                          <a:pt x="289" y="252"/>
                          <a:pt x="289" y="252"/>
                          <a:pt x="289" y="252"/>
                        </a:cubicBezTo>
                        <a:cubicBezTo>
                          <a:pt x="288" y="251"/>
                          <a:pt x="287" y="251"/>
                          <a:pt x="285" y="251"/>
                        </a:cubicBezTo>
                        <a:cubicBezTo>
                          <a:pt x="284" y="251"/>
                          <a:pt x="283" y="251"/>
                          <a:pt x="282" y="251"/>
                        </a:cubicBezTo>
                        <a:cubicBezTo>
                          <a:pt x="280" y="249"/>
                          <a:pt x="277" y="246"/>
                          <a:pt x="275" y="244"/>
                        </a:cubicBezTo>
                        <a:cubicBezTo>
                          <a:pt x="244" y="213"/>
                          <a:pt x="204" y="196"/>
                          <a:pt x="161" y="196"/>
                        </a:cubicBezTo>
                        <a:cubicBezTo>
                          <a:pt x="118" y="196"/>
                          <a:pt x="78" y="213"/>
                          <a:pt x="47" y="244"/>
                        </a:cubicBezTo>
                        <a:cubicBezTo>
                          <a:pt x="17" y="274"/>
                          <a:pt x="0" y="314"/>
                          <a:pt x="0" y="357"/>
                        </a:cubicBezTo>
                        <a:cubicBezTo>
                          <a:pt x="0" y="400"/>
                          <a:pt x="17" y="441"/>
                          <a:pt x="47" y="471"/>
                        </a:cubicBezTo>
                        <a:cubicBezTo>
                          <a:pt x="78" y="502"/>
                          <a:pt x="118" y="518"/>
                          <a:pt x="161" y="518"/>
                        </a:cubicBezTo>
                        <a:cubicBezTo>
                          <a:pt x="184" y="518"/>
                          <a:pt x="206" y="514"/>
                          <a:pt x="226" y="505"/>
                        </a:cubicBezTo>
                        <a:cubicBezTo>
                          <a:pt x="227" y="506"/>
                          <a:pt x="229" y="507"/>
                          <a:pt x="231" y="507"/>
                        </a:cubicBezTo>
                        <a:cubicBezTo>
                          <a:pt x="232" y="507"/>
                          <a:pt x="232" y="507"/>
                          <a:pt x="233" y="507"/>
                        </a:cubicBezTo>
                        <a:cubicBezTo>
                          <a:pt x="238" y="518"/>
                          <a:pt x="238" y="518"/>
                          <a:pt x="238" y="518"/>
                        </a:cubicBezTo>
                        <a:cubicBezTo>
                          <a:pt x="215" y="529"/>
                          <a:pt x="189" y="536"/>
                          <a:pt x="161" y="536"/>
                        </a:cubicBezTo>
                        <a:cubicBezTo>
                          <a:pt x="148" y="536"/>
                          <a:pt x="135" y="534"/>
                          <a:pt x="122" y="531"/>
                        </a:cubicBezTo>
                        <a:cubicBezTo>
                          <a:pt x="122" y="528"/>
                          <a:pt x="119" y="525"/>
                          <a:pt x="116" y="525"/>
                        </a:cubicBezTo>
                        <a:cubicBezTo>
                          <a:pt x="112" y="525"/>
                          <a:pt x="109" y="528"/>
                          <a:pt x="109" y="531"/>
                        </a:cubicBezTo>
                        <a:cubicBezTo>
                          <a:pt x="109" y="535"/>
                          <a:pt x="112" y="538"/>
                          <a:pt x="116" y="538"/>
                        </a:cubicBezTo>
                        <a:cubicBezTo>
                          <a:pt x="118" y="538"/>
                          <a:pt x="120" y="536"/>
                          <a:pt x="122" y="534"/>
                        </a:cubicBezTo>
                        <a:cubicBezTo>
                          <a:pt x="134" y="537"/>
                          <a:pt x="148" y="538"/>
                          <a:pt x="161" y="538"/>
                        </a:cubicBezTo>
                        <a:cubicBezTo>
                          <a:pt x="189" y="538"/>
                          <a:pt x="215" y="532"/>
                          <a:pt x="240" y="521"/>
                        </a:cubicBezTo>
                        <a:cubicBezTo>
                          <a:pt x="249" y="539"/>
                          <a:pt x="249" y="539"/>
                          <a:pt x="249" y="539"/>
                        </a:cubicBezTo>
                        <a:cubicBezTo>
                          <a:pt x="214" y="557"/>
                          <a:pt x="190" y="593"/>
                          <a:pt x="190" y="635"/>
                        </a:cubicBezTo>
                        <a:cubicBezTo>
                          <a:pt x="190" y="657"/>
                          <a:pt x="196" y="677"/>
                          <a:pt x="208" y="694"/>
                        </a:cubicBezTo>
                        <a:cubicBezTo>
                          <a:pt x="207" y="696"/>
                          <a:pt x="206" y="697"/>
                          <a:pt x="206" y="699"/>
                        </a:cubicBezTo>
                        <a:cubicBezTo>
                          <a:pt x="206" y="702"/>
                          <a:pt x="209" y="705"/>
                          <a:pt x="213" y="705"/>
                        </a:cubicBezTo>
                        <a:cubicBezTo>
                          <a:pt x="216" y="705"/>
                          <a:pt x="219" y="702"/>
                          <a:pt x="219" y="699"/>
                        </a:cubicBezTo>
                        <a:cubicBezTo>
                          <a:pt x="219" y="695"/>
                          <a:pt x="216" y="692"/>
                          <a:pt x="213" y="692"/>
                        </a:cubicBezTo>
                        <a:cubicBezTo>
                          <a:pt x="212" y="692"/>
                          <a:pt x="211" y="692"/>
                          <a:pt x="210" y="693"/>
                        </a:cubicBezTo>
                        <a:cubicBezTo>
                          <a:pt x="199" y="676"/>
                          <a:pt x="193" y="656"/>
                          <a:pt x="193" y="635"/>
                        </a:cubicBezTo>
                        <a:cubicBezTo>
                          <a:pt x="193" y="594"/>
                          <a:pt x="216" y="559"/>
                          <a:pt x="250" y="542"/>
                        </a:cubicBezTo>
                        <a:cubicBezTo>
                          <a:pt x="257" y="556"/>
                          <a:pt x="257" y="556"/>
                          <a:pt x="257" y="556"/>
                        </a:cubicBezTo>
                        <a:cubicBezTo>
                          <a:pt x="255" y="557"/>
                          <a:pt x="255" y="559"/>
                          <a:pt x="255" y="561"/>
                        </a:cubicBezTo>
                        <a:cubicBezTo>
                          <a:pt x="255" y="562"/>
                          <a:pt x="255" y="562"/>
                          <a:pt x="255" y="563"/>
                        </a:cubicBezTo>
                        <a:cubicBezTo>
                          <a:pt x="230" y="577"/>
                          <a:pt x="214" y="604"/>
                          <a:pt x="214" y="635"/>
                        </a:cubicBezTo>
                        <a:cubicBezTo>
                          <a:pt x="214" y="681"/>
                          <a:pt x="251" y="719"/>
                          <a:pt x="297" y="719"/>
                        </a:cubicBezTo>
                        <a:cubicBezTo>
                          <a:pt x="344" y="719"/>
                          <a:pt x="381" y="681"/>
                          <a:pt x="381" y="635"/>
                        </a:cubicBezTo>
                        <a:cubicBezTo>
                          <a:pt x="381" y="621"/>
                          <a:pt x="378" y="608"/>
                          <a:pt x="371" y="596"/>
                        </a:cubicBezTo>
                        <a:cubicBezTo>
                          <a:pt x="373" y="595"/>
                          <a:pt x="373" y="593"/>
                          <a:pt x="373" y="591"/>
                        </a:cubicBezTo>
                        <a:cubicBezTo>
                          <a:pt x="373" y="587"/>
                          <a:pt x="371" y="585"/>
                          <a:pt x="367" y="585"/>
                        </a:cubicBezTo>
                        <a:cubicBezTo>
                          <a:pt x="363" y="585"/>
                          <a:pt x="360" y="587"/>
                          <a:pt x="360" y="591"/>
                        </a:cubicBezTo>
                        <a:cubicBezTo>
                          <a:pt x="360" y="595"/>
                          <a:pt x="363" y="598"/>
                          <a:pt x="367" y="598"/>
                        </a:cubicBezTo>
                        <a:cubicBezTo>
                          <a:pt x="368" y="598"/>
                          <a:pt x="368" y="598"/>
                          <a:pt x="369" y="597"/>
                        </a:cubicBezTo>
                        <a:cubicBezTo>
                          <a:pt x="375" y="609"/>
                          <a:pt x="378" y="621"/>
                          <a:pt x="378" y="635"/>
                        </a:cubicBezTo>
                        <a:cubicBezTo>
                          <a:pt x="378" y="680"/>
                          <a:pt x="342" y="716"/>
                          <a:pt x="297" y="716"/>
                        </a:cubicBezTo>
                        <a:cubicBezTo>
                          <a:pt x="253" y="716"/>
                          <a:pt x="217" y="680"/>
                          <a:pt x="217" y="635"/>
                        </a:cubicBezTo>
                        <a:cubicBezTo>
                          <a:pt x="217" y="605"/>
                          <a:pt x="233" y="579"/>
                          <a:pt x="256" y="565"/>
                        </a:cubicBezTo>
                        <a:cubicBezTo>
                          <a:pt x="258" y="567"/>
                          <a:pt x="259" y="568"/>
                          <a:pt x="261" y="568"/>
                        </a:cubicBezTo>
                        <a:cubicBezTo>
                          <a:pt x="265" y="568"/>
                          <a:pt x="268" y="565"/>
                          <a:pt x="268" y="561"/>
                        </a:cubicBezTo>
                        <a:cubicBezTo>
                          <a:pt x="268" y="561"/>
                          <a:pt x="268" y="560"/>
                          <a:pt x="268" y="560"/>
                        </a:cubicBezTo>
                        <a:cubicBezTo>
                          <a:pt x="277" y="556"/>
                          <a:pt x="287" y="554"/>
                          <a:pt x="297" y="554"/>
                        </a:cubicBezTo>
                        <a:cubicBezTo>
                          <a:pt x="305" y="554"/>
                          <a:pt x="313" y="555"/>
                          <a:pt x="320" y="557"/>
                        </a:cubicBezTo>
                        <a:cubicBezTo>
                          <a:pt x="320" y="558"/>
                          <a:pt x="320" y="558"/>
                          <a:pt x="320" y="558"/>
                        </a:cubicBezTo>
                        <a:cubicBezTo>
                          <a:pt x="320" y="562"/>
                          <a:pt x="323" y="565"/>
                          <a:pt x="327" y="565"/>
                        </a:cubicBezTo>
                        <a:cubicBezTo>
                          <a:pt x="330" y="565"/>
                          <a:pt x="333" y="562"/>
                          <a:pt x="333" y="558"/>
                        </a:cubicBezTo>
                        <a:cubicBezTo>
                          <a:pt x="333" y="555"/>
                          <a:pt x="330" y="552"/>
                          <a:pt x="327" y="552"/>
                        </a:cubicBezTo>
                        <a:cubicBezTo>
                          <a:pt x="324" y="552"/>
                          <a:pt x="322" y="553"/>
                          <a:pt x="321" y="555"/>
                        </a:cubicBezTo>
                        <a:cubicBezTo>
                          <a:pt x="314" y="552"/>
                          <a:pt x="306" y="551"/>
                          <a:pt x="297" y="551"/>
                        </a:cubicBezTo>
                        <a:cubicBezTo>
                          <a:pt x="286" y="551"/>
                          <a:pt x="276" y="553"/>
                          <a:pt x="266" y="557"/>
                        </a:cubicBezTo>
                        <a:cubicBezTo>
                          <a:pt x="265" y="555"/>
                          <a:pt x="263" y="554"/>
                          <a:pt x="261" y="554"/>
                        </a:cubicBezTo>
                        <a:cubicBezTo>
                          <a:pt x="261" y="554"/>
                          <a:pt x="260" y="554"/>
                          <a:pt x="260" y="555"/>
                        </a:cubicBezTo>
                        <a:cubicBezTo>
                          <a:pt x="253" y="540"/>
                          <a:pt x="253" y="540"/>
                          <a:pt x="253" y="540"/>
                        </a:cubicBezTo>
                        <a:cubicBezTo>
                          <a:pt x="266" y="534"/>
                          <a:pt x="281" y="530"/>
                          <a:pt x="297" y="530"/>
                        </a:cubicBezTo>
                        <a:cubicBezTo>
                          <a:pt x="305" y="530"/>
                          <a:pt x="313" y="531"/>
                          <a:pt x="321" y="533"/>
                        </a:cubicBezTo>
                        <a:cubicBezTo>
                          <a:pt x="321" y="536"/>
                          <a:pt x="324" y="539"/>
                          <a:pt x="327" y="539"/>
                        </a:cubicBezTo>
                        <a:cubicBezTo>
                          <a:pt x="329" y="539"/>
                          <a:pt x="331" y="538"/>
                          <a:pt x="332" y="536"/>
                        </a:cubicBezTo>
                        <a:cubicBezTo>
                          <a:pt x="373" y="551"/>
                          <a:pt x="402" y="590"/>
                          <a:pt x="402" y="635"/>
                        </a:cubicBezTo>
                        <a:cubicBezTo>
                          <a:pt x="402" y="661"/>
                          <a:pt x="393" y="684"/>
                          <a:pt x="377" y="703"/>
                        </a:cubicBezTo>
                        <a:cubicBezTo>
                          <a:pt x="376" y="702"/>
                          <a:pt x="375" y="702"/>
                          <a:pt x="373" y="702"/>
                        </a:cubicBezTo>
                        <a:cubicBezTo>
                          <a:pt x="370" y="702"/>
                          <a:pt x="367" y="705"/>
                          <a:pt x="367" y="708"/>
                        </a:cubicBezTo>
                        <a:cubicBezTo>
                          <a:pt x="367" y="712"/>
                          <a:pt x="370" y="715"/>
                          <a:pt x="373" y="715"/>
                        </a:cubicBezTo>
                        <a:cubicBezTo>
                          <a:pt x="377" y="715"/>
                          <a:pt x="380" y="712"/>
                          <a:pt x="380" y="708"/>
                        </a:cubicBezTo>
                        <a:cubicBezTo>
                          <a:pt x="380" y="707"/>
                          <a:pt x="380" y="706"/>
                          <a:pt x="379" y="705"/>
                        </a:cubicBezTo>
                        <a:cubicBezTo>
                          <a:pt x="395" y="686"/>
                          <a:pt x="405" y="662"/>
                          <a:pt x="405" y="635"/>
                        </a:cubicBezTo>
                        <a:cubicBezTo>
                          <a:pt x="405" y="588"/>
                          <a:pt x="375" y="549"/>
                          <a:pt x="334" y="534"/>
                        </a:cubicBezTo>
                        <a:cubicBezTo>
                          <a:pt x="334" y="533"/>
                          <a:pt x="334" y="533"/>
                          <a:pt x="334" y="532"/>
                        </a:cubicBezTo>
                        <a:cubicBezTo>
                          <a:pt x="334" y="529"/>
                          <a:pt x="332" y="526"/>
                          <a:pt x="329" y="526"/>
                        </a:cubicBezTo>
                        <a:cubicBezTo>
                          <a:pt x="329" y="526"/>
                          <a:pt x="329" y="526"/>
                          <a:pt x="329" y="526"/>
                        </a:cubicBezTo>
                        <a:cubicBezTo>
                          <a:pt x="329" y="505"/>
                          <a:pt x="333" y="486"/>
                          <a:pt x="342" y="469"/>
                        </a:cubicBezTo>
                        <a:cubicBezTo>
                          <a:pt x="343" y="469"/>
                          <a:pt x="343" y="469"/>
                          <a:pt x="344" y="469"/>
                        </a:cubicBezTo>
                        <a:cubicBezTo>
                          <a:pt x="347" y="469"/>
                          <a:pt x="350" y="466"/>
                          <a:pt x="350" y="463"/>
                        </a:cubicBezTo>
                        <a:cubicBezTo>
                          <a:pt x="350" y="461"/>
                          <a:pt x="350" y="459"/>
                          <a:pt x="348" y="458"/>
                        </a:cubicBezTo>
                        <a:cubicBezTo>
                          <a:pt x="364" y="434"/>
                          <a:pt x="387" y="416"/>
                          <a:pt x="415" y="407"/>
                        </a:cubicBezTo>
                        <a:cubicBezTo>
                          <a:pt x="419" y="414"/>
                          <a:pt x="423" y="421"/>
                          <a:pt x="428" y="427"/>
                        </a:cubicBezTo>
                        <a:cubicBezTo>
                          <a:pt x="427" y="428"/>
                          <a:pt x="427" y="430"/>
                          <a:pt x="427" y="431"/>
                        </a:cubicBezTo>
                        <a:cubicBezTo>
                          <a:pt x="427" y="435"/>
                          <a:pt x="430" y="438"/>
                          <a:pt x="433" y="438"/>
                        </a:cubicBezTo>
                        <a:cubicBezTo>
                          <a:pt x="437" y="438"/>
                          <a:pt x="440" y="435"/>
                          <a:pt x="440" y="431"/>
                        </a:cubicBezTo>
                        <a:cubicBezTo>
                          <a:pt x="440" y="427"/>
                          <a:pt x="437" y="424"/>
                          <a:pt x="433" y="424"/>
                        </a:cubicBezTo>
                        <a:cubicBezTo>
                          <a:pt x="432" y="424"/>
                          <a:pt x="431" y="425"/>
                          <a:pt x="430" y="425"/>
                        </a:cubicBezTo>
                        <a:cubicBezTo>
                          <a:pt x="426" y="419"/>
                          <a:pt x="421" y="413"/>
                          <a:pt x="418" y="406"/>
                        </a:cubicBezTo>
                        <a:cubicBezTo>
                          <a:pt x="428" y="403"/>
                          <a:pt x="438" y="402"/>
                          <a:pt x="449" y="401"/>
                        </a:cubicBezTo>
                        <a:cubicBezTo>
                          <a:pt x="449" y="404"/>
                          <a:pt x="452" y="406"/>
                          <a:pt x="455" y="406"/>
                        </a:cubicBezTo>
                        <a:cubicBezTo>
                          <a:pt x="456" y="406"/>
                          <a:pt x="457" y="406"/>
                          <a:pt x="458" y="405"/>
                        </a:cubicBezTo>
                        <a:cubicBezTo>
                          <a:pt x="478" y="428"/>
                          <a:pt x="506" y="443"/>
                          <a:pt x="539" y="443"/>
                        </a:cubicBezTo>
                        <a:cubicBezTo>
                          <a:pt x="539" y="443"/>
                          <a:pt x="540" y="443"/>
                          <a:pt x="541" y="443"/>
                        </a:cubicBezTo>
                        <a:cubicBezTo>
                          <a:pt x="542" y="446"/>
                          <a:pt x="544" y="447"/>
                          <a:pt x="547" y="447"/>
                        </a:cubicBezTo>
                        <a:cubicBezTo>
                          <a:pt x="548" y="447"/>
                          <a:pt x="549" y="447"/>
                          <a:pt x="550" y="447"/>
                        </a:cubicBezTo>
                        <a:cubicBezTo>
                          <a:pt x="556" y="455"/>
                          <a:pt x="562" y="464"/>
                          <a:pt x="567" y="474"/>
                        </a:cubicBezTo>
                        <a:cubicBezTo>
                          <a:pt x="559" y="476"/>
                          <a:pt x="552" y="477"/>
                          <a:pt x="544" y="477"/>
                        </a:cubicBezTo>
                        <a:cubicBezTo>
                          <a:pt x="543" y="474"/>
                          <a:pt x="541" y="472"/>
                          <a:pt x="538" y="472"/>
                        </a:cubicBezTo>
                        <a:cubicBezTo>
                          <a:pt x="534" y="472"/>
                          <a:pt x="531" y="475"/>
                          <a:pt x="531" y="478"/>
                        </a:cubicBezTo>
                        <a:cubicBezTo>
                          <a:pt x="531" y="482"/>
                          <a:pt x="534" y="485"/>
                          <a:pt x="538" y="485"/>
                        </a:cubicBezTo>
                        <a:cubicBezTo>
                          <a:pt x="541" y="485"/>
                          <a:pt x="543" y="483"/>
                          <a:pt x="544" y="480"/>
                        </a:cubicBezTo>
                        <a:cubicBezTo>
                          <a:pt x="552" y="480"/>
                          <a:pt x="560" y="479"/>
                          <a:pt x="568" y="477"/>
                        </a:cubicBezTo>
                        <a:cubicBezTo>
                          <a:pt x="574" y="492"/>
                          <a:pt x="578" y="508"/>
                          <a:pt x="578" y="526"/>
                        </a:cubicBezTo>
                        <a:cubicBezTo>
                          <a:pt x="578" y="592"/>
                          <a:pt x="526" y="646"/>
                          <a:pt x="460" y="650"/>
                        </a:cubicBezTo>
                        <a:cubicBezTo>
                          <a:pt x="460" y="647"/>
                          <a:pt x="457" y="645"/>
                          <a:pt x="454" y="645"/>
                        </a:cubicBezTo>
                        <a:cubicBezTo>
                          <a:pt x="450" y="645"/>
                          <a:pt x="447" y="648"/>
                          <a:pt x="447" y="651"/>
                        </a:cubicBezTo>
                        <a:cubicBezTo>
                          <a:pt x="447" y="655"/>
                          <a:pt x="450" y="658"/>
                          <a:pt x="454" y="658"/>
                        </a:cubicBezTo>
                        <a:cubicBezTo>
                          <a:pt x="457" y="658"/>
                          <a:pt x="459" y="656"/>
                          <a:pt x="460" y="653"/>
                        </a:cubicBezTo>
                        <a:cubicBezTo>
                          <a:pt x="527" y="649"/>
                          <a:pt x="581" y="594"/>
                          <a:pt x="581" y="526"/>
                        </a:cubicBezTo>
                        <a:cubicBezTo>
                          <a:pt x="581" y="508"/>
                          <a:pt x="577" y="491"/>
                          <a:pt x="571" y="476"/>
                        </a:cubicBezTo>
                        <a:cubicBezTo>
                          <a:pt x="588" y="472"/>
                          <a:pt x="604" y="465"/>
                          <a:pt x="619" y="455"/>
                        </a:cubicBezTo>
                        <a:cubicBezTo>
                          <a:pt x="620" y="456"/>
                          <a:pt x="621" y="457"/>
                          <a:pt x="623" y="457"/>
                        </a:cubicBezTo>
                        <a:cubicBezTo>
                          <a:pt x="626" y="457"/>
                          <a:pt x="629" y="454"/>
                          <a:pt x="629" y="450"/>
                        </a:cubicBezTo>
                        <a:cubicBezTo>
                          <a:pt x="629" y="446"/>
                          <a:pt x="626" y="443"/>
                          <a:pt x="623" y="443"/>
                        </a:cubicBezTo>
                        <a:cubicBezTo>
                          <a:pt x="619" y="443"/>
                          <a:pt x="616" y="446"/>
                          <a:pt x="616" y="450"/>
                        </a:cubicBezTo>
                        <a:cubicBezTo>
                          <a:pt x="616" y="451"/>
                          <a:pt x="616" y="452"/>
                          <a:pt x="617" y="453"/>
                        </a:cubicBezTo>
                        <a:cubicBezTo>
                          <a:pt x="603" y="462"/>
                          <a:pt x="587" y="470"/>
                          <a:pt x="570" y="474"/>
                        </a:cubicBezTo>
                        <a:cubicBezTo>
                          <a:pt x="565" y="463"/>
                          <a:pt x="559" y="454"/>
                          <a:pt x="552" y="445"/>
                        </a:cubicBezTo>
                        <a:cubicBezTo>
                          <a:pt x="553" y="444"/>
                          <a:pt x="553" y="443"/>
                          <a:pt x="554" y="442"/>
                        </a:cubicBezTo>
                        <a:cubicBezTo>
                          <a:pt x="604" y="434"/>
                          <a:pt x="643" y="391"/>
                          <a:pt x="643" y="338"/>
                        </a:cubicBezTo>
                        <a:close/>
                        <a:moveTo>
                          <a:pt x="331" y="122"/>
                        </a:moveTo>
                        <a:cubicBezTo>
                          <a:pt x="331" y="56"/>
                          <a:pt x="384" y="3"/>
                          <a:pt x="450" y="3"/>
                        </a:cubicBezTo>
                        <a:cubicBezTo>
                          <a:pt x="515" y="3"/>
                          <a:pt x="568" y="56"/>
                          <a:pt x="568" y="122"/>
                        </a:cubicBezTo>
                        <a:cubicBezTo>
                          <a:pt x="568" y="187"/>
                          <a:pt x="515" y="240"/>
                          <a:pt x="450" y="240"/>
                        </a:cubicBezTo>
                        <a:cubicBezTo>
                          <a:pt x="415" y="240"/>
                          <a:pt x="384" y="226"/>
                          <a:pt x="362" y="202"/>
                        </a:cubicBezTo>
                        <a:cubicBezTo>
                          <a:pt x="363" y="201"/>
                          <a:pt x="363" y="200"/>
                          <a:pt x="363" y="198"/>
                        </a:cubicBezTo>
                        <a:cubicBezTo>
                          <a:pt x="363" y="195"/>
                          <a:pt x="361" y="192"/>
                          <a:pt x="357" y="192"/>
                        </a:cubicBezTo>
                        <a:cubicBezTo>
                          <a:pt x="356" y="192"/>
                          <a:pt x="355" y="192"/>
                          <a:pt x="354" y="192"/>
                        </a:cubicBezTo>
                        <a:cubicBezTo>
                          <a:pt x="340" y="172"/>
                          <a:pt x="331" y="148"/>
                          <a:pt x="331" y="122"/>
                        </a:cubicBezTo>
                        <a:close/>
                        <a:moveTo>
                          <a:pt x="231" y="494"/>
                        </a:moveTo>
                        <a:cubicBezTo>
                          <a:pt x="228" y="494"/>
                          <a:pt x="225" y="497"/>
                          <a:pt x="225" y="500"/>
                        </a:cubicBezTo>
                        <a:cubicBezTo>
                          <a:pt x="225" y="501"/>
                          <a:pt x="225" y="501"/>
                          <a:pt x="225" y="502"/>
                        </a:cubicBezTo>
                        <a:cubicBezTo>
                          <a:pt x="205" y="510"/>
                          <a:pt x="184" y="515"/>
                          <a:pt x="161" y="515"/>
                        </a:cubicBezTo>
                        <a:cubicBezTo>
                          <a:pt x="74" y="515"/>
                          <a:pt x="3" y="444"/>
                          <a:pt x="3" y="357"/>
                        </a:cubicBezTo>
                        <a:cubicBezTo>
                          <a:pt x="3" y="270"/>
                          <a:pt x="74" y="199"/>
                          <a:pt x="161" y="199"/>
                        </a:cubicBezTo>
                        <a:cubicBezTo>
                          <a:pt x="208" y="199"/>
                          <a:pt x="251" y="220"/>
                          <a:pt x="280" y="253"/>
                        </a:cubicBezTo>
                        <a:cubicBezTo>
                          <a:pt x="279" y="254"/>
                          <a:pt x="278" y="256"/>
                          <a:pt x="278" y="257"/>
                        </a:cubicBezTo>
                        <a:cubicBezTo>
                          <a:pt x="278" y="261"/>
                          <a:pt x="281" y="264"/>
                          <a:pt x="285" y="264"/>
                        </a:cubicBezTo>
                        <a:cubicBezTo>
                          <a:pt x="286" y="264"/>
                          <a:pt x="287" y="263"/>
                          <a:pt x="288" y="263"/>
                        </a:cubicBezTo>
                        <a:cubicBezTo>
                          <a:pt x="307" y="289"/>
                          <a:pt x="319" y="322"/>
                          <a:pt x="319" y="357"/>
                        </a:cubicBezTo>
                        <a:cubicBezTo>
                          <a:pt x="319" y="384"/>
                          <a:pt x="312" y="409"/>
                          <a:pt x="301" y="431"/>
                        </a:cubicBezTo>
                        <a:cubicBezTo>
                          <a:pt x="300" y="430"/>
                          <a:pt x="300" y="430"/>
                          <a:pt x="299" y="430"/>
                        </a:cubicBezTo>
                        <a:cubicBezTo>
                          <a:pt x="296" y="430"/>
                          <a:pt x="293" y="433"/>
                          <a:pt x="293" y="437"/>
                        </a:cubicBezTo>
                        <a:cubicBezTo>
                          <a:pt x="293" y="439"/>
                          <a:pt x="293" y="440"/>
                          <a:pt x="295" y="442"/>
                        </a:cubicBezTo>
                        <a:cubicBezTo>
                          <a:pt x="280" y="464"/>
                          <a:pt x="260" y="483"/>
                          <a:pt x="236" y="496"/>
                        </a:cubicBezTo>
                        <a:cubicBezTo>
                          <a:pt x="235" y="495"/>
                          <a:pt x="233" y="494"/>
                          <a:pt x="231" y="494"/>
                        </a:cubicBezTo>
                        <a:close/>
                        <a:moveTo>
                          <a:pt x="235" y="506"/>
                        </a:moveTo>
                        <a:cubicBezTo>
                          <a:pt x="237" y="504"/>
                          <a:pt x="238" y="503"/>
                          <a:pt x="238" y="500"/>
                        </a:cubicBezTo>
                        <a:cubicBezTo>
                          <a:pt x="238" y="500"/>
                          <a:pt x="238" y="499"/>
                          <a:pt x="238" y="499"/>
                        </a:cubicBezTo>
                        <a:cubicBezTo>
                          <a:pt x="251" y="492"/>
                          <a:pt x="264" y="482"/>
                          <a:pt x="275" y="471"/>
                        </a:cubicBezTo>
                        <a:cubicBezTo>
                          <a:pt x="283" y="463"/>
                          <a:pt x="291" y="453"/>
                          <a:pt x="297" y="443"/>
                        </a:cubicBezTo>
                        <a:cubicBezTo>
                          <a:pt x="298" y="443"/>
                          <a:pt x="298" y="443"/>
                          <a:pt x="299" y="443"/>
                        </a:cubicBezTo>
                        <a:cubicBezTo>
                          <a:pt x="301" y="443"/>
                          <a:pt x="303" y="443"/>
                          <a:pt x="304" y="441"/>
                        </a:cubicBezTo>
                        <a:cubicBezTo>
                          <a:pt x="315" y="448"/>
                          <a:pt x="315" y="448"/>
                          <a:pt x="315" y="448"/>
                        </a:cubicBezTo>
                        <a:cubicBezTo>
                          <a:pt x="297" y="477"/>
                          <a:pt x="272" y="501"/>
                          <a:pt x="241" y="517"/>
                        </a:cubicBezTo>
                        <a:lnTo>
                          <a:pt x="235" y="506"/>
                        </a:lnTo>
                        <a:close/>
                        <a:moveTo>
                          <a:pt x="326" y="526"/>
                        </a:moveTo>
                        <a:cubicBezTo>
                          <a:pt x="326" y="526"/>
                          <a:pt x="326" y="526"/>
                          <a:pt x="326" y="526"/>
                        </a:cubicBezTo>
                        <a:cubicBezTo>
                          <a:pt x="323" y="526"/>
                          <a:pt x="322" y="528"/>
                          <a:pt x="321" y="530"/>
                        </a:cubicBezTo>
                        <a:cubicBezTo>
                          <a:pt x="313" y="528"/>
                          <a:pt x="305" y="527"/>
                          <a:pt x="297" y="527"/>
                        </a:cubicBezTo>
                        <a:cubicBezTo>
                          <a:pt x="281" y="527"/>
                          <a:pt x="265" y="531"/>
                          <a:pt x="251" y="538"/>
                        </a:cubicBezTo>
                        <a:cubicBezTo>
                          <a:pt x="242" y="519"/>
                          <a:pt x="242" y="519"/>
                          <a:pt x="242" y="519"/>
                        </a:cubicBezTo>
                        <a:cubicBezTo>
                          <a:pt x="259" y="511"/>
                          <a:pt x="275" y="499"/>
                          <a:pt x="289" y="485"/>
                        </a:cubicBezTo>
                        <a:cubicBezTo>
                          <a:pt x="300" y="474"/>
                          <a:pt x="310" y="462"/>
                          <a:pt x="317" y="449"/>
                        </a:cubicBezTo>
                        <a:cubicBezTo>
                          <a:pt x="338" y="461"/>
                          <a:pt x="338" y="461"/>
                          <a:pt x="338" y="461"/>
                        </a:cubicBezTo>
                        <a:cubicBezTo>
                          <a:pt x="337" y="461"/>
                          <a:pt x="337" y="462"/>
                          <a:pt x="337" y="463"/>
                        </a:cubicBezTo>
                        <a:cubicBezTo>
                          <a:pt x="337" y="465"/>
                          <a:pt x="338" y="467"/>
                          <a:pt x="340" y="468"/>
                        </a:cubicBezTo>
                        <a:cubicBezTo>
                          <a:pt x="331" y="485"/>
                          <a:pt x="326" y="505"/>
                          <a:pt x="326" y="526"/>
                        </a:cubicBezTo>
                        <a:close/>
                        <a:moveTo>
                          <a:pt x="346" y="457"/>
                        </a:moveTo>
                        <a:cubicBezTo>
                          <a:pt x="345" y="456"/>
                          <a:pt x="345" y="456"/>
                          <a:pt x="344" y="456"/>
                        </a:cubicBezTo>
                        <a:cubicBezTo>
                          <a:pt x="342" y="456"/>
                          <a:pt x="340" y="457"/>
                          <a:pt x="339" y="458"/>
                        </a:cubicBezTo>
                        <a:cubicBezTo>
                          <a:pt x="319" y="447"/>
                          <a:pt x="319" y="447"/>
                          <a:pt x="319" y="447"/>
                        </a:cubicBezTo>
                        <a:cubicBezTo>
                          <a:pt x="328" y="431"/>
                          <a:pt x="334" y="413"/>
                          <a:pt x="338" y="395"/>
                        </a:cubicBezTo>
                        <a:cubicBezTo>
                          <a:pt x="342" y="395"/>
                          <a:pt x="344" y="392"/>
                          <a:pt x="344" y="389"/>
                        </a:cubicBezTo>
                        <a:cubicBezTo>
                          <a:pt x="344" y="385"/>
                          <a:pt x="342" y="382"/>
                          <a:pt x="338" y="382"/>
                        </a:cubicBezTo>
                        <a:cubicBezTo>
                          <a:pt x="334" y="382"/>
                          <a:pt x="331" y="385"/>
                          <a:pt x="331" y="389"/>
                        </a:cubicBezTo>
                        <a:cubicBezTo>
                          <a:pt x="331" y="391"/>
                          <a:pt x="333" y="394"/>
                          <a:pt x="335" y="395"/>
                        </a:cubicBezTo>
                        <a:cubicBezTo>
                          <a:pt x="331" y="413"/>
                          <a:pt x="325" y="429"/>
                          <a:pt x="316" y="445"/>
                        </a:cubicBezTo>
                        <a:cubicBezTo>
                          <a:pt x="305" y="439"/>
                          <a:pt x="305" y="439"/>
                          <a:pt x="305" y="439"/>
                        </a:cubicBezTo>
                        <a:cubicBezTo>
                          <a:pt x="306" y="438"/>
                          <a:pt x="306" y="438"/>
                          <a:pt x="306" y="437"/>
                        </a:cubicBezTo>
                        <a:cubicBezTo>
                          <a:pt x="306" y="435"/>
                          <a:pt x="305" y="433"/>
                          <a:pt x="304" y="432"/>
                        </a:cubicBezTo>
                        <a:cubicBezTo>
                          <a:pt x="316" y="409"/>
                          <a:pt x="322" y="384"/>
                          <a:pt x="322" y="357"/>
                        </a:cubicBezTo>
                        <a:cubicBezTo>
                          <a:pt x="322" y="355"/>
                          <a:pt x="322" y="353"/>
                          <a:pt x="322" y="351"/>
                        </a:cubicBezTo>
                        <a:cubicBezTo>
                          <a:pt x="392" y="347"/>
                          <a:pt x="392" y="347"/>
                          <a:pt x="392" y="347"/>
                        </a:cubicBezTo>
                        <a:cubicBezTo>
                          <a:pt x="393" y="350"/>
                          <a:pt x="395" y="352"/>
                          <a:pt x="398" y="352"/>
                        </a:cubicBezTo>
                        <a:cubicBezTo>
                          <a:pt x="399" y="371"/>
                          <a:pt x="405" y="389"/>
                          <a:pt x="413" y="405"/>
                        </a:cubicBezTo>
                        <a:cubicBezTo>
                          <a:pt x="385" y="414"/>
                          <a:pt x="362" y="432"/>
                          <a:pt x="346" y="457"/>
                        </a:cubicBezTo>
                        <a:close/>
                        <a:moveTo>
                          <a:pt x="449" y="398"/>
                        </a:moveTo>
                        <a:cubicBezTo>
                          <a:pt x="438" y="399"/>
                          <a:pt x="427" y="400"/>
                          <a:pt x="416" y="404"/>
                        </a:cubicBezTo>
                        <a:cubicBezTo>
                          <a:pt x="408" y="388"/>
                          <a:pt x="402" y="370"/>
                          <a:pt x="401" y="352"/>
                        </a:cubicBezTo>
                        <a:cubicBezTo>
                          <a:pt x="403" y="351"/>
                          <a:pt x="405" y="349"/>
                          <a:pt x="405" y="347"/>
                        </a:cubicBezTo>
                        <a:cubicBezTo>
                          <a:pt x="429" y="345"/>
                          <a:pt x="429" y="345"/>
                          <a:pt x="429" y="345"/>
                        </a:cubicBezTo>
                        <a:cubicBezTo>
                          <a:pt x="430" y="348"/>
                          <a:pt x="432" y="349"/>
                          <a:pt x="435" y="350"/>
                        </a:cubicBezTo>
                        <a:cubicBezTo>
                          <a:pt x="436" y="366"/>
                          <a:pt x="442" y="382"/>
                          <a:pt x="451" y="395"/>
                        </a:cubicBezTo>
                        <a:cubicBezTo>
                          <a:pt x="450" y="396"/>
                          <a:pt x="449" y="397"/>
                          <a:pt x="449" y="398"/>
                        </a:cubicBezTo>
                        <a:close/>
                        <a:moveTo>
                          <a:pt x="547" y="434"/>
                        </a:moveTo>
                        <a:cubicBezTo>
                          <a:pt x="544" y="434"/>
                          <a:pt x="541" y="437"/>
                          <a:pt x="541" y="440"/>
                        </a:cubicBezTo>
                        <a:cubicBezTo>
                          <a:pt x="540" y="440"/>
                          <a:pt x="539" y="440"/>
                          <a:pt x="539" y="440"/>
                        </a:cubicBezTo>
                        <a:cubicBezTo>
                          <a:pt x="507" y="440"/>
                          <a:pt x="479" y="426"/>
                          <a:pt x="461" y="403"/>
                        </a:cubicBezTo>
                        <a:cubicBezTo>
                          <a:pt x="461" y="402"/>
                          <a:pt x="462" y="401"/>
                          <a:pt x="462" y="400"/>
                        </a:cubicBezTo>
                        <a:cubicBezTo>
                          <a:pt x="462" y="396"/>
                          <a:pt x="459" y="393"/>
                          <a:pt x="455" y="393"/>
                        </a:cubicBezTo>
                        <a:cubicBezTo>
                          <a:pt x="455" y="393"/>
                          <a:pt x="454" y="393"/>
                          <a:pt x="453" y="393"/>
                        </a:cubicBezTo>
                        <a:cubicBezTo>
                          <a:pt x="445" y="380"/>
                          <a:pt x="439" y="365"/>
                          <a:pt x="438" y="349"/>
                        </a:cubicBezTo>
                        <a:cubicBezTo>
                          <a:pt x="440" y="349"/>
                          <a:pt x="442" y="346"/>
                          <a:pt x="442" y="343"/>
                        </a:cubicBezTo>
                        <a:cubicBezTo>
                          <a:pt x="442" y="340"/>
                          <a:pt x="440" y="337"/>
                          <a:pt x="437" y="337"/>
                        </a:cubicBezTo>
                        <a:cubicBezTo>
                          <a:pt x="438" y="281"/>
                          <a:pt x="483" y="237"/>
                          <a:pt x="539" y="237"/>
                        </a:cubicBezTo>
                        <a:cubicBezTo>
                          <a:pt x="595" y="237"/>
                          <a:pt x="640" y="282"/>
                          <a:pt x="640" y="338"/>
                        </a:cubicBezTo>
                        <a:cubicBezTo>
                          <a:pt x="640" y="389"/>
                          <a:pt x="602" y="432"/>
                          <a:pt x="553" y="439"/>
                        </a:cubicBezTo>
                        <a:cubicBezTo>
                          <a:pt x="552" y="436"/>
                          <a:pt x="550" y="434"/>
                          <a:pt x="547" y="43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1" name="Freeform 22">
                    <a:extLst>
                      <a:ext uri="{FF2B5EF4-FFF2-40B4-BE49-F238E27FC236}">
                        <a16:creationId xmlns:a16="http://schemas.microsoft.com/office/drawing/2014/main" id="{8C26DD7B-C39D-7944-A964-1F9FFD049F03}"/>
                      </a:ext>
                    </a:extLst>
                  </p:cNvPr>
                  <p:cNvSpPr>
                    <a:spLocks/>
                  </p:cNvSpPr>
                  <p:nvPr/>
                </p:nvSpPr>
                <p:spPr bwMode="auto">
                  <a:xfrm flipH="1">
                    <a:off x="11619740" y="2507321"/>
                    <a:ext cx="375459" cy="1673804"/>
                  </a:xfrm>
                  <a:custGeom>
                    <a:avLst/>
                    <a:gdLst>
                      <a:gd name="T0" fmla="*/ 40 w 55"/>
                      <a:gd name="T1" fmla="*/ 233 h 246"/>
                      <a:gd name="T2" fmla="*/ 38 w 55"/>
                      <a:gd name="T3" fmla="*/ 233 h 246"/>
                      <a:gd name="T4" fmla="*/ 3 w 55"/>
                      <a:gd name="T5" fmla="*/ 127 h 246"/>
                      <a:gd name="T6" fmla="*/ 45 w 55"/>
                      <a:gd name="T7" fmla="*/ 12 h 246"/>
                      <a:gd name="T8" fmla="*/ 48 w 55"/>
                      <a:gd name="T9" fmla="*/ 13 h 246"/>
                      <a:gd name="T10" fmla="*/ 55 w 55"/>
                      <a:gd name="T11" fmla="*/ 6 h 246"/>
                      <a:gd name="T12" fmla="*/ 48 w 55"/>
                      <a:gd name="T13" fmla="*/ 0 h 246"/>
                      <a:gd name="T14" fmla="*/ 42 w 55"/>
                      <a:gd name="T15" fmla="*/ 6 h 246"/>
                      <a:gd name="T16" fmla="*/ 43 w 55"/>
                      <a:gd name="T17" fmla="*/ 10 h 246"/>
                      <a:gd name="T18" fmla="*/ 0 w 55"/>
                      <a:gd name="T19" fmla="*/ 127 h 246"/>
                      <a:gd name="T20" fmla="*/ 35 w 55"/>
                      <a:gd name="T21" fmla="*/ 235 h 246"/>
                      <a:gd name="T22" fmla="*/ 34 w 55"/>
                      <a:gd name="T23" fmla="*/ 239 h 246"/>
                      <a:gd name="T24" fmla="*/ 40 w 55"/>
                      <a:gd name="T25" fmla="*/ 246 h 246"/>
                      <a:gd name="T26" fmla="*/ 47 w 55"/>
                      <a:gd name="T27" fmla="*/ 239 h 246"/>
                      <a:gd name="T28" fmla="*/ 40 w 55"/>
                      <a:gd name="T29" fmla="*/ 23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246">
                        <a:moveTo>
                          <a:pt x="40" y="233"/>
                        </a:moveTo>
                        <a:cubicBezTo>
                          <a:pt x="40" y="233"/>
                          <a:pt x="39" y="233"/>
                          <a:pt x="38" y="233"/>
                        </a:cubicBezTo>
                        <a:cubicBezTo>
                          <a:pt x="16" y="204"/>
                          <a:pt x="3" y="167"/>
                          <a:pt x="3" y="127"/>
                        </a:cubicBezTo>
                        <a:cubicBezTo>
                          <a:pt x="3" y="83"/>
                          <a:pt x="19" y="43"/>
                          <a:pt x="45" y="12"/>
                        </a:cubicBezTo>
                        <a:cubicBezTo>
                          <a:pt x="46" y="13"/>
                          <a:pt x="47" y="13"/>
                          <a:pt x="48" y="13"/>
                        </a:cubicBezTo>
                        <a:cubicBezTo>
                          <a:pt x="52" y="13"/>
                          <a:pt x="55" y="10"/>
                          <a:pt x="55" y="6"/>
                        </a:cubicBezTo>
                        <a:cubicBezTo>
                          <a:pt x="55" y="3"/>
                          <a:pt x="52" y="0"/>
                          <a:pt x="48" y="0"/>
                        </a:cubicBezTo>
                        <a:cubicBezTo>
                          <a:pt x="45" y="0"/>
                          <a:pt x="42" y="3"/>
                          <a:pt x="42" y="6"/>
                        </a:cubicBezTo>
                        <a:cubicBezTo>
                          <a:pt x="42" y="8"/>
                          <a:pt x="42" y="9"/>
                          <a:pt x="43" y="10"/>
                        </a:cubicBezTo>
                        <a:cubicBezTo>
                          <a:pt x="15" y="43"/>
                          <a:pt x="0" y="84"/>
                          <a:pt x="0" y="127"/>
                        </a:cubicBezTo>
                        <a:cubicBezTo>
                          <a:pt x="0" y="167"/>
                          <a:pt x="12" y="204"/>
                          <a:pt x="35" y="235"/>
                        </a:cubicBezTo>
                        <a:cubicBezTo>
                          <a:pt x="34" y="236"/>
                          <a:pt x="34" y="238"/>
                          <a:pt x="34" y="239"/>
                        </a:cubicBezTo>
                        <a:cubicBezTo>
                          <a:pt x="34" y="243"/>
                          <a:pt x="37" y="246"/>
                          <a:pt x="40" y="246"/>
                        </a:cubicBezTo>
                        <a:cubicBezTo>
                          <a:pt x="44" y="246"/>
                          <a:pt x="47" y="243"/>
                          <a:pt x="47" y="239"/>
                        </a:cubicBezTo>
                        <a:cubicBezTo>
                          <a:pt x="47" y="236"/>
                          <a:pt x="44" y="233"/>
                          <a:pt x="40" y="23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2" name="Freeform 23">
                    <a:extLst>
                      <a:ext uri="{FF2B5EF4-FFF2-40B4-BE49-F238E27FC236}">
                        <a16:creationId xmlns:a16="http://schemas.microsoft.com/office/drawing/2014/main" id="{3A9582C2-8C4D-BD44-A5AA-36670219B78C}"/>
                      </a:ext>
                    </a:extLst>
                  </p:cNvPr>
                  <p:cNvSpPr>
                    <a:spLocks/>
                  </p:cNvSpPr>
                  <p:nvPr/>
                </p:nvSpPr>
                <p:spPr bwMode="auto">
                  <a:xfrm flipH="1">
                    <a:off x="7730439" y="1154521"/>
                    <a:ext cx="217824" cy="1094851"/>
                  </a:xfrm>
                  <a:custGeom>
                    <a:avLst/>
                    <a:gdLst>
                      <a:gd name="T0" fmla="*/ 6 w 32"/>
                      <a:gd name="T1" fmla="*/ 13 h 161"/>
                      <a:gd name="T2" fmla="*/ 8 w 32"/>
                      <a:gd name="T3" fmla="*/ 12 h 161"/>
                      <a:gd name="T4" fmla="*/ 29 w 32"/>
                      <a:gd name="T5" fmla="*/ 91 h 161"/>
                      <a:gd name="T6" fmla="*/ 18 w 32"/>
                      <a:gd name="T7" fmla="*/ 148 h 161"/>
                      <a:gd name="T8" fmla="*/ 17 w 32"/>
                      <a:gd name="T9" fmla="*/ 148 h 161"/>
                      <a:gd name="T10" fmla="*/ 10 w 32"/>
                      <a:gd name="T11" fmla="*/ 155 h 161"/>
                      <a:gd name="T12" fmla="*/ 17 w 32"/>
                      <a:gd name="T13" fmla="*/ 161 h 161"/>
                      <a:gd name="T14" fmla="*/ 24 w 32"/>
                      <a:gd name="T15" fmla="*/ 155 h 161"/>
                      <a:gd name="T16" fmla="*/ 21 w 32"/>
                      <a:gd name="T17" fmla="*/ 149 h 161"/>
                      <a:gd name="T18" fmla="*/ 32 w 32"/>
                      <a:gd name="T19" fmla="*/ 91 h 161"/>
                      <a:gd name="T20" fmla="*/ 11 w 32"/>
                      <a:gd name="T21" fmla="*/ 11 h 161"/>
                      <a:gd name="T22" fmla="*/ 13 w 32"/>
                      <a:gd name="T23" fmla="*/ 6 h 161"/>
                      <a:gd name="T24" fmla="*/ 6 w 32"/>
                      <a:gd name="T25" fmla="*/ 0 h 161"/>
                      <a:gd name="T26" fmla="*/ 0 w 32"/>
                      <a:gd name="T27" fmla="*/ 6 h 161"/>
                      <a:gd name="T28" fmla="*/ 6 w 32"/>
                      <a:gd name="T29" fmla="*/ 1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161">
                        <a:moveTo>
                          <a:pt x="6" y="13"/>
                        </a:moveTo>
                        <a:cubicBezTo>
                          <a:pt x="7" y="13"/>
                          <a:pt x="7" y="13"/>
                          <a:pt x="8" y="12"/>
                        </a:cubicBezTo>
                        <a:cubicBezTo>
                          <a:pt x="22" y="35"/>
                          <a:pt x="29" y="62"/>
                          <a:pt x="29" y="91"/>
                        </a:cubicBezTo>
                        <a:cubicBezTo>
                          <a:pt x="29" y="111"/>
                          <a:pt x="26" y="130"/>
                          <a:pt x="18" y="148"/>
                        </a:cubicBezTo>
                        <a:cubicBezTo>
                          <a:pt x="18" y="148"/>
                          <a:pt x="18" y="148"/>
                          <a:pt x="17" y="148"/>
                        </a:cubicBezTo>
                        <a:cubicBezTo>
                          <a:pt x="13" y="148"/>
                          <a:pt x="10" y="151"/>
                          <a:pt x="10" y="155"/>
                        </a:cubicBezTo>
                        <a:cubicBezTo>
                          <a:pt x="10" y="158"/>
                          <a:pt x="13" y="161"/>
                          <a:pt x="17" y="161"/>
                        </a:cubicBezTo>
                        <a:cubicBezTo>
                          <a:pt x="21" y="161"/>
                          <a:pt x="24" y="158"/>
                          <a:pt x="24" y="155"/>
                        </a:cubicBezTo>
                        <a:cubicBezTo>
                          <a:pt x="24" y="153"/>
                          <a:pt x="23" y="151"/>
                          <a:pt x="21" y="149"/>
                        </a:cubicBezTo>
                        <a:cubicBezTo>
                          <a:pt x="28" y="131"/>
                          <a:pt x="32" y="112"/>
                          <a:pt x="32" y="91"/>
                        </a:cubicBezTo>
                        <a:cubicBezTo>
                          <a:pt x="32" y="62"/>
                          <a:pt x="24" y="34"/>
                          <a:pt x="11" y="11"/>
                        </a:cubicBezTo>
                        <a:cubicBezTo>
                          <a:pt x="12" y="10"/>
                          <a:pt x="13" y="8"/>
                          <a:pt x="13" y="6"/>
                        </a:cubicBezTo>
                        <a:cubicBezTo>
                          <a:pt x="13" y="3"/>
                          <a:pt x="10" y="0"/>
                          <a:pt x="6" y="0"/>
                        </a:cubicBezTo>
                        <a:cubicBezTo>
                          <a:pt x="3" y="0"/>
                          <a:pt x="0" y="3"/>
                          <a:pt x="0" y="6"/>
                        </a:cubicBezTo>
                        <a:cubicBezTo>
                          <a:pt x="0" y="10"/>
                          <a:pt x="3" y="13"/>
                          <a:pt x="6" y="1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14" name="Oval 5">
                  <a:extLst>
                    <a:ext uri="{FF2B5EF4-FFF2-40B4-BE49-F238E27FC236}">
                      <a16:creationId xmlns:a16="http://schemas.microsoft.com/office/drawing/2014/main" id="{B8C3F290-2AD0-CA48-99F5-368A639AA69E}"/>
                    </a:ext>
                  </a:extLst>
                </p:cNvPr>
                <p:cNvSpPr>
                  <a:spLocks noChangeArrowheads="1"/>
                </p:cNvSpPr>
                <p:nvPr/>
              </p:nvSpPr>
              <p:spPr bwMode="auto">
                <a:xfrm flipH="1">
                  <a:off x="9837024" y="2452865"/>
                  <a:ext cx="1845770" cy="1842904"/>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5" name="Oval 6">
                  <a:extLst>
                    <a:ext uri="{FF2B5EF4-FFF2-40B4-BE49-F238E27FC236}">
                      <a16:creationId xmlns:a16="http://schemas.microsoft.com/office/drawing/2014/main" id="{CC97045D-3FFE-F046-8AE2-F9BF46573FE3}"/>
                    </a:ext>
                  </a:extLst>
                </p:cNvPr>
                <p:cNvSpPr>
                  <a:spLocks noChangeArrowheads="1"/>
                </p:cNvSpPr>
                <p:nvPr/>
              </p:nvSpPr>
              <p:spPr bwMode="auto">
                <a:xfrm flipH="1">
                  <a:off x="9865685" y="2472928"/>
                  <a:ext cx="1794180" cy="1794179"/>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6" name="Oval 7">
                  <a:extLst>
                    <a:ext uri="{FF2B5EF4-FFF2-40B4-BE49-F238E27FC236}">
                      <a16:creationId xmlns:a16="http://schemas.microsoft.com/office/drawing/2014/main" id="{9E7B7CC6-2517-EE46-B576-D488AA62D442}"/>
                    </a:ext>
                  </a:extLst>
                </p:cNvPr>
                <p:cNvSpPr>
                  <a:spLocks noChangeArrowheads="1"/>
                </p:cNvSpPr>
                <p:nvPr/>
              </p:nvSpPr>
              <p:spPr bwMode="auto">
                <a:xfrm flipH="1">
                  <a:off x="8131693" y="1100065"/>
                  <a:ext cx="1338470" cy="1338470"/>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7" name="Oval 8">
                  <a:extLst>
                    <a:ext uri="{FF2B5EF4-FFF2-40B4-BE49-F238E27FC236}">
                      <a16:creationId xmlns:a16="http://schemas.microsoft.com/office/drawing/2014/main" id="{A41E0FCD-DC67-DB45-B32F-D42C84858505}"/>
                    </a:ext>
                  </a:extLst>
                </p:cNvPr>
                <p:cNvSpPr>
                  <a:spLocks noChangeArrowheads="1"/>
                </p:cNvSpPr>
                <p:nvPr/>
              </p:nvSpPr>
              <p:spPr bwMode="auto">
                <a:xfrm flipH="1">
                  <a:off x="8143158" y="1120127"/>
                  <a:ext cx="1306943" cy="1306943"/>
                </a:xfrm>
                <a:prstGeom prst="ellipse">
                  <a:avLst/>
                </a:prstGeom>
                <a:solidFill>
                  <a:srgbClr val="E8E8E7"/>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8" name="Oval 9">
                  <a:extLst>
                    <a:ext uri="{FF2B5EF4-FFF2-40B4-BE49-F238E27FC236}">
                      <a16:creationId xmlns:a16="http://schemas.microsoft.com/office/drawing/2014/main" id="{C4A05EE0-443C-8946-8540-E037CC5C5023}"/>
                    </a:ext>
                  </a:extLst>
                </p:cNvPr>
                <p:cNvSpPr>
                  <a:spLocks noChangeArrowheads="1"/>
                </p:cNvSpPr>
                <p:nvPr/>
              </p:nvSpPr>
              <p:spPr bwMode="auto">
                <a:xfrm flipH="1">
                  <a:off x="7607196" y="2656358"/>
                  <a:ext cx="1175102" cy="1177968"/>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 name="Oval 10">
                  <a:extLst>
                    <a:ext uri="{FF2B5EF4-FFF2-40B4-BE49-F238E27FC236}">
                      <a16:creationId xmlns:a16="http://schemas.microsoft.com/office/drawing/2014/main" id="{891C0EAA-31AC-5141-BD60-2EAD4B14E2F6}"/>
                    </a:ext>
                  </a:extLst>
                </p:cNvPr>
                <p:cNvSpPr>
                  <a:spLocks noChangeArrowheads="1"/>
                </p:cNvSpPr>
                <p:nvPr/>
              </p:nvSpPr>
              <p:spPr bwMode="auto">
                <a:xfrm flipH="1">
                  <a:off x="7621527" y="2670689"/>
                  <a:ext cx="1149307" cy="1149307"/>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0" name="Oval 11">
                  <a:extLst>
                    <a:ext uri="{FF2B5EF4-FFF2-40B4-BE49-F238E27FC236}">
                      <a16:creationId xmlns:a16="http://schemas.microsoft.com/office/drawing/2014/main" id="{98F575C4-2613-FE48-89E9-AB3D6869F71D}"/>
                    </a:ext>
                  </a:extLst>
                </p:cNvPr>
                <p:cNvSpPr>
                  <a:spLocks noChangeArrowheads="1"/>
                </p:cNvSpPr>
                <p:nvPr/>
              </p:nvSpPr>
              <p:spPr bwMode="auto">
                <a:xfrm flipH="1">
                  <a:off x="8260668" y="4003427"/>
                  <a:ext cx="1026065" cy="10260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1" name="Oval 12">
                  <a:extLst>
                    <a:ext uri="{FF2B5EF4-FFF2-40B4-BE49-F238E27FC236}">
                      <a16:creationId xmlns:a16="http://schemas.microsoft.com/office/drawing/2014/main" id="{E18074D4-EF8A-BF48-BCE0-8C55AB3292C0}"/>
                    </a:ext>
                  </a:extLst>
                </p:cNvPr>
                <p:cNvSpPr>
                  <a:spLocks noChangeArrowheads="1"/>
                </p:cNvSpPr>
                <p:nvPr/>
              </p:nvSpPr>
              <p:spPr bwMode="auto">
                <a:xfrm flipH="1">
                  <a:off x="8272132" y="4017757"/>
                  <a:ext cx="1000270" cy="9974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2" name="Oval 13">
                  <a:extLst>
                    <a:ext uri="{FF2B5EF4-FFF2-40B4-BE49-F238E27FC236}">
                      <a16:creationId xmlns:a16="http://schemas.microsoft.com/office/drawing/2014/main" id="{49D972A6-857E-E848-B907-AC4CD6A178BF}"/>
                    </a:ext>
                  </a:extLst>
                </p:cNvPr>
                <p:cNvSpPr>
                  <a:spLocks noChangeArrowheads="1"/>
                </p:cNvSpPr>
                <p:nvPr/>
              </p:nvSpPr>
              <p:spPr bwMode="auto">
                <a:xfrm flipH="1">
                  <a:off x="9409975" y="4831730"/>
                  <a:ext cx="856965" cy="8569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3" name="Oval 14">
                  <a:extLst>
                    <a:ext uri="{FF2B5EF4-FFF2-40B4-BE49-F238E27FC236}">
                      <a16:creationId xmlns:a16="http://schemas.microsoft.com/office/drawing/2014/main" id="{432772F0-6299-964F-AD22-3F123EADDEF0}"/>
                    </a:ext>
                  </a:extLst>
                </p:cNvPr>
                <p:cNvSpPr>
                  <a:spLocks noChangeArrowheads="1"/>
                </p:cNvSpPr>
                <p:nvPr/>
              </p:nvSpPr>
              <p:spPr bwMode="auto">
                <a:xfrm flipH="1">
                  <a:off x="9415707" y="4846061"/>
                  <a:ext cx="836902" cy="8283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4" name="Freeform 15">
                  <a:extLst>
                    <a:ext uri="{FF2B5EF4-FFF2-40B4-BE49-F238E27FC236}">
                      <a16:creationId xmlns:a16="http://schemas.microsoft.com/office/drawing/2014/main" id="{1C2C7BB5-494F-1641-84CD-3CF8617C7916}"/>
                    </a:ext>
                  </a:extLst>
                </p:cNvPr>
                <p:cNvSpPr>
                  <a:spLocks/>
                </p:cNvSpPr>
                <p:nvPr/>
              </p:nvSpPr>
              <p:spPr bwMode="auto">
                <a:xfrm flipH="1">
                  <a:off x="9994660" y="2601902"/>
                  <a:ext cx="1536231" cy="1536231"/>
                </a:xfrm>
                <a:custGeom>
                  <a:avLst/>
                  <a:gdLst>
                    <a:gd name="T0" fmla="*/ 224 w 226"/>
                    <a:gd name="T1" fmla="*/ 117 h 226"/>
                    <a:gd name="T2" fmla="*/ 117 w 226"/>
                    <a:gd name="T3" fmla="*/ 2 h 226"/>
                    <a:gd name="T4" fmla="*/ 2 w 226"/>
                    <a:gd name="T5" fmla="*/ 110 h 226"/>
                    <a:gd name="T6" fmla="*/ 109 w 226"/>
                    <a:gd name="T7" fmla="*/ 224 h 226"/>
                    <a:gd name="T8" fmla="*/ 224 w 226"/>
                    <a:gd name="T9" fmla="*/ 117 h 226"/>
                  </a:gdLst>
                  <a:ahLst/>
                  <a:cxnLst>
                    <a:cxn ang="0">
                      <a:pos x="T0" y="T1"/>
                    </a:cxn>
                    <a:cxn ang="0">
                      <a:pos x="T2" y="T3"/>
                    </a:cxn>
                    <a:cxn ang="0">
                      <a:pos x="T4" y="T5"/>
                    </a:cxn>
                    <a:cxn ang="0">
                      <a:pos x="T6" y="T7"/>
                    </a:cxn>
                    <a:cxn ang="0">
                      <a:pos x="T8" y="T9"/>
                    </a:cxn>
                  </a:cxnLst>
                  <a:rect l="0" t="0" r="r" b="b"/>
                  <a:pathLst>
                    <a:path w="226" h="226">
                      <a:moveTo>
                        <a:pt x="224" y="117"/>
                      </a:moveTo>
                      <a:cubicBezTo>
                        <a:pt x="226" y="56"/>
                        <a:pt x="178" y="4"/>
                        <a:pt x="117" y="2"/>
                      </a:cubicBezTo>
                      <a:cubicBezTo>
                        <a:pt x="55" y="0"/>
                        <a:pt x="4" y="48"/>
                        <a:pt x="2" y="110"/>
                      </a:cubicBezTo>
                      <a:cubicBezTo>
                        <a:pt x="0" y="171"/>
                        <a:pt x="48" y="222"/>
                        <a:pt x="109" y="224"/>
                      </a:cubicBezTo>
                      <a:cubicBezTo>
                        <a:pt x="171" y="226"/>
                        <a:pt x="222" y="178"/>
                        <a:pt x="224" y="117"/>
                      </a:cubicBezTo>
                      <a:close/>
                    </a:path>
                  </a:pathLst>
                </a:custGeom>
                <a:solidFill>
                  <a:srgbClr val="86BC25"/>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5" name="Freeform 16">
                  <a:extLst>
                    <a:ext uri="{FF2B5EF4-FFF2-40B4-BE49-F238E27FC236}">
                      <a16:creationId xmlns:a16="http://schemas.microsoft.com/office/drawing/2014/main" id="{4BAEABA5-990E-D645-89D9-CB2015CEB7DE}"/>
                    </a:ext>
                  </a:extLst>
                </p:cNvPr>
                <p:cNvSpPr>
                  <a:spLocks/>
                </p:cNvSpPr>
                <p:nvPr/>
              </p:nvSpPr>
              <p:spPr bwMode="auto">
                <a:xfrm flipH="1">
                  <a:off x="8236896" y="1219566"/>
                  <a:ext cx="1100583" cy="1100582"/>
                </a:xfrm>
                <a:custGeom>
                  <a:avLst/>
                  <a:gdLst>
                    <a:gd name="T0" fmla="*/ 160 w 162"/>
                    <a:gd name="T1" fmla="*/ 83 h 162"/>
                    <a:gd name="T2" fmla="*/ 83 w 162"/>
                    <a:gd name="T3" fmla="*/ 1 h 162"/>
                    <a:gd name="T4" fmla="*/ 1 w 162"/>
                    <a:gd name="T5" fmla="*/ 78 h 162"/>
                    <a:gd name="T6" fmla="*/ 78 w 162"/>
                    <a:gd name="T7" fmla="*/ 160 h 162"/>
                    <a:gd name="T8" fmla="*/ 160 w 162"/>
                    <a:gd name="T9" fmla="*/ 83 h 162"/>
                  </a:gdLst>
                  <a:ahLst/>
                  <a:cxnLst>
                    <a:cxn ang="0">
                      <a:pos x="T0" y="T1"/>
                    </a:cxn>
                    <a:cxn ang="0">
                      <a:pos x="T2" y="T3"/>
                    </a:cxn>
                    <a:cxn ang="0">
                      <a:pos x="T4" y="T5"/>
                    </a:cxn>
                    <a:cxn ang="0">
                      <a:pos x="T6" y="T7"/>
                    </a:cxn>
                    <a:cxn ang="0">
                      <a:pos x="T8" y="T9"/>
                    </a:cxn>
                  </a:cxnLst>
                  <a:rect l="0" t="0" r="r" b="b"/>
                  <a:pathLst>
                    <a:path w="162" h="162">
                      <a:moveTo>
                        <a:pt x="160" y="83"/>
                      </a:moveTo>
                      <a:cubicBezTo>
                        <a:pt x="162" y="40"/>
                        <a:pt x="127" y="3"/>
                        <a:pt x="83" y="1"/>
                      </a:cubicBezTo>
                      <a:cubicBezTo>
                        <a:pt x="40" y="0"/>
                        <a:pt x="3" y="34"/>
                        <a:pt x="1" y="78"/>
                      </a:cubicBezTo>
                      <a:cubicBezTo>
                        <a:pt x="0" y="122"/>
                        <a:pt x="34" y="159"/>
                        <a:pt x="78" y="160"/>
                      </a:cubicBezTo>
                      <a:cubicBezTo>
                        <a:pt x="122" y="162"/>
                        <a:pt x="159" y="127"/>
                        <a:pt x="160" y="83"/>
                      </a:cubicBezTo>
                      <a:close/>
                    </a:path>
                  </a:pathLst>
                </a:custGeom>
                <a:solidFill>
                  <a:schemeClr val="accent2"/>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6" name="Freeform 17">
                  <a:extLst>
                    <a:ext uri="{FF2B5EF4-FFF2-40B4-BE49-F238E27FC236}">
                      <a16:creationId xmlns:a16="http://schemas.microsoft.com/office/drawing/2014/main" id="{282330DA-4AC4-7C4F-B79C-8FB9399C1CFA}"/>
                    </a:ext>
                  </a:extLst>
                </p:cNvPr>
                <p:cNvSpPr>
                  <a:spLocks/>
                </p:cNvSpPr>
                <p:nvPr/>
              </p:nvSpPr>
              <p:spPr bwMode="auto">
                <a:xfrm flipH="1">
                  <a:off x="7708891" y="2771415"/>
                  <a:ext cx="937848" cy="946632"/>
                </a:xfrm>
                <a:custGeom>
                  <a:avLst/>
                  <a:gdLst>
                    <a:gd name="T0" fmla="*/ 134 w 135"/>
                    <a:gd name="T1" fmla="*/ 70 h 135"/>
                    <a:gd name="T2" fmla="*/ 70 w 135"/>
                    <a:gd name="T3" fmla="*/ 1 h 135"/>
                    <a:gd name="T4" fmla="*/ 1 w 135"/>
                    <a:gd name="T5" fmla="*/ 65 h 135"/>
                    <a:gd name="T6" fmla="*/ 65 w 135"/>
                    <a:gd name="T7" fmla="*/ 134 h 135"/>
                    <a:gd name="T8" fmla="*/ 134 w 135"/>
                    <a:gd name="T9" fmla="*/ 70 h 135"/>
                  </a:gdLst>
                  <a:ahLst/>
                  <a:cxnLst>
                    <a:cxn ang="0">
                      <a:pos x="T0" y="T1"/>
                    </a:cxn>
                    <a:cxn ang="0">
                      <a:pos x="T2" y="T3"/>
                    </a:cxn>
                    <a:cxn ang="0">
                      <a:pos x="T4" y="T5"/>
                    </a:cxn>
                    <a:cxn ang="0">
                      <a:pos x="T6" y="T7"/>
                    </a:cxn>
                    <a:cxn ang="0">
                      <a:pos x="T8" y="T9"/>
                    </a:cxn>
                  </a:cxnLst>
                  <a:rect l="0" t="0" r="r" b="b"/>
                  <a:pathLst>
                    <a:path w="135" h="135">
                      <a:moveTo>
                        <a:pt x="134" y="70"/>
                      </a:moveTo>
                      <a:cubicBezTo>
                        <a:pt x="135" y="33"/>
                        <a:pt x="107" y="2"/>
                        <a:pt x="70" y="1"/>
                      </a:cubicBezTo>
                      <a:cubicBezTo>
                        <a:pt x="33" y="0"/>
                        <a:pt x="2" y="28"/>
                        <a:pt x="1" y="65"/>
                      </a:cubicBezTo>
                      <a:cubicBezTo>
                        <a:pt x="0" y="102"/>
                        <a:pt x="29" y="133"/>
                        <a:pt x="65" y="134"/>
                      </a:cubicBezTo>
                      <a:cubicBezTo>
                        <a:pt x="102" y="135"/>
                        <a:pt x="133" y="106"/>
                        <a:pt x="134" y="70"/>
                      </a:cubicBezTo>
                      <a:close/>
                    </a:path>
                  </a:pathLst>
                </a:custGeom>
                <a:solidFill>
                  <a:schemeClr val="accent3"/>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Freeform 18">
                  <a:extLst>
                    <a:ext uri="{FF2B5EF4-FFF2-40B4-BE49-F238E27FC236}">
                      <a16:creationId xmlns:a16="http://schemas.microsoft.com/office/drawing/2014/main" id="{734F729F-A64E-2440-BA14-F528E59DF953}"/>
                    </a:ext>
                  </a:extLst>
                </p:cNvPr>
                <p:cNvSpPr>
                  <a:spLocks/>
                </p:cNvSpPr>
                <p:nvPr/>
              </p:nvSpPr>
              <p:spPr bwMode="auto">
                <a:xfrm flipH="1">
                  <a:off x="8355661" y="4098419"/>
                  <a:ext cx="813973" cy="816839"/>
                </a:xfrm>
                <a:custGeom>
                  <a:avLst/>
                  <a:gdLst>
                    <a:gd name="T0" fmla="*/ 119 w 120"/>
                    <a:gd name="T1" fmla="*/ 62 h 120"/>
                    <a:gd name="T2" fmla="*/ 62 w 120"/>
                    <a:gd name="T3" fmla="*/ 1 h 120"/>
                    <a:gd name="T4" fmla="*/ 1 w 120"/>
                    <a:gd name="T5" fmla="*/ 58 h 120"/>
                    <a:gd name="T6" fmla="*/ 58 w 120"/>
                    <a:gd name="T7" fmla="*/ 119 h 120"/>
                    <a:gd name="T8" fmla="*/ 119 w 120"/>
                    <a:gd name="T9" fmla="*/ 62 h 120"/>
                  </a:gdLst>
                  <a:ahLst/>
                  <a:cxnLst>
                    <a:cxn ang="0">
                      <a:pos x="T0" y="T1"/>
                    </a:cxn>
                    <a:cxn ang="0">
                      <a:pos x="T2" y="T3"/>
                    </a:cxn>
                    <a:cxn ang="0">
                      <a:pos x="T4" y="T5"/>
                    </a:cxn>
                    <a:cxn ang="0">
                      <a:pos x="T6" y="T7"/>
                    </a:cxn>
                    <a:cxn ang="0">
                      <a:pos x="T8" y="T9"/>
                    </a:cxn>
                  </a:cxnLst>
                  <a:rect l="0" t="0" r="r" b="b"/>
                  <a:pathLst>
                    <a:path w="120" h="120">
                      <a:moveTo>
                        <a:pt x="119" y="62"/>
                      </a:moveTo>
                      <a:cubicBezTo>
                        <a:pt x="120" y="29"/>
                        <a:pt x="95" y="2"/>
                        <a:pt x="62" y="1"/>
                      </a:cubicBezTo>
                      <a:cubicBezTo>
                        <a:pt x="30" y="0"/>
                        <a:pt x="2" y="25"/>
                        <a:pt x="1" y="58"/>
                      </a:cubicBezTo>
                      <a:cubicBezTo>
                        <a:pt x="0" y="90"/>
                        <a:pt x="26" y="117"/>
                        <a:pt x="58" y="119"/>
                      </a:cubicBezTo>
                      <a:cubicBezTo>
                        <a:pt x="91" y="120"/>
                        <a:pt x="118" y="94"/>
                        <a:pt x="119" y="62"/>
                      </a:cubicBezTo>
                      <a:close/>
                    </a:path>
                  </a:pathLst>
                </a:custGeom>
                <a:solidFill>
                  <a:schemeClr val="accent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8" name="Freeform 19">
                  <a:extLst>
                    <a:ext uri="{FF2B5EF4-FFF2-40B4-BE49-F238E27FC236}">
                      <a16:creationId xmlns:a16="http://schemas.microsoft.com/office/drawing/2014/main" id="{0A8C4A66-A468-7C4C-AC1A-A1D05389F8D2}"/>
                    </a:ext>
                  </a:extLst>
                </p:cNvPr>
                <p:cNvSpPr>
                  <a:spLocks/>
                </p:cNvSpPr>
                <p:nvPr/>
              </p:nvSpPr>
              <p:spPr bwMode="auto">
                <a:xfrm flipH="1">
                  <a:off x="9504969" y="4926723"/>
                  <a:ext cx="639141" cy="639141"/>
                </a:xfrm>
                <a:custGeom>
                  <a:avLst/>
                  <a:gdLst>
                    <a:gd name="T0" fmla="*/ 94 w 94"/>
                    <a:gd name="T1" fmla="*/ 49 h 94"/>
                    <a:gd name="T2" fmla="*/ 49 w 94"/>
                    <a:gd name="T3" fmla="*/ 1 h 94"/>
                    <a:gd name="T4" fmla="*/ 1 w 94"/>
                    <a:gd name="T5" fmla="*/ 45 h 94"/>
                    <a:gd name="T6" fmla="*/ 46 w 94"/>
                    <a:gd name="T7" fmla="*/ 93 h 94"/>
                    <a:gd name="T8" fmla="*/ 94 w 94"/>
                    <a:gd name="T9" fmla="*/ 49 h 94"/>
                  </a:gdLst>
                  <a:ahLst/>
                  <a:cxnLst>
                    <a:cxn ang="0">
                      <a:pos x="T0" y="T1"/>
                    </a:cxn>
                    <a:cxn ang="0">
                      <a:pos x="T2" y="T3"/>
                    </a:cxn>
                    <a:cxn ang="0">
                      <a:pos x="T4" y="T5"/>
                    </a:cxn>
                    <a:cxn ang="0">
                      <a:pos x="T6" y="T7"/>
                    </a:cxn>
                    <a:cxn ang="0">
                      <a:pos x="T8" y="T9"/>
                    </a:cxn>
                  </a:cxnLst>
                  <a:rect l="0" t="0" r="r" b="b"/>
                  <a:pathLst>
                    <a:path w="94" h="94">
                      <a:moveTo>
                        <a:pt x="94" y="49"/>
                      </a:moveTo>
                      <a:cubicBezTo>
                        <a:pt x="94" y="23"/>
                        <a:pt x="74" y="2"/>
                        <a:pt x="49" y="1"/>
                      </a:cubicBezTo>
                      <a:cubicBezTo>
                        <a:pt x="23" y="0"/>
                        <a:pt x="2" y="20"/>
                        <a:pt x="1" y="45"/>
                      </a:cubicBezTo>
                      <a:cubicBezTo>
                        <a:pt x="0" y="71"/>
                        <a:pt x="20" y="92"/>
                        <a:pt x="46" y="93"/>
                      </a:cubicBezTo>
                      <a:cubicBezTo>
                        <a:pt x="71" y="94"/>
                        <a:pt x="93" y="74"/>
                        <a:pt x="94" y="49"/>
                      </a:cubicBezTo>
                      <a:close/>
                    </a:path>
                  </a:pathLst>
                </a:custGeom>
                <a:solidFill>
                  <a:schemeClr val="accent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11" name="Rectangle 2">
                <a:extLst>
                  <a:ext uri="{FF2B5EF4-FFF2-40B4-BE49-F238E27FC236}">
                    <a16:creationId xmlns:a16="http://schemas.microsoft.com/office/drawing/2014/main" id="{45D270B1-A19B-1742-A042-2806BA2245ED}"/>
                  </a:ext>
                </a:extLst>
              </p:cNvPr>
              <p:cNvSpPr/>
              <p:nvPr/>
            </p:nvSpPr>
            <p:spPr>
              <a:xfrm>
                <a:off x="838323" y="3172736"/>
                <a:ext cx="1349568" cy="4735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prstClr val="white"/>
                    </a:solidFill>
                    <a:effectLst/>
                    <a:uLnTx/>
                    <a:uFillTx/>
                    <a:ea typeface="+mn-ea"/>
                    <a:cs typeface="+mn-cs"/>
                  </a:rPr>
                  <a:t>XXXXX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prstClr val="white"/>
                    </a:solidFill>
                    <a:effectLst/>
                    <a:uLnTx/>
                    <a:uFillTx/>
                    <a:latin typeface="Calibri Light"/>
                    <a:ea typeface="+mn-ea"/>
                    <a:cs typeface="+mn-cs"/>
                  </a:rPr>
                  <a:t>XXXX</a:t>
                </a:r>
              </a:p>
            </p:txBody>
          </p:sp>
          <p:sp>
            <p:nvSpPr>
              <p:cNvPr id="12" name="Freeform 20">
                <a:extLst>
                  <a:ext uri="{FF2B5EF4-FFF2-40B4-BE49-F238E27FC236}">
                    <a16:creationId xmlns:a16="http://schemas.microsoft.com/office/drawing/2014/main" id="{EA93E018-1BE0-E146-B01A-5C44028E3FE3}"/>
                  </a:ext>
                </a:extLst>
              </p:cNvPr>
              <p:cNvSpPr>
                <a:spLocks/>
              </p:cNvSpPr>
              <p:nvPr/>
            </p:nvSpPr>
            <p:spPr bwMode="auto">
              <a:xfrm rot="5225439">
                <a:off x="2310906" y="5232793"/>
                <a:ext cx="206598" cy="1025146"/>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6" name="Freeform 690">
              <a:extLst>
                <a:ext uri="{FF2B5EF4-FFF2-40B4-BE49-F238E27FC236}">
                  <a16:creationId xmlns:a16="http://schemas.microsoft.com/office/drawing/2014/main" id="{B0C3E7EE-FACE-8341-BB8A-DD07D576D410}"/>
                </a:ext>
              </a:extLst>
            </p:cNvPr>
            <p:cNvSpPr>
              <a:spLocks noEditPoints="1"/>
            </p:cNvSpPr>
            <p:nvPr/>
          </p:nvSpPr>
          <p:spPr bwMode="auto">
            <a:xfrm>
              <a:off x="3204339" y="4758575"/>
              <a:ext cx="385409" cy="405506"/>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 name="Freeform 426">
              <a:extLst>
                <a:ext uri="{FF2B5EF4-FFF2-40B4-BE49-F238E27FC236}">
                  <a16:creationId xmlns:a16="http://schemas.microsoft.com/office/drawing/2014/main" id="{021EB073-2C87-8343-A2B4-4C37E935CC60}"/>
                </a:ext>
              </a:extLst>
            </p:cNvPr>
            <p:cNvSpPr>
              <a:spLocks/>
            </p:cNvSpPr>
            <p:nvPr/>
          </p:nvSpPr>
          <p:spPr bwMode="auto">
            <a:xfrm>
              <a:off x="2275394" y="5547779"/>
              <a:ext cx="327456" cy="183782"/>
            </a:xfrm>
            <a:custGeom>
              <a:avLst/>
              <a:gdLst>
                <a:gd name="T0" fmla="*/ 319 w 319"/>
                <a:gd name="T1" fmla="*/ 85 h 171"/>
                <a:gd name="T2" fmla="*/ 245 w 319"/>
                <a:gd name="T3" fmla="*/ 159 h 171"/>
                <a:gd name="T4" fmla="*/ 202 w 319"/>
                <a:gd name="T5" fmla="*/ 145 h 171"/>
                <a:gd name="T6" fmla="*/ 202 w 319"/>
                <a:gd name="T7" fmla="*/ 160 h 171"/>
                <a:gd name="T8" fmla="*/ 192 w 319"/>
                <a:gd name="T9" fmla="*/ 171 h 171"/>
                <a:gd name="T10" fmla="*/ 181 w 319"/>
                <a:gd name="T11" fmla="*/ 160 h 171"/>
                <a:gd name="T12" fmla="*/ 181 w 319"/>
                <a:gd name="T13" fmla="*/ 118 h 171"/>
                <a:gd name="T14" fmla="*/ 192 w 319"/>
                <a:gd name="T15" fmla="*/ 107 h 171"/>
                <a:gd name="T16" fmla="*/ 234 w 319"/>
                <a:gd name="T17" fmla="*/ 107 h 171"/>
                <a:gd name="T18" fmla="*/ 245 w 319"/>
                <a:gd name="T19" fmla="*/ 118 h 171"/>
                <a:gd name="T20" fmla="*/ 234 w 319"/>
                <a:gd name="T21" fmla="*/ 128 h 171"/>
                <a:gd name="T22" fmla="*/ 215 w 319"/>
                <a:gd name="T23" fmla="*/ 128 h 171"/>
                <a:gd name="T24" fmla="*/ 245 w 319"/>
                <a:gd name="T25" fmla="*/ 138 h 171"/>
                <a:gd name="T26" fmla="*/ 298 w 319"/>
                <a:gd name="T27" fmla="*/ 85 h 171"/>
                <a:gd name="T28" fmla="*/ 245 w 319"/>
                <a:gd name="T29" fmla="*/ 32 h 171"/>
                <a:gd name="T30" fmla="*/ 207 w 319"/>
                <a:gd name="T31" fmla="*/ 48 h 171"/>
                <a:gd name="T32" fmla="*/ 128 w 319"/>
                <a:gd name="T33" fmla="*/ 138 h 171"/>
                <a:gd name="T34" fmla="*/ 74 w 319"/>
                <a:gd name="T35" fmla="*/ 160 h 171"/>
                <a:gd name="T36" fmla="*/ 0 w 319"/>
                <a:gd name="T37" fmla="*/ 86 h 171"/>
                <a:gd name="T38" fmla="*/ 74 w 319"/>
                <a:gd name="T39" fmla="*/ 11 h 171"/>
                <a:gd name="T40" fmla="*/ 117 w 319"/>
                <a:gd name="T41" fmla="*/ 24 h 171"/>
                <a:gd name="T42" fmla="*/ 117 w 319"/>
                <a:gd name="T43" fmla="*/ 11 h 171"/>
                <a:gd name="T44" fmla="*/ 128 w 319"/>
                <a:gd name="T45" fmla="*/ 0 h 171"/>
                <a:gd name="T46" fmla="*/ 138 w 319"/>
                <a:gd name="T47" fmla="*/ 11 h 171"/>
                <a:gd name="T48" fmla="*/ 138 w 319"/>
                <a:gd name="T49" fmla="*/ 54 h 171"/>
                <a:gd name="T50" fmla="*/ 128 w 319"/>
                <a:gd name="T51" fmla="*/ 64 h 171"/>
                <a:gd name="T52" fmla="*/ 85 w 319"/>
                <a:gd name="T53" fmla="*/ 64 h 171"/>
                <a:gd name="T54" fmla="*/ 74 w 319"/>
                <a:gd name="T55" fmla="*/ 54 h 171"/>
                <a:gd name="T56" fmla="*/ 85 w 319"/>
                <a:gd name="T57" fmla="*/ 43 h 171"/>
                <a:gd name="T58" fmla="*/ 106 w 319"/>
                <a:gd name="T59" fmla="*/ 43 h 171"/>
                <a:gd name="T60" fmla="*/ 74 w 319"/>
                <a:gd name="T61" fmla="*/ 32 h 171"/>
                <a:gd name="T62" fmla="*/ 21 w 319"/>
                <a:gd name="T63" fmla="*/ 86 h 171"/>
                <a:gd name="T64" fmla="*/ 74 w 319"/>
                <a:gd name="T65" fmla="*/ 139 h 171"/>
                <a:gd name="T66" fmla="*/ 112 w 319"/>
                <a:gd name="T67" fmla="*/ 123 h 171"/>
                <a:gd name="T68" fmla="*/ 192 w 319"/>
                <a:gd name="T69" fmla="*/ 33 h 171"/>
                <a:gd name="T70" fmla="*/ 245 w 319"/>
                <a:gd name="T71" fmla="*/ 11 h 171"/>
                <a:gd name="T72" fmla="*/ 319 w 319"/>
                <a:gd name="T7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9" h="171">
                  <a:moveTo>
                    <a:pt x="319" y="85"/>
                  </a:moveTo>
                  <a:cubicBezTo>
                    <a:pt x="319" y="126"/>
                    <a:pt x="286" y="159"/>
                    <a:pt x="245" y="159"/>
                  </a:cubicBezTo>
                  <a:cubicBezTo>
                    <a:pt x="229" y="159"/>
                    <a:pt x="215" y="154"/>
                    <a:pt x="202" y="145"/>
                  </a:cubicBezTo>
                  <a:cubicBezTo>
                    <a:pt x="202" y="160"/>
                    <a:pt x="202" y="160"/>
                    <a:pt x="202" y="160"/>
                  </a:cubicBezTo>
                  <a:cubicBezTo>
                    <a:pt x="202" y="166"/>
                    <a:pt x="198" y="171"/>
                    <a:pt x="192" y="171"/>
                  </a:cubicBezTo>
                  <a:cubicBezTo>
                    <a:pt x="186" y="171"/>
                    <a:pt x="181" y="166"/>
                    <a:pt x="181" y="160"/>
                  </a:cubicBezTo>
                  <a:cubicBezTo>
                    <a:pt x="181" y="118"/>
                    <a:pt x="181" y="118"/>
                    <a:pt x="181" y="118"/>
                  </a:cubicBezTo>
                  <a:cubicBezTo>
                    <a:pt x="181" y="112"/>
                    <a:pt x="186" y="107"/>
                    <a:pt x="192" y="107"/>
                  </a:cubicBezTo>
                  <a:cubicBezTo>
                    <a:pt x="234" y="107"/>
                    <a:pt x="234" y="107"/>
                    <a:pt x="234" y="107"/>
                  </a:cubicBezTo>
                  <a:cubicBezTo>
                    <a:pt x="240" y="107"/>
                    <a:pt x="245" y="112"/>
                    <a:pt x="245" y="118"/>
                  </a:cubicBezTo>
                  <a:cubicBezTo>
                    <a:pt x="245" y="124"/>
                    <a:pt x="240" y="128"/>
                    <a:pt x="234" y="128"/>
                  </a:cubicBezTo>
                  <a:cubicBezTo>
                    <a:pt x="215" y="128"/>
                    <a:pt x="215" y="128"/>
                    <a:pt x="215" y="128"/>
                  </a:cubicBezTo>
                  <a:cubicBezTo>
                    <a:pt x="224" y="134"/>
                    <a:pt x="234" y="138"/>
                    <a:pt x="245" y="138"/>
                  </a:cubicBezTo>
                  <a:cubicBezTo>
                    <a:pt x="274" y="138"/>
                    <a:pt x="298" y="114"/>
                    <a:pt x="298" y="85"/>
                  </a:cubicBezTo>
                  <a:cubicBezTo>
                    <a:pt x="298" y="56"/>
                    <a:pt x="274" y="32"/>
                    <a:pt x="245" y="32"/>
                  </a:cubicBezTo>
                  <a:cubicBezTo>
                    <a:pt x="231" y="32"/>
                    <a:pt x="217" y="38"/>
                    <a:pt x="207" y="48"/>
                  </a:cubicBezTo>
                  <a:cubicBezTo>
                    <a:pt x="128" y="138"/>
                    <a:pt x="128" y="138"/>
                    <a:pt x="128" y="138"/>
                  </a:cubicBezTo>
                  <a:cubicBezTo>
                    <a:pt x="113" y="153"/>
                    <a:pt x="94" y="160"/>
                    <a:pt x="74" y="160"/>
                  </a:cubicBezTo>
                  <a:cubicBezTo>
                    <a:pt x="33" y="160"/>
                    <a:pt x="0" y="127"/>
                    <a:pt x="0" y="86"/>
                  </a:cubicBezTo>
                  <a:cubicBezTo>
                    <a:pt x="0" y="44"/>
                    <a:pt x="33" y="11"/>
                    <a:pt x="74" y="11"/>
                  </a:cubicBezTo>
                  <a:cubicBezTo>
                    <a:pt x="90" y="11"/>
                    <a:pt x="105" y="16"/>
                    <a:pt x="117" y="24"/>
                  </a:cubicBezTo>
                  <a:cubicBezTo>
                    <a:pt x="117" y="11"/>
                    <a:pt x="117" y="11"/>
                    <a:pt x="117" y="11"/>
                  </a:cubicBezTo>
                  <a:cubicBezTo>
                    <a:pt x="117" y="5"/>
                    <a:pt x="122" y="0"/>
                    <a:pt x="128" y="0"/>
                  </a:cubicBezTo>
                  <a:cubicBezTo>
                    <a:pt x="134" y="0"/>
                    <a:pt x="138" y="5"/>
                    <a:pt x="138" y="11"/>
                  </a:cubicBezTo>
                  <a:cubicBezTo>
                    <a:pt x="138" y="54"/>
                    <a:pt x="138" y="54"/>
                    <a:pt x="138" y="54"/>
                  </a:cubicBezTo>
                  <a:cubicBezTo>
                    <a:pt x="138" y="60"/>
                    <a:pt x="134" y="64"/>
                    <a:pt x="128" y="64"/>
                  </a:cubicBezTo>
                  <a:cubicBezTo>
                    <a:pt x="85" y="64"/>
                    <a:pt x="85" y="64"/>
                    <a:pt x="85" y="64"/>
                  </a:cubicBezTo>
                  <a:cubicBezTo>
                    <a:pt x="79" y="64"/>
                    <a:pt x="74" y="60"/>
                    <a:pt x="74" y="54"/>
                  </a:cubicBezTo>
                  <a:cubicBezTo>
                    <a:pt x="74" y="48"/>
                    <a:pt x="79" y="43"/>
                    <a:pt x="85" y="43"/>
                  </a:cubicBezTo>
                  <a:cubicBezTo>
                    <a:pt x="106" y="43"/>
                    <a:pt x="106" y="43"/>
                    <a:pt x="106" y="43"/>
                  </a:cubicBezTo>
                  <a:cubicBezTo>
                    <a:pt x="97" y="36"/>
                    <a:pt x="86" y="32"/>
                    <a:pt x="74" y="32"/>
                  </a:cubicBezTo>
                  <a:cubicBezTo>
                    <a:pt x="45" y="32"/>
                    <a:pt x="21" y="56"/>
                    <a:pt x="21" y="86"/>
                  </a:cubicBezTo>
                  <a:cubicBezTo>
                    <a:pt x="21" y="115"/>
                    <a:pt x="45" y="139"/>
                    <a:pt x="74" y="139"/>
                  </a:cubicBezTo>
                  <a:cubicBezTo>
                    <a:pt x="89" y="139"/>
                    <a:pt x="102" y="133"/>
                    <a:pt x="112" y="123"/>
                  </a:cubicBezTo>
                  <a:cubicBezTo>
                    <a:pt x="192" y="33"/>
                    <a:pt x="192" y="33"/>
                    <a:pt x="192" y="33"/>
                  </a:cubicBezTo>
                  <a:cubicBezTo>
                    <a:pt x="206" y="19"/>
                    <a:pt x="225" y="11"/>
                    <a:pt x="245" y="11"/>
                  </a:cubicBezTo>
                  <a:cubicBezTo>
                    <a:pt x="286" y="11"/>
                    <a:pt x="319" y="44"/>
                    <a:pt x="319" y="8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 name="Freeform 501">
              <a:extLst>
                <a:ext uri="{FF2B5EF4-FFF2-40B4-BE49-F238E27FC236}">
                  <a16:creationId xmlns:a16="http://schemas.microsoft.com/office/drawing/2014/main" id="{82722D91-7D6F-2749-9285-509153922B73}"/>
                </a:ext>
              </a:extLst>
            </p:cNvPr>
            <p:cNvSpPr>
              <a:spLocks noEditPoints="1"/>
            </p:cNvSpPr>
            <p:nvPr/>
          </p:nvSpPr>
          <p:spPr bwMode="auto">
            <a:xfrm>
              <a:off x="3160887" y="2209935"/>
              <a:ext cx="472312" cy="489509"/>
            </a:xfrm>
            <a:custGeom>
              <a:avLst/>
              <a:gdLst>
                <a:gd name="T0" fmla="*/ 227 w 242"/>
                <a:gd name="T1" fmla="*/ 9 h 241"/>
                <a:gd name="T2" fmla="*/ 221 w 242"/>
                <a:gd name="T3" fmla="*/ 1 h 241"/>
                <a:gd name="T4" fmla="*/ 210 w 242"/>
                <a:gd name="T5" fmla="*/ 3 h 241"/>
                <a:gd name="T6" fmla="*/ 113 w 242"/>
                <a:gd name="T7" fmla="*/ 35 h 241"/>
                <a:gd name="T8" fmla="*/ 42 w 242"/>
                <a:gd name="T9" fmla="*/ 54 h 241"/>
                <a:gd name="T10" fmla="*/ 4 w 242"/>
                <a:gd name="T11" fmla="*/ 121 h 241"/>
                <a:gd name="T12" fmla="*/ 24 w 242"/>
                <a:gd name="T13" fmla="*/ 188 h 241"/>
                <a:gd name="T14" fmla="*/ 0 w 242"/>
                <a:gd name="T15" fmla="*/ 230 h 241"/>
                <a:gd name="T16" fmla="*/ 11 w 242"/>
                <a:gd name="T17" fmla="*/ 241 h 241"/>
                <a:gd name="T18" fmla="*/ 11 w 242"/>
                <a:gd name="T19" fmla="*/ 241 h 241"/>
                <a:gd name="T20" fmla="*/ 21 w 242"/>
                <a:gd name="T21" fmla="*/ 230 h 241"/>
                <a:gd name="T22" fmla="*/ 39 w 242"/>
                <a:gd name="T23" fmla="*/ 203 h 241"/>
                <a:gd name="T24" fmla="*/ 100 w 242"/>
                <a:gd name="T25" fmla="*/ 225 h 241"/>
                <a:gd name="T26" fmla="*/ 174 w 242"/>
                <a:gd name="T27" fmla="*/ 193 h 241"/>
                <a:gd name="T28" fmla="*/ 227 w 242"/>
                <a:gd name="T29" fmla="*/ 9 h 241"/>
                <a:gd name="T30" fmla="*/ 159 w 242"/>
                <a:gd name="T31" fmla="*/ 178 h 241"/>
                <a:gd name="T32" fmla="*/ 47 w 242"/>
                <a:gd name="T33" fmla="*/ 181 h 241"/>
                <a:gd name="T34" fmla="*/ 25 w 242"/>
                <a:gd name="T35" fmla="*/ 123 h 241"/>
                <a:gd name="T36" fmla="*/ 55 w 242"/>
                <a:gd name="T37" fmla="*/ 71 h 241"/>
                <a:gd name="T38" fmla="*/ 114 w 242"/>
                <a:gd name="T39" fmla="*/ 56 h 241"/>
                <a:gd name="T40" fmla="*/ 209 w 242"/>
                <a:gd name="T41" fmla="*/ 30 h 241"/>
                <a:gd name="T42" fmla="*/ 159 w 242"/>
                <a:gd name="T43" fmla="*/ 178 h 241"/>
                <a:gd name="T44" fmla="*/ 160 w 242"/>
                <a:gd name="T45" fmla="*/ 90 h 241"/>
                <a:gd name="T46" fmla="*/ 151 w 242"/>
                <a:gd name="T47" fmla="*/ 102 h 241"/>
                <a:gd name="T48" fmla="*/ 76 w 242"/>
                <a:gd name="T49" fmla="*/ 163 h 241"/>
                <a:gd name="T50" fmla="*/ 66 w 242"/>
                <a:gd name="T51" fmla="*/ 170 h 241"/>
                <a:gd name="T52" fmla="*/ 62 w 242"/>
                <a:gd name="T53" fmla="*/ 169 h 241"/>
                <a:gd name="T54" fmla="*/ 56 w 242"/>
                <a:gd name="T55" fmla="*/ 156 h 241"/>
                <a:gd name="T56" fmla="*/ 148 w 242"/>
                <a:gd name="T57" fmla="*/ 81 h 241"/>
                <a:gd name="T58" fmla="*/ 160 w 242"/>
                <a:gd name="T59" fmla="*/ 9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2" h="241">
                  <a:moveTo>
                    <a:pt x="227" y="9"/>
                  </a:moveTo>
                  <a:cubicBezTo>
                    <a:pt x="226" y="5"/>
                    <a:pt x="224" y="2"/>
                    <a:pt x="221" y="1"/>
                  </a:cubicBezTo>
                  <a:cubicBezTo>
                    <a:pt x="217" y="0"/>
                    <a:pt x="213" y="0"/>
                    <a:pt x="210" y="3"/>
                  </a:cubicBezTo>
                  <a:cubicBezTo>
                    <a:pt x="171" y="33"/>
                    <a:pt x="141" y="34"/>
                    <a:pt x="113" y="35"/>
                  </a:cubicBezTo>
                  <a:cubicBezTo>
                    <a:pt x="90" y="36"/>
                    <a:pt x="67" y="37"/>
                    <a:pt x="42" y="54"/>
                  </a:cubicBezTo>
                  <a:cubicBezTo>
                    <a:pt x="20" y="69"/>
                    <a:pt x="6" y="94"/>
                    <a:pt x="4" y="121"/>
                  </a:cubicBezTo>
                  <a:cubicBezTo>
                    <a:pt x="2" y="145"/>
                    <a:pt x="9" y="169"/>
                    <a:pt x="24" y="188"/>
                  </a:cubicBezTo>
                  <a:cubicBezTo>
                    <a:pt x="1" y="209"/>
                    <a:pt x="0" y="228"/>
                    <a:pt x="0" y="230"/>
                  </a:cubicBezTo>
                  <a:cubicBezTo>
                    <a:pt x="0" y="236"/>
                    <a:pt x="5" y="241"/>
                    <a:pt x="11" y="241"/>
                  </a:cubicBezTo>
                  <a:cubicBezTo>
                    <a:pt x="11" y="241"/>
                    <a:pt x="11" y="241"/>
                    <a:pt x="11" y="241"/>
                  </a:cubicBezTo>
                  <a:cubicBezTo>
                    <a:pt x="17" y="241"/>
                    <a:pt x="21" y="236"/>
                    <a:pt x="21" y="230"/>
                  </a:cubicBezTo>
                  <a:cubicBezTo>
                    <a:pt x="22" y="230"/>
                    <a:pt x="22" y="218"/>
                    <a:pt x="39" y="203"/>
                  </a:cubicBezTo>
                  <a:cubicBezTo>
                    <a:pt x="57" y="218"/>
                    <a:pt x="78" y="225"/>
                    <a:pt x="100" y="225"/>
                  </a:cubicBezTo>
                  <a:cubicBezTo>
                    <a:pt x="127" y="225"/>
                    <a:pt x="153" y="214"/>
                    <a:pt x="174" y="193"/>
                  </a:cubicBezTo>
                  <a:cubicBezTo>
                    <a:pt x="212" y="156"/>
                    <a:pt x="242" y="80"/>
                    <a:pt x="227" y="9"/>
                  </a:cubicBezTo>
                  <a:close/>
                  <a:moveTo>
                    <a:pt x="159" y="178"/>
                  </a:moveTo>
                  <a:cubicBezTo>
                    <a:pt x="126" y="211"/>
                    <a:pt x="78" y="213"/>
                    <a:pt x="47" y="181"/>
                  </a:cubicBezTo>
                  <a:cubicBezTo>
                    <a:pt x="31" y="166"/>
                    <a:pt x="24" y="145"/>
                    <a:pt x="25" y="123"/>
                  </a:cubicBezTo>
                  <a:cubicBezTo>
                    <a:pt x="27" y="102"/>
                    <a:pt x="38" y="83"/>
                    <a:pt x="55" y="71"/>
                  </a:cubicBezTo>
                  <a:cubicBezTo>
                    <a:pt x="74" y="58"/>
                    <a:pt x="91" y="57"/>
                    <a:pt x="114" y="56"/>
                  </a:cubicBezTo>
                  <a:cubicBezTo>
                    <a:pt x="141" y="56"/>
                    <a:pt x="171" y="54"/>
                    <a:pt x="209" y="30"/>
                  </a:cubicBezTo>
                  <a:cubicBezTo>
                    <a:pt x="215" y="89"/>
                    <a:pt x="190" y="148"/>
                    <a:pt x="159" y="178"/>
                  </a:cubicBezTo>
                  <a:close/>
                  <a:moveTo>
                    <a:pt x="160" y="90"/>
                  </a:moveTo>
                  <a:cubicBezTo>
                    <a:pt x="161" y="95"/>
                    <a:pt x="157" y="101"/>
                    <a:pt x="151" y="102"/>
                  </a:cubicBezTo>
                  <a:cubicBezTo>
                    <a:pt x="97" y="112"/>
                    <a:pt x="76" y="163"/>
                    <a:pt x="76" y="163"/>
                  </a:cubicBezTo>
                  <a:cubicBezTo>
                    <a:pt x="75" y="168"/>
                    <a:pt x="71" y="170"/>
                    <a:pt x="66" y="170"/>
                  </a:cubicBezTo>
                  <a:cubicBezTo>
                    <a:pt x="65" y="170"/>
                    <a:pt x="64" y="170"/>
                    <a:pt x="62" y="169"/>
                  </a:cubicBezTo>
                  <a:cubicBezTo>
                    <a:pt x="57" y="167"/>
                    <a:pt x="54" y="161"/>
                    <a:pt x="56" y="156"/>
                  </a:cubicBezTo>
                  <a:cubicBezTo>
                    <a:pt x="57" y="153"/>
                    <a:pt x="81" y="93"/>
                    <a:pt x="148" y="81"/>
                  </a:cubicBezTo>
                  <a:cubicBezTo>
                    <a:pt x="154" y="80"/>
                    <a:pt x="159" y="84"/>
                    <a:pt x="160" y="9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 name="Freeform 70">
              <a:extLst>
                <a:ext uri="{FF2B5EF4-FFF2-40B4-BE49-F238E27FC236}">
                  <a16:creationId xmlns:a16="http://schemas.microsoft.com/office/drawing/2014/main" id="{42A1AC64-FE18-814C-B613-65C9633708D8}"/>
                </a:ext>
              </a:extLst>
            </p:cNvPr>
            <p:cNvSpPr>
              <a:spLocks noEditPoints="1"/>
            </p:cNvSpPr>
            <p:nvPr/>
          </p:nvSpPr>
          <p:spPr bwMode="auto">
            <a:xfrm>
              <a:off x="3714633" y="3559769"/>
              <a:ext cx="481058" cy="478374"/>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33" name="Star: 5 Points 32">
            <a:extLst>
              <a:ext uri="{FF2B5EF4-FFF2-40B4-BE49-F238E27FC236}">
                <a16:creationId xmlns:a16="http://schemas.microsoft.com/office/drawing/2014/main" id="{314C7174-2A3A-46CC-B630-6351FEA776C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815700417"/>
      </p:ext>
    </p:extLst>
  </p:cSld>
  <p:clrMapOvr>
    <a:masterClrMapping/>
  </p:clrMapOvr>
  <p:transition>
    <p:fade/>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502B6-DA16-2C47-AAA1-15051C568ABF}"/>
              </a:ext>
            </a:extLst>
          </p:cNvPr>
          <p:cNvSpPr>
            <a:spLocks noGrp="1"/>
          </p:cNvSpPr>
          <p:nvPr>
            <p:ph type="title"/>
          </p:nvPr>
        </p:nvSpPr>
        <p:spPr/>
        <p:txBody>
          <a:bodyPr/>
          <a:lstStyle/>
          <a:p>
            <a:r>
              <a:rPr lang="en-US" dirty="0"/>
              <a:t>Tools</a:t>
            </a:r>
          </a:p>
        </p:txBody>
      </p:sp>
      <p:sp>
        <p:nvSpPr>
          <p:cNvPr id="4" name="Back gear">
            <a:extLst>
              <a:ext uri="{FF2B5EF4-FFF2-40B4-BE49-F238E27FC236}">
                <a16:creationId xmlns:a16="http://schemas.microsoft.com/office/drawing/2014/main" id="{98623500-F16A-5B45-A74A-D274F3288A8F}"/>
              </a:ext>
            </a:extLst>
          </p:cNvPr>
          <p:cNvSpPr>
            <a:spLocks noEditPoints="1"/>
          </p:cNvSpPr>
          <p:nvPr/>
        </p:nvSpPr>
        <p:spPr bwMode="auto">
          <a:xfrm>
            <a:off x="3997325" y="2216150"/>
            <a:ext cx="2119313" cy="2132013"/>
          </a:xfrm>
          <a:custGeom>
            <a:avLst/>
            <a:gdLst/>
            <a:ahLst/>
            <a:cxnLst>
              <a:cxn ang="0">
                <a:pos x="1600" y="838"/>
              </a:cxn>
              <a:cxn ang="0">
                <a:pos x="1762" y="690"/>
              </a:cxn>
              <a:cxn ang="0">
                <a:pos x="1538" y="599"/>
              </a:cxn>
              <a:cxn ang="0">
                <a:pos x="1640" y="404"/>
              </a:cxn>
              <a:cxn ang="0">
                <a:pos x="1398" y="395"/>
              </a:cxn>
              <a:cxn ang="0">
                <a:pos x="1427" y="178"/>
              </a:cxn>
              <a:cxn ang="0">
                <a:pos x="1196" y="251"/>
              </a:cxn>
              <a:cxn ang="0">
                <a:pos x="1149" y="37"/>
              </a:cxn>
              <a:cxn ang="0">
                <a:pos x="957" y="185"/>
              </a:cxn>
              <a:cxn ang="0">
                <a:pos x="840" y="0"/>
              </a:cxn>
              <a:cxn ang="0">
                <a:pos x="711" y="205"/>
              </a:cxn>
              <a:cxn ang="0">
                <a:pos x="537" y="71"/>
              </a:cxn>
              <a:cxn ang="0">
                <a:pos x="486" y="308"/>
              </a:cxn>
              <a:cxn ang="0">
                <a:pos x="277" y="242"/>
              </a:cxn>
              <a:cxn ang="0">
                <a:pos x="309" y="482"/>
              </a:cxn>
              <a:cxn ang="0">
                <a:pos x="90" y="491"/>
              </a:cxn>
              <a:cxn ang="0">
                <a:pos x="203" y="705"/>
              </a:cxn>
              <a:cxn ang="0">
                <a:pos x="0" y="789"/>
              </a:cxn>
              <a:cxn ang="0">
                <a:pos x="177" y="895"/>
              </a:cxn>
              <a:cxn ang="0">
                <a:pos x="0" y="1001"/>
              </a:cxn>
              <a:cxn ang="0">
                <a:pos x="203" y="1085"/>
              </a:cxn>
              <a:cxn ang="0">
                <a:pos x="90" y="1299"/>
              </a:cxn>
              <a:cxn ang="0">
                <a:pos x="309" y="1308"/>
              </a:cxn>
              <a:cxn ang="0">
                <a:pos x="277" y="1548"/>
              </a:cxn>
              <a:cxn ang="0">
                <a:pos x="485" y="1482"/>
              </a:cxn>
              <a:cxn ang="0">
                <a:pos x="537" y="1719"/>
              </a:cxn>
              <a:cxn ang="0">
                <a:pos x="711" y="1585"/>
              </a:cxn>
              <a:cxn ang="0">
                <a:pos x="840" y="1790"/>
              </a:cxn>
              <a:cxn ang="0">
                <a:pos x="957" y="1605"/>
              </a:cxn>
              <a:cxn ang="0">
                <a:pos x="1149" y="1753"/>
              </a:cxn>
              <a:cxn ang="0">
                <a:pos x="1196" y="1539"/>
              </a:cxn>
              <a:cxn ang="0">
                <a:pos x="1427" y="1612"/>
              </a:cxn>
              <a:cxn ang="0">
                <a:pos x="1398" y="1395"/>
              </a:cxn>
              <a:cxn ang="0">
                <a:pos x="1640" y="1386"/>
              </a:cxn>
              <a:cxn ang="0">
                <a:pos x="1538" y="1191"/>
              </a:cxn>
              <a:cxn ang="0">
                <a:pos x="1762" y="1100"/>
              </a:cxn>
              <a:cxn ang="0">
                <a:pos x="1600" y="952"/>
              </a:cxn>
              <a:cxn ang="0">
                <a:pos x="894" y="1176"/>
              </a:cxn>
              <a:cxn ang="0">
                <a:pos x="894" y="615"/>
              </a:cxn>
              <a:cxn ang="0">
                <a:pos x="894" y="1176"/>
              </a:cxn>
            </a:cxnLst>
            <a:rect l="0" t="0" r="r" b="b"/>
            <a:pathLst>
              <a:path w="1780" h="1790">
                <a:moveTo>
                  <a:pt x="1603" y="895"/>
                </a:moveTo>
                <a:cubicBezTo>
                  <a:pt x="1603" y="876"/>
                  <a:pt x="1602" y="857"/>
                  <a:pt x="1600" y="838"/>
                </a:cubicBezTo>
                <a:cubicBezTo>
                  <a:pt x="1780" y="789"/>
                  <a:pt x="1780" y="789"/>
                  <a:pt x="1780" y="789"/>
                </a:cubicBezTo>
                <a:cubicBezTo>
                  <a:pt x="1762" y="690"/>
                  <a:pt x="1762" y="690"/>
                  <a:pt x="1762" y="690"/>
                </a:cubicBezTo>
                <a:cubicBezTo>
                  <a:pt x="1577" y="705"/>
                  <a:pt x="1577" y="705"/>
                  <a:pt x="1577" y="705"/>
                </a:cubicBezTo>
                <a:cubicBezTo>
                  <a:pt x="1567" y="668"/>
                  <a:pt x="1554" y="633"/>
                  <a:pt x="1538" y="599"/>
                </a:cubicBezTo>
                <a:cubicBezTo>
                  <a:pt x="1690" y="491"/>
                  <a:pt x="1690" y="491"/>
                  <a:pt x="1690" y="491"/>
                </a:cubicBezTo>
                <a:cubicBezTo>
                  <a:pt x="1640" y="404"/>
                  <a:pt x="1640" y="404"/>
                  <a:pt x="1640" y="404"/>
                </a:cubicBezTo>
                <a:cubicBezTo>
                  <a:pt x="1471" y="482"/>
                  <a:pt x="1471" y="482"/>
                  <a:pt x="1471" y="482"/>
                </a:cubicBezTo>
                <a:cubicBezTo>
                  <a:pt x="1449" y="451"/>
                  <a:pt x="1424" y="422"/>
                  <a:pt x="1398" y="395"/>
                </a:cubicBezTo>
                <a:cubicBezTo>
                  <a:pt x="1503" y="242"/>
                  <a:pt x="1503" y="242"/>
                  <a:pt x="1503" y="242"/>
                </a:cubicBezTo>
                <a:cubicBezTo>
                  <a:pt x="1427" y="178"/>
                  <a:pt x="1427" y="178"/>
                  <a:pt x="1427" y="178"/>
                </a:cubicBezTo>
                <a:cubicBezTo>
                  <a:pt x="1294" y="308"/>
                  <a:pt x="1294" y="308"/>
                  <a:pt x="1294" y="308"/>
                </a:cubicBezTo>
                <a:cubicBezTo>
                  <a:pt x="1263" y="287"/>
                  <a:pt x="1231" y="267"/>
                  <a:pt x="1196" y="251"/>
                </a:cubicBezTo>
                <a:cubicBezTo>
                  <a:pt x="1243" y="71"/>
                  <a:pt x="1243" y="71"/>
                  <a:pt x="1243" y="71"/>
                </a:cubicBezTo>
                <a:cubicBezTo>
                  <a:pt x="1149" y="37"/>
                  <a:pt x="1149" y="37"/>
                  <a:pt x="1149" y="37"/>
                </a:cubicBezTo>
                <a:cubicBezTo>
                  <a:pt x="1069" y="205"/>
                  <a:pt x="1069" y="205"/>
                  <a:pt x="1069" y="205"/>
                </a:cubicBezTo>
                <a:cubicBezTo>
                  <a:pt x="1033" y="195"/>
                  <a:pt x="996" y="189"/>
                  <a:pt x="957" y="185"/>
                </a:cubicBezTo>
                <a:cubicBezTo>
                  <a:pt x="940" y="0"/>
                  <a:pt x="940" y="0"/>
                  <a:pt x="940" y="0"/>
                </a:cubicBezTo>
                <a:cubicBezTo>
                  <a:pt x="840" y="0"/>
                  <a:pt x="840" y="0"/>
                  <a:pt x="840" y="0"/>
                </a:cubicBezTo>
                <a:cubicBezTo>
                  <a:pt x="822" y="185"/>
                  <a:pt x="822" y="185"/>
                  <a:pt x="822" y="185"/>
                </a:cubicBezTo>
                <a:cubicBezTo>
                  <a:pt x="784" y="189"/>
                  <a:pt x="747" y="195"/>
                  <a:pt x="711" y="205"/>
                </a:cubicBezTo>
                <a:cubicBezTo>
                  <a:pt x="631" y="37"/>
                  <a:pt x="631" y="37"/>
                  <a:pt x="631" y="37"/>
                </a:cubicBezTo>
                <a:cubicBezTo>
                  <a:pt x="537" y="71"/>
                  <a:pt x="537" y="71"/>
                  <a:pt x="537" y="71"/>
                </a:cubicBezTo>
                <a:cubicBezTo>
                  <a:pt x="584" y="251"/>
                  <a:pt x="584" y="251"/>
                  <a:pt x="584" y="251"/>
                </a:cubicBezTo>
                <a:cubicBezTo>
                  <a:pt x="549" y="267"/>
                  <a:pt x="517" y="287"/>
                  <a:pt x="486" y="308"/>
                </a:cubicBezTo>
                <a:cubicBezTo>
                  <a:pt x="353" y="178"/>
                  <a:pt x="353" y="178"/>
                  <a:pt x="353" y="178"/>
                </a:cubicBezTo>
                <a:cubicBezTo>
                  <a:pt x="277" y="242"/>
                  <a:pt x="277" y="242"/>
                  <a:pt x="277" y="242"/>
                </a:cubicBezTo>
                <a:cubicBezTo>
                  <a:pt x="382" y="395"/>
                  <a:pt x="382" y="395"/>
                  <a:pt x="382" y="395"/>
                </a:cubicBezTo>
                <a:cubicBezTo>
                  <a:pt x="356" y="422"/>
                  <a:pt x="331" y="451"/>
                  <a:pt x="309" y="482"/>
                </a:cubicBezTo>
                <a:cubicBezTo>
                  <a:pt x="140" y="404"/>
                  <a:pt x="140" y="404"/>
                  <a:pt x="140" y="404"/>
                </a:cubicBezTo>
                <a:cubicBezTo>
                  <a:pt x="90" y="491"/>
                  <a:pt x="90" y="491"/>
                  <a:pt x="90" y="491"/>
                </a:cubicBezTo>
                <a:cubicBezTo>
                  <a:pt x="242" y="599"/>
                  <a:pt x="242" y="599"/>
                  <a:pt x="242" y="599"/>
                </a:cubicBezTo>
                <a:cubicBezTo>
                  <a:pt x="226" y="633"/>
                  <a:pt x="213" y="668"/>
                  <a:pt x="203" y="705"/>
                </a:cubicBezTo>
                <a:cubicBezTo>
                  <a:pt x="18" y="690"/>
                  <a:pt x="18" y="690"/>
                  <a:pt x="18" y="690"/>
                </a:cubicBezTo>
                <a:cubicBezTo>
                  <a:pt x="0" y="789"/>
                  <a:pt x="0" y="789"/>
                  <a:pt x="0" y="789"/>
                </a:cubicBezTo>
                <a:cubicBezTo>
                  <a:pt x="179" y="838"/>
                  <a:pt x="179" y="838"/>
                  <a:pt x="179" y="838"/>
                </a:cubicBezTo>
                <a:cubicBezTo>
                  <a:pt x="178" y="857"/>
                  <a:pt x="177" y="876"/>
                  <a:pt x="177" y="895"/>
                </a:cubicBezTo>
                <a:cubicBezTo>
                  <a:pt x="177" y="914"/>
                  <a:pt x="178" y="933"/>
                  <a:pt x="179" y="952"/>
                </a:cubicBezTo>
                <a:cubicBezTo>
                  <a:pt x="0" y="1001"/>
                  <a:pt x="0" y="1001"/>
                  <a:pt x="0" y="1001"/>
                </a:cubicBezTo>
                <a:cubicBezTo>
                  <a:pt x="18" y="1100"/>
                  <a:pt x="18" y="1100"/>
                  <a:pt x="18" y="1100"/>
                </a:cubicBezTo>
                <a:cubicBezTo>
                  <a:pt x="203" y="1085"/>
                  <a:pt x="203" y="1085"/>
                  <a:pt x="203" y="1085"/>
                </a:cubicBezTo>
                <a:cubicBezTo>
                  <a:pt x="213" y="1122"/>
                  <a:pt x="226" y="1157"/>
                  <a:pt x="242" y="1191"/>
                </a:cubicBezTo>
                <a:cubicBezTo>
                  <a:pt x="90" y="1299"/>
                  <a:pt x="90" y="1299"/>
                  <a:pt x="90" y="1299"/>
                </a:cubicBezTo>
                <a:cubicBezTo>
                  <a:pt x="140" y="1386"/>
                  <a:pt x="140" y="1386"/>
                  <a:pt x="140" y="1386"/>
                </a:cubicBezTo>
                <a:cubicBezTo>
                  <a:pt x="309" y="1308"/>
                  <a:pt x="309" y="1308"/>
                  <a:pt x="309" y="1308"/>
                </a:cubicBezTo>
                <a:cubicBezTo>
                  <a:pt x="331" y="1339"/>
                  <a:pt x="356" y="1368"/>
                  <a:pt x="382" y="1395"/>
                </a:cubicBezTo>
                <a:cubicBezTo>
                  <a:pt x="277" y="1548"/>
                  <a:pt x="277" y="1548"/>
                  <a:pt x="277" y="1548"/>
                </a:cubicBezTo>
                <a:cubicBezTo>
                  <a:pt x="353" y="1612"/>
                  <a:pt x="353" y="1612"/>
                  <a:pt x="353" y="1612"/>
                </a:cubicBezTo>
                <a:cubicBezTo>
                  <a:pt x="485" y="1482"/>
                  <a:pt x="485" y="1482"/>
                  <a:pt x="485" y="1482"/>
                </a:cubicBezTo>
                <a:cubicBezTo>
                  <a:pt x="517" y="1503"/>
                  <a:pt x="549" y="1523"/>
                  <a:pt x="584" y="1539"/>
                </a:cubicBezTo>
                <a:cubicBezTo>
                  <a:pt x="537" y="1719"/>
                  <a:pt x="537" y="1719"/>
                  <a:pt x="537" y="1719"/>
                </a:cubicBezTo>
                <a:cubicBezTo>
                  <a:pt x="631" y="1753"/>
                  <a:pt x="631" y="1753"/>
                  <a:pt x="631" y="1753"/>
                </a:cubicBezTo>
                <a:cubicBezTo>
                  <a:pt x="711" y="1585"/>
                  <a:pt x="711" y="1585"/>
                  <a:pt x="711" y="1585"/>
                </a:cubicBezTo>
                <a:cubicBezTo>
                  <a:pt x="747" y="1595"/>
                  <a:pt x="784" y="1601"/>
                  <a:pt x="822" y="1605"/>
                </a:cubicBezTo>
                <a:cubicBezTo>
                  <a:pt x="840" y="1790"/>
                  <a:pt x="840" y="1790"/>
                  <a:pt x="840" y="1790"/>
                </a:cubicBezTo>
                <a:cubicBezTo>
                  <a:pt x="940" y="1790"/>
                  <a:pt x="940" y="1790"/>
                  <a:pt x="940" y="1790"/>
                </a:cubicBezTo>
                <a:cubicBezTo>
                  <a:pt x="957" y="1605"/>
                  <a:pt x="957" y="1605"/>
                  <a:pt x="957" y="1605"/>
                </a:cubicBezTo>
                <a:cubicBezTo>
                  <a:pt x="996" y="1601"/>
                  <a:pt x="1033" y="1595"/>
                  <a:pt x="1069" y="1585"/>
                </a:cubicBezTo>
                <a:cubicBezTo>
                  <a:pt x="1149" y="1753"/>
                  <a:pt x="1149" y="1753"/>
                  <a:pt x="1149" y="1753"/>
                </a:cubicBezTo>
                <a:cubicBezTo>
                  <a:pt x="1243" y="1719"/>
                  <a:pt x="1243" y="1719"/>
                  <a:pt x="1243" y="1719"/>
                </a:cubicBezTo>
                <a:cubicBezTo>
                  <a:pt x="1196" y="1539"/>
                  <a:pt x="1196" y="1539"/>
                  <a:pt x="1196" y="1539"/>
                </a:cubicBezTo>
                <a:cubicBezTo>
                  <a:pt x="1231" y="1523"/>
                  <a:pt x="1263" y="1503"/>
                  <a:pt x="1294" y="1482"/>
                </a:cubicBezTo>
                <a:cubicBezTo>
                  <a:pt x="1427" y="1612"/>
                  <a:pt x="1427" y="1612"/>
                  <a:pt x="1427" y="1612"/>
                </a:cubicBezTo>
                <a:cubicBezTo>
                  <a:pt x="1503" y="1548"/>
                  <a:pt x="1503" y="1548"/>
                  <a:pt x="1503" y="1548"/>
                </a:cubicBezTo>
                <a:cubicBezTo>
                  <a:pt x="1398" y="1395"/>
                  <a:pt x="1398" y="1395"/>
                  <a:pt x="1398" y="1395"/>
                </a:cubicBezTo>
                <a:cubicBezTo>
                  <a:pt x="1424" y="1368"/>
                  <a:pt x="1449" y="1339"/>
                  <a:pt x="1471" y="1308"/>
                </a:cubicBezTo>
                <a:cubicBezTo>
                  <a:pt x="1640" y="1386"/>
                  <a:pt x="1640" y="1386"/>
                  <a:pt x="1640" y="1386"/>
                </a:cubicBezTo>
                <a:cubicBezTo>
                  <a:pt x="1690" y="1299"/>
                  <a:pt x="1690" y="1299"/>
                  <a:pt x="1690" y="1299"/>
                </a:cubicBezTo>
                <a:cubicBezTo>
                  <a:pt x="1538" y="1191"/>
                  <a:pt x="1538" y="1191"/>
                  <a:pt x="1538" y="1191"/>
                </a:cubicBezTo>
                <a:cubicBezTo>
                  <a:pt x="1554" y="1157"/>
                  <a:pt x="1567" y="1122"/>
                  <a:pt x="1577" y="1085"/>
                </a:cubicBezTo>
                <a:cubicBezTo>
                  <a:pt x="1762" y="1100"/>
                  <a:pt x="1762" y="1100"/>
                  <a:pt x="1762" y="1100"/>
                </a:cubicBezTo>
                <a:cubicBezTo>
                  <a:pt x="1780" y="1001"/>
                  <a:pt x="1780" y="1001"/>
                  <a:pt x="1780" y="1001"/>
                </a:cubicBezTo>
                <a:cubicBezTo>
                  <a:pt x="1600" y="952"/>
                  <a:pt x="1600" y="952"/>
                  <a:pt x="1600" y="952"/>
                </a:cubicBezTo>
                <a:cubicBezTo>
                  <a:pt x="1602" y="933"/>
                  <a:pt x="1603" y="914"/>
                  <a:pt x="1603" y="895"/>
                </a:cubicBezTo>
                <a:close/>
                <a:moveTo>
                  <a:pt x="894" y="1176"/>
                </a:moveTo>
                <a:cubicBezTo>
                  <a:pt x="739" y="1176"/>
                  <a:pt x="614" y="1050"/>
                  <a:pt x="614" y="895"/>
                </a:cubicBezTo>
                <a:cubicBezTo>
                  <a:pt x="614" y="740"/>
                  <a:pt x="739" y="615"/>
                  <a:pt x="894" y="615"/>
                </a:cubicBezTo>
                <a:cubicBezTo>
                  <a:pt x="1049" y="615"/>
                  <a:pt x="1175" y="740"/>
                  <a:pt x="1175" y="895"/>
                </a:cubicBezTo>
                <a:cubicBezTo>
                  <a:pt x="1175" y="1050"/>
                  <a:pt x="1049" y="1176"/>
                  <a:pt x="894" y="1176"/>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 name="Back gear">
            <a:extLst>
              <a:ext uri="{FF2B5EF4-FFF2-40B4-BE49-F238E27FC236}">
                <a16:creationId xmlns:a16="http://schemas.microsoft.com/office/drawing/2014/main" id="{0CC37C8C-25F6-1F4A-A6AA-AD41E7EE9CF1}"/>
              </a:ext>
            </a:extLst>
          </p:cNvPr>
          <p:cNvSpPr>
            <a:spLocks noEditPoints="1"/>
          </p:cNvSpPr>
          <p:nvPr/>
        </p:nvSpPr>
        <p:spPr bwMode="auto">
          <a:xfrm>
            <a:off x="5699125" y="3919538"/>
            <a:ext cx="1484313" cy="1492250"/>
          </a:xfrm>
          <a:custGeom>
            <a:avLst/>
            <a:gdLst/>
            <a:ahLst/>
            <a:cxnLst>
              <a:cxn ang="0">
                <a:pos x="1120" y="587"/>
              </a:cxn>
              <a:cxn ang="0">
                <a:pos x="1234" y="483"/>
              </a:cxn>
              <a:cxn ang="0">
                <a:pos x="1077" y="419"/>
              </a:cxn>
              <a:cxn ang="0">
                <a:pos x="1148" y="283"/>
              </a:cxn>
              <a:cxn ang="0">
                <a:pos x="978" y="276"/>
              </a:cxn>
              <a:cxn ang="0">
                <a:pos x="999" y="124"/>
              </a:cxn>
              <a:cxn ang="0">
                <a:pos x="837" y="175"/>
              </a:cxn>
              <a:cxn ang="0">
                <a:pos x="804" y="26"/>
              </a:cxn>
              <a:cxn ang="0">
                <a:pos x="670" y="129"/>
              </a:cxn>
              <a:cxn ang="0">
                <a:pos x="588" y="0"/>
              </a:cxn>
              <a:cxn ang="0">
                <a:pos x="497" y="143"/>
              </a:cxn>
              <a:cxn ang="0">
                <a:pos x="375" y="49"/>
              </a:cxn>
              <a:cxn ang="0">
                <a:pos x="339" y="215"/>
              </a:cxn>
              <a:cxn ang="0">
                <a:pos x="193" y="169"/>
              </a:cxn>
              <a:cxn ang="0">
                <a:pos x="216" y="337"/>
              </a:cxn>
              <a:cxn ang="0">
                <a:pos x="63" y="343"/>
              </a:cxn>
              <a:cxn ang="0">
                <a:pos x="141" y="493"/>
              </a:cxn>
              <a:cxn ang="0">
                <a:pos x="0" y="552"/>
              </a:cxn>
              <a:cxn ang="0">
                <a:pos x="123" y="626"/>
              </a:cxn>
              <a:cxn ang="0">
                <a:pos x="0" y="701"/>
              </a:cxn>
              <a:cxn ang="0">
                <a:pos x="141" y="759"/>
              </a:cxn>
              <a:cxn ang="0">
                <a:pos x="63" y="909"/>
              </a:cxn>
              <a:cxn ang="0">
                <a:pos x="216" y="916"/>
              </a:cxn>
              <a:cxn ang="0">
                <a:pos x="193" y="1084"/>
              </a:cxn>
              <a:cxn ang="0">
                <a:pos x="339" y="1037"/>
              </a:cxn>
              <a:cxn ang="0">
                <a:pos x="375" y="1203"/>
              </a:cxn>
              <a:cxn ang="0">
                <a:pos x="497" y="1110"/>
              </a:cxn>
              <a:cxn ang="0">
                <a:pos x="588" y="1253"/>
              </a:cxn>
              <a:cxn ang="0">
                <a:pos x="670" y="1123"/>
              </a:cxn>
              <a:cxn ang="0">
                <a:pos x="804" y="1227"/>
              </a:cxn>
              <a:cxn ang="0">
                <a:pos x="837" y="1077"/>
              </a:cxn>
              <a:cxn ang="0">
                <a:pos x="999" y="1129"/>
              </a:cxn>
              <a:cxn ang="0">
                <a:pos x="978" y="977"/>
              </a:cxn>
              <a:cxn ang="0">
                <a:pos x="1148" y="970"/>
              </a:cxn>
              <a:cxn ang="0">
                <a:pos x="1077" y="834"/>
              </a:cxn>
              <a:cxn ang="0">
                <a:pos x="1234" y="770"/>
              </a:cxn>
              <a:cxn ang="0">
                <a:pos x="1120" y="666"/>
              </a:cxn>
              <a:cxn ang="0">
                <a:pos x="626" y="823"/>
              </a:cxn>
              <a:cxn ang="0">
                <a:pos x="626" y="430"/>
              </a:cxn>
              <a:cxn ang="0">
                <a:pos x="626" y="823"/>
              </a:cxn>
            </a:cxnLst>
            <a:rect l="0" t="0" r="r" b="b"/>
            <a:pathLst>
              <a:path w="1246" h="1253">
                <a:moveTo>
                  <a:pt x="1122" y="626"/>
                </a:moveTo>
                <a:cubicBezTo>
                  <a:pt x="1122" y="613"/>
                  <a:pt x="1121" y="600"/>
                  <a:pt x="1120" y="587"/>
                </a:cubicBezTo>
                <a:cubicBezTo>
                  <a:pt x="1246" y="552"/>
                  <a:pt x="1246" y="552"/>
                  <a:pt x="1246" y="552"/>
                </a:cubicBezTo>
                <a:cubicBezTo>
                  <a:pt x="1234" y="483"/>
                  <a:pt x="1234" y="483"/>
                  <a:pt x="1234" y="483"/>
                </a:cubicBezTo>
                <a:cubicBezTo>
                  <a:pt x="1104" y="493"/>
                  <a:pt x="1104" y="493"/>
                  <a:pt x="1104" y="493"/>
                </a:cubicBezTo>
                <a:cubicBezTo>
                  <a:pt x="1097" y="468"/>
                  <a:pt x="1088" y="443"/>
                  <a:pt x="1077" y="419"/>
                </a:cubicBezTo>
                <a:cubicBezTo>
                  <a:pt x="1183" y="343"/>
                  <a:pt x="1183" y="343"/>
                  <a:pt x="1183" y="343"/>
                </a:cubicBezTo>
                <a:cubicBezTo>
                  <a:pt x="1148" y="283"/>
                  <a:pt x="1148" y="283"/>
                  <a:pt x="1148" y="283"/>
                </a:cubicBezTo>
                <a:cubicBezTo>
                  <a:pt x="1029" y="337"/>
                  <a:pt x="1029" y="337"/>
                  <a:pt x="1029" y="337"/>
                </a:cubicBezTo>
                <a:cubicBezTo>
                  <a:pt x="1014" y="315"/>
                  <a:pt x="997" y="295"/>
                  <a:pt x="978" y="276"/>
                </a:cubicBezTo>
                <a:cubicBezTo>
                  <a:pt x="1052" y="169"/>
                  <a:pt x="1052" y="169"/>
                  <a:pt x="1052" y="169"/>
                </a:cubicBezTo>
                <a:cubicBezTo>
                  <a:pt x="999" y="124"/>
                  <a:pt x="999" y="124"/>
                  <a:pt x="999" y="124"/>
                </a:cubicBezTo>
                <a:cubicBezTo>
                  <a:pt x="906" y="215"/>
                  <a:pt x="906" y="215"/>
                  <a:pt x="906" y="215"/>
                </a:cubicBezTo>
                <a:cubicBezTo>
                  <a:pt x="884" y="200"/>
                  <a:pt x="861" y="187"/>
                  <a:pt x="837" y="175"/>
                </a:cubicBezTo>
                <a:cubicBezTo>
                  <a:pt x="870" y="49"/>
                  <a:pt x="870" y="49"/>
                  <a:pt x="870" y="49"/>
                </a:cubicBezTo>
                <a:cubicBezTo>
                  <a:pt x="804" y="26"/>
                  <a:pt x="804" y="26"/>
                  <a:pt x="804" y="26"/>
                </a:cubicBezTo>
                <a:cubicBezTo>
                  <a:pt x="748" y="143"/>
                  <a:pt x="748" y="143"/>
                  <a:pt x="748" y="143"/>
                </a:cubicBezTo>
                <a:cubicBezTo>
                  <a:pt x="723" y="136"/>
                  <a:pt x="697" y="132"/>
                  <a:pt x="670" y="129"/>
                </a:cubicBezTo>
                <a:cubicBezTo>
                  <a:pt x="658" y="0"/>
                  <a:pt x="658" y="0"/>
                  <a:pt x="658" y="0"/>
                </a:cubicBezTo>
                <a:cubicBezTo>
                  <a:pt x="588" y="0"/>
                  <a:pt x="588" y="0"/>
                  <a:pt x="588" y="0"/>
                </a:cubicBezTo>
                <a:cubicBezTo>
                  <a:pt x="575" y="129"/>
                  <a:pt x="575" y="129"/>
                  <a:pt x="575" y="129"/>
                </a:cubicBezTo>
                <a:cubicBezTo>
                  <a:pt x="549" y="132"/>
                  <a:pt x="522" y="136"/>
                  <a:pt x="497" y="143"/>
                </a:cubicBezTo>
                <a:cubicBezTo>
                  <a:pt x="441" y="26"/>
                  <a:pt x="441" y="26"/>
                  <a:pt x="441" y="26"/>
                </a:cubicBezTo>
                <a:cubicBezTo>
                  <a:pt x="375" y="49"/>
                  <a:pt x="375" y="49"/>
                  <a:pt x="375" y="49"/>
                </a:cubicBezTo>
                <a:cubicBezTo>
                  <a:pt x="408" y="175"/>
                  <a:pt x="408" y="175"/>
                  <a:pt x="408" y="175"/>
                </a:cubicBezTo>
                <a:cubicBezTo>
                  <a:pt x="384" y="187"/>
                  <a:pt x="361" y="200"/>
                  <a:pt x="339" y="215"/>
                </a:cubicBezTo>
                <a:cubicBezTo>
                  <a:pt x="247" y="124"/>
                  <a:pt x="247" y="124"/>
                  <a:pt x="247" y="124"/>
                </a:cubicBezTo>
                <a:cubicBezTo>
                  <a:pt x="193" y="169"/>
                  <a:pt x="193" y="169"/>
                  <a:pt x="193" y="169"/>
                </a:cubicBezTo>
                <a:cubicBezTo>
                  <a:pt x="267" y="276"/>
                  <a:pt x="267" y="276"/>
                  <a:pt x="267" y="276"/>
                </a:cubicBezTo>
                <a:cubicBezTo>
                  <a:pt x="248" y="295"/>
                  <a:pt x="231" y="315"/>
                  <a:pt x="216" y="337"/>
                </a:cubicBezTo>
                <a:cubicBezTo>
                  <a:pt x="98" y="283"/>
                  <a:pt x="98" y="283"/>
                  <a:pt x="98" y="283"/>
                </a:cubicBezTo>
                <a:cubicBezTo>
                  <a:pt x="63" y="343"/>
                  <a:pt x="63" y="343"/>
                  <a:pt x="63" y="343"/>
                </a:cubicBezTo>
                <a:cubicBezTo>
                  <a:pt x="169" y="419"/>
                  <a:pt x="169" y="419"/>
                  <a:pt x="169" y="419"/>
                </a:cubicBezTo>
                <a:cubicBezTo>
                  <a:pt x="158" y="443"/>
                  <a:pt x="148" y="468"/>
                  <a:pt x="141" y="493"/>
                </a:cubicBezTo>
                <a:cubicBezTo>
                  <a:pt x="12" y="483"/>
                  <a:pt x="12" y="483"/>
                  <a:pt x="12" y="483"/>
                </a:cubicBezTo>
                <a:cubicBezTo>
                  <a:pt x="0" y="552"/>
                  <a:pt x="0" y="552"/>
                  <a:pt x="0" y="552"/>
                </a:cubicBezTo>
                <a:cubicBezTo>
                  <a:pt x="125" y="587"/>
                  <a:pt x="125" y="587"/>
                  <a:pt x="125" y="587"/>
                </a:cubicBezTo>
                <a:cubicBezTo>
                  <a:pt x="124" y="600"/>
                  <a:pt x="123" y="613"/>
                  <a:pt x="123" y="626"/>
                </a:cubicBezTo>
                <a:cubicBezTo>
                  <a:pt x="123" y="640"/>
                  <a:pt x="124" y="653"/>
                  <a:pt x="125" y="666"/>
                </a:cubicBezTo>
                <a:cubicBezTo>
                  <a:pt x="0" y="701"/>
                  <a:pt x="0" y="701"/>
                  <a:pt x="0" y="701"/>
                </a:cubicBezTo>
                <a:cubicBezTo>
                  <a:pt x="12" y="770"/>
                  <a:pt x="12" y="770"/>
                  <a:pt x="12" y="770"/>
                </a:cubicBezTo>
                <a:cubicBezTo>
                  <a:pt x="141" y="759"/>
                  <a:pt x="141" y="759"/>
                  <a:pt x="141" y="759"/>
                </a:cubicBezTo>
                <a:cubicBezTo>
                  <a:pt x="148" y="785"/>
                  <a:pt x="158" y="810"/>
                  <a:pt x="169" y="834"/>
                </a:cubicBezTo>
                <a:cubicBezTo>
                  <a:pt x="63" y="909"/>
                  <a:pt x="63" y="909"/>
                  <a:pt x="63" y="909"/>
                </a:cubicBezTo>
                <a:cubicBezTo>
                  <a:pt x="98" y="970"/>
                  <a:pt x="98" y="970"/>
                  <a:pt x="98" y="970"/>
                </a:cubicBezTo>
                <a:cubicBezTo>
                  <a:pt x="216" y="916"/>
                  <a:pt x="216" y="916"/>
                  <a:pt x="216" y="916"/>
                </a:cubicBezTo>
                <a:cubicBezTo>
                  <a:pt x="231" y="937"/>
                  <a:pt x="248" y="958"/>
                  <a:pt x="267" y="977"/>
                </a:cubicBezTo>
                <a:cubicBezTo>
                  <a:pt x="193" y="1084"/>
                  <a:pt x="193" y="1084"/>
                  <a:pt x="193" y="1084"/>
                </a:cubicBezTo>
                <a:cubicBezTo>
                  <a:pt x="247" y="1129"/>
                  <a:pt x="247" y="1129"/>
                  <a:pt x="247" y="1129"/>
                </a:cubicBezTo>
                <a:cubicBezTo>
                  <a:pt x="339" y="1037"/>
                  <a:pt x="339" y="1037"/>
                  <a:pt x="339" y="1037"/>
                </a:cubicBezTo>
                <a:cubicBezTo>
                  <a:pt x="361" y="1052"/>
                  <a:pt x="384" y="1066"/>
                  <a:pt x="408" y="1077"/>
                </a:cubicBezTo>
                <a:cubicBezTo>
                  <a:pt x="375" y="1203"/>
                  <a:pt x="375" y="1203"/>
                  <a:pt x="375" y="1203"/>
                </a:cubicBezTo>
                <a:cubicBezTo>
                  <a:pt x="441" y="1227"/>
                  <a:pt x="441" y="1227"/>
                  <a:pt x="441" y="1227"/>
                </a:cubicBezTo>
                <a:cubicBezTo>
                  <a:pt x="497" y="1110"/>
                  <a:pt x="497" y="1110"/>
                  <a:pt x="497" y="1110"/>
                </a:cubicBezTo>
                <a:cubicBezTo>
                  <a:pt x="522" y="1116"/>
                  <a:pt x="549" y="1121"/>
                  <a:pt x="575" y="1123"/>
                </a:cubicBezTo>
                <a:cubicBezTo>
                  <a:pt x="588" y="1253"/>
                  <a:pt x="588" y="1253"/>
                  <a:pt x="588" y="1253"/>
                </a:cubicBezTo>
                <a:cubicBezTo>
                  <a:pt x="658" y="1253"/>
                  <a:pt x="658" y="1253"/>
                  <a:pt x="658" y="1253"/>
                </a:cubicBezTo>
                <a:cubicBezTo>
                  <a:pt x="670" y="1123"/>
                  <a:pt x="670" y="1123"/>
                  <a:pt x="670" y="1123"/>
                </a:cubicBezTo>
                <a:cubicBezTo>
                  <a:pt x="697" y="1121"/>
                  <a:pt x="723" y="1116"/>
                  <a:pt x="748" y="1110"/>
                </a:cubicBezTo>
                <a:cubicBezTo>
                  <a:pt x="804" y="1227"/>
                  <a:pt x="804" y="1227"/>
                  <a:pt x="804" y="1227"/>
                </a:cubicBezTo>
                <a:cubicBezTo>
                  <a:pt x="870" y="1203"/>
                  <a:pt x="870" y="1203"/>
                  <a:pt x="870" y="1203"/>
                </a:cubicBezTo>
                <a:cubicBezTo>
                  <a:pt x="837" y="1077"/>
                  <a:pt x="837" y="1077"/>
                  <a:pt x="837" y="1077"/>
                </a:cubicBezTo>
                <a:cubicBezTo>
                  <a:pt x="861" y="1066"/>
                  <a:pt x="884" y="1052"/>
                  <a:pt x="906" y="1037"/>
                </a:cubicBezTo>
                <a:cubicBezTo>
                  <a:pt x="999" y="1129"/>
                  <a:pt x="999" y="1129"/>
                  <a:pt x="999" y="1129"/>
                </a:cubicBezTo>
                <a:cubicBezTo>
                  <a:pt x="1052" y="1084"/>
                  <a:pt x="1052" y="1084"/>
                  <a:pt x="1052" y="1084"/>
                </a:cubicBezTo>
                <a:cubicBezTo>
                  <a:pt x="978" y="977"/>
                  <a:pt x="978" y="977"/>
                  <a:pt x="978" y="977"/>
                </a:cubicBezTo>
                <a:cubicBezTo>
                  <a:pt x="997" y="958"/>
                  <a:pt x="1014" y="937"/>
                  <a:pt x="1029" y="916"/>
                </a:cubicBezTo>
                <a:cubicBezTo>
                  <a:pt x="1148" y="970"/>
                  <a:pt x="1148" y="970"/>
                  <a:pt x="1148" y="970"/>
                </a:cubicBezTo>
                <a:cubicBezTo>
                  <a:pt x="1183" y="909"/>
                  <a:pt x="1183" y="909"/>
                  <a:pt x="1183" y="909"/>
                </a:cubicBezTo>
                <a:cubicBezTo>
                  <a:pt x="1077" y="834"/>
                  <a:pt x="1077" y="834"/>
                  <a:pt x="1077" y="834"/>
                </a:cubicBezTo>
                <a:cubicBezTo>
                  <a:pt x="1088" y="810"/>
                  <a:pt x="1097" y="785"/>
                  <a:pt x="1104" y="759"/>
                </a:cubicBezTo>
                <a:cubicBezTo>
                  <a:pt x="1234" y="770"/>
                  <a:pt x="1234" y="770"/>
                  <a:pt x="1234" y="770"/>
                </a:cubicBezTo>
                <a:cubicBezTo>
                  <a:pt x="1246" y="701"/>
                  <a:pt x="1246" y="701"/>
                  <a:pt x="1246" y="701"/>
                </a:cubicBezTo>
                <a:cubicBezTo>
                  <a:pt x="1120" y="666"/>
                  <a:pt x="1120" y="666"/>
                  <a:pt x="1120" y="666"/>
                </a:cubicBezTo>
                <a:cubicBezTo>
                  <a:pt x="1121" y="653"/>
                  <a:pt x="1122" y="640"/>
                  <a:pt x="1122" y="626"/>
                </a:cubicBezTo>
                <a:close/>
                <a:moveTo>
                  <a:pt x="626" y="823"/>
                </a:moveTo>
                <a:cubicBezTo>
                  <a:pt x="517" y="823"/>
                  <a:pt x="429" y="735"/>
                  <a:pt x="429" y="626"/>
                </a:cubicBezTo>
                <a:cubicBezTo>
                  <a:pt x="429" y="518"/>
                  <a:pt x="517" y="430"/>
                  <a:pt x="626" y="430"/>
                </a:cubicBezTo>
                <a:cubicBezTo>
                  <a:pt x="734" y="430"/>
                  <a:pt x="822" y="518"/>
                  <a:pt x="822" y="626"/>
                </a:cubicBezTo>
                <a:cubicBezTo>
                  <a:pt x="822" y="735"/>
                  <a:pt x="734" y="823"/>
                  <a:pt x="626" y="823"/>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 name="Wrench">
            <a:extLst>
              <a:ext uri="{FF2B5EF4-FFF2-40B4-BE49-F238E27FC236}">
                <a16:creationId xmlns:a16="http://schemas.microsoft.com/office/drawing/2014/main" id="{736770C2-E570-1648-97B5-6BEBBF06D820}"/>
              </a:ext>
            </a:extLst>
          </p:cNvPr>
          <p:cNvSpPr>
            <a:spLocks/>
          </p:cNvSpPr>
          <p:nvPr/>
        </p:nvSpPr>
        <p:spPr bwMode="auto">
          <a:xfrm>
            <a:off x="3921125" y="4691063"/>
            <a:ext cx="812800" cy="1031875"/>
          </a:xfrm>
          <a:custGeom>
            <a:avLst/>
            <a:gdLst/>
            <a:ahLst/>
            <a:cxnLst>
              <a:cxn ang="0">
                <a:pos x="683" y="53"/>
              </a:cxn>
              <a:cxn ang="0">
                <a:pos x="191" y="174"/>
              </a:cxn>
              <a:cxn ang="0">
                <a:pos x="191" y="867"/>
              </a:cxn>
            </a:cxnLst>
            <a:rect l="0" t="0" r="r" b="b"/>
            <a:pathLst>
              <a:path w="683" h="867">
                <a:moveTo>
                  <a:pt x="683" y="53"/>
                </a:moveTo>
                <a:cubicBezTo>
                  <a:pt x="515" y="0"/>
                  <a:pt x="324" y="41"/>
                  <a:pt x="191" y="174"/>
                </a:cubicBezTo>
                <a:cubicBezTo>
                  <a:pt x="0" y="365"/>
                  <a:pt x="0" y="675"/>
                  <a:pt x="191" y="867"/>
                </a:cubicBezTo>
              </a:path>
            </a:pathLst>
          </a:cu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 name="Wrench">
            <a:extLst>
              <a:ext uri="{FF2B5EF4-FFF2-40B4-BE49-F238E27FC236}">
                <a16:creationId xmlns:a16="http://schemas.microsoft.com/office/drawing/2014/main" id="{CB9D983D-A7A4-EE40-85DA-B17E71E8729A}"/>
              </a:ext>
            </a:extLst>
          </p:cNvPr>
          <p:cNvSpPr>
            <a:spLocks noChangeShapeType="1"/>
          </p:cNvSpPr>
          <p:nvPr/>
        </p:nvSpPr>
        <p:spPr bwMode="auto">
          <a:xfrm flipH="1">
            <a:off x="4733925" y="2671763"/>
            <a:ext cx="2082800" cy="2081213"/>
          </a:xfrm>
          <a:prstGeom prst="line">
            <a:avLst/>
          </a:prstGeom>
          <a:noFill/>
          <a:ln w="104775" cap="rnd">
            <a:solidFill>
              <a:srgbClr val="005587">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Wrench">
            <a:extLst>
              <a:ext uri="{FF2B5EF4-FFF2-40B4-BE49-F238E27FC236}">
                <a16:creationId xmlns:a16="http://schemas.microsoft.com/office/drawing/2014/main" id="{FC347772-62F6-A347-8FCB-7661B53B42BD}"/>
              </a:ext>
            </a:extLst>
          </p:cNvPr>
          <p:cNvSpPr>
            <a:spLocks/>
          </p:cNvSpPr>
          <p:nvPr/>
        </p:nvSpPr>
        <p:spPr bwMode="auto">
          <a:xfrm>
            <a:off x="6719887" y="1700213"/>
            <a:ext cx="941388" cy="971550"/>
          </a:xfrm>
          <a:custGeom>
            <a:avLst/>
            <a:gdLst/>
            <a:ahLst/>
            <a:cxnLst>
              <a:cxn ang="0">
                <a:pos x="791" y="66"/>
              </a:cxn>
              <a:cxn ang="0">
                <a:pos x="208" y="204"/>
              </a:cxn>
              <a:cxn ang="0">
                <a:pos x="81" y="816"/>
              </a:cxn>
            </a:cxnLst>
            <a:rect l="0" t="0" r="r" b="b"/>
            <a:pathLst>
              <a:path w="791" h="816">
                <a:moveTo>
                  <a:pt x="791" y="66"/>
                </a:moveTo>
                <a:cubicBezTo>
                  <a:pt x="593" y="0"/>
                  <a:pt x="366" y="46"/>
                  <a:pt x="208" y="204"/>
                </a:cubicBezTo>
                <a:cubicBezTo>
                  <a:pt x="43" y="369"/>
                  <a:pt x="0" y="611"/>
                  <a:pt x="81" y="816"/>
                </a:cubicBezTo>
              </a:path>
            </a:pathLst>
          </a:custGeom>
          <a:noFill/>
          <a:ln w="104775" cap="rnd">
            <a:solidFill>
              <a:srgbClr val="0076A8">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9" name="Wrench">
            <a:extLst>
              <a:ext uri="{FF2B5EF4-FFF2-40B4-BE49-F238E27FC236}">
                <a16:creationId xmlns:a16="http://schemas.microsoft.com/office/drawing/2014/main" id="{A269EF5E-9459-6E4F-AB54-E252788F2821}"/>
              </a:ext>
            </a:extLst>
          </p:cNvPr>
          <p:cNvSpPr>
            <a:spLocks/>
          </p:cNvSpPr>
          <p:nvPr/>
        </p:nvSpPr>
        <p:spPr bwMode="auto">
          <a:xfrm>
            <a:off x="4148137" y="5137150"/>
            <a:ext cx="1031875" cy="812800"/>
          </a:xfrm>
          <a:custGeom>
            <a:avLst/>
            <a:gdLst/>
            <a:ahLst/>
            <a:cxnLst>
              <a:cxn ang="0">
                <a:pos x="0" y="492"/>
              </a:cxn>
              <a:cxn ang="0">
                <a:pos x="693" y="492"/>
              </a:cxn>
              <a:cxn ang="0">
                <a:pos x="814" y="0"/>
              </a:cxn>
            </a:cxnLst>
            <a:rect l="0" t="0" r="r" b="b"/>
            <a:pathLst>
              <a:path w="866" h="683">
                <a:moveTo>
                  <a:pt x="0" y="492"/>
                </a:moveTo>
                <a:cubicBezTo>
                  <a:pt x="191" y="683"/>
                  <a:pt x="501" y="683"/>
                  <a:pt x="693" y="492"/>
                </a:cubicBezTo>
                <a:cubicBezTo>
                  <a:pt x="826" y="359"/>
                  <a:pt x="866" y="168"/>
                  <a:pt x="814" y="0"/>
                </a:cubicBezTo>
              </a:path>
            </a:pathLst>
          </a:custGeom>
          <a:noFill/>
          <a:ln w="104775" cap="rnd">
            <a:solidFill>
              <a:srgbClr val="86BC25">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 name="Wrench">
            <a:extLst>
              <a:ext uri="{FF2B5EF4-FFF2-40B4-BE49-F238E27FC236}">
                <a16:creationId xmlns:a16="http://schemas.microsoft.com/office/drawing/2014/main" id="{439BA700-52F4-E145-AE4E-D8869198BC84}"/>
              </a:ext>
            </a:extLst>
          </p:cNvPr>
          <p:cNvSpPr>
            <a:spLocks noChangeShapeType="1"/>
          </p:cNvSpPr>
          <p:nvPr/>
        </p:nvSpPr>
        <p:spPr bwMode="auto">
          <a:xfrm flipV="1">
            <a:off x="5118100" y="3055938"/>
            <a:ext cx="2081213" cy="2081213"/>
          </a:xfrm>
          <a:prstGeom prst="line">
            <a:avLst/>
          </a:prstGeom>
          <a:noFill/>
          <a:ln w="104775" cap="rnd">
            <a:solidFill>
              <a:srgbClr val="009A44">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1" name="Wrench">
            <a:extLst>
              <a:ext uri="{FF2B5EF4-FFF2-40B4-BE49-F238E27FC236}">
                <a16:creationId xmlns:a16="http://schemas.microsoft.com/office/drawing/2014/main" id="{A2B752DD-BE9A-534F-840A-DFBB60ACEECC}"/>
              </a:ext>
            </a:extLst>
          </p:cNvPr>
          <p:cNvSpPr>
            <a:spLocks/>
          </p:cNvSpPr>
          <p:nvPr/>
        </p:nvSpPr>
        <p:spPr bwMode="auto">
          <a:xfrm>
            <a:off x="7199312" y="2903538"/>
            <a:ext cx="728663" cy="247650"/>
          </a:xfrm>
          <a:custGeom>
            <a:avLst/>
            <a:gdLst/>
            <a:ahLst/>
            <a:cxnLst>
              <a:cxn ang="0">
                <a:pos x="0" y="127"/>
              </a:cxn>
              <a:cxn ang="0">
                <a:pos x="612" y="0"/>
              </a:cxn>
            </a:cxnLst>
            <a:rect l="0" t="0" r="r" b="b"/>
            <a:pathLst>
              <a:path w="612" h="207">
                <a:moveTo>
                  <a:pt x="0" y="127"/>
                </a:moveTo>
                <a:cubicBezTo>
                  <a:pt x="205" y="207"/>
                  <a:pt x="446" y="165"/>
                  <a:pt x="612" y="0"/>
                </a:cubicBezTo>
              </a:path>
            </a:pathLst>
          </a:custGeom>
          <a:noFill/>
          <a:ln w="104775" cap="rnd">
            <a:solidFill>
              <a:srgbClr val="86BC25">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Wrench">
            <a:extLst>
              <a:ext uri="{FF2B5EF4-FFF2-40B4-BE49-F238E27FC236}">
                <a16:creationId xmlns:a16="http://schemas.microsoft.com/office/drawing/2014/main" id="{368F628D-4C3C-D643-8E78-44598378C036}"/>
              </a:ext>
            </a:extLst>
          </p:cNvPr>
          <p:cNvSpPr>
            <a:spLocks/>
          </p:cNvSpPr>
          <p:nvPr/>
        </p:nvSpPr>
        <p:spPr bwMode="auto">
          <a:xfrm>
            <a:off x="7927975" y="2209800"/>
            <a:ext cx="241300" cy="693738"/>
          </a:xfrm>
          <a:custGeom>
            <a:avLst/>
            <a:gdLst/>
            <a:ahLst/>
            <a:cxnLst>
              <a:cxn ang="0">
                <a:pos x="0" y="583"/>
              </a:cxn>
              <a:cxn ang="0">
                <a:pos x="138" y="0"/>
              </a:cxn>
            </a:cxnLst>
            <a:rect l="0" t="0" r="r" b="b"/>
            <a:pathLst>
              <a:path w="203" h="583">
                <a:moveTo>
                  <a:pt x="0" y="583"/>
                </a:moveTo>
                <a:cubicBezTo>
                  <a:pt x="158" y="425"/>
                  <a:pt x="203" y="198"/>
                  <a:pt x="138" y="0"/>
                </a:cubicBezTo>
              </a:path>
            </a:pathLst>
          </a:custGeom>
          <a:noFill/>
          <a:ln w="104775" cap="rnd">
            <a:solidFill>
              <a:srgbClr val="046A38">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 name="Wrench">
            <a:extLst>
              <a:ext uri="{FF2B5EF4-FFF2-40B4-BE49-F238E27FC236}">
                <a16:creationId xmlns:a16="http://schemas.microsoft.com/office/drawing/2014/main" id="{FEADEAD2-21A1-6D43-A709-FF0EC35CE994}"/>
              </a:ext>
            </a:extLst>
          </p:cNvPr>
          <p:cNvSpPr>
            <a:spLocks/>
          </p:cNvSpPr>
          <p:nvPr/>
        </p:nvSpPr>
        <p:spPr bwMode="auto">
          <a:xfrm>
            <a:off x="7135812" y="1778000"/>
            <a:ext cx="957263" cy="958850"/>
          </a:xfrm>
          <a:custGeom>
            <a:avLst/>
            <a:gdLst/>
            <a:ahLst/>
            <a:cxnLst>
              <a:cxn ang="0">
                <a:pos x="804" y="362"/>
              </a:cxn>
              <a:cxn ang="0">
                <a:pos x="416" y="749"/>
              </a:cxn>
              <a:cxn ang="0">
                <a:pos x="219" y="749"/>
              </a:cxn>
              <a:cxn ang="0">
                <a:pos x="54" y="585"/>
              </a:cxn>
              <a:cxn ang="0">
                <a:pos x="54" y="388"/>
              </a:cxn>
              <a:cxn ang="0">
                <a:pos x="442" y="0"/>
              </a:cxn>
            </a:cxnLst>
            <a:rect l="0" t="0" r="r" b="b"/>
            <a:pathLst>
              <a:path w="804" h="804">
                <a:moveTo>
                  <a:pt x="804" y="362"/>
                </a:moveTo>
                <a:cubicBezTo>
                  <a:pt x="416" y="749"/>
                  <a:pt x="416" y="749"/>
                  <a:pt x="416" y="749"/>
                </a:cubicBezTo>
                <a:cubicBezTo>
                  <a:pt x="362" y="804"/>
                  <a:pt x="273" y="804"/>
                  <a:pt x="219" y="749"/>
                </a:cubicBezTo>
                <a:cubicBezTo>
                  <a:pt x="54" y="585"/>
                  <a:pt x="54" y="585"/>
                  <a:pt x="54" y="585"/>
                </a:cubicBezTo>
                <a:cubicBezTo>
                  <a:pt x="0" y="531"/>
                  <a:pt x="0" y="442"/>
                  <a:pt x="54" y="388"/>
                </a:cubicBezTo>
                <a:cubicBezTo>
                  <a:pt x="442" y="0"/>
                  <a:pt x="442" y="0"/>
                  <a:pt x="442" y="0"/>
                </a:cubicBezTo>
              </a:path>
            </a:pathLst>
          </a:custGeom>
          <a:noFill/>
          <a:ln w="104775" cap="rnd">
            <a:solidFill>
              <a:srgbClr val="00A3E0">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 name="Wrench">
            <a:extLst>
              <a:ext uri="{FF2B5EF4-FFF2-40B4-BE49-F238E27FC236}">
                <a16:creationId xmlns:a16="http://schemas.microsoft.com/office/drawing/2014/main" id="{13750B40-82E5-3A48-8D57-30836B6F5361}"/>
              </a:ext>
            </a:extLst>
          </p:cNvPr>
          <p:cNvSpPr>
            <a:spLocks/>
          </p:cNvSpPr>
          <p:nvPr/>
        </p:nvSpPr>
        <p:spPr bwMode="auto">
          <a:xfrm>
            <a:off x="4314825" y="5064125"/>
            <a:ext cx="490538" cy="311150"/>
          </a:xfrm>
          <a:custGeom>
            <a:avLst/>
            <a:gdLst/>
            <a:ahLst/>
            <a:cxnLst>
              <a:cxn ang="0">
                <a:pos x="0" y="196"/>
              </a:cxn>
              <a:cxn ang="0">
                <a:pos x="42" y="42"/>
              </a:cxn>
              <a:cxn ang="0">
                <a:pos x="197" y="0"/>
              </a:cxn>
              <a:cxn ang="0">
                <a:pos x="309" y="114"/>
              </a:cxn>
            </a:cxnLst>
            <a:rect l="0" t="0" r="r" b="b"/>
            <a:pathLst>
              <a:path w="309" h="196">
                <a:moveTo>
                  <a:pt x="0" y="196"/>
                </a:moveTo>
                <a:lnTo>
                  <a:pt x="42" y="42"/>
                </a:lnTo>
                <a:lnTo>
                  <a:pt x="197" y="0"/>
                </a:lnTo>
                <a:lnTo>
                  <a:pt x="309" y="114"/>
                </a:lnTo>
              </a:path>
            </a:pathLst>
          </a:custGeom>
          <a:noFill/>
          <a:ln w="104775" cap="rnd">
            <a:solidFill>
              <a:srgbClr val="96A3A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 name="Wrench">
            <a:extLst>
              <a:ext uri="{FF2B5EF4-FFF2-40B4-BE49-F238E27FC236}">
                <a16:creationId xmlns:a16="http://schemas.microsoft.com/office/drawing/2014/main" id="{A4A2248F-D54D-FD43-90CB-28533BDE1109}"/>
              </a:ext>
            </a:extLst>
          </p:cNvPr>
          <p:cNvSpPr>
            <a:spLocks/>
          </p:cNvSpPr>
          <p:nvPr/>
        </p:nvSpPr>
        <p:spPr bwMode="auto">
          <a:xfrm>
            <a:off x="4314825" y="5245100"/>
            <a:ext cx="490538" cy="309563"/>
          </a:xfrm>
          <a:custGeom>
            <a:avLst/>
            <a:gdLst/>
            <a:ahLst/>
            <a:cxnLst>
              <a:cxn ang="0">
                <a:pos x="309" y="0"/>
              </a:cxn>
              <a:cxn ang="0">
                <a:pos x="268" y="154"/>
              </a:cxn>
              <a:cxn ang="0">
                <a:pos x="114" y="195"/>
              </a:cxn>
              <a:cxn ang="0">
                <a:pos x="0" y="82"/>
              </a:cxn>
            </a:cxnLst>
            <a:rect l="0" t="0" r="r" b="b"/>
            <a:pathLst>
              <a:path w="309" h="195">
                <a:moveTo>
                  <a:pt x="309" y="0"/>
                </a:moveTo>
                <a:lnTo>
                  <a:pt x="268" y="154"/>
                </a:lnTo>
                <a:lnTo>
                  <a:pt x="114" y="195"/>
                </a:lnTo>
                <a:lnTo>
                  <a:pt x="0" y="82"/>
                </a:lnTo>
              </a:path>
            </a:pathLst>
          </a:custGeom>
          <a:noFill/>
          <a:ln w="104775" cap="rnd">
            <a:solidFill>
              <a:srgbClr val="383E3D">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Wrench">
            <a:extLst>
              <a:ext uri="{FF2B5EF4-FFF2-40B4-BE49-F238E27FC236}">
                <a16:creationId xmlns:a16="http://schemas.microsoft.com/office/drawing/2014/main" id="{228797E1-752F-B141-A054-5D74643F35CF}"/>
              </a:ext>
            </a:extLst>
          </p:cNvPr>
          <p:cNvSpPr>
            <a:spLocks noChangeShapeType="1"/>
          </p:cNvSpPr>
          <p:nvPr/>
        </p:nvSpPr>
        <p:spPr bwMode="auto">
          <a:xfrm flipV="1">
            <a:off x="4926012" y="4171950"/>
            <a:ext cx="773113" cy="773113"/>
          </a:xfrm>
          <a:prstGeom prst="line">
            <a:avLst/>
          </a:prstGeom>
          <a:noFill/>
          <a:ln w="180975" cap="rnd">
            <a:solidFill>
              <a:srgbClr val="ABC4C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7" name="Wrench">
            <a:extLst>
              <a:ext uri="{FF2B5EF4-FFF2-40B4-BE49-F238E27FC236}">
                <a16:creationId xmlns:a16="http://schemas.microsoft.com/office/drawing/2014/main" id="{3F5684F7-EE65-B04C-BFDB-F40A8D20631A}"/>
              </a:ext>
            </a:extLst>
          </p:cNvPr>
          <p:cNvSpPr>
            <a:spLocks noChangeShapeType="1"/>
          </p:cNvSpPr>
          <p:nvPr/>
        </p:nvSpPr>
        <p:spPr bwMode="auto">
          <a:xfrm flipV="1">
            <a:off x="5699125" y="3470275"/>
            <a:ext cx="701675" cy="701675"/>
          </a:xfrm>
          <a:prstGeom prst="line">
            <a:avLst/>
          </a:prstGeom>
          <a:noFill/>
          <a:ln w="180975" cap="rnd">
            <a:solidFill>
              <a:srgbClr val="6D8986">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8" name="Wrench">
            <a:extLst>
              <a:ext uri="{FF2B5EF4-FFF2-40B4-BE49-F238E27FC236}">
                <a16:creationId xmlns:a16="http://schemas.microsoft.com/office/drawing/2014/main" id="{0B50BD68-00FF-3341-98BF-AFD201A94DB0}"/>
              </a:ext>
            </a:extLst>
          </p:cNvPr>
          <p:cNvSpPr>
            <a:spLocks noChangeShapeType="1"/>
          </p:cNvSpPr>
          <p:nvPr/>
        </p:nvSpPr>
        <p:spPr bwMode="auto">
          <a:xfrm flipV="1">
            <a:off x="6400800" y="2863850"/>
            <a:ext cx="606425" cy="606425"/>
          </a:xfrm>
          <a:prstGeom prst="line">
            <a:avLst/>
          </a:prstGeom>
          <a:noFill/>
          <a:ln w="180975" cap="rnd">
            <a:solidFill>
              <a:srgbClr val="414948">
                <a:alpha val="8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9" name="Text">
            <a:extLst>
              <a:ext uri="{FF2B5EF4-FFF2-40B4-BE49-F238E27FC236}">
                <a16:creationId xmlns:a16="http://schemas.microsoft.com/office/drawing/2014/main" id="{C893A31D-9182-B443-B3DB-59CC67D6A5D3}"/>
              </a:ext>
            </a:extLst>
          </p:cNvPr>
          <p:cNvGrpSpPr/>
          <p:nvPr/>
        </p:nvGrpSpPr>
        <p:grpSpPr>
          <a:xfrm>
            <a:off x="4618972" y="3201082"/>
            <a:ext cx="2818717" cy="2402391"/>
            <a:chOff x="3134330" y="1912515"/>
            <a:chExt cx="2818717" cy="2402391"/>
          </a:xfrm>
        </p:grpSpPr>
        <p:sp>
          <p:nvSpPr>
            <p:cNvPr id="20" name="Rectangle 14">
              <a:extLst>
                <a:ext uri="{FF2B5EF4-FFF2-40B4-BE49-F238E27FC236}">
                  <a16:creationId xmlns:a16="http://schemas.microsoft.com/office/drawing/2014/main" id="{5D306B8D-6B80-784C-9AEA-DDB38908B189}"/>
                </a:ext>
              </a:extLst>
            </p:cNvPr>
            <p:cNvSpPr>
              <a:spLocks noChangeArrowheads="1"/>
            </p:cNvSpPr>
            <p:nvPr/>
          </p:nvSpPr>
          <p:spPr bwMode="auto">
            <a:xfrm rot="2700000">
              <a:off x="4861833" y="3470572"/>
              <a:ext cx="1227003" cy="4616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97999B"/>
                  </a:solidFill>
                  <a:effectLst/>
                  <a:uLnTx/>
                  <a:uFillTx/>
                  <a:ea typeface="+mn-ea"/>
                  <a:cs typeface="Arial" pitchFamily="34" charset="0"/>
                </a:rPr>
                <a:t>content</a:t>
              </a:r>
            </a:p>
          </p:txBody>
        </p:sp>
        <p:sp>
          <p:nvSpPr>
            <p:cNvPr id="21" name="Rectangle 15">
              <a:extLst>
                <a:ext uri="{FF2B5EF4-FFF2-40B4-BE49-F238E27FC236}">
                  <a16:creationId xmlns:a16="http://schemas.microsoft.com/office/drawing/2014/main" id="{0F8DEFDA-FBDF-CB4F-AB9C-320E9D8687FF}"/>
                </a:ext>
              </a:extLst>
            </p:cNvPr>
            <p:cNvSpPr>
              <a:spLocks noChangeArrowheads="1"/>
            </p:cNvSpPr>
            <p:nvPr/>
          </p:nvSpPr>
          <p:spPr bwMode="auto">
            <a:xfrm rot="18900000">
              <a:off x="3957788" y="3570790"/>
              <a:ext cx="723916"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43B02A"/>
                  </a:solidFill>
                  <a:effectLst/>
                  <a:uLnTx/>
                  <a:uFillTx/>
                  <a:ea typeface="+mn-ea"/>
                  <a:cs typeface="Arial" pitchFamily="34" charset="0"/>
                </a:rPr>
                <a:t>content</a:t>
              </a:r>
            </a:p>
          </p:txBody>
        </p:sp>
        <p:sp>
          <p:nvSpPr>
            <p:cNvPr id="22" name="Rectangle 18">
              <a:extLst>
                <a:ext uri="{FF2B5EF4-FFF2-40B4-BE49-F238E27FC236}">
                  <a16:creationId xmlns:a16="http://schemas.microsoft.com/office/drawing/2014/main" id="{AC7045C9-4BF0-9F4B-9B7E-75735935D9A1}"/>
                </a:ext>
              </a:extLst>
            </p:cNvPr>
            <p:cNvSpPr>
              <a:spLocks noChangeArrowheads="1"/>
            </p:cNvSpPr>
            <p:nvPr/>
          </p:nvSpPr>
          <p:spPr bwMode="auto">
            <a:xfrm rot="2700000">
              <a:off x="4835324" y="3556671"/>
              <a:ext cx="481542"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97999B"/>
                  </a:solidFill>
                  <a:effectLst/>
                  <a:uLnTx/>
                  <a:uFillTx/>
                  <a:ea typeface="+mn-ea"/>
                  <a:cs typeface="Arial" pitchFamily="34" charset="0"/>
                </a:rPr>
                <a:t>content</a:t>
              </a:r>
            </a:p>
          </p:txBody>
        </p:sp>
        <p:sp>
          <p:nvSpPr>
            <p:cNvPr id="23" name="Rectangle 21">
              <a:extLst>
                <a:ext uri="{FF2B5EF4-FFF2-40B4-BE49-F238E27FC236}">
                  <a16:creationId xmlns:a16="http://schemas.microsoft.com/office/drawing/2014/main" id="{2F84A3F3-1D6F-1444-86D2-9CCD44F8E2E7}"/>
                </a:ext>
              </a:extLst>
            </p:cNvPr>
            <p:cNvSpPr>
              <a:spLocks noChangeArrowheads="1"/>
            </p:cNvSpPr>
            <p:nvPr/>
          </p:nvSpPr>
          <p:spPr bwMode="auto">
            <a:xfrm rot="18900000">
              <a:off x="4883574" y="2395285"/>
              <a:ext cx="643061"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43B02A"/>
                  </a:solidFill>
                  <a:effectLst/>
                  <a:uLnTx/>
                  <a:uFillTx/>
                  <a:ea typeface="+mn-ea"/>
                  <a:cs typeface="Arial" pitchFamily="34" charset="0"/>
                </a:rPr>
                <a:t>content</a:t>
              </a:r>
            </a:p>
          </p:txBody>
        </p:sp>
        <p:sp>
          <p:nvSpPr>
            <p:cNvPr id="24" name="Rectangle 27">
              <a:extLst>
                <a:ext uri="{FF2B5EF4-FFF2-40B4-BE49-F238E27FC236}">
                  <a16:creationId xmlns:a16="http://schemas.microsoft.com/office/drawing/2014/main" id="{B48D52B8-0DE5-F040-B76D-05746C17CFA8}"/>
                </a:ext>
              </a:extLst>
            </p:cNvPr>
            <p:cNvSpPr>
              <a:spLocks noChangeArrowheads="1"/>
            </p:cNvSpPr>
            <p:nvPr/>
          </p:nvSpPr>
          <p:spPr bwMode="auto">
            <a:xfrm rot="18900000">
              <a:off x="3134330" y="2962318"/>
              <a:ext cx="5639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ru-RU" sz="1400" b="0" i="0" u="none" strike="noStrike" kern="1200" cap="none" spc="0" normalizeH="0" baseline="0" noProof="0" dirty="0">
                  <a:ln>
                    <a:noFill/>
                  </a:ln>
                  <a:solidFill>
                    <a:srgbClr val="00A3E0"/>
                  </a:solidFill>
                  <a:effectLst/>
                  <a:uLnTx/>
                  <a:uFillTx/>
                  <a:latin typeface="+mn-lt"/>
                  <a:ea typeface="+mn-ea"/>
                  <a:cs typeface="Arial" pitchFamily="34" charset="0"/>
                </a:rPr>
                <a:t>content</a:t>
              </a:r>
            </a:p>
          </p:txBody>
        </p:sp>
        <p:sp>
          <p:nvSpPr>
            <p:cNvPr id="25" name="Rectangle 35">
              <a:extLst>
                <a:ext uri="{FF2B5EF4-FFF2-40B4-BE49-F238E27FC236}">
                  <a16:creationId xmlns:a16="http://schemas.microsoft.com/office/drawing/2014/main" id="{2A0BE2C1-62DA-FD4C-80E4-09675D8F526E}"/>
                </a:ext>
              </a:extLst>
            </p:cNvPr>
            <p:cNvSpPr>
              <a:spLocks noChangeArrowheads="1"/>
            </p:cNvSpPr>
            <p:nvPr/>
          </p:nvSpPr>
          <p:spPr bwMode="auto">
            <a:xfrm rot="18900000">
              <a:off x="3906828" y="3344475"/>
              <a:ext cx="733983"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43B02A"/>
                  </a:solidFill>
                  <a:effectLst/>
                  <a:uLnTx/>
                  <a:uFillTx/>
                  <a:ea typeface="+mn-ea"/>
                  <a:cs typeface="Arial" pitchFamily="34" charset="0"/>
                </a:rPr>
                <a:t>content</a:t>
              </a:r>
            </a:p>
          </p:txBody>
        </p:sp>
        <p:sp>
          <p:nvSpPr>
            <p:cNvPr id="26" name="Rectangle 28">
              <a:extLst>
                <a:ext uri="{FF2B5EF4-FFF2-40B4-BE49-F238E27FC236}">
                  <a16:creationId xmlns:a16="http://schemas.microsoft.com/office/drawing/2014/main" id="{B202DE11-7392-5247-8ACB-8467E5D31224}"/>
                </a:ext>
              </a:extLst>
            </p:cNvPr>
            <p:cNvSpPr>
              <a:spLocks noChangeArrowheads="1"/>
            </p:cNvSpPr>
            <p:nvPr/>
          </p:nvSpPr>
          <p:spPr bwMode="auto">
            <a:xfrm rot="18900000">
              <a:off x="5135066" y="2273795"/>
              <a:ext cx="817981" cy="3077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A3E0"/>
                  </a:solidFill>
                  <a:effectLst/>
                  <a:uLnTx/>
                  <a:uFillTx/>
                  <a:ea typeface="+mn-ea"/>
                  <a:cs typeface="Arial" pitchFamily="34" charset="0"/>
                </a:rPr>
                <a:t>content</a:t>
              </a:r>
            </a:p>
          </p:txBody>
        </p:sp>
        <p:sp>
          <p:nvSpPr>
            <p:cNvPr id="27" name="Rectangle 18">
              <a:extLst>
                <a:ext uri="{FF2B5EF4-FFF2-40B4-BE49-F238E27FC236}">
                  <a16:creationId xmlns:a16="http://schemas.microsoft.com/office/drawing/2014/main" id="{F6116714-E8F0-274F-87EA-2DB3CAA3A721}"/>
                </a:ext>
              </a:extLst>
            </p:cNvPr>
            <p:cNvSpPr>
              <a:spLocks noChangeArrowheads="1"/>
            </p:cNvSpPr>
            <p:nvPr/>
          </p:nvSpPr>
          <p:spPr bwMode="auto">
            <a:xfrm rot="2700000">
              <a:off x="5007651" y="3107888"/>
              <a:ext cx="572273"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A3E0"/>
                  </a:solidFill>
                  <a:effectLst/>
                  <a:uLnTx/>
                  <a:uFillTx/>
                  <a:ea typeface="+mn-ea"/>
                  <a:cs typeface="Arial" pitchFamily="34" charset="0"/>
                </a:rPr>
                <a:t>content</a:t>
              </a:r>
            </a:p>
          </p:txBody>
        </p:sp>
        <p:sp>
          <p:nvSpPr>
            <p:cNvPr id="28" name="Rectangle 14">
              <a:extLst>
                <a:ext uri="{FF2B5EF4-FFF2-40B4-BE49-F238E27FC236}">
                  <a16:creationId xmlns:a16="http://schemas.microsoft.com/office/drawing/2014/main" id="{2A519AE8-8FE2-B74F-9326-C40DCA1CC8C4}"/>
                </a:ext>
              </a:extLst>
            </p:cNvPr>
            <p:cNvSpPr>
              <a:spLocks noChangeArrowheads="1"/>
            </p:cNvSpPr>
            <p:nvPr/>
          </p:nvSpPr>
          <p:spPr bwMode="auto">
            <a:xfrm rot="2700000">
              <a:off x="3009690" y="2179736"/>
              <a:ext cx="857607" cy="3231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2100" b="1" i="0" u="none" strike="noStrike" kern="1200" cap="none" spc="0" normalizeH="0" baseline="0" noProof="0" dirty="0">
                  <a:ln>
                    <a:noFill/>
                  </a:ln>
                  <a:solidFill>
                    <a:srgbClr val="97999B"/>
                  </a:solidFill>
                  <a:effectLst/>
                  <a:uLnTx/>
                  <a:uFillTx/>
                  <a:ea typeface="+mn-ea"/>
                  <a:cs typeface="Arial" pitchFamily="34" charset="0"/>
                </a:rPr>
                <a:t>content</a:t>
              </a:r>
              <a:endParaRPr kumimoji="0" lang="ru-RU" sz="2100" b="0" i="0" u="none" strike="noStrike" kern="1200" cap="none" spc="0" normalizeH="0" baseline="0" noProof="0" dirty="0">
                <a:ln>
                  <a:noFill/>
                </a:ln>
                <a:solidFill>
                  <a:srgbClr val="97999B"/>
                </a:solidFill>
                <a:effectLst/>
                <a:uLnTx/>
                <a:uFillTx/>
                <a:ea typeface="+mn-ea"/>
                <a:cs typeface="Arial" pitchFamily="34" charset="0"/>
              </a:endParaRPr>
            </a:p>
          </p:txBody>
        </p:sp>
      </p:grpSp>
      <p:sp>
        <p:nvSpPr>
          <p:cNvPr id="29" name="文本框 46">
            <a:extLst>
              <a:ext uri="{FF2B5EF4-FFF2-40B4-BE49-F238E27FC236}">
                <a16:creationId xmlns:a16="http://schemas.microsoft.com/office/drawing/2014/main" id="{AA1375DF-CB8D-2A4D-96B9-CD3FCB08CE4F}"/>
              </a:ext>
            </a:extLst>
          </p:cNvPr>
          <p:cNvSpPr txBox="1"/>
          <p:nvPr/>
        </p:nvSpPr>
        <p:spPr>
          <a:xfrm>
            <a:off x="634205" y="2440385"/>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30" name="文本框 48">
            <a:extLst>
              <a:ext uri="{FF2B5EF4-FFF2-40B4-BE49-F238E27FC236}">
                <a16:creationId xmlns:a16="http://schemas.microsoft.com/office/drawing/2014/main" id="{566129F7-0A74-8742-B463-BC318B31C36E}"/>
              </a:ext>
            </a:extLst>
          </p:cNvPr>
          <p:cNvSpPr txBox="1"/>
          <p:nvPr/>
        </p:nvSpPr>
        <p:spPr>
          <a:xfrm>
            <a:off x="9999663" y="2257425"/>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cxnSp>
        <p:nvCxnSpPr>
          <p:cNvPr id="31" name="肘形连接符 49">
            <a:extLst>
              <a:ext uri="{FF2B5EF4-FFF2-40B4-BE49-F238E27FC236}">
                <a16:creationId xmlns:a16="http://schemas.microsoft.com/office/drawing/2014/main" id="{6CDCEC62-9307-6340-942D-FD952E343FBE}"/>
              </a:ext>
            </a:extLst>
          </p:cNvPr>
          <p:cNvCxnSpPr/>
          <p:nvPr/>
        </p:nvCxnSpPr>
        <p:spPr>
          <a:xfrm flipV="1">
            <a:off x="7614443" y="2339561"/>
            <a:ext cx="2055470" cy="1062100"/>
          </a:xfrm>
          <a:prstGeom prst="bentConnector3">
            <a:avLst>
              <a:gd name="adj1" fmla="val 50000"/>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2" name="肘形连接符 51">
            <a:extLst>
              <a:ext uri="{FF2B5EF4-FFF2-40B4-BE49-F238E27FC236}">
                <a16:creationId xmlns:a16="http://schemas.microsoft.com/office/drawing/2014/main" id="{AED7D854-A040-E044-88C0-3E8A2182D171}"/>
              </a:ext>
            </a:extLst>
          </p:cNvPr>
          <p:cNvCxnSpPr/>
          <p:nvPr/>
        </p:nvCxnSpPr>
        <p:spPr>
          <a:xfrm rot="10800000">
            <a:off x="1711106" y="2514998"/>
            <a:ext cx="2689717" cy="769541"/>
          </a:xfrm>
          <a:prstGeom prst="bentConnector3">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文本框 54">
            <a:extLst>
              <a:ext uri="{FF2B5EF4-FFF2-40B4-BE49-F238E27FC236}">
                <a16:creationId xmlns:a16="http://schemas.microsoft.com/office/drawing/2014/main" id="{A580D5CB-165C-5D4B-A5E1-3F65298917BD}"/>
              </a:ext>
            </a:extLst>
          </p:cNvPr>
          <p:cNvSpPr txBox="1"/>
          <p:nvPr/>
        </p:nvSpPr>
        <p:spPr>
          <a:xfrm>
            <a:off x="9910390" y="5181218"/>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cxnSp>
        <p:nvCxnSpPr>
          <p:cNvPr id="34" name="肘形连接符 55">
            <a:extLst>
              <a:ext uri="{FF2B5EF4-FFF2-40B4-BE49-F238E27FC236}">
                <a16:creationId xmlns:a16="http://schemas.microsoft.com/office/drawing/2014/main" id="{AF8671F0-0B0D-CB4A-824B-FB1F217F8C97}"/>
              </a:ext>
            </a:extLst>
          </p:cNvPr>
          <p:cNvCxnSpPr/>
          <p:nvPr/>
        </p:nvCxnSpPr>
        <p:spPr>
          <a:xfrm>
            <a:off x="7525170" y="5181650"/>
            <a:ext cx="1986123" cy="622630"/>
          </a:xfrm>
          <a:prstGeom prst="bentConnector3">
            <a:avLst>
              <a:gd name="adj1" fmla="val 50000"/>
            </a:avLst>
          </a:prstGeom>
          <a:ln w="19050">
            <a:solidFill>
              <a:srgbClr val="D0D0CE"/>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Star: 5 Points 34">
            <a:extLst>
              <a:ext uri="{FF2B5EF4-FFF2-40B4-BE49-F238E27FC236}">
                <a16:creationId xmlns:a16="http://schemas.microsoft.com/office/drawing/2014/main" id="{1CA7D69D-38FB-4C64-928D-C1F7E2E67223}"/>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850370611"/>
      </p:ext>
    </p:extLst>
  </p:cSld>
  <p:clrMapOvr>
    <a:masterClrMapping/>
  </p:clrMapOvr>
  <p:transition>
    <p:fade/>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8">
            <a:extLst>
              <a:ext uri="{FF2B5EF4-FFF2-40B4-BE49-F238E27FC236}">
                <a16:creationId xmlns:a16="http://schemas.microsoft.com/office/drawing/2014/main" id="{840C6DCE-648C-7940-B386-1E1A952E865F}"/>
              </a:ext>
            </a:extLst>
          </p:cNvPr>
          <p:cNvSpPr>
            <a:spLocks noGrp="1"/>
          </p:cNvSpPr>
          <p:nvPr>
            <p:ph type="title"/>
          </p:nvPr>
        </p:nvSpPr>
        <p:spPr/>
        <p:txBody>
          <a:bodyPr/>
          <a:lstStyle/>
          <a:p>
            <a:r>
              <a:rPr lang="en-US" dirty="0"/>
              <a:t>Pipeline</a:t>
            </a:r>
          </a:p>
        </p:txBody>
      </p:sp>
      <p:pic>
        <p:nvPicPr>
          <p:cNvPr id="4" name="图片 38">
            <a:extLst>
              <a:ext uri="{FF2B5EF4-FFF2-40B4-BE49-F238E27FC236}">
                <a16:creationId xmlns:a16="http://schemas.microsoft.com/office/drawing/2014/main" id="{C098A15C-5BCD-7B4A-B546-2E07703568D5}"/>
              </a:ext>
            </a:extLst>
          </p:cNvPr>
          <p:cNvPicPr>
            <a:picLocks noChangeAspect="1"/>
          </p:cNvPicPr>
          <p:nvPr/>
        </p:nvPicPr>
        <p:blipFill>
          <a:blip r:embed="rId2"/>
          <a:stretch>
            <a:fillRect/>
          </a:stretch>
        </p:blipFill>
        <p:spPr>
          <a:xfrm>
            <a:off x="303329" y="896337"/>
            <a:ext cx="11152970" cy="5536000"/>
          </a:xfrm>
          <a:prstGeom prst="rect">
            <a:avLst/>
          </a:prstGeom>
        </p:spPr>
      </p:pic>
      <p:pic>
        <p:nvPicPr>
          <p:cNvPr id="5" name="图片 39">
            <a:extLst>
              <a:ext uri="{FF2B5EF4-FFF2-40B4-BE49-F238E27FC236}">
                <a16:creationId xmlns:a16="http://schemas.microsoft.com/office/drawing/2014/main" id="{1B5A203F-96B5-CE4C-8877-20D51756417A}"/>
              </a:ext>
            </a:extLst>
          </p:cNvPr>
          <p:cNvPicPr>
            <a:picLocks noChangeAspect="1"/>
          </p:cNvPicPr>
          <p:nvPr/>
        </p:nvPicPr>
        <p:blipFill>
          <a:blip r:embed="rId3"/>
          <a:stretch>
            <a:fillRect/>
          </a:stretch>
        </p:blipFill>
        <p:spPr>
          <a:xfrm>
            <a:off x="2339137" y="2234590"/>
            <a:ext cx="7688307" cy="2468133"/>
          </a:xfrm>
          <a:prstGeom prst="rect">
            <a:avLst/>
          </a:prstGeom>
        </p:spPr>
      </p:pic>
      <p:sp>
        <p:nvSpPr>
          <p:cNvPr id="6" name="Rectangle 54">
            <a:extLst>
              <a:ext uri="{FF2B5EF4-FFF2-40B4-BE49-F238E27FC236}">
                <a16:creationId xmlns:a16="http://schemas.microsoft.com/office/drawing/2014/main" id="{CDF6F675-2E33-DC47-95A4-B748A088CF8C}"/>
              </a:ext>
            </a:extLst>
          </p:cNvPr>
          <p:cNvSpPr/>
          <p:nvPr/>
        </p:nvSpPr>
        <p:spPr>
          <a:xfrm>
            <a:off x="469900" y="1699583"/>
            <a:ext cx="1724025" cy="76944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86BC25"/>
                </a:solidFill>
                <a:effectLst/>
                <a:uLnTx/>
                <a:uFillTx/>
                <a:ea typeface="华文细黑" panose="02010600040101010101" pitchFamily="2" charset="-122"/>
                <a:cs typeface="+mn-cs"/>
              </a:rPr>
              <a:t>Xxxxxx</a:t>
            </a:r>
            <a:endParaRPr kumimoji="0" lang="en-US" altLang="zh-CN" sz="1400" b="1" i="0" u="none" strike="noStrike" kern="0" cap="none" spc="0" normalizeH="0" baseline="0" noProof="0" dirty="0">
              <a:ln>
                <a:noFill/>
              </a:ln>
              <a:solidFill>
                <a:srgbClr val="86BC25"/>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altLang="zh-CN" sz="1400" b="1" i="0" u="none" strike="noStrike" kern="0" cap="none" spc="0" normalizeH="0" baseline="0" noProof="0" dirty="0">
              <a:ln>
                <a:noFill/>
              </a:ln>
              <a:solidFill>
                <a:srgbClr val="86BC25"/>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a:ln>
                  <a:noFill/>
                </a:ln>
                <a:solidFill>
                  <a:srgbClr val="75787B"/>
                </a:solidFill>
                <a:effectLst/>
                <a:uLnTx/>
                <a:uFillTx/>
                <a:ea typeface="华文细黑" panose="02010600040101010101" pitchFamily="2" charset="-122"/>
                <a:cs typeface="+mn-cs"/>
              </a:rPr>
              <a:t>xxxxxxxx</a:t>
            </a: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cxnSp>
        <p:nvCxnSpPr>
          <p:cNvPr id="7" name="直接连接符 41">
            <a:extLst>
              <a:ext uri="{FF2B5EF4-FFF2-40B4-BE49-F238E27FC236}">
                <a16:creationId xmlns:a16="http://schemas.microsoft.com/office/drawing/2014/main" id="{5C1CCA70-9853-4144-A5A5-ECFDBCDED1ED}"/>
              </a:ext>
            </a:extLst>
          </p:cNvPr>
          <p:cNvCxnSpPr/>
          <p:nvPr/>
        </p:nvCxnSpPr>
        <p:spPr>
          <a:xfrm>
            <a:off x="880132" y="2030805"/>
            <a:ext cx="1313793"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grpSp>
        <p:nvGrpSpPr>
          <p:cNvPr id="8" name="Group 932">
            <a:extLst>
              <a:ext uri="{FF2B5EF4-FFF2-40B4-BE49-F238E27FC236}">
                <a16:creationId xmlns:a16="http://schemas.microsoft.com/office/drawing/2014/main" id="{AFE2519C-FC67-8F4F-8459-EA859271AB04}"/>
              </a:ext>
            </a:extLst>
          </p:cNvPr>
          <p:cNvGrpSpPr>
            <a:grpSpLocks noChangeAspect="1"/>
          </p:cNvGrpSpPr>
          <p:nvPr/>
        </p:nvGrpSpPr>
        <p:grpSpPr bwMode="auto">
          <a:xfrm>
            <a:off x="3886632" y="1713541"/>
            <a:ext cx="543148" cy="537412"/>
            <a:chOff x="5795" y="3560"/>
            <a:chExt cx="340" cy="340"/>
          </a:xfrm>
          <a:solidFill>
            <a:srgbClr val="6FC2B4"/>
          </a:solidFill>
        </p:grpSpPr>
        <p:sp>
          <p:nvSpPr>
            <p:cNvPr id="9" name="Freeform 933">
              <a:extLst>
                <a:ext uri="{FF2B5EF4-FFF2-40B4-BE49-F238E27FC236}">
                  <a16:creationId xmlns:a16="http://schemas.microsoft.com/office/drawing/2014/main" id="{0EFFD9BD-4865-1844-A762-0A5C8712A6AC}"/>
                </a:ext>
              </a:extLst>
            </p:cNvPr>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0" name="Freeform 934">
              <a:extLst>
                <a:ext uri="{FF2B5EF4-FFF2-40B4-BE49-F238E27FC236}">
                  <a16:creationId xmlns:a16="http://schemas.microsoft.com/office/drawing/2014/main" id="{83BC4511-B12A-E44B-AB08-F6CCFD023C4B}"/>
                </a:ext>
              </a:extLst>
            </p:cNvPr>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11" name="Group 519">
            <a:extLst>
              <a:ext uri="{FF2B5EF4-FFF2-40B4-BE49-F238E27FC236}">
                <a16:creationId xmlns:a16="http://schemas.microsoft.com/office/drawing/2014/main" id="{C8B0511E-F9F3-BF47-A1FC-DDD1DE55C73C}"/>
              </a:ext>
            </a:extLst>
          </p:cNvPr>
          <p:cNvGrpSpPr>
            <a:grpSpLocks noChangeAspect="1"/>
          </p:cNvGrpSpPr>
          <p:nvPr/>
        </p:nvGrpSpPr>
        <p:grpSpPr bwMode="auto">
          <a:xfrm>
            <a:off x="2339137" y="1697178"/>
            <a:ext cx="542326" cy="536598"/>
            <a:chOff x="4190" y="2983"/>
            <a:chExt cx="340" cy="340"/>
          </a:xfrm>
          <a:solidFill>
            <a:srgbClr val="86BC25"/>
          </a:solidFill>
        </p:grpSpPr>
        <p:sp>
          <p:nvSpPr>
            <p:cNvPr id="12" name="Freeform 520">
              <a:extLst>
                <a:ext uri="{FF2B5EF4-FFF2-40B4-BE49-F238E27FC236}">
                  <a16:creationId xmlns:a16="http://schemas.microsoft.com/office/drawing/2014/main" id="{037A5BE7-14EE-9145-ACF2-850B2F54A1B4}"/>
                </a:ext>
              </a:extLst>
            </p:cNvPr>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3" name="Freeform 521">
              <a:extLst>
                <a:ext uri="{FF2B5EF4-FFF2-40B4-BE49-F238E27FC236}">
                  <a16:creationId xmlns:a16="http://schemas.microsoft.com/office/drawing/2014/main" id="{4C0098CB-D26F-454B-94A6-A56F65406D3A}"/>
                </a:ext>
              </a:extLst>
            </p:cNvPr>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14" name="Group 31">
            <a:extLst>
              <a:ext uri="{FF2B5EF4-FFF2-40B4-BE49-F238E27FC236}">
                <a16:creationId xmlns:a16="http://schemas.microsoft.com/office/drawing/2014/main" id="{887724E1-D6EE-EE43-A4C9-91EF03A94C04}"/>
              </a:ext>
            </a:extLst>
          </p:cNvPr>
          <p:cNvGrpSpPr/>
          <p:nvPr/>
        </p:nvGrpSpPr>
        <p:grpSpPr>
          <a:xfrm>
            <a:off x="7905903" y="1586381"/>
            <a:ext cx="537412" cy="537412"/>
            <a:chOff x="3117537" y="2509536"/>
            <a:chExt cx="1193875" cy="1193875"/>
          </a:xfrm>
          <a:solidFill>
            <a:srgbClr val="00A3E0"/>
          </a:solidFill>
        </p:grpSpPr>
        <p:sp>
          <p:nvSpPr>
            <p:cNvPr id="15" name="Freeform 918">
              <a:extLst>
                <a:ext uri="{FF2B5EF4-FFF2-40B4-BE49-F238E27FC236}">
                  <a16:creationId xmlns:a16="http://schemas.microsoft.com/office/drawing/2014/main" id="{B66EE2F5-D8AE-8D47-9FAF-1ED38E6B36A5}"/>
                </a:ext>
              </a:extLst>
            </p:cNvPr>
            <p:cNvSpPr>
              <a:spLocks noEditPoints="1"/>
            </p:cNvSpPr>
            <p:nvPr/>
          </p:nvSpPr>
          <p:spPr bwMode="auto">
            <a:xfrm>
              <a:off x="3342266" y="2832585"/>
              <a:ext cx="744416" cy="547778"/>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6" name="Freeform 919">
              <a:extLst>
                <a:ext uri="{FF2B5EF4-FFF2-40B4-BE49-F238E27FC236}">
                  <a16:creationId xmlns:a16="http://schemas.microsoft.com/office/drawing/2014/main" id="{6B6E6BA2-24FA-DF41-AB77-A8F0D0A6E917}"/>
                </a:ext>
              </a:extLst>
            </p:cNvPr>
            <p:cNvSpPr>
              <a:spLocks noEditPoints="1"/>
            </p:cNvSpPr>
            <p:nvPr/>
          </p:nvSpPr>
          <p:spPr bwMode="auto">
            <a:xfrm>
              <a:off x="3117537" y="2509536"/>
              <a:ext cx="1193875" cy="119387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17" name="Group 892">
            <a:extLst>
              <a:ext uri="{FF2B5EF4-FFF2-40B4-BE49-F238E27FC236}">
                <a16:creationId xmlns:a16="http://schemas.microsoft.com/office/drawing/2014/main" id="{7CD189F5-B45B-C34F-8C6A-8AE3977240D4}"/>
              </a:ext>
            </a:extLst>
          </p:cNvPr>
          <p:cNvGrpSpPr>
            <a:grpSpLocks noChangeAspect="1"/>
          </p:cNvGrpSpPr>
          <p:nvPr/>
        </p:nvGrpSpPr>
        <p:grpSpPr bwMode="auto">
          <a:xfrm>
            <a:off x="4429780" y="4522532"/>
            <a:ext cx="541552" cy="537412"/>
            <a:chOff x="4270" y="3457"/>
            <a:chExt cx="340" cy="341"/>
          </a:xfrm>
          <a:solidFill>
            <a:srgbClr val="00A3E0"/>
          </a:solidFill>
        </p:grpSpPr>
        <p:sp>
          <p:nvSpPr>
            <p:cNvPr id="18" name="Freeform 893">
              <a:extLst>
                <a:ext uri="{FF2B5EF4-FFF2-40B4-BE49-F238E27FC236}">
                  <a16:creationId xmlns:a16="http://schemas.microsoft.com/office/drawing/2014/main" id="{50CA4D25-35FD-AC47-96D7-BDC2A36EA1CE}"/>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9" name="Freeform 894">
              <a:extLst>
                <a:ext uri="{FF2B5EF4-FFF2-40B4-BE49-F238E27FC236}">
                  <a16:creationId xmlns:a16="http://schemas.microsoft.com/office/drawing/2014/main" id="{31A97B4E-8500-164E-BBA3-705728ABF2EB}"/>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20" name="Group 902">
            <a:extLst>
              <a:ext uri="{FF2B5EF4-FFF2-40B4-BE49-F238E27FC236}">
                <a16:creationId xmlns:a16="http://schemas.microsoft.com/office/drawing/2014/main" id="{23E5D8DA-6975-4642-BDF9-1070AB686F47}"/>
              </a:ext>
            </a:extLst>
          </p:cNvPr>
          <p:cNvGrpSpPr>
            <a:grpSpLocks noChangeAspect="1"/>
          </p:cNvGrpSpPr>
          <p:nvPr/>
        </p:nvGrpSpPr>
        <p:grpSpPr bwMode="auto">
          <a:xfrm>
            <a:off x="6869905" y="4522532"/>
            <a:ext cx="543148" cy="537412"/>
            <a:chOff x="4880" y="3759"/>
            <a:chExt cx="340" cy="340"/>
          </a:xfrm>
          <a:solidFill>
            <a:srgbClr val="86BC25"/>
          </a:solidFill>
        </p:grpSpPr>
        <p:sp>
          <p:nvSpPr>
            <p:cNvPr id="21" name="Freeform 903">
              <a:extLst>
                <a:ext uri="{FF2B5EF4-FFF2-40B4-BE49-F238E27FC236}">
                  <a16:creationId xmlns:a16="http://schemas.microsoft.com/office/drawing/2014/main" id="{92549BC2-BC47-5549-833E-987E2CCBF733}"/>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22" name="Freeform 904">
              <a:extLst>
                <a:ext uri="{FF2B5EF4-FFF2-40B4-BE49-F238E27FC236}">
                  <a16:creationId xmlns:a16="http://schemas.microsoft.com/office/drawing/2014/main" id="{CCA89572-C17D-CF42-8D7B-D5B8159F9EEF}"/>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23" name="Group 675">
            <a:extLst>
              <a:ext uri="{FF2B5EF4-FFF2-40B4-BE49-F238E27FC236}">
                <a16:creationId xmlns:a16="http://schemas.microsoft.com/office/drawing/2014/main" id="{8BA887F5-457D-1842-8A54-5C41769AEFB9}"/>
              </a:ext>
            </a:extLst>
          </p:cNvPr>
          <p:cNvGrpSpPr>
            <a:grpSpLocks noChangeAspect="1"/>
          </p:cNvGrpSpPr>
          <p:nvPr/>
        </p:nvGrpSpPr>
        <p:grpSpPr bwMode="auto">
          <a:xfrm>
            <a:off x="9559892" y="4774690"/>
            <a:ext cx="543148" cy="537412"/>
            <a:chOff x="6583" y="2681"/>
            <a:chExt cx="340" cy="340"/>
          </a:xfrm>
          <a:solidFill>
            <a:srgbClr val="6FC2B4"/>
          </a:solidFill>
        </p:grpSpPr>
        <p:sp>
          <p:nvSpPr>
            <p:cNvPr id="24" name="Freeform 676">
              <a:extLst>
                <a:ext uri="{FF2B5EF4-FFF2-40B4-BE49-F238E27FC236}">
                  <a16:creationId xmlns:a16="http://schemas.microsoft.com/office/drawing/2014/main" id="{A308C309-7B77-C442-9900-EE7154BF04C6}"/>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25" name="Freeform 677">
              <a:extLst>
                <a:ext uri="{FF2B5EF4-FFF2-40B4-BE49-F238E27FC236}">
                  <a16:creationId xmlns:a16="http://schemas.microsoft.com/office/drawing/2014/main" id="{66FF12AE-8585-F541-AF73-2940C0C3CC9B}"/>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26" name="Freeform 678">
              <a:extLst>
                <a:ext uri="{FF2B5EF4-FFF2-40B4-BE49-F238E27FC236}">
                  <a16:creationId xmlns:a16="http://schemas.microsoft.com/office/drawing/2014/main" id="{07111255-A7FC-BD47-9D59-1345F869B2AE}"/>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sp>
        <p:nvSpPr>
          <p:cNvPr id="27" name="Rectangle 54">
            <a:extLst>
              <a:ext uri="{FF2B5EF4-FFF2-40B4-BE49-F238E27FC236}">
                <a16:creationId xmlns:a16="http://schemas.microsoft.com/office/drawing/2014/main" id="{94BFEA7B-AD01-3043-A696-8E56EDE20DD0}"/>
              </a:ext>
            </a:extLst>
          </p:cNvPr>
          <p:cNvSpPr/>
          <p:nvPr/>
        </p:nvSpPr>
        <p:spPr>
          <a:xfrm>
            <a:off x="4615077" y="1697178"/>
            <a:ext cx="1724025" cy="93871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6FC2B4"/>
                </a:solidFill>
                <a:effectLst/>
                <a:uLnTx/>
                <a:uFillTx/>
                <a:ea typeface="华文细黑" panose="02010600040101010101" pitchFamily="2" charset="-122"/>
                <a:cs typeface="+mn-cs"/>
              </a:rPr>
              <a:t>Xxxxxx</a:t>
            </a:r>
            <a:endParaRPr kumimoji="0" lang="en-US" altLang="zh-CN" sz="1400" b="1" i="0" u="none" strike="noStrike" kern="0" cap="none" spc="0" normalizeH="0" baseline="0" noProof="0" dirty="0">
              <a:ln>
                <a:noFill/>
              </a:ln>
              <a:solidFill>
                <a:srgbClr val="6FC2B4"/>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sngStrike" kern="0" cap="none" spc="0" normalizeH="0" baseline="0" noProof="0" dirty="0">
              <a:ln>
                <a:noFill/>
              </a:ln>
              <a:solidFill>
                <a:srgbClr val="26890D"/>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sp>
        <p:nvSpPr>
          <p:cNvPr id="28" name="Rectangle 54">
            <a:extLst>
              <a:ext uri="{FF2B5EF4-FFF2-40B4-BE49-F238E27FC236}">
                <a16:creationId xmlns:a16="http://schemas.microsoft.com/office/drawing/2014/main" id="{B30853FE-2139-AF47-BAAF-72CD78005F49}"/>
              </a:ext>
            </a:extLst>
          </p:cNvPr>
          <p:cNvSpPr/>
          <p:nvPr/>
        </p:nvSpPr>
        <p:spPr>
          <a:xfrm>
            <a:off x="8258762" y="3473717"/>
            <a:ext cx="1724025" cy="16927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latin typeface="华文细黑" panose="02010600040101010101" pitchFamily="2" charset="-122"/>
              <a:ea typeface="华文细黑" panose="02010600040101010101" pitchFamily="2" charset="-122"/>
              <a:cs typeface="+mn-cs"/>
            </a:endParaRPr>
          </a:p>
        </p:txBody>
      </p:sp>
      <p:cxnSp>
        <p:nvCxnSpPr>
          <p:cNvPr id="29" name="直接连接符 98">
            <a:extLst>
              <a:ext uri="{FF2B5EF4-FFF2-40B4-BE49-F238E27FC236}">
                <a16:creationId xmlns:a16="http://schemas.microsoft.com/office/drawing/2014/main" id="{DD9B5293-D0D2-4141-B463-0D94FF3A7A44}"/>
              </a:ext>
            </a:extLst>
          </p:cNvPr>
          <p:cNvCxnSpPr/>
          <p:nvPr/>
        </p:nvCxnSpPr>
        <p:spPr>
          <a:xfrm>
            <a:off x="4615077" y="2040901"/>
            <a:ext cx="1313793" cy="0"/>
          </a:xfrm>
          <a:prstGeom prst="line">
            <a:avLst/>
          </a:prstGeom>
          <a:ln w="19050">
            <a:solidFill>
              <a:srgbClr val="6FC2B4"/>
            </a:solidFill>
          </a:ln>
        </p:spPr>
        <p:style>
          <a:lnRef idx="1">
            <a:schemeClr val="accent1"/>
          </a:lnRef>
          <a:fillRef idx="0">
            <a:schemeClr val="accent1"/>
          </a:fillRef>
          <a:effectRef idx="0">
            <a:schemeClr val="accent1"/>
          </a:effectRef>
          <a:fontRef idx="minor">
            <a:schemeClr val="tx1"/>
          </a:fontRef>
        </p:style>
      </p:cxnSp>
      <p:sp>
        <p:nvSpPr>
          <p:cNvPr id="30" name="Rectangle 54">
            <a:extLst>
              <a:ext uri="{FF2B5EF4-FFF2-40B4-BE49-F238E27FC236}">
                <a16:creationId xmlns:a16="http://schemas.microsoft.com/office/drawing/2014/main" id="{F183FBF7-0DDC-9E47-B63B-8B8D3368F555}"/>
              </a:ext>
            </a:extLst>
          </p:cNvPr>
          <p:cNvSpPr/>
          <p:nvPr/>
        </p:nvSpPr>
        <p:spPr>
          <a:xfrm>
            <a:off x="10165489" y="4428817"/>
            <a:ext cx="1724025" cy="76944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6FC2B4"/>
                </a:solidFill>
                <a:effectLst/>
                <a:uLnTx/>
                <a:uFillTx/>
                <a:ea typeface="华文细黑" panose="02010600040101010101" pitchFamily="2" charset="-122"/>
                <a:cs typeface="+mn-cs"/>
              </a:rPr>
              <a:t>Xxxxxx</a:t>
            </a:r>
            <a:endParaRPr kumimoji="0" lang="en-US" altLang="zh-CN" sz="1400" b="1" i="0" u="none" strike="noStrike" kern="0" cap="none" spc="0" normalizeH="0" baseline="0" noProof="0" dirty="0">
              <a:ln>
                <a:noFill/>
              </a:ln>
              <a:solidFill>
                <a:srgbClr val="6FC2B4"/>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sngStrike" kern="0" cap="none" spc="0" normalizeH="0" baseline="0" noProof="0" dirty="0">
              <a:ln>
                <a:noFill/>
              </a:ln>
              <a:solidFill>
                <a:srgbClr val="26890D"/>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p:txBody>
      </p:sp>
      <p:cxnSp>
        <p:nvCxnSpPr>
          <p:cNvPr id="31" name="直接连接符 100">
            <a:extLst>
              <a:ext uri="{FF2B5EF4-FFF2-40B4-BE49-F238E27FC236}">
                <a16:creationId xmlns:a16="http://schemas.microsoft.com/office/drawing/2014/main" id="{52C5B927-E8DD-7D4A-95D6-28B0DFDFAE17}"/>
              </a:ext>
            </a:extLst>
          </p:cNvPr>
          <p:cNvCxnSpPr/>
          <p:nvPr/>
        </p:nvCxnSpPr>
        <p:spPr>
          <a:xfrm>
            <a:off x="10165489" y="4772540"/>
            <a:ext cx="1313793" cy="0"/>
          </a:xfrm>
          <a:prstGeom prst="line">
            <a:avLst/>
          </a:prstGeom>
          <a:ln w="19050">
            <a:solidFill>
              <a:srgbClr val="6FC2B4"/>
            </a:solidFill>
          </a:ln>
        </p:spPr>
        <p:style>
          <a:lnRef idx="1">
            <a:schemeClr val="accent1"/>
          </a:lnRef>
          <a:fillRef idx="0">
            <a:schemeClr val="accent1"/>
          </a:fillRef>
          <a:effectRef idx="0">
            <a:schemeClr val="accent1"/>
          </a:effectRef>
          <a:fontRef idx="minor">
            <a:schemeClr val="tx1"/>
          </a:fontRef>
        </p:style>
      </p:cxnSp>
      <p:sp>
        <p:nvSpPr>
          <p:cNvPr id="32" name="Rectangle 54">
            <a:extLst>
              <a:ext uri="{FF2B5EF4-FFF2-40B4-BE49-F238E27FC236}">
                <a16:creationId xmlns:a16="http://schemas.microsoft.com/office/drawing/2014/main" id="{D9AD4FB0-BCD2-4F43-A12B-C12F0F7DE4F5}"/>
              </a:ext>
            </a:extLst>
          </p:cNvPr>
          <p:cNvSpPr/>
          <p:nvPr/>
        </p:nvSpPr>
        <p:spPr>
          <a:xfrm>
            <a:off x="8490764" y="1665288"/>
            <a:ext cx="1724025" cy="110799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400" b="1" i="0" u="none" strike="noStrike" kern="0" cap="none" spc="0" normalizeH="0" baseline="0" noProof="0" dirty="0" err="1">
                <a:ln>
                  <a:noFill/>
                </a:ln>
                <a:solidFill>
                  <a:srgbClr val="00A3E0"/>
                </a:solidFill>
                <a:effectLst/>
                <a:uLnTx/>
                <a:uFillTx/>
                <a:ea typeface="华文细黑" panose="02010600040101010101" pitchFamily="2" charset="-122"/>
                <a:cs typeface="+mn-cs"/>
              </a:rPr>
              <a:t>Xxxxxx</a:t>
            </a:r>
            <a:endParaRPr kumimoji="0" lang="en-US" altLang="zh-TW" sz="1400" b="1" i="0" u="none" strike="noStrike" kern="0" cap="none" spc="0" normalizeH="0" baseline="0" noProof="0" dirty="0">
              <a:ln>
                <a:noFill/>
              </a:ln>
              <a:solidFill>
                <a:srgbClr val="00A3E0"/>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sngStrike" kern="0" cap="none" spc="0" normalizeH="0" baseline="0" noProof="0" dirty="0">
              <a:ln>
                <a:noFill/>
              </a:ln>
              <a:solidFill>
                <a:srgbClr val="26890D"/>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cxnSp>
        <p:nvCxnSpPr>
          <p:cNvPr id="33" name="直接连接符 103">
            <a:extLst>
              <a:ext uri="{FF2B5EF4-FFF2-40B4-BE49-F238E27FC236}">
                <a16:creationId xmlns:a16="http://schemas.microsoft.com/office/drawing/2014/main" id="{CFDC824D-5049-1F49-A283-0C58FD16026A}"/>
              </a:ext>
            </a:extLst>
          </p:cNvPr>
          <p:cNvCxnSpPr/>
          <p:nvPr/>
        </p:nvCxnSpPr>
        <p:spPr>
          <a:xfrm>
            <a:off x="8490764" y="2009011"/>
            <a:ext cx="1313793" cy="0"/>
          </a:xfrm>
          <a:prstGeom prst="line">
            <a:avLst/>
          </a:prstGeom>
          <a:ln w="19050">
            <a:solidFill>
              <a:srgbClr val="00A3E0"/>
            </a:solidFill>
          </a:ln>
        </p:spPr>
        <p:style>
          <a:lnRef idx="1">
            <a:schemeClr val="accent1"/>
          </a:lnRef>
          <a:fillRef idx="0">
            <a:schemeClr val="accent1"/>
          </a:fillRef>
          <a:effectRef idx="0">
            <a:schemeClr val="accent1"/>
          </a:effectRef>
          <a:fontRef idx="minor">
            <a:schemeClr val="tx1"/>
          </a:fontRef>
        </p:style>
      </p:cxnSp>
      <p:sp>
        <p:nvSpPr>
          <p:cNvPr id="34" name="Rectangle 54">
            <a:extLst>
              <a:ext uri="{FF2B5EF4-FFF2-40B4-BE49-F238E27FC236}">
                <a16:creationId xmlns:a16="http://schemas.microsoft.com/office/drawing/2014/main" id="{0F1BB2BF-B220-1A46-86F5-E5BB14E6D360}"/>
              </a:ext>
            </a:extLst>
          </p:cNvPr>
          <p:cNvSpPr/>
          <p:nvPr/>
        </p:nvSpPr>
        <p:spPr>
          <a:xfrm>
            <a:off x="2531207" y="4533542"/>
            <a:ext cx="1724025" cy="1277273"/>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TW" sz="1400" b="1" i="0" u="none" strike="noStrike" kern="0" cap="none" spc="0" normalizeH="0" baseline="0" noProof="0" dirty="0" err="1">
                <a:ln>
                  <a:noFill/>
                </a:ln>
                <a:solidFill>
                  <a:srgbClr val="00A3E0"/>
                </a:solidFill>
                <a:effectLst/>
                <a:uLnTx/>
                <a:uFillTx/>
                <a:ea typeface="华文细黑" panose="02010600040101010101" pitchFamily="2" charset="-122"/>
                <a:cs typeface="+mn-cs"/>
              </a:rPr>
              <a:t>Xxxxxx</a:t>
            </a:r>
            <a:endParaRPr kumimoji="0" lang="en-US" altLang="zh-TW" sz="1400" b="1" i="0" u="none" strike="noStrike" kern="0" cap="none" spc="0" normalizeH="0" baseline="0" noProof="0" dirty="0">
              <a:ln>
                <a:noFill/>
              </a:ln>
              <a:solidFill>
                <a:srgbClr val="00A3E0"/>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sngStrike" kern="0" cap="none" spc="0" normalizeH="0" baseline="0" noProof="0" dirty="0">
              <a:ln>
                <a:noFill/>
              </a:ln>
              <a:solidFill>
                <a:srgbClr val="26890D"/>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cxnSp>
        <p:nvCxnSpPr>
          <p:cNvPr id="35" name="直接连接符 105">
            <a:extLst>
              <a:ext uri="{FF2B5EF4-FFF2-40B4-BE49-F238E27FC236}">
                <a16:creationId xmlns:a16="http://schemas.microsoft.com/office/drawing/2014/main" id="{55FA39AA-A797-1246-BB3A-6C91243448BF}"/>
              </a:ext>
            </a:extLst>
          </p:cNvPr>
          <p:cNvCxnSpPr/>
          <p:nvPr/>
        </p:nvCxnSpPr>
        <p:spPr>
          <a:xfrm>
            <a:off x="2941439" y="4877265"/>
            <a:ext cx="1313793" cy="0"/>
          </a:xfrm>
          <a:prstGeom prst="line">
            <a:avLst/>
          </a:prstGeom>
          <a:ln w="19050">
            <a:solidFill>
              <a:srgbClr val="00A3E0"/>
            </a:solidFill>
          </a:ln>
        </p:spPr>
        <p:style>
          <a:lnRef idx="1">
            <a:schemeClr val="accent1"/>
          </a:lnRef>
          <a:fillRef idx="0">
            <a:schemeClr val="accent1"/>
          </a:fillRef>
          <a:effectRef idx="0">
            <a:schemeClr val="accent1"/>
          </a:effectRef>
          <a:fontRef idx="minor">
            <a:schemeClr val="tx1"/>
          </a:fontRef>
        </p:style>
      </p:cxnSp>
      <p:sp>
        <p:nvSpPr>
          <p:cNvPr id="36" name="Rectangle 54">
            <a:extLst>
              <a:ext uri="{FF2B5EF4-FFF2-40B4-BE49-F238E27FC236}">
                <a16:creationId xmlns:a16="http://schemas.microsoft.com/office/drawing/2014/main" id="{9D684B95-DA32-4E4B-9796-4D2D323E0752}"/>
              </a:ext>
            </a:extLst>
          </p:cNvPr>
          <p:cNvSpPr/>
          <p:nvPr/>
        </p:nvSpPr>
        <p:spPr>
          <a:xfrm>
            <a:off x="7587601" y="4266748"/>
            <a:ext cx="1724025" cy="110799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err="1">
                <a:ln>
                  <a:noFill/>
                </a:ln>
                <a:solidFill>
                  <a:srgbClr val="86BC25"/>
                </a:solidFill>
                <a:effectLst/>
                <a:uLnTx/>
                <a:uFillTx/>
                <a:ea typeface="华文细黑" panose="02010600040101010101" pitchFamily="2" charset="-122"/>
                <a:cs typeface="+mn-cs"/>
              </a:rPr>
              <a:t>Xxxxxx</a:t>
            </a:r>
            <a:endParaRPr kumimoji="0" lang="en-US" altLang="zh-CN" sz="1400" b="1" i="0" u="none" strike="noStrike" kern="0" cap="none" spc="0" normalizeH="0" baseline="0" noProof="0" dirty="0">
              <a:ln>
                <a:noFill/>
              </a:ln>
              <a:solidFill>
                <a:srgbClr val="86BC25"/>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400" b="1" i="0" u="none" strike="noStrike" kern="0" cap="none" spc="0" normalizeH="0" baseline="0" noProof="0" dirty="0">
              <a:ln>
                <a:noFill/>
              </a:ln>
              <a:solidFill>
                <a:srgbClr val="86BC25"/>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black"/>
                </a:solidFill>
                <a:effectLst/>
                <a:uLnTx/>
                <a:uFillTx/>
                <a:ea typeface="华文细黑" panose="02010600040101010101" pitchFamily="2" charset="-122"/>
                <a:cs typeface="+mn-cs"/>
              </a:rPr>
              <a:t>xxxxxxxx</a:t>
            </a:r>
            <a:endParaRPr kumimoji="0" lang="en-US" altLang="zh-CN"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prstClr val="black"/>
              </a:solidFill>
              <a:effectLst/>
              <a:uLnTx/>
              <a:uFillTx/>
              <a:ea typeface="华文细黑" panose="0201060004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75787B"/>
              </a:solidFill>
              <a:effectLst/>
              <a:uLnTx/>
              <a:uFillTx/>
              <a:ea typeface="华文细黑" panose="02010600040101010101" pitchFamily="2" charset="-122"/>
              <a:cs typeface="+mn-cs"/>
            </a:endParaRPr>
          </a:p>
        </p:txBody>
      </p:sp>
      <p:cxnSp>
        <p:nvCxnSpPr>
          <p:cNvPr id="37" name="直接连接符 107">
            <a:extLst>
              <a:ext uri="{FF2B5EF4-FFF2-40B4-BE49-F238E27FC236}">
                <a16:creationId xmlns:a16="http://schemas.microsoft.com/office/drawing/2014/main" id="{7AE32750-A0D4-4040-BD9A-FF6A3ECF5EFC}"/>
              </a:ext>
            </a:extLst>
          </p:cNvPr>
          <p:cNvCxnSpPr/>
          <p:nvPr/>
        </p:nvCxnSpPr>
        <p:spPr>
          <a:xfrm>
            <a:off x="7587601" y="4597970"/>
            <a:ext cx="1313793"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
        <p:nvSpPr>
          <p:cNvPr id="38" name="Star: 5 Points 37">
            <a:extLst>
              <a:ext uri="{FF2B5EF4-FFF2-40B4-BE49-F238E27FC236}">
                <a16:creationId xmlns:a16="http://schemas.microsoft.com/office/drawing/2014/main" id="{92031937-7B8F-4F22-998C-22B8847879F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619787783"/>
      </p:ext>
    </p:extLst>
  </p:cSld>
  <p:clrMapOvr>
    <a:masterClrMapping/>
  </p:clrMapOvr>
  <p:transition>
    <p:fade/>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DF33C333-68C4-8F4F-B771-F09DAB0DBC9A}"/>
              </a:ext>
            </a:extLst>
          </p:cNvPr>
          <p:cNvSpPr>
            <a:spLocks noGrp="1"/>
          </p:cNvSpPr>
          <p:nvPr>
            <p:ph type="title"/>
          </p:nvPr>
        </p:nvSpPr>
        <p:spPr/>
        <p:txBody>
          <a:bodyPr/>
          <a:lstStyle/>
          <a:p>
            <a:r>
              <a:rPr lang="en-US" dirty="0"/>
              <a:t>Helix molecule</a:t>
            </a:r>
          </a:p>
        </p:txBody>
      </p:sp>
      <p:sp>
        <p:nvSpPr>
          <p:cNvPr id="4" name="Freeform 28">
            <a:extLst>
              <a:ext uri="{FF2B5EF4-FFF2-40B4-BE49-F238E27FC236}">
                <a16:creationId xmlns:a16="http://schemas.microsoft.com/office/drawing/2014/main" id="{3197AF8E-5F3C-094A-B67B-7C800A06F320}"/>
              </a:ext>
            </a:extLst>
          </p:cNvPr>
          <p:cNvSpPr>
            <a:spLocks/>
          </p:cNvSpPr>
          <p:nvPr/>
        </p:nvSpPr>
        <p:spPr bwMode="auto">
          <a:xfrm>
            <a:off x="4600575" y="1181893"/>
            <a:ext cx="3168650" cy="4494213"/>
          </a:xfrm>
          <a:custGeom>
            <a:avLst/>
            <a:gdLst>
              <a:gd name="T0" fmla="*/ 818 w 1069"/>
              <a:gd name="T1" fmla="*/ 1484 h 1518"/>
              <a:gd name="T2" fmla="*/ 591 w 1069"/>
              <a:gd name="T3" fmla="*/ 1399 h 1518"/>
              <a:gd name="T4" fmla="*/ 56 w 1069"/>
              <a:gd name="T5" fmla="*/ 474 h 1518"/>
              <a:gd name="T6" fmla="*/ 494 w 1069"/>
              <a:gd name="T7" fmla="*/ 221 h 1518"/>
              <a:gd name="T8" fmla="*/ 1028 w 1069"/>
              <a:gd name="T9" fmla="*/ 1146 h 1518"/>
              <a:gd name="T10" fmla="*/ 995 w 1069"/>
              <a:gd name="T11" fmla="*/ 1372 h 1518"/>
              <a:gd name="T12" fmla="*/ 1022 w 1069"/>
              <a:gd name="T13" fmla="*/ 1392 h 1518"/>
              <a:gd name="T14" fmla="*/ 1062 w 1069"/>
              <a:gd name="T15" fmla="*/ 1144 h 1518"/>
              <a:gd name="T16" fmla="*/ 513 w 1069"/>
              <a:gd name="T17" fmla="*/ 193 h 1518"/>
              <a:gd name="T18" fmla="*/ 23 w 1069"/>
              <a:gd name="T19" fmla="*/ 476 h 1518"/>
              <a:gd name="T20" fmla="*/ 572 w 1069"/>
              <a:gd name="T21" fmla="*/ 1427 h 1518"/>
              <a:gd name="T22" fmla="*/ 825 w 1069"/>
              <a:gd name="T23" fmla="*/ 1517 h 1518"/>
              <a:gd name="T24" fmla="*/ 818 w 1069"/>
              <a:gd name="T25" fmla="*/ 1484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9" h="1518">
                <a:moveTo>
                  <a:pt x="818" y="1484"/>
                </a:moveTo>
                <a:cubicBezTo>
                  <a:pt x="753" y="1483"/>
                  <a:pt x="676" y="1456"/>
                  <a:pt x="591" y="1399"/>
                </a:cubicBezTo>
                <a:cubicBezTo>
                  <a:pt x="317" y="1217"/>
                  <a:pt x="77" y="802"/>
                  <a:pt x="56" y="474"/>
                </a:cubicBezTo>
                <a:cubicBezTo>
                  <a:pt x="36" y="155"/>
                  <a:pt x="228" y="44"/>
                  <a:pt x="494" y="221"/>
                </a:cubicBezTo>
                <a:cubicBezTo>
                  <a:pt x="767" y="403"/>
                  <a:pt x="1007" y="819"/>
                  <a:pt x="1028" y="1146"/>
                </a:cubicBezTo>
                <a:cubicBezTo>
                  <a:pt x="1034" y="1240"/>
                  <a:pt x="1022" y="1316"/>
                  <a:pt x="995" y="1372"/>
                </a:cubicBezTo>
                <a:cubicBezTo>
                  <a:pt x="1005" y="1378"/>
                  <a:pt x="1014" y="1384"/>
                  <a:pt x="1022" y="1392"/>
                </a:cubicBezTo>
                <a:cubicBezTo>
                  <a:pt x="1054" y="1331"/>
                  <a:pt x="1069" y="1247"/>
                  <a:pt x="1062" y="1144"/>
                </a:cubicBezTo>
                <a:cubicBezTo>
                  <a:pt x="1040" y="806"/>
                  <a:pt x="795" y="381"/>
                  <a:pt x="513" y="193"/>
                </a:cubicBezTo>
                <a:cubicBezTo>
                  <a:pt x="224" y="0"/>
                  <a:pt x="0" y="129"/>
                  <a:pt x="23" y="476"/>
                </a:cubicBezTo>
                <a:cubicBezTo>
                  <a:pt x="45" y="814"/>
                  <a:pt x="290" y="1239"/>
                  <a:pt x="572" y="1427"/>
                </a:cubicBezTo>
                <a:cubicBezTo>
                  <a:pt x="665" y="1489"/>
                  <a:pt x="751" y="1518"/>
                  <a:pt x="825" y="1517"/>
                </a:cubicBezTo>
                <a:cubicBezTo>
                  <a:pt x="821" y="1506"/>
                  <a:pt x="819" y="1495"/>
                  <a:pt x="818" y="1484"/>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 name="Oval 128">
            <a:extLst>
              <a:ext uri="{FF2B5EF4-FFF2-40B4-BE49-F238E27FC236}">
                <a16:creationId xmlns:a16="http://schemas.microsoft.com/office/drawing/2014/main" id="{C9EE2624-5FAE-314F-B382-8C108FD4464D}"/>
              </a:ext>
            </a:extLst>
          </p:cNvPr>
          <p:cNvSpPr>
            <a:spLocks noChangeArrowheads="1"/>
          </p:cNvSpPr>
          <p:nvPr/>
        </p:nvSpPr>
        <p:spPr bwMode="auto">
          <a:xfrm>
            <a:off x="7402512" y="1774030"/>
            <a:ext cx="485775" cy="4841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 name="Freeform 129">
            <a:extLst>
              <a:ext uri="{FF2B5EF4-FFF2-40B4-BE49-F238E27FC236}">
                <a16:creationId xmlns:a16="http://schemas.microsoft.com/office/drawing/2014/main" id="{0672DB6A-5ED0-024A-81EC-BFA9E96D5ABE}"/>
              </a:ext>
            </a:extLst>
          </p:cNvPr>
          <p:cNvSpPr>
            <a:spLocks noEditPoints="1"/>
          </p:cNvSpPr>
          <p:nvPr/>
        </p:nvSpPr>
        <p:spPr bwMode="auto">
          <a:xfrm>
            <a:off x="7366000" y="1737518"/>
            <a:ext cx="557213" cy="557213"/>
          </a:xfrm>
          <a:custGeom>
            <a:avLst/>
            <a:gdLst>
              <a:gd name="T0" fmla="*/ 94 w 188"/>
              <a:gd name="T1" fmla="*/ 0 h 188"/>
              <a:gd name="T2" fmla="*/ 188 w 188"/>
              <a:gd name="T3" fmla="*/ 94 h 188"/>
              <a:gd name="T4" fmla="*/ 94 w 188"/>
              <a:gd name="T5" fmla="*/ 188 h 188"/>
              <a:gd name="T6" fmla="*/ 0 w 188"/>
              <a:gd name="T7" fmla="*/ 94 h 188"/>
              <a:gd name="T8" fmla="*/ 94 w 188"/>
              <a:gd name="T9" fmla="*/ 0 h 188"/>
              <a:gd name="T10" fmla="*/ 94 w 188"/>
              <a:gd name="T11" fmla="*/ 12 h 188"/>
              <a:gd name="T12" fmla="*/ 12 w 188"/>
              <a:gd name="T13" fmla="*/ 94 h 188"/>
              <a:gd name="T14" fmla="*/ 94 w 188"/>
              <a:gd name="T15" fmla="*/ 176 h 188"/>
              <a:gd name="T16" fmla="*/ 176 w 188"/>
              <a:gd name="T17" fmla="*/ 94 h 188"/>
              <a:gd name="T18" fmla="*/ 94 w 188"/>
              <a:gd name="T19" fmla="*/ 1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88">
                <a:moveTo>
                  <a:pt x="94" y="0"/>
                </a:moveTo>
                <a:cubicBezTo>
                  <a:pt x="146" y="0"/>
                  <a:pt x="188" y="42"/>
                  <a:pt x="188" y="94"/>
                </a:cubicBezTo>
                <a:cubicBezTo>
                  <a:pt x="188" y="146"/>
                  <a:pt x="146" y="188"/>
                  <a:pt x="94" y="188"/>
                </a:cubicBezTo>
                <a:cubicBezTo>
                  <a:pt x="42" y="188"/>
                  <a:pt x="0" y="146"/>
                  <a:pt x="0" y="94"/>
                </a:cubicBezTo>
                <a:cubicBezTo>
                  <a:pt x="0" y="42"/>
                  <a:pt x="42" y="0"/>
                  <a:pt x="94" y="0"/>
                </a:cubicBezTo>
                <a:close/>
                <a:moveTo>
                  <a:pt x="94" y="12"/>
                </a:moveTo>
                <a:cubicBezTo>
                  <a:pt x="49" y="12"/>
                  <a:pt x="12" y="49"/>
                  <a:pt x="12" y="94"/>
                </a:cubicBezTo>
                <a:cubicBezTo>
                  <a:pt x="12" y="140"/>
                  <a:pt x="49" y="176"/>
                  <a:pt x="94" y="176"/>
                </a:cubicBezTo>
                <a:cubicBezTo>
                  <a:pt x="139" y="176"/>
                  <a:pt x="176" y="140"/>
                  <a:pt x="176" y="94"/>
                </a:cubicBezTo>
                <a:cubicBezTo>
                  <a:pt x="176" y="49"/>
                  <a:pt x="139" y="12"/>
                  <a:pt x="94" y="12"/>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 name="Oval 130">
            <a:extLst>
              <a:ext uri="{FF2B5EF4-FFF2-40B4-BE49-F238E27FC236}">
                <a16:creationId xmlns:a16="http://schemas.microsoft.com/office/drawing/2014/main" id="{FFEF4023-D2B0-5C43-8089-C09CF9F87312}"/>
              </a:ext>
            </a:extLst>
          </p:cNvPr>
          <p:cNvSpPr>
            <a:spLocks noChangeArrowheads="1"/>
          </p:cNvSpPr>
          <p:nvPr/>
        </p:nvSpPr>
        <p:spPr bwMode="auto">
          <a:xfrm>
            <a:off x="3746500" y="3390105"/>
            <a:ext cx="379413" cy="379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Freeform 131">
            <a:extLst>
              <a:ext uri="{FF2B5EF4-FFF2-40B4-BE49-F238E27FC236}">
                <a16:creationId xmlns:a16="http://schemas.microsoft.com/office/drawing/2014/main" id="{1D9AF440-EF99-F240-B44A-CA6E18145442}"/>
              </a:ext>
            </a:extLst>
          </p:cNvPr>
          <p:cNvSpPr>
            <a:spLocks noEditPoints="1"/>
          </p:cNvSpPr>
          <p:nvPr/>
        </p:nvSpPr>
        <p:spPr bwMode="auto">
          <a:xfrm>
            <a:off x="3711575" y="3355180"/>
            <a:ext cx="452438" cy="449263"/>
          </a:xfrm>
          <a:custGeom>
            <a:avLst/>
            <a:gdLst>
              <a:gd name="T0" fmla="*/ 76 w 153"/>
              <a:gd name="T1" fmla="*/ 0 h 152"/>
              <a:gd name="T2" fmla="*/ 153 w 153"/>
              <a:gd name="T3" fmla="*/ 76 h 152"/>
              <a:gd name="T4" fmla="*/ 76 w 153"/>
              <a:gd name="T5" fmla="*/ 152 h 152"/>
              <a:gd name="T6" fmla="*/ 0 w 153"/>
              <a:gd name="T7" fmla="*/ 76 h 152"/>
              <a:gd name="T8" fmla="*/ 76 w 153"/>
              <a:gd name="T9" fmla="*/ 0 h 152"/>
              <a:gd name="T10" fmla="*/ 76 w 153"/>
              <a:gd name="T11" fmla="*/ 12 h 152"/>
              <a:gd name="T12" fmla="*/ 12 w 153"/>
              <a:gd name="T13" fmla="*/ 76 h 152"/>
              <a:gd name="T14" fmla="*/ 76 w 153"/>
              <a:gd name="T15" fmla="*/ 140 h 152"/>
              <a:gd name="T16" fmla="*/ 140 w 153"/>
              <a:gd name="T17" fmla="*/ 76 h 152"/>
              <a:gd name="T18" fmla="*/ 76 w 153"/>
              <a:gd name="T19"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52">
                <a:moveTo>
                  <a:pt x="76" y="0"/>
                </a:moveTo>
                <a:cubicBezTo>
                  <a:pt x="118" y="0"/>
                  <a:pt x="153" y="34"/>
                  <a:pt x="153" y="76"/>
                </a:cubicBezTo>
                <a:cubicBezTo>
                  <a:pt x="153" y="118"/>
                  <a:pt x="118" y="152"/>
                  <a:pt x="76" y="152"/>
                </a:cubicBezTo>
                <a:cubicBezTo>
                  <a:pt x="34" y="152"/>
                  <a:pt x="0" y="118"/>
                  <a:pt x="0" y="76"/>
                </a:cubicBezTo>
                <a:cubicBezTo>
                  <a:pt x="0" y="34"/>
                  <a:pt x="34" y="0"/>
                  <a:pt x="76" y="0"/>
                </a:cubicBezTo>
                <a:close/>
                <a:moveTo>
                  <a:pt x="76" y="12"/>
                </a:moveTo>
                <a:cubicBezTo>
                  <a:pt x="41" y="12"/>
                  <a:pt x="12" y="41"/>
                  <a:pt x="12" y="76"/>
                </a:cubicBezTo>
                <a:cubicBezTo>
                  <a:pt x="12" y="112"/>
                  <a:pt x="41" y="140"/>
                  <a:pt x="76" y="140"/>
                </a:cubicBezTo>
                <a:cubicBezTo>
                  <a:pt x="112" y="140"/>
                  <a:pt x="140" y="112"/>
                  <a:pt x="140" y="76"/>
                </a:cubicBezTo>
                <a:cubicBezTo>
                  <a:pt x="140" y="41"/>
                  <a:pt x="112" y="12"/>
                  <a:pt x="76" y="12"/>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9" name="Oval 132">
            <a:extLst>
              <a:ext uri="{FF2B5EF4-FFF2-40B4-BE49-F238E27FC236}">
                <a16:creationId xmlns:a16="http://schemas.microsoft.com/office/drawing/2014/main" id="{A26A43B3-C2B8-F447-888F-6487432FEF56}"/>
              </a:ext>
            </a:extLst>
          </p:cNvPr>
          <p:cNvSpPr>
            <a:spLocks noChangeArrowheads="1"/>
          </p:cNvSpPr>
          <p:nvPr/>
        </p:nvSpPr>
        <p:spPr bwMode="auto">
          <a:xfrm>
            <a:off x="7061200" y="5237955"/>
            <a:ext cx="636588" cy="6365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 name="Freeform 133">
            <a:extLst>
              <a:ext uri="{FF2B5EF4-FFF2-40B4-BE49-F238E27FC236}">
                <a16:creationId xmlns:a16="http://schemas.microsoft.com/office/drawing/2014/main" id="{80AFFABD-6F86-6347-A962-1E6C519408FF}"/>
              </a:ext>
            </a:extLst>
          </p:cNvPr>
          <p:cNvSpPr>
            <a:spLocks noEditPoints="1"/>
          </p:cNvSpPr>
          <p:nvPr/>
        </p:nvSpPr>
        <p:spPr bwMode="auto">
          <a:xfrm>
            <a:off x="7024687" y="5203030"/>
            <a:ext cx="712788" cy="706438"/>
          </a:xfrm>
          <a:custGeom>
            <a:avLst/>
            <a:gdLst>
              <a:gd name="T0" fmla="*/ 120 w 240"/>
              <a:gd name="T1" fmla="*/ 0 h 239"/>
              <a:gd name="T2" fmla="*/ 240 w 240"/>
              <a:gd name="T3" fmla="*/ 119 h 239"/>
              <a:gd name="T4" fmla="*/ 120 w 240"/>
              <a:gd name="T5" fmla="*/ 239 h 239"/>
              <a:gd name="T6" fmla="*/ 0 w 240"/>
              <a:gd name="T7" fmla="*/ 119 h 239"/>
              <a:gd name="T8" fmla="*/ 120 w 240"/>
              <a:gd name="T9" fmla="*/ 0 h 239"/>
              <a:gd name="T10" fmla="*/ 120 w 240"/>
              <a:gd name="T11" fmla="*/ 12 h 239"/>
              <a:gd name="T12" fmla="*/ 12 w 240"/>
              <a:gd name="T13" fmla="*/ 119 h 239"/>
              <a:gd name="T14" fmla="*/ 120 w 240"/>
              <a:gd name="T15" fmla="*/ 227 h 239"/>
              <a:gd name="T16" fmla="*/ 227 w 240"/>
              <a:gd name="T17" fmla="*/ 119 h 239"/>
              <a:gd name="T18" fmla="*/ 120 w 240"/>
              <a:gd name="T19" fmla="*/ 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39">
                <a:moveTo>
                  <a:pt x="120" y="0"/>
                </a:moveTo>
                <a:cubicBezTo>
                  <a:pt x="186" y="0"/>
                  <a:pt x="240" y="53"/>
                  <a:pt x="240" y="119"/>
                </a:cubicBezTo>
                <a:cubicBezTo>
                  <a:pt x="240" y="186"/>
                  <a:pt x="186" y="239"/>
                  <a:pt x="120" y="239"/>
                </a:cubicBezTo>
                <a:cubicBezTo>
                  <a:pt x="54" y="239"/>
                  <a:pt x="0" y="186"/>
                  <a:pt x="0" y="119"/>
                </a:cubicBezTo>
                <a:cubicBezTo>
                  <a:pt x="0" y="53"/>
                  <a:pt x="54" y="0"/>
                  <a:pt x="120" y="0"/>
                </a:cubicBezTo>
                <a:close/>
                <a:moveTo>
                  <a:pt x="120" y="12"/>
                </a:moveTo>
                <a:cubicBezTo>
                  <a:pt x="61" y="12"/>
                  <a:pt x="12" y="60"/>
                  <a:pt x="12" y="119"/>
                </a:cubicBezTo>
                <a:cubicBezTo>
                  <a:pt x="12" y="179"/>
                  <a:pt x="61" y="227"/>
                  <a:pt x="120" y="227"/>
                </a:cubicBezTo>
                <a:cubicBezTo>
                  <a:pt x="179" y="227"/>
                  <a:pt x="227" y="179"/>
                  <a:pt x="227" y="119"/>
                </a:cubicBezTo>
                <a:cubicBezTo>
                  <a:pt x="227" y="60"/>
                  <a:pt x="179" y="12"/>
                  <a:pt x="120" y="12"/>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1" name="Freeform 134">
            <a:extLst>
              <a:ext uri="{FF2B5EF4-FFF2-40B4-BE49-F238E27FC236}">
                <a16:creationId xmlns:a16="http://schemas.microsoft.com/office/drawing/2014/main" id="{88E7D19B-238D-D440-A92C-0DB0EBF9176D}"/>
              </a:ext>
            </a:extLst>
          </p:cNvPr>
          <p:cNvSpPr>
            <a:spLocks/>
          </p:cNvSpPr>
          <p:nvPr/>
        </p:nvSpPr>
        <p:spPr bwMode="auto">
          <a:xfrm>
            <a:off x="7594600" y="1980405"/>
            <a:ext cx="1911350" cy="823913"/>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Freeform 176">
            <a:extLst>
              <a:ext uri="{FF2B5EF4-FFF2-40B4-BE49-F238E27FC236}">
                <a16:creationId xmlns:a16="http://schemas.microsoft.com/office/drawing/2014/main" id="{9B404E82-D985-3049-9E33-54620171669B}"/>
              </a:ext>
            </a:extLst>
          </p:cNvPr>
          <p:cNvSpPr>
            <a:spLocks/>
          </p:cNvSpPr>
          <p:nvPr/>
        </p:nvSpPr>
        <p:spPr bwMode="auto">
          <a:xfrm>
            <a:off x="7321550" y="4785518"/>
            <a:ext cx="2184400" cy="822325"/>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 name="Freeform 219">
            <a:extLst>
              <a:ext uri="{FF2B5EF4-FFF2-40B4-BE49-F238E27FC236}">
                <a16:creationId xmlns:a16="http://schemas.microsoft.com/office/drawing/2014/main" id="{26EDF01B-DA90-664F-B13C-9D50DE3DB84C}"/>
              </a:ext>
            </a:extLst>
          </p:cNvPr>
          <p:cNvSpPr>
            <a:spLocks/>
          </p:cNvSpPr>
          <p:nvPr/>
        </p:nvSpPr>
        <p:spPr bwMode="auto">
          <a:xfrm>
            <a:off x="1792287" y="2804318"/>
            <a:ext cx="2189163" cy="822325"/>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 name="Freeform 279">
            <a:extLst>
              <a:ext uri="{FF2B5EF4-FFF2-40B4-BE49-F238E27FC236}">
                <a16:creationId xmlns:a16="http://schemas.microsoft.com/office/drawing/2014/main" id="{B74FAC3D-23C7-B446-BAC2-872043E34F6B}"/>
              </a:ext>
            </a:extLst>
          </p:cNvPr>
          <p:cNvSpPr>
            <a:spLocks/>
          </p:cNvSpPr>
          <p:nvPr/>
        </p:nvSpPr>
        <p:spPr bwMode="auto">
          <a:xfrm>
            <a:off x="4600575" y="1385093"/>
            <a:ext cx="3154363" cy="4592638"/>
          </a:xfrm>
          <a:custGeom>
            <a:avLst/>
            <a:gdLst>
              <a:gd name="T0" fmla="*/ 1028 w 1064"/>
              <a:gd name="T1" fmla="*/ 307 h 1551"/>
              <a:gd name="T2" fmla="*/ 1028 w 1064"/>
              <a:gd name="T3" fmla="*/ 405 h 1551"/>
              <a:gd name="T4" fmla="*/ 494 w 1064"/>
              <a:gd name="T5" fmla="*/ 1330 h 1551"/>
              <a:gd name="T6" fmla="*/ 56 w 1064"/>
              <a:gd name="T7" fmla="*/ 1077 h 1551"/>
              <a:gd name="T8" fmla="*/ 591 w 1064"/>
              <a:gd name="T9" fmla="*/ 152 h 1551"/>
              <a:gd name="T10" fmla="*/ 970 w 1064"/>
              <a:gd name="T11" fmla="*/ 139 h 1551"/>
              <a:gd name="T12" fmla="*/ 1000 w 1064"/>
              <a:gd name="T13" fmla="*/ 123 h 1551"/>
              <a:gd name="T14" fmla="*/ 572 w 1064"/>
              <a:gd name="T15" fmla="*/ 124 h 1551"/>
              <a:gd name="T16" fmla="*/ 23 w 1064"/>
              <a:gd name="T17" fmla="*/ 1075 h 1551"/>
              <a:gd name="T18" fmla="*/ 513 w 1064"/>
              <a:gd name="T19" fmla="*/ 1358 h 1551"/>
              <a:gd name="T20" fmla="*/ 1062 w 1064"/>
              <a:gd name="T21" fmla="*/ 407 h 1551"/>
              <a:gd name="T22" fmla="*/ 1061 w 1064"/>
              <a:gd name="T23" fmla="*/ 301 h 1551"/>
              <a:gd name="T24" fmla="*/ 1028 w 1064"/>
              <a:gd name="T25" fmla="*/ 307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4" h="1551">
                <a:moveTo>
                  <a:pt x="1028" y="307"/>
                </a:moveTo>
                <a:cubicBezTo>
                  <a:pt x="1030" y="337"/>
                  <a:pt x="1031" y="370"/>
                  <a:pt x="1028" y="405"/>
                </a:cubicBezTo>
                <a:cubicBezTo>
                  <a:pt x="1007" y="733"/>
                  <a:pt x="767" y="1148"/>
                  <a:pt x="494" y="1330"/>
                </a:cubicBezTo>
                <a:cubicBezTo>
                  <a:pt x="228" y="1508"/>
                  <a:pt x="36" y="1396"/>
                  <a:pt x="56" y="1077"/>
                </a:cubicBezTo>
                <a:cubicBezTo>
                  <a:pt x="77" y="750"/>
                  <a:pt x="317" y="334"/>
                  <a:pt x="591" y="152"/>
                </a:cubicBezTo>
                <a:cubicBezTo>
                  <a:pt x="757" y="41"/>
                  <a:pt x="895" y="43"/>
                  <a:pt x="970" y="139"/>
                </a:cubicBezTo>
                <a:cubicBezTo>
                  <a:pt x="979" y="132"/>
                  <a:pt x="989" y="127"/>
                  <a:pt x="1000" y="123"/>
                </a:cubicBezTo>
                <a:cubicBezTo>
                  <a:pt x="916" y="9"/>
                  <a:pt x="758" y="0"/>
                  <a:pt x="572" y="124"/>
                </a:cubicBezTo>
                <a:cubicBezTo>
                  <a:pt x="290" y="312"/>
                  <a:pt x="45" y="737"/>
                  <a:pt x="23" y="1075"/>
                </a:cubicBezTo>
                <a:cubicBezTo>
                  <a:pt x="0" y="1422"/>
                  <a:pt x="224" y="1551"/>
                  <a:pt x="513" y="1358"/>
                </a:cubicBezTo>
                <a:cubicBezTo>
                  <a:pt x="795" y="1170"/>
                  <a:pt x="1040" y="745"/>
                  <a:pt x="1062" y="407"/>
                </a:cubicBezTo>
                <a:cubicBezTo>
                  <a:pt x="1064" y="369"/>
                  <a:pt x="1064" y="334"/>
                  <a:pt x="1061" y="301"/>
                </a:cubicBezTo>
                <a:cubicBezTo>
                  <a:pt x="1050" y="305"/>
                  <a:pt x="1039" y="307"/>
                  <a:pt x="1028" y="307"/>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 name="Freeform 280">
            <a:extLst>
              <a:ext uri="{FF2B5EF4-FFF2-40B4-BE49-F238E27FC236}">
                <a16:creationId xmlns:a16="http://schemas.microsoft.com/office/drawing/2014/main" id="{0F44FCB0-E3DA-714B-85CB-25EDA5F2F4E4}"/>
              </a:ext>
            </a:extLst>
          </p:cNvPr>
          <p:cNvSpPr>
            <a:spLocks/>
          </p:cNvSpPr>
          <p:nvPr/>
        </p:nvSpPr>
        <p:spPr bwMode="auto">
          <a:xfrm>
            <a:off x="3930650" y="2297905"/>
            <a:ext cx="4826000" cy="2563813"/>
          </a:xfrm>
          <a:custGeom>
            <a:avLst/>
            <a:gdLst>
              <a:gd name="T0" fmla="*/ 1318 w 1628"/>
              <a:gd name="T1" fmla="*/ 150 h 866"/>
              <a:gd name="T2" fmla="*/ 219 w 1628"/>
              <a:gd name="T3" fmla="*/ 150 h 866"/>
              <a:gd name="T4" fmla="*/ 0 w 1628"/>
              <a:gd name="T5" fmla="*/ 357 h 866"/>
              <a:gd name="T6" fmla="*/ 2 w 1628"/>
              <a:gd name="T7" fmla="*/ 357 h 866"/>
              <a:gd name="T8" fmla="*/ 34 w 1628"/>
              <a:gd name="T9" fmla="*/ 364 h 866"/>
              <a:gd name="T10" fmla="*/ 234 w 1628"/>
              <a:gd name="T11" fmla="*/ 180 h 866"/>
              <a:gd name="T12" fmla="*/ 1303 w 1628"/>
              <a:gd name="T13" fmla="*/ 180 h 866"/>
              <a:gd name="T14" fmla="*/ 1303 w 1628"/>
              <a:gd name="T15" fmla="*/ 686 h 866"/>
              <a:gd name="T16" fmla="*/ 234 w 1628"/>
              <a:gd name="T17" fmla="*/ 686 h 866"/>
              <a:gd name="T18" fmla="*/ 34 w 1628"/>
              <a:gd name="T19" fmla="*/ 502 h 866"/>
              <a:gd name="T20" fmla="*/ 2 w 1628"/>
              <a:gd name="T21" fmla="*/ 509 h 866"/>
              <a:gd name="T22" fmla="*/ 0 w 1628"/>
              <a:gd name="T23" fmla="*/ 509 h 866"/>
              <a:gd name="T24" fmla="*/ 219 w 1628"/>
              <a:gd name="T25" fmla="*/ 716 h 866"/>
              <a:gd name="T26" fmla="*/ 1318 w 1628"/>
              <a:gd name="T27" fmla="*/ 716 h 866"/>
              <a:gd name="T28" fmla="*/ 1318 w 1628"/>
              <a:gd name="T29" fmla="*/ 150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8" h="866">
                <a:moveTo>
                  <a:pt x="1318" y="150"/>
                </a:moveTo>
                <a:cubicBezTo>
                  <a:pt x="1014" y="0"/>
                  <a:pt x="523" y="0"/>
                  <a:pt x="219" y="150"/>
                </a:cubicBezTo>
                <a:cubicBezTo>
                  <a:pt x="102" y="208"/>
                  <a:pt x="29" y="281"/>
                  <a:pt x="0" y="357"/>
                </a:cubicBezTo>
                <a:cubicBezTo>
                  <a:pt x="1" y="357"/>
                  <a:pt x="2" y="357"/>
                  <a:pt x="2" y="357"/>
                </a:cubicBezTo>
                <a:cubicBezTo>
                  <a:pt x="14" y="357"/>
                  <a:pt x="24" y="359"/>
                  <a:pt x="34" y="364"/>
                </a:cubicBezTo>
                <a:cubicBezTo>
                  <a:pt x="61" y="297"/>
                  <a:pt x="128" y="233"/>
                  <a:pt x="234" y="180"/>
                </a:cubicBezTo>
                <a:cubicBezTo>
                  <a:pt x="529" y="35"/>
                  <a:pt x="1008" y="35"/>
                  <a:pt x="1303" y="180"/>
                </a:cubicBezTo>
                <a:cubicBezTo>
                  <a:pt x="1588" y="321"/>
                  <a:pt x="1588" y="545"/>
                  <a:pt x="1303" y="686"/>
                </a:cubicBezTo>
                <a:cubicBezTo>
                  <a:pt x="1008" y="832"/>
                  <a:pt x="529" y="832"/>
                  <a:pt x="234" y="686"/>
                </a:cubicBezTo>
                <a:cubicBezTo>
                  <a:pt x="128" y="633"/>
                  <a:pt x="61" y="569"/>
                  <a:pt x="34" y="502"/>
                </a:cubicBezTo>
                <a:cubicBezTo>
                  <a:pt x="24" y="507"/>
                  <a:pt x="14" y="509"/>
                  <a:pt x="2" y="509"/>
                </a:cubicBezTo>
                <a:cubicBezTo>
                  <a:pt x="2" y="509"/>
                  <a:pt x="1" y="509"/>
                  <a:pt x="0" y="509"/>
                </a:cubicBezTo>
                <a:cubicBezTo>
                  <a:pt x="29" y="586"/>
                  <a:pt x="102" y="658"/>
                  <a:pt x="219" y="716"/>
                </a:cubicBezTo>
                <a:cubicBezTo>
                  <a:pt x="523" y="866"/>
                  <a:pt x="1014" y="866"/>
                  <a:pt x="1318" y="716"/>
                </a:cubicBezTo>
                <a:cubicBezTo>
                  <a:pt x="1628" y="562"/>
                  <a:pt x="1628" y="304"/>
                  <a:pt x="1318" y="150"/>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文本框 337">
            <a:extLst>
              <a:ext uri="{FF2B5EF4-FFF2-40B4-BE49-F238E27FC236}">
                <a16:creationId xmlns:a16="http://schemas.microsoft.com/office/drawing/2014/main" id="{2C1F93CD-E5D8-E946-BC04-EB789263D3AD}"/>
              </a:ext>
            </a:extLst>
          </p:cNvPr>
          <p:cNvSpPr txBox="1"/>
          <p:nvPr/>
        </p:nvSpPr>
        <p:spPr>
          <a:xfrm>
            <a:off x="561974" y="2739627"/>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17" name="文本框 338">
            <a:extLst>
              <a:ext uri="{FF2B5EF4-FFF2-40B4-BE49-F238E27FC236}">
                <a16:creationId xmlns:a16="http://schemas.microsoft.com/office/drawing/2014/main" id="{3C92380F-CD14-0849-A9F8-108A7C9FFCD8}"/>
              </a:ext>
            </a:extLst>
          </p:cNvPr>
          <p:cNvSpPr txBox="1"/>
          <p:nvPr/>
        </p:nvSpPr>
        <p:spPr>
          <a:xfrm>
            <a:off x="9802813" y="4785518"/>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18" name="文本框 339">
            <a:extLst>
              <a:ext uri="{FF2B5EF4-FFF2-40B4-BE49-F238E27FC236}">
                <a16:creationId xmlns:a16="http://schemas.microsoft.com/office/drawing/2014/main" id="{90793AD6-E764-EE4F-A440-D4B6B2C857B2}"/>
              </a:ext>
            </a:extLst>
          </p:cNvPr>
          <p:cNvSpPr txBox="1"/>
          <p:nvPr/>
        </p:nvSpPr>
        <p:spPr>
          <a:xfrm>
            <a:off x="9594583" y="2739627"/>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black"/>
                </a:solidFill>
                <a:effectLst/>
                <a:uLnTx/>
                <a:uFillTx/>
                <a:ea typeface="+mn-ea"/>
                <a:cs typeface="+mn-cs"/>
              </a:rPr>
              <a:t>XXXXX</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19" name="文本框 340">
            <a:extLst>
              <a:ext uri="{FF2B5EF4-FFF2-40B4-BE49-F238E27FC236}">
                <a16:creationId xmlns:a16="http://schemas.microsoft.com/office/drawing/2014/main" id="{32D2877B-F8C9-A24F-9DCF-E43264AA8E6B}"/>
              </a:ext>
            </a:extLst>
          </p:cNvPr>
          <p:cNvSpPr txBox="1"/>
          <p:nvPr/>
        </p:nvSpPr>
        <p:spPr>
          <a:xfrm>
            <a:off x="5370009" y="3250525"/>
            <a:ext cx="163195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altLang="zh-CN" sz="2800" b="0" i="0" u="none" strike="noStrike" kern="1200" cap="none" spc="0" normalizeH="0" baseline="0" noProof="0" dirty="0">
                <a:ln>
                  <a:noFill/>
                </a:ln>
                <a:solidFill>
                  <a:prstClr val="black"/>
                </a:solidFill>
                <a:effectLst/>
                <a:uLnTx/>
                <a:uFillTx/>
                <a:ea typeface="+mn-ea"/>
                <a:cs typeface="+mn-cs"/>
              </a:rPr>
              <a:t>XXXXXXXX</a:t>
            </a:r>
            <a:endParaRPr kumimoji="0" lang="en-US" sz="2800" b="0" i="0" u="none" strike="noStrike" kern="1200" cap="none" spc="0" normalizeH="0" baseline="0" noProof="0" dirty="0">
              <a:ln>
                <a:noFill/>
              </a:ln>
              <a:solidFill>
                <a:prstClr val="black"/>
              </a:solidFill>
              <a:effectLst/>
              <a:uLnTx/>
              <a:uFillTx/>
              <a:ea typeface="+mn-ea"/>
              <a:cs typeface="+mn-cs"/>
            </a:endParaRPr>
          </a:p>
        </p:txBody>
      </p:sp>
      <p:sp>
        <p:nvSpPr>
          <p:cNvPr id="20" name="Star: 5 Points 19">
            <a:extLst>
              <a:ext uri="{FF2B5EF4-FFF2-40B4-BE49-F238E27FC236}">
                <a16:creationId xmlns:a16="http://schemas.microsoft.com/office/drawing/2014/main" id="{70DAABB7-449E-4A58-9676-10B047F3E054}"/>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756145846"/>
      </p:ext>
    </p:extLst>
  </p:cSld>
  <p:clrMapOvr>
    <a:masterClrMapping/>
  </p:clrMapOvr>
  <p:transition>
    <p:fade/>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5"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Data visualization</a:t>
            </a:r>
          </a:p>
        </p:txBody>
      </p:sp>
      <p:sp>
        <p:nvSpPr>
          <p:cNvPr id="82" name="Rectangle 81"/>
          <p:cNvSpPr/>
          <p:nvPr/>
        </p:nvSpPr>
        <p:spPr>
          <a:xfrm>
            <a:off x="6131430" y="4293231"/>
            <a:ext cx="2455919" cy="152495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x</a:t>
            </a:r>
          </a:p>
          <a:p>
            <a:pPr lvl="0" algn="ctr">
              <a:defRPr/>
            </a:pPr>
            <a:r>
              <a:rPr lang="en-US" sz="1600" dirty="0">
                <a:solidFill>
                  <a:prstClr val="white"/>
                </a:solidFill>
                <a:latin typeface="Calibri" panose="020F0502020204030204" pitchFamily="34" charset="0"/>
                <a:cs typeface="Calibri" panose="020F0502020204030204" pitchFamily="34" charset="0"/>
              </a:rPr>
              <a:t>Lorem ipsum </a:t>
            </a:r>
          </a:p>
        </p:txBody>
      </p:sp>
      <p:sp>
        <p:nvSpPr>
          <p:cNvPr id="83" name="Rectangle 82"/>
          <p:cNvSpPr/>
          <p:nvPr/>
        </p:nvSpPr>
        <p:spPr>
          <a:xfrm>
            <a:off x="8773507" y="2477820"/>
            <a:ext cx="2455919" cy="1524957"/>
          </a:xfrm>
          <a:prstGeom prst="rect">
            <a:avLst/>
          </a:prstGeom>
          <a:solidFill>
            <a:srgbClr val="C4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x</a:t>
            </a:r>
          </a:p>
          <a:p>
            <a:pPr lvl="0" algn="ctr">
              <a:defRPr/>
            </a:pPr>
            <a:r>
              <a:rPr lang="en-US" sz="1600" dirty="0">
                <a:solidFill>
                  <a:prstClr val="white"/>
                </a:solidFill>
                <a:latin typeface="Calibri" panose="020F0502020204030204" pitchFamily="34" charset="0"/>
                <a:cs typeface="Calibri" panose="020F0502020204030204" pitchFamily="34" charset="0"/>
              </a:rPr>
              <a:t>Lorem ipsum </a:t>
            </a:r>
          </a:p>
        </p:txBody>
      </p:sp>
      <p:sp>
        <p:nvSpPr>
          <p:cNvPr id="84" name="Rectangle 83"/>
          <p:cNvSpPr/>
          <p:nvPr/>
        </p:nvSpPr>
        <p:spPr>
          <a:xfrm>
            <a:off x="6131429" y="2473840"/>
            <a:ext cx="2455919" cy="1524957"/>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x%</a:t>
            </a:r>
          </a:p>
          <a:p>
            <a:pPr lvl="0" algn="ctr">
              <a:defRPr/>
            </a:pPr>
            <a:r>
              <a:rPr lang="en-US" sz="1600" dirty="0">
                <a:solidFill>
                  <a:prstClr val="white"/>
                </a:solidFill>
                <a:latin typeface="Calibri" panose="020F0502020204030204" pitchFamily="34" charset="0"/>
                <a:cs typeface="Calibri" panose="020F0502020204030204" pitchFamily="34" charset="0"/>
              </a:rPr>
              <a:t>Lorem ipsum </a:t>
            </a:r>
          </a:p>
        </p:txBody>
      </p:sp>
      <p:sp>
        <p:nvSpPr>
          <p:cNvPr id="85" name="Rectangle 84"/>
          <p:cNvSpPr/>
          <p:nvPr/>
        </p:nvSpPr>
        <p:spPr>
          <a:xfrm>
            <a:off x="8773507" y="4294582"/>
            <a:ext cx="2455919" cy="152495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x%</a:t>
            </a:r>
          </a:p>
          <a:p>
            <a:pPr lvl="0" algn="ctr">
              <a:defRPr/>
            </a:pPr>
            <a:r>
              <a:rPr lang="en-US" sz="1600" dirty="0">
                <a:solidFill>
                  <a:prstClr val="white"/>
                </a:solidFill>
                <a:latin typeface="Calibri" panose="020F0502020204030204" pitchFamily="34" charset="0"/>
                <a:cs typeface="Calibri" panose="020F0502020204030204" pitchFamily="34" charset="0"/>
              </a:rPr>
              <a:t>Lorem ipsum </a:t>
            </a:r>
          </a:p>
        </p:txBody>
      </p:sp>
      <p:grpSp>
        <p:nvGrpSpPr>
          <p:cNvPr id="86" name="Group 85"/>
          <p:cNvGrpSpPr/>
          <p:nvPr/>
        </p:nvGrpSpPr>
        <p:grpSpPr>
          <a:xfrm>
            <a:off x="6080194" y="2070178"/>
            <a:ext cx="5200465" cy="184666"/>
            <a:chOff x="4978400" y="2206367"/>
            <a:chExt cx="6299200" cy="184666"/>
          </a:xfrm>
        </p:grpSpPr>
        <p:cxnSp>
          <p:nvCxnSpPr>
            <p:cNvPr id="87" name="iBar:392/196"/>
            <p:cNvCxnSpPr/>
            <p:nvPr/>
          </p:nvCxnSpPr>
          <p:spPr>
            <a:xfrm>
              <a:off x="4978400" y="2298700"/>
              <a:ext cx="62992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TxtBox:392/196"/>
            <p:cNvSpPr/>
            <p:nvPr/>
          </p:nvSpPr>
          <p:spPr>
            <a:xfrm>
              <a:off x="7492452" y="2206367"/>
              <a:ext cx="1271102"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lvl="0" algn="ctr">
                <a:defRPr/>
              </a:pPr>
              <a:r>
                <a:rPr lang="en-US" sz="1200" b="1" dirty="0">
                  <a:solidFill>
                    <a:srgbClr val="000000"/>
                  </a:solidFill>
                  <a:latin typeface="Calibri" panose="020F0502020204030204" pitchFamily="34" charset="0"/>
                  <a:cs typeface="Calibri" panose="020F0502020204030204" pitchFamily="34" charset="0"/>
                </a:rPr>
                <a:t>Lorem ipsum </a:t>
              </a:r>
              <a:endPar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grpSp>
        <p:nvGrpSpPr>
          <p:cNvPr id="89" name="Group 88"/>
          <p:cNvGrpSpPr/>
          <p:nvPr/>
        </p:nvGrpSpPr>
        <p:grpSpPr>
          <a:xfrm>
            <a:off x="914400" y="2070178"/>
            <a:ext cx="4925147" cy="184666"/>
            <a:chOff x="914400" y="2206367"/>
            <a:chExt cx="3898900" cy="184666"/>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2448495" y="2206367"/>
              <a:ext cx="830730"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lvl="0" algn="ctr">
                <a:defRPr/>
              </a:pPr>
              <a:r>
                <a:rPr lang="en-US" sz="1200" b="1" dirty="0">
                  <a:solidFill>
                    <a:srgbClr val="000000"/>
                  </a:solidFill>
                  <a:latin typeface="Calibri" panose="020F0502020204030204" pitchFamily="34" charset="0"/>
                  <a:cs typeface="Calibri" panose="020F0502020204030204" pitchFamily="34" charset="0"/>
                </a:rPr>
                <a:t>Lorem ipsum </a:t>
              </a:r>
            </a:p>
          </p:txBody>
        </p:sp>
      </p:grpSp>
      <p:sp>
        <p:nvSpPr>
          <p:cNvPr id="168" name="TextBox 167"/>
          <p:cNvSpPr txBox="1"/>
          <p:nvPr/>
        </p:nvSpPr>
        <p:spPr>
          <a:xfrm>
            <a:off x="914398" y="5989410"/>
            <a:ext cx="492514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ased on mid-level revenue growth estimates</a:t>
            </a:r>
          </a:p>
        </p:txBody>
      </p:sp>
      <p:graphicFrame>
        <p:nvGraphicFramePr>
          <p:cNvPr id="169" name="Chart 168"/>
          <p:cNvGraphicFramePr/>
          <p:nvPr/>
        </p:nvGraphicFramePr>
        <p:xfrm>
          <a:off x="914401" y="2398289"/>
          <a:ext cx="4925148" cy="3546981"/>
        </p:xfrm>
        <a:graphic>
          <a:graphicData uri="http://schemas.openxmlformats.org/drawingml/2006/chart">
            <c:chart xmlns:c="http://schemas.openxmlformats.org/drawingml/2006/chart" xmlns:r="http://schemas.openxmlformats.org/officeDocument/2006/relationships" r:id="rId7"/>
          </a:graphicData>
        </a:graphic>
      </p:graphicFrame>
      <p:cxnSp>
        <p:nvCxnSpPr>
          <p:cNvPr id="170" name="Straight Connector 169"/>
          <p:cNvCxnSpPr/>
          <p:nvPr/>
        </p:nvCxnSpPr>
        <p:spPr>
          <a:xfrm flipV="1">
            <a:off x="2427892" y="2908696"/>
            <a:ext cx="0" cy="195742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1" name="Rounded Rectangle 170"/>
          <p:cNvSpPr/>
          <p:nvPr/>
        </p:nvSpPr>
        <p:spPr>
          <a:xfrm>
            <a:off x="1667996" y="2463815"/>
            <a:ext cx="1150880" cy="38467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r">
              <a:defRPr/>
            </a:pPr>
            <a:r>
              <a:rPr lang="en-US" sz="800" dirty="0">
                <a:solidFill>
                  <a:prstClr val="black"/>
                </a:solidFill>
                <a:latin typeface="Calibri" panose="020F0502020204030204" pitchFamily="34" charset="0"/>
                <a:cs typeface="Calibri" panose="020F0502020204030204" pitchFamily="34" charset="0"/>
              </a:rPr>
              <a:t>This is dummy text it is not here to be read. </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172" name="Straight Connector 171"/>
          <p:cNvCxnSpPr/>
          <p:nvPr/>
        </p:nvCxnSpPr>
        <p:spPr>
          <a:xfrm flipV="1">
            <a:off x="3637322" y="2908696"/>
            <a:ext cx="0" cy="195742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3" name="Rounded Rectangle 172"/>
          <p:cNvSpPr/>
          <p:nvPr/>
        </p:nvSpPr>
        <p:spPr>
          <a:xfrm>
            <a:off x="3318855" y="2463815"/>
            <a:ext cx="1637819" cy="38467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800" dirty="0">
                <a:solidFill>
                  <a:prstClr val="black"/>
                </a:solidFill>
                <a:latin typeface="Calibri" panose="020F0502020204030204" pitchFamily="34" charset="0"/>
                <a:cs typeface="Calibri" panose="020F0502020204030204" pitchFamily="34" charset="0"/>
              </a:rPr>
              <a:t>This is dummy text it is not here to be read. The is just text to show where you could insert text</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0" name="Star: 5 Points 19">
            <a:extLst>
              <a:ext uri="{FF2B5EF4-FFF2-40B4-BE49-F238E27FC236}">
                <a16:creationId xmlns:a16="http://schemas.microsoft.com/office/drawing/2014/main" id="{5DEC9F8D-C5B7-41AA-9F00-90639462A37B}"/>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882100644"/>
      </p:ext>
    </p:extLst>
  </p:cSld>
  <p:clrMapOvr>
    <a:masterClrMapping/>
  </p:clrMapOvr>
  <p:transition>
    <p:fade/>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AD2270-E335-4B25-9479-9641996328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39AD2270-E335-4B25-9479-9641996328B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0CF5878-E500-4DEF-AB4F-0DA9187B5E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1"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B22F353-239C-4F9C-9C2B-0006F1686AE6}"/>
              </a:ext>
            </a:extLst>
          </p:cNvPr>
          <p:cNvSpPr>
            <a:spLocks noGrp="1"/>
          </p:cNvSpPr>
          <p:nvPr>
            <p:ph type="title"/>
          </p:nvPr>
        </p:nvSpPr>
        <p:spPr/>
        <p:txBody>
          <a:bodyPr/>
          <a:lstStyle/>
          <a:p>
            <a:r>
              <a:rPr lang="en-US" dirty="0"/>
              <a:t>Data visualization</a:t>
            </a:r>
          </a:p>
        </p:txBody>
      </p:sp>
      <p:sp>
        <p:nvSpPr>
          <p:cNvPr id="71" name="Rectangle 70">
            <a:extLst>
              <a:ext uri="{FF2B5EF4-FFF2-40B4-BE49-F238E27FC236}">
                <a16:creationId xmlns:a16="http://schemas.microsoft.com/office/drawing/2014/main" id="{91179820-E7F2-4C85-A213-45371D280723}"/>
              </a:ext>
            </a:extLst>
          </p:cNvPr>
          <p:cNvSpPr/>
          <p:nvPr/>
        </p:nvSpPr>
        <p:spPr bwMode="gray">
          <a:xfrm>
            <a:off x="383139" y="1719392"/>
            <a:ext cx="11425724" cy="2443580"/>
          </a:xfrm>
          <a:prstGeom prst="rect">
            <a:avLst/>
          </a:prstGeom>
          <a:solidFill>
            <a:srgbClr val="F2F2F2"/>
          </a:solidFill>
          <a:ln w="19050" algn="ctr">
            <a:noFill/>
            <a:miter lim="800000"/>
            <a:headEnd/>
            <a:tailEnd/>
          </a:ln>
        </p:spPr>
        <p:txBody>
          <a:bodyPr wrap="square" lIns="65303" tIns="65303" rIns="65303" bIns="6530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endParaRPr kumimoji="0" lang="en-US" sz="1175" b="1" i="0" u="none" strike="noStrike" kern="1200" cap="none" spc="0" normalizeH="0" baseline="0" noProof="0" dirty="0">
              <a:ln>
                <a:noFill/>
              </a:ln>
              <a:solidFill>
                <a:prstClr val="white"/>
              </a:solidFill>
              <a:effectLst/>
              <a:uLnTx/>
              <a:uFillTx/>
              <a:latin typeface="Gotham Book" charset="0"/>
              <a:ea typeface="ヒラギノ角ゴ ProN W3" charset="0"/>
              <a:cs typeface="+mn-cs"/>
              <a:sym typeface="Gotham Book" charset="0"/>
            </a:endParaRPr>
          </a:p>
        </p:txBody>
      </p:sp>
      <p:sp>
        <p:nvSpPr>
          <p:cNvPr id="72" name="AutoShape 12">
            <a:extLst>
              <a:ext uri="{FF2B5EF4-FFF2-40B4-BE49-F238E27FC236}">
                <a16:creationId xmlns:a16="http://schemas.microsoft.com/office/drawing/2014/main" id="{1EB6104C-9D38-4057-8FE4-F2D4DC3C1DD0}"/>
              </a:ext>
            </a:extLst>
          </p:cNvPr>
          <p:cNvSpPr>
            <a:spLocks noChangeArrowheads="1"/>
          </p:cNvSpPr>
          <p:nvPr/>
        </p:nvSpPr>
        <p:spPr bwMode="auto">
          <a:xfrm rot="5400000">
            <a:off x="4447403" y="-2267249"/>
            <a:ext cx="3297196" cy="11425726"/>
          </a:xfrm>
          <a:prstGeom prst="homePlate">
            <a:avLst>
              <a:gd name="adj" fmla="val 100000"/>
            </a:avLst>
          </a:prstGeom>
          <a:solidFill>
            <a:srgbClr val="F2F2F2"/>
          </a:solidFill>
          <a:ln w="6350" algn="ctr">
            <a:noFill/>
            <a:miter lim="800000"/>
            <a:headEnd/>
            <a:tailEnd/>
          </a:ln>
        </p:spPr>
        <p:txBody>
          <a:bodyPr wrap="square" lIns="65303" tIns="65303" rIns="65303" bIns="65303"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028" b="0" i="0" u="none" strike="noStrike" kern="1200" cap="none" spc="0" normalizeH="0" baseline="0" noProof="0" dirty="0">
              <a:ln>
                <a:noFill/>
              </a:ln>
              <a:solidFill>
                <a:srgbClr val="343434"/>
              </a:solidFill>
              <a:effectLst/>
              <a:uLnTx/>
              <a:uFillTx/>
              <a:latin typeface="Gotham Book" charset="0"/>
              <a:ea typeface="ヒラギノ角ゴ ProN W3" charset="0"/>
              <a:cs typeface="+mn-cs"/>
              <a:sym typeface="Gotham Book" charset="0"/>
            </a:endParaRPr>
          </a:p>
        </p:txBody>
      </p:sp>
      <p:grpSp>
        <p:nvGrpSpPr>
          <p:cNvPr id="74" name="Group 749">
            <a:extLst>
              <a:ext uri="{FF2B5EF4-FFF2-40B4-BE49-F238E27FC236}">
                <a16:creationId xmlns:a16="http://schemas.microsoft.com/office/drawing/2014/main" id="{8CD1C25B-CED0-4975-9637-63F92AE17077}"/>
              </a:ext>
            </a:extLst>
          </p:cNvPr>
          <p:cNvGrpSpPr>
            <a:grpSpLocks noChangeAspect="1"/>
          </p:cNvGrpSpPr>
          <p:nvPr/>
        </p:nvGrpSpPr>
        <p:grpSpPr bwMode="auto">
          <a:xfrm>
            <a:off x="1339959" y="1765644"/>
            <a:ext cx="988438" cy="988438"/>
            <a:chOff x="3520" y="2686"/>
            <a:chExt cx="340" cy="340"/>
          </a:xfrm>
          <a:solidFill>
            <a:sysClr val="windowText" lastClr="000000"/>
          </a:solidFill>
        </p:grpSpPr>
        <p:sp>
          <p:nvSpPr>
            <p:cNvPr id="77" name="Freeform 750">
              <a:extLst>
                <a:ext uri="{FF2B5EF4-FFF2-40B4-BE49-F238E27FC236}">
                  <a16:creationId xmlns:a16="http://schemas.microsoft.com/office/drawing/2014/main" id="{8B497147-BF6B-46D9-8B59-81D731B43BE7}"/>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sp>
          <p:nvSpPr>
            <p:cNvPr id="78" name="Freeform 751">
              <a:extLst>
                <a:ext uri="{FF2B5EF4-FFF2-40B4-BE49-F238E27FC236}">
                  <a16:creationId xmlns:a16="http://schemas.microsoft.com/office/drawing/2014/main" id="{7C61C07E-1B71-4F33-A57F-E4CE193FDC9E}"/>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sp>
          <p:nvSpPr>
            <p:cNvPr id="79" name="Freeform 752">
              <a:extLst>
                <a:ext uri="{FF2B5EF4-FFF2-40B4-BE49-F238E27FC236}">
                  <a16:creationId xmlns:a16="http://schemas.microsoft.com/office/drawing/2014/main" id="{05096D6C-EC48-4F2B-B5B9-25D5B9065927}"/>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grpSp>
      <p:sp>
        <p:nvSpPr>
          <p:cNvPr id="75" name="TextBox 74">
            <a:extLst>
              <a:ext uri="{FF2B5EF4-FFF2-40B4-BE49-F238E27FC236}">
                <a16:creationId xmlns:a16="http://schemas.microsoft.com/office/drawing/2014/main" id="{41B2F016-3973-4880-B91C-7978ADE650BD}"/>
              </a:ext>
            </a:extLst>
          </p:cNvPr>
          <p:cNvSpPr txBox="1"/>
          <p:nvPr/>
        </p:nvSpPr>
        <p:spPr>
          <a:xfrm>
            <a:off x="518529" y="2918253"/>
            <a:ext cx="2504231" cy="271293"/>
          </a:xfrm>
          <a:prstGeom prst="rect">
            <a:avLst/>
          </a:prstGeom>
          <a:noFill/>
        </p:spPr>
        <p:txBody>
          <a:bodyPr wrap="square" lIns="0" tIns="0" rIns="0" bIns="0" rtlCol="0">
            <a:spAutoFit/>
          </a:bodyPr>
          <a:lstStyle/>
          <a:p>
            <a:pPr marL="0" marR="0" lvl="0" indent="0" algn="ctr" defTabSz="1142609" rtl="0" eaLnBrk="1" fontAlgn="auto" latinLnBrk="0" hangingPunct="1">
              <a:lnSpc>
                <a:spcPct val="100000"/>
              </a:lnSpc>
              <a:spcBef>
                <a:spcPts val="562"/>
              </a:spcBef>
              <a:spcAft>
                <a:spcPts val="0"/>
              </a:spcAft>
              <a:buClrTx/>
              <a:buSzPct val="100000"/>
              <a:buFontTx/>
              <a:buNone/>
              <a:tabLst/>
              <a:defRPr/>
            </a:pPr>
            <a:r>
              <a:rPr kumimoji="0" lang="en-US" sz="1763" b="1" i="0" u="none" strike="noStrike" kern="0" cap="none" spc="0" normalizeH="0" baseline="0" noProof="0" dirty="0">
                <a:ln>
                  <a:noFill/>
                </a:ln>
                <a:solidFill>
                  <a:srgbClr val="007CB0"/>
                </a:solidFill>
                <a:effectLst/>
                <a:uLnTx/>
                <a:uFillTx/>
                <a:latin typeface="Calibri Light"/>
                <a:ea typeface="ヒラギノ角ゴ ProN W3" charset="0"/>
                <a:cs typeface="+mn-cs"/>
                <a:sym typeface="Gotham Book" charset="0"/>
              </a:rPr>
              <a:t>XXX</a:t>
            </a:r>
          </a:p>
        </p:txBody>
      </p:sp>
      <p:sp>
        <p:nvSpPr>
          <p:cNvPr id="76" name="TextBox 75">
            <a:extLst>
              <a:ext uri="{FF2B5EF4-FFF2-40B4-BE49-F238E27FC236}">
                <a16:creationId xmlns:a16="http://schemas.microsoft.com/office/drawing/2014/main" id="{A809F52B-2AFC-44A7-9F41-0321DC1795CC}"/>
              </a:ext>
            </a:extLst>
          </p:cNvPr>
          <p:cNvSpPr txBox="1"/>
          <p:nvPr/>
        </p:nvSpPr>
        <p:spPr>
          <a:xfrm>
            <a:off x="645594" y="3267106"/>
            <a:ext cx="2377166" cy="403828"/>
          </a:xfrm>
          <a:prstGeom prst="rect">
            <a:avLst/>
          </a:prstGeom>
          <a:noFill/>
        </p:spPr>
        <p:txBody>
          <a:bodyPr wrap="square" lIns="0" tIns="0" rIns="0" bIns="0" rtlCol="0">
            <a:spAutoFit/>
          </a:bodyPr>
          <a:lstStyle/>
          <a:p>
            <a:pPr lvl="0" algn="ctr" defTabSz="1142609">
              <a:spcBef>
                <a:spcPts val="562"/>
              </a:spcBef>
              <a:buSzPct val="100000"/>
              <a:defRPr/>
            </a:pPr>
            <a:r>
              <a:rPr lang="en-US" sz="1312" i="1" kern="0" dirty="0">
                <a:solidFill>
                  <a:prstClr val="white">
                    <a:lumMod val="50000"/>
                  </a:prstClr>
                </a:solidFill>
                <a:ea typeface="ヒラギノ角ゴ ProN W3" charset="0"/>
                <a:sym typeface="Gotham Book" charset="0"/>
              </a:rPr>
              <a:t>This is dummy text it is not here to be read. The is just text to show</a:t>
            </a:r>
          </a:p>
        </p:txBody>
      </p:sp>
      <p:grpSp>
        <p:nvGrpSpPr>
          <p:cNvPr id="81" name="Group 40">
            <a:extLst>
              <a:ext uri="{FF2B5EF4-FFF2-40B4-BE49-F238E27FC236}">
                <a16:creationId xmlns:a16="http://schemas.microsoft.com/office/drawing/2014/main" id="{447C701D-43AB-466B-95EE-D636A283FA8C}"/>
              </a:ext>
            </a:extLst>
          </p:cNvPr>
          <p:cNvGrpSpPr>
            <a:grpSpLocks noChangeAspect="1"/>
          </p:cNvGrpSpPr>
          <p:nvPr/>
        </p:nvGrpSpPr>
        <p:grpSpPr bwMode="auto">
          <a:xfrm>
            <a:off x="4159461" y="1769720"/>
            <a:ext cx="984362" cy="984362"/>
            <a:chOff x="880" y="418"/>
            <a:chExt cx="3635" cy="3635"/>
          </a:xfrm>
          <a:solidFill>
            <a:sysClr val="windowText" lastClr="000000"/>
          </a:solidFill>
        </p:grpSpPr>
        <p:sp>
          <p:nvSpPr>
            <p:cNvPr id="84" name="Freeform 41">
              <a:extLst>
                <a:ext uri="{FF2B5EF4-FFF2-40B4-BE49-F238E27FC236}">
                  <a16:creationId xmlns:a16="http://schemas.microsoft.com/office/drawing/2014/main" id="{1465FBB6-46E4-4EBC-BD3A-16FB8B9E4B61}"/>
                </a:ext>
              </a:extLst>
            </p:cNvPr>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sp>
          <p:nvSpPr>
            <p:cNvPr id="85" name="Freeform 42">
              <a:extLst>
                <a:ext uri="{FF2B5EF4-FFF2-40B4-BE49-F238E27FC236}">
                  <a16:creationId xmlns:a16="http://schemas.microsoft.com/office/drawing/2014/main" id="{6D61BC63-BEBE-4777-B5F1-599928EF483F}"/>
                </a:ext>
              </a:extLst>
            </p:cNvPr>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grpSp>
      <p:sp>
        <p:nvSpPr>
          <p:cNvPr id="82" name="TextBox 81">
            <a:extLst>
              <a:ext uri="{FF2B5EF4-FFF2-40B4-BE49-F238E27FC236}">
                <a16:creationId xmlns:a16="http://schemas.microsoft.com/office/drawing/2014/main" id="{3CE3B8CB-062A-41B2-91A7-EBD688EDA8FD}"/>
              </a:ext>
            </a:extLst>
          </p:cNvPr>
          <p:cNvSpPr txBox="1"/>
          <p:nvPr/>
        </p:nvSpPr>
        <p:spPr>
          <a:xfrm>
            <a:off x="3399526" y="2918253"/>
            <a:ext cx="2504231" cy="271293"/>
          </a:xfrm>
          <a:prstGeom prst="rect">
            <a:avLst/>
          </a:prstGeom>
          <a:noFill/>
        </p:spPr>
        <p:txBody>
          <a:bodyPr wrap="square" lIns="0" tIns="0" rIns="0" bIns="0" rtlCol="0">
            <a:spAutoFit/>
          </a:bodyPr>
          <a:lstStyle/>
          <a:p>
            <a:pPr lvl="0" algn="ctr" defTabSz="1142609">
              <a:spcBef>
                <a:spcPts val="562"/>
              </a:spcBef>
              <a:buSzPct val="100000"/>
              <a:defRPr/>
            </a:pPr>
            <a:r>
              <a:rPr lang="en-US" sz="1763" b="1" kern="0" dirty="0">
                <a:solidFill>
                  <a:srgbClr val="007CB0"/>
                </a:solidFill>
                <a:ea typeface="ヒラギノ角ゴ ProN W3" charset="0"/>
                <a:sym typeface="Gotham Book" charset="0"/>
              </a:rPr>
              <a:t>XXX</a:t>
            </a:r>
          </a:p>
        </p:txBody>
      </p:sp>
      <p:sp>
        <p:nvSpPr>
          <p:cNvPr id="83" name="TextBox 82">
            <a:extLst>
              <a:ext uri="{FF2B5EF4-FFF2-40B4-BE49-F238E27FC236}">
                <a16:creationId xmlns:a16="http://schemas.microsoft.com/office/drawing/2014/main" id="{5E17A09E-8B27-46D7-968E-315A75C036CE}"/>
              </a:ext>
            </a:extLst>
          </p:cNvPr>
          <p:cNvSpPr txBox="1"/>
          <p:nvPr/>
        </p:nvSpPr>
        <p:spPr>
          <a:xfrm>
            <a:off x="3463058" y="3267106"/>
            <a:ext cx="2377166" cy="403828"/>
          </a:xfrm>
          <a:prstGeom prst="rect">
            <a:avLst/>
          </a:prstGeom>
          <a:noFill/>
        </p:spPr>
        <p:txBody>
          <a:bodyPr wrap="square" lIns="0" tIns="0" rIns="0" bIns="0" rtlCol="0">
            <a:spAutoFit/>
          </a:bodyPr>
          <a:lstStyle/>
          <a:p>
            <a:pPr lvl="0" algn="ctr" defTabSz="1142609">
              <a:spcBef>
                <a:spcPts val="562"/>
              </a:spcBef>
              <a:buSzPct val="100000"/>
              <a:defRPr/>
            </a:pPr>
            <a:r>
              <a:rPr lang="en-US" sz="1312" i="1" kern="0" dirty="0">
                <a:solidFill>
                  <a:prstClr val="white">
                    <a:lumMod val="50000"/>
                  </a:prstClr>
                </a:solidFill>
                <a:ea typeface="ヒラギノ角ゴ ProN W3" charset="0"/>
                <a:sym typeface="Gotham Book" charset="0"/>
              </a:rPr>
              <a:t>This is dummy text it is not here to be read. The is just text to show</a:t>
            </a:r>
          </a:p>
        </p:txBody>
      </p:sp>
      <p:grpSp>
        <p:nvGrpSpPr>
          <p:cNvPr id="87" name="Group 53">
            <a:extLst>
              <a:ext uri="{FF2B5EF4-FFF2-40B4-BE49-F238E27FC236}">
                <a16:creationId xmlns:a16="http://schemas.microsoft.com/office/drawing/2014/main" id="{7B3E4904-CFF6-424C-BCEB-6D898F0EB290}"/>
              </a:ext>
            </a:extLst>
          </p:cNvPr>
          <p:cNvGrpSpPr>
            <a:grpSpLocks noChangeAspect="1"/>
          </p:cNvGrpSpPr>
          <p:nvPr/>
        </p:nvGrpSpPr>
        <p:grpSpPr bwMode="auto">
          <a:xfrm>
            <a:off x="7041941" y="1765646"/>
            <a:ext cx="981395" cy="984281"/>
            <a:chOff x="5183" y="1046"/>
            <a:chExt cx="340" cy="341"/>
          </a:xfrm>
          <a:solidFill>
            <a:sysClr val="windowText" lastClr="000000"/>
          </a:solidFill>
        </p:grpSpPr>
        <p:sp>
          <p:nvSpPr>
            <p:cNvPr id="90" name="Freeform 54">
              <a:extLst>
                <a:ext uri="{FF2B5EF4-FFF2-40B4-BE49-F238E27FC236}">
                  <a16:creationId xmlns:a16="http://schemas.microsoft.com/office/drawing/2014/main" id="{0DAD9645-1F89-4C3D-9D33-ABC3A0832083}"/>
                </a:ext>
              </a:extLst>
            </p:cNvPr>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sp>
          <p:nvSpPr>
            <p:cNvPr id="91" name="Freeform 55">
              <a:extLst>
                <a:ext uri="{FF2B5EF4-FFF2-40B4-BE49-F238E27FC236}">
                  <a16:creationId xmlns:a16="http://schemas.microsoft.com/office/drawing/2014/main" id="{711C6CE9-4FF1-493D-98D9-8AB9E79BA4E6}"/>
                </a:ext>
              </a:extLst>
            </p:cNvPr>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latin typeface="Calibri Light"/>
                <a:ea typeface="ヒラギノ角ゴ ProN W3" charset="0"/>
                <a:cs typeface="+mn-cs"/>
                <a:sym typeface="Gotham Book" charset="0"/>
              </a:endParaRPr>
            </a:p>
          </p:txBody>
        </p:sp>
      </p:grpSp>
      <p:sp>
        <p:nvSpPr>
          <p:cNvPr id="88" name="TextBox 87">
            <a:extLst>
              <a:ext uri="{FF2B5EF4-FFF2-40B4-BE49-F238E27FC236}">
                <a16:creationId xmlns:a16="http://schemas.microsoft.com/office/drawing/2014/main" id="{74AA53EA-B607-4FBC-B116-F7170BF0F010}"/>
              </a:ext>
            </a:extLst>
          </p:cNvPr>
          <p:cNvSpPr txBox="1"/>
          <p:nvPr/>
        </p:nvSpPr>
        <p:spPr>
          <a:xfrm>
            <a:off x="6280522" y="2918256"/>
            <a:ext cx="2504231" cy="271293"/>
          </a:xfrm>
          <a:prstGeom prst="rect">
            <a:avLst/>
          </a:prstGeom>
          <a:noFill/>
        </p:spPr>
        <p:txBody>
          <a:bodyPr wrap="square" lIns="0" tIns="0" rIns="0" bIns="0" rtlCol="0">
            <a:spAutoFit/>
          </a:bodyPr>
          <a:lstStyle/>
          <a:p>
            <a:pPr lvl="0" algn="ctr" defTabSz="1142609">
              <a:spcBef>
                <a:spcPts val="562"/>
              </a:spcBef>
              <a:buSzPct val="100000"/>
              <a:defRPr/>
            </a:pPr>
            <a:r>
              <a:rPr lang="en-US" sz="1763" b="1" kern="0" dirty="0">
                <a:solidFill>
                  <a:srgbClr val="007CB0"/>
                </a:solidFill>
                <a:ea typeface="ヒラギノ角ゴ ProN W3" charset="0"/>
                <a:sym typeface="Gotham Book" charset="0"/>
              </a:rPr>
              <a:t>XXX</a:t>
            </a:r>
          </a:p>
        </p:txBody>
      </p:sp>
      <p:sp>
        <p:nvSpPr>
          <p:cNvPr id="89" name="TextBox 88">
            <a:extLst>
              <a:ext uri="{FF2B5EF4-FFF2-40B4-BE49-F238E27FC236}">
                <a16:creationId xmlns:a16="http://schemas.microsoft.com/office/drawing/2014/main" id="{47277070-3008-4434-8AF7-8ACF0739F5E5}"/>
              </a:ext>
            </a:extLst>
          </p:cNvPr>
          <p:cNvSpPr txBox="1"/>
          <p:nvPr/>
        </p:nvSpPr>
        <p:spPr>
          <a:xfrm>
            <a:off x="6347575" y="3267108"/>
            <a:ext cx="2377166" cy="403828"/>
          </a:xfrm>
          <a:prstGeom prst="rect">
            <a:avLst/>
          </a:prstGeom>
          <a:noFill/>
        </p:spPr>
        <p:txBody>
          <a:bodyPr wrap="square" lIns="0" tIns="0" rIns="0" bIns="0" rtlCol="0">
            <a:spAutoFit/>
          </a:bodyPr>
          <a:lstStyle/>
          <a:p>
            <a:pPr lvl="0" algn="ctr" defTabSz="1142609">
              <a:spcBef>
                <a:spcPts val="562"/>
              </a:spcBef>
              <a:buSzPct val="100000"/>
              <a:defRPr/>
            </a:pPr>
            <a:r>
              <a:rPr lang="en-US" sz="1312" i="1" kern="0" dirty="0">
                <a:solidFill>
                  <a:prstClr val="white">
                    <a:lumMod val="50000"/>
                  </a:prstClr>
                </a:solidFill>
                <a:ea typeface="ヒラギノ角ゴ ProN W3" charset="0"/>
                <a:sym typeface="Gotham Book" charset="0"/>
              </a:rPr>
              <a:t>This is dummy text it is not here to be read. The is just text to show</a:t>
            </a:r>
          </a:p>
        </p:txBody>
      </p:sp>
      <p:cxnSp>
        <p:nvCxnSpPr>
          <p:cNvPr id="92" name="Straight Connector 91">
            <a:extLst>
              <a:ext uri="{FF2B5EF4-FFF2-40B4-BE49-F238E27FC236}">
                <a16:creationId xmlns:a16="http://schemas.microsoft.com/office/drawing/2014/main" id="{CF11CC7D-FFC0-4BF1-A5E8-C1618E72F2DC}"/>
              </a:ext>
            </a:extLst>
          </p:cNvPr>
          <p:cNvCxnSpPr/>
          <p:nvPr/>
        </p:nvCxnSpPr>
        <p:spPr>
          <a:xfrm>
            <a:off x="412097" y="2268617"/>
            <a:ext cx="906377" cy="0"/>
          </a:xfrm>
          <a:prstGeom prst="line">
            <a:avLst/>
          </a:prstGeom>
          <a:noFill/>
          <a:ln w="9525" cap="flat" cmpd="sng" algn="ctr">
            <a:solidFill>
              <a:srgbClr val="53565A"/>
            </a:solidFill>
            <a:prstDash val="dash"/>
          </a:ln>
          <a:effectLst/>
        </p:spPr>
      </p:cxnSp>
      <p:cxnSp>
        <p:nvCxnSpPr>
          <p:cNvPr id="93" name="Straight Connector 92">
            <a:extLst>
              <a:ext uri="{FF2B5EF4-FFF2-40B4-BE49-F238E27FC236}">
                <a16:creationId xmlns:a16="http://schemas.microsoft.com/office/drawing/2014/main" id="{8231BDE8-2A3F-488A-90E7-45BF40F7FFC2}"/>
              </a:ext>
            </a:extLst>
          </p:cNvPr>
          <p:cNvCxnSpPr/>
          <p:nvPr/>
        </p:nvCxnSpPr>
        <p:spPr>
          <a:xfrm>
            <a:off x="2368900" y="2268617"/>
            <a:ext cx="1766273" cy="0"/>
          </a:xfrm>
          <a:prstGeom prst="line">
            <a:avLst/>
          </a:prstGeom>
          <a:noFill/>
          <a:ln w="9525" cap="flat" cmpd="sng" algn="ctr">
            <a:solidFill>
              <a:srgbClr val="53565A"/>
            </a:solidFill>
            <a:prstDash val="dash"/>
          </a:ln>
          <a:effectLst/>
        </p:spPr>
      </p:cxnSp>
      <p:cxnSp>
        <p:nvCxnSpPr>
          <p:cNvPr id="94" name="Straight Connector 93">
            <a:extLst>
              <a:ext uri="{FF2B5EF4-FFF2-40B4-BE49-F238E27FC236}">
                <a16:creationId xmlns:a16="http://schemas.microsoft.com/office/drawing/2014/main" id="{427A404B-6875-4AA8-BC3A-D3C747A1615F}"/>
              </a:ext>
            </a:extLst>
          </p:cNvPr>
          <p:cNvCxnSpPr/>
          <p:nvPr/>
        </p:nvCxnSpPr>
        <p:spPr>
          <a:xfrm>
            <a:off x="8064140" y="2268617"/>
            <a:ext cx="1799551" cy="0"/>
          </a:xfrm>
          <a:prstGeom prst="line">
            <a:avLst/>
          </a:prstGeom>
          <a:noFill/>
          <a:ln w="9525" cap="flat" cmpd="sng" algn="ctr">
            <a:solidFill>
              <a:srgbClr val="53565A"/>
            </a:solidFill>
            <a:prstDash val="dash"/>
          </a:ln>
          <a:effectLst/>
        </p:spPr>
      </p:cxnSp>
      <p:cxnSp>
        <p:nvCxnSpPr>
          <p:cNvPr id="95" name="Straight Connector 94">
            <a:extLst>
              <a:ext uri="{FF2B5EF4-FFF2-40B4-BE49-F238E27FC236}">
                <a16:creationId xmlns:a16="http://schemas.microsoft.com/office/drawing/2014/main" id="{E1525D1A-C79C-4FE4-B9F6-BB666F4E4F88}"/>
              </a:ext>
            </a:extLst>
          </p:cNvPr>
          <p:cNvCxnSpPr/>
          <p:nvPr/>
        </p:nvCxnSpPr>
        <p:spPr>
          <a:xfrm>
            <a:off x="10958288" y="2268617"/>
            <a:ext cx="823979" cy="0"/>
          </a:xfrm>
          <a:prstGeom prst="line">
            <a:avLst/>
          </a:prstGeom>
          <a:noFill/>
          <a:ln w="9525" cap="flat" cmpd="sng" algn="ctr">
            <a:solidFill>
              <a:srgbClr val="53565A"/>
            </a:solidFill>
            <a:prstDash val="dash"/>
          </a:ln>
          <a:effectLst/>
        </p:spPr>
      </p:cxnSp>
      <p:grpSp>
        <p:nvGrpSpPr>
          <p:cNvPr id="97" name="Group 127">
            <a:extLst>
              <a:ext uri="{FF2B5EF4-FFF2-40B4-BE49-F238E27FC236}">
                <a16:creationId xmlns:a16="http://schemas.microsoft.com/office/drawing/2014/main" id="{261FBFC1-4B66-47A2-87E8-D1D45974AA33}"/>
              </a:ext>
            </a:extLst>
          </p:cNvPr>
          <p:cNvGrpSpPr>
            <a:grpSpLocks noChangeAspect="1"/>
          </p:cNvGrpSpPr>
          <p:nvPr/>
        </p:nvGrpSpPr>
        <p:grpSpPr bwMode="auto">
          <a:xfrm rot="10800000">
            <a:off x="9919416" y="1767017"/>
            <a:ext cx="988438" cy="988437"/>
            <a:chOff x="5048" y="380"/>
            <a:chExt cx="340" cy="340"/>
          </a:xfrm>
          <a:solidFill>
            <a:sysClr val="windowText" lastClr="000000"/>
          </a:solidFill>
        </p:grpSpPr>
        <p:sp>
          <p:nvSpPr>
            <p:cNvPr id="100" name="Freeform 128">
              <a:extLst>
                <a:ext uri="{FF2B5EF4-FFF2-40B4-BE49-F238E27FC236}">
                  <a16:creationId xmlns:a16="http://schemas.microsoft.com/office/drawing/2014/main" id="{D2760FED-58E6-472B-8A4B-3C7AAF4C57E3}"/>
                </a:ext>
              </a:extLst>
            </p:cNvPr>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dirty="0">
                <a:ln>
                  <a:noFill/>
                </a:ln>
                <a:solidFill>
                  <a:prstClr val="black"/>
                </a:solidFill>
                <a:effectLst/>
                <a:uLnTx/>
                <a:uFillTx/>
                <a:latin typeface="Calibri Light"/>
                <a:ea typeface="ヒラギノ角ゴ ProN W3" charset="0"/>
                <a:cs typeface="+mn-cs"/>
                <a:sym typeface="Gotham Book" charset="0"/>
              </a:endParaRPr>
            </a:p>
          </p:txBody>
        </p:sp>
        <p:sp>
          <p:nvSpPr>
            <p:cNvPr id="101" name="Freeform 129">
              <a:extLst>
                <a:ext uri="{FF2B5EF4-FFF2-40B4-BE49-F238E27FC236}">
                  <a16:creationId xmlns:a16="http://schemas.microsoft.com/office/drawing/2014/main" id="{435F4BB2-3931-466B-963D-812A09D86F16}"/>
                </a:ext>
              </a:extLst>
            </p:cNvPr>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dirty="0">
                <a:ln>
                  <a:noFill/>
                </a:ln>
                <a:solidFill>
                  <a:prstClr val="black"/>
                </a:solidFill>
                <a:effectLst/>
                <a:uLnTx/>
                <a:uFillTx/>
                <a:latin typeface="Calibri Light"/>
                <a:ea typeface="ヒラギノ角ゴ ProN W3" charset="0"/>
                <a:cs typeface="+mn-cs"/>
                <a:sym typeface="Gotham Book" charset="0"/>
              </a:endParaRPr>
            </a:p>
          </p:txBody>
        </p:sp>
      </p:grpSp>
      <p:sp>
        <p:nvSpPr>
          <p:cNvPr id="98" name="TextBox 97">
            <a:extLst>
              <a:ext uri="{FF2B5EF4-FFF2-40B4-BE49-F238E27FC236}">
                <a16:creationId xmlns:a16="http://schemas.microsoft.com/office/drawing/2014/main" id="{A29574C9-3943-4A79-97F4-DC431EB189BB}"/>
              </a:ext>
            </a:extLst>
          </p:cNvPr>
          <p:cNvSpPr txBox="1"/>
          <p:nvPr/>
        </p:nvSpPr>
        <p:spPr>
          <a:xfrm>
            <a:off x="9161520" y="2901872"/>
            <a:ext cx="2504231" cy="271293"/>
          </a:xfrm>
          <a:prstGeom prst="rect">
            <a:avLst/>
          </a:prstGeom>
          <a:noFill/>
        </p:spPr>
        <p:txBody>
          <a:bodyPr wrap="square" lIns="0" tIns="0" rIns="0" bIns="0" rtlCol="0">
            <a:spAutoFit/>
          </a:bodyPr>
          <a:lstStyle/>
          <a:p>
            <a:pPr lvl="0" algn="ctr" defTabSz="1142609">
              <a:spcBef>
                <a:spcPts val="562"/>
              </a:spcBef>
              <a:buSzPct val="100000"/>
              <a:defRPr/>
            </a:pPr>
            <a:r>
              <a:rPr lang="en-US" sz="1763" b="1" kern="0" dirty="0">
                <a:solidFill>
                  <a:srgbClr val="007CB0"/>
                </a:solidFill>
                <a:ea typeface="ヒラギノ角ゴ ProN W3" charset="0"/>
                <a:sym typeface="Gotham Book" charset="0"/>
              </a:rPr>
              <a:t>XXX</a:t>
            </a:r>
          </a:p>
        </p:txBody>
      </p:sp>
      <p:sp>
        <p:nvSpPr>
          <p:cNvPr id="99" name="TextBox 98">
            <a:extLst>
              <a:ext uri="{FF2B5EF4-FFF2-40B4-BE49-F238E27FC236}">
                <a16:creationId xmlns:a16="http://schemas.microsoft.com/office/drawing/2014/main" id="{8404D7E6-2A9D-4F49-A390-5A986B833120}"/>
              </a:ext>
            </a:extLst>
          </p:cNvPr>
          <p:cNvSpPr txBox="1"/>
          <p:nvPr/>
        </p:nvSpPr>
        <p:spPr>
          <a:xfrm>
            <a:off x="9225052" y="3250723"/>
            <a:ext cx="2377166" cy="605743"/>
          </a:xfrm>
          <a:prstGeom prst="rect">
            <a:avLst/>
          </a:prstGeom>
          <a:noFill/>
        </p:spPr>
        <p:txBody>
          <a:bodyPr wrap="square" lIns="0" tIns="0" rIns="0" bIns="0" rtlCol="0">
            <a:spAutoFit/>
          </a:bodyPr>
          <a:lstStyle/>
          <a:p>
            <a:pPr lvl="0" algn="ctr" defTabSz="1142609">
              <a:spcBef>
                <a:spcPts val="562"/>
              </a:spcBef>
              <a:buSzPct val="100000"/>
              <a:defRPr/>
            </a:pPr>
            <a:r>
              <a:rPr lang="en-US" sz="1312" i="1" kern="0" dirty="0">
                <a:solidFill>
                  <a:prstClr val="white">
                    <a:lumMod val="50000"/>
                  </a:prstClr>
                </a:solidFill>
                <a:ea typeface="ヒラギノ角ゴ ProN W3" charset="0"/>
                <a:sym typeface="Gotham Book" charset="0"/>
              </a:rPr>
              <a:t>This is dummy text it is not here to be read. The is just text to show where you could insert text</a:t>
            </a:r>
          </a:p>
        </p:txBody>
      </p:sp>
      <p:cxnSp>
        <p:nvCxnSpPr>
          <p:cNvPr id="102" name="Straight Connector 101">
            <a:extLst>
              <a:ext uri="{FF2B5EF4-FFF2-40B4-BE49-F238E27FC236}">
                <a16:creationId xmlns:a16="http://schemas.microsoft.com/office/drawing/2014/main" id="{6D1200C9-41D3-40A9-9028-0DE19FEC8607}"/>
              </a:ext>
            </a:extLst>
          </p:cNvPr>
          <p:cNvCxnSpPr/>
          <p:nvPr/>
        </p:nvCxnSpPr>
        <p:spPr>
          <a:xfrm>
            <a:off x="5194433" y="2268617"/>
            <a:ext cx="1766273" cy="0"/>
          </a:xfrm>
          <a:prstGeom prst="line">
            <a:avLst/>
          </a:prstGeom>
          <a:noFill/>
          <a:ln w="9525" cap="flat" cmpd="sng" algn="ctr">
            <a:solidFill>
              <a:srgbClr val="53565A"/>
            </a:solidFill>
            <a:prstDash val="dash"/>
          </a:ln>
          <a:effectLst/>
        </p:spPr>
      </p:cxnSp>
      <p:sp>
        <p:nvSpPr>
          <p:cNvPr id="103" name="Rectangle 102">
            <a:extLst>
              <a:ext uri="{FF2B5EF4-FFF2-40B4-BE49-F238E27FC236}">
                <a16:creationId xmlns:a16="http://schemas.microsoft.com/office/drawing/2014/main" id="{FC8694FA-A357-4788-A1BA-B564228DBA69}"/>
              </a:ext>
            </a:extLst>
          </p:cNvPr>
          <p:cNvSpPr/>
          <p:nvPr/>
        </p:nvSpPr>
        <p:spPr>
          <a:xfrm>
            <a:off x="5510324" y="5238162"/>
            <a:ext cx="1955953" cy="453877"/>
          </a:xfrm>
          <a:prstGeom prst="rect">
            <a:avLst/>
          </a:prstGeom>
          <a:solidFill>
            <a:schemeClr val="accent2"/>
          </a:solidFill>
          <a:ln w="12700" cap="flat" cmpd="sng" algn="ctr">
            <a:noFill/>
            <a:prstDash val="solid"/>
          </a:ln>
          <a:effectLst/>
        </p:spPr>
        <p:txBody>
          <a:bodyPr wrap="square" lIns="0" tIns="0" rIns="0" bIns="0" rtlCol="0" anchor="ctr">
            <a:noAutofit/>
          </a:bodyPr>
          <a:lstStyle/>
          <a:p>
            <a:pPr marL="147167" lvl="0" defTabSz="671718" fontAlgn="base">
              <a:spcBef>
                <a:spcPct val="0"/>
              </a:spcBef>
              <a:spcAft>
                <a:spcPct val="0"/>
              </a:spcAft>
              <a:defRPr/>
            </a:pPr>
            <a:r>
              <a:rPr lang="en-US" sz="2057" kern="0" dirty="0">
                <a:solidFill>
                  <a:prstClr val="white"/>
                </a:solidFill>
                <a:cs typeface="Segoe UI Light" panose="020B0502040204020203" pitchFamily="34" charset="0"/>
                <a:sym typeface="Gotham Book" charset="0"/>
              </a:rPr>
              <a:t>Lorem ipsum </a:t>
            </a:r>
          </a:p>
        </p:txBody>
      </p:sp>
      <p:grpSp>
        <p:nvGrpSpPr>
          <p:cNvPr id="104" name="Group 103">
            <a:extLst>
              <a:ext uri="{FF2B5EF4-FFF2-40B4-BE49-F238E27FC236}">
                <a16:creationId xmlns:a16="http://schemas.microsoft.com/office/drawing/2014/main" id="{E3109D7B-8D0F-48B1-AB6A-EC4A20817F05}"/>
              </a:ext>
            </a:extLst>
          </p:cNvPr>
          <p:cNvGrpSpPr/>
          <p:nvPr/>
        </p:nvGrpSpPr>
        <p:grpSpPr>
          <a:xfrm>
            <a:off x="7247001" y="5001656"/>
            <a:ext cx="753143" cy="928094"/>
            <a:chOff x="4021476" y="4047257"/>
            <a:chExt cx="1025286" cy="1263453"/>
          </a:xfrm>
        </p:grpSpPr>
        <p:sp>
          <p:nvSpPr>
            <p:cNvPr id="105" name="Oval 104">
              <a:extLst>
                <a:ext uri="{FF2B5EF4-FFF2-40B4-BE49-F238E27FC236}">
                  <a16:creationId xmlns:a16="http://schemas.microsoft.com/office/drawing/2014/main" id="{597A1B8C-ECFE-4C8C-92FA-A49668DFBB03}"/>
                </a:ext>
              </a:extLst>
            </p:cNvPr>
            <p:cNvSpPr>
              <a:spLocks noChangeAspect="1"/>
            </p:cNvSpPr>
            <p:nvPr/>
          </p:nvSpPr>
          <p:spPr>
            <a:xfrm>
              <a:off x="4021476" y="4199455"/>
              <a:ext cx="1025286" cy="955941"/>
            </a:xfrm>
            <a:prstGeom prst="ellipse">
              <a:avLst/>
            </a:prstGeom>
            <a:solidFill>
              <a:schemeClr val="accent2">
                <a:alpha val="45000"/>
              </a:schemeClr>
            </a:solidFill>
            <a:ln w="12700" cap="flat" cmpd="sng" algn="ctr">
              <a:no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06" name="Rectangle 105">
              <a:extLst>
                <a:ext uri="{FF2B5EF4-FFF2-40B4-BE49-F238E27FC236}">
                  <a16:creationId xmlns:a16="http://schemas.microsoft.com/office/drawing/2014/main" id="{922A694F-CF94-45C4-BAA9-2EB4B759863C}"/>
                </a:ext>
              </a:extLst>
            </p:cNvPr>
            <p:cNvSpPr/>
            <p:nvPr/>
          </p:nvSpPr>
          <p:spPr>
            <a:xfrm>
              <a:off x="4119859" y="4877230"/>
              <a:ext cx="914401" cy="433480"/>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07" name="Rectangle 106">
              <a:extLst>
                <a:ext uri="{FF2B5EF4-FFF2-40B4-BE49-F238E27FC236}">
                  <a16:creationId xmlns:a16="http://schemas.microsoft.com/office/drawing/2014/main" id="{4C03D79A-0107-4182-A56F-27DAD94E2526}"/>
                </a:ext>
              </a:extLst>
            </p:cNvPr>
            <p:cNvSpPr/>
            <p:nvPr/>
          </p:nvSpPr>
          <p:spPr>
            <a:xfrm>
              <a:off x="4099672" y="4047257"/>
              <a:ext cx="914401" cy="433480"/>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grpSp>
      <p:sp>
        <p:nvSpPr>
          <p:cNvPr id="108" name="Rectangle 107">
            <a:extLst>
              <a:ext uri="{FF2B5EF4-FFF2-40B4-BE49-F238E27FC236}">
                <a16:creationId xmlns:a16="http://schemas.microsoft.com/office/drawing/2014/main" id="{E2502D9B-A7BA-4857-82C7-09872D077B02}"/>
              </a:ext>
            </a:extLst>
          </p:cNvPr>
          <p:cNvSpPr/>
          <p:nvPr/>
        </p:nvSpPr>
        <p:spPr>
          <a:xfrm>
            <a:off x="2894478" y="5240357"/>
            <a:ext cx="2058011" cy="449486"/>
          </a:xfrm>
          <a:prstGeom prst="rect">
            <a:avLst/>
          </a:prstGeom>
          <a:solidFill>
            <a:schemeClr val="accent1"/>
          </a:solidFill>
          <a:ln w="12700" cap="flat" cmpd="sng" algn="ctr">
            <a:noFill/>
            <a:prstDash val="solid"/>
          </a:ln>
          <a:effectLst/>
        </p:spPr>
        <p:txBody>
          <a:bodyPr wrap="square" lIns="0" tIns="0" rIns="0" bIns="0" rtlCol="0" anchor="ctr">
            <a:noAutofit/>
          </a:bodyPr>
          <a:lstStyle/>
          <a:p>
            <a:pPr marL="147167" lvl="0" defTabSz="671718" fontAlgn="base">
              <a:spcBef>
                <a:spcPct val="0"/>
              </a:spcBef>
              <a:spcAft>
                <a:spcPct val="0"/>
              </a:spcAft>
              <a:defRPr/>
            </a:pPr>
            <a:r>
              <a:rPr lang="en-US" sz="2057" kern="0" dirty="0">
                <a:solidFill>
                  <a:prstClr val="white"/>
                </a:solidFill>
                <a:cs typeface="Segoe UI Light" panose="020B0502040204020203" pitchFamily="34" charset="0"/>
                <a:sym typeface="Gotham Book" charset="0"/>
              </a:rPr>
              <a:t>Lorem ipsum </a:t>
            </a:r>
          </a:p>
        </p:txBody>
      </p:sp>
      <p:sp>
        <p:nvSpPr>
          <p:cNvPr id="110" name="Oval 109">
            <a:extLst>
              <a:ext uri="{FF2B5EF4-FFF2-40B4-BE49-F238E27FC236}">
                <a16:creationId xmlns:a16="http://schemas.microsoft.com/office/drawing/2014/main" id="{4A235EED-7B27-4903-8E63-429165393172}"/>
              </a:ext>
            </a:extLst>
          </p:cNvPr>
          <p:cNvSpPr>
            <a:spLocks noChangeAspect="1"/>
          </p:cNvSpPr>
          <p:nvPr/>
        </p:nvSpPr>
        <p:spPr>
          <a:xfrm>
            <a:off x="4759162" y="5113456"/>
            <a:ext cx="753143" cy="702205"/>
          </a:xfrm>
          <a:prstGeom prst="ellipse">
            <a:avLst/>
          </a:prstGeom>
          <a:solidFill>
            <a:schemeClr val="accent1"/>
          </a:solidFill>
          <a:ln w="12700" cap="flat" cmpd="sng" algn="ctr">
            <a:no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1" name="Rectangle 110">
            <a:extLst>
              <a:ext uri="{FF2B5EF4-FFF2-40B4-BE49-F238E27FC236}">
                <a16:creationId xmlns:a16="http://schemas.microsoft.com/office/drawing/2014/main" id="{F5BC6ABB-7A10-4FD1-878F-1C7BE465C586}"/>
              </a:ext>
            </a:extLst>
          </p:cNvPr>
          <p:cNvSpPr/>
          <p:nvPr/>
        </p:nvSpPr>
        <p:spPr>
          <a:xfrm>
            <a:off x="4787283" y="5609300"/>
            <a:ext cx="671690" cy="318421"/>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2" name="Rectangle 111">
            <a:extLst>
              <a:ext uri="{FF2B5EF4-FFF2-40B4-BE49-F238E27FC236}">
                <a16:creationId xmlns:a16="http://schemas.microsoft.com/office/drawing/2014/main" id="{5532CD97-83AE-4831-AC10-2F0F4BB56063}"/>
              </a:ext>
            </a:extLst>
          </p:cNvPr>
          <p:cNvSpPr/>
          <p:nvPr/>
        </p:nvSpPr>
        <p:spPr>
          <a:xfrm>
            <a:off x="4772454" y="4997682"/>
            <a:ext cx="671690" cy="318421"/>
          </a:xfrm>
          <a:prstGeom prst="rect">
            <a:avLst/>
          </a:prstGeom>
          <a:solidFill>
            <a:sysClr val="window" lastClr="FFFFFF"/>
          </a:solidFill>
          <a:ln w="12700" cap="flat" cmpd="sng" algn="ctr">
            <a:solidFill>
              <a:sysClr val="window" lastClr="FFFFFF"/>
            </a:solidFill>
            <a:prstDash val="solid"/>
          </a:ln>
          <a:effectLst/>
        </p:spPr>
        <p:txBody>
          <a:bodyPr rtlCol="0" anchor="ctr">
            <a:spAutoFit/>
          </a:bodyPr>
          <a:lstStyle/>
          <a:p>
            <a:pPr marL="130612" marR="0" lvl="0" indent="-130612"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cxnSp>
        <p:nvCxnSpPr>
          <p:cNvPr id="113" name="Straight Connector 112">
            <a:extLst>
              <a:ext uri="{FF2B5EF4-FFF2-40B4-BE49-F238E27FC236}">
                <a16:creationId xmlns:a16="http://schemas.microsoft.com/office/drawing/2014/main" id="{8563189E-970C-449A-9019-8501DD904AD6}"/>
              </a:ext>
            </a:extLst>
          </p:cNvPr>
          <p:cNvCxnSpPr/>
          <p:nvPr/>
        </p:nvCxnSpPr>
        <p:spPr>
          <a:xfrm flipH="1">
            <a:off x="2582470" y="5731977"/>
            <a:ext cx="0" cy="652164"/>
          </a:xfrm>
          <a:prstGeom prst="line">
            <a:avLst/>
          </a:prstGeom>
          <a:noFill/>
          <a:ln w="19050" cap="flat" cmpd="sng" algn="ctr">
            <a:solidFill>
              <a:sysClr val="window" lastClr="FFFFFF">
                <a:lumMod val="75000"/>
              </a:sysClr>
            </a:solidFill>
            <a:prstDash val="dash"/>
          </a:ln>
          <a:effectLst/>
        </p:spPr>
      </p:cxnSp>
      <p:grpSp>
        <p:nvGrpSpPr>
          <p:cNvPr id="114" name="Group 113">
            <a:extLst>
              <a:ext uri="{FF2B5EF4-FFF2-40B4-BE49-F238E27FC236}">
                <a16:creationId xmlns:a16="http://schemas.microsoft.com/office/drawing/2014/main" id="{23A0A80A-62E8-49A4-A1CB-DE37CE679948}"/>
              </a:ext>
            </a:extLst>
          </p:cNvPr>
          <p:cNvGrpSpPr/>
          <p:nvPr/>
        </p:nvGrpSpPr>
        <p:grpSpPr>
          <a:xfrm>
            <a:off x="5198309" y="5819667"/>
            <a:ext cx="2529785" cy="652164"/>
            <a:chOff x="4679407" y="5233333"/>
            <a:chExt cx="3443904" cy="795771"/>
          </a:xfrm>
        </p:grpSpPr>
        <p:cxnSp>
          <p:nvCxnSpPr>
            <p:cNvPr id="115" name="Straight Connector 114">
              <a:extLst>
                <a:ext uri="{FF2B5EF4-FFF2-40B4-BE49-F238E27FC236}">
                  <a16:creationId xmlns:a16="http://schemas.microsoft.com/office/drawing/2014/main" id="{9FE1FD8D-4CB7-41E7-9D01-8F268C93E096}"/>
                </a:ext>
              </a:extLst>
            </p:cNvPr>
            <p:cNvCxnSpPr/>
            <p:nvPr/>
          </p:nvCxnSpPr>
          <p:spPr>
            <a:xfrm flipH="1">
              <a:off x="4679407" y="5233333"/>
              <a:ext cx="0" cy="795771"/>
            </a:xfrm>
            <a:prstGeom prst="line">
              <a:avLst/>
            </a:prstGeom>
            <a:noFill/>
            <a:ln w="19050" cap="flat" cmpd="sng" algn="ctr">
              <a:solidFill>
                <a:sysClr val="window" lastClr="FFFFFF">
                  <a:lumMod val="75000"/>
                </a:sysClr>
              </a:solidFill>
              <a:prstDash val="dash"/>
            </a:ln>
            <a:effectLst/>
          </p:spPr>
        </p:cxnSp>
        <p:cxnSp>
          <p:nvCxnSpPr>
            <p:cNvPr id="116" name="Straight Connector 115">
              <a:extLst>
                <a:ext uri="{FF2B5EF4-FFF2-40B4-BE49-F238E27FC236}">
                  <a16:creationId xmlns:a16="http://schemas.microsoft.com/office/drawing/2014/main" id="{61722F0B-6184-45A2-9632-B29D2BA28FC6}"/>
                </a:ext>
              </a:extLst>
            </p:cNvPr>
            <p:cNvCxnSpPr/>
            <p:nvPr/>
          </p:nvCxnSpPr>
          <p:spPr>
            <a:xfrm flipH="1">
              <a:off x="8123311" y="5233333"/>
              <a:ext cx="0" cy="795528"/>
            </a:xfrm>
            <a:prstGeom prst="line">
              <a:avLst/>
            </a:prstGeom>
            <a:noFill/>
            <a:ln w="19050" cap="flat" cmpd="sng" algn="ctr">
              <a:solidFill>
                <a:sysClr val="window" lastClr="FFFFFF">
                  <a:lumMod val="75000"/>
                </a:sysClr>
              </a:solidFill>
              <a:prstDash val="dash"/>
            </a:ln>
            <a:effectLst/>
          </p:spPr>
        </p:cxnSp>
      </p:grpSp>
      <p:sp>
        <p:nvSpPr>
          <p:cNvPr id="117" name="Rectangle 116">
            <a:extLst>
              <a:ext uri="{FF2B5EF4-FFF2-40B4-BE49-F238E27FC236}">
                <a16:creationId xmlns:a16="http://schemas.microsoft.com/office/drawing/2014/main" id="{E17B44A5-F22E-46C7-B803-1E3C47CEDEAC}"/>
              </a:ext>
            </a:extLst>
          </p:cNvPr>
          <p:cNvSpPr/>
          <p:nvPr/>
        </p:nvSpPr>
        <p:spPr>
          <a:xfrm>
            <a:off x="8011410" y="5238162"/>
            <a:ext cx="2307768" cy="453877"/>
          </a:xfrm>
          <a:prstGeom prst="rect">
            <a:avLst/>
          </a:prstGeom>
          <a:solidFill>
            <a:schemeClr val="accent3"/>
          </a:solidFill>
          <a:ln w="12700" cap="flat" cmpd="sng" algn="ctr">
            <a:solidFill>
              <a:schemeClr val="accent3"/>
            </a:solidFill>
            <a:prstDash val="solid"/>
          </a:ln>
          <a:effectLst/>
        </p:spPr>
        <p:txBody>
          <a:bodyPr wrap="square" lIns="0" tIns="0" rIns="0" bIns="0" rtlCol="0" anchor="ctr">
            <a:noAutofit/>
          </a:bodyPr>
          <a:lstStyle/>
          <a:p>
            <a:pPr marL="147167" lvl="0" defTabSz="671718" fontAlgn="base">
              <a:spcBef>
                <a:spcPct val="0"/>
              </a:spcBef>
              <a:spcAft>
                <a:spcPct val="0"/>
              </a:spcAft>
              <a:defRPr/>
            </a:pPr>
            <a:r>
              <a:rPr lang="en-US" sz="2057" kern="0" dirty="0">
                <a:solidFill>
                  <a:prstClr val="white"/>
                </a:solidFill>
                <a:cs typeface="Segoe UI Light" panose="020B0502040204020203" pitchFamily="34" charset="0"/>
                <a:sym typeface="Gotham Book" charset="0"/>
              </a:rPr>
              <a:t>Lorem ipsum </a:t>
            </a:r>
          </a:p>
        </p:txBody>
      </p:sp>
      <p:sp>
        <p:nvSpPr>
          <p:cNvPr id="118" name="Oval 117">
            <a:extLst>
              <a:ext uri="{FF2B5EF4-FFF2-40B4-BE49-F238E27FC236}">
                <a16:creationId xmlns:a16="http://schemas.microsoft.com/office/drawing/2014/main" id="{0282A726-549E-40DD-8D29-60C55A4BCACD}"/>
              </a:ext>
            </a:extLst>
          </p:cNvPr>
          <p:cNvSpPr>
            <a:spLocks noChangeAspect="1"/>
          </p:cNvSpPr>
          <p:nvPr/>
        </p:nvSpPr>
        <p:spPr>
          <a:xfrm>
            <a:off x="7351611" y="5107778"/>
            <a:ext cx="753143" cy="702205"/>
          </a:xfrm>
          <a:prstGeom prst="ellipse">
            <a:avLst/>
          </a:prstGeom>
          <a:solidFill>
            <a:schemeClr val="accent3"/>
          </a:solidFill>
          <a:ln w="12700" cap="flat" cmpd="sng" algn="ctr">
            <a:solidFill>
              <a:schemeClr val="accent3"/>
            </a:solid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9" name="Oval 118">
            <a:extLst>
              <a:ext uri="{FF2B5EF4-FFF2-40B4-BE49-F238E27FC236}">
                <a16:creationId xmlns:a16="http://schemas.microsoft.com/office/drawing/2014/main" id="{BFC813F9-7E1F-4F2E-B3E8-F962254C6B21}"/>
              </a:ext>
            </a:extLst>
          </p:cNvPr>
          <p:cNvSpPr>
            <a:spLocks noChangeAspect="1"/>
          </p:cNvSpPr>
          <p:nvPr/>
        </p:nvSpPr>
        <p:spPr>
          <a:xfrm>
            <a:off x="2211070" y="5107778"/>
            <a:ext cx="753143" cy="702205"/>
          </a:xfrm>
          <a:prstGeom prst="ellipse">
            <a:avLst/>
          </a:prstGeom>
          <a:solidFill>
            <a:schemeClr val="accent1"/>
          </a:solidFill>
          <a:ln w="12700" cap="flat" cmpd="sng" algn="ctr">
            <a:solidFill>
              <a:srgbClr val="86BC25"/>
            </a:solid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20" name="Oval 119">
            <a:extLst>
              <a:ext uri="{FF2B5EF4-FFF2-40B4-BE49-F238E27FC236}">
                <a16:creationId xmlns:a16="http://schemas.microsoft.com/office/drawing/2014/main" id="{47307843-F5A1-4E3F-BCB7-5959BEBC990B}"/>
              </a:ext>
            </a:extLst>
          </p:cNvPr>
          <p:cNvSpPr>
            <a:spLocks noChangeAspect="1"/>
          </p:cNvSpPr>
          <p:nvPr/>
        </p:nvSpPr>
        <p:spPr>
          <a:xfrm>
            <a:off x="4847274" y="5101128"/>
            <a:ext cx="753143" cy="702205"/>
          </a:xfrm>
          <a:prstGeom prst="ellipse">
            <a:avLst/>
          </a:prstGeom>
          <a:solidFill>
            <a:schemeClr val="accent2"/>
          </a:solidFill>
          <a:ln w="12700" cap="flat" cmpd="sng" algn="ctr">
            <a:solidFill>
              <a:schemeClr val="accent2"/>
            </a:solidFill>
            <a:prstDash val="solid"/>
          </a:ln>
          <a:effectLst/>
        </p:spPr>
        <p:txBody>
          <a:bodyPr wrap="square" rtlCol="0" anchor="ctr">
            <a:spAutoFit/>
          </a:bodyPr>
          <a:lstStyle/>
          <a:p>
            <a:pPr marL="232149" marR="0" lvl="0" indent="-232149" algn="l" defTabSz="67171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grpSp>
        <p:nvGrpSpPr>
          <p:cNvPr id="121" name="Group 325">
            <a:extLst>
              <a:ext uri="{FF2B5EF4-FFF2-40B4-BE49-F238E27FC236}">
                <a16:creationId xmlns:a16="http://schemas.microsoft.com/office/drawing/2014/main" id="{DF4105B4-47EC-4B65-81C4-B6749FC42BE9}"/>
              </a:ext>
            </a:extLst>
          </p:cNvPr>
          <p:cNvGrpSpPr>
            <a:grpSpLocks noChangeAspect="1"/>
          </p:cNvGrpSpPr>
          <p:nvPr/>
        </p:nvGrpSpPr>
        <p:grpSpPr bwMode="auto">
          <a:xfrm>
            <a:off x="4914592" y="5153950"/>
            <a:ext cx="602749" cy="604521"/>
            <a:chOff x="5044" y="1157"/>
            <a:chExt cx="340" cy="341"/>
          </a:xfrm>
          <a:solidFill>
            <a:sysClr val="window" lastClr="FFFFFF"/>
          </a:solidFill>
        </p:grpSpPr>
        <p:sp>
          <p:nvSpPr>
            <p:cNvPr id="122" name="Freeform 326">
              <a:extLst>
                <a:ext uri="{FF2B5EF4-FFF2-40B4-BE49-F238E27FC236}">
                  <a16:creationId xmlns:a16="http://schemas.microsoft.com/office/drawing/2014/main" id="{DA510357-AE49-4989-830D-B7345ACFA799}"/>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sp>
          <p:nvSpPr>
            <p:cNvPr id="123" name="Freeform 327">
              <a:extLst>
                <a:ext uri="{FF2B5EF4-FFF2-40B4-BE49-F238E27FC236}">
                  <a16:creationId xmlns:a16="http://schemas.microsoft.com/office/drawing/2014/main" id="{35BD31CD-B107-4A3F-8815-9E18AF7EA0CD}"/>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grpSp>
      <p:grpSp>
        <p:nvGrpSpPr>
          <p:cNvPr id="124" name="Group 48">
            <a:extLst>
              <a:ext uri="{FF2B5EF4-FFF2-40B4-BE49-F238E27FC236}">
                <a16:creationId xmlns:a16="http://schemas.microsoft.com/office/drawing/2014/main" id="{72B8628F-6B06-4562-9BB3-FB2D77A04C6A}"/>
              </a:ext>
            </a:extLst>
          </p:cNvPr>
          <p:cNvGrpSpPr>
            <a:grpSpLocks noChangeAspect="1"/>
          </p:cNvGrpSpPr>
          <p:nvPr/>
        </p:nvGrpSpPr>
        <p:grpSpPr bwMode="auto">
          <a:xfrm>
            <a:off x="7425554" y="5161652"/>
            <a:ext cx="604521" cy="604521"/>
            <a:chOff x="4277" y="1990"/>
            <a:chExt cx="340" cy="340"/>
          </a:xfrm>
          <a:solidFill>
            <a:sysClr val="window" lastClr="FFFFFF"/>
          </a:solidFill>
        </p:grpSpPr>
        <p:sp>
          <p:nvSpPr>
            <p:cNvPr id="125" name="Freeform 49">
              <a:extLst>
                <a:ext uri="{FF2B5EF4-FFF2-40B4-BE49-F238E27FC236}">
                  <a16:creationId xmlns:a16="http://schemas.microsoft.com/office/drawing/2014/main" id="{97ED4CE5-71D6-4B31-B37C-653305431C1D}"/>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sp>
          <p:nvSpPr>
            <p:cNvPr id="126" name="Freeform 50">
              <a:extLst>
                <a:ext uri="{FF2B5EF4-FFF2-40B4-BE49-F238E27FC236}">
                  <a16:creationId xmlns:a16="http://schemas.microsoft.com/office/drawing/2014/main" id="{41471B96-6165-4D75-A799-09D0B33218E6}"/>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grpSp>
      <p:grpSp>
        <p:nvGrpSpPr>
          <p:cNvPr id="127" name="Group 675">
            <a:extLst>
              <a:ext uri="{FF2B5EF4-FFF2-40B4-BE49-F238E27FC236}">
                <a16:creationId xmlns:a16="http://schemas.microsoft.com/office/drawing/2014/main" id="{4F278884-AE62-4289-B304-17FCE228F5BC}"/>
              </a:ext>
            </a:extLst>
          </p:cNvPr>
          <p:cNvGrpSpPr>
            <a:grpSpLocks noChangeAspect="1"/>
          </p:cNvGrpSpPr>
          <p:nvPr/>
        </p:nvGrpSpPr>
        <p:grpSpPr bwMode="auto">
          <a:xfrm>
            <a:off x="2283307" y="5161959"/>
            <a:ext cx="604521" cy="604521"/>
            <a:chOff x="6583" y="2681"/>
            <a:chExt cx="340" cy="340"/>
          </a:xfrm>
          <a:solidFill>
            <a:sysClr val="window" lastClr="FFFFFF"/>
          </a:solidFill>
        </p:grpSpPr>
        <p:sp>
          <p:nvSpPr>
            <p:cNvPr id="128" name="Freeform 676">
              <a:extLst>
                <a:ext uri="{FF2B5EF4-FFF2-40B4-BE49-F238E27FC236}">
                  <a16:creationId xmlns:a16="http://schemas.microsoft.com/office/drawing/2014/main" id="{9367E915-3883-4B18-AC51-512564C1A379}"/>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sp>
          <p:nvSpPr>
            <p:cNvPr id="129" name="Freeform 677">
              <a:extLst>
                <a:ext uri="{FF2B5EF4-FFF2-40B4-BE49-F238E27FC236}">
                  <a16:creationId xmlns:a16="http://schemas.microsoft.com/office/drawing/2014/main" id="{0E7F3BFF-EE7E-4489-A9E0-32E46AA017DF}"/>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sp>
          <p:nvSpPr>
            <p:cNvPr id="130" name="Freeform 678">
              <a:extLst>
                <a:ext uri="{FF2B5EF4-FFF2-40B4-BE49-F238E27FC236}">
                  <a16:creationId xmlns:a16="http://schemas.microsoft.com/office/drawing/2014/main" id="{FBA436D7-A0A3-45DA-B5E1-ED28AC4247D8}"/>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cs typeface="+mn-cs"/>
                <a:sym typeface="Gotham Book" charset="0"/>
              </a:endParaRPr>
            </a:p>
          </p:txBody>
        </p:sp>
      </p:grpSp>
      <p:sp>
        <p:nvSpPr>
          <p:cNvPr id="131" name="TextBox 130">
            <a:extLst>
              <a:ext uri="{FF2B5EF4-FFF2-40B4-BE49-F238E27FC236}">
                <a16:creationId xmlns:a16="http://schemas.microsoft.com/office/drawing/2014/main" id="{6C94040B-8C02-42EB-BBAB-4FFFE9EA0859}"/>
              </a:ext>
            </a:extLst>
          </p:cNvPr>
          <p:cNvSpPr txBox="1"/>
          <p:nvPr/>
        </p:nvSpPr>
        <p:spPr>
          <a:xfrm>
            <a:off x="2647798" y="5906950"/>
            <a:ext cx="2377166" cy="201915"/>
          </a:xfrm>
          <a:prstGeom prst="rect">
            <a:avLst/>
          </a:prstGeom>
          <a:noFill/>
        </p:spPr>
        <p:txBody>
          <a:bodyPr wrap="square" lIns="0" tIns="0" rIns="0" bIns="0" rtlCol="0">
            <a:spAutoFit/>
          </a:bodyPr>
          <a:lstStyle/>
          <a:p>
            <a:pPr lvl="0" algn="ctr" defTabSz="1142609">
              <a:spcBef>
                <a:spcPts val="562"/>
              </a:spcBef>
              <a:buSzPct val="100000"/>
              <a:defRPr/>
            </a:pPr>
            <a:r>
              <a:rPr lang="en-US" sz="1312" i="1" dirty="0">
                <a:solidFill>
                  <a:prstClr val="white">
                    <a:lumMod val="50000"/>
                  </a:prstClr>
                </a:solidFill>
                <a:ea typeface="ヒラギノ角ゴ ProN W3" charset="0"/>
                <a:sym typeface="Gotham Book" charset="0"/>
              </a:rPr>
              <a:t>Lorem ipsum </a:t>
            </a:r>
          </a:p>
        </p:txBody>
      </p:sp>
      <p:sp>
        <p:nvSpPr>
          <p:cNvPr id="132" name="TextBox 131">
            <a:extLst>
              <a:ext uri="{FF2B5EF4-FFF2-40B4-BE49-F238E27FC236}">
                <a16:creationId xmlns:a16="http://schemas.microsoft.com/office/drawing/2014/main" id="{7972CED2-455D-4C09-9B67-A98948100A31}"/>
              </a:ext>
            </a:extLst>
          </p:cNvPr>
          <p:cNvSpPr txBox="1"/>
          <p:nvPr/>
        </p:nvSpPr>
        <p:spPr>
          <a:xfrm>
            <a:off x="5238586" y="5906950"/>
            <a:ext cx="2377166" cy="201915"/>
          </a:xfrm>
          <a:prstGeom prst="rect">
            <a:avLst/>
          </a:prstGeom>
          <a:noFill/>
        </p:spPr>
        <p:txBody>
          <a:bodyPr wrap="square" lIns="0" tIns="0" rIns="0" bIns="0" rtlCol="0">
            <a:spAutoFit/>
          </a:bodyPr>
          <a:lstStyle/>
          <a:p>
            <a:pPr lvl="0" algn="ctr" defTabSz="1142609">
              <a:spcBef>
                <a:spcPts val="562"/>
              </a:spcBef>
              <a:buSzPct val="100000"/>
              <a:defRPr/>
            </a:pPr>
            <a:r>
              <a:rPr lang="en-US" sz="1312" i="1" dirty="0">
                <a:solidFill>
                  <a:prstClr val="white">
                    <a:lumMod val="50000"/>
                  </a:prstClr>
                </a:solidFill>
                <a:ea typeface="ヒラギノ角ゴ ProN W3" charset="0"/>
                <a:sym typeface="Gotham Book" charset="0"/>
              </a:rPr>
              <a:t>Lorem ipsum </a:t>
            </a:r>
          </a:p>
        </p:txBody>
      </p:sp>
      <p:sp>
        <p:nvSpPr>
          <p:cNvPr id="133" name="TextBox 132">
            <a:extLst>
              <a:ext uri="{FF2B5EF4-FFF2-40B4-BE49-F238E27FC236}">
                <a16:creationId xmlns:a16="http://schemas.microsoft.com/office/drawing/2014/main" id="{C4CAF656-9CCD-498D-90B6-DD3B925CDD3A}"/>
              </a:ext>
            </a:extLst>
          </p:cNvPr>
          <p:cNvSpPr txBox="1"/>
          <p:nvPr/>
        </p:nvSpPr>
        <p:spPr>
          <a:xfrm>
            <a:off x="7640286" y="5906950"/>
            <a:ext cx="2377166" cy="201915"/>
          </a:xfrm>
          <a:prstGeom prst="rect">
            <a:avLst/>
          </a:prstGeom>
          <a:noFill/>
        </p:spPr>
        <p:txBody>
          <a:bodyPr wrap="square" lIns="0" tIns="0" rIns="0" bIns="0" rtlCol="0">
            <a:spAutoFit/>
          </a:bodyPr>
          <a:lstStyle/>
          <a:p>
            <a:pPr lvl="0" algn="ctr" defTabSz="1142609">
              <a:spcBef>
                <a:spcPts val="562"/>
              </a:spcBef>
              <a:buSzPct val="100000"/>
              <a:defRPr/>
            </a:pPr>
            <a:r>
              <a:rPr lang="en-US" sz="1312" i="1" dirty="0">
                <a:solidFill>
                  <a:prstClr val="white">
                    <a:lumMod val="50000"/>
                  </a:prstClr>
                </a:solidFill>
                <a:ea typeface="ヒラギノ角ゴ ProN W3" charset="0"/>
                <a:sym typeface="Gotham Book" charset="0"/>
              </a:rPr>
              <a:t>Lorem ipsum </a:t>
            </a:r>
          </a:p>
        </p:txBody>
      </p:sp>
      <p:grpSp>
        <p:nvGrpSpPr>
          <p:cNvPr id="134" name="Group 133">
            <a:extLst>
              <a:ext uri="{FF2B5EF4-FFF2-40B4-BE49-F238E27FC236}">
                <a16:creationId xmlns:a16="http://schemas.microsoft.com/office/drawing/2014/main" id="{CE355AB3-9285-4620-8E87-4A46EA24CD00}"/>
              </a:ext>
            </a:extLst>
          </p:cNvPr>
          <p:cNvGrpSpPr/>
          <p:nvPr/>
        </p:nvGrpSpPr>
        <p:grpSpPr>
          <a:xfrm>
            <a:off x="4024702" y="1353244"/>
            <a:ext cx="4136956" cy="3284789"/>
            <a:chOff x="4896017" y="1519506"/>
            <a:chExt cx="5631815" cy="4122257"/>
          </a:xfrm>
        </p:grpSpPr>
        <p:sp>
          <p:nvSpPr>
            <p:cNvPr id="135" name="Rectangle 134">
              <a:extLst>
                <a:ext uri="{FF2B5EF4-FFF2-40B4-BE49-F238E27FC236}">
                  <a16:creationId xmlns:a16="http://schemas.microsoft.com/office/drawing/2014/main" id="{25096FF8-0078-4DFC-B7F6-B4E18DA25872}"/>
                </a:ext>
              </a:extLst>
            </p:cNvPr>
            <p:cNvSpPr/>
            <p:nvPr/>
          </p:nvSpPr>
          <p:spPr bwMode="gray">
            <a:xfrm>
              <a:off x="4955874" y="5178776"/>
              <a:ext cx="5571958" cy="462987"/>
            </a:xfrm>
            <a:prstGeom prst="rect">
              <a:avLst/>
            </a:prstGeom>
            <a:noFill/>
            <a:ln w="19050" algn="ctr">
              <a:noFill/>
              <a:miter lim="800000"/>
              <a:headEnd/>
              <a:tailEnd/>
            </a:ln>
          </p:spPr>
          <p:txBody>
            <a:bodyPr wrap="square" lIns="65303" tIns="65303" rIns="65303" bIns="65303" rtlCol="0" anchor="ctr"/>
            <a:lstStyle/>
            <a:p>
              <a:pPr lvl="0" algn="ctr" defTabSz="671718" fontAlgn="base">
                <a:lnSpc>
                  <a:spcPct val="106000"/>
                </a:lnSpc>
                <a:spcBef>
                  <a:spcPct val="0"/>
                </a:spcBef>
                <a:spcAft>
                  <a:spcPct val="0"/>
                </a:spcAft>
                <a:defRPr/>
              </a:pPr>
              <a:r>
                <a:rPr lang="en-US" sz="1175" b="1" i="1" dirty="0">
                  <a:solidFill>
                    <a:sysClr val="windowText" lastClr="000000"/>
                  </a:solidFill>
                  <a:ea typeface="ヒラギノ角ゴ ProN W3" charset="0"/>
                  <a:sym typeface="Gotham Book" charset="0"/>
                </a:rPr>
                <a:t>Lorem ipsum </a:t>
              </a:r>
            </a:p>
          </p:txBody>
        </p:sp>
        <p:sp>
          <p:nvSpPr>
            <p:cNvPr id="136" name="Rectangle 135">
              <a:extLst>
                <a:ext uri="{FF2B5EF4-FFF2-40B4-BE49-F238E27FC236}">
                  <a16:creationId xmlns:a16="http://schemas.microsoft.com/office/drawing/2014/main" id="{73AE01F7-EF32-4788-9457-25E69FB68A9B}"/>
                </a:ext>
              </a:extLst>
            </p:cNvPr>
            <p:cNvSpPr/>
            <p:nvPr/>
          </p:nvSpPr>
          <p:spPr bwMode="gray">
            <a:xfrm>
              <a:off x="4896017" y="1519506"/>
              <a:ext cx="5571958" cy="462987"/>
            </a:xfrm>
            <a:prstGeom prst="rect">
              <a:avLst/>
            </a:prstGeom>
            <a:noFill/>
            <a:ln w="19050" algn="ctr">
              <a:noFill/>
              <a:miter lim="800000"/>
              <a:headEnd/>
              <a:tailEnd/>
            </a:ln>
          </p:spPr>
          <p:txBody>
            <a:bodyPr wrap="square" lIns="65303" tIns="65303" rIns="65303" bIns="65303" rtlCol="0" anchor="ctr"/>
            <a:lstStyle/>
            <a:p>
              <a:pPr lvl="0" algn="ctr" defTabSz="671718" fontAlgn="base">
                <a:lnSpc>
                  <a:spcPct val="106000"/>
                </a:lnSpc>
                <a:spcBef>
                  <a:spcPct val="0"/>
                </a:spcBef>
                <a:spcAft>
                  <a:spcPct val="0"/>
                </a:spcAft>
                <a:defRPr/>
              </a:pPr>
              <a:r>
                <a:rPr lang="en-US" sz="1175" b="1" i="1" dirty="0">
                  <a:solidFill>
                    <a:sysClr val="windowText" lastClr="000000"/>
                  </a:solidFill>
                  <a:ea typeface="ヒラギノ角ゴ ProN W3" charset="0"/>
                  <a:sym typeface="Gotham Book" charset="0"/>
                </a:rPr>
                <a:t>Lorem ipsum </a:t>
              </a:r>
            </a:p>
          </p:txBody>
        </p:sp>
      </p:grpSp>
      <p:sp>
        <p:nvSpPr>
          <p:cNvPr id="66" name="Star: 5 Points 65">
            <a:extLst>
              <a:ext uri="{FF2B5EF4-FFF2-40B4-BE49-F238E27FC236}">
                <a16:creationId xmlns:a16="http://schemas.microsoft.com/office/drawing/2014/main" id="{9DE50B78-051C-4310-9418-BBA1317B5F04}"/>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1750388194"/>
      </p:ext>
    </p:extLst>
  </p:cSld>
  <p:clrMapOvr>
    <a:masterClrMapping/>
  </p:clrMapOvr>
  <p:transition>
    <p:fade/>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811FD2-C9E3-C043-A63B-FAE7EE461C91}"/>
              </a:ext>
            </a:extLst>
          </p:cNvPr>
          <p:cNvSpPr>
            <a:spLocks noGrp="1"/>
          </p:cNvSpPr>
          <p:nvPr>
            <p:ph type="title"/>
          </p:nvPr>
        </p:nvSpPr>
        <p:spPr/>
        <p:txBody>
          <a:bodyPr/>
          <a:lstStyle/>
          <a:p>
            <a:r>
              <a:rPr lang="en-US" dirty="0"/>
              <a:t>Data visualization</a:t>
            </a:r>
          </a:p>
        </p:txBody>
      </p:sp>
      <p:pic>
        <p:nvPicPr>
          <p:cNvPr id="58" name="Picture 11">
            <a:extLst>
              <a:ext uri="{FF2B5EF4-FFF2-40B4-BE49-F238E27FC236}">
                <a16:creationId xmlns:a16="http://schemas.microsoft.com/office/drawing/2014/main" id="{B32A4292-395A-DE4B-BAD5-47CDD38C1FA3}"/>
              </a:ext>
            </a:extLst>
          </p:cNvPr>
          <p:cNvPicPr>
            <a:picLocks noChangeAspect="1"/>
          </p:cNvPicPr>
          <p:nvPr/>
        </p:nvPicPr>
        <p:blipFill rotWithShape="1">
          <a:blip r:embed="rId2" cstate="email">
            <a:grayscl/>
            <a:extLst>
              <a:ext uri="{28A0092B-C50C-407E-A947-70E740481C1C}">
                <a14:useLocalDpi xmlns:a14="http://schemas.microsoft.com/office/drawing/2010/main"/>
              </a:ext>
            </a:extLst>
          </a:blip>
          <a:srcRect t="4600" r="4484"/>
          <a:stretch/>
        </p:blipFill>
        <p:spPr>
          <a:xfrm>
            <a:off x="9003652" y="0"/>
            <a:ext cx="3188347" cy="3954544"/>
          </a:xfrm>
          <a:prstGeom prst="rect">
            <a:avLst/>
          </a:prstGeom>
        </p:spPr>
      </p:pic>
      <p:pic>
        <p:nvPicPr>
          <p:cNvPr id="59" name="Picture 11">
            <a:extLst>
              <a:ext uri="{FF2B5EF4-FFF2-40B4-BE49-F238E27FC236}">
                <a16:creationId xmlns:a16="http://schemas.microsoft.com/office/drawing/2014/main" id="{9E27AF0E-D649-AF4E-A71F-57D68A3B5A91}"/>
              </a:ext>
            </a:extLst>
          </p:cNvPr>
          <p:cNvPicPr>
            <a:picLocks noChangeAspect="1"/>
          </p:cNvPicPr>
          <p:nvPr/>
        </p:nvPicPr>
        <p:blipFill rotWithShape="1">
          <a:blip r:embed="rId2" cstate="email">
            <a:grayscl/>
            <a:extLst>
              <a:ext uri="{28A0092B-C50C-407E-A947-70E740481C1C}">
                <a14:useLocalDpi xmlns:a14="http://schemas.microsoft.com/office/drawing/2010/main"/>
              </a:ext>
            </a:extLst>
          </a:blip>
          <a:srcRect t="25483" r="6869"/>
          <a:stretch/>
        </p:blipFill>
        <p:spPr>
          <a:xfrm flipH="1" flipV="1">
            <a:off x="-18695" y="3769126"/>
            <a:ext cx="3108739" cy="3088874"/>
          </a:xfrm>
          <a:prstGeom prst="rect">
            <a:avLst/>
          </a:prstGeom>
        </p:spPr>
      </p:pic>
      <p:sp>
        <p:nvSpPr>
          <p:cNvPr id="60" name="Rectangle 69">
            <a:extLst>
              <a:ext uri="{FF2B5EF4-FFF2-40B4-BE49-F238E27FC236}">
                <a16:creationId xmlns:a16="http://schemas.microsoft.com/office/drawing/2014/main" id="{62689EE1-BB53-F349-82B1-AD9F75DA6FD5}"/>
              </a:ext>
            </a:extLst>
          </p:cNvPr>
          <p:cNvSpPr/>
          <p:nvPr/>
        </p:nvSpPr>
        <p:spPr bwMode="gray">
          <a:xfrm>
            <a:off x="7595358" y="4435072"/>
            <a:ext cx="4596643" cy="682708"/>
          </a:xfrm>
          <a:prstGeom prst="rect">
            <a:avLst/>
          </a:prstGeom>
          <a:solidFill>
            <a:srgbClr val="26890D"/>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1" name="Rectangle 70">
            <a:extLst>
              <a:ext uri="{FF2B5EF4-FFF2-40B4-BE49-F238E27FC236}">
                <a16:creationId xmlns:a16="http://schemas.microsoft.com/office/drawing/2014/main" id="{8748F351-CEC9-414A-81A2-4F2C4E0A1CBF}"/>
              </a:ext>
            </a:extLst>
          </p:cNvPr>
          <p:cNvSpPr/>
          <p:nvPr/>
        </p:nvSpPr>
        <p:spPr bwMode="gray">
          <a:xfrm>
            <a:off x="8132324" y="5195636"/>
            <a:ext cx="4059677" cy="682708"/>
          </a:xfrm>
          <a:prstGeom prst="rect">
            <a:avLst/>
          </a:prstGeom>
          <a:solidFill>
            <a:srgbClr val="046A38"/>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2" name="Rectangle 68">
            <a:extLst>
              <a:ext uri="{FF2B5EF4-FFF2-40B4-BE49-F238E27FC236}">
                <a16:creationId xmlns:a16="http://schemas.microsoft.com/office/drawing/2014/main" id="{28E409C9-3C92-5249-996C-1DA06BD1349D}"/>
              </a:ext>
            </a:extLst>
          </p:cNvPr>
          <p:cNvSpPr/>
          <p:nvPr/>
        </p:nvSpPr>
        <p:spPr bwMode="gray">
          <a:xfrm>
            <a:off x="7163450" y="3676350"/>
            <a:ext cx="5028551" cy="682708"/>
          </a:xfrm>
          <a:prstGeom prst="rect">
            <a:avLst/>
          </a:prstGeom>
          <a:solidFill>
            <a:srgbClr val="43B02A"/>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3" name="Rectangle 67">
            <a:extLst>
              <a:ext uri="{FF2B5EF4-FFF2-40B4-BE49-F238E27FC236}">
                <a16:creationId xmlns:a16="http://schemas.microsoft.com/office/drawing/2014/main" id="{24B730AE-5DDA-0F4F-92E4-2D9862C0F2D5}"/>
              </a:ext>
            </a:extLst>
          </p:cNvPr>
          <p:cNvSpPr/>
          <p:nvPr/>
        </p:nvSpPr>
        <p:spPr bwMode="gray">
          <a:xfrm>
            <a:off x="8548954" y="2926866"/>
            <a:ext cx="3643047" cy="682708"/>
          </a:xfrm>
          <a:prstGeom prst="rect">
            <a:avLst/>
          </a:prstGeom>
          <a:solidFill>
            <a:srgbClr val="007CB0"/>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4" name="Rectangle 63">
            <a:extLst>
              <a:ext uri="{FF2B5EF4-FFF2-40B4-BE49-F238E27FC236}">
                <a16:creationId xmlns:a16="http://schemas.microsoft.com/office/drawing/2014/main" id="{FD9BAB3E-E461-2344-A328-6BB50EACB877}"/>
              </a:ext>
            </a:extLst>
          </p:cNvPr>
          <p:cNvSpPr/>
          <p:nvPr/>
        </p:nvSpPr>
        <p:spPr bwMode="gray">
          <a:xfrm>
            <a:off x="0" y="2172303"/>
            <a:ext cx="3022500" cy="682708"/>
          </a:xfrm>
          <a:prstGeom prst="rect">
            <a:avLst/>
          </a:prstGeom>
          <a:solidFill>
            <a:srgbClr val="007CB0">
              <a:lumMod val="60000"/>
              <a:lumOff val="40000"/>
            </a:srgbClr>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5" name="Rectangle 64">
            <a:extLst>
              <a:ext uri="{FF2B5EF4-FFF2-40B4-BE49-F238E27FC236}">
                <a16:creationId xmlns:a16="http://schemas.microsoft.com/office/drawing/2014/main" id="{F5825804-BF7B-D645-B885-89428723BCB6}"/>
              </a:ext>
            </a:extLst>
          </p:cNvPr>
          <p:cNvSpPr/>
          <p:nvPr/>
        </p:nvSpPr>
        <p:spPr bwMode="gray">
          <a:xfrm>
            <a:off x="0" y="2926866"/>
            <a:ext cx="3643047" cy="682708"/>
          </a:xfrm>
          <a:prstGeom prst="rect">
            <a:avLst/>
          </a:prstGeom>
          <a:solidFill>
            <a:srgbClr val="007CB0"/>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6" name="Rectangle 65">
            <a:extLst>
              <a:ext uri="{FF2B5EF4-FFF2-40B4-BE49-F238E27FC236}">
                <a16:creationId xmlns:a16="http://schemas.microsoft.com/office/drawing/2014/main" id="{E24AEE51-DC6D-4745-89FF-9092A2C837F5}"/>
              </a:ext>
            </a:extLst>
          </p:cNvPr>
          <p:cNvSpPr/>
          <p:nvPr/>
        </p:nvSpPr>
        <p:spPr bwMode="gray">
          <a:xfrm>
            <a:off x="2" y="3676350"/>
            <a:ext cx="5206243" cy="682708"/>
          </a:xfrm>
          <a:prstGeom prst="rect">
            <a:avLst/>
          </a:prstGeom>
          <a:solidFill>
            <a:srgbClr val="43B02A"/>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7" name="Rectangle 66">
            <a:extLst>
              <a:ext uri="{FF2B5EF4-FFF2-40B4-BE49-F238E27FC236}">
                <a16:creationId xmlns:a16="http://schemas.microsoft.com/office/drawing/2014/main" id="{6C1C350A-EC89-9048-A19F-0378FCAD9330}"/>
              </a:ext>
            </a:extLst>
          </p:cNvPr>
          <p:cNvSpPr/>
          <p:nvPr/>
        </p:nvSpPr>
        <p:spPr bwMode="gray">
          <a:xfrm>
            <a:off x="2" y="4435072"/>
            <a:ext cx="4817139" cy="682708"/>
          </a:xfrm>
          <a:prstGeom prst="rect">
            <a:avLst/>
          </a:prstGeom>
          <a:solidFill>
            <a:srgbClr val="26890D"/>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8" name="Rectangle 67">
            <a:extLst>
              <a:ext uri="{FF2B5EF4-FFF2-40B4-BE49-F238E27FC236}">
                <a16:creationId xmlns:a16="http://schemas.microsoft.com/office/drawing/2014/main" id="{4AA862E0-1BBD-A14E-BCA6-C39E73D0DB60}"/>
              </a:ext>
            </a:extLst>
          </p:cNvPr>
          <p:cNvSpPr/>
          <p:nvPr/>
        </p:nvSpPr>
        <p:spPr bwMode="gray">
          <a:xfrm>
            <a:off x="0" y="5195636"/>
            <a:ext cx="3780946" cy="682708"/>
          </a:xfrm>
          <a:prstGeom prst="rect">
            <a:avLst/>
          </a:prstGeom>
          <a:solidFill>
            <a:srgbClr val="046A38"/>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69" name="Oval 68">
            <a:extLst>
              <a:ext uri="{FF2B5EF4-FFF2-40B4-BE49-F238E27FC236}">
                <a16:creationId xmlns:a16="http://schemas.microsoft.com/office/drawing/2014/main" id="{57DEC8E9-2C71-EF41-B91C-0BCAD3F65D67}"/>
              </a:ext>
            </a:extLst>
          </p:cNvPr>
          <p:cNvSpPr/>
          <p:nvPr/>
        </p:nvSpPr>
        <p:spPr bwMode="gray">
          <a:xfrm>
            <a:off x="2714882" y="2172303"/>
            <a:ext cx="648128" cy="682708"/>
          </a:xfrm>
          <a:prstGeom prst="ellipse">
            <a:avLst/>
          </a:prstGeom>
          <a:solidFill>
            <a:sysClr val="windowText" lastClr="000000"/>
          </a:solidFill>
          <a:ln w="19050" algn="ctr">
            <a:solidFill>
              <a:srgbClr val="0D8390"/>
            </a:solidFill>
            <a:miter lim="800000"/>
            <a:headEnd/>
            <a:tailEnd/>
          </a:ln>
        </p:spPr>
        <p:txBody>
          <a:bodyPr wrap="non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0" name="Oval 69">
            <a:extLst>
              <a:ext uri="{FF2B5EF4-FFF2-40B4-BE49-F238E27FC236}">
                <a16:creationId xmlns:a16="http://schemas.microsoft.com/office/drawing/2014/main" id="{385A5698-58E3-9349-A077-87596EB6A240}"/>
              </a:ext>
            </a:extLst>
          </p:cNvPr>
          <p:cNvSpPr/>
          <p:nvPr/>
        </p:nvSpPr>
        <p:spPr bwMode="gray">
          <a:xfrm>
            <a:off x="4869401" y="3676350"/>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1" name="Oval 70">
            <a:extLst>
              <a:ext uri="{FF2B5EF4-FFF2-40B4-BE49-F238E27FC236}">
                <a16:creationId xmlns:a16="http://schemas.microsoft.com/office/drawing/2014/main" id="{31C7917A-DC3A-0649-822D-2DB5B689AD9F}"/>
              </a:ext>
            </a:extLst>
          </p:cNvPr>
          <p:cNvSpPr/>
          <p:nvPr/>
        </p:nvSpPr>
        <p:spPr bwMode="gray">
          <a:xfrm>
            <a:off x="4467727" y="4435072"/>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2" name="Oval 71">
            <a:extLst>
              <a:ext uri="{FF2B5EF4-FFF2-40B4-BE49-F238E27FC236}">
                <a16:creationId xmlns:a16="http://schemas.microsoft.com/office/drawing/2014/main" id="{38FFCB94-B3D4-DF42-A0A7-6692AE7BC365}"/>
              </a:ext>
            </a:extLst>
          </p:cNvPr>
          <p:cNvSpPr/>
          <p:nvPr/>
        </p:nvSpPr>
        <p:spPr bwMode="gray">
          <a:xfrm>
            <a:off x="3312749" y="2926866"/>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3" name="Oval 72">
            <a:extLst>
              <a:ext uri="{FF2B5EF4-FFF2-40B4-BE49-F238E27FC236}">
                <a16:creationId xmlns:a16="http://schemas.microsoft.com/office/drawing/2014/main" id="{6AA9F26B-0AD7-E340-B79A-F5E5A1F9ECCA}"/>
              </a:ext>
            </a:extLst>
          </p:cNvPr>
          <p:cNvSpPr/>
          <p:nvPr/>
        </p:nvSpPr>
        <p:spPr bwMode="gray">
          <a:xfrm>
            <a:off x="3455445" y="5195636"/>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srgbClr val="C4D600"/>
              </a:solidFill>
              <a:effectLst/>
              <a:uLnTx/>
              <a:uFillTx/>
            </a:endParaRPr>
          </a:p>
        </p:txBody>
      </p:sp>
      <p:sp>
        <p:nvSpPr>
          <p:cNvPr id="74" name="Rectangle 73">
            <a:extLst>
              <a:ext uri="{FF2B5EF4-FFF2-40B4-BE49-F238E27FC236}">
                <a16:creationId xmlns:a16="http://schemas.microsoft.com/office/drawing/2014/main" id="{1F3FC1D7-BB2F-804B-9A32-B5E55DA1D451}"/>
              </a:ext>
            </a:extLst>
          </p:cNvPr>
          <p:cNvSpPr/>
          <p:nvPr/>
        </p:nvSpPr>
        <p:spPr>
          <a:xfrm>
            <a:off x="469901" y="2282299"/>
            <a:ext cx="2176024"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75" name="Rectangle 74">
            <a:extLst>
              <a:ext uri="{FF2B5EF4-FFF2-40B4-BE49-F238E27FC236}">
                <a16:creationId xmlns:a16="http://schemas.microsoft.com/office/drawing/2014/main" id="{EFB60940-E2F4-2148-B467-28021FFBD11A}"/>
              </a:ext>
            </a:extLst>
          </p:cNvPr>
          <p:cNvSpPr/>
          <p:nvPr/>
        </p:nvSpPr>
        <p:spPr bwMode="gray">
          <a:xfrm flipH="1">
            <a:off x="8770459" y="2172305"/>
            <a:ext cx="3422458" cy="683326"/>
          </a:xfrm>
          <a:prstGeom prst="rect">
            <a:avLst/>
          </a:prstGeom>
          <a:solidFill>
            <a:srgbClr val="007CB0">
              <a:lumMod val="60000"/>
              <a:lumOff val="40000"/>
            </a:srgbClr>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dirty="0">
              <a:ln>
                <a:noFill/>
              </a:ln>
              <a:solidFill>
                <a:prstClr val="white"/>
              </a:solidFill>
              <a:effectLst/>
              <a:uLnTx/>
              <a:uFillTx/>
            </a:endParaRPr>
          </a:p>
        </p:txBody>
      </p:sp>
      <p:sp>
        <p:nvSpPr>
          <p:cNvPr id="76" name="Oval 75">
            <a:extLst>
              <a:ext uri="{FF2B5EF4-FFF2-40B4-BE49-F238E27FC236}">
                <a16:creationId xmlns:a16="http://schemas.microsoft.com/office/drawing/2014/main" id="{5C187FBD-1338-0E4F-954B-DCDC240D251C}"/>
              </a:ext>
            </a:extLst>
          </p:cNvPr>
          <p:cNvSpPr/>
          <p:nvPr/>
        </p:nvSpPr>
        <p:spPr bwMode="gray">
          <a:xfrm flipH="1">
            <a:off x="8413333" y="2170586"/>
            <a:ext cx="648128" cy="682708"/>
          </a:xfrm>
          <a:prstGeom prst="ellipse">
            <a:avLst/>
          </a:prstGeom>
          <a:solidFill>
            <a:sysClr val="windowText" lastClr="000000"/>
          </a:solidFill>
          <a:ln w="19050" algn="ctr">
            <a:solidFill>
              <a:srgbClr val="0D8390"/>
            </a:solidFill>
            <a:miter lim="800000"/>
            <a:headEnd/>
            <a:tailEnd/>
          </a:ln>
        </p:spPr>
        <p:txBody>
          <a:bodyPr wrap="non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77" name="Oval 76">
            <a:extLst>
              <a:ext uri="{FF2B5EF4-FFF2-40B4-BE49-F238E27FC236}">
                <a16:creationId xmlns:a16="http://schemas.microsoft.com/office/drawing/2014/main" id="{53258622-3767-8C4D-9C9B-67C03C9CD7BC}"/>
              </a:ext>
            </a:extLst>
          </p:cNvPr>
          <p:cNvSpPr/>
          <p:nvPr/>
        </p:nvSpPr>
        <p:spPr bwMode="gray">
          <a:xfrm flipH="1">
            <a:off x="6810994" y="3672005"/>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78" name="Oval 77">
            <a:extLst>
              <a:ext uri="{FF2B5EF4-FFF2-40B4-BE49-F238E27FC236}">
                <a16:creationId xmlns:a16="http://schemas.microsoft.com/office/drawing/2014/main" id="{7AD24E40-6BF5-BB4D-ADDD-B5B68734CED6}"/>
              </a:ext>
            </a:extLst>
          </p:cNvPr>
          <p:cNvSpPr/>
          <p:nvPr/>
        </p:nvSpPr>
        <p:spPr bwMode="gray">
          <a:xfrm flipH="1">
            <a:off x="7299372" y="4445237"/>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79" name="Oval 78">
            <a:extLst>
              <a:ext uri="{FF2B5EF4-FFF2-40B4-BE49-F238E27FC236}">
                <a16:creationId xmlns:a16="http://schemas.microsoft.com/office/drawing/2014/main" id="{7DF1445F-AB37-6541-B6A5-D937BFA6EC8E}"/>
              </a:ext>
            </a:extLst>
          </p:cNvPr>
          <p:cNvSpPr/>
          <p:nvPr/>
        </p:nvSpPr>
        <p:spPr bwMode="gray">
          <a:xfrm flipH="1">
            <a:off x="8147461" y="2913929"/>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80" name="Oval 79">
            <a:extLst>
              <a:ext uri="{FF2B5EF4-FFF2-40B4-BE49-F238E27FC236}">
                <a16:creationId xmlns:a16="http://schemas.microsoft.com/office/drawing/2014/main" id="{5219A2D7-6300-5B46-B157-6F5EFA39D723}"/>
              </a:ext>
            </a:extLst>
          </p:cNvPr>
          <p:cNvSpPr/>
          <p:nvPr/>
        </p:nvSpPr>
        <p:spPr bwMode="gray">
          <a:xfrm flipH="1">
            <a:off x="7809028" y="5199981"/>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dirty="0">
              <a:ln>
                <a:noFill/>
              </a:ln>
              <a:solidFill>
                <a:prstClr val="white"/>
              </a:solidFill>
              <a:effectLst/>
              <a:uLnTx/>
              <a:uFillTx/>
            </a:endParaRPr>
          </a:p>
        </p:txBody>
      </p:sp>
      <p:sp>
        <p:nvSpPr>
          <p:cNvPr id="81" name="Rectangle 80">
            <a:extLst>
              <a:ext uri="{FF2B5EF4-FFF2-40B4-BE49-F238E27FC236}">
                <a16:creationId xmlns:a16="http://schemas.microsoft.com/office/drawing/2014/main" id="{537E4C77-E380-3141-94BB-88E4334BC22D}"/>
              </a:ext>
            </a:extLst>
          </p:cNvPr>
          <p:cNvSpPr/>
          <p:nvPr/>
        </p:nvSpPr>
        <p:spPr>
          <a:xfrm flipH="1">
            <a:off x="8630646" y="5316534"/>
            <a:ext cx="331822"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cxnSp>
        <p:nvCxnSpPr>
          <p:cNvPr id="82" name="直接连接符 145">
            <a:extLst>
              <a:ext uri="{FF2B5EF4-FFF2-40B4-BE49-F238E27FC236}">
                <a16:creationId xmlns:a16="http://schemas.microsoft.com/office/drawing/2014/main" id="{0420D40E-D13E-D04F-B9F9-6E31B8477CB8}"/>
              </a:ext>
            </a:extLst>
          </p:cNvPr>
          <p:cNvCxnSpPr/>
          <p:nvPr/>
        </p:nvCxnSpPr>
        <p:spPr>
          <a:xfrm flipH="1">
            <a:off x="6092190" y="1733121"/>
            <a:ext cx="846" cy="4500000"/>
          </a:xfrm>
          <a:prstGeom prst="line">
            <a:avLst/>
          </a:prstGeom>
          <a:noFill/>
          <a:ln w="38100" cap="flat" cmpd="sng" algn="ctr">
            <a:solidFill>
              <a:srgbClr val="D0D0CE"/>
            </a:solidFill>
            <a:prstDash val="solid"/>
          </a:ln>
          <a:effectLst/>
        </p:spPr>
      </p:cxnSp>
      <p:sp>
        <p:nvSpPr>
          <p:cNvPr id="83" name="Rectangle 84">
            <a:extLst>
              <a:ext uri="{FF2B5EF4-FFF2-40B4-BE49-F238E27FC236}">
                <a16:creationId xmlns:a16="http://schemas.microsoft.com/office/drawing/2014/main" id="{0F18B989-6273-D144-B989-171D45A19A7F}"/>
              </a:ext>
            </a:extLst>
          </p:cNvPr>
          <p:cNvSpPr/>
          <p:nvPr/>
        </p:nvSpPr>
        <p:spPr>
          <a:xfrm>
            <a:off x="469900" y="3060660"/>
            <a:ext cx="2534001"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84" name="Rectangle 84">
            <a:extLst>
              <a:ext uri="{FF2B5EF4-FFF2-40B4-BE49-F238E27FC236}">
                <a16:creationId xmlns:a16="http://schemas.microsoft.com/office/drawing/2014/main" id="{48E9FA00-5C6C-CB41-A98B-20BC2BE4CC25}"/>
              </a:ext>
            </a:extLst>
          </p:cNvPr>
          <p:cNvSpPr/>
          <p:nvPr/>
        </p:nvSpPr>
        <p:spPr>
          <a:xfrm>
            <a:off x="469901" y="3785478"/>
            <a:ext cx="3837508"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85" name="Rectangle 84">
            <a:extLst>
              <a:ext uri="{FF2B5EF4-FFF2-40B4-BE49-F238E27FC236}">
                <a16:creationId xmlns:a16="http://schemas.microsoft.com/office/drawing/2014/main" id="{66B51C7D-BF81-9148-A3AC-05FECC0FFF64}"/>
              </a:ext>
            </a:extLst>
          </p:cNvPr>
          <p:cNvSpPr/>
          <p:nvPr/>
        </p:nvSpPr>
        <p:spPr>
          <a:xfrm>
            <a:off x="469900" y="4546774"/>
            <a:ext cx="3841399"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86" name="Rectangle 84">
            <a:extLst>
              <a:ext uri="{FF2B5EF4-FFF2-40B4-BE49-F238E27FC236}">
                <a16:creationId xmlns:a16="http://schemas.microsoft.com/office/drawing/2014/main" id="{D2EC0035-AE9C-E44B-A9FC-E58C254C1ADD}"/>
              </a:ext>
            </a:extLst>
          </p:cNvPr>
          <p:cNvSpPr/>
          <p:nvPr/>
        </p:nvSpPr>
        <p:spPr>
          <a:xfrm>
            <a:off x="469900" y="5309911"/>
            <a:ext cx="2969801"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grpSp>
        <p:nvGrpSpPr>
          <p:cNvPr id="87" name="Group 331">
            <a:extLst>
              <a:ext uri="{FF2B5EF4-FFF2-40B4-BE49-F238E27FC236}">
                <a16:creationId xmlns:a16="http://schemas.microsoft.com/office/drawing/2014/main" id="{656DD569-A78E-9948-B15B-7DFFE00EEA89}"/>
              </a:ext>
            </a:extLst>
          </p:cNvPr>
          <p:cNvGrpSpPr>
            <a:grpSpLocks noChangeAspect="1"/>
          </p:cNvGrpSpPr>
          <p:nvPr/>
        </p:nvGrpSpPr>
        <p:grpSpPr bwMode="auto">
          <a:xfrm>
            <a:off x="2829685" y="2298159"/>
            <a:ext cx="432000" cy="432000"/>
            <a:chOff x="3832" y="1197"/>
            <a:chExt cx="340" cy="340"/>
          </a:xfrm>
          <a:solidFill>
            <a:srgbClr val="A0DCFF"/>
          </a:solidFill>
        </p:grpSpPr>
        <p:sp>
          <p:nvSpPr>
            <p:cNvPr id="88" name="Freeform 332">
              <a:extLst>
                <a:ext uri="{FF2B5EF4-FFF2-40B4-BE49-F238E27FC236}">
                  <a16:creationId xmlns:a16="http://schemas.microsoft.com/office/drawing/2014/main" id="{88164A83-461C-0742-8411-DCD222D99ACC}"/>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89" name="Freeform 333">
              <a:extLst>
                <a:ext uri="{FF2B5EF4-FFF2-40B4-BE49-F238E27FC236}">
                  <a16:creationId xmlns:a16="http://schemas.microsoft.com/office/drawing/2014/main" id="{64B6E9C3-C0E5-DD4D-9CFC-2CEF0D2EB989}"/>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007CB0">
                <a:lumMod val="20000"/>
                <a:lumOff val="80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sp>
        <p:nvSpPr>
          <p:cNvPr id="90" name="Freeform 223">
            <a:extLst>
              <a:ext uri="{FF2B5EF4-FFF2-40B4-BE49-F238E27FC236}">
                <a16:creationId xmlns:a16="http://schemas.microsoft.com/office/drawing/2014/main" id="{2F006AE8-48ED-964F-AB21-0C558CD6F67A}"/>
              </a:ext>
            </a:extLst>
          </p:cNvPr>
          <p:cNvSpPr>
            <a:spLocks noChangeAspect="1" noEditPoints="1"/>
          </p:cNvSpPr>
          <p:nvPr/>
        </p:nvSpPr>
        <p:spPr bwMode="auto">
          <a:xfrm>
            <a:off x="3419128" y="3040426"/>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1" name="Freeform 174">
            <a:extLst>
              <a:ext uri="{FF2B5EF4-FFF2-40B4-BE49-F238E27FC236}">
                <a16:creationId xmlns:a16="http://schemas.microsoft.com/office/drawing/2014/main" id="{86DC2249-E9B9-144A-9751-C735071B4AB6}"/>
              </a:ext>
            </a:extLst>
          </p:cNvPr>
          <p:cNvSpPr>
            <a:spLocks noChangeAspect="1" noEditPoints="1"/>
          </p:cNvSpPr>
          <p:nvPr/>
        </p:nvSpPr>
        <p:spPr bwMode="auto">
          <a:xfrm>
            <a:off x="3580307" y="5317933"/>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2" name="Freeform 88">
            <a:extLst>
              <a:ext uri="{FF2B5EF4-FFF2-40B4-BE49-F238E27FC236}">
                <a16:creationId xmlns:a16="http://schemas.microsoft.com/office/drawing/2014/main" id="{8F8C6915-31F6-E34D-B369-41EFA1987019}"/>
              </a:ext>
            </a:extLst>
          </p:cNvPr>
          <p:cNvSpPr>
            <a:spLocks noChangeAspect="1" noEditPoints="1"/>
          </p:cNvSpPr>
          <p:nvPr/>
        </p:nvSpPr>
        <p:spPr bwMode="auto">
          <a:xfrm>
            <a:off x="4976094" y="3799000"/>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3" name="Freeform 130">
            <a:extLst>
              <a:ext uri="{FF2B5EF4-FFF2-40B4-BE49-F238E27FC236}">
                <a16:creationId xmlns:a16="http://schemas.microsoft.com/office/drawing/2014/main" id="{3064C0A4-D247-B046-A922-F2103F1D9C5C}"/>
              </a:ext>
            </a:extLst>
          </p:cNvPr>
          <p:cNvSpPr>
            <a:spLocks noChangeAspect="1" noEditPoints="1"/>
          </p:cNvSpPr>
          <p:nvPr/>
        </p:nvSpPr>
        <p:spPr bwMode="auto">
          <a:xfrm>
            <a:off x="4585960" y="4551380"/>
            <a:ext cx="43327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313 h 512"/>
              <a:gd name="T12" fmla="*/ 413 w 512"/>
              <a:gd name="T13" fmla="*/ 317 h 512"/>
              <a:gd name="T14" fmla="*/ 327 w 512"/>
              <a:gd name="T15" fmla="*/ 402 h 512"/>
              <a:gd name="T16" fmla="*/ 320 w 512"/>
              <a:gd name="T17" fmla="*/ 405 h 512"/>
              <a:gd name="T18" fmla="*/ 312 w 512"/>
              <a:gd name="T19" fmla="*/ 402 h 512"/>
              <a:gd name="T20" fmla="*/ 312 w 512"/>
              <a:gd name="T21" fmla="*/ 387 h 512"/>
              <a:gd name="T22" fmla="*/ 379 w 512"/>
              <a:gd name="T23" fmla="*/ 320 h 512"/>
              <a:gd name="T24" fmla="*/ 106 w 512"/>
              <a:gd name="T25" fmla="*/ 320 h 512"/>
              <a:gd name="T26" fmla="*/ 96 w 512"/>
              <a:gd name="T27" fmla="*/ 309 h 512"/>
              <a:gd name="T28" fmla="*/ 96 w 512"/>
              <a:gd name="T29" fmla="*/ 181 h 512"/>
              <a:gd name="T30" fmla="*/ 106 w 512"/>
              <a:gd name="T31" fmla="*/ 170 h 512"/>
              <a:gd name="T32" fmla="*/ 117 w 512"/>
              <a:gd name="T33" fmla="*/ 181 h 512"/>
              <a:gd name="T34" fmla="*/ 117 w 512"/>
              <a:gd name="T35" fmla="*/ 298 h 512"/>
              <a:gd name="T36" fmla="*/ 379 w 512"/>
              <a:gd name="T37" fmla="*/ 298 h 512"/>
              <a:gd name="T38" fmla="*/ 312 w 512"/>
              <a:gd name="T39" fmla="*/ 231 h 512"/>
              <a:gd name="T40" fmla="*/ 312 w 512"/>
              <a:gd name="T41" fmla="*/ 216 h 512"/>
              <a:gd name="T42" fmla="*/ 327 w 512"/>
              <a:gd name="T43" fmla="*/ 216 h 512"/>
              <a:gd name="T44" fmla="*/ 413 w 512"/>
              <a:gd name="T45" fmla="*/ 301 h 512"/>
              <a:gd name="T46" fmla="*/ 415 w 512"/>
              <a:gd name="T47" fmla="*/ 305 h 512"/>
              <a:gd name="T48" fmla="*/ 415 w 512"/>
              <a:gd name="T4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13"/>
                </a:moveTo>
                <a:cubicBezTo>
                  <a:pt x="414" y="314"/>
                  <a:pt x="414" y="316"/>
                  <a:pt x="413" y="317"/>
                </a:cubicBezTo>
                <a:cubicBezTo>
                  <a:pt x="327" y="402"/>
                  <a:pt x="327" y="402"/>
                  <a:pt x="327" y="402"/>
                </a:cubicBezTo>
                <a:cubicBezTo>
                  <a:pt x="325" y="404"/>
                  <a:pt x="322" y="405"/>
                  <a:pt x="320" y="405"/>
                </a:cubicBezTo>
                <a:cubicBezTo>
                  <a:pt x="317" y="405"/>
                  <a:pt x="314" y="404"/>
                  <a:pt x="312" y="402"/>
                </a:cubicBezTo>
                <a:cubicBezTo>
                  <a:pt x="308" y="398"/>
                  <a:pt x="308" y="391"/>
                  <a:pt x="312" y="387"/>
                </a:cubicBezTo>
                <a:cubicBezTo>
                  <a:pt x="379" y="320"/>
                  <a:pt x="379" y="320"/>
                  <a:pt x="379" y="320"/>
                </a:cubicBezTo>
                <a:cubicBezTo>
                  <a:pt x="106" y="320"/>
                  <a:pt x="106" y="320"/>
                  <a:pt x="106" y="320"/>
                </a:cubicBezTo>
                <a:cubicBezTo>
                  <a:pt x="100" y="320"/>
                  <a:pt x="96" y="315"/>
                  <a:pt x="96" y="309"/>
                </a:cubicBezTo>
                <a:cubicBezTo>
                  <a:pt x="96" y="181"/>
                  <a:pt x="96" y="181"/>
                  <a:pt x="96" y="181"/>
                </a:cubicBezTo>
                <a:cubicBezTo>
                  <a:pt x="96" y="175"/>
                  <a:pt x="100" y="170"/>
                  <a:pt x="106" y="170"/>
                </a:cubicBezTo>
                <a:cubicBezTo>
                  <a:pt x="112" y="170"/>
                  <a:pt x="117" y="175"/>
                  <a:pt x="117" y="181"/>
                </a:cubicBezTo>
                <a:cubicBezTo>
                  <a:pt x="117" y="298"/>
                  <a:pt x="117" y="298"/>
                  <a:pt x="117" y="298"/>
                </a:cubicBezTo>
                <a:cubicBezTo>
                  <a:pt x="379" y="298"/>
                  <a:pt x="379" y="298"/>
                  <a:pt x="379" y="298"/>
                </a:cubicBezTo>
                <a:cubicBezTo>
                  <a:pt x="312" y="231"/>
                  <a:pt x="312" y="231"/>
                  <a:pt x="312" y="231"/>
                </a:cubicBezTo>
                <a:cubicBezTo>
                  <a:pt x="308" y="227"/>
                  <a:pt x="308" y="220"/>
                  <a:pt x="312" y="216"/>
                </a:cubicBezTo>
                <a:cubicBezTo>
                  <a:pt x="316" y="212"/>
                  <a:pt x="323" y="212"/>
                  <a:pt x="327" y="216"/>
                </a:cubicBezTo>
                <a:cubicBezTo>
                  <a:pt x="413" y="301"/>
                  <a:pt x="413" y="301"/>
                  <a:pt x="413" y="301"/>
                </a:cubicBezTo>
                <a:cubicBezTo>
                  <a:pt x="414" y="302"/>
                  <a:pt x="414" y="304"/>
                  <a:pt x="415" y="305"/>
                </a:cubicBezTo>
                <a:cubicBezTo>
                  <a:pt x="416" y="308"/>
                  <a:pt x="416" y="310"/>
                  <a:pt x="415" y="313"/>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4" name="等腰三角形 151">
            <a:extLst>
              <a:ext uri="{FF2B5EF4-FFF2-40B4-BE49-F238E27FC236}">
                <a16:creationId xmlns:a16="http://schemas.microsoft.com/office/drawing/2014/main" id="{33137796-864E-C341-AAEB-AB23662E579E}"/>
              </a:ext>
            </a:extLst>
          </p:cNvPr>
          <p:cNvSpPr/>
          <p:nvPr/>
        </p:nvSpPr>
        <p:spPr bwMode="gray">
          <a:xfrm rot="10800000" flipV="1">
            <a:off x="5945490" y="5427178"/>
            <a:ext cx="301021" cy="192029"/>
          </a:xfrm>
          <a:prstGeom prst="triangle">
            <a:avLst/>
          </a:prstGeom>
          <a:solidFill>
            <a:srgbClr val="046A38"/>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a:ln>
                <a:noFill/>
              </a:ln>
              <a:solidFill>
                <a:prstClr val="white"/>
              </a:solidFill>
              <a:effectLst/>
              <a:uLnTx/>
              <a:uFillTx/>
            </a:endParaRPr>
          </a:p>
        </p:txBody>
      </p:sp>
      <p:sp>
        <p:nvSpPr>
          <p:cNvPr id="95" name="等腰三角形 152">
            <a:extLst>
              <a:ext uri="{FF2B5EF4-FFF2-40B4-BE49-F238E27FC236}">
                <a16:creationId xmlns:a16="http://schemas.microsoft.com/office/drawing/2014/main" id="{EB04676A-44E7-7149-9BFE-1577D108EA13}"/>
              </a:ext>
            </a:extLst>
          </p:cNvPr>
          <p:cNvSpPr/>
          <p:nvPr/>
        </p:nvSpPr>
        <p:spPr bwMode="gray">
          <a:xfrm rot="10800000" flipV="1">
            <a:off x="5945490" y="4669940"/>
            <a:ext cx="301021" cy="192029"/>
          </a:xfrm>
          <a:prstGeom prst="triangle">
            <a:avLst/>
          </a:prstGeom>
          <a:solidFill>
            <a:srgbClr val="26890D"/>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a:ln>
                <a:noFill/>
              </a:ln>
              <a:solidFill>
                <a:prstClr val="white"/>
              </a:solidFill>
              <a:effectLst/>
              <a:uLnTx/>
              <a:uFillTx/>
            </a:endParaRPr>
          </a:p>
        </p:txBody>
      </p:sp>
      <p:sp>
        <p:nvSpPr>
          <p:cNvPr id="96" name="等腰三角形 153">
            <a:extLst>
              <a:ext uri="{FF2B5EF4-FFF2-40B4-BE49-F238E27FC236}">
                <a16:creationId xmlns:a16="http://schemas.microsoft.com/office/drawing/2014/main" id="{E79320EE-C057-C742-A17B-A94DD7174825}"/>
              </a:ext>
            </a:extLst>
          </p:cNvPr>
          <p:cNvSpPr/>
          <p:nvPr/>
        </p:nvSpPr>
        <p:spPr bwMode="gray">
          <a:xfrm rot="10800000" flipV="1">
            <a:off x="5945490" y="3891308"/>
            <a:ext cx="301021" cy="192029"/>
          </a:xfrm>
          <a:prstGeom prst="triangle">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97" name="等腰三角形 154">
            <a:extLst>
              <a:ext uri="{FF2B5EF4-FFF2-40B4-BE49-F238E27FC236}">
                <a16:creationId xmlns:a16="http://schemas.microsoft.com/office/drawing/2014/main" id="{DF7173CA-5369-DC4F-B344-BBA8635434B3}"/>
              </a:ext>
            </a:extLst>
          </p:cNvPr>
          <p:cNvSpPr/>
          <p:nvPr/>
        </p:nvSpPr>
        <p:spPr bwMode="gray">
          <a:xfrm rot="10800000" flipV="1">
            <a:off x="5945490" y="2362967"/>
            <a:ext cx="301021" cy="192029"/>
          </a:xfrm>
          <a:prstGeom prst="triangle">
            <a:avLst/>
          </a:prstGeom>
          <a:solidFill>
            <a:srgbClr val="00A3E0"/>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a:ln>
                <a:noFill/>
              </a:ln>
              <a:solidFill>
                <a:prstClr val="white"/>
              </a:solidFill>
              <a:effectLst/>
              <a:uLnTx/>
              <a:uFillTx/>
            </a:endParaRPr>
          </a:p>
        </p:txBody>
      </p:sp>
      <p:sp>
        <p:nvSpPr>
          <p:cNvPr id="98" name="等腰三角形 204">
            <a:extLst>
              <a:ext uri="{FF2B5EF4-FFF2-40B4-BE49-F238E27FC236}">
                <a16:creationId xmlns:a16="http://schemas.microsoft.com/office/drawing/2014/main" id="{6CF4E162-5C1E-1641-B4D0-D96C9B4D0A18}"/>
              </a:ext>
            </a:extLst>
          </p:cNvPr>
          <p:cNvSpPr/>
          <p:nvPr/>
        </p:nvSpPr>
        <p:spPr bwMode="gray">
          <a:xfrm rot="10800000" flipV="1">
            <a:off x="5945490" y="3148617"/>
            <a:ext cx="301021" cy="192029"/>
          </a:xfrm>
          <a:prstGeom prst="triangle">
            <a:avLst/>
          </a:prstGeom>
          <a:solidFill>
            <a:srgbClr val="0076A8"/>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dirty="0">
              <a:ln>
                <a:noFill/>
              </a:ln>
              <a:solidFill>
                <a:prstClr val="white"/>
              </a:solidFill>
              <a:effectLst/>
              <a:uLnTx/>
              <a:uFillTx/>
            </a:endParaRPr>
          </a:p>
        </p:txBody>
      </p:sp>
      <p:sp>
        <p:nvSpPr>
          <p:cNvPr id="99" name="Rectangle 134">
            <a:extLst>
              <a:ext uri="{FF2B5EF4-FFF2-40B4-BE49-F238E27FC236}">
                <a16:creationId xmlns:a16="http://schemas.microsoft.com/office/drawing/2014/main" id="{FC9DA65A-1659-5643-A3EF-87D78932473A}"/>
              </a:ext>
            </a:extLst>
          </p:cNvPr>
          <p:cNvSpPr/>
          <p:nvPr/>
        </p:nvSpPr>
        <p:spPr>
          <a:xfrm flipH="1">
            <a:off x="8436092" y="4693475"/>
            <a:ext cx="331822"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100" name="Rectangle 134">
            <a:extLst>
              <a:ext uri="{FF2B5EF4-FFF2-40B4-BE49-F238E27FC236}">
                <a16:creationId xmlns:a16="http://schemas.microsoft.com/office/drawing/2014/main" id="{53E2A69A-046E-254F-BC94-F888FAA751DF}"/>
              </a:ext>
            </a:extLst>
          </p:cNvPr>
          <p:cNvSpPr/>
          <p:nvPr/>
        </p:nvSpPr>
        <p:spPr>
          <a:xfrm flipH="1">
            <a:off x="8385509" y="3780428"/>
            <a:ext cx="331822"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101" name="Rectangle 134">
            <a:extLst>
              <a:ext uri="{FF2B5EF4-FFF2-40B4-BE49-F238E27FC236}">
                <a16:creationId xmlns:a16="http://schemas.microsoft.com/office/drawing/2014/main" id="{6157B371-57F4-A84F-B54D-DA8F4052237D}"/>
              </a:ext>
            </a:extLst>
          </p:cNvPr>
          <p:cNvSpPr/>
          <p:nvPr/>
        </p:nvSpPr>
        <p:spPr>
          <a:xfrm flipH="1">
            <a:off x="9625373" y="3043936"/>
            <a:ext cx="331822"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102" name="Rectangle 134">
            <a:extLst>
              <a:ext uri="{FF2B5EF4-FFF2-40B4-BE49-F238E27FC236}">
                <a16:creationId xmlns:a16="http://schemas.microsoft.com/office/drawing/2014/main" id="{D30DB88A-E90C-ED4C-98A6-333657DF4578}"/>
              </a:ext>
            </a:extLst>
          </p:cNvPr>
          <p:cNvSpPr/>
          <p:nvPr/>
        </p:nvSpPr>
        <p:spPr>
          <a:xfrm flipH="1">
            <a:off x="9081744" y="2251781"/>
            <a:ext cx="2687050" cy="153888"/>
          </a:xfrm>
          <a:prstGeom prst="rect">
            <a:avLst/>
          </a:prstGeom>
        </p:spPr>
        <p:txBody>
          <a:bodyPr wrap="squar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dirty="0">
                <a:ln>
                  <a:noFill/>
                </a:ln>
                <a:solidFill>
                  <a:prstClr val="white"/>
                </a:solidFill>
                <a:effectLst/>
                <a:uLnTx/>
                <a:uFillTx/>
              </a:rPr>
              <a:t>xxx</a:t>
            </a:r>
            <a:endParaRPr kumimoji="0" lang="zh-CN" altLang="en-US" sz="1000" b="0" i="0" u="none" strike="noStrike" kern="0" cap="none" spc="0" normalizeH="0" baseline="0" noProof="0" dirty="0">
              <a:ln>
                <a:noFill/>
              </a:ln>
              <a:solidFill>
                <a:prstClr val="white"/>
              </a:solidFill>
              <a:effectLst/>
              <a:uLnTx/>
              <a:uFillTx/>
            </a:endParaRPr>
          </a:p>
        </p:txBody>
      </p:sp>
      <p:sp>
        <p:nvSpPr>
          <p:cNvPr id="103" name="Freeform 141">
            <a:extLst>
              <a:ext uri="{FF2B5EF4-FFF2-40B4-BE49-F238E27FC236}">
                <a16:creationId xmlns:a16="http://schemas.microsoft.com/office/drawing/2014/main" id="{2B649809-4F74-DA43-AE75-715DB9C7FD58}"/>
              </a:ext>
            </a:extLst>
          </p:cNvPr>
          <p:cNvSpPr>
            <a:spLocks noChangeAspect="1" noEditPoints="1"/>
          </p:cNvSpPr>
          <p:nvPr/>
        </p:nvSpPr>
        <p:spPr bwMode="auto">
          <a:xfrm>
            <a:off x="7915276" y="5318249"/>
            <a:ext cx="432000" cy="43200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4" name="Freeform 537">
            <a:extLst>
              <a:ext uri="{FF2B5EF4-FFF2-40B4-BE49-F238E27FC236}">
                <a16:creationId xmlns:a16="http://schemas.microsoft.com/office/drawing/2014/main" id="{43448CE8-22C9-2E4E-AC25-00E90D6812B7}"/>
              </a:ext>
            </a:extLst>
          </p:cNvPr>
          <p:cNvSpPr>
            <a:spLocks noChangeAspect="1" noEditPoints="1"/>
          </p:cNvSpPr>
          <p:nvPr/>
        </p:nvSpPr>
        <p:spPr bwMode="auto">
          <a:xfrm>
            <a:off x="8527527" y="2303660"/>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245 w 512"/>
              <a:gd name="T23" fmla="*/ 117 h 512"/>
              <a:gd name="T24" fmla="*/ 256 w 512"/>
              <a:gd name="T25" fmla="*/ 128 h 512"/>
              <a:gd name="T26" fmla="*/ 245 w 512"/>
              <a:gd name="T27" fmla="*/ 138 h 512"/>
              <a:gd name="T28" fmla="*/ 138 w 512"/>
              <a:gd name="T29" fmla="*/ 138 h 512"/>
              <a:gd name="T30" fmla="*/ 138 w 512"/>
              <a:gd name="T31" fmla="*/ 373 h 512"/>
              <a:gd name="T32" fmla="*/ 373 w 512"/>
              <a:gd name="T33" fmla="*/ 373 h 512"/>
              <a:gd name="T34" fmla="*/ 373 w 512"/>
              <a:gd name="T35" fmla="*/ 266 h 512"/>
              <a:gd name="T36" fmla="*/ 384 w 512"/>
              <a:gd name="T37" fmla="*/ 256 h 512"/>
              <a:gd name="T38" fmla="*/ 394 w 512"/>
              <a:gd name="T39" fmla="*/ 266 h 512"/>
              <a:gd name="T40" fmla="*/ 394 w 512"/>
              <a:gd name="T41" fmla="*/ 384 h 512"/>
              <a:gd name="T42" fmla="*/ 394 w 512"/>
              <a:gd name="T43" fmla="*/ 213 h 512"/>
              <a:gd name="T44" fmla="*/ 384 w 512"/>
              <a:gd name="T45" fmla="*/ 224 h 512"/>
              <a:gd name="T46" fmla="*/ 373 w 512"/>
              <a:gd name="T47" fmla="*/ 213 h 512"/>
              <a:gd name="T48" fmla="*/ 373 w 512"/>
              <a:gd name="T49" fmla="*/ 153 h 512"/>
              <a:gd name="T50" fmla="*/ 263 w 512"/>
              <a:gd name="T51" fmla="*/ 263 h 512"/>
              <a:gd name="T52" fmla="*/ 256 w 512"/>
              <a:gd name="T53" fmla="*/ 266 h 512"/>
              <a:gd name="T54" fmla="*/ 248 w 512"/>
              <a:gd name="T55" fmla="*/ 263 h 512"/>
              <a:gd name="T56" fmla="*/ 248 w 512"/>
              <a:gd name="T57" fmla="*/ 248 h 512"/>
              <a:gd name="T58" fmla="*/ 358 w 512"/>
              <a:gd name="T59" fmla="*/ 138 h 512"/>
              <a:gd name="T60" fmla="*/ 298 w 512"/>
              <a:gd name="T61" fmla="*/ 138 h 512"/>
              <a:gd name="T62" fmla="*/ 288 w 512"/>
              <a:gd name="T63" fmla="*/ 128 h 512"/>
              <a:gd name="T64" fmla="*/ 298 w 512"/>
              <a:gd name="T65" fmla="*/ 117 h 512"/>
              <a:gd name="T66" fmla="*/ 384 w 512"/>
              <a:gd name="T67" fmla="*/ 117 h 512"/>
              <a:gd name="T68" fmla="*/ 388 w 512"/>
              <a:gd name="T69" fmla="*/ 118 h 512"/>
              <a:gd name="T70" fmla="*/ 394 w 512"/>
              <a:gd name="T71" fmla="*/ 124 h 512"/>
              <a:gd name="T72" fmla="*/ 394 w 512"/>
              <a:gd name="T73" fmla="*/ 128 h 512"/>
              <a:gd name="T74" fmla="*/ 394 w 512"/>
              <a:gd name="T7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245" y="117"/>
                  <a:pt x="245" y="117"/>
                  <a:pt x="245" y="117"/>
                </a:cubicBezTo>
                <a:cubicBezTo>
                  <a:pt x="251" y="117"/>
                  <a:pt x="256" y="122"/>
                  <a:pt x="256" y="128"/>
                </a:cubicBezTo>
                <a:cubicBezTo>
                  <a:pt x="256" y="134"/>
                  <a:pt x="251" y="138"/>
                  <a:pt x="245" y="138"/>
                </a:cubicBezTo>
                <a:cubicBezTo>
                  <a:pt x="138" y="138"/>
                  <a:pt x="138" y="138"/>
                  <a:pt x="138" y="138"/>
                </a:cubicBezTo>
                <a:cubicBezTo>
                  <a:pt x="138" y="373"/>
                  <a:pt x="138" y="373"/>
                  <a:pt x="138" y="373"/>
                </a:cubicBezTo>
                <a:cubicBezTo>
                  <a:pt x="373" y="373"/>
                  <a:pt x="373" y="373"/>
                  <a:pt x="373" y="373"/>
                </a:cubicBezTo>
                <a:cubicBezTo>
                  <a:pt x="373" y="266"/>
                  <a:pt x="373" y="266"/>
                  <a:pt x="373" y="266"/>
                </a:cubicBezTo>
                <a:cubicBezTo>
                  <a:pt x="373" y="260"/>
                  <a:pt x="378" y="256"/>
                  <a:pt x="384" y="256"/>
                </a:cubicBezTo>
                <a:cubicBezTo>
                  <a:pt x="390" y="256"/>
                  <a:pt x="394" y="260"/>
                  <a:pt x="394" y="266"/>
                </a:cubicBezTo>
                <a:lnTo>
                  <a:pt x="394" y="384"/>
                </a:lnTo>
                <a:close/>
                <a:moveTo>
                  <a:pt x="394" y="213"/>
                </a:moveTo>
                <a:cubicBezTo>
                  <a:pt x="394" y="219"/>
                  <a:pt x="390" y="224"/>
                  <a:pt x="384" y="224"/>
                </a:cubicBezTo>
                <a:cubicBezTo>
                  <a:pt x="378" y="224"/>
                  <a:pt x="373" y="219"/>
                  <a:pt x="373" y="213"/>
                </a:cubicBezTo>
                <a:cubicBezTo>
                  <a:pt x="373" y="153"/>
                  <a:pt x="373" y="153"/>
                  <a:pt x="373" y="153"/>
                </a:cubicBezTo>
                <a:cubicBezTo>
                  <a:pt x="263" y="263"/>
                  <a:pt x="263" y="263"/>
                  <a:pt x="263" y="263"/>
                </a:cubicBezTo>
                <a:cubicBezTo>
                  <a:pt x="261" y="265"/>
                  <a:pt x="258" y="266"/>
                  <a:pt x="256" y="266"/>
                </a:cubicBezTo>
                <a:cubicBezTo>
                  <a:pt x="253" y="266"/>
                  <a:pt x="250" y="265"/>
                  <a:pt x="248" y="263"/>
                </a:cubicBezTo>
                <a:cubicBezTo>
                  <a:pt x="244" y="259"/>
                  <a:pt x="244" y="252"/>
                  <a:pt x="248" y="248"/>
                </a:cubicBezTo>
                <a:cubicBezTo>
                  <a:pt x="358" y="138"/>
                  <a:pt x="358" y="138"/>
                  <a:pt x="358" y="138"/>
                </a:cubicBezTo>
                <a:cubicBezTo>
                  <a:pt x="298" y="138"/>
                  <a:pt x="298" y="138"/>
                  <a:pt x="298" y="138"/>
                </a:cubicBezTo>
                <a:cubicBezTo>
                  <a:pt x="292" y="138"/>
                  <a:pt x="288" y="134"/>
                  <a:pt x="288" y="128"/>
                </a:cubicBezTo>
                <a:cubicBezTo>
                  <a:pt x="288" y="122"/>
                  <a:pt x="292" y="117"/>
                  <a:pt x="298"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213"/>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5" name="Freeform 806">
            <a:extLst>
              <a:ext uri="{FF2B5EF4-FFF2-40B4-BE49-F238E27FC236}">
                <a16:creationId xmlns:a16="http://schemas.microsoft.com/office/drawing/2014/main" id="{8E44E30D-D81B-EB4B-A462-243C1B97CB8D}"/>
              </a:ext>
            </a:extLst>
          </p:cNvPr>
          <p:cNvSpPr>
            <a:spLocks noChangeAspect="1" noEditPoints="1"/>
          </p:cNvSpPr>
          <p:nvPr/>
        </p:nvSpPr>
        <p:spPr bwMode="auto">
          <a:xfrm>
            <a:off x="8264016" y="3040361"/>
            <a:ext cx="432000" cy="432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6" name="Freeform 26">
            <a:extLst>
              <a:ext uri="{FF2B5EF4-FFF2-40B4-BE49-F238E27FC236}">
                <a16:creationId xmlns:a16="http://schemas.microsoft.com/office/drawing/2014/main" id="{AE95AD32-6B85-B642-A87B-3BADB3828517}"/>
              </a:ext>
            </a:extLst>
          </p:cNvPr>
          <p:cNvSpPr>
            <a:spLocks noChangeAspect="1" noEditPoints="1"/>
          </p:cNvSpPr>
          <p:nvPr/>
        </p:nvSpPr>
        <p:spPr bwMode="auto">
          <a:xfrm>
            <a:off x="7419198" y="4559162"/>
            <a:ext cx="432000" cy="432000"/>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7" name="Freeform 337">
            <a:extLst>
              <a:ext uri="{FF2B5EF4-FFF2-40B4-BE49-F238E27FC236}">
                <a16:creationId xmlns:a16="http://schemas.microsoft.com/office/drawing/2014/main" id="{F8BCFA25-B696-B84F-A13C-1437333E4584}"/>
              </a:ext>
            </a:extLst>
          </p:cNvPr>
          <p:cNvSpPr>
            <a:spLocks noChangeAspect="1" noEditPoints="1"/>
          </p:cNvSpPr>
          <p:nvPr/>
        </p:nvSpPr>
        <p:spPr bwMode="auto">
          <a:xfrm>
            <a:off x="6917703" y="3793960"/>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8" name="等腰三角形 222">
            <a:extLst>
              <a:ext uri="{FF2B5EF4-FFF2-40B4-BE49-F238E27FC236}">
                <a16:creationId xmlns:a16="http://schemas.microsoft.com/office/drawing/2014/main" id="{72199073-F2C4-D64A-BB25-5A718AA6655E}"/>
              </a:ext>
            </a:extLst>
          </p:cNvPr>
          <p:cNvSpPr/>
          <p:nvPr/>
        </p:nvSpPr>
        <p:spPr bwMode="gray">
          <a:xfrm rot="10800000" flipV="1">
            <a:off x="5940409" y="6107171"/>
            <a:ext cx="301021" cy="192029"/>
          </a:xfrm>
          <a:prstGeom prst="triangle">
            <a:avLst/>
          </a:prstGeom>
          <a:solidFill>
            <a:srgbClr val="53565A"/>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109" name="椭圆 223">
            <a:extLst>
              <a:ext uri="{FF2B5EF4-FFF2-40B4-BE49-F238E27FC236}">
                <a16:creationId xmlns:a16="http://schemas.microsoft.com/office/drawing/2014/main" id="{784EE13B-F77F-454B-B95F-45EE9AEC6419}"/>
              </a:ext>
            </a:extLst>
          </p:cNvPr>
          <p:cNvSpPr/>
          <p:nvPr/>
        </p:nvSpPr>
        <p:spPr bwMode="gray">
          <a:xfrm flipV="1">
            <a:off x="6062883" y="2172123"/>
            <a:ext cx="66235" cy="66235"/>
          </a:xfrm>
          <a:prstGeom prst="ellipse">
            <a:avLst/>
          </a:prstGeom>
          <a:solidFill>
            <a:srgbClr val="D0D0CE"/>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110" name="TextBox 30">
            <a:extLst>
              <a:ext uri="{FF2B5EF4-FFF2-40B4-BE49-F238E27FC236}">
                <a16:creationId xmlns:a16="http://schemas.microsoft.com/office/drawing/2014/main" id="{B3794E8D-A1EF-4A43-92B7-B0C2516D6D07}"/>
              </a:ext>
            </a:extLst>
          </p:cNvPr>
          <p:cNvSpPr txBox="1">
            <a:spLocks noChangeArrowheads="1"/>
          </p:cNvSpPr>
          <p:nvPr/>
        </p:nvSpPr>
        <p:spPr bwMode="auto">
          <a:xfrm>
            <a:off x="501650" y="1406902"/>
            <a:ext cx="2499713" cy="460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lnSpc>
                <a:spcPct val="130000"/>
              </a:lnSpc>
            </a:pPr>
            <a:r>
              <a:rPr lang="en-US" sz="2000" dirty="0">
                <a:solidFill>
                  <a:prstClr val="white"/>
                </a:solidFill>
                <a:latin typeface="+mn-lt"/>
                <a:ea typeface="Lato" pitchFamily="34" charset="0"/>
                <a:cs typeface="Lato" pitchFamily="34" charset="0"/>
              </a:rPr>
              <a:t>TITLE</a:t>
            </a:r>
          </a:p>
        </p:txBody>
      </p:sp>
      <p:sp>
        <p:nvSpPr>
          <p:cNvPr id="111" name="TextBox 30">
            <a:extLst>
              <a:ext uri="{FF2B5EF4-FFF2-40B4-BE49-F238E27FC236}">
                <a16:creationId xmlns:a16="http://schemas.microsoft.com/office/drawing/2014/main" id="{6961F8BE-5535-8440-80D5-DFFBDE3DC442}"/>
              </a:ext>
            </a:extLst>
          </p:cNvPr>
          <p:cNvSpPr txBox="1">
            <a:spLocks noChangeArrowheads="1"/>
          </p:cNvSpPr>
          <p:nvPr/>
        </p:nvSpPr>
        <p:spPr bwMode="auto">
          <a:xfrm>
            <a:off x="8737397" y="1406902"/>
            <a:ext cx="2499713" cy="460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lnSpc>
                <a:spcPct val="130000"/>
              </a:lnSpc>
            </a:pPr>
            <a:r>
              <a:rPr lang="en-US" sz="2000" dirty="0">
                <a:solidFill>
                  <a:prstClr val="white"/>
                </a:solidFill>
                <a:latin typeface="+mn-lt"/>
                <a:ea typeface="Lato" pitchFamily="34" charset="0"/>
                <a:cs typeface="Lato" pitchFamily="34" charset="0"/>
              </a:rPr>
              <a:t>TITLE</a:t>
            </a:r>
          </a:p>
        </p:txBody>
      </p:sp>
      <p:sp>
        <p:nvSpPr>
          <p:cNvPr id="57" name="Star: 5 Points 56">
            <a:extLst>
              <a:ext uri="{FF2B5EF4-FFF2-40B4-BE49-F238E27FC236}">
                <a16:creationId xmlns:a16="http://schemas.microsoft.com/office/drawing/2014/main" id="{A0418BC2-299A-4951-92D6-56A340C302E3}"/>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12348251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10"/>
                                        </p:tgtEl>
                                        <p:attrNameLst>
                                          <p:attrName>style.visibility</p:attrName>
                                        </p:attrNameLst>
                                      </p:cBhvr>
                                      <p:to>
                                        <p:strVal val="visible"/>
                                      </p:to>
                                    </p:set>
                                    <p:animEffect transition="in" filter="wipe(right)">
                                      <p:cBhvr>
                                        <p:cTn id="7" dur="250"/>
                                        <p:tgtEl>
                                          <p:spTgt spid="110"/>
                                        </p:tgtEl>
                                      </p:cBhvr>
                                    </p:animEffect>
                                  </p:childTnLst>
                                </p:cTn>
                              </p:par>
                            </p:childTnLst>
                          </p:cTn>
                        </p:par>
                        <p:par>
                          <p:cTn id="8" fill="hold">
                            <p:stCondLst>
                              <p:cond delay="250"/>
                            </p:stCondLst>
                            <p:childTnLst>
                              <p:par>
                                <p:cTn id="9" presetID="22" presetClass="entr" presetSubtype="2" fill="hold" grpId="0" nodeType="afterEffect">
                                  <p:stCondLst>
                                    <p:cond delay="0"/>
                                  </p:stCondLst>
                                  <p:childTnLst>
                                    <p:set>
                                      <p:cBhvr>
                                        <p:cTn id="10" dur="1" fill="hold">
                                          <p:stCondLst>
                                            <p:cond delay="0"/>
                                          </p:stCondLst>
                                        </p:cTn>
                                        <p:tgtEl>
                                          <p:spTgt spid="111"/>
                                        </p:tgtEl>
                                        <p:attrNameLst>
                                          <p:attrName>style.visibility</p:attrName>
                                        </p:attrNameLst>
                                      </p:cBhvr>
                                      <p:to>
                                        <p:strVal val="visible"/>
                                      </p:to>
                                    </p:set>
                                    <p:animEffect transition="in" filter="wipe(right)">
                                      <p:cBhvr>
                                        <p:cTn id="11" dur="25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1" grpId="0"/>
    </p:bld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10B84-7D23-E14B-85DB-90C345109C44}"/>
              </a:ext>
            </a:extLst>
          </p:cNvPr>
          <p:cNvSpPr>
            <a:spLocks noGrp="1"/>
          </p:cNvSpPr>
          <p:nvPr>
            <p:ph type="title"/>
          </p:nvPr>
        </p:nvSpPr>
        <p:spPr/>
        <p:txBody>
          <a:bodyPr/>
          <a:lstStyle/>
          <a:p>
            <a:r>
              <a:rPr lang="en-US" dirty="0"/>
              <a:t>Data visualization</a:t>
            </a:r>
          </a:p>
        </p:txBody>
      </p:sp>
      <p:grpSp>
        <p:nvGrpSpPr>
          <p:cNvPr id="3" name="Group 2">
            <a:extLst>
              <a:ext uri="{FF2B5EF4-FFF2-40B4-BE49-F238E27FC236}">
                <a16:creationId xmlns:a16="http://schemas.microsoft.com/office/drawing/2014/main" id="{93589BF2-0B3F-3F40-B0F1-D9ECB63D83E7}"/>
              </a:ext>
            </a:extLst>
          </p:cNvPr>
          <p:cNvGrpSpPr/>
          <p:nvPr/>
        </p:nvGrpSpPr>
        <p:grpSpPr>
          <a:xfrm>
            <a:off x="468395" y="1600200"/>
            <a:ext cx="2928938" cy="2484439"/>
            <a:chOff x="468395" y="1600200"/>
            <a:chExt cx="2928938" cy="2484439"/>
          </a:xfrm>
        </p:grpSpPr>
        <p:grpSp>
          <p:nvGrpSpPr>
            <p:cNvPr id="4" name="Group 3">
              <a:extLst>
                <a:ext uri="{FF2B5EF4-FFF2-40B4-BE49-F238E27FC236}">
                  <a16:creationId xmlns:a16="http://schemas.microsoft.com/office/drawing/2014/main" id="{04D5570D-D26B-0F4F-8A3F-7AA51EB82AC2}"/>
                </a:ext>
              </a:extLst>
            </p:cNvPr>
            <p:cNvGrpSpPr/>
            <p:nvPr/>
          </p:nvGrpSpPr>
          <p:grpSpPr>
            <a:xfrm>
              <a:off x="468395" y="1600200"/>
              <a:ext cx="2322513" cy="2484439"/>
              <a:chOff x="468395" y="1600200"/>
              <a:chExt cx="2322513" cy="2484439"/>
            </a:xfrm>
          </p:grpSpPr>
          <p:sp>
            <p:nvSpPr>
              <p:cNvPr id="45" name="Freeform 26">
                <a:extLst>
                  <a:ext uri="{FF2B5EF4-FFF2-40B4-BE49-F238E27FC236}">
                    <a16:creationId xmlns:a16="http://schemas.microsoft.com/office/drawing/2014/main" id="{33550C94-FE97-734F-A541-B83B1B3FA01F}"/>
                  </a:ext>
                </a:extLst>
              </p:cNvPr>
              <p:cNvSpPr>
                <a:spLocks/>
              </p:cNvSpPr>
              <p:nvPr/>
            </p:nvSpPr>
            <p:spPr bwMode="auto">
              <a:xfrm>
                <a:off x="468395"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6" name="Oval 27">
                <a:extLst>
                  <a:ext uri="{FF2B5EF4-FFF2-40B4-BE49-F238E27FC236}">
                    <a16:creationId xmlns:a16="http://schemas.microsoft.com/office/drawing/2014/main" id="{34CB2D2C-0DE9-5C45-8068-7B141509E5AD}"/>
                  </a:ext>
                </a:extLst>
              </p:cNvPr>
              <p:cNvSpPr>
                <a:spLocks noChangeArrowheads="1"/>
              </p:cNvSpPr>
              <p:nvPr/>
            </p:nvSpPr>
            <p:spPr bwMode="auto">
              <a:xfrm>
                <a:off x="523164"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7" name="Oval 28">
                <a:extLst>
                  <a:ext uri="{FF2B5EF4-FFF2-40B4-BE49-F238E27FC236}">
                    <a16:creationId xmlns:a16="http://schemas.microsoft.com/office/drawing/2014/main" id="{1F696A62-ACFC-7146-8828-2610FFA0A342}"/>
                  </a:ext>
                </a:extLst>
              </p:cNvPr>
              <p:cNvSpPr>
                <a:spLocks noChangeArrowheads="1"/>
              </p:cNvSpPr>
              <p:nvPr/>
            </p:nvSpPr>
            <p:spPr bwMode="auto">
              <a:xfrm>
                <a:off x="826377"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8" name="Freeform 29">
                <a:extLst>
                  <a:ext uri="{FF2B5EF4-FFF2-40B4-BE49-F238E27FC236}">
                    <a16:creationId xmlns:a16="http://schemas.microsoft.com/office/drawing/2014/main" id="{21739760-AA1C-1F4B-A986-4BA1C4164C52}"/>
                  </a:ext>
                </a:extLst>
              </p:cNvPr>
              <p:cNvSpPr>
                <a:spLocks/>
              </p:cNvSpPr>
              <p:nvPr/>
            </p:nvSpPr>
            <p:spPr bwMode="auto">
              <a:xfrm>
                <a:off x="771608"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9" name="Oval 30">
                <a:extLst>
                  <a:ext uri="{FF2B5EF4-FFF2-40B4-BE49-F238E27FC236}">
                    <a16:creationId xmlns:a16="http://schemas.microsoft.com/office/drawing/2014/main" id="{7A71EA13-1BFC-2F4E-B542-F66CA95C46C2}"/>
                  </a:ext>
                </a:extLst>
              </p:cNvPr>
              <p:cNvSpPr>
                <a:spLocks noChangeArrowheads="1"/>
              </p:cNvSpPr>
              <p:nvPr/>
            </p:nvSpPr>
            <p:spPr bwMode="auto">
              <a:xfrm>
                <a:off x="1129589"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0" name="Freeform 31">
                <a:extLst>
                  <a:ext uri="{FF2B5EF4-FFF2-40B4-BE49-F238E27FC236}">
                    <a16:creationId xmlns:a16="http://schemas.microsoft.com/office/drawing/2014/main" id="{5FCB7789-448C-BA40-8129-7859069FD9F3}"/>
                  </a:ext>
                </a:extLst>
              </p:cNvPr>
              <p:cNvSpPr>
                <a:spLocks/>
              </p:cNvSpPr>
              <p:nvPr/>
            </p:nvSpPr>
            <p:spPr bwMode="auto">
              <a:xfrm>
                <a:off x="1074026" y="17010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1" name="Freeform 32">
                <a:extLst>
                  <a:ext uri="{FF2B5EF4-FFF2-40B4-BE49-F238E27FC236}">
                    <a16:creationId xmlns:a16="http://schemas.microsoft.com/office/drawing/2014/main" id="{A49694C3-A8D2-A84E-9FD9-8530D136FB6B}"/>
                  </a:ext>
                </a:extLst>
              </p:cNvPr>
              <p:cNvSpPr>
                <a:spLocks/>
              </p:cNvSpPr>
              <p:nvPr/>
            </p:nvSpPr>
            <p:spPr bwMode="auto">
              <a:xfrm>
                <a:off x="1386764" y="17010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2" name="Oval 33">
                <a:extLst>
                  <a:ext uri="{FF2B5EF4-FFF2-40B4-BE49-F238E27FC236}">
                    <a16:creationId xmlns:a16="http://schemas.microsoft.com/office/drawing/2014/main" id="{B4E525A8-3935-EC40-8432-D1DEA36CF635}"/>
                  </a:ext>
                </a:extLst>
              </p:cNvPr>
              <p:cNvSpPr>
                <a:spLocks noChangeArrowheads="1"/>
              </p:cNvSpPr>
              <p:nvPr/>
            </p:nvSpPr>
            <p:spPr bwMode="auto">
              <a:xfrm>
                <a:off x="1441533"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3" name="Freeform 34">
                <a:extLst>
                  <a:ext uri="{FF2B5EF4-FFF2-40B4-BE49-F238E27FC236}">
                    <a16:creationId xmlns:a16="http://schemas.microsoft.com/office/drawing/2014/main" id="{E7B9BBB8-E41F-8E49-BA63-96A79012488F}"/>
                  </a:ext>
                </a:extLst>
              </p:cNvPr>
              <p:cNvSpPr>
                <a:spLocks/>
              </p:cNvSpPr>
              <p:nvPr/>
            </p:nvSpPr>
            <p:spPr bwMode="auto">
              <a:xfrm>
                <a:off x="1689183" y="17010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4" name="Oval 35">
                <a:extLst>
                  <a:ext uri="{FF2B5EF4-FFF2-40B4-BE49-F238E27FC236}">
                    <a16:creationId xmlns:a16="http://schemas.microsoft.com/office/drawing/2014/main" id="{510A85F5-F852-6749-AEF0-20FFA5600B53}"/>
                  </a:ext>
                </a:extLst>
              </p:cNvPr>
              <p:cNvSpPr>
                <a:spLocks noChangeArrowheads="1"/>
              </p:cNvSpPr>
              <p:nvPr/>
            </p:nvSpPr>
            <p:spPr bwMode="auto">
              <a:xfrm>
                <a:off x="1744746"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5" name="Oval 36">
                <a:extLst>
                  <a:ext uri="{FF2B5EF4-FFF2-40B4-BE49-F238E27FC236}">
                    <a16:creationId xmlns:a16="http://schemas.microsoft.com/office/drawing/2014/main" id="{79FCBDB3-BBB4-E347-9589-84215B02254A}"/>
                  </a:ext>
                </a:extLst>
              </p:cNvPr>
              <p:cNvSpPr>
                <a:spLocks noChangeArrowheads="1"/>
              </p:cNvSpPr>
              <p:nvPr/>
            </p:nvSpPr>
            <p:spPr bwMode="auto">
              <a:xfrm>
                <a:off x="2047164"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6" name="Freeform 37">
                <a:extLst>
                  <a:ext uri="{FF2B5EF4-FFF2-40B4-BE49-F238E27FC236}">
                    <a16:creationId xmlns:a16="http://schemas.microsoft.com/office/drawing/2014/main" id="{8294802B-1DF1-BB4D-972D-FFE922CC4687}"/>
                  </a:ext>
                </a:extLst>
              </p:cNvPr>
              <p:cNvSpPr>
                <a:spLocks/>
              </p:cNvSpPr>
              <p:nvPr/>
            </p:nvSpPr>
            <p:spPr bwMode="auto">
              <a:xfrm>
                <a:off x="1992395" y="1701007"/>
                <a:ext cx="192882" cy="440532"/>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7" name="Oval 38">
                <a:extLst>
                  <a:ext uri="{FF2B5EF4-FFF2-40B4-BE49-F238E27FC236}">
                    <a16:creationId xmlns:a16="http://schemas.microsoft.com/office/drawing/2014/main" id="{06A2C46F-CB2E-A642-8D65-D785FCB01588}"/>
                  </a:ext>
                </a:extLst>
              </p:cNvPr>
              <p:cNvSpPr>
                <a:spLocks noChangeArrowheads="1"/>
              </p:cNvSpPr>
              <p:nvPr/>
            </p:nvSpPr>
            <p:spPr bwMode="auto">
              <a:xfrm>
                <a:off x="2350377"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8" name="Freeform 39">
                <a:extLst>
                  <a:ext uri="{FF2B5EF4-FFF2-40B4-BE49-F238E27FC236}">
                    <a16:creationId xmlns:a16="http://schemas.microsoft.com/office/drawing/2014/main" id="{E915FA51-0D37-6546-8EE9-6D65972ECA6E}"/>
                  </a:ext>
                </a:extLst>
              </p:cNvPr>
              <p:cNvSpPr>
                <a:spLocks/>
              </p:cNvSpPr>
              <p:nvPr/>
            </p:nvSpPr>
            <p:spPr bwMode="auto">
              <a:xfrm>
                <a:off x="2295608"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9" name="Oval 40">
                <a:extLst>
                  <a:ext uri="{FF2B5EF4-FFF2-40B4-BE49-F238E27FC236}">
                    <a16:creationId xmlns:a16="http://schemas.microsoft.com/office/drawing/2014/main" id="{0104F97D-A882-8047-B903-D9DDCF91BB6C}"/>
                  </a:ext>
                </a:extLst>
              </p:cNvPr>
              <p:cNvSpPr>
                <a:spLocks noChangeArrowheads="1"/>
              </p:cNvSpPr>
              <p:nvPr/>
            </p:nvSpPr>
            <p:spPr bwMode="auto">
              <a:xfrm>
                <a:off x="2653589" y="16002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0" name="Freeform 41">
                <a:extLst>
                  <a:ext uri="{FF2B5EF4-FFF2-40B4-BE49-F238E27FC236}">
                    <a16:creationId xmlns:a16="http://schemas.microsoft.com/office/drawing/2014/main" id="{E201E2D7-0E41-B74E-BEE6-159C8119B296}"/>
                  </a:ext>
                </a:extLst>
              </p:cNvPr>
              <p:cNvSpPr>
                <a:spLocks/>
              </p:cNvSpPr>
              <p:nvPr/>
            </p:nvSpPr>
            <p:spPr bwMode="auto">
              <a:xfrm>
                <a:off x="2598026" y="17010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1" name="Freeform 26">
                <a:extLst>
                  <a:ext uri="{FF2B5EF4-FFF2-40B4-BE49-F238E27FC236}">
                    <a16:creationId xmlns:a16="http://schemas.microsoft.com/office/drawing/2014/main" id="{F3887858-DD41-634D-8289-067A8A50B975}"/>
                  </a:ext>
                </a:extLst>
              </p:cNvPr>
              <p:cNvSpPr>
                <a:spLocks/>
              </p:cNvSpPr>
              <p:nvPr/>
            </p:nvSpPr>
            <p:spPr bwMode="auto">
              <a:xfrm>
                <a:off x="468395" y="23487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2" name="Oval 27">
                <a:extLst>
                  <a:ext uri="{FF2B5EF4-FFF2-40B4-BE49-F238E27FC236}">
                    <a16:creationId xmlns:a16="http://schemas.microsoft.com/office/drawing/2014/main" id="{455E8053-1D27-3848-B4DF-109512401E37}"/>
                  </a:ext>
                </a:extLst>
              </p:cNvPr>
              <p:cNvSpPr>
                <a:spLocks noChangeArrowheads="1"/>
              </p:cNvSpPr>
              <p:nvPr/>
            </p:nvSpPr>
            <p:spPr bwMode="auto">
              <a:xfrm>
                <a:off x="523164"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3" name="Oval 28">
                <a:extLst>
                  <a:ext uri="{FF2B5EF4-FFF2-40B4-BE49-F238E27FC236}">
                    <a16:creationId xmlns:a16="http://schemas.microsoft.com/office/drawing/2014/main" id="{53032FBB-C461-AD47-B40E-E5DF978D1378}"/>
                  </a:ext>
                </a:extLst>
              </p:cNvPr>
              <p:cNvSpPr>
                <a:spLocks noChangeArrowheads="1"/>
              </p:cNvSpPr>
              <p:nvPr/>
            </p:nvSpPr>
            <p:spPr bwMode="auto">
              <a:xfrm>
                <a:off x="826376"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4" name="Freeform 29">
                <a:extLst>
                  <a:ext uri="{FF2B5EF4-FFF2-40B4-BE49-F238E27FC236}">
                    <a16:creationId xmlns:a16="http://schemas.microsoft.com/office/drawing/2014/main" id="{1A11CA2C-51FF-1940-B461-632A616504E3}"/>
                  </a:ext>
                </a:extLst>
              </p:cNvPr>
              <p:cNvSpPr>
                <a:spLocks/>
              </p:cNvSpPr>
              <p:nvPr/>
            </p:nvSpPr>
            <p:spPr bwMode="auto">
              <a:xfrm>
                <a:off x="771607" y="23487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5" name="Oval 30">
                <a:extLst>
                  <a:ext uri="{FF2B5EF4-FFF2-40B4-BE49-F238E27FC236}">
                    <a16:creationId xmlns:a16="http://schemas.microsoft.com/office/drawing/2014/main" id="{FB5395FC-B56A-4742-BF84-EB9164E8B700}"/>
                  </a:ext>
                </a:extLst>
              </p:cNvPr>
              <p:cNvSpPr>
                <a:spLocks noChangeArrowheads="1"/>
              </p:cNvSpPr>
              <p:nvPr/>
            </p:nvSpPr>
            <p:spPr bwMode="auto">
              <a:xfrm>
                <a:off x="1129589"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6" name="Freeform 31">
                <a:extLst>
                  <a:ext uri="{FF2B5EF4-FFF2-40B4-BE49-F238E27FC236}">
                    <a16:creationId xmlns:a16="http://schemas.microsoft.com/office/drawing/2014/main" id="{4787748D-BBC6-2844-AEAD-C18116D56A30}"/>
                  </a:ext>
                </a:extLst>
              </p:cNvPr>
              <p:cNvSpPr>
                <a:spLocks/>
              </p:cNvSpPr>
              <p:nvPr/>
            </p:nvSpPr>
            <p:spPr bwMode="auto">
              <a:xfrm>
                <a:off x="1074026" y="23487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Freeform 32">
                <a:extLst>
                  <a:ext uri="{FF2B5EF4-FFF2-40B4-BE49-F238E27FC236}">
                    <a16:creationId xmlns:a16="http://schemas.microsoft.com/office/drawing/2014/main" id="{F9112C96-6EE4-C246-91B2-0BFD4DCE6BB7}"/>
                  </a:ext>
                </a:extLst>
              </p:cNvPr>
              <p:cNvSpPr>
                <a:spLocks/>
              </p:cNvSpPr>
              <p:nvPr/>
            </p:nvSpPr>
            <p:spPr bwMode="auto">
              <a:xfrm>
                <a:off x="1386763" y="23487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8" name="Oval 33">
                <a:extLst>
                  <a:ext uri="{FF2B5EF4-FFF2-40B4-BE49-F238E27FC236}">
                    <a16:creationId xmlns:a16="http://schemas.microsoft.com/office/drawing/2014/main" id="{207DD205-7D25-DB45-8032-0331991E0A5C}"/>
                  </a:ext>
                </a:extLst>
              </p:cNvPr>
              <p:cNvSpPr>
                <a:spLocks noChangeArrowheads="1"/>
              </p:cNvSpPr>
              <p:nvPr/>
            </p:nvSpPr>
            <p:spPr bwMode="auto">
              <a:xfrm>
                <a:off x="1441532"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9" name="Freeform 34">
                <a:extLst>
                  <a:ext uri="{FF2B5EF4-FFF2-40B4-BE49-F238E27FC236}">
                    <a16:creationId xmlns:a16="http://schemas.microsoft.com/office/drawing/2014/main" id="{A45397C3-ED82-7D46-97EC-9335057C2A56}"/>
                  </a:ext>
                </a:extLst>
              </p:cNvPr>
              <p:cNvSpPr>
                <a:spLocks/>
              </p:cNvSpPr>
              <p:nvPr/>
            </p:nvSpPr>
            <p:spPr bwMode="auto">
              <a:xfrm>
                <a:off x="1689182" y="23487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0" name="Oval 35">
                <a:extLst>
                  <a:ext uri="{FF2B5EF4-FFF2-40B4-BE49-F238E27FC236}">
                    <a16:creationId xmlns:a16="http://schemas.microsoft.com/office/drawing/2014/main" id="{06402B02-81A8-F848-998A-BDF21EEBA661}"/>
                  </a:ext>
                </a:extLst>
              </p:cNvPr>
              <p:cNvSpPr>
                <a:spLocks noChangeArrowheads="1"/>
              </p:cNvSpPr>
              <p:nvPr/>
            </p:nvSpPr>
            <p:spPr bwMode="auto">
              <a:xfrm>
                <a:off x="1744745"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1" name="Freeform 37">
                <a:extLst>
                  <a:ext uri="{FF2B5EF4-FFF2-40B4-BE49-F238E27FC236}">
                    <a16:creationId xmlns:a16="http://schemas.microsoft.com/office/drawing/2014/main" id="{7C3E88F5-630F-8648-A050-FA2396CFA4B6}"/>
                  </a:ext>
                </a:extLst>
              </p:cNvPr>
              <p:cNvSpPr>
                <a:spLocks/>
              </p:cNvSpPr>
              <p:nvPr/>
            </p:nvSpPr>
            <p:spPr bwMode="auto">
              <a:xfrm>
                <a:off x="1992395" y="2348707"/>
                <a:ext cx="192882" cy="440532"/>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2" name="Freeform 39">
                <a:extLst>
                  <a:ext uri="{FF2B5EF4-FFF2-40B4-BE49-F238E27FC236}">
                    <a16:creationId xmlns:a16="http://schemas.microsoft.com/office/drawing/2014/main" id="{DAD70AA8-587F-5444-AD93-50D7CBD2E508}"/>
                  </a:ext>
                </a:extLst>
              </p:cNvPr>
              <p:cNvSpPr>
                <a:spLocks/>
              </p:cNvSpPr>
              <p:nvPr/>
            </p:nvSpPr>
            <p:spPr bwMode="auto">
              <a:xfrm>
                <a:off x="2295607" y="23487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3" name="Freeform 26">
                <a:extLst>
                  <a:ext uri="{FF2B5EF4-FFF2-40B4-BE49-F238E27FC236}">
                    <a16:creationId xmlns:a16="http://schemas.microsoft.com/office/drawing/2014/main" id="{E5324272-8634-874A-826A-ABD6FD109DD4}"/>
                  </a:ext>
                </a:extLst>
              </p:cNvPr>
              <p:cNvSpPr>
                <a:spLocks/>
              </p:cNvSpPr>
              <p:nvPr/>
            </p:nvSpPr>
            <p:spPr bwMode="auto">
              <a:xfrm>
                <a:off x="468395" y="29964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4" name="Oval 27">
                <a:extLst>
                  <a:ext uri="{FF2B5EF4-FFF2-40B4-BE49-F238E27FC236}">
                    <a16:creationId xmlns:a16="http://schemas.microsoft.com/office/drawing/2014/main" id="{4397ED4E-1F5A-5B4E-80AE-1C53DF115EDC}"/>
                  </a:ext>
                </a:extLst>
              </p:cNvPr>
              <p:cNvSpPr>
                <a:spLocks noChangeArrowheads="1"/>
              </p:cNvSpPr>
              <p:nvPr/>
            </p:nvSpPr>
            <p:spPr bwMode="auto">
              <a:xfrm>
                <a:off x="523164"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5" name="Oval 28">
                <a:extLst>
                  <a:ext uri="{FF2B5EF4-FFF2-40B4-BE49-F238E27FC236}">
                    <a16:creationId xmlns:a16="http://schemas.microsoft.com/office/drawing/2014/main" id="{472CFF5E-16DB-2C41-8162-93013236691A}"/>
                  </a:ext>
                </a:extLst>
              </p:cNvPr>
              <p:cNvSpPr>
                <a:spLocks noChangeArrowheads="1"/>
              </p:cNvSpPr>
              <p:nvPr/>
            </p:nvSpPr>
            <p:spPr bwMode="auto">
              <a:xfrm>
                <a:off x="826376"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6" name="Freeform 29">
                <a:extLst>
                  <a:ext uri="{FF2B5EF4-FFF2-40B4-BE49-F238E27FC236}">
                    <a16:creationId xmlns:a16="http://schemas.microsoft.com/office/drawing/2014/main" id="{B2D398BC-8099-584E-983F-E9E2FC5A35CD}"/>
                  </a:ext>
                </a:extLst>
              </p:cNvPr>
              <p:cNvSpPr>
                <a:spLocks/>
              </p:cNvSpPr>
              <p:nvPr/>
            </p:nvSpPr>
            <p:spPr bwMode="auto">
              <a:xfrm>
                <a:off x="771607" y="29964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7" name="Oval 30">
                <a:extLst>
                  <a:ext uri="{FF2B5EF4-FFF2-40B4-BE49-F238E27FC236}">
                    <a16:creationId xmlns:a16="http://schemas.microsoft.com/office/drawing/2014/main" id="{4FF2278C-68A7-0E44-B2D2-B077D30C4DBC}"/>
                  </a:ext>
                </a:extLst>
              </p:cNvPr>
              <p:cNvSpPr>
                <a:spLocks noChangeArrowheads="1"/>
              </p:cNvSpPr>
              <p:nvPr/>
            </p:nvSpPr>
            <p:spPr bwMode="auto">
              <a:xfrm>
                <a:off x="1129589"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8" name="Freeform 31">
                <a:extLst>
                  <a:ext uri="{FF2B5EF4-FFF2-40B4-BE49-F238E27FC236}">
                    <a16:creationId xmlns:a16="http://schemas.microsoft.com/office/drawing/2014/main" id="{2F69A5F9-9FEF-244A-8362-ECDC9AE082F3}"/>
                  </a:ext>
                </a:extLst>
              </p:cNvPr>
              <p:cNvSpPr>
                <a:spLocks/>
              </p:cNvSpPr>
              <p:nvPr/>
            </p:nvSpPr>
            <p:spPr bwMode="auto">
              <a:xfrm>
                <a:off x="1074026" y="29964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9" name="Freeform 32">
                <a:extLst>
                  <a:ext uri="{FF2B5EF4-FFF2-40B4-BE49-F238E27FC236}">
                    <a16:creationId xmlns:a16="http://schemas.microsoft.com/office/drawing/2014/main" id="{80EE4C8C-0753-C24A-8DDA-F8DD9881366D}"/>
                  </a:ext>
                </a:extLst>
              </p:cNvPr>
              <p:cNvSpPr>
                <a:spLocks/>
              </p:cNvSpPr>
              <p:nvPr/>
            </p:nvSpPr>
            <p:spPr bwMode="auto">
              <a:xfrm>
                <a:off x="1386763" y="29964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0" name="Oval 33">
                <a:extLst>
                  <a:ext uri="{FF2B5EF4-FFF2-40B4-BE49-F238E27FC236}">
                    <a16:creationId xmlns:a16="http://schemas.microsoft.com/office/drawing/2014/main" id="{E0348C7F-8F09-5D4B-867A-E5D65A68FBF5}"/>
                  </a:ext>
                </a:extLst>
              </p:cNvPr>
              <p:cNvSpPr>
                <a:spLocks noChangeArrowheads="1"/>
              </p:cNvSpPr>
              <p:nvPr/>
            </p:nvSpPr>
            <p:spPr bwMode="auto">
              <a:xfrm>
                <a:off x="1441532"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1" name="Freeform 34">
                <a:extLst>
                  <a:ext uri="{FF2B5EF4-FFF2-40B4-BE49-F238E27FC236}">
                    <a16:creationId xmlns:a16="http://schemas.microsoft.com/office/drawing/2014/main" id="{DC69F285-C958-3040-B7C1-C0BFBE2128BA}"/>
                  </a:ext>
                </a:extLst>
              </p:cNvPr>
              <p:cNvSpPr>
                <a:spLocks/>
              </p:cNvSpPr>
              <p:nvPr/>
            </p:nvSpPr>
            <p:spPr bwMode="auto">
              <a:xfrm>
                <a:off x="1689182" y="29964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2" name="Oval 35">
                <a:extLst>
                  <a:ext uri="{FF2B5EF4-FFF2-40B4-BE49-F238E27FC236}">
                    <a16:creationId xmlns:a16="http://schemas.microsoft.com/office/drawing/2014/main" id="{3CA17308-97DE-E84E-BB06-87718CCC1A4D}"/>
                  </a:ext>
                </a:extLst>
              </p:cNvPr>
              <p:cNvSpPr>
                <a:spLocks noChangeArrowheads="1"/>
              </p:cNvSpPr>
              <p:nvPr/>
            </p:nvSpPr>
            <p:spPr bwMode="auto">
              <a:xfrm>
                <a:off x="1744745" y="28956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3" name="Freeform 41">
                <a:extLst>
                  <a:ext uri="{FF2B5EF4-FFF2-40B4-BE49-F238E27FC236}">
                    <a16:creationId xmlns:a16="http://schemas.microsoft.com/office/drawing/2014/main" id="{78461A68-D468-5D4A-9736-4DA5FCC7CB4D}"/>
                  </a:ext>
                </a:extLst>
              </p:cNvPr>
              <p:cNvSpPr>
                <a:spLocks/>
              </p:cNvSpPr>
              <p:nvPr/>
            </p:nvSpPr>
            <p:spPr bwMode="auto">
              <a:xfrm>
                <a:off x="2598026" y="29964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4" name="Freeform 26">
                <a:extLst>
                  <a:ext uri="{FF2B5EF4-FFF2-40B4-BE49-F238E27FC236}">
                    <a16:creationId xmlns:a16="http://schemas.microsoft.com/office/drawing/2014/main" id="{B484EF8E-87E7-A547-A633-6E0D5C48CE41}"/>
                  </a:ext>
                </a:extLst>
              </p:cNvPr>
              <p:cNvSpPr>
                <a:spLocks/>
              </p:cNvSpPr>
              <p:nvPr/>
            </p:nvSpPr>
            <p:spPr bwMode="auto">
              <a:xfrm>
                <a:off x="468395"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5" name="Oval 27">
                <a:extLst>
                  <a:ext uri="{FF2B5EF4-FFF2-40B4-BE49-F238E27FC236}">
                    <a16:creationId xmlns:a16="http://schemas.microsoft.com/office/drawing/2014/main" id="{EDDB82EF-1711-F549-B7BD-DF0F0F065ECF}"/>
                  </a:ext>
                </a:extLst>
              </p:cNvPr>
              <p:cNvSpPr>
                <a:spLocks noChangeArrowheads="1"/>
              </p:cNvSpPr>
              <p:nvPr/>
            </p:nvSpPr>
            <p:spPr bwMode="auto">
              <a:xfrm>
                <a:off x="523164"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6" name="Oval 28">
                <a:extLst>
                  <a:ext uri="{FF2B5EF4-FFF2-40B4-BE49-F238E27FC236}">
                    <a16:creationId xmlns:a16="http://schemas.microsoft.com/office/drawing/2014/main" id="{EDC15897-BD55-0E48-9823-35748FEF2D02}"/>
                  </a:ext>
                </a:extLst>
              </p:cNvPr>
              <p:cNvSpPr>
                <a:spLocks noChangeArrowheads="1"/>
              </p:cNvSpPr>
              <p:nvPr/>
            </p:nvSpPr>
            <p:spPr bwMode="auto">
              <a:xfrm>
                <a:off x="826377"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7" name="Freeform 29">
                <a:extLst>
                  <a:ext uri="{FF2B5EF4-FFF2-40B4-BE49-F238E27FC236}">
                    <a16:creationId xmlns:a16="http://schemas.microsoft.com/office/drawing/2014/main" id="{1C92BD42-4E44-4E4E-9AE4-BCE2040154A3}"/>
                  </a:ext>
                </a:extLst>
              </p:cNvPr>
              <p:cNvSpPr>
                <a:spLocks/>
              </p:cNvSpPr>
              <p:nvPr/>
            </p:nvSpPr>
            <p:spPr bwMode="auto">
              <a:xfrm>
                <a:off x="771608"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8" name="Oval 30">
                <a:extLst>
                  <a:ext uri="{FF2B5EF4-FFF2-40B4-BE49-F238E27FC236}">
                    <a16:creationId xmlns:a16="http://schemas.microsoft.com/office/drawing/2014/main" id="{D08EA9BE-9A80-154C-A8C8-525A837AACC3}"/>
                  </a:ext>
                </a:extLst>
              </p:cNvPr>
              <p:cNvSpPr>
                <a:spLocks noChangeArrowheads="1"/>
              </p:cNvSpPr>
              <p:nvPr/>
            </p:nvSpPr>
            <p:spPr bwMode="auto">
              <a:xfrm>
                <a:off x="1129589"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9" name="Freeform 31">
                <a:extLst>
                  <a:ext uri="{FF2B5EF4-FFF2-40B4-BE49-F238E27FC236}">
                    <a16:creationId xmlns:a16="http://schemas.microsoft.com/office/drawing/2014/main" id="{E0E4C0AB-C2DF-6845-B1D2-5BA32CDA273D}"/>
                  </a:ext>
                </a:extLst>
              </p:cNvPr>
              <p:cNvSpPr>
                <a:spLocks/>
              </p:cNvSpPr>
              <p:nvPr/>
            </p:nvSpPr>
            <p:spPr bwMode="auto">
              <a:xfrm>
                <a:off x="1074026" y="3644107"/>
                <a:ext cx="192882" cy="440532"/>
              </a:xfrm>
              <a:custGeom>
                <a:avLst/>
                <a:gdLst>
                  <a:gd name="T0" fmla="*/ 17 w 21"/>
                  <a:gd name="T1" fmla="*/ 0 h 48"/>
                  <a:gd name="T2" fmla="*/ 5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2 w 21"/>
                  <a:gd name="T25" fmla="*/ 23 h 48"/>
                  <a:gd name="T26" fmla="*/ 12 w 21"/>
                  <a:gd name="T27" fmla="*/ 45 h 48"/>
                  <a:gd name="T28" fmla="*/ 14 w 21"/>
                  <a:gd name="T29" fmla="*/ 48 h 48"/>
                  <a:gd name="T30" fmla="*/ 17 w 21"/>
                  <a:gd name="T31" fmla="*/ 45 h 48"/>
                  <a:gd name="T32" fmla="*/ 17 w 21"/>
                  <a:gd name="T33" fmla="*/ 5 h 48"/>
                  <a:gd name="T34" fmla="*/ 18 w 21"/>
                  <a:gd name="T35" fmla="*/ 5 h 48"/>
                  <a:gd name="T36" fmla="*/ 18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0" name="Freeform 32">
                <a:extLst>
                  <a:ext uri="{FF2B5EF4-FFF2-40B4-BE49-F238E27FC236}">
                    <a16:creationId xmlns:a16="http://schemas.microsoft.com/office/drawing/2014/main" id="{DFD52948-7271-A54E-9C61-C7966B73786D}"/>
                  </a:ext>
                </a:extLst>
              </p:cNvPr>
              <p:cNvSpPr>
                <a:spLocks/>
              </p:cNvSpPr>
              <p:nvPr/>
            </p:nvSpPr>
            <p:spPr bwMode="auto">
              <a:xfrm>
                <a:off x="1386764" y="3644107"/>
                <a:ext cx="183357" cy="440532"/>
              </a:xfrm>
              <a:custGeom>
                <a:avLst/>
                <a:gdLst>
                  <a:gd name="T0" fmla="*/ 16 w 20"/>
                  <a:gd name="T1" fmla="*/ 0 h 48"/>
                  <a:gd name="T2" fmla="*/ 4 w 20"/>
                  <a:gd name="T3" fmla="*/ 0 h 48"/>
                  <a:gd name="T4" fmla="*/ 0 w 20"/>
                  <a:gd name="T5" fmla="*/ 4 h 48"/>
                  <a:gd name="T6" fmla="*/ 0 w 20"/>
                  <a:gd name="T7" fmla="*/ 20 h 48"/>
                  <a:gd name="T8" fmla="*/ 1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8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1" y="0"/>
                      <a:pt x="0" y="2"/>
                      <a:pt x="0" y="4"/>
                    </a:cubicBezTo>
                    <a:cubicBezTo>
                      <a:pt x="0" y="20"/>
                      <a:pt x="0" y="20"/>
                      <a:pt x="0" y="20"/>
                    </a:cubicBezTo>
                    <a:cubicBezTo>
                      <a:pt x="0" y="21"/>
                      <a:pt x="0" y="22"/>
                      <a:pt x="1" y="22"/>
                    </a:cubicBezTo>
                    <a:cubicBezTo>
                      <a:pt x="2"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7" y="22"/>
                      <a:pt x="18" y="22"/>
                    </a:cubicBezTo>
                    <a:cubicBezTo>
                      <a:pt x="19" y="22"/>
                      <a:pt x="20" y="21"/>
                      <a:pt x="20" y="20"/>
                    </a:cubicBezTo>
                    <a:cubicBezTo>
                      <a:pt x="20" y="4"/>
                      <a:pt x="20" y="4"/>
                      <a:pt x="20" y="4"/>
                    </a:cubicBezTo>
                    <a:cubicBezTo>
                      <a:pt x="20" y="2"/>
                      <a:pt x="18"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1" name="Oval 33">
                <a:extLst>
                  <a:ext uri="{FF2B5EF4-FFF2-40B4-BE49-F238E27FC236}">
                    <a16:creationId xmlns:a16="http://schemas.microsoft.com/office/drawing/2014/main" id="{477E6095-EF60-444B-937A-FBD7393DB5EF}"/>
                  </a:ext>
                </a:extLst>
              </p:cNvPr>
              <p:cNvSpPr>
                <a:spLocks noChangeArrowheads="1"/>
              </p:cNvSpPr>
              <p:nvPr/>
            </p:nvSpPr>
            <p:spPr bwMode="auto">
              <a:xfrm>
                <a:off x="1441533"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2" name="Freeform 34">
                <a:extLst>
                  <a:ext uri="{FF2B5EF4-FFF2-40B4-BE49-F238E27FC236}">
                    <a16:creationId xmlns:a16="http://schemas.microsoft.com/office/drawing/2014/main" id="{EA890D6A-99F3-6943-A210-4DA525189632}"/>
                  </a:ext>
                </a:extLst>
              </p:cNvPr>
              <p:cNvSpPr>
                <a:spLocks/>
              </p:cNvSpPr>
              <p:nvPr/>
            </p:nvSpPr>
            <p:spPr bwMode="auto">
              <a:xfrm>
                <a:off x="1689183" y="3644107"/>
                <a:ext cx="184150" cy="440532"/>
              </a:xfrm>
              <a:custGeom>
                <a:avLst/>
                <a:gdLst>
                  <a:gd name="T0" fmla="*/ 16 w 20"/>
                  <a:gd name="T1" fmla="*/ 0 h 48"/>
                  <a:gd name="T2" fmla="*/ 4 w 20"/>
                  <a:gd name="T3" fmla="*/ 0 h 48"/>
                  <a:gd name="T4" fmla="*/ 0 w 20"/>
                  <a:gd name="T5" fmla="*/ 4 h 48"/>
                  <a:gd name="T6" fmla="*/ 0 w 20"/>
                  <a:gd name="T7" fmla="*/ 20 h 48"/>
                  <a:gd name="T8" fmla="*/ 2 w 20"/>
                  <a:gd name="T9" fmla="*/ 22 h 48"/>
                  <a:gd name="T10" fmla="*/ 3 w 20"/>
                  <a:gd name="T11" fmla="*/ 20 h 48"/>
                  <a:gd name="T12" fmla="*/ 3 w 20"/>
                  <a:gd name="T13" fmla="*/ 5 h 48"/>
                  <a:gd name="T14" fmla="*/ 4 w 20"/>
                  <a:gd name="T15" fmla="*/ 5 h 48"/>
                  <a:gd name="T16" fmla="*/ 4 w 20"/>
                  <a:gd name="T17" fmla="*/ 45 h 48"/>
                  <a:gd name="T18" fmla="*/ 7 w 20"/>
                  <a:gd name="T19" fmla="*/ 48 h 48"/>
                  <a:gd name="T20" fmla="*/ 9 w 20"/>
                  <a:gd name="T21" fmla="*/ 45 h 48"/>
                  <a:gd name="T22" fmla="*/ 9 w 20"/>
                  <a:gd name="T23" fmla="*/ 23 h 48"/>
                  <a:gd name="T24" fmla="*/ 11 w 20"/>
                  <a:gd name="T25" fmla="*/ 23 h 48"/>
                  <a:gd name="T26" fmla="*/ 11 w 20"/>
                  <a:gd name="T27" fmla="*/ 45 h 48"/>
                  <a:gd name="T28" fmla="*/ 13 w 20"/>
                  <a:gd name="T29" fmla="*/ 48 h 48"/>
                  <a:gd name="T30" fmla="*/ 16 w 20"/>
                  <a:gd name="T31" fmla="*/ 45 h 48"/>
                  <a:gd name="T32" fmla="*/ 16 w 20"/>
                  <a:gd name="T33" fmla="*/ 5 h 48"/>
                  <a:gd name="T34" fmla="*/ 17 w 20"/>
                  <a:gd name="T35" fmla="*/ 5 h 48"/>
                  <a:gd name="T36" fmla="*/ 17 w 20"/>
                  <a:gd name="T37" fmla="*/ 20 h 48"/>
                  <a:gd name="T38" fmla="*/ 19 w 20"/>
                  <a:gd name="T39" fmla="*/ 22 h 48"/>
                  <a:gd name="T40" fmla="*/ 20 w 20"/>
                  <a:gd name="T41" fmla="*/ 20 h 48"/>
                  <a:gd name="T42" fmla="*/ 20 w 20"/>
                  <a:gd name="T43" fmla="*/ 4 h 48"/>
                  <a:gd name="T44" fmla="*/ 16 w 20"/>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9" y="47"/>
                      <a:pt x="9" y="45"/>
                    </a:cubicBezTo>
                    <a:cubicBezTo>
                      <a:pt x="9" y="23"/>
                      <a:pt x="9" y="23"/>
                      <a:pt x="9" y="23"/>
                    </a:cubicBezTo>
                    <a:cubicBezTo>
                      <a:pt x="11" y="23"/>
                      <a:pt x="11" y="23"/>
                      <a:pt x="11" y="23"/>
                    </a:cubicBezTo>
                    <a:cubicBezTo>
                      <a:pt x="11" y="45"/>
                      <a:pt x="11" y="45"/>
                      <a:pt x="11" y="45"/>
                    </a:cubicBezTo>
                    <a:cubicBezTo>
                      <a:pt x="11" y="47"/>
                      <a:pt x="12" y="48"/>
                      <a:pt x="13"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0" y="21"/>
                      <a:pt x="20" y="20"/>
                    </a:cubicBezTo>
                    <a:cubicBezTo>
                      <a:pt x="20" y="4"/>
                      <a:pt x="20" y="4"/>
                      <a:pt x="20" y="4"/>
                    </a:cubicBezTo>
                    <a:cubicBezTo>
                      <a:pt x="20"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3" name="Oval 35">
                <a:extLst>
                  <a:ext uri="{FF2B5EF4-FFF2-40B4-BE49-F238E27FC236}">
                    <a16:creationId xmlns:a16="http://schemas.microsoft.com/office/drawing/2014/main" id="{9AD37691-0AB1-D24D-8559-6074D60E7178}"/>
                  </a:ext>
                </a:extLst>
              </p:cNvPr>
              <p:cNvSpPr>
                <a:spLocks noChangeArrowheads="1"/>
              </p:cNvSpPr>
              <p:nvPr/>
            </p:nvSpPr>
            <p:spPr bwMode="auto">
              <a:xfrm>
                <a:off x="1744746"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4" name="Freeform 37">
                <a:extLst>
                  <a:ext uri="{FF2B5EF4-FFF2-40B4-BE49-F238E27FC236}">
                    <a16:creationId xmlns:a16="http://schemas.microsoft.com/office/drawing/2014/main" id="{9E3EDB3C-A2D3-C847-B284-B922BFB6FC0F}"/>
                  </a:ext>
                </a:extLst>
              </p:cNvPr>
              <p:cNvSpPr>
                <a:spLocks/>
              </p:cNvSpPr>
              <p:nvPr/>
            </p:nvSpPr>
            <p:spPr bwMode="auto">
              <a:xfrm>
                <a:off x="1992395" y="3644107"/>
                <a:ext cx="192882" cy="440532"/>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5" name="Freeform 39">
                <a:extLst>
                  <a:ext uri="{FF2B5EF4-FFF2-40B4-BE49-F238E27FC236}">
                    <a16:creationId xmlns:a16="http://schemas.microsoft.com/office/drawing/2014/main" id="{8E41163B-264C-0A4D-B7B2-CFCCF5A7F281}"/>
                  </a:ext>
                </a:extLst>
              </p:cNvPr>
              <p:cNvSpPr>
                <a:spLocks/>
              </p:cNvSpPr>
              <p:nvPr/>
            </p:nvSpPr>
            <p:spPr bwMode="auto">
              <a:xfrm>
                <a:off x="2295608"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6" name="Freeform 41">
                <a:extLst>
                  <a:ext uri="{FF2B5EF4-FFF2-40B4-BE49-F238E27FC236}">
                    <a16:creationId xmlns:a16="http://schemas.microsoft.com/office/drawing/2014/main" id="{5F1D3F60-F882-F241-BF32-3044A3AA9469}"/>
                  </a:ext>
                </a:extLst>
              </p:cNvPr>
              <p:cNvSpPr>
                <a:spLocks/>
              </p:cNvSpPr>
              <p:nvPr/>
            </p:nvSpPr>
            <p:spPr bwMode="auto">
              <a:xfrm>
                <a:off x="2598026" y="3644107"/>
                <a:ext cx="192882" cy="440532"/>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5" name="Oval 36">
              <a:extLst>
                <a:ext uri="{FF2B5EF4-FFF2-40B4-BE49-F238E27FC236}">
                  <a16:creationId xmlns:a16="http://schemas.microsoft.com/office/drawing/2014/main" id="{1DA4E2C3-CF43-374E-90B1-17439C501263}"/>
                </a:ext>
              </a:extLst>
            </p:cNvPr>
            <p:cNvSpPr>
              <a:spLocks noChangeArrowheads="1"/>
            </p:cNvSpPr>
            <p:nvPr/>
          </p:nvSpPr>
          <p:spPr bwMode="auto">
            <a:xfrm>
              <a:off x="2047164"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 name="Oval 38">
              <a:extLst>
                <a:ext uri="{FF2B5EF4-FFF2-40B4-BE49-F238E27FC236}">
                  <a16:creationId xmlns:a16="http://schemas.microsoft.com/office/drawing/2014/main" id="{22BCE59E-83E2-414C-8D29-C6C40D9AED3C}"/>
                </a:ext>
              </a:extLst>
            </p:cNvPr>
            <p:cNvSpPr>
              <a:spLocks noChangeArrowheads="1"/>
            </p:cNvSpPr>
            <p:nvPr/>
          </p:nvSpPr>
          <p:spPr bwMode="auto">
            <a:xfrm>
              <a:off x="2350376" y="22479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 name="Oval 36">
              <a:extLst>
                <a:ext uri="{FF2B5EF4-FFF2-40B4-BE49-F238E27FC236}">
                  <a16:creationId xmlns:a16="http://schemas.microsoft.com/office/drawing/2014/main" id="{A294874B-1EDC-5649-A70B-8904C96FB9FC}"/>
                </a:ext>
              </a:extLst>
            </p:cNvPr>
            <p:cNvSpPr>
              <a:spLocks noChangeArrowheads="1"/>
            </p:cNvSpPr>
            <p:nvPr/>
          </p:nvSpPr>
          <p:spPr bwMode="auto">
            <a:xfrm>
              <a:off x="2047164"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Oval 38">
              <a:extLst>
                <a:ext uri="{FF2B5EF4-FFF2-40B4-BE49-F238E27FC236}">
                  <a16:creationId xmlns:a16="http://schemas.microsoft.com/office/drawing/2014/main" id="{977F6607-AF14-E841-A927-E28548ED843E}"/>
                </a:ext>
              </a:extLst>
            </p:cNvPr>
            <p:cNvSpPr>
              <a:spLocks noChangeArrowheads="1"/>
            </p:cNvSpPr>
            <p:nvPr/>
          </p:nvSpPr>
          <p:spPr bwMode="auto">
            <a:xfrm>
              <a:off x="2350377"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9" name="Oval 40">
              <a:extLst>
                <a:ext uri="{FF2B5EF4-FFF2-40B4-BE49-F238E27FC236}">
                  <a16:creationId xmlns:a16="http://schemas.microsoft.com/office/drawing/2014/main" id="{962327FF-0779-F94F-8D31-2522D3243F5D}"/>
                </a:ext>
              </a:extLst>
            </p:cNvPr>
            <p:cNvSpPr>
              <a:spLocks noChangeArrowheads="1"/>
            </p:cNvSpPr>
            <p:nvPr/>
          </p:nvSpPr>
          <p:spPr bwMode="auto">
            <a:xfrm>
              <a:off x="2653589" y="3543300"/>
              <a:ext cx="82550" cy="825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0" name="Group 9">
              <a:extLst>
                <a:ext uri="{FF2B5EF4-FFF2-40B4-BE49-F238E27FC236}">
                  <a16:creationId xmlns:a16="http://schemas.microsoft.com/office/drawing/2014/main" id="{154163FA-964B-7441-8E72-94355B32EFCD}"/>
                </a:ext>
              </a:extLst>
            </p:cNvPr>
            <p:cNvGrpSpPr/>
            <p:nvPr/>
          </p:nvGrpSpPr>
          <p:grpSpPr>
            <a:xfrm>
              <a:off x="1992395" y="1600200"/>
              <a:ext cx="1404938" cy="2484438"/>
              <a:chOff x="1992395" y="1600200"/>
              <a:chExt cx="1404938" cy="2484438"/>
            </a:xfrm>
            <a:solidFill>
              <a:schemeClr val="accent6">
                <a:lumMod val="60000"/>
                <a:lumOff val="40000"/>
              </a:schemeClr>
            </a:solidFill>
          </p:grpSpPr>
          <p:sp>
            <p:nvSpPr>
              <p:cNvPr id="11" name="Oval 40">
                <a:extLst>
                  <a:ext uri="{FF2B5EF4-FFF2-40B4-BE49-F238E27FC236}">
                    <a16:creationId xmlns:a16="http://schemas.microsoft.com/office/drawing/2014/main" id="{8DE85095-BC23-1347-BC85-C6FC9CA311D8}"/>
                  </a:ext>
                </a:extLst>
              </p:cNvPr>
              <p:cNvSpPr>
                <a:spLocks noChangeArrowheads="1"/>
              </p:cNvSpPr>
              <p:nvPr/>
            </p:nvSpPr>
            <p:spPr bwMode="auto">
              <a:xfrm>
                <a:off x="2653589" y="2895600"/>
                <a:ext cx="82550" cy="82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2" name="กลุ่ม 382">
                <a:extLst>
                  <a:ext uri="{FF2B5EF4-FFF2-40B4-BE49-F238E27FC236}">
                    <a16:creationId xmlns:a16="http://schemas.microsoft.com/office/drawing/2014/main" id="{53D5ED50-46A7-5747-BE65-F66AEAB61FDC}"/>
                  </a:ext>
                </a:extLst>
              </p:cNvPr>
              <p:cNvGrpSpPr/>
              <p:nvPr/>
            </p:nvGrpSpPr>
            <p:grpSpPr>
              <a:xfrm>
                <a:off x="2901238" y="2895600"/>
                <a:ext cx="192882" cy="541338"/>
                <a:chOff x="8007350" y="3124200"/>
                <a:chExt cx="385763" cy="1082676"/>
              </a:xfrm>
              <a:grpFill/>
            </p:grpSpPr>
            <p:sp>
              <p:nvSpPr>
                <p:cNvPr id="43" name="Freeform 42">
                  <a:extLst>
                    <a:ext uri="{FF2B5EF4-FFF2-40B4-BE49-F238E27FC236}">
                      <a16:creationId xmlns:a16="http://schemas.microsoft.com/office/drawing/2014/main" id="{12BC5ABD-F592-D849-B283-F2E9AD62FD38}"/>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4" name="Oval 43">
                  <a:extLst>
                    <a:ext uri="{FF2B5EF4-FFF2-40B4-BE49-F238E27FC236}">
                      <a16:creationId xmlns:a16="http://schemas.microsoft.com/office/drawing/2014/main" id="{8545DA6C-157A-8340-B310-B15875072F0D}"/>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3" name="กลุ่ม 385">
                <a:extLst>
                  <a:ext uri="{FF2B5EF4-FFF2-40B4-BE49-F238E27FC236}">
                    <a16:creationId xmlns:a16="http://schemas.microsoft.com/office/drawing/2014/main" id="{DA8229A0-B098-514D-944C-6EFC53E6CB37}"/>
                  </a:ext>
                </a:extLst>
              </p:cNvPr>
              <p:cNvGrpSpPr/>
              <p:nvPr/>
            </p:nvGrpSpPr>
            <p:grpSpPr>
              <a:xfrm>
                <a:off x="3204451" y="2895600"/>
                <a:ext cx="192882" cy="541338"/>
                <a:chOff x="8613775" y="3124200"/>
                <a:chExt cx="385763" cy="1082676"/>
              </a:xfrm>
              <a:grpFill/>
            </p:grpSpPr>
            <p:sp>
              <p:nvSpPr>
                <p:cNvPr id="41" name="Freeform 44">
                  <a:extLst>
                    <a:ext uri="{FF2B5EF4-FFF2-40B4-BE49-F238E27FC236}">
                      <a16:creationId xmlns:a16="http://schemas.microsoft.com/office/drawing/2014/main" id="{84C25EDE-1B5A-2B49-B6DE-3FCB09E4D099}"/>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2" name="Oval 45">
                  <a:extLst>
                    <a:ext uri="{FF2B5EF4-FFF2-40B4-BE49-F238E27FC236}">
                      <a16:creationId xmlns:a16="http://schemas.microsoft.com/office/drawing/2014/main" id="{E522F703-95B2-4149-B256-AFADEB363BBD}"/>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4" name="กลุ่ม 139">
                <a:extLst>
                  <a:ext uri="{FF2B5EF4-FFF2-40B4-BE49-F238E27FC236}">
                    <a16:creationId xmlns:a16="http://schemas.microsoft.com/office/drawing/2014/main" id="{D171F906-05BB-A448-BB70-DAD7B9890CCB}"/>
                  </a:ext>
                </a:extLst>
              </p:cNvPr>
              <p:cNvGrpSpPr/>
              <p:nvPr/>
            </p:nvGrpSpPr>
            <p:grpSpPr>
              <a:xfrm>
                <a:off x="2901239" y="1600200"/>
                <a:ext cx="192882" cy="541338"/>
                <a:chOff x="8007350" y="3124200"/>
                <a:chExt cx="385763" cy="1082676"/>
              </a:xfrm>
              <a:grpFill/>
            </p:grpSpPr>
            <p:sp>
              <p:nvSpPr>
                <p:cNvPr id="39" name="Freeform 42">
                  <a:extLst>
                    <a:ext uri="{FF2B5EF4-FFF2-40B4-BE49-F238E27FC236}">
                      <a16:creationId xmlns:a16="http://schemas.microsoft.com/office/drawing/2014/main" id="{7480BD9D-A486-B745-9B47-00D3CE91819A}"/>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40" name="Oval 43">
                  <a:extLst>
                    <a:ext uri="{FF2B5EF4-FFF2-40B4-BE49-F238E27FC236}">
                      <a16:creationId xmlns:a16="http://schemas.microsoft.com/office/drawing/2014/main" id="{87493AF7-6435-B24B-8DA2-9E2FB1F0ED08}"/>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5" name="กลุ่ม 140">
                <a:extLst>
                  <a:ext uri="{FF2B5EF4-FFF2-40B4-BE49-F238E27FC236}">
                    <a16:creationId xmlns:a16="http://schemas.microsoft.com/office/drawing/2014/main" id="{B2C26DB5-6E9E-934D-A648-98D579ABC781}"/>
                  </a:ext>
                </a:extLst>
              </p:cNvPr>
              <p:cNvGrpSpPr/>
              <p:nvPr/>
            </p:nvGrpSpPr>
            <p:grpSpPr>
              <a:xfrm>
                <a:off x="3204451" y="1600200"/>
                <a:ext cx="192882" cy="541338"/>
                <a:chOff x="8613775" y="3124200"/>
                <a:chExt cx="385763" cy="1082676"/>
              </a:xfrm>
              <a:grpFill/>
            </p:grpSpPr>
            <p:sp>
              <p:nvSpPr>
                <p:cNvPr id="37" name="Freeform 44">
                  <a:extLst>
                    <a:ext uri="{FF2B5EF4-FFF2-40B4-BE49-F238E27FC236}">
                      <a16:creationId xmlns:a16="http://schemas.microsoft.com/office/drawing/2014/main" id="{A9578277-2401-1E4C-8E7F-CB83D96077AE}"/>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8" name="Oval 45">
                  <a:extLst>
                    <a:ext uri="{FF2B5EF4-FFF2-40B4-BE49-F238E27FC236}">
                      <a16:creationId xmlns:a16="http://schemas.microsoft.com/office/drawing/2014/main" id="{AAD324AF-E039-484F-988E-C17578EF3FE3}"/>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6" name="กลุ่ม 319">
                <a:extLst>
                  <a:ext uri="{FF2B5EF4-FFF2-40B4-BE49-F238E27FC236}">
                    <a16:creationId xmlns:a16="http://schemas.microsoft.com/office/drawing/2014/main" id="{4565274E-F29D-D848-B91E-4B2D14E1F044}"/>
                  </a:ext>
                </a:extLst>
              </p:cNvPr>
              <p:cNvGrpSpPr/>
              <p:nvPr/>
            </p:nvGrpSpPr>
            <p:grpSpPr>
              <a:xfrm>
                <a:off x="2598026" y="2247900"/>
                <a:ext cx="192882" cy="541338"/>
                <a:chOff x="7400925" y="3124200"/>
                <a:chExt cx="385763" cy="1082676"/>
              </a:xfrm>
              <a:grpFill/>
            </p:grpSpPr>
            <p:sp>
              <p:nvSpPr>
                <p:cNvPr id="35" name="Oval 40">
                  <a:extLst>
                    <a:ext uri="{FF2B5EF4-FFF2-40B4-BE49-F238E27FC236}">
                      <a16:creationId xmlns:a16="http://schemas.microsoft.com/office/drawing/2014/main" id="{97ADF921-5FA2-3D46-920E-355497674B68}"/>
                    </a:ext>
                  </a:extLst>
                </p:cNvPr>
                <p:cNvSpPr>
                  <a:spLocks noChangeArrowheads="1"/>
                </p:cNvSpPr>
                <p:nvPr/>
              </p:nvSpPr>
              <p:spPr bwMode="auto">
                <a:xfrm>
                  <a:off x="7512050"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6" name="Freeform 41">
                  <a:extLst>
                    <a:ext uri="{FF2B5EF4-FFF2-40B4-BE49-F238E27FC236}">
                      <a16:creationId xmlns:a16="http://schemas.microsoft.com/office/drawing/2014/main" id="{6B1DDDC2-5361-E744-B06E-F8C4EE7E80D5}"/>
                    </a:ext>
                  </a:extLst>
                </p:cNvPr>
                <p:cNvSpPr>
                  <a:spLocks/>
                </p:cNvSpPr>
                <p:nvPr/>
              </p:nvSpPr>
              <p:spPr bwMode="auto">
                <a:xfrm>
                  <a:off x="7400925"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7" name="กลุ่ม 322">
                <a:extLst>
                  <a:ext uri="{FF2B5EF4-FFF2-40B4-BE49-F238E27FC236}">
                    <a16:creationId xmlns:a16="http://schemas.microsoft.com/office/drawing/2014/main" id="{16FCCC6C-1D2C-2545-9A13-D5A8AEFA9A9B}"/>
                  </a:ext>
                </a:extLst>
              </p:cNvPr>
              <p:cNvGrpSpPr/>
              <p:nvPr/>
            </p:nvGrpSpPr>
            <p:grpSpPr>
              <a:xfrm>
                <a:off x="2901238" y="2247900"/>
                <a:ext cx="192882" cy="541338"/>
                <a:chOff x="8007350" y="3124200"/>
                <a:chExt cx="385763" cy="1082676"/>
              </a:xfrm>
              <a:grpFill/>
            </p:grpSpPr>
            <p:sp>
              <p:nvSpPr>
                <p:cNvPr id="33" name="Freeform 42">
                  <a:extLst>
                    <a:ext uri="{FF2B5EF4-FFF2-40B4-BE49-F238E27FC236}">
                      <a16:creationId xmlns:a16="http://schemas.microsoft.com/office/drawing/2014/main" id="{CF4F936A-BD2F-6E43-A115-D12053222B4A}"/>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4" name="Oval 43">
                  <a:extLst>
                    <a:ext uri="{FF2B5EF4-FFF2-40B4-BE49-F238E27FC236}">
                      <a16:creationId xmlns:a16="http://schemas.microsoft.com/office/drawing/2014/main" id="{84A9E413-3F7F-C04C-A1B7-EF1E098E88BB}"/>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 name="กลุ่ม 325">
                <a:extLst>
                  <a:ext uri="{FF2B5EF4-FFF2-40B4-BE49-F238E27FC236}">
                    <a16:creationId xmlns:a16="http://schemas.microsoft.com/office/drawing/2014/main" id="{2A8CF4DC-33D3-D94F-97EF-C8C7B9563E50}"/>
                  </a:ext>
                </a:extLst>
              </p:cNvPr>
              <p:cNvGrpSpPr/>
              <p:nvPr/>
            </p:nvGrpSpPr>
            <p:grpSpPr>
              <a:xfrm>
                <a:off x="3204451" y="2247900"/>
                <a:ext cx="192882" cy="541338"/>
                <a:chOff x="8613775" y="3124200"/>
                <a:chExt cx="385763" cy="1082676"/>
              </a:xfrm>
              <a:grpFill/>
            </p:grpSpPr>
            <p:sp>
              <p:nvSpPr>
                <p:cNvPr id="31" name="Freeform 30">
                  <a:extLst>
                    <a:ext uri="{FF2B5EF4-FFF2-40B4-BE49-F238E27FC236}">
                      <a16:creationId xmlns:a16="http://schemas.microsoft.com/office/drawing/2014/main" id="{BC50C789-D337-5843-AAD9-93796A04DA32}"/>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2" name="Oval 31">
                  <a:extLst>
                    <a:ext uri="{FF2B5EF4-FFF2-40B4-BE49-F238E27FC236}">
                      <a16:creationId xmlns:a16="http://schemas.microsoft.com/office/drawing/2014/main" id="{2162435C-B73D-6445-991B-50C1A1D00F6A}"/>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9" name="กลุ่ม 373">
                <a:extLst>
                  <a:ext uri="{FF2B5EF4-FFF2-40B4-BE49-F238E27FC236}">
                    <a16:creationId xmlns:a16="http://schemas.microsoft.com/office/drawing/2014/main" id="{129C89DA-3C6C-694D-ADB3-85FB2615560E}"/>
                  </a:ext>
                </a:extLst>
              </p:cNvPr>
              <p:cNvGrpSpPr/>
              <p:nvPr/>
            </p:nvGrpSpPr>
            <p:grpSpPr>
              <a:xfrm>
                <a:off x="1992395" y="2895600"/>
                <a:ext cx="192882" cy="541338"/>
                <a:chOff x="6189663" y="3124200"/>
                <a:chExt cx="385763" cy="1082676"/>
              </a:xfrm>
              <a:grpFill/>
            </p:grpSpPr>
            <p:sp>
              <p:nvSpPr>
                <p:cNvPr id="29" name="Oval 36">
                  <a:extLst>
                    <a:ext uri="{FF2B5EF4-FFF2-40B4-BE49-F238E27FC236}">
                      <a16:creationId xmlns:a16="http://schemas.microsoft.com/office/drawing/2014/main" id="{6068DC97-C10E-3C42-8DB4-08B8C07F50D3}"/>
                    </a:ext>
                  </a:extLst>
                </p:cNvPr>
                <p:cNvSpPr>
                  <a:spLocks noChangeArrowheads="1"/>
                </p:cNvSpPr>
                <p:nvPr/>
              </p:nvSpPr>
              <p:spPr bwMode="auto">
                <a:xfrm>
                  <a:off x="6299200"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Freeform 37">
                  <a:extLst>
                    <a:ext uri="{FF2B5EF4-FFF2-40B4-BE49-F238E27FC236}">
                      <a16:creationId xmlns:a16="http://schemas.microsoft.com/office/drawing/2014/main" id="{2C0726A1-E92C-AC4E-AE59-2B05CEEDC065}"/>
                    </a:ext>
                  </a:extLst>
                </p:cNvPr>
                <p:cNvSpPr>
                  <a:spLocks/>
                </p:cNvSpPr>
                <p:nvPr/>
              </p:nvSpPr>
              <p:spPr bwMode="auto">
                <a:xfrm>
                  <a:off x="6189663" y="3325813"/>
                  <a:ext cx="385763" cy="881063"/>
                </a:xfrm>
                <a:custGeom>
                  <a:avLst/>
                  <a:gdLst>
                    <a:gd name="T0" fmla="*/ 16 w 21"/>
                    <a:gd name="T1" fmla="*/ 0 h 48"/>
                    <a:gd name="T2" fmla="*/ 4 w 21"/>
                    <a:gd name="T3" fmla="*/ 0 h 48"/>
                    <a:gd name="T4" fmla="*/ 0 w 21"/>
                    <a:gd name="T5" fmla="*/ 4 h 48"/>
                    <a:gd name="T6" fmla="*/ 0 w 21"/>
                    <a:gd name="T7" fmla="*/ 20 h 48"/>
                    <a:gd name="T8" fmla="*/ 2 w 21"/>
                    <a:gd name="T9" fmla="*/ 22 h 48"/>
                    <a:gd name="T10" fmla="*/ 3 w 21"/>
                    <a:gd name="T11" fmla="*/ 20 h 48"/>
                    <a:gd name="T12" fmla="*/ 3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6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6" y="0"/>
                      </a:moveTo>
                      <a:cubicBezTo>
                        <a:pt x="4" y="0"/>
                        <a:pt x="4" y="0"/>
                        <a:pt x="4" y="0"/>
                      </a:cubicBezTo>
                      <a:cubicBezTo>
                        <a:pt x="2" y="0"/>
                        <a:pt x="0" y="2"/>
                        <a:pt x="0" y="4"/>
                      </a:cubicBezTo>
                      <a:cubicBezTo>
                        <a:pt x="0" y="20"/>
                        <a:pt x="0" y="20"/>
                        <a:pt x="0" y="20"/>
                      </a:cubicBezTo>
                      <a:cubicBezTo>
                        <a:pt x="0" y="21"/>
                        <a:pt x="1" y="22"/>
                        <a:pt x="2" y="22"/>
                      </a:cubicBezTo>
                      <a:cubicBezTo>
                        <a:pt x="3" y="22"/>
                        <a:pt x="3" y="21"/>
                        <a:pt x="3" y="20"/>
                      </a:cubicBezTo>
                      <a:cubicBezTo>
                        <a:pt x="3" y="5"/>
                        <a:pt x="3" y="5"/>
                        <a:pt x="3" y="5"/>
                      </a:cubicBezTo>
                      <a:cubicBezTo>
                        <a:pt x="4" y="5"/>
                        <a:pt x="4" y="5"/>
                        <a:pt x="4" y="5"/>
                      </a:cubicBezTo>
                      <a:cubicBezTo>
                        <a:pt x="4" y="45"/>
                        <a:pt x="4" y="45"/>
                        <a:pt x="4" y="45"/>
                      </a:cubicBezTo>
                      <a:cubicBezTo>
                        <a:pt x="4" y="47"/>
                        <a:pt x="5"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0" name="กลุ่ม 376">
                <a:extLst>
                  <a:ext uri="{FF2B5EF4-FFF2-40B4-BE49-F238E27FC236}">
                    <a16:creationId xmlns:a16="http://schemas.microsoft.com/office/drawing/2014/main" id="{C57B119F-0A72-5F43-BE8D-81BE2997C756}"/>
                  </a:ext>
                </a:extLst>
              </p:cNvPr>
              <p:cNvGrpSpPr/>
              <p:nvPr/>
            </p:nvGrpSpPr>
            <p:grpSpPr>
              <a:xfrm>
                <a:off x="2295607" y="2895600"/>
                <a:ext cx="192882" cy="541338"/>
                <a:chOff x="6796088" y="3124200"/>
                <a:chExt cx="385763" cy="1082676"/>
              </a:xfrm>
              <a:grpFill/>
            </p:grpSpPr>
            <p:sp>
              <p:nvSpPr>
                <p:cNvPr id="27" name="Oval 38">
                  <a:extLst>
                    <a:ext uri="{FF2B5EF4-FFF2-40B4-BE49-F238E27FC236}">
                      <a16:creationId xmlns:a16="http://schemas.microsoft.com/office/drawing/2014/main" id="{79354088-D087-BC4A-A27B-D6AFAEE391B0}"/>
                    </a:ext>
                  </a:extLst>
                </p:cNvPr>
                <p:cNvSpPr>
                  <a:spLocks noChangeArrowheads="1"/>
                </p:cNvSpPr>
                <p:nvPr/>
              </p:nvSpPr>
              <p:spPr bwMode="auto">
                <a:xfrm>
                  <a:off x="6905625"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8" name="Freeform 39">
                  <a:extLst>
                    <a:ext uri="{FF2B5EF4-FFF2-40B4-BE49-F238E27FC236}">
                      <a16:creationId xmlns:a16="http://schemas.microsoft.com/office/drawing/2014/main" id="{8910539A-CDA7-5844-8F25-585D343EFCA6}"/>
                    </a:ext>
                  </a:extLst>
                </p:cNvPr>
                <p:cNvSpPr>
                  <a:spLocks/>
                </p:cNvSpPr>
                <p:nvPr/>
              </p:nvSpPr>
              <p:spPr bwMode="auto">
                <a:xfrm>
                  <a:off x="6796088"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4 w 21"/>
                    <a:gd name="T15" fmla="*/ 5 h 48"/>
                    <a:gd name="T16" fmla="*/ 4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6 w 21"/>
                    <a:gd name="T31" fmla="*/ 45 h 48"/>
                    <a:gd name="T32" fmla="*/ 16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4" y="5"/>
                        <a:pt x="4" y="5"/>
                        <a:pt x="4" y="5"/>
                      </a:cubicBezTo>
                      <a:cubicBezTo>
                        <a:pt x="4" y="45"/>
                        <a:pt x="4" y="45"/>
                        <a:pt x="4" y="45"/>
                      </a:cubicBezTo>
                      <a:cubicBezTo>
                        <a:pt x="4" y="47"/>
                        <a:pt x="6" y="48"/>
                        <a:pt x="7" y="48"/>
                      </a:cubicBezTo>
                      <a:cubicBezTo>
                        <a:pt x="8" y="48"/>
                        <a:pt x="10" y="47"/>
                        <a:pt x="10" y="45"/>
                      </a:cubicBezTo>
                      <a:cubicBezTo>
                        <a:pt x="10" y="23"/>
                        <a:pt x="10" y="23"/>
                        <a:pt x="10" y="23"/>
                      </a:cubicBezTo>
                      <a:cubicBezTo>
                        <a:pt x="11" y="23"/>
                        <a:pt x="11" y="23"/>
                        <a:pt x="11" y="23"/>
                      </a:cubicBezTo>
                      <a:cubicBezTo>
                        <a:pt x="11" y="45"/>
                        <a:pt x="11" y="45"/>
                        <a:pt x="11" y="45"/>
                      </a:cubicBezTo>
                      <a:cubicBezTo>
                        <a:pt x="11" y="47"/>
                        <a:pt x="12" y="48"/>
                        <a:pt x="14" y="48"/>
                      </a:cubicBezTo>
                      <a:cubicBezTo>
                        <a:pt x="15" y="48"/>
                        <a:pt x="16" y="47"/>
                        <a:pt x="16" y="45"/>
                      </a:cubicBezTo>
                      <a:cubicBezTo>
                        <a:pt x="16" y="5"/>
                        <a:pt x="16" y="5"/>
                        <a:pt x="16"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1" name="กลุ่ม 442">
                <a:extLst>
                  <a:ext uri="{FF2B5EF4-FFF2-40B4-BE49-F238E27FC236}">
                    <a16:creationId xmlns:a16="http://schemas.microsoft.com/office/drawing/2014/main" id="{6086C700-3730-4148-9C7D-208C410BC27C}"/>
                  </a:ext>
                </a:extLst>
              </p:cNvPr>
              <p:cNvGrpSpPr/>
              <p:nvPr/>
            </p:nvGrpSpPr>
            <p:grpSpPr>
              <a:xfrm>
                <a:off x="2901239" y="3543300"/>
                <a:ext cx="192882" cy="541338"/>
                <a:chOff x="8007350" y="3124200"/>
                <a:chExt cx="385763" cy="1082676"/>
              </a:xfrm>
              <a:grpFill/>
            </p:grpSpPr>
            <p:sp>
              <p:nvSpPr>
                <p:cNvPr id="25" name="Freeform 42">
                  <a:extLst>
                    <a:ext uri="{FF2B5EF4-FFF2-40B4-BE49-F238E27FC236}">
                      <a16:creationId xmlns:a16="http://schemas.microsoft.com/office/drawing/2014/main" id="{2C5D5037-6F72-FA41-BB38-206D3D5B6C4D}"/>
                    </a:ext>
                  </a:extLst>
                </p:cNvPr>
                <p:cNvSpPr>
                  <a:spLocks/>
                </p:cNvSpPr>
                <p:nvPr/>
              </p:nvSpPr>
              <p:spPr bwMode="auto">
                <a:xfrm>
                  <a:off x="8007350" y="3325813"/>
                  <a:ext cx="385763" cy="881063"/>
                </a:xfrm>
                <a:custGeom>
                  <a:avLst/>
                  <a:gdLst>
                    <a:gd name="T0" fmla="*/ 17 w 21"/>
                    <a:gd name="T1" fmla="*/ 0 h 48"/>
                    <a:gd name="T2" fmla="*/ 4 w 21"/>
                    <a:gd name="T3" fmla="*/ 0 h 48"/>
                    <a:gd name="T4" fmla="*/ 0 w 21"/>
                    <a:gd name="T5" fmla="*/ 4 h 48"/>
                    <a:gd name="T6" fmla="*/ 0 w 21"/>
                    <a:gd name="T7" fmla="*/ 20 h 48"/>
                    <a:gd name="T8" fmla="*/ 2 w 21"/>
                    <a:gd name="T9" fmla="*/ 22 h 48"/>
                    <a:gd name="T10" fmla="*/ 4 w 21"/>
                    <a:gd name="T11" fmla="*/ 20 h 48"/>
                    <a:gd name="T12" fmla="*/ 4 w 21"/>
                    <a:gd name="T13" fmla="*/ 5 h 48"/>
                    <a:gd name="T14" fmla="*/ 5 w 21"/>
                    <a:gd name="T15" fmla="*/ 5 h 48"/>
                    <a:gd name="T16" fmla="*/ 5 w 21"/>
                    <a:gd name="T17" fmla="*/ 45 h 48"/>
                    <a:gd name="T18" fmla="*/ 7 w 21"/>
                    <a:gd name="T19" fmla="*/ 48 h 48"/>
                    <a:gd name="T20" fmla="*/ 10 w 21"/>
                    <a:gd name="T21" fmla="*/ 45 h 48"/>
                    <a:gd name="T22" fmla="*/ 10 w 21"/>
                    <a:gd name="T23" fmla="*/ 23 h 48"/>
                    <a:gd name="T24" fmla="*/ 11 w 21"/>
                    <a:gd name="T25" fmla="*/ 23 h 48"/>
                    <a:gd name="T26" fmla="*/ 11 w 21"/>
                    <a:gd name="T27" fmla="*/ 45 h 48"/>
                    <a:gd name="T28" fmla="*/ 14 w 21"/>
                    <a:gd name="T29" fmla="*/ 48 h 48"/>
                    <a:gd name="T30" fmla="*/ 17 w 21"/>
                    <a:gd name="T31" fmla="*/ 45 h 48"/>
                    <a:gd name="T32" fmla="*/ 17 w 21"/>
                    <a:gd name="T33" fmla="*/ 5 h 48"/>
                    <a:gd name="T34" fmla="*/ 17 w 21"/>
                    <a:gd name="T35" fmla="*/ 5 h 48"/>
                    <a:gd name="T36" fmla="*/ 17 w 21"/>
                    <a:gd name="T37" fmla="*/ 20 h 48"/>
                    <a:gd name="T38" fmla="*/ 19 w 21"/>
                    <a:gd name="T39" fmla="*/ 22 h 48"/>
                    <a:gd name="T40" fmla="*/ 21 w 21"/>
                    <a:gd name="T41" fmla="*/ 20 h 48"/>
                    <a:gd name="T42" fmla="*/ 21 w 21"/>
                    <a:gd name="T43" fmla="*/ 4 h 48"/>
                    <a:gd name="T44" fmla="*/ 17 w 21"/>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17" y="0"/>
                      </a:moveTo>
                      <a:cubicBezTo>
                        <a:pt x="4" y="0"/>
                        <a:pt x="4" y="0"/>
                        <a:pt x="4"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1" y="23"/>
                        <a:pt x="11" y="23"/>
                        <a:pt x="11" y="23"/>
                      </a:cubicBezTo>
                      <a:cubicBezTo>
                        <a:pt x="11" y="45"/>
                        <a:pt x="11" y="45"/>
                        <a:pt x="11" y="45"/>
                      </a:cubicBezTo>
                      <a:cubicBezTo>
                        <a:pt x="11" y="47"/>
                        <a:pt x="13" y="48"/>
                        <a:pt x="14" y="48"/>
                      </a:cubicBezTo>
                      <a:cubicBezTo>
                        <a:pt x="16" y="48"/>
                        <a:pt x="17" y="47"/>
                        <a:pt x="17" y="45"/>
                      </a:cubicBezTo>
                      <a:cubicBezTo>
                        <a:pt x="17" y="5"/>
                        <a:pt x="17" y="5"/>
                        <a:pt x="17" y="5"/>
                      </a:cubicBezTo>
                      <a:cubicBezTo>
                        <a:pt x="17" y="5"/>
                        <a:pt x="17" y="5"/>
                        <a:pt x="17" y="5"/>
                      </a:cubicBezTo>
                      <a:cubicBezTo>
                        <a:pt x="17" y="20"/>
                        <a:pt x="17" y="20"/>
                        <a:pt x="17" y="20"/>
                      </a:cubicBezTo>
                      <a:cubicBezTo>
                        <a:pt x="17" y="21"/>
                        <a:pt x="18" y="22"/>
                        <a:pt x="19" y="22"/>
                      </a:cubicBezTo>
                      <a:cubicBezTo>
                        <a:pt x="20" y="22"/>
                        <a:pt x="21" y="21"/>
                        <a:pt x="21" y="20"/>
                      </a:cubicBezTo>
                      <a:cubicBezTo>
                        <a:pt x="21" y="4"/>
                        <a:pt x="21" y="4"/>
                        <a:pt x="21" y="4"/>
                      </a:cubicBezTo>
                      <a:cubicBezTo>
                        <a:pt x="21" y="2"/>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6" name="Oval 43">
                  <a:extLst>
                    <a:ext uri="{FF2B5EF4-FFF2-40B4-BE49-F238E27FC236}">
                      <a16:creationId xmlns:a16="http://schemas.microsoft.com/office/drawing/2014/main" id="{7BC82864-A22A-2D46-BAB3-A96FD5D8F381}"/>
                    </a:ext>
                  </a:extLst>
                </p:cNvPr>
                <p:cNvSpPr>
                  <a:spLocks noChangeArrowheads="1"/>
                </p:cNvSpPr>
                <p:nvPr/>
              </p:nvSpPr>
              <p:spPr bwMode="auto">
                <a:xfrm>
                  <a:off x="8116888"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2" name="กลุ่ม 445">
                <a:extLst>
                  <a:ext uri="{FF2B5EF4-FFF2-40B4-BE49-F238E27FC236}">
                    <a16:creationId xmlns:a16="http://schemas.microsoft.com/office/drawing/2014/main" id="{D9119A8E-45EF-DD45-883A-A9EB37BD289E}"/>
                  </a:ext>
                </a:extLst>
              </p:cNvPr>
              <p:cNvGrpSpPr/>
              <p:nvPr/>
            </p:nvGrpSpPr>
            <p:grpSpPr>
              <a:xfrm>
                <a:off x="3204451" y="3543300"/>
                <a:ext cx="192882" cy="541338"/>
                <a:chOff x="8613775" y="3124200"/>
                <a:chExt cx="385763" cy="1082676"/>
              </a:xfrm>
              <a:grpFill/>
            </p:grpSpPr>
            <p:sp>
              <p:nvSpPr>
                <p:cNvPr id="23" name="Freeform 44">
                  <a:extLst>
                    <a:ext uri="{FF2B5EF4-FFF2-40B4-BE49-F238E27FC236}">
                      <a16:creationId xmlns:a16="http://schemas.microsoft.com/office/drawing/2014/main" id="{7F0A5232-6BE9-D849-9086-0F9908B1136D}"/>
                    </a:ext>
                  </a:extLst>
                </p:cNvPr>
                <p:cNvSpPr>
                  <a:spLocks/>
                </p:cNvSpPr>
                <p:nvPr/>
              </p:nvSpPr>
              <p:spPr bwMode="auto">
                <a:xfrm>
                  <a:off x="8613775" y="3325813"/>
                  <a:ext cx="385763" cy="881063"/>
                </a:xfrm>
                <a:custGeom>
                  <a:avLst/>
                  <a:gdLst>
                    <a:gd name="T0" fmla="*/ 21 w 21"/>
                    <a:gd name="T1" fmla="*/ 4 h 48"/>
                    <a:gd name="T2" fmla="*/ 17 w 21"/>
                    <a:gd name="T3" fmla="*/ 0 h 48"/>
                    <a:gd name="T4" fmla="*/ 5 w 21"/>
                    <a:gd name="T5" fmla="*/ 0 h 48"/>
                    <a:gd name="T6" fmla="*/ 0 w 21"/>
                    <a:gd name="T7" fmla="*/ 4 h 48"/>
                    <a:gd name="T8" fmla="*/ 0 w 21"/>
                    <a:gd name="T9" fmla="*/ 20 h 48"/>
                    <a:gd name="T10" fmla="*/ 2 w 21"/>
                    <a:gd name="T11" fmla="*/ 22 h 48"/>
                    <a:gd name="T12" fmla="*/ 4 w 21"/>
                    <a:gd name="T13" fmla="*/ 20 h 48"/>
                    <a:gd name="T14" fmla="*/ 4 w 21"/>
                    <a:gd name="T15" fmla="*/ 5 h 48"/>
                    <a:gd name="T16" fmla="*/ 5 w 21"/>
                    <a:gd name="T17" fmla="*/ 5 h 48"/>
                    <a:gd name="T18" fmla="*/ 5 w 21"/>
                    <a:gd name="T19" fmla="*/ 45 h 48"/>
                    <a:gd name="T20" fmla="*/ 7 w 21"/>
                    <a:gd name="T21" fmla="*/ 48 h 48"/>
                    <a:gd name="T22" fmla="*/ 10 w 21"/>
                    <a:gd name="T23" fmla="*/ 45 h 48"/>
                    <a:gd name="T24" fmla="*/ 10 w 21"/>
                    <a:gd name="T25" fmla="*/ 23 h 48"/>
                    <a:gd name="T26" fmla="*/ 12 w 21"/>
                    <a:gd name="T27" fmla="*/ 23 h 48"/>
                    <a:gd name="T28" fmla="*/ 12 w 21"/>
                    <a:gd name="T29" fmla="*/ 45 h 48"/>
                    <a:gd name="T30" fmla="*/ 14 w 21"/>
                    <a:gd name="T31" fmla="*/ 48 h 48"/>
                    <a:gd name="T32" fmla="*/ 17 w 21"/>
                    <a:gd name="T33" fmla="*/ 45 h 48"/>
                    <a:gd name="T34" fmla="*/ 17 w 21"/>
                    <a:gd name="T35" fmla="*/ 5 h 48"/>
                    <a:gd name="T36" fmla="*/ 18 w 21"/>
                    <a:gd name="T37" fmla="*/ 5 h 48"/>
                    <a:gd name="T38" fmla="*/ 18 w 21"/>
                    <a:gd name="T39" fmla="*/ 20 h 48"/>
                    <a:gd name="T40" fmla="*/ 19 w 21"/>
                    <a:gd name="T41" fmla="*/ 22 h 48"/>
                    <a:gd name="T42" fmla="*/ 21 w 21"/>
                    <a:gd name="T43" fmla="*/ 20 h 48"/>
                    <a:gd name="T44" fmla="*/ 21 w 21"/>
                    <a:gd name="T45"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48">
                      <a:moveTo>
                        <a:pt x="21" y="4"/>
                      </a:moveTo>
                      <a:cubicBezTo>
                        <a:pt x="21" y="2"/>
                        <a:pt x="19" y="0"/>
                        <a:pt x="17" y="0"/>
                      </a:cubicBezTo>
                      <a:cubicBezTo>
                        <a:pt x="5" y="0"/>
                        <a:pt x="5" y="0"/>
                        <a:pt x="5" y="0"/>
                      </a:cubicBezTo>
                      <a:cubicBezTo>
                        <a:pt x="2" y="0"/>
                        <a:pt x="0" y="2"/>
                        <a:pt x="0" y="4"/>
                      </a:cubicBezTo>
                      <a:cubicBezTo>
                        <a:pt x="0" y="20"/>
                        <a:pt x="0" y="20"/>
                        <a:pt x="0" y="20"/>
                      </a:cubicBezTo>
                      <a:cubicBezTo>
                        <a:pt x="0" y="21"/>
                        <a:pt x="1" y="22"/>
                        <a:pt x="2" y="22"/>
                      </a:cubicBezTo>
                      <a:cubicBezTo>
                        <a:pt x="3" y="22"/>
                        <a:pt x="4" y="21"/>
                        <a:pt x="4" y="20"/>
                      </a:cubicBezTo>
                      <a:cubicBezTo>
                        <a:pt x="4" y="5"/>
                        <a:pt x="4" y="5"/>
                        <a:pt x="4" y="5"/>
                      </a:cubicBezTo>
                      <a:cubicBezTo>
                        <a:pt x="5" y="5"/>
                        <a:pt x="5" y="5"/>
                        <a:pt x="5" y="5"/>
                      </a:cubicBezTo>
                      <a:cubicBezTo>
                        <a:pt x="5" y="45"/>
                        <a:pt x="5" y="45"/>
                        <a:pt x="5" y="45"/>
                      </a:cubicBezTo>
                      <a:cubicBezTo>
                        <a:pt x="5" y="47"/>
                        <a:pt x="6" y="48"/>
                        <a:pt x="7" y="48"/>
                      </a:cubicBezTo>
                      <a:cubicBezTo>
                        <a:pt x="9" y="48"/>
                        <a:pt x="10" y="47"/>
                        <a:pt x="10" y="45"/>
                      </a:cubicBezTo>
                      <a:cubicBezTo>
                        <a:pt x="10" y="23"/>
                        <a:pt x="10" y="23"/>
                        <a:pt x="10" y="23"/>
                      </a:cubicBezTo>
                      <a:cubicBezTo>
                        <a:pt x="12" y="23"/>
                        <a:pt x="12" y="23"/>
                        <a:pt x="12" y="23"/>
                      </a:cubicBezTo>
                      <a:cubicBezTo>
                        <a:pt x="12" y="45"/>
                        <a:pt x="12" y="45"/>
                        <a:pt x="12" y="45"/>
                      </a:cubicBezTo>
                      <a:cubicBezTo>
                        <a:pt x="12" y="47"/>
                        <a:pt x="13" y="48"/>
                        <a:pt x="14" y="48"/>
                      </a:cubicBezTo>
                      <a:cubicBezTo>
                        <a:pt x="16" y="48"/>
                        <a:pt x="17" y="47"/>
                        <a:pt x="17" y="45"/>
                      </a:cubicBezTo>
                      <a:cubicBezTo>
                        <a:pt x="17" y="5"/>
                        <a:pt x="17" y="5"/>
                        <a:pt x="17" y="5"/>
                      </a:cubicBezTo>
                      <a:cubicBezTo>
                        <a:pt x="18" y="5"/>
                        <a:pt x="18" y="5"/>
                        <a:pt x="18" y="5"/>
                      </a:cubicBezTo>
                      <a:cubicBezTo>
                        <a:pt x="18" y="20"/>
                        <a:pt x="18" y="20"/>
                        <a:pt x="18" y="20"/>
                      </a:cubicBezTo>
                      <a:cubicBezTo>
                        <a:pt x="18" y="21"/>
                        <a:pt x="18" y="22"/>
                        <a:pt x="19" y="22"/>
                      </a:cubicBezTo>
                      <a:cubicBezTo>
                        <a:pt x="20" y="22"/>
                        <a:pt x="21" y="21"/>
                        <a:pt x="21" y="20"/>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Oval 45">
                  <a:extLst>
                    <a:ext uri="{FF2B5EF4-FFF2-40B4-BE49-F238E27FC236}">
                      <a16:creationId xmlns:a16="http://schemas.microsoft.com/office/drawing/2014/main" id="{76A4A7D6-1B8D-754D-9852-9D828CC1B3B1}"/>
                    </a:ext>
                  </a:extLst>
                </p:cNvPr>
                <p:cNvSpPr>
                  <a:spLocks noChangeArrowheads="1"/>
                </p:cNvSpPr>
                <p:nvPr/>
              </p:nvSpPr>
              <p:spPr bwMode="auto">
                <a:xfrm>
                  <a:off x="8723313" y="312420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grpSp>
      <p:sp>
        <p:nvSpPr>
          <p:cNvPr id="97" name="TextBox 605">
            <a:extLst>
              <a:ext uri="{FF2B5EF4-FFF2-40B4-BE49-F238E27FC236}">
                <a16:creationId xmlns:a16="http://schemas.microsoft.com/office/drawing/2014/main" id="{8B51B5AB-A5C0-804D-8642-F3CB8D33064A}"/>
              </a:ext>
            </a:extLst>
          </p:cNvPr>
          <p:cNvSpPr txBox="1"/>
          <p:nvPr/>
        </p:nvSpPr>
        <p:spPr bwMode="auto">
          <a:xfrm>
            <a:off x="369925" y="4131271"/>
            <a:ext cx="654346" cy="400110"/>
          </a:xfrm>
          <a:prstGeom prst="rect">
            <a:avLst/>
          </a:prstGeom>
          <a:noFill/>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CB0">
                    <a:lumMod val="40000"/>
                    <a:lumOff val="60000"/>
                  </a:srgbClr>
                </a:solidFill>
                <a:effectLst/>
                <a:uLnTx/>
                <a:uFillTx/>
                <a:ea typeface="Lato" pitchFamily="34" charset="0"/>
                <a:cs typeface="Lato" pitchFamily="34" charset="0"/>
              </a:rPr>
              <a:t>Title</a:t>
            </a:r>
            <a:endParaRPr kumimoji="0" lang="id-ID" sz="2000" b="1" i="0" u="none" strike="noStrike" kern="1200" cap="none" spc="0" normalizeH="0" baseline="0" noProof="0" dirty="0">
              <a:ln>
                <a:noFill/>
              </a:ln>
              <a:solidFill>
                <a:srgbClr val="007CB0">
                  <a:lumMod val="40000"/>
                  <a:lumOff val="60000"/>
                </a:srgbClr>
              </a:solidFill>
              <a:effectLst/>
              <a:uLnTx/>
              <a:uFillTx/>
              <a:ea typeface="Lato" pitchFamily="34" charset="0"/>
              <a:cs typeface="Lato" pitchFamily="34" charset="0"/>
            </a:endParaRPr>
          </a:p>
        </p:txBody>
      </p:sp>
      <p:sp>
        <p:nvSpPr>
          <p:cNvPr id="98" name="TextBox 31">
            <a:extLst>
              <a:ext uri="{FF2B5EF4-FFF2-40B4-BE49-F238E27FC236}">
                <a16:creationId xmlns:a16="http://schemas.microsoft.com/office/drawing/2014/main" id="{1522D31C-B56C-CE4E-BC33-BBC5041C2102}"/>
              </a:ext>
            </a:extLst>
          </p:cNvPr>
          <p:cNvSpPr txBox="1">
            <a:spLocks noChangeArrowheads="1"/>
          </p:cNvSpPr>
          <p:nvPr/>
        </p:nvSpPr>
        <p:spPr bwMode="auto">
          <a:xfrm>
            <a:off x="369925" y="4484619"/>
            <a:ext cx="228366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7CB0">
                    <a:lumMod val="40000"/>
                    <a:lumOff val="60000"/>
                  </a:srgbClr>
                </a:solidFill>
                <a:effectLst/>
                <a:uLnTx/>
                <a:uFillTx/>
                <a:latin typeface="+mn-lt"/>
                <a:ea typeface="Lato Black" pitchFamily="34" charset="0"/>
                <a:cs typeface="Lato Black" pitchFamily="34" charset="0"/>
              </a:rPr>
              <a:t>25</a:t>
            </a:r>
            <a:r>
              <a:rPr kumimoji="0" lang="id-ID" sz="3200" b="1" i="0" u="none" strike="noStrike" kern="1200" cap="none" spc="0" normalizeH="0" baseline="0" noProof="0" dirty="0">
                <a:ln>
                  <a:noFill/>
                </a:ln>
                <a:solidFill>
                  <a:srgbClr val="007CB0">
                    <a:lumMod val="40000"/>
                    <a:lumOff val="60000"/>
                  </a:srgbClr>
                </a:solidFill>
                <a:effectLst/>
                <a:uLnTx/>
                <a:uFillTx/>
                <a:latin typeface="+mn-lt"/>
                <a:ea typeface="Lato Black" pitchFamily="34" charset="0"/>
                <a:cs typeface="Lato Black" pitchFamily="34" charset="0"/>
              </a:rPr>
              <a:t>%</a:t>
            </a:r>
          </a:p>
        </p:txBody>
      </p:sp>
      <p:sp>
        <p:nvSpPr>
          <p:cNvPr id="99" name="TextBox 30">
            <a:extLst>
              <a:ext uri="{FF2B5EF4-FFF2-40B4-BE49-F238E27FC236}">
                <a16:creationId xmlns:a16="http://schemas.microsoft.com/office/drawing/2014/main" id="{C792BB46-90FC-F54E-8111-6044DB587001}"/>
              </a:ext>
            </a:extLst>
          </p:cNvPr>
          <p:cNvSpPr txBox="1">
            <a:spLocks noChangeArrowheads="1"/>
          </p:cNvSpPr>
          <p:nvPr/>
        </p:nvSpPr>
        <p:spPr bwMode="auto">
          <a:xfrm>
            <a:off x="387620" y="4989407"/>
            <a:ext cx="2847192" cy="81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p:txBody>
      </p:sp>
      <p:sp>
        <p:nvSpPr>
          <p:cNvPr id="100" name="TextBox 608">
            <a:extLst>
              <a:ext uri="{FF2B5EF4-FFF2-40B4-BE49-F238E27FC236}">
                <a16:creationId xmlns:a16="http://schemas.microsoft.com/office/drawing/2014/main" id="{0F2F0B8B-4913-744A-BA9C-F9C0F023FDCE}"/>
              </a:ext>
            </a:extLst>
          </p:cNvPr>
          <p:cNvSpPr txBox="1"/>
          <p:nvPr/>
        </p:nvSpPr>
        <p:spPr bwMode="auto">
          <a:xfrm>
            <a:off x="4028395" y="4152900"/>
            <a:ext cx="654346" cy="400110"/>
          </a:xfrm>
          <a:prstGeom prst="rect">
            <a:avLst/>
          </a:prstGeom>
          <a:noFill/>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3B02A"/>
                </a:solidFill>
                <a:effectLst/>
                <a:uLnTx/>
                <a:uFillTx/>
                <a:ea typeface="Lato" pitchFamily="34" charset="0"/>
                <a:cs typeface="Lato" pitchFamily="34" charset="0"/>
              </a:rPr>
              <a:t>Title</a:t>
            </a:r>
            <a:endParaRPr kumimoji="0" lang="id-ID" sz="2000" b="1" i="0" u="none" strike="noStrike" kern="1200" cap="none" spc="0" normalizeH="0" baseline="0" noProof="0" dirty="0">
              <a:ln>
                <a:noFill/>
              </a:ln>
              <a:solidFill>
                <a:srgbClr val="43B02A"/>
              </a:solidFill>
              <a:effectLst/>
              <a:uLnTx/>
              <a:uFillTx/>
              <a:ea typeface="Lato" pitchFamily="34" charset="0"/>
              <a:cs typeface="Lato" pitchFamily="34" charset="0"/>
            </a:endParaRPr>
          </a:p>
        </p:txBody>
      </p:sp>
      <p:sp>
        <p:nvSpPr>
          <p:cNvPr id="101" name="TextBox 31">
            <a:extLst>
              <a:ext uri="{FF2B5EF4-FFF2-40B4-BE49-F238E27FC236}">
                <a16:creationId xmlns:a16="http://schemas.microsoft.com/office/drawing/2014/main" id="{7D9F6751-8817-8C46-AC10-DA0F3E58738F}"/>
              </a:ext>
            </a:extLst>
          </p:cNvPr>
          <p:cNvSpPr txBox="1">
            <a:spLocks noChangeArrowheads="1"/>
          </p:cNvSpPr>
          <p:nvPr/>
        </p:nvSpPr>
        <p:spPr bwMode="auto">
          <a:xfrm>
            <a:off x="3990549" y="4506248"/>
            <a:ext cx="25749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3B02A"/>
                </a:solidFill>
                <a:effectLst/>
                <a:uLnTx/>
                <a:uFillTx/>
                <a:latin typeface="+mn-lt"/>
                <a:ea typeface="Lato Black" pitchFamily="34" charset="0"/>
                <a:cs typeface="Lato Black" pitchFamily="34" charset="0"/>
              </a:rPr>
              <a:t>75</a:t>
            </a:r>
            <a:r>
              <a:rPr kumimoji="0" lang="id-ID" sz="3200" b="1" i="0" u="none" strike="noStrike" kern="1200" cap="none" spc="0" normalizeH="0" baseline="0" noProof="0" dirty="0">
                <a:ln>
                  <a:noFill/>
                </a:ln>
                <a:solidFill>
                  <a:srgbClr val="43B02A"/>
                </a:solidFill>
                <a:effectLst/>
                <a:uLnTx/>
                <a:uFillTx/>
                <a:latin typeface="+mn-lt"/>
                <a:ea typeface="Lato Black" pitchFamily="34" charset="0"/>
                <a:cs typeface="Lato Black" pitchFamily="34" charset="0"/>
              </a:rPr>
              <a:t>%</a:t>
            </a:r>
          </a:p>
        </p:txBody>
      </p:sp>
      <p:sp>
        <p:nvSpPr>
          <p:cNvPr id="102" name="TextBox 30">
            <a:extLst>
              <a:ext uri="{FF2B5EF4-FFF2-40B4-BE49-F238E27FC236}">
                <a16:creationId xmlns:a16="http://schemas.microsoft.com/office/drawing/2014/main" id="{2D3F45A2-4EA0-1241-A6E2-AA6977F046EE}"/>
              </a:ext>
            </a:extLst>
          </p:cNvPr>
          <p:cNvSpPr txBox="1">
            <a:spLocks noChangeArrowheads="1"/>
          </p:cNvSpPr>
          <p:nvPr/>
        </p:nvSpPr>
        <p:spPr bwMode="auto">
          <a:xfrm>
            <a:off x="4024844" y="4994640"/>
            <a:ext cx="2847192" cy="793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Lato" pitchFamily="34" charset="0"/>
                <a:cs typeface="Lato" pitchFamily="34" charset="0"/>
              </a:rPr>
              <a:t>Category detail.</a:t>
            </a:r>
          </a:p>
        </p:txBody>
      </p:sp>
      <p:grpSp>
        <p:nvGrpSpPr>
          <p:cNvPr id="103" name="Group 102">
            <a:extLst>
              <a:ext uri="{FF2B5EF4-FFF2-40B4-BE49-F238E27FC236}">
                <a16:creationId xmlns:a16="http://schemas.microsoft.com/office/drawing/2014/main" id="{6B7CFF5B-6128-9846-99D6-D00860E12E4A}"/>
              </a:ext>
            </a:extLst>
          </p:cNvPr>
          <p:cNvGrpSpPr/>
          <p:nvPr/>
        </p:nvGrpSpPr>
        <p:grpSpPr>
          <a:xfrm>
            <a:off x="4097338" y="1592262"/>
            <a:ext cx="2056607" cy="2484438"/>
            <a:chOff x="4097338" y="1592262"/>
            <a:chExt cx="2056607" cy="2484438"/>
          </a:xfrm>
          <a:solidFill>
            <a:schemeClr val="accent4">
              <a:lumMod val="75000"/>
            </a:schemeClr>
          </a:solidFill>
        </p:grpSpPr>
        <p:grpSp>
          <p:nvGrpSpPr>
            <p:cNvPr id="104" name="กลุ่ม 485">
              <a:extLst>
                <a:ext uri="{FF2B5EF4-FFF2-40B4-BE49-F238E27FC236}">
                  <a16:creationId xmlns:a16="http://schemas.microsoft.com/office/drawing/2014/main" id="{A9550B35-96C2-7440-B7AF-CEB31A962B63}"/>
                </a:ext>
              </a:extLst>
            </p:cNvPr>
            <p:cNvGrpSpPr/>
            <p:nvPr/>
          </p:nvGrpSpPr>
          <p:grpSpPr>
            <a:xfrm>
              <a:off x="4097338" y="1592262"/>
              <a:ext cx="229394" cy="541338"/>
              <a:chOff x="3105150" y="8172450"/>
              <a:chExt cx="458788" cy="1082676"/>
            </a:xfrm>
            <a:grpFill/>
          </p:grpSpPr>
          <p:sp>
            <p:nvSpPr>
              <p:cNvPr id="174" name="Freeform 72">
                <a:extLst>
                  <a:ext uri="{FF2B5EF4-FFF2-40B4-BE49-F238E27FC236}">
                    <a16:creationId xmlns:a16="http://schemas.microsoft.com/office/drawing/2014/main" id="{BCB2C909-5559-044F-A968-F596A6AFABEF}"/>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75" name="Oval 73">
                <a:extLst>
                  <a:ext uri="{FF2B5EF4-FFF2-40B4-BE49-F238E27FC236}">
                    <a16:creationId xmlns:a16="http://schemas.microsoft.com/office/drawing/2014/main" id="{18D345BF-1E56-0946-A831-ACF4F8813DD1}"/>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5" name="กลุ่ม 486">
              <a:extLst>
                <a:ext uri="{FF2B5EF4-FFF2-40B4-BE49-F238E27FC236}">
                  <a16:creationId xmlns:a16="http://schemas.microsoft.com/office/drawing/2014/main" id="{517BE8AA-9434-1A4E-927B-53F1BB07859A}"/>
                </a:ext>
              </a:extLst>
            </p:cNvPr>
            <p:cNvGrpSpPr/>
            <p:nvPr/>
          </p:nvGrpSpPr>
          <p:grpSpPr>
            <a:xfrm>
              <a:off x="4399757" y="1592262"/>
              <a:ext cx="230188" cy="541338"/>
              <a:chOff x="3709988" y="8172450"/>
              <a:chExt cx="460375" cy="1082676"/>
            </a:xfrm>
            <a:grpFill/>
          </p:grpSpPr>
          <p:sp>
            <p:nvSpPr>
              <p:cNvPr id="172" name="Freeform 74">
                <a:extLst>
                  <a:ext uri="{FF2B5EF4-FFF2-40B4-BE49-F238E27FC236}">
                    <a16:creationId xmlns:a16="http://schemas.microsoft.com/office/drawing/2014/main" id="{4EF01DEA-2A6B-4B4B-AD37-A3EDFE305D2B}"/>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73" name="Oval 75">
                <a:extLst>
                  <a:ext uri="{FF2B5EF4-FFF2-40B4-BE49-F238E27FC236}">
                    <a16:creationId xmlns:a16="http://schemas.microsoft.com/office/drawing/2014/main" id="{CAF81240-2E73-7241-AD4C-59951EC5B8ED}"/>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6" name="กลุ่ม 487">
              <a:extLst>
                <a:ext uri="{FF2B5EF4-FFF2-40B4-BE49-F238E27FC236}">
                  <a16:creationId xmlns:a16="http://schemas.microsoft.com/office/drawing/2014/main" id="{2D4EEADD-795C-3742-A6D4-5ED36675BF8F}"/>
                </a:ext>
              </a:extLst>
            </p:cNvPr>
            <p:cNvGrpSpPr/>
            <p:nvPr/>
          </p:nvGrpSpPr>
          <p:grpSpPr>
            <a:xfrm>
              <a:off x="4712495" y="1592262"/>
              <a:ext cx="219869" cy="541338"/>
              <a:chOff x="4335463" y="8172450"/>
              <a:chExt cx="439738" cy="1082676"/>
            </a:xfrm>
            <a:grpFill/>
          </p:grpSpPr>
          <p:sp>
            <p:nvSpPr>
              <p:cNvPr id="170" name="Freeform 76">
                <a:extLst>
                  <a:ext uri="{FF2B5EF4-FFF2-40B4-BE49-F238E27FC236}">
                    <a16:creationId xmlns:a16="http://schemas.microsoft.com/office/drawing/2014/main" id="{AC49609C-839A-0141-9136-9C03306D04EA}"/>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71" name="Oval 77">
                <a:extLst>
                  <a:ext uri="{FF2B5EF4-FFF2-40B4-BE49-F238E27FC236}">
                    <a16:creationId xmlns:a16="http://schemas.microsoft.com/office/drawing/2014/main" id="{E7C68F56-3ADB-1542-B33D-8225CAEFEB3D}"/>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7" name="กลุ่ม 488">
              <a:extLst>
                <a:ext uri="{FF2B5EF4-FFF2-40B4-BE49-F238E27FC236}">
                  <a16:creationId xmlns:a16="http://schemas.microsoft.com/office/drawing/2014/main" id="{24097414-F467-294E-BAF3-0CBF51B29E0C}"/>
                </a:ext>
              </a:extLst>
            </p:cNvPr>
            <p:cNvGrpSpPr/>
            <p:nvPr/>
          </p:nvGrpSpPr>
          <p:grpSpPr>
            <a:xfrm>
              <a:off x="5014913" y="1592262"/>
              <a:ext cx="220663" cy="541338"/>
              <a:chOff x="4940300" y="8172450"/>
              <a:chExt cx="441325" cy="1082676"/>
            </a:xfrm>
            <a:grpFill/>
          </p:grpSpPr>
          <p:sp>
            <p:nvSpPr>
              <p:cNvPr id="168" name="Freeform 78">
                <a:extLst>
                  <a:ext uri="{FF2B5EF4-FFF2-40B4-BE49-F238E27FC236}">
                    <a16:creationId xmlns:a16="http://schemas.microsoft.com/office/drawing/2014/main" id="{5BFCA1ED-F0E5-3F47-B8DE-6A3AB209ED0B}"/>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9" name="Oval 79">
                <a:extLst>
                  <a:ext uri="{FF2B5EF4-FFF2-40B4-BE49-F238E27FC236}">
                    <a16:creationId xmlns:a16="http://schemas.microsoft.com/office/drawing/2014/main" id="{C2B87796-D433-DC4F-B180-4E748AB3EC77}"/>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8" name="กลุ่ม 489">
              <a:extLst>
                <a:ext uri="{FF2B5EF4-FFF2-40B4-BE49-F238E27FC236}">
                  <a16:creationId xmlns:a16="http://schemas.microsoft.com/office/drawing/2014/main" id="{8E3342C8-EDDA-DF46-AC1B-04A4E7116713}"/>
                </a:ext>
              </a:extLst>
            </p:cNvPr>
            <p:cNvGrpSpPr/>
            <p:nvPr/>
          </p:nvGrpSpPr>
          <p:grpSpPr>
            <a:xfrm>
              <a:off x="5318126" y="1592262"/>
              <a:ext cx="220663" cy="541338"/>
              <a:chOff x="5546725" y="8172450"/>
              <a:chExt cx="441325" cy="1082676"/>
            </a:xfrm>
            <a:grpFill/>
          </p:grpSpPr>
          <p:sp>
            <p:nvSpPr>
              <p:cNvPr id="166" name="Freeform 80">
                <a:extLst>
                  <a:ext uri="{FF2B5EF4-FFF2-40B4-BE49-F238E27FC236}">
                    <a16:creationId xmlns:a16="http://schemas.microsoft.com/office/drawing/2014/main" id="{EE508724-87B0-5547-B582-71C1CD36EEE2}"/>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7" name="Oval 81">
                <a:extLst>
                  <a:ext uri="{FF2B5EF4-FFF2-40B4-BE49-F238E27FC236}">
                    <a16:creationId xmlns:a16="http://schemas.microsoft.com/office/drawing/2014/main" id="{0F4F07F8-D4BD-7A41-8C20-E399F8454715}"/>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9" name="กลุ่ม 490">
              <a:extLst>
                <a:ext uri="{FF2B5EF4-FFF2-40B4-BE49-F238E27FC236}">
                  <a16:creationId xmlns:a16="http://schemas.microsoft.com/office/drawing/2014/main" id="{DD639837-C580-FF41-909C-047B359F5E8B}"/>
                </a:ext>
              </a:extLst>
            </p:cNvPr>
            <p:cNvGrpSpPr/>
            <p:nvPr/>
          </p:nvGrpSpPr>
          <p:grpSpPr>
            <a:xfrm>
              <a:off x="5621338" y="1592262"/>
              <a:ext cx="229394" cy="541338"/>
              <a:chOff x="6153150" y="8172450"/>
              <a:chExt cx="458788" cy="1082676"/>
            </a:xfrm>
            <a:grpFill/>
          </p:grpSpPr>
          <p:sp>
            <p:nvSpPr>
              <p:cNvPr id="164" name="Freeform 82">
                <a:extLst>
                  <a:ext uri="{FF2B5EF4-FFF2-40B4-BE49-F238E27FC236}">
                    <a16:creationId xmlns:a16="http://schemas.microsoft.com/office/drawing/2014/main" id="{AD0233DA-1DAB-AA4A-ABFA-95EA9074F51A}"/>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5" name="Oval 83">
                <a:extLst>
                  <a:ext uri="{FF2B5EF4-FFF2-40B4-BE49-F238E27FC236}">
                    <a16:creationId xmlns:a16="http://schemas.microsoft.com/office/drawing/2014/main" id="{2C097E3A-1701-0A4D-8BF9-2EB5F4F65EB0}"/>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0" name="กลุ่ม 491">
              <a:extLst>
                <a:ext uri="{FF2B5EF4-FFF2-40B4-BE49-F238E27FC236}">
                  <a16:creationId xmlns:a16="http://schemas.microsoft.com/office/drawing/2014/main" id="{5B119789-189C-8F4F-AA60-7F0924C6A1DA}"/>
                </a:ext>
              </a:extLst>
            </p:cNvPr>
            <p:cNvGrpSpPr/>
            <p:nvPr/>
          </p:nvGrpSpPr>
          <p:grpSpPr>
            <a:xfrm>
              <a:off x="5923757" y="1592262"/>
              <a:ext cx="230188" cy="541338"/>
              <a:chOff x="6757988" y="8172450"/>
              <a:chExt cx="460375" cy="1082676"/>
            </a:xfrm>
            <a:grpFill/>
          </p:grpSpPr>
          <p:sp>
            <p:nvSpPr>
              <p:cNvPr id="162" name="Freeform 84">
                <a:extLst>
                  <a:ext uri="{FF2B5EF4-FFF2-40B4-BE49-F238E27FC236}">
                    <a16:creationId xmlns:a16="http://schemas.microsoft.com/office/drawing/2014/main" id="{2DB32CE7-6B13-484C-8040-9580C98042EA}"/>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3" name="Oval 85">
                <a:extLst>
                  <a:ext uri="{FF2B5EF4-FFF2-40B4-BE49-F238E27FC236}">
                    <a16:creationId xmlns:a16="http://schemas.microsoft.com/office/drawing/2014/main" id="{2BBE6AAE-DD97-D343-B7B7-6DBADC8D539C}"/>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1" name="กลุ่ม 495">
              <a:extLst>
                <a:ext uri="{FF2B5EF4-FFF2-40B4-BE49-F238E27FC236}">
                  <a16:creationId xmlns:a16="http://schemas.microsoft.com/office/drawing/2014/main" id="{F979A536-AEF0-824A-B3EB-039E2AB30EB4}"/>
                </a:ext>
              </a:extLst>
            </p:cNvPr>
            <p:cNvGrpSpPr/>
            <p:nvPr/>
          </p:nvGrpSpPr>
          <p:grpSpPr>
            <a:xfrm>
              <a:off x="4097338" y="2239962"/>
              <a:ext cx="229394" cy="541338"/>
              <a:chOff x="3105150" y="8172450"/>
              <a:chExt cx="458788" cy="1082676"/>
            </a:xfrm>
            <a:grpFill/>
          </p:grpSpPr>
          <p:sp>
            <p:nvSpPr>
              <p:cNvPr id="160" name="Freeform 72">
                <a:extLst>
                  <a:ext uri="{FF2B5EF4-FFF2-40B4-BE49-F238E27FC236}">
                    <a16:creationId xmlns:a16="http://schemas.microsoft.com/office/drawing/2014/main" id="{06464AFE-5203-B94D-BDD4-2DA31866B2B7}"/>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61" name="Oval 73">
                <a:extLst>
                  <a:ext uri="{FF2B5EF4-FFF2-40B4-BE49-F238E27FC236}">
                    <a16:creationId xmlns:a16="http://schemas.microsoft.com/office/drawing/2014/main" id="{22A51880-736E-FD4B-8511-B6BD36E139FC}"/>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2" name="กลุ่ม 496">
              <a:extLst>
                <a:ext uri="{FF2B5EF4-FFF2-40B4-BE49-F238E27FC236}">
                  <a16:creationId xmlns:a16="http://schemas.microsoft.com/office/drawing/2014/main" id="{FEFFFE34-B92A-5544-A736-B354951BE7FC}"/>
                </a:ext>
              </a:extLst>
            </p:cNvPr>
            <p:cNvGrpSpPr/>
            <p:nvPr/>
          </p:nvGrpSpPr>
          <p:grpSpPr>
            <a:xfrm>
              <a:off x="4399757" y="2239962"/>
              <a:ext cx="230188" cy="541338"/>
              <a:chOff x="3709988" y="8172450"/>
              <a:chExt cx="460375" cy="1082676"/>
            </a:xfrm>
            <a:grpFill/>
          </p:grpSpPr>
          <p:sp>
            <p:nvSpPr>
              <p:cNvPr id="158" name="Freeform 74">
                <a:extLst>
                  <a:ext uri="{FF2B5EF4-FFF2-40B4-BE49-F238E27FC236}">
                    <a16:creationId xmlns:a16="http://schemas.microsoft.com/office/drawing/2014/main" id="{3F344AA9-14E1-FD44-8ADA-C3ABD34968DA}"/>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9" name="Oval 75">
                <a:extLst>
                  <a:ext uri="{FF2B5EF4-FFF2-40B4-BE49-F238E27FC236}">
                    <a16:creationId xmlns:a16="http://schemas.microsoft.com/office/drawing/2014/main" id="{6ED8AC93-14E2-1844-990C-E715D94EBC80}"/>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3" name="กลุ่ม 497">
              <a:extLst>
                <a:ext uri="{FF2B5EF4-FFF2-40B4-BE49-F238E27FC236}">
                  <a16:creationId xmlns:a16="http://schemas.microsoft.com/office/drawing/2014/main" id="{D900D4E6-BCD1-5B48-AEB5-49C1E6C48BAC}"/>
                </a:ext>
              </a:extLst>
            </p:cNvPr>
            <p:cNvGrpSpPr/>
            <p:nvPr/>
          </p:nvGrpSpPr>
          <p:grpSpPr>
            <a:xfrm>
              <a:off x="4712495" y="2239962"/>
              <a:ext cx="219869" cy="541338"/>
              <a:chOff x="4335463" y="8172450"/>
              <a:chExt cx="439738" cy="1082676"/>
            </a:xfrm>
            <a:grpFill/>
          </p:grpSpPr>
          <p:sp>
            <p:nvSpPr>
              <p:cNvPr id="156" name="Freeform 76">
                <a:extLst>
                  <a:ext uri="{FF2B5EF4-FFF2-40B4-BE49-F238E27FC236}">
                    <a16:creationId xmlns:a16="http://schemas.microsoft.com/office/drawing/2014/main" id="{7DBA09C5-01BA-D549-8D21-B580403397B5}"/>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7" name="Oval 77">
                <a:extLst>
                  <a:ext uri="{FF2B5EF4-FFF2-40B4-BE49-F238E27FC236}">
                    <a16:creationId xmlns:a16="http://schemas.microsoft.com/office/drawing/2014/main" id="{15DC6284-3411-8A45-A509-0162988F90F4}"/>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4" name="กลุ่ม 505">
              <a:extLst>
                <a:ext uri="{FF2B5EF4-FFF2-40B4-BE49-F238E27FC236}">
                  <a16:creationId xmlns:a16="http://schemas.microsoft.com/office/drawing/2014/main" id="{C7F62BC0-BAB0-DA4A-9EE8-CD31BB48E585}"/>
                </a:ext>
              </a:extLst>
            </p:cNvPr>
            <p:cNvGrpSpPr/>
            <p:nvPr/>
          </p:nvGrpSpPr>
          <p:grpSpPr>
            <a:xfrm>
              <a:off x="4097338" y="2887662"/>
              <a:ext cx="229394" cy="541338"/>
              <a:chOff x="3105150" y="8172450"/>
              <a:chExt cx="458788" cy="1082676"/>
            </a:xfrm>
            <a:grpFill/>
          </p:grpSpPr>
          <p:sp>
            <p:nvSpPr>
              <p:cNvPr id="154" name="Freeform 72">
                <a:extLst>
                  <a:ext uri="{FF2B5EF4-FFF2-40B4-BE49-F238E27FC236}">
                    <a16:creationId xmlns:a16="http://schemas.microsoft.com/office/drawing/2014/main" id="{3B5B8F1B-CBA8-8B4A-B860-1FCEAB8348B2}"/>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5" name="Oval 73">
                <a:extLst>
                  <a:ext uri="{FF2B5EF4-FFF2-40B4-BE49-F238E27FC236}">
                    <a16:creationId xmlns:a16="http://schemas.microsoft.com/office/drawing/2014/main" id="{B9CCA09B-0574-2C4D-91B3-FDB87333CE2D}"/>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5" name="กลุ่ม 506">
              <a:extLst>
                <a:ext uri="{FF2B5EF4-FFF2-40B4-BE49-F238E27FC236}">
                  <a16:creationId xmlns:a16="http://schemas.microsoft.com/office/drawing/2014/main" id="{6944A601-C636-CE48-A278-DDAD9FC213E5}"/>
                </a:ext>
              </a:extLst>
            </p:cNvPr>
            <p:cNvGrpSpPr/>
            <p:nvPr/>
          </p:nvGrpSpPr>
          <p:grpSpPr>
            <a:xfrm>
              <a:off x="4399757" y="2887662"/>
              <a:ext cx="230188" cy="541338"/>
              <a:chOff x="3709988" y="8172450"/>
              <a:chExt cx="460375" cy="1082676"/>
            </a:xfrm>
            <a:grpFill/>
          </p:grpSpPr>
          <p:sp>
            <p:nvSpPr>
              <p:cNvPr id="152" name="Freeform 74">
                <a:extLst>
                  <a:ext uri="{FF2B5EF4-FFF2-40B4-BE49-F238E27FC236}">
                    <a16:creationId xmlns:a16="http://schemas.microsoft.com/office/drawing/2014/main" id="{2142416B-EC34-9745-83B3-B0FC43DFF98B}"/>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3" name="Oval 75">
                <a:extLst>
                  <a:ext uri="{FF2B5EF4-FFF2-40B4-BE49-F238E27FC236}">
                    <a16:creationId xmlns:a16="http://schemas.microsoft.com/office/drawing/2014/main" id="{534935A8-68E1-974E-A0EB-CF9852512522}"/>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6" name="กลุ่ม 507">
              <a:extLst>
                <a:ext uri="{FF2B5EF4-FFF2-40B4-BE49-F238E27FC236}">
                  <a16:creationId xmlns:a16="http://schemas.microsoft.com/office/drawing/2014/main" id="{A6E543F7-B4E4-2546-AD6B-CF5D48C99800}"/>
                </a:ext>
              </a:extLst>
            </p:cNvPr>
            <p:cNvGrpSpPr/>
            <p:nvPr/>
          </p:nvGrpSpPr>
          <p:grpSpPr>
            <a:xfrm>
              <a:off x="4712494" y="2887662"/>
              <a:ext cx="219869" cy="541338"/>
              <a:chOff x="4335463" y="8172450"/>
              <a:chExt cx="439738" cy="1082676"/>
            </a:xfrm>
            <a:grpFill/>
          </p:grpSpPr>
          <p:sp>
            <p:nvSpPr>
              <p:cNvPr id="150" name="Freeform 76">
                <a:extLst>
                  <a:ext uri="{FF2B5EF4-FFF2-40B4-BE49-F238E27FC236}">
                    <a16:creationId xmlns:a16="http://schemas.microsoft.com/office/drawing/2014/main" id="{D2228861-E6CF-0A42-82A5-EC9F2490D5CF}"/>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51" name="Oval 77">
                <a:extLst>
                  <a:ext uri="{FF2B5EF4-FFF2-40B4-BE49-F238E27FC236}">
                    <a16:creationId xmlns:a16="http://schemas.microsoft.com/office/drawing/2014/main" id="{8D3A6690-4362-7043-80A0-28A5754A68B1}"/>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7" name="กลุ่ม 508">
              <a:extLst>
                <a:ext uri="{FF2B5EF4-FFF2-40B4-BE49-F238E27FC236}">
                  <a16:creationId xmlns:a16="http://schemas.microsoft.com/office/drawing/2014/main" id="{9CDBF506-6AB0-9B4E-A8AF-CE2AF9B32B32}"/>
                </a:ext>
              </a:extLst>
            </p:cNvPr>
            <p:cNvGrpSpPr/>
            <p:nvPr/>
          </p:nvGrpSpPr>
          <p:grpSpPr>
            <a:xfrm>
              <a:off x="5014913" y="2887662"/>
              <a:ext cx="220663" cy="541338"/>
              <a:chOff x="4940300" y="8172450"/>
              <a:chExt cx="441325" cy="1082676"/>
            </a:xfrm>
            <a:grpFill/>
          </p:grpSpPr>
          <p:sp>
            <p:nvSpPr>
              <p:cNvPr id="148" name="Freeform 78">
                <a:extLst>
                  <a:ext uri="{FF2B5EF4-FFF2-40B4-BE49-F238E27FC236}">
                    <a16:creationId xmlns:a16="http://schemas.microsoft.com/office/drawing/2014/main" id="{D628EF3E-8FEB-E346-A8AF-1B19C834D695}"/>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9" name="Oval 79">
                <a:extLst>
                  <a:ext uri="{FF2B5EF4-FFF2-40B4-BE49-F238E27FC236}">
                    <a16:creationId xmlns:a16="http://schemas.microsoft.com/office/drawing/2014/main" id="{A3687F60-BCC4-EB4F-8AB3-3966BC0F2713}"/>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8" name="กลุ่ม 509">
              <a:extLst>
                <a:ext uri="{FF2B5EF4-FFF2-40B4-BE49-F238E27FC236}">
                  <a16:creationId xmlns:a16="http://schemas.microsoft.com/office/drawing/2014/main" id="{DA25D656-BD3C-A14A-A6E8-C3EC065B6631}"/>
                </a:ext>
              </a:extLst>
            </p:cNvPr>
            <p:cNvGrpSpPr/>
            <p:nvPr/>
          </p:nvGrpSpPr>
          <p:grpSpPr>
            <a:xfrm>
              <a:off x="5318125" y="2887662"/>
              <a:ext cx="220663" cy="541338"/>
              <a:chOff x="5546725" y="8172450"/>
              <a:chExt cx="441325" cy="1082676"/>
            </a:xfrm>
            <a:grpFill/>
          </p:grpSpPr>
          <p:sp>
            <p:nvSpPr>
              <p:cNvPr id="146" name="Freeform 80">
                <a:extLst>
                  <a:ext uri="{FF2B5EF4-FFF2-40B4-BE49-F238E27FC236}">
                    <a16:creationId xmlns:a16="http://schemas.microsoft.com/office/drawing/2014/main" id="{3BAFBCCE-F923-8D48-BDC9-0783F2819E34}"/>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7" name="Oval 81">
                <a:extLst>
                  <a:ext uri="{FF2B5EF4-FFF2-40B4-BE49-F238E27FC236}">
                    <a16:creationId xmlns:a16="http://schemas.microsoft.com/office/drawing/2014/main" id="{C3155FF4-ED7D-8048-9275-1E4B70D682D1}"/>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19" name="กลุ่ม 510">
              <a:extLst>
                <a:ext uri="{FF2B5EF4-FFF2-40B4-BE49-F238E27FC236}">
                  <a16:creationId xmlns:a16="http://schemas.microsoft.com/office/drawing/2014/main" id="{0B6133A8-F304-0249-AD00-96B71E4433B7}"/>
                </a:ext>
              </a:extLst>
            </p:cNvPr>
            <p:cNvGrpSpPr/>
            <p:nvPr/>
          </p:nvGrpSpPr>
          <p:grpSpPr>
            <a:xfrm>
              <a:off x="5621338" y="2887662"/>
              <a:ext cx="229394" cy="541338"/>
              <a:chOff x="6153150" y="8172450"/>
              <a:chExt cx="458788" cy="1082676"/>
            </a:xfrm>
            <a:grpFill/>
          </p:grpSpPr>
          <p:sp>
            <p:nvSpPr>
              <p:cNvPr id="144" name="Freeform 82">
                <a:extLst>
                  <a:ext uri="{FF2B5EF4-FFF2-40B4-BE49-F238E27FC236}">
                    <a16:creationId xmlns:a16="http://schemas.microsoft.com/office/drawing/2014/main" id="{FC7A306B-C976-044D-8B23-5E9B711FC353}"/>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5" name="Oval 83">
                <a:extLst>
                  <a:ext uri="{FF2B5EF4-FFF2-40B4-BE49-F238E27FC236}">
                    <a16:creationId xmlns:a16="http://schemas.microsoft.com/office/drawing/2014/main" id="{2B5479A1-7AD6-364C-8D62-C3E331D3F7DF}"/>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0" name="กลุ่ม 511">
              <a:extLst>
                <a:ext uri="{FF2B5EF4-FFF2-40B4-BE49-F238E27FC236}">
                  <a16:creationId xmlns:a16="http://schemas.microsoft.com/office/drawing/2014/main" id="{F6587832-0819-5748-81BC-8B4CB84FF0AA}"/>
                </a:ext>
              </a:extLst>
            </p:cNvPr>
            <p:cNvGrpSpPr/>
            <p:nvPr/>
          </p:nvGrpSpPr>
          <p:grpSpPr>
            <a:xfrm>
              <a:off x="5923757" y="2887662"/>
              <a:ext cx="230188" cy="541338"/>
              <a:chOff x="6757988" y="8172450"/>
              <a:chExt cx="460375" cy="1082676"/>
            </a:xfrm>
            <a:grpFill/>
          </p:grpSpPr>
          <p:sp>
            <p:nvSpPr>
              <p:cNvPr id="142" name="Freeform 84">
                <a:extLst>
                  <a:ext uri="{FF2B5EF4-FFF2-40B4-BE49-F238E27FC236}">
                    <a16:creationId xmlns:a16="http://schemas.microsoft.com/office/drawing/2014/main" id="{87C939F8-DE33-3746-AA34-94DD683F3947}"/>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3" name="Oval 85">
                <a:extLst>
                  <a:ext uri="{FF2B5EF4-FFF2-40B4-BE49-F238E27FC236}">
                    <a16:creationId xmlns:a16="http://schemas.microsoft.com/office/drawing/2014/main" id="{272E8591-EDE2-ED4C-A273-B103B41B2BA8}"/>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1" name="กลุ่ม 515">
              <a:extLst>
                <a:ext uri="{FF2B5EF4-FFF2-40B4-BE49-F238E27FC236}">
                  <a16:creationId xmlns:a16="http://schemas.microsoft.com/office/drawing/2014/main" id="{22482593-12B7-5A49-B0EC-1FD05658CAA7}"/>
                </a:ext>
              </a:extLst>
            </p:cNvPr>
            <p:cNvGrpSpPr/>
            <p:nvPr/>
          </p:nvGrpSpPr>
          <p:grpSpPr>
            <a:xfrm>
              <a:off x="4097338" y="3535362"/>
              <a:ext cx="229394" cy="541338"/>
              <a:chOff x="3105150" y="8172450"/>
              <a:chExt cx="458788" cy="1082676"/>
            </a:xfrm>
            <a:grpFill/>
          </p:grpSpPr>
          <p:sp>
            <p:nvSpPr>
              <p:cNvPr id="140" name="Freeform 72">
                <a:extLst>
                  <a:ext uri="{FF2B5EF4-FFF2-40B4-BE49-F238E27FC236}">
                    <a16:creationId xmlns:a16="http://schemas.microsoft.com/office/drawing/2014/main" id="{288FC33C-F1F6-B44F-8F88-E51C29E0C2CC}"/>
                  </a:ext>
                </a:extLst>
              </p:cNvPr>
              <p:cNvSpPr>
                <a:spLocks/>
              </p:cNvSpPr>
              <p:nvPr/>
            </p:nvSpPr>
            <p:spPr bwMode="auto">
              <a:xfrm>
                <a:off x="3105150"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41" name="Oval 73">
                <a:extLst>
                  <a:ext uri="{FF2B5EF4-FFF2-40B4-BE49-F238E27FC236}">
                    <a16:creationId xmlns:a16="http://schemas.microsoft.com/office/drawing/2014/main" id="{286511AF-C674-F046-8CDB-6F0356597BBA}"/>
                  </a:ext>
                </a:extLst>
              </p:cNvPr>
              <p:cNvSpPr>
                <a:spLocks noChangeArrowheads="1"/>
              </p:cNvSpPr>
              <p:nvPr/>
            </p:nvSpPr>
            <p:spPr bwMode="auto">
              <a:xfrm>
                <a:off x="3251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2" name="กลุ่ม 516">
              <a:extLst>
                <a:ext uri="{FF2B5EF4-FFF2-40B4-BE49-F238E27FC236}">
                  <a16:creationId xmlns:a16="http://schemas.microsoft.com/office/drawing/2014/main" id="{5A4EEB33-280D-A44A-8495-DBD638D6AE99}"/>
                </a:ext>
              </a:extLst>
            </p:cNvPr>
            <p:cNvGrpSpPr/>
            <p:nvPr/>
          </p:nvGrpSpPr>
          <p:grpSpPr>
            <a:xfrm>
              <a:off x="4399757" y="3535362"/>
              <a:ext cx="230188" cy="541338"/>
              <a:chOff x="3709988" y="8172450"/>
              <a:chExt cx="460375" cy="1082676"/>
            </a:xfrm>
            <a:grpFill/>
          </p:grpSpPr>
          <p:sp>
            <p:nvSpPr>
              <p:cNvPr id="138" name="Freeform 74">
                <a:extLst>
                  <a:ext uri="{FF2B5EF4-FFF2-40B4-BE49-F238E27FC236}">
                    <a16:creationId xmlns:a16="http://schemas.microsoft.com/office/drawing/2014/main" id="{313837AC-447B-B140-8035-607B94EB5D67}"/>
                  </a:ext>
                </a:extLst>
              </p:cNvPr>
              <p:cNvSpPr>
                <a:spLocks/>
              </p:cNvSpPr>
              <p:nvPr/>
            </p:nvSpPr>
            <p:spPr bwMode="auto">
              <a:xfrm>
                <a:off x="3709988" y="8374063"/>
                <a:ext cx="460375"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9" name="Oval 75">
                <a:extLst>
                  <a:ext uri="{FF2B5EF4-FFF2-40B4-BE49-F238E27FC236}">
                    <a16:creationId xmlns:a16="http://schemas.microsoft.com/office/drawing/2014/main" id="{B682AE2A-42FA-C947-9A67-F69ABD456FF1}"/>
                  </a:ext>
                </a:extLst>
              </p:cNvPr>
              <p:cNvSpPr>
                <a:spLocks noChangeArrowheads="1"/>
              </p:cNvSpPr>
              <p:nvPr/>
            </p:nvSpPr>
            <p:spPr bwMode="auto">
              <a:xfrm>
                <a:off x="3857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3" name="กลุ่ม 517">
              <a:extLst>
                <a:ext uri="{FF2B5EF4-FFF2-40B4-BE49-F238E27FC236}">
                  <a16:creationId xmlns:a16="http://schemas.microsoft.com/office/drawing/2014/main" id="{364D0B6F-1016-294B-BA7A-410C65D3FFD3}"/>
                </a:ext>
              </a:extLst>
            </p:cNvPr>
            <p:cNvGrpSpPr/>
            <p:nvPr/>
          </p:nvGrpSpPr>
          <p:grpSpPr>
            <a:xfrm>
              <a:off x="4712494" y="3535362"/>
              <a:ext cx="219869" cy="541338"/>
              <a:chOff x="4335463" y="8172450"/>
              <a:chExt cx="439738" cy="1082676"/>
            </a:xfrm>
            <a:grpFill/>
          </p:grpSpPr>
          <p:sp>
            <p:nvSpPr>
              <p:cNvPr id="136" name="Freeform 76">
                <a:extLst>
                  <a:ext uri="{FF2B5EF4-FFF2-40B4-BE49-F238E27FC236}">
                    <a16:creationId xmlns:a16="http://schemas.microsoft.com/office/drawing/2014/main" id="{19EDD240-43A1-7D4B-8D74-A98DC00059B2}"/>
                  </a:ext>
                </a:extLst>
              </p:cNvPr>
              <p:cNvSpPr>
                <a:spLocks/>
              </p:cNvSpPr>
              <p:nvPr/>
            </p:nvSpPr>
            <p:spPr bwMode="auto">
              <a:xfrm>
                <a:off x="4335463" y="8374063"/>
                <a:ext cx="439738"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1 w 24"/>
                  <a:gd name="T39" fmla="*/ 30 h 48"/>
                  <a:gd name="T40" fmla="*/ 17 w 24"/>
                  <a:gd name="T41" fmla="*/ 5 h 48"/>
                  <a:gd name="T42" fmla="*/ 17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1" y="30"/>
                      <a:pt x="21" y="30"/>
                      <a:pt x="21" y="30"/>
                    </a:cubicBezTo>
                    <a:cubicBezTo>
                      <a:pt x="17" y="5"/>
                      <a:pt x="17" y="5"/>
                      <a:pt x="17" y="5"/>
                    </a:cubicBezTo>
                    <a:cubicBezTo>
                      <a:pt x="17" y="5"/>
                      <a:pt x="17" y="5"/>
                      <a:pt x="17" y="5"/>
                    </a:cubicBezTo>
                    <a:cubicBezTo>
                      <a:pt x="21" y="20"/>
                      <a:pt x="21" y="20"/>
                      <a:pt x="21" y="20"/>
                    </a:cubicBezTo>
                    <a:cubicBezTo>
                      <a:pt x="21" y="21"/>
                      <a:pt x="21"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7" name="Oval 77">
                <a:extLst>
                  <a:ext uri="{FF2B5EF4-FFF2-40B4-BE49-F238E27FC236}">
                    <a16:creationId xmlns:a16="http://schemas.microsoft.com/office/drawing/2014/main" id="{9BAADBF2-3066-4A4A-A230-C258EB95DDBF}"/>
                  </a:ext>
                </a:extLst>
              </p:cNvPr>
              <p:cNvSpPr>
                <a:spLocks noChangeArrowheads="1"/>
              </p:cNvSpPr>
              <p:nvPr/>
            </p:nvSpPr>
            <p:spPr bwMode="auto">
              <a:xfrm>
                <a:off x="4481513" y="8172450"/>
                <a:ext cx="147638"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4" name="กลุ่ม 518">
              <a:extLst>
                <a:ext uri="{FF2B5EF4-FFF2-40B4-BE49-F238E27FC236}">
                  <a16:creationId xmlns:a16="http://schemas.microsoft.com/office/drawing/2014/main" id="{866DA78B-6FEB-6043-81C4-1C2B9FC89C27}"/>
                </a:ext>
              </a:extLst>
            </p:cNvPr>
            <p:cNvGrpSpPr/>
            <p:nvPr/>
          </p:nvGrpSpPr>
          <p:grpSpPr>
            <a:xfrm>
              <a:off x="5014913" y="3535362"/>
              <a:ext cx="220663" cy="541338"/>
              <a:chOff x="4940300" y="8172450"/>
              <a:chExt cx="441325" cy="1082676"/>
            </a:xfrm>
            <a:grpFill/>
          </p:grpSpPr>
          <p:sp>
            <p:nvSpPr>
              <p:cNvPr id="134" name="Freeform 78">
                <a:extLst>
                  <a:ext uri="{FF2B5EF4-FFF2-40B4-BE49-F238E27FC236}">
                    <a16:creationId xmlns:a16="http://schemas.microsoft.com/office/drawing/2014/main" id="{D01F0A6B-97A8-8949-8C3F-17DA562C8390}"/>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5" name="Oval 79">
                <a:extLst>
                  <a:ext uri="{FF2B5EF4-FFF2-40B4-BE49-F238E27FC236}">
                    <a16:creationId xmlns:a16="http://schemas.microsoft.com/office/drawing/2014/main" id="{BD27F772-7F43-7A4D-B34D-71AB39DC379C}"/>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5" name="กลุ่ม 519">
              <a:extLst>
                <a:ext uri="{FF2B5EF4-FFF2-40B4-BE49-F238E27FC236}">
                  <a16:creationId xmlns:a16="http://schemas.microsoft.com/office/drawing/2014/main" id="{BD121C17-14D5-7047-B6C1-AC00CAACD2E3}"/>
                </a:ext>
              </a:extLst>
            </p:cNvPr>
            <p:cNvGrpSpPr/>
            <p:nvPr/>
          </p:nvGrpSpPr>
          <p:grpSpPr>
            <a:xfrm>
              <a:off x="5318125" y="3535362"/>
              <a:ext cx="220663" cy="541338"/>
              <a:chOff x="5546725" y="8172450"/>
              <a:chExt cx="441325" cy="1082676"/>
            </a:xfrm>
            <a:grpFill/>
          </p:grpSpPr>
          <p:sp>
            <p:nvSpPr>
              <p:cNvPr id="132" name="Freeform 80">
                <a:extLst>
                  <a:ext uri="{FF2B5EF4-FFF2-40B4-BE49-F238E27FC236}">
                    <a16:creationId xmlns:a16="http://schemas.microsoft.com/office/drawing/2014/main" id="{D32B7748-CA45-2B49-A99F-728E66834FBA}"/>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3" name="Oval 81">
                <a:extLst>
                  <a:ext uri="{FF2B5EF4-FFF2-40B4-BE49-F238E27FC236}">
                    <a16:creationId xmlns:a16="http://schemas.microsoft.com/office/drawing/2014/main" id="{A7F4F33D-230E-BE48-9F8E-348F69526902}"/>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6" name="กลุ่ม 520">
              <a:extLst>
                <a:ext uri="{FF2B5EF4-FFF2-40B4-BE49-F238E27FC236}">
                  <a16:creationId xmlns:a16="http://schemas.microsoft.com/office/drawing/2014/main" id="{1E6A0D7C-5543-E643-A2F9-B7D52D03B27E}"/>
                </a:ext>
              </a:extLst>
            </p:cNvPr>
            <p:cNvGrpSpPr/>
            <p:nvPr/>
          </p:nvGrpSpPr>
          <p:grpSpPr>
            <a:xfrm>
              <a:off x="5621338" y="3535362"/>
              <a:ext cx="229394" cy="541338"/>
              <a:chOff x="6153150" y="8172450"/>
              <a:chExt cx="458788" cy="1082676"/>
            </a:xfrm>
            <a:grpFill/>
          </p:grpSpPr>
          <p:sp>
            <p:nvSpPr>
              <p:cNvPr id="130" name="Freeform 82">
                <a:extLst>
                  <a:ext uri="{FF2B5EF4-FFF2-40B4-BE49-F238E27FC236}">
                    <a16:creationId xmlns:a16="http://schemas.microsoft.com/office/drawing/2014/main" id="{74D6A037-6488-B940-B51A-0633E65F7A14}"/>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31" name="Oval 83">
                <a:extLst>
                  <a:ext uri="{FF2B5EF4-FFF2-40B4-BE49-F238E27FC236}">
                    <a16:creationId xmlns:a16="http://schemas.microsoft.com/office/drawing/2014/main" id="{6348D78A-6112-DF41-B794-84BD47C399D6}"/>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27" name="กลุ่ม 521">
              <a:extLst>
                <a:ext uri="{FF2B5EF4-FFF2-40B4-BE49-F238E27FC236}">
                  <a16:creationId xmlns:a16="http://schemas.microsoft.com/office/drawing/2014/main" id="{E76F6257-6E71-3442-B7D9-3870750FE8EB}"/>
                </a:ext>
              </a:extLst>
            </p:cNvPr>
            <p:cNvGrpSpPr/>
            <p:nvPr/>
          </p:nvGrpSpPr>
          <p:grpSpPr>
            <a:xfrm>
              <a:off x="5923757" y="3535362"/>
              <a:ext cx="230188" cy="541338"/>
              <a:chOff x="6757988" y="8172450"/>
              <a:chExt cx="460375" cy="1082676"/>
            </a:xfrm>
            <a:grpFill/>
          </p:grpSpPr>
          <p:sp>
            <p:nvSpPr>
              <p:cNvPr id="128" name="Freeform 84">
                <a:extLst>
                  <a:ext uri="{FF2B5EF4-FFF2-40B4-BE49-F238E27FC236}">
                    <a16:creationId xmlns:a16="http://schemas.microsoft.com/office/drawing/2014/main" id="{A3C00741-634C-DA4F-9250-DD4A3BE14A1C}"/>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29" name="Oval 85">
                <a:extLst>
                  <a:ext uri="{FF2B5EF4-FFF2-40B4-BE49-F238E27FC236}">
                    <a16:creationId xmlns:a16="http://schemas.microsoft.com/office/drawing/2014/main" id="{FE06ACCD-2221-9546-8494-7978DC55EEB6}"/>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grpSp>
        <p:nvGrpSpPr>
          <p:cNvPr id="176" name="Group 175">
            <a:extLst>
              <a:ext uri="{FF2B5EF4-FFF2-40B4-BE49-F238E27FC236}">
                <a16:creationId xmlns:a16="http://schemas.microsoft.com/office/drawing/2014/main" id="{896AD2E0-626C-564A-BB53-98A8A34EA406}"/>
              </a:ext>
            </a:extLst>
          </p:cNvPr>
          <p:cNvGrpSpPr/>
          <p:nvPr/>
        </p:nvGrpSpPr>
        <p:grpSpPr>
          <a:xfrm>
            <a:off x="5014913" y="1592262"/>
            <a:ext cx="2047876" cy="2484438"/>
            <a:chOff x="5014913" y="1592262"/>
            <a:chExt cx="2047876" cy="2484438"/>
          </a:xfrm>
          <a:solidFill>
            <a:schemeClr val="accent2"/>
          </a:solidFill>
        </p:grpSpPr>
        <p:grpSp>
          <p:nvGrpSpPr>
            <p:cNvPr id="177" name="กลุ่ม 492">
              <a:extLst>
                <a:ext uri="{FF2B5EF4-FFF2-40B4-BE49-F238E27FC236}">
                  <a16:creationId xmlns:a16="http://schemas.microsoft.com/office/drawing/2014/main" id="{DE5FE460-103C-1A41-BA2A-F0875CFE93E4}"/>
                </a:ext>
              </a:extLst>
            </p:cNvPr>
            <p:cNvGrpSpPr/>
            <p:nvPr/>
          </p:nvGrpSpPr>
          <p:grpSpPr>
            <a:xfrm>
              <a:off x="6226970" y="1592262"/>
              <a:ext cx="229394" cy="541338"/>
              <a:chOff x="7364413" y="8172450"/>
              <a:chExt cx="458788" cy="1082676"/>
            </a:xfrm>
            <a:grpFill/>
          </p:grpSpPr>
          <p:sp>
            <p:nvSpPr>
              <p:cNvPr id="223" name="Freeform 86">
                <a:extLst>
                  <a:ext uri="{FF2B5EF4-FFF2-40B4-BE49-F238E27FC236}">
                    <a16:creationId xmlns:a16="http://schemas.microsoft.com/office/drawing/2014/main" id="{8B8F6FFB-444F-904A-9942-5E535F4880F6}"/>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24" name="Oval 87">
                <a:extLst>
                  <a:ext uri="{FF2B5EF4-FFF2-40B4-BE49-F238E27FC236}">
                    <a16:creationId xmlns:a16="http://schemas.microsoft.com/office/drawing/2014/main" id="{52B6479F-B140-4543-B717-9F1B3AB9891B}"/>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78" name="กลุ่ม 493">
              <a:extLst>
                <a:ext uri="{FF2B5EF4-FFF2-40B4-BE49-F238E27FC236}">
                  <a16:creationId xmlns:a16="http://schemas.microsoft.com/office/drawing/2014/main" id="{C24C8F5A-EFB6-474C-BDD5-C6B18FAEE760}"/>
                </a:ext>
              </a:extLst>
            </p:cNvPr>
            <p:cNvGrpSpPr/>
            <p:nvPr/>
          </p:nvGrpSpPr>
          <p:grpSpPr>
            <a:xfrm>
              <a:off x="6530182" y="1592262"/>
              <a:ext cx="229394" cy="541338"/>
              <a:chOff x="7970838" y="8172450"/>
              <a:chExt cx="458788" cy="1082676"/>
            </a:xfrm>
            <a:grpFill/>
          </p:grpSpPr>
          <p:sp>
            <p:nvSpPr>
              <p:cNvPr id="221" name="Freeform 88">
                <a:extLst>
                  <a:ext uri="{FF2B5EF4-FFF2-40B4-BE49-F238E27FC236}">
                    <a16:creationId xmlns:a16="http://schemas.microsoft.com/office/drawing/2014/main" id="{6A0C8A91-C198-4E45-BD8C-B382BC36B07D}"/>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22" name="Oval 89">
                <a:extLst>
                  <a:ext uri="{FF2B5EF4-FFF2-40B4-BE49-F238E27FC236}">
                    <a16:creationId xmlns:a16="http://schemas.microsoft.com/office/drawing/2014/main" id="{9E70238A-9B8B-984A-BA5E-F99E070A0936}"/>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79" name="กลุ่ม 494">
              <a:extLst>
                <a:ext uri="{FF2B5EF4-FFF2-40B4-BE49-F238E27FC236}">
                  <a16:creationId xmlns:a16="http://schemas.microsoft.com/office/drawing/2014/main" id="{BB7C45EB-585F-E34B-B739-1B1B61E35AA0}"/>
                </a:ext>
              </a:extLst>
            </p:cNvPr>
            <p:cNvGrpSpPr/>
            <p:nvPr/>
          </p:nvGrpSpPr>
          <p:grpSpPr>
            <a:xfrm>
              <a:off x="6833395" y="1592262"/>
              <a:ext cx="229394" cy="541338"/>
              <a:chOff x="8577263" y="8172450"/>
              <a:chExt cx="458788" cy="1082676"/>
            </a:xfrm>
            <a:grpFill/>
          </p:grpSpPr>
          <p:sp>
            <p:nvSpPr>
              <p:cNvPr id="219" name="Freeform 90">
                <a:extLst>
                  <a:ext uri="{FF2B5EF4-FFF2-40B4-BE49-F238E27FC236}">
                    <a16:creationId xmlns:a16="http://schemas.microsoft.com/office/drawing/2014/main" id="{26686EDE-3DFB-4444-857C-FC60CA1F0DBC}"/>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20" name="Oval 91">
                <a:extLst>
                  <a:ext uri="{FF2B5EF4-FFF2-40B4-BE49-F238E27FC236}">
                    <a16:creationId xmlns:a16="http://schemas.microsoft.com/office/drawing/2014/main" id="{4D1B6095-22A4-C54F-B8A2-CD478DB2646A}"/>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0" name="กลุ่ม 498">
              <a:extLst>
                <a:ext uri="{FF2B5EF4-FFF2-40B4-BE49-F238E27FC236}">
                  <a16:creationId xmlns:a16="http://schemas.microsoft.com/office/drawing/2014/main" id="{AC60E5C1-84E8-494A-B7E9-0BEEDEE1BF4A}"/>
                </a:ext>
              </a:extLst>
            </p:cNvPr>
            <p:cNvGrpSpPr/>
            <p:nvPr/>
          </p:nvGrpSpPr>
          <p:grpSpPr>
            <a:xfrm>
              <a:off x="5014913" y="2239962"/>
              <a:ext cx="220663" cy="541338"/>
              <a:chOff x="4940300" y="8172450"/>
              <a:chExt cx="441325" cy="1082676"/>
            </a:xfrm>
            <a:grpFill/>
          </p:grpSpPr>
          <p:sp>
            <p:nvSpPr>
              <p:cNvPr id="217" name="Freeform 78">
                <a:extLst>
                  <a:ext uri="{FF2B5EF4-FFF2-40B4-BE49-F238E27FC236}">
                    <a16:creationId xmlns:a16="http://schemas.microsoft.com/office/drawing/2014/main" id="{840D4547-CB11-864F-AF3A-AE4E4B9B1A21}"/>
                  </a:ext>
                </a:extLst>
              </p:cNvPr>
              <p:cNvSpPr>
                <a:spLocks/>
              </p:cNvSpPr>
              <p:nvPr/>
            </p:nvSpPr>
            <p:spPr bwMode="auto">
              <a:xfrm>
                <a:off x="4940300" y="8374063"/>
                <a:ext cx="441325" cy="881063"/>
              </a:xfrm>
              <a:custGeom>
                <a:avLst/>
                <a:gdLst>
                  <a:gd name="T0" fmla="*/ 17 w 24"/>
                  <a:gd name="T1" fmla="*/ 0 h 48"/>
                  <a:gd name="T2" fmla="*/ 7 w 24"/>
                  <a:gd name="T3" fmla="*/ 0 h 48"/>
                  <a:gd name="T4" fmla="*/ 3 w 24"/>
                  <a:gd name="T5" fmla="*/ 4 h 48"/>
                  <a:gd name="T6" fmla="*/ 0 w 24"/>
                  <a:gd name="T7" fmla="*/ 20 h 48"/>
                  <a:gd name="T8" fmla="*/ 1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2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3" y="2"/>
                      <a:pt x="3" y="4"/>
                    </a:cubicBezTo>
                    <a:cubicBezTo>
                      <a:pt x="0" y="20"/>
                      <a:pt x="0" y="20"/>
                      <a:pt x="0" y="20"/>
                    </a:cubicBezTo>
                    <a:cubicBezTo>
                      <a:pt x="0" y="21"/>
                      <a:pt x="0" y="22"/>
                      <a:pt x="1" y="22"/>
                    </a:cubicBezTo>
                    <a:cubicBezTo>
                      <a:pt x="2"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2" y="22"/>
                    </a:cubicBezTo>
                    <a:cubicBezTo>
                      <a:pt x="23" y="22"/>
                      <a:pt x="24" y="21"/>
                      <a:pt x="24" y="20"/>
                    </a:cubicBezTo>
                    <a:cubicBezTo>
                      <a:pt x="21" y="4"/>
                      <a:pt x="21" y="4"/>
                      <a:pt x="21" y="4"/>
                    </a:cubicBezTo>
                    <a:cubicBezTo>
                      <a:pt x="20"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8" name="Oval 79">
                <a:extLst>
                  <a:ext uri="{FF2B5EF4-FFF2-40B4-BE49-F238E27FC236}">
                    <a16:creationId xmlns:a16="http://schemas.microsoft.com/office/drawing/2014/main" id="{DF3A9E59-9939-4E43-8793-F61128F14224}"/>
                  </a:ext>
                </a:extLst>
              </p:cNvPr>
              <p:cNvSpPr>
                <a:spLocks noChangeArrowheads="1"/>
              </p:cNvSpPr>
              <p:nvPr/>
            </p:nvSpPr>
            <p:spPr bwMode="auto">
              <a:xfrm>
                <a:off x="508793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1" name="กลุ่ม 499">
              <a:extLst>
                <a:ext uri="{FF2B5EF4-FFF2-40B4-BE49-F238E27FC236}">
                  <a16:creationId xmlns:a16="http://schemas.microsoft.com/office/drawing/2014/main" id="{83CA82B8-DCA6-A24A-98E5-1BC78DCAEE49}"/>
                </a:ext>
              </a:extLst>
            </p:cNvPr>
            <p:cNvGrpSpPr/>
            <p:nvPr/>
          </p:nvGrpSpPr>
          <p:grpSpPr>
            <a:xfrm>
              <a:off x="5318126" y="2239962"/>
              <a:ext cx="220663" cy="541338"/>
              <a:chOff x="5546725" y="8172450"/>
              <a:chExt cx="441325" cy="1082676"/>
            </a:xfrm>
            <a:grpFill/>
          </p:grpSpPr>
          <p:sp>
            <p:nvSpPr>
              <p:cNvPr id="215" name="Freeform 80">
                <a:extLst>
                  <a:ext uri="{FF2B5EF4-FFF2-40B4-BE49-F238E27FC236}">
                    <a16:creationId xmlns:a16="http://schemas.microsoft.com/office/drawing/2014/main" id="{5526FCB6-9AD1-B24C-A1B9-FA0122C799B9}"/>
                  </a:ext>
                </a:extLst>
              </p:cNvPr>
              <p:cNvSpPr>
                <a:spLocks/>
              </p:cNvSpPr>
              <p:nvPr/>
            </p:nvSpPr>
            <p:spPr bwMode="auto">
              <a:xfrm>
                <a:off x="5546725" y="8374063"/>
                <a:ext cx="441325" cy="881063"/>
              </a:xfrm>
              <a:custGeom>
                <a:avLst/>
                <a:gdLst>
                  <a:gd name="T0" fmla="*/ 17 w 24"/>
                  <a:gd name="T1" fmla="*/ 0 h 48"/>
                  <a:gd name="T2" fmla="*/ 7 w 24"/>
                  <a:gd name="T3" fmla="*/ 0 h 48"/>
                  <a:gd name="T4" fmla="*/ 3 w 24"/>
                  <a:gd name="T5" fmla="*/ 4 h 48"/>
                  <a:gd name="T6" fmla="*/ 0 w 24"/>
                  <a:gd name="T7" fmla="*/ 20 h 48"/>
                  <a:gd name="T8" fmla="*/ 2 w 24"/>
                  <a:gd name="T9" fmla="*/ 22 h 48"/>
                  <a:gd name="T10" fmla="*/ 3 w 24"/>
                  <a:gd name="T11" fmla="*/ 20 h 48"/>
                  <a:gd name="T12" fmla="*/ 6 w 24"/>
                  <a:gd name="T13" fmla="*/ 5 h 48"/>
                  <a:gd name="T14" fmla="*/ 7 w 24"/>
                  <a:gd name="T15" fmla="*/ 5 h 48"/>
                  <a:gd name="T16" fmla="*/ 3 w 24"/>
                  <a:gd name="T17" fmla="*/ 30 h 48"/>
                  <a:gd name="T18" fmla="*/ 7 w 24"/>
                  <a:gd name="T19" fmla="*/ 30 h 48"/>
                  <a:gd name="T20" fmla="*/ 7 w 24"/>
                  <a:gd name="T21" fmla="*/ 45 h 48"/>
                  <a:gd name="T22" fmla="*/ 9 w 24"/>
                  <a:gd name="T23" fmla="*/ 48 h 48"/>
                  <a:gd name="T24" fmla="*/ 11 w 24"/>
                  <a:gd name="T25" fmla="*/ 45 h 48"/>
                  <a:gd name="T26" fmla="*/ 11 w 24"/>
                  <a:gd name="T27" fmla="*/ 30 h 48"/>
                  <a:gd name="T28" fmla="*/ 13 w 24"/>
                  <a:gd name="T29" fmla="*/ 30 h 48"/>
                  <a:gd name="T30" fmla="*/ 13 w 24"/>
                  <a:gd name="T31" fmla="*/ 45 h 48"/>
                  <a:gd name="T32" fmla="*/ 15 w 24"/>
                  <a:gd name="T33" fmla="*/ 48 h 48"/>
                  <a:gd name="T34" fmla="*/ 17 w 24"/>
                  <a:gd name="T35" fmla="*/ 45 h 48"/>
                  <a:gd name="T36" fmla="*/ 17 w 24"/>
                  <a:gd name="T37" fmla="*/ 30 h 48"/>
                  <a:gd name="T38" fmla="*/ 22 w 24"/>
                  <a:gd name="T39" fmla="*/ 30 h 48"/>
                  <a:gd name="T40" fmla="*/ 17 w 24"/>
                  <a:gd name="T41" fmla="*/ 5 h 48"/>
                  <a:gd name="T42" fmla="*/ 18 w 24"/>
                  <a:gd name="T43" fmla="*/ 5 h 48"/>
                  <a:gd name="T44" fmla="*/ 21 w 24"/>
                  <a:gd name="T45" fmla="*/ 20 h 48"/>
                  <a:gd name="T46" fmla="*/ 23 w 24"/>
                  <a:gd name="T47" fmla="*/ 22 h 48"/>
                  <a:gd name="T48" fmla="*/ 24 w 24"/>
                  <a:gd name="T49" fmla="*/ 20 h 48"/>
                  <a:gd name="T50" fmla="*/ 21 w 24"/>
                  <a:gd name="T51" fmla="*/ 4 h 48"/>
                  <a:gd name="T52" fmla="*/ 17 w 24"/>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6" y="5"/>
                      <a:pt x="6" y="5"/>
                      <a:pt x="6"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1" y="47"/>
                      <a:pt x="11" y="45"/>
                    </a:cubicBezTo>
                    <a:cubicBezTo>
                      <a:pt x="11" y="30"/>
                      <a:pt x="11" y="30"/>
                      <a:pt x="11" y="30"/>
                    </a:cubicBezTo>
                    <a:cubicBezTo>
                      <a:pt x="13" y="30"/>
                      <a:pt x="13" y="30"/>
                      <a:pt x="13" y="30"/>
                    </a:cubicBezTo>
                    <a:cubicBezTo>
                      <a:pt x="13" y="45"/>
                      <a:pt x="13" y="45"/>
                      <a:pt x="13" y="45"/>
                    </a:cubicBezTo>
                    <a:cubicBezTo>
                      <a:pt x="13" y="47"/>
                      <a:pt x="13" y="48"/>
                      <a:pt x="15" y="48"/>
                    </a:cubicBezTo>
                    <a:cubicBezTo>
                      <a:pt x="16"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4" y="21"/>
                      <a:pt x="24" y="20"/>
                    </a:cubicBezTo>
                    <a:cubicBezTo>
                      <a:pt x="21" y="4"/>
                      <a:pt x="21" y="4"/>
                      <a:pt x="21" y="4"/>
                    </a:cubicBezTo>
                    <a:cubicBezTo>
                      <a:pt x="21" y="1"/>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6" name="Oval 81">
                <a:extLst>
                  <a:ext uri="{FF2B5EF4-FFF2-40B4-BE49-F238E27FC236}">
                    <a16:creationId xmlns:a16="http://schemas.microsoft.com/office/drawing/2014/main" id="{345361DB-52B7-9F45-8F57-8A4AD2B8FB30}"/>
                  </a:ext>
                </a:extLst>
              </p:cNvPr>
              <p:cNvSpPr>
                <a:spLocks noChangeArrowheads="1"/>
              </p:cNvSpPr>
              <p:nvPr/>
            </p:nvSpPr>
            <p:spPr bwMode="auto">
              <a:xfrm>
                <a:off x="569436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2" name="กลุ่ม 500">
              <a:extLst>
                <a:ext uri="{FF2B5EF4-FFF2-40B4-BE49-F238E27FC236}">
                  <a16:creationId xmlns:a16="http://schemas.microsoft.com/office/drawing/2014/main" id="{C4B0ABD3-4447-1C4C-B769-ECBD492D045D}"/>
                </a:ext>
              </a:extLst>
            </p:cNvPr>
            <p:cNvGrpSpPr/>
            <p:nvPr/>
          </p:nvGrpSpPr>
          <p:grpSpPr>
            <a:xfrm>
              <a:off x="5621338" y="2239962"/>
              <a:ext cx="229394" cy="541338"/>
              <a:chOff x="6153150" y="8172450"/>
              <a:chExt cx="458788" cy="1082676"/>
            </a:xfrm>
            <a:grpFill/>
          </p:grpSpPr>
          <p:sp>
            <p:nvSpPr>
              <p:cNvPr id="213" name="Freeform 82">
                <a:extLst>
                  <a:ext uri="{FF2B5EF4-FFF2-40B4-BE49-F238E27FC236}">
                    <a16:creationId xmlns:a16="http://schemas.microsoft.com/office/drawing/2014/main" id="{B287625D-97B6-8945-AF9D-B3DBC64CEB21}"/>
                  </a:ext>
                </a:extLst>
              </p:cNvPr>
              <p:cNvSpPr>
                <a:spLocks/>
              </p:cNvSpPr>
              <p:nvPr/>
            </p:nvSpPr>
            <p:spPr bwMode="auto">
              <a:xfrm>
                <a:off x="6153150" y="8374063"/>
                <a:ext cx="458788"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3 w 25"/>
                  <a:gd name="T11" fmla="*/ 20 h 48"/>
                  <a:gd name="T12" fmla="*/ 7 w 25"/>
                  <a:gd name="T13" fmla="*/ 5 h 48"/>
                  <a:gd name="T14" fmla="*/ 7 w 25"/>
                  <a:gd name="T15" fmla="*/ 5 h 48"/>
                  <a:gd name="T16" fmla="*/ 3 w 25"/>
                  <a:gd name="T17" fmla="*/ 30 h 48"/>
                  <a:gd name="T18" fmla="*/ 7 w 25"/>
                  <a:gd name="T19" fmla="*/ 30 h 48"/>
                  <a:gd name="T20" fmla="*/ 7 w 25"/>
                  <a:gd name="T21" fmla="*/ 45 h 48"/>
                  <a:gd name="T22" fmla="*/ 9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3" y="20"/>
                    </a:cubicBezTo>
                    <a:cubicBezTo>
                      <a:pt x="7" y="5"/>
                      <a:pt x="7" y="5"/>
                      <a:pt x="7" y="5"/>
                    </a:cubicBezTo>
                    <a:cubicBezTo>
                      <a:pt x="7" y="5"/>
                      <a:pt x="7" y="5"/>
                      <a:pt x="7" y="5"/>
                    </a:cubicBezTo>
                    <a:cubicBezTo>
                      <a:pt x="3" y="30"/>
                      <a:pt x="3" y="30"/>
                      <a:pt x="3" y="30"/>
                    </a:cubicBezTo>
                    <a:cubicBezTo>
                      <a:pt x="7" y="30"/>
                      <a:pt x="7" y="30"/>
                      <a:pt x="7" y="30"/>
                    </a:cubicBezTo>
                    <a:cubicBezTo>
                      <a:pt x="7" y="45"/>
                      <a:pt x="7" y="45"/>
                      <a:pt x="7" y="45"/>
                    </a:cubicBezTo>
                    <a:cubicBezTo>
                      <a:pt x="7" y="47"/>
                      <a:pt x="8" y="48"/>
                      <a:pt x="9"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4" name="Oval 83">
                <a:extLst>
                  <a:ext uri="{FF2B5EF4-FFF2-40B4-BE49-F238E27FC236}">
                    <a16:creationId xmlns:a16="http://schemas.microsoft.com/office/drawing/2014/main" id="{3F03F021-7F56-844A-A971-EB7AC87D89F4}"/>
                  </a:ext>
                </a:extLst>
              </p:cNvPr>
              <p:cNvSpPr>
                <a:spLocks noChangeArrowheads="1"/>
              </p:cNvSpPr>
              <p:nvPr/>
            </p:nvSpPr>
            <p:spPr bwMode="auto">
              <a:xfrm>
                <a:off x="629920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3" name="กลุ่ม 501">
              <a:extLst>
                <a:ext uri="{FF2B5EF4-FFF2-40B4-BE49-F238E27FC236}">
                  <a16:creationId xmlns:a16="http://schemas.microsoft.com/office/drawing/2014/main" id="{B65D26CC-4C99-7643-A195-B4DEE8D48EC0}"/>
                </a:ext>
              </a:extLst>
            </p:cNvPr>
            <p:cNvGrpSpPr/>
            <p:nvPr/>
          </p:nvGrpSpPr>
          <p:grpSpPr>
            <a:xfrm>
              <a:off x="5923757" y="2239962"/>
              <a:ext cx="230188" cy="541338"/>
              <a:chOff x="6757988" y="8172450"/>
              <a:chExt cx="460375" cy="1082676"/>
            </a:xfrm>
            <a:grpFill/>
          </p:grpSpPr>
          <p:sp>
            <p:nvSpPr>
              <p:cNvPr id="211" name="Freeform 84">
                <a:extLst>
                  <a:ext uri="{FF2B5EF4-FFF2-40B4-BE49-F238E27FC236}">
                    <a16:creationId xmlns:a16="http://schemas.microsoft.com/office/drawing/2014/main" id="{32F7777E-4F82-3048-8A39-E25D446668AF}"/>
                  </a:ext>
                </a:extLst>
              </p:cNvPr>
              <p:cNvSpPr>
                <a:spLocks/>
              </p:cNvSpPr>
              <p:nvPr/>
            </p:nvSpPr>
            <p:spPr bwMode="auto">
              <a:xfrm>
                <a:off x="6757988" y="8374063"/>
                <a:ext cx="460375" cy="881063"/>
              </a:xfrm>
              <a:custGeom>
                <a:avLst/>
                <a:gdLst>
                  <a:gd name="T0" fmla="*/ 17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1 w 25"/>
                  <a:gd name="T51" fmla="*/ 4 h 48"/>
                  <a:gd name="T52" fmla="*/ 17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7"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1" y="21"/>
                      <a:pt x="22" y="22"/>
                      <a:pt x="23" y="22"/>
                    </a:cubicBezTo>
                    <a:cubicBezTo>
                      <a:pt x="24" y="22"/>
                      <a:pt x="25" y="21"/>
                      <a:pt x="25" y="20"/>
                    </a:cubicBezTo>
                    <a:cubicBezTo>
                      <a:pt x="21" y="4"/>
                      <a:pt x="21" y="4"/>
                      <a:pt x="21" y="4"/>
                    </a:cubicBezTo>
                    <a:cubicBezTo>
                      <a:pt x="21" y="1"/>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2" name="Oval 85">
                <a:extLst>
                  <a:ext uri="{FF2B5EF4-FFF2-40B4-BE49-F238E27FC236}">
                    <a16:creationId xmlns:a16="http://schemas.microsoft.com/office/drawing/2014/main" id="{54FCFBC6-00DE-0F49-B94A-D40E806A5560}"/>
                  </a:ext>
                </a:extLst>
              </p:cNvPr>
              <p:cNvSpPr>
                <a:spLocks noChangeArrowheads="1"/>
              </p:cNvSpPr>
              <p:nvPr/>
            </p:nvSpPr>
            <p:spPr bwMode="auto">
              <a:xfrm>
                <a:off x="6905625"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4" name="กลุ่ม 502">
              <a:extLst>
                <a:ext uri="{FF2B5EF4-FFF2-40B4-BE49-F238E27FC236}">
                  <a16:creationId xmlns:a16="http://schemas.microsoft.com/office/drawing/2014/main" id="{38D0574C-27B8-F144-BFDC-3A0E6FC21EA2}"/>
                </a:ext>
              </a:extLst>
            </p:cNvPr>
            <p:cNvGrpSpPr/>
            <p:nvPr/>
          </p:nvGrpSpPr>
          <p:grpSpPr>
            <a:xfrm>
              <a:off x="6226970" y="2239962"/>
              <a:ext cx="229394" cy="541338"/>
              <a:chOff x="7364413" y="8172450"/>
              <a:chExt cx="458788" cy="1082676"/>
            </a:xfrm>
            <a:grpFill/>
          </p:grpSpPr>
          <p:sp>
            <p:nvSpPr>
              <p:cNvPr id="209" name="Freeform 86">
                <a:extLst>
                  <a:ext uri="{FF2B5EF4-FFF2-40B4-BE49-F238E27FC236}">
                    <a16:creationId xmlns:a16="http://schemas.microsoft.com/office/drawing/2014/main" id="{61E0CE6B-0704-2B43-94AD-8F4045D1A952}"/>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10" name="Oval 87">
                <a:extLst>
                  <a:ext uri="{FF2B5EF4-FFF2-40B4-BE49-F238E27FC236}">
                    <a16:creationId xmlns:a16="http://schemas.microsoft.com/office/drawing/2014/main" id="{3EA96EB6-187B-FD43-848C-ABC0AA7F2EAE}"/>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5" name="กลุ่ม 503">
              <a:extLst>
                <a:ext uri="{FF2B5EF4-FFF2-40B4-BE49-F238E27FC236}">
                  <a16:creationId xmlns:a16="http://schemas.microsoft.com/office/drawing/2014/main" id="{BC86D503-613C-E243-B26C-14A7AE1FB33F}"/>
                </a:ext>
              </a:extLst>
            </p:cNvPr>
            <p:cNvGrpSpPr/>
            <p:nvPr/>
          </p:nvGrpSpPr>
          <p:grpSpPr>
            <a:xfrm>
              <a:off x="6530182" y="2239962"/>
              <a:ext cx="229394" cy="541338"/>
              <a:chOff x="7970838" y="8172450"/>
              <a:chExt cx="458788" cy="1082676"/>
            </a:xfrm>
            <a:grpFill/>
          </p:grpSpPr>
          <p:sp>
            <p:nvSpPr>
              <p:cNvPr id="207" name="Freeform 88">
                <a:extLst>
                  <a:ext uri="{FF2B5EF4-FFF2-40B4-BE49-F238E27FC236}">
                    <a16:creationId xmlns:a16="http://schemas.microsoft.com/office/drawing/2014/main" id="{64D6F8A9-7D2B-954E-B122-060C3D2A683A}"/>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8" name="Oval 89">
                <a:extLst>
                  <a:ext uri="{FF2B5EF4-FFF2-40B4-BE49-F238E27FC236}">
                    <a16:creationId xmlns:a16="http://schemas.microsoft.com/office/drawing/2014/main" id="{C7089488-DD94-D44D-A472-4836FF075B39}"/>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6" name="กลุ่ม 504">
              <a:extLst>
                <a:ext uri="{FF2B5EF4-FFF2-40B4-BE49-F238E27FC236}">
                  <a16:creationId xmlns:a16="http://schemas.microsoft.com/office/drawing/2014/main" id="{B6F975E8-37A9-CF42-AC08-065448D37370}"/>
                </a:ext>
              </a:extLst>
            </p:cNvPr>
            <p:cNvGrpSpPr/>
            <p:nvPr/>
          </p:nvGrpSpPr>
          <p:grpSpPr>
            <a:xfrm>
              <a:off x="6833395" y="2239962"/>
              <a:ext cx="229394" cy="541338"/>
              <a:chOff x="8577263" y="8172450"/>
              <a:chExt cx="458788" cy="1082676"/>
            </a:xfrm>
            <a:grpFill/>
          </p:grpSpPr>
          <p:sp>
            <p:nvSpPr>
              <p:cNvPr id="205" name="Freeform 90">
                <a:extLst>
                  <a:ext uri="{FF2B5EF4-FFF2-40B4-BE49-F238E27FC236}">
                    <a16:creationId xmlns:a16="http://schemas.microsoft.com/office/drawing/2014/main" id="{0B9CB31F-9335-9443-8537-C488CE0ADEB5}"/>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6" name="Oval 91">
                <a:extLst>
                  <a:ext uri="{FF2B5EF4-FFF2-40B4-BE49-F238E27FC236}">
                    <a16:creationId xmlns:a16="http://schemas.microsoft.com/office/drawing/2014/main" id="{0B1E2386-0725-4F44-A25A-ADF16610DEA9}"/>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7" name="กลุ่ม 512">
              <a:extLst>
                <a:ext uri="{FF2B5EF4-FFF2-40B4-BE49-F238E27FC236}">
                  <a16:creationId xmlns:a16="http://schemas.microsoft.com/office/drawing/2014/main" id="{82409489-0E39-6743-86C1-87DA5BA30C8F}"/>
                </a:ext>
              </a:extLst>
            </p:cNvPr>
            <p:cNvGrpSpPr/>
            <p:nvPr/>
          </p:nvGrpSpPr>
          <p:grpSpPr>
            <a:xfrm>
              <a:off x="6226969" y="2887662"/>
              <a:ext cx="229394" cy="541338"/>
              <a:chOff x="7364413" y="8172450"/>
              <a:chExt cx="458788" cy="1082676"/>
            </a:xfrm>
            <a:grpFill/>
          </p:grpSpPr>
          <p:sp>
            <p:nvSpPr>
              <p:cNvPr id="203" name="Freeform 86">
                <a:extLst>
                  <a:ext uri="{FF2B5EF4-FFF2-40B4-BE49-F238E27FC236}">
                    <a16:creationId xmlns:a16="http://schemas.microsoft.com/office/drawing/2014/main" id="{43E4023F-03D2-C24F-A0C2-965E6C652347}"/>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4" name="Oval 87">
                <a:extLst>
                  <a:ext uri="{FF2B5EF4-FFF2-40B4-BE49-F238E27FC236}">
                    <a16:creationId xmlns:a16="http://schemas.microsoft.com/office/drawing/2014/main" id="{DF106C5E-9F15-FC41-894B-8C74648DE23A}"/>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8" name="กลุ่ม 513">
              <a:extLst>
                <a:ext uri="{FF2B5EF4-FFF2-40B4-BE49-F238E27FC236}">
                  <a16:creationId xmlns:a16="http://schemas.microsoft.com/office/drawing/2014/main" id="{B5624D27-165B-5E4D-8CA6-03C4AF367D2A}"/>
                </a:ext>
              </a:extLst>
            </p:cNvPr>
            <p:cNvGrpSpPr/>
            <p:nvPr/>
          </p:nvGrpSpPr>
          <p:grpSpPr>
            <a:xfrm>
              <a:off x="6530182" y="2887662"/>
              <a:ext cx="229394" cy="541338"/>
              <a:chOff x="7970838" y="8172450"/>
              <a:chExt cx="458788" cy="1082676"/>
            </a:xfrm>
            <a:grpFill/>
          </p:grpSpPr>
          <p:sp>
            <p:nvSpPr>
              <p:cNvPr id="201" name="Freeform 88">
                <a:extLst>
                  <a:ext uri="{FF2B5EF4-FFF2-40B4-BE49-F238E27FC236}">
                    <a16:creationId xmlns:a16="http://schemas.microsoft.com/office/drawing/2014/main" id="{45BFB359-EACA-554A-B9E1-E1866F42D43A}"/>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2" name="Oval 89">
                <a:extLst>
                  <a:ext uri="{FF2B5EF4-FFF2-40B4-BE49-F238E27FC236}">
                    <a16:creationId xmlns:a16="http://schemas.microsoft.com/office/drawing/2014/main" id="{21E92133-0B75-9D4B-B587-90C5969AC403}"/>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89" name="กลุ่ม 514">
              <a:extLst>
                <a:ext uri="{FF2B5EF4-FFF2-40B4-BE49-F238E27FC236}">
                  <a16:creationId xmlns:a16="http://schemas.microsoft.com/office/drawing/2014/main" id="{28A05904-26A8-9A43-B3E1-F33911E1509B}"/>
                </a:ext>
              </a:extLst>
            </p:cNvPr>
            <p:cNvGrpSpPr/>
            <p:nvPr/>
          </p:nvGrpSpPr>
          <p:grpSpPr>
            <a:xfrm>
              <a:off x="6833394" y="2887662"/>
              <a:ext cx="229394" cy="541338"/>
              <a:chOff x="8577263" y="8172450"/>
              <a:chExt cx="458788" cy="1082676"/>
            </a:xfrm>
            <a:grpFill/>
          </p:grpSpPr>
          <p:sp>
            <p:nvSpPr>
              <p:cNvPr id="199" name="Freeform 90">
                <a:extLst>
                  <a:ext uri="{FF2B5EF4-FFF2-40B4-BE49-F238E27FC236}">
                    <a16:creationId xmlns:a16="http://schemas.microsoft.com/office/drawing/2014/main" id="{2A8CA36C-19DC-8545-BF87-661420F842DA}"/>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200" name="Oval 91">
                <a:extLst>
                  <a:ext uri="{FF2B5EF4-FFF2-40B4-BE49-F238E27FC236}">
                    <a16:creationId xmlns:a16="http://schemas.microsoft.com/office/drawing/2014/main" id="{9D44F8CE-A329-2E42-823B-1F01B2D88456}"/>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90" name="กลุ่ม 522">
              <a:extLst>
                <a:ext uri="{FF2B5EF4-FFF2-40B4-BE49-F238E27FC236}">
                  <a16:creationId xmlns:a16="http://schemas.microsoft.com/office/drawing/2014/main" id="{589722E0-A465-DC4E-8211-817DC86C5624}"/>
                </a:ext>
              </a:extLst>
            </p:cNvPr>
            <p:cNvGrpSpPr/>
            <p:nvPr/>
          </p:nvGrpSpPr>
          <p:grpSpPr>
            <a:xfrm>
              <a:off x="6226969" y="3535362"/>
              <a:ext cx="229394" cy="541338"/>
              <a:chOff x="7364413" y="8172450"/>
              <a:chExt cx="458788" cy="1082676"/>
            </a:xfrm>
            <a:grpFill/>
          </p:grpSpPr>
          <p:sp>
            <p:nvSpPr>
              <p:cNvPr id="197" name="Freeform 86">
                <a:extLst>
                  <a:ext uri="{FF2B5EF4-FFF2-40B4-BE49-F238E27FC236}">
                    <a16:creationId xmlns:a16="http://schemas.microsoft.com/office/drawing/2014/main" id="{68161F52-9F47-C34E-9EB2-33AE673E35B1}"/>
                  </a:ext>
                </a:extLst>
              </p:cNvPr>
              <p:cNvSpPr>
                <a:spLocks/>
              </p:cNvSpPr>
              <p:nvPr/>
            </p:nvSpPr>
            <p:spPr bwMode="auto">
              <a:xfrm>
                <a:off x="7364413" y="8374063"/>
                <a:ext cx="458788" cy="881063"/>
              </a:xfrm>
              <a:custGeom>
                <a:avLst/>
                <a:gdLst>
                  <a:gd name="T0" fmla="*/ 18 w 25"/>
                  <a:gd name="T1" fmla="*/ 0 h 48"/>
                  <a:gd name="T2" fmla="*/ 7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7" y="0"/>
                      <a:pt x="7" y="0"/>
                      <a:pt x="7"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98" name="Oval 87">
                <a:extLst>
                  <a:ext uri="{FF2B5EF4-FFF2-40B4-BE49-F238E27FC236}">
                    <a16:creationId xmlns:a16="http://schemas.microsoft.com/office/drawing/2014/main" id="{46B9BDAF-ABA9-004E-9659-5B58AE28F3CE}"/>
                  </a:ext>
                </a:extLst>
              </p:cNvPr>
              <p:cNvSpPr>
                <a:spLocks noChangeArrowheads="1"/>
              </p:cNvSpPr>
              <p:nvPr/>
            </p:nvSpPr>
            <p:spPr bwMode="auto">
              <a:xfrm>
                <a:off x="7512050"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91" name="กลุ่ม 523">
              <a:extLst>
                <a:ext uri="{FF2B5EF4-FFF2-40B4-BE49-F238E27FC236}">
                  <a16:creationId xmlns:a16="http://schemas.microsoft.com/office/drawing/2014/main" id="{70EC49A6-577A-C941-B38A-3E70EB4DD952}"/>
                </a:ext>
              </a:extLst>
            </p:cNvPr>
            <p:cNvGrpSpPr/>
            <p:nvPr/>
          </p:nvGrpSpPr>
          <p:grpSpPr>
            <a:xfrm>
              <a:off x="6530182" y="3535362"/>
              <a:ext cx="229394" cy="541338"/>
              <a:chOff x="7970838" y="8172450"/>
              <a:chExt cx="458788" cy="1082676"/>
            </a:xfrm>
            <a:grpFill/>
          </p:grpSpPr>
          <p:sp>
            <p:nvSpPr>
              <p:cNvPr id="195" name="Freeform 88">
                <a:extLst>
                  <a:ext uri="{FF2B5EF4-FFF2-40B4-BE49-F238E27FC236}">
                    <a16:creationId xmlns:a16="http://schemas.microsoft.com/office/drawing/2014/main" id="{584A2E89-32F8-494E-BF21-B1B884B26BB6}"/>
                  </a:ext>
                </a:extLst>
              </p:cNvPr>
              <p:cNvSpPr>
                <a:spLocks/>
              </p:cNvSpPr>
              <p:nvPr/>
            </p:nvSpPr>
            <p:spPr bwMode="auto">
              <a:xfrm>
                <a:off x="7970838" y="8374063"/>
                <a:ext cx="458788" cy="881063"/>
              </a:xfrm>
              <a:custGeom>
                <a:avLst/>
                <a:gdLst>
                  <a:gd name="T0" fmla="*/ 18 w 25"/>
                  <a:gd name="T1" fmla="*/ 0 h 48"/>
                  <a:gd name="T2" fmla="*/ 8 w 25"/>
                  <a:gd name="T3" fmla="*/ 0 h 48"/>
                  <a:gd name="T4" fmla="*/ 3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5 w 25"/>
                  <a:gd name="T33" fmla="*/ 48 h 48"/>
                  <a:gd name="T34" fmla="*/ 17 w 25"/>
                  <a:gd name="T35" fmla="*/ 45 h 48"/>
                  <a:gd name="T36" fmla="*/ 17 w 25"/>
                  <a:gd name="T37" fmla="*/ 30 h 48"/>
                  <a:gd name="T38" fmla="*/ 22 w 25"/>
                  <a:gd name="T39" fmla="*/ 30 h 48"/>
                  <a:gd name="T40" fmla="*/ 17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3" y="4"/>
                    </a:cubicBezTo>
                    <a:cubicBezTo>
                      <a:pt x="0" y="20"/>
                      <a:pt x="0" y="20"/>
                      <a:pt x="0" y="20"/>
                    </a:cubicBezTo>
                    <a:cubicBezTo>
                      <a:pt x="0" y="21"/>
                      <a:pt x="1" y="22"/>
                      <a:pt x="2" y="22"/>
                    </a:cubicBezTo>
                    <a:cubicBezTo>
                      <a:pt x="3" y="22"/>
                      <a:pt x="3"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5" y="48"/>
                    </a:cubicBezTo>
                    <a:cubicBezTo>
                      <a:pt x="17" y="48"/>
                      <a:pt x="17" y="47"/>
                      <a:pt x="17" y="45"/>
                    </a:cubicBezTo>
                    <a:cubicBezTo>
                      <a:pt x="17" y="30"/>
                      <a:pt x="17" y="30"/>
                      <a:pt x="17" y="30"/>
                    </a:cubicBezTo>
                    <a:cubicBezTo>
                      <a:pt x="22" y="30"/>
                      <a:pt x="22" y="30"/>
                      <a:pt x="22" y="30"/>
                    </a:cubicBezTo>
                    <a:cubicBezTo>
                      <a:pt x="17" y="5"/>
                      <a:pt x="17" y="5"/>
                      <a:pt x="17"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96" name="Oval 89">
                <a:extLst>
                  <a:ext uri="{FF2B5EF4-FFF2-40B4-BE49-F238E27FC236}">
                    <a16:creationId xmlns:a16="http://schemas.microsoft.com/office/drawing/2014/main" id="{3118ECF6-F63A-D04C-B92E-F66C90F3E429}"/>
                  </a:ext>
                </a:extLst>
              </p:cNvPr>
              <p:cNvSpPr>
                <a:spLocks noChangeArrowheads="1"/>
              </p:cNvSpPr>
              <p:nvPr/>
            </p:nvSpPr>
            <p:spPr bwMode="auto">
              <a:xfrm>
                <a:off x="8116888"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92" name="กลุ่ม 524">
              <a:extLst>
                <a:ext uri="{FF2B5EF4-FFF2-40B4-BE49-F238E27FC236}">
                  <a16:creationId xmlns:a16="http://schemas.microsoft.com/office/drawing/2014/main" id="{219B13FB-92F2-E644-B494-89B62279A98E}"/>
                </a:ext>
              </a:extLst>
            </p:cNvPr>
            <p:cNvGrpSpPr/>
            <p:nvPr/>
          </p:nvGrpSpPr>
          <p:grpSpPr>
            <a:xfrm>
              <a:off x="6833394" y="3535362"/>
              <a:ext cx="229394" cy="541338"/>
              <a:chOff x="8577263" y="8172450"/>
              <a:chExt cx="458788" cy="1082676"/>
            </a:xfrm>
            <a:grpFill/>
          </p:grpSpPr>
          <p:sp>
            <p:nvSpPr>
              <p:cNvPr id="193" name="Freeform 90">
                <a:extLst>
                  <a:ext uri="{FF2B5EF4-FFF2-40B4-BE49-F238E27FC236}">
                    <a16:creationId xmlns:a16="http://schemas.microsoft.com/office/drawing/2014/main" id="{28536B44-5341-944F-81E4-EB331DF1247C}"/>
                  </a:ext>
                </a:extLst>
              </p:cNvPr>
              <p:cNvSpPr>
                <a:spLocks/>
              </p:cNvSpPr>
              <p:nvPr/>
            </p:nvSpPr>
            <p:spPr bwMode="auto">
              <a:xfrm>
                <a:off x="8577263" y="8374063"/>
                <a:ext cx="458788" cy="881063"/>
              </a:xfrm>
              <a:custGeom>
                <a:avLst/>
                <a:gdLst>
                  <a:gd name="T0" fmla="*/ 18 w 25"/>
                  <a:gd name="T1" fmla="*/ 0 h 48"/>
                  <a:gd name="T2" fmla="*/ 8 w 25"/>
                  <a:gd name="T3" fmla="*/ 0 h 48"/>
                  <a:gd name="T4" fmla="*/ 4 w 25"/>
                  <a:gd name="T5" fmla="*/ 4 h 48"/>
                  <a:gd name="T6" fmla="*/ 0 w 25"/>
                  <a:gd name="T7" fmla="*/ 20 h 48"/>
                  <a:gd name="T8" fmla="*/ 2 w 25"/>
                  <a:gd name="T9" fmla="*/ 22 h 48"/>
                  <a:gd name="T10" fmla="*/ 4 w 25"/>
                  <a:gd name="T11" fmla="*/ 20 h 48"/>
                  <a:gd name="T12" fmla="*/ 7 w 25"/>
                  <a:gd name="T13" fmla="*/ 5 h 48"/>
                  <a:gd name="T14" fmla="*/ 8 w 25"/>
                  <a:gd name="T15" fmla="*/ 5 h 48"/>
                  <a:gd name="T16" fmla="*/ 3 w 25"/>
                  <a:gd name="T17" fmla="*/ 30 h 48"/>
                  <a:gd name="T18" fmla="*/ 8 w 25"/>
                  <a:gd name="T19" fmla="*/ 30 h 48"/>
                  <a:gd name="T20" fmla="*/ 8 w 25"/>
                  <a:gd name="T21" fmla="*/ 45 h 48"/>
                  <a:gd name="T22" fmla="*/ 10 w 25"/>
                  <a:gd name="T23" fmla="*/ 48 h 48"/>
                  <a:gd name="T24" fmla="*/ 12 w 25"/>
                  <a:gd name="T25" fmla="*/ 45 h 48"/>
                  <a:gd name="T26" fmla="*/ 12 w 25"/>
                  <a:gd name="T27" fmla="*/ 30 h 48"/>
                  <a:gd name="T28" fmla="*/ 13 w 25"/>
                  <a:gd name="T29" fmla="*/ 30 h 48"/>
                  <a:gd name="T30" fmla="*/ 13 w 25"/>
                  <a:gd name="T31" fmla="*/ 45 h 48"/>
                  <a:gd name="T32" fmla="*/ 16 w 25"/>
                  <a:gd name="T33" fmla="*/ 48 h 48"/>
                  <a:gd name="T34" fmla="*/ 18 w 25"/>
                  <a:gd name="T35" fmla="*/ 45 h 48"/>
                  <a:gd name="T36" fmla="*/ 18 w 25"/>
                  <a:gd name="T37" fmla="*/ 30 h 48"/>
                  <a:gd name="T38" fmla="*/ 22 w 25"/>
                  <a:gd name="T39" fmla="*/ 30 h 48"/>
                  <a:gd name="T40" fmla="*/ 18 w 25"/>
                  <a:gd name="T41" fmla="*/ 5 h 48"/>
                  <a:gd name="T42" fmla="*/ 18 w 25"/>
                  <a:gd name="T43" fmla="*/ 5 h 48"/>
                  <a:gd name="T44" fmla="*/ 21 w 25"/>
                  <a:gd name="T45" fmla="*/ 20 h 48"/>
                  <a:gd name="T46" fmla="*/ 23 w 25"/>
                  <a:gd name="T47" fmla="*/ 22 h 48"/>
                  <a:gd name="T48" fmla="*/ 25 w 25"/>
                  <a:gd name="T49" fmla="*/ 20 h 48"/>
                  <a:gd name="T50" fmla="*/ 22 w 25"/>
                  <a:gd name="T51" fmla="*/ 4 h 48"/>
                  <a:gd name="T52" fmla="*/ 18 w 25"/>
                  <a:gd name="T5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48">
                    <a:moveTo>
                      <a:pt x="18" y="0"/>
                    </a:moveTo>
                    <a:cubicBezTo>
                      <a:pt x="8" y="0"/>
                      <a:pt x="8" y="0"/>
                      <a:pt x="8" y="0"/>
                    </a:cubicBezTo>
                    <a:cubicBezTo>
                      <a:pt x="5" y="0"/>
                      <a:pt x="4" y="2"/>
                      <a:pt x="4" y="4"/>
                    </a:cubicBezTo>
                    <a:cubicBezTo>
                      <a:pt x="0" y="20"/>
                      <a:pt x="0" y="20"/>
                      <a:pt x="0" y="20"/>
                    </a:cubicBezTo>
                    <a:cubicBezTo>
                      <a:pt x="0" y="21"/>
                      <a:pt x="1" y="22"/>
                      <a:pt x="2" y="22"/>
                    </a:cubicBezTo>
                    <a:cubicBezTo>
                      <a:pt x="3" y="22"/>
                      <a:pt x="4" y="21"/>
                      <a:pt x="4" y="20"/>
                    </a:cubicBezTo>
                    <a:cubicBezTo>
                      <a:pt x="7" y="5"/>
                      <a:pt x="7" y="5"/>
                      <a:pt x="7" y="5"/>
                    </a:cubicBezTo>
                    <a:cubicBezTo>
                      <a:pt x="8" y="5"/>
                      <a:pt x="8" y="5"/>
                      <a:pt x="8" y="5"/>
                    </a:cubicBezTo>
                    <a:cubicBezTo>
                      <a:pt x="3" y="30"/>
                      <a:pt x="3" y="30"/>
                      <a:pt x="3" y="30"/>
                    </a:cubicBezTo>
                    <a:cubicBezTo>
                      <a:pt x="8" y="30"/>
                      <a:pt x="8" y="30"/>
                      <a:pt x="8" y="30"/>
                    </a:cubicBezTo>
                    <a:cubicBezTo>
                      <a:pt x="8" y="45"/>
                      <a:pt x="8" y="45"/>
                      <a:pt x="8" y="45"/>
                    </a:cubicBezTo>
                    <a:cubicBezTo>
                      <a:pt x="8" y="47"/>
                      <a:pt x="8" y="48"/>
                      <a:pt x="10" y="48"/>
                    </a:cubicBezTo>
                    <a:cubicBezTo>
                      <a:pt x="11" y="48"/>
                      <a:pt x="12" y="47"/>
                      <a:pt x="12" y="45"/>
                    </a:cubicBezTo>
                    <a:cubicBezTo>
                      <a:pt x="12" y="30"/>
                      <a:pt x="12" y="30"/>
                      <a:pt x="12" y="30"/>
                    </a:cubicBezTo>
                    <a:cubicBezTo>
                      <a:pt x="13" y="30"/>
                      <a:pt x="13" y="30"/>
                      <a:pt x="13" y="30"/>
                    </a:cubicBezTo>
                    <a:cubicBezTo>
                      <a:pt x="13" y="45"/>
                      <a:pt x="13" y="45"/>
                      <a:pt x="13" y="45"/>
                    </a:cubicBezTo>
                    <a:cubicBezTo>
                      <a:pt x="13" y="47"/>
                      <a:pt x="14" y="48"/>
                      <a:pt x="16" y="48"/>
                    </a:cubicBezTo>
                    <a:cubicBezTo>
                      <a:pt x="17" y="48"/>
                      <a:pt x="18" y="47"/>
                      <a:pt x="18" y="45"/>
                    </a:cubicBezTo>
                    <a:cubicBezTo>
                      <a:pt x="18" y="30"/>
                      <a:pt x="18" y="30"/>
                      <a:pt x="18" y="30"/>
                    </a:cubicBezTo>
                    <a:cubicBezTo>
                      <a:pt x="22" y="30"/>
                      <a:pt x="22" y="30"/>
                      <a:pt x="22" y="30"/>
                    </a:cubicBezTo>
                    <a:cubicBezTo>
                      <a:pt x="18" y="5"/>
                      <a:pt x="18" y="5"/>
                      <a:pt x="18" y="5"/>
                    </a:cubicBezTo>
                    <a:cubicBezTo>
                      <a:pt x="18" y="5"/>
                      <a:pt x="18" y="5"/>
                      <a:pt x="18" y="5"/>
                    </a:cubicBezTo>
                    <a:cubicBezTo>
                      <a:pt x="21" y="20"/>
                      <a:pt x="21" y="20"/>
                      <a:pt x="21" y="20"/>
                    </a:cubicBezTo>
                    <a:cubicBezTo>
                      <a:pt x="22" y="21"/>
                      <a:pt x="22" y="22"/>
                      <a:pt x="23" y="22"/>
                    </a:cubicBezTo>
                    <a:cubicBezTo>
                      <a:pt x="24" y="22"/>
                      <a:pt x="25" y="21"/>
                      <a:pt x="25" y="20"/>
                    </a:cubicBezTo>
                    <a:cubicBezTo>
                      <a:pt x="22" y="4"/>
                      <a:pt x="22" y="4"/>
                      <a:pt x="22" y="4"/>
                    </a:cubicBezTo>
                    <a:cubicBezTo>
                      <a:pt x="21" y="1"/>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194" name="Oval 91">
                <a:extLst>
                  <a:ext uri="{FF2B5EF4-FFF2-40B4-BE49-F238E27FC236}">
                    <a16:creationId xmlns:a16="http://schemas.microsoft.com/office/drawing/2014/main" id="{0B56E015-80B4-C249-BE04-AE3E08076FE7}"/>
                  </a:ext>
                </a:extLst>
              </p:cNvPr>
              <p:cNvSpPr>
                <a:spLocks noChangeArrowheads="1"/>
              </p:cNvSpPr>
              <p:nvPr/>
            </p:nvSpPr>
            <p:spPr bwMode="auto">
              <a:xfrm>
                <a:off x="8723313" y="8172450"/>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Calibri Light"/>
                  <a:ea typeface="+mn-ea"/>
                  <a:cs typeface="+mn-cs"/>
                </a:endParaRPr>
              </a:p>
            </p:txBody>
          </p:sp>
        </p:grpSp>
      </p:grpSp>
      <p:sp>
        <p:nvSpPr>
          <p:cNvPr id="225" name="Star: 5 Points 224">
            <a:extLst>
              <a:ext uri="{FF2B5EF4-FFF2-40B4-BE49-F238E27FC236}">
                <a16:creationId xmlns:a16="http://schemas.microsoft.com/office/drawing/2014/main" id="{01FC30C3-9DDD-449A-B573-4561B316C98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NEW</a:t>
            </a:r>
          </a:p>
        </p:txBody>
      </p:sp>
    </p:spTree>
    <p:extLst>
      <p:ext uri="{BB962C8B-B14F-4D97-AF65-F5344CB8AC3E}">
        <p14:creationId xmlns:p14="http://schemas.microsoft.com/office/powerpoint/2010/main" val="2938725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wipe(left)">
                                      <p:cBhvr>
                                        <p:cTn id="7" dur="250"/>
                                        <p:tgtEl>
                                          <p:spTgt spid="97"/>
                                        </p:tgtEl>
                                      </p:cBhvr>
                                    </p:animEffect>
                                  </p:childTnLst>
                                </p:cTn>
                              </p:par>
                            </p:childTnLst>
                          </p:cTn>
                        </p:par>
                        <p:par>
                          <p:cTn id="8" fill="hold">
                            <p:stCondLst>
                              <p:cond delay="250"/>
                            </p:stCondLst>
                            <p:childTnLst>
                              <p:par>
                                <p:cTn id="9" presetID="22" presetClass="entr" presetSubtype="2" fill="hold" grpId="0" nodeType="afterEffect">
                                  <p:stCondLst>
                                    <p:cond delay="0"/>
                                  </p:stCondLst>
                                  <p:childTnLst>
                                    <p:set>
                                      <p:cBhvr>
                                        <p:cTn id="10" dur="1" fill="hold">
                                          <p:stCondLst>
                                            <p:cond delay="0"/>
                                          </p:stCondLst>
                                        </p:cTn>
                                        <p:tgtEl>
                                          <p:spTgt spid="98"/>
                                        </p:tgtEl>
                                        <p:attrNameLst>
                                          <p:attrName>style.visibility</p:attrName>
                                        </p:attrNameLst>
                                      </p:cBhvr>
                                      <p:to>
                                        <p:strVal val="visible"/>
                                      </p:to>
                                    </p:set>
                                    <p:animEffect transition="in" filter="wipe(right)">
                                      <p:cBhvr>
                                        <p:cTn id="11" dur="250"/>
                                        <p:tgtEl>
                                          <p:spTgt spid="98"/>
                                        </p:tgtEl>
                                      </p:cBhvr>
                                    </p:animEffect>
                                  </p:childTnLst>
                                </p:cTn>
                              </p:par>
                            </p:childTnLst>
                          </p:cTn>
                        </p:par>
                        <p:par>
                          <p:cTn id="12" fill="hold">
                            <p:stCondLst>
                              <p:cond delay="500"/>
                            </p:stCondLst>
                            <p:childTnLst>
                              <p:par>
                                <p:cTn id="13" presetID="22" presetClass="entr" presetSubtype="2" fill="hold" grpId="0" nodeType="afterEffect">
                                  <p:stCondLst>
                                    <p:cond delay="0"/>
                                  </p:stCondLst>
                                  <p:childTnLst>
                                    <p:set>
                                      <p:cBhvr>
                                        <p:cTn id="14" dur="1" fill="hold">
                                          <p:stCondLst>
                                            <p:cond delay="0"/>
                                          </p:stCondLst>
                                        </p:cTn>
                                        <p:tgtEl>
                                          <p:spTgt spid="99"/>
                                        </p:tgtEl>
                                        <p:attrNameLst>
                                          <p:attrName>style.visibility</p:attrName>
                                        </p:attrNameLst>
                                      </p:cBhvr>
                                      <p:to>
                                        <p:strVal val="visible"/>
                                      </p:to>
                                    </p:set>
                                    <p:animEffect transition="in" filter="wipe(right)">
                                      <p:cBhvr>
                                        <p:cTn id="15" dur="250"/>
                                        <p:tgtEl>
                                          <p:spTgt spid="99"/>
                                        </p:tgtEl>
                                      </p:cBhvr>
                                    </p:animEffect>
                                  </p:childTnLst>
                                </p:cTn>
                              </p:par>
                            </p:childTnLst>
                          </p:cTn>
                        </p:par>
                        <p:par>
                          <p:cTn id="16" fill="hold">
                            <p:stCondLst>
                              <p:cond delay="750"/>
                            </p:stCondLst>
                            <p:childTnLst>
                              <p:par>
                                <p:cTn id="17" presetID="22" presetClass="entr" presetSubtype="8" fill="hold" grpId="0" nodeType="afterEffect">
                                  <p:stCondLst>
                                    <p:cond delay="0"/>
                                  </p:stCondLst>
                                  <p:childTnLst>
                                    <p:set>
                                      <p:cBhvr>
                                        <p:cTn id="18" dur="1" fill="hold">
                                          <p:stCondLst>
                                            <p:cond delay="0"/>
                                          </p:stCondLst>
                                        </p:cTn>
                                        <p:tgtEl>
                                          <p:spTgt spid="100"/>
                                        </p:tgtEl>
                                        <p:attrNameLst>
                                          <p:attrName>style.visibility</p:attrName>
                                        </p:attrNameLst>
                                      </p:cBhvr>
                                      <p:to>
                                        <p:strVal val="visible"/>
                                      </p:to>
                                    </p:set>
                                    <p:animEffect transition="in" filter="wipe(left)">
                                      <p:cBhvr>
                                        <p:cTn id="19" dur="250"/>
                                        <p:tgtEl>
                                          <p:spTgt spid="100"/>
                                        </p:tgtEl>
                                      </p:cBhvr>
                                    </p:animEffect>
                                  </p:childTnLst>
                                </p:cTn>
                              </p:par>
                            </p:childTnLst>
                          </p:cTn>
                        </p:par>
                        <p:par>
                          <p:cTn id="20" fill="hold">
                            <p:stCondLst>
                              <p:cond delay="1000"/>
                            </p:stCondLst>
                            <p:childTnLst>
                              <p:par>
                                <p:cTn id="21" presetID="22" presetClass="entr" presetSubtype="2" fill="hold" grpId="0" nodeType="afterEffect">
                                  <p:stCondLst>
                                    <p:cond delay="0"/>
                                  </p:stCondLst>
                                  <p:childTnLst>
                                    <p:set>
                                      <p:cBhvr>
                                        <p:cTn id="22" dur="1" fill="hold">
                                          <p:stCondLst>
                                            <p:cond delay="0"/>
                                          </p:stCondLst>
                                        </p:cTn>
                                        <p:tgtEl>
                                          <p:spTgt spid="101"/>
                                        </p:tgtEl>
                                        <p:attrNameLst>
                                          <p:attrName>style.visibility</p:attrName>
                                        </p:attrNameLst>
                                      </p:cBhvr>
                                      <p:to>
                                        <p:strVal val="visible"/>
                                      </p:to>
                                    </p:set>
                                    <p:animEffect transition="in" filter="wipe(right)">
                                      <p:cBhvr>
                                        <p:cTn id="23" dur="250"/>
                                        <p:tgtEl>
                                          <p:spTgt spid="101"/>
                                        </p:tgtEl>
                                      </p:cBhvr>
                                    </p:animEffect>
                                  </p:childTnLst>
                                </p:cTn>
                              </p:par>
                            </p:childTnLst>
                          </p:cTn>
                        </p:par>
                        <p:par>
                          <p:cTn id="24" fill="hold">
                            <p:stCondLst>
                              <p:cond delay="1250"/>
                            </p:stCondLst>
                            <p:childTnLst>
                              <p:par>
                                <p:cTn id="25" presetID="22" presetClass="entr" presetSubtype="2" fill="hold" grpId="0" nodeType="afterEffect">
                                  <p:stCondLst>
                                    <p:cond delay="0"/>
                                  </p:stCondLst>
                                  <p:childTnLst>
                                    <p:set>
                                      <p:cBhvr>
                                        <p:cTn id="26" dur="1" fill="hold">
                                          <p:stCondLst>
                                            <p:cond delay="0"/>
                                          </p:stCondLst>
                                        </p:cTn>
                                        <p:tgtEl>
                                          <p:spTgt spid="102"/>
                                        </p:tgtEl>
                                        <p:attrNameLst>
                                          <p:attrName>style.visibility</p:attrName>
                                        </p:attrNameLst>
                                      </p:cBhvr>
                                      <p:to>
                                        <p:strVal val="visible"/>
                                      </p:to>
                                    </p:set>
                                    <p:animEffect transition="in" filter="wipe(right)">
                                      <p:cBhvr>
                                        <p:cTn id="27" dur="25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p:bldP spid="98" grpId="0"/>
      <p:bldP spid="99" grpId="0"/>
      <p:bldP spid="100" grpId="0"/>
      <p:bldP spid="101" grpId="0"/>
      <p:bldP spid="102" grpId="0"/>
    </p:bld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9902BC-54B1-43ED-8D0F-CD883284478E}"/>
              </a:ext>
            </a:extLst>
          </p:cNvPr>
          <p:cNvSpPr>
            <a:spLocks noGrp="1"/>
          </p:cNvSpPr>
          <p:nvPr>
            <p:ph type="title"/>
          </p:nvPr>
        </p:nvSpPr>
        <p:spPr/>
        <p:txBody>
          <a:bodyPr/>
          <a:lstStyle/>
          <a:p>
            <a:r>
              <a:rPr lang="en-US" dirty="0"/>
              <a:t>Funnel</a:t>
            </a:r>
          </a:p>
        </p:txBody>
      </p:sp>
      <p:grpSp>
        <p:nvGrpSpPr>
          <p:cNvPr id="17" name="Group 16">
            <a:extLst>
              <a:ext uri="{FF2B5EF4-FFF2-40B4-BE49-F238E27FC236}">
                <a16:creationId xmlns:a16="http://schemas.microsoft.com/office/drawing/2014/main" id="{9CFED286-6187-4553-AA0C-0E7A6FA335C9}"/>
              </a:ext>
            </a:extLst>
          </p:cNvPr>
          <p:cNvGrpSpPr/>
          <p:nvPr/>
        </p:nvGrpSpPr>
        <p:grpSpPr>
          <a:xfrm>
            <a:off x="1039542" y="1333402"/>
            <a:ext cx="10624458" cy="4584025"/>
            <a:chOff x="1371026" y="1359575"/>
            <a:chExt cx="6401949" cy="4119801"/>
          </a:xfrm>
        </p:grpSpPr>
        <p:sp>
          <p:nvSpPr>
            <p:cNvPr id="5" name="Freeform 3">
              <a:extLst>
                <a:ext uri="{FF2B5EF4-FFF2-40B4-BE49-F238E27FC236}">
                  <a16:creationId xmlns:a16="http://schemas.microsoft.com/office/drawing/2014/main" id="{956E848E-F0E1-4C97-BBF9-1255CF0DCD34}"/>
                </a:ext>
              </a:extLst>
            </p:cNvPr>
            <p:cNvSpPr>
              <a:spLocks/>
            </p:cNvSpPr>
            <p:nvPr/>
          </p:nvSpPr>
          <p:spPr bwMode="gray">
            <a:xfrm rot="16200000" flipH="1">
              <a:off x="2012054" y="2812630"/>
              <a:ext cx="2994328" cy="1220611"/>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 name="Freeform 5">
              <a:extLst>
                <a:ext uri="{FF2B5EF4-FFF2-40B4-BE49-F238E27FC236}">
                  <a16:creationId xmlns:a16="http://schemas.microsoft.com/office/drawing/2014/main" id="{46DC7ED4-52CF-455E-BBA3-EA58287A9CB8}"/>
                </a:ext>
              </a:extLst>
            </p:cNvPr>
            <p:cNvSpPr>
              <a:spLocks/>
            </p:cNvSpPr>
            <p:nvPr/>
          </p:nvSpPr>
          <p:spPr bwMode="gray">
            <a:xfrm rot="16200000">
              <a:off x="3334774" y="2858949"/>
              <a:ext cx="2313233" cy="1127970"/>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solidFill>
              <a:schemeClr val="accent4"/>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7" name="Freeform 6">
              <a:extLst>
                <a:ext uri="{FF2B5EF4-FFF2-40B4-BE49-F238E27FC236}">
                  <a16:creationId xmlns:a16="http://schemas.microsoft.com/office/drawing/2014/main" id="{48E99FD0-2A25-4784-85DD-96DAE465E0B7}"/>
                </a:ext>
              </a:extLst>
            </p:cNvPr>
            <p:cNvSpPr>
              <a:spLocks/>
            </p:cNvSpPr>
            <p:nvPr/>
          </p:nvSpPr>
          <p:spPr bwMode="gray">
            <a:xfrm rot="16200000">
              <a:off x="4540693" y="2859576"/>
              <a:ext cx="1795490" cy="1126718"/>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5">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8" name="Freeform 7">
              <a:extLst>
                <a:ext uri="{FF2B5EF4-FFF2-40B4-BE49-F238E27FC236}">
                  <a16:creationId xmlns:a16="http://schemas.microsoft.com/office/drawing/2014/main" id="{3698A9C5-F6C7-4B32-BC1E-CB77173D97BE}"/>
                </a:ext>
              </a:extLst>
            </p:cNvPr>
            <p:cNvSpPr>
              <a:spLocks/>
            </p:cNvSpPr>
            <p:nvPr/>
          </p:nvSpPr>
          <p:spPr bwMode="gray">
            <a:xfrm rot="16200000" flipH="1">
              <a:off x="5691238" y="2858949"/>
              <a:ext cx="1388493" cy="1127970"/>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bg2">
                <a:lumMod val="5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 name="Freeform 3">
              <a:extLst>
                <a:ext uri="{FF2B5EF4-FFF2-40B4-BE49-F238E27FC236}">
                  <a16:creationId xmlns:a16="http://schemas.microsoft.com/office/drawing/2014/main" id="{EE859B21-93E8-465A-AB38-252FB3BC62FE}"/>
                </a:ext>
              </a:extLst>
            </p:cNvPr>
            <p:cNvSpPr>
              <a:spLocks/>
            </p:cNvSpPr>
            <p:nvPr/>
          </p:nvSpPr>
          <p:spPr bwMode="gray">
            <a:xfrm rot="16200000" flipH="1">
              <a:off x="434756" y="2820478"/>
              <a:ext cx="4097184" cy="1220611"/>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3"/>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3686" rtl="0" eaLnBrk="1" fontAlgn="base" latinLnBrk="0" hangingPunct="1">
                <a:lnSpc>
                  <a:spcPct val="100000"/>
                </a:lnSpc>
                <a:spcBef>
                  <a:spcPct val="0"/>
                </a:spcBef>
                <a:spcAft>
                  <a:spcPct val="0"/>
                </a:spcAft>
                <a:buClrTx/>
                <a:buSzTx/>
                <a:buFont typeface="Wingdings 2" pitchFamily="18" charset="2"/>
                <a:buNone/>
                <a:tabLst/>
                <a:defRPr/>
              </a:pPr>
              <a:endParaRPr kumimoji="0" lang="en-US" sz="11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 name="Oval 4">
              <a:extLst>
                <a:ext uri="{FF2B5EF4-FFF2-40B4-BE49-F238E27FC236}">
                  <a16:creationId xmlns:a16="http://schemas.microsoft.com/office/drawing/2014/main" id="{23A4C5E6-64C2-4688-A7CB-11686C8ECF4D}"/>
                </a:ext>
              </a:extLst>
            </p:cNvPr>
            <p:cNvSpPr>
              <a:spLocks noChangeArrowheads="1"/>
            </p:cNvSpPr>
            <p:nvPr/>
          </p:nvSpPr>
          <p:spPr bwMode="gray">
            <a:xfrm rot="16200000">
              <a:off x="-259468" y="2990069"/>
              <a:ext cx="4119798" cy="858809"/>
            </a:xfrm>
            <a:prstGeom prst="ellipse">
              <a:avLst/>
            </a:prstGeom>
            <a:gradFill rotWithShape="0">
              <a:gsLst>
                <a:gs pos="0">
                  <a:schemeClr val="accent3"/>
                </a:gs>
                <a:gs pos="100000">
                  <a:schemeClr val="accent3">
                    <a:lumMod val="50000"/>
                  </a:schemeClr>
                </a:gs>
              </a:gsLst>
              <a:lin ang="0" scaled="1"/>
            </a:gradFill>
            <a:ln w="9525">
              <a:noFill/>
              <a:round/>
              <a:headEnd/>
              <a:tailEnd/>
            </a:ln>
            <a:effectLst/>
          </p:spPr>
          <p:txBody>
            <a:bodyPr wrap="none" lIns="0" tIns="0" rIns="0" bIns="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44546A"/>
                </a:solidFill>
                <a:effectLst/>
                <a:uLnTx/>
                <a:uFillTx/>
                <a:latin typeface="Calibri Light"/>
                <a:ea typeface="+mn-ea"/>
                <a:cs typeface="+mn-cs"/>
              </a:endParaRPr>
            </a:p>
          </p:txBody>
        </p:sp>
        <p:sp>
          <p:nvSpPr>
            <p:cNvPr id="11" name="Text Box 12">
              <a:extLst>
                <a:ext uri="{FF2B5EF4-FFF2-40B4-BE49-F238E27FC236}">
                  <a16:creationId xmlns:a16="http://schemas.microsoft.com/office/drawing/2014/main" id="{2FB2012E-52E9-4284-ABCB-0A7CF01392C0}"/>
                </a:ext>
              </a:extLst>
            </p:cNvPr>
            <p:cNvSpPr txBox="1">
              <a:spLocks noChangeArrowheads="1"/>
            </p:cNvSpPr>
            <p:nvPr/>
          </p:nvSpPr>
          <p:spPr bwMode="gray">
            <a:xfrm>
              <a:off x="6844058" y="3276103"/>
              <a:ext cx="928917" cy="304269"/>
            </a:xfrm>
            <a:prstGeom prst="rect">
              <a:avLst/>
            </a:prstGeom>
            <a:noFill/>
            <a:ln w="9525">
              <a:noFill/>
              <a:miter lim="800000"/>
              <a:headEnd/>
              <a:tailEnd/>
            </a:ln>
          </p:spPr>
          <p:txBody>
            <a:bodyPr lIns="0" tIns="0" rIns="0" bIns="0" anchor="ctr">
              <a:spAutoFit/>
            </a:bodyPr>
            <a:lstStyle/>
            <a:p>
              <a:pPr lvl="0" algn="ctr" defTabSz="913686"/>
              <a:r>
                <a:rPr lang="en-US" sz="1100" dirty="0">
                  <a:solidFill>
                    <a:srgbClr val="44546A"/>
                  </a:solidFill>
                </a:rPr>
                <a:t>Category</a:t>
              </a:r>
            </a:p>
            <a:p>
              <a:pPr lvl="0" algn="ctr" defTabSz="913686"/>
              <a:endParaRPr lang="en-US" sz="1100" dirty="0" err="1">
                <a:solidFill>
                  <a:srgbClr val="44546A"/>
                </a:solidFill>
              </a:endParaRPr>
            </a:p>
          </p:txBody>
        </p:sp>
        <p:sp>
          <p:nvSpPr>
            <p:cNvPr id="12" name="Text Box 12">
              <a:extLst>
                <a:ext uri="{FF2B5EF4-FFF2-40B4-BE49-F238E27FC236}">
                  <a16:creationId xmlns:a16="http://schemas.microsoft.com/office/drawing/2014/main" id="{720674C3-A269-419B-8D3C-405DE8E5DBCD}"/>
                </a:ext>
              </a:extLst>
            </p:cNvPr>
            <p:cNvSpPr txBox="1">
              <a:spLocks noChangeArrowheads="1"/>
            </p:cNvSpPr>
            <p:nvPr/>
          </p:nvSpPr>
          <p:spPr bwMode="gray">
            <a:xfrm>
              <a:off x="2494562" y="3352170"/>
              <a:ext cx="309093"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kumimoji="0" lang="en-US" sz="1100" b="1" i="0" u="none" strike="noStrike" kern="1200" cap="none" spc="0" normalizeH="0" baseline="0" noProof="0" dirty="0">
                <a:ln>
                  <a:noFill/>
                </a:ln>
                <a:solidFill>
                  <a:prstClr val="white"/>
                </a:solidFill>
                <a:effectLst/>
                <a:uLnTx/>
                <a:uFillTx/>
                <a:ea typeface="+mn-ea"/>
                <a:cs typeface="+mn-cs"/>
              </a:endParaRPr>
            </a:p>
          </p:txBody>
        </p:sp>
        <p:sp>
          <p:nvSpPr>
            <p:cNvPr id="13" name="Text Box 12">
              <a:extLst>
                <a:ext uri="{FF2B5EF4-FFF2-40B4-BE49-F238E27FC236}">
                  <a16:creationId xmlns:a16="http://schemas.microsoft.com/office/drawing/2014/main" id="{F42A4AE1-A7CC-478D-B18B-316378CFA524}"/>
                </a:ext>
              </a:extLst>
            </p:cNvPr>
            <p:cNvSpPr txBox="1">
              <a:spLocks noChangeArrowheads="1"/>
            </p:cNvSpPr>
            <p:nvPr/>
          </p:nvSpPr>
          <p:spPr bwMode="gray">
            <a:xfrm>
              <a:off x="3493921" y="3352170"/>
              <a:ext cx="309094"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lang="en-US" sz="1100" b="1" dirty="0">
                <a:solidFill>
                  <a:prstClr val="white"/>
                </a:solidFill>
              </a:endParaRPr>
            </a:p>
          </p:txBody>
        </p:sp>
        <p:sp>
          <p:nvSpPr>
            <p:cNvPr id="14" name="Text Box 12">
              <a:extLst>
                <a:ext uri="{FF2B5EF4-FFF2-40B4-BE49-F238E27FC236}">
                  <a16:creationId xmlns:a16="http://schemas.microsoft.com/office/drawing/2014/main" id="{C11BDCB3-68A2-41CC-91B5-A3FC96E6B9D9}"/>
                </a:ext>
              </a:extLst>
            </p:cNvPr>
            <p:cNvSpPr txBox="1">
              <a:spLocks noChangeArrowheads="1"/>
            </p:cNvSpPr>
            <p:nvPr/>
          </p:nvSpPr>
          <p:spPr bwMode="gray">
            <a:xfrm>
              <a:off x="4418248" y="3352170"/>
              <a:ext cx="309093"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lang="en-US" sz="1100" b="1" dirty="0">
                <a:solidFill>
                  <a:prstClr val="white"/>
                </a:solidFill>
              </a:endParaRPr>
            </a:p>
          </p:txBody>
        </p:sp>
        <p:sp>
          <p:nvSpPr>
            <p:cNvPr id="15" name="Text Box 12">
              <a:extLst>
                <a:ext uri="{FF2B5EF4-FFF2-40B4-BE49-F238E27FC236}">
                  <a16:creationId xmlns:a16="http://schemas.microsoft.com/office/drawing/2014/main" id="{18B62734-5EE0-45C2-AECD-225D9DB36A26}"/>
                </a:ext>
              </a:extLst>
            </p:cNvPr>
            <p:cNvSpPr txBox="1">
              <a:spLocks noChangeArrowheads="1"/>
            </p:cNvSpPr>
            <p:nvPr/>
          </p:nvSpPr>
          <p:spPr bwMode="gray">
            <a:xfrm>
              <a:off x="5436080" y="3352170"/>
              <a:ext cx="309093"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lang="en-US" sz="1100" b="1" dirty="0">
                <a:solidFill>
                  <a:prstClr val="white"/>
                </a:solidFill>
              </a:endParaRPr>
            </a:p>
          </p:txBody>
        </p:sp>
        <p:sp>
          <p:nvSpPr>
            <p:cNvPr id="16" name="Text Box 12">
              <a:extLst>
                <a:ext uri="{FF2B5EF4-FFF2-40B4-BE49-F238E27FC236}">
                  <a16:creationId xmlns:a16="http://schemas.microsoft.com/office/drawing/2014/main" id="{EC41AFE2-5DC5-4800-8885-0FF1E994A945}"/>
                </a:ext>
              </a:extLst>
            </p:cNvPr>
            <p:cNvSpPr txBox="1">
              <a:spLocks noChangeArrowheads="1"/>
            </p:cNvSpPr>
            <p:nvPr/>
          </p:nvSpPr>
          <p:spPr bwMode="gray">
            <a:xfrm>
              <a:off x="6383993" y="3352170"/>
              <a:ext cx="309093" cy="152134"/>
            </a:xfrm>
            <a:prstGeom prst="rect">
              <a:avLst/>
            </a:prstGeom>
            <a:noFill/>
            <a:ln w="9525">
              <a:noFill/>
              <a:miter lim="800000"/>
              <a:headEnd/>
              <a:tailEnd/>
            </a:ln>
          </p:spPr>
          <p:txBody>
            <a:bodyPr wrap="none" lIns="0" tIns="0" rIns="0" bIns="0" anchor="ctr">
              <a:spAutoFit/>
            </a:bodyPr>
            <a:lstStyle/>
            <a:p>
              <a:pPr lvl="0" algn="ctr" defTabSz="913686"/>
              <a:r>
                <a:rPr lang="en-US" sz="1100" dirty="0">
                  <a:solidFill>
                    <a:prstClr val="white"/>
                  </a:solidFill>
                  <a:ea typeface="Lato" pitchFamily="34" charset="0"/>
                  <a:cs typeface="Lato" pitchFamily="34" charset="0"/>
                </a:rPr>
                <a:t>Category</a:t>
              </a:r>
              <a:endParaRPr lang="en-US" sz="1100" b="1" dirty="0">
                <a:solidFill>
                  <a:prstClr val="white"/>
                </a:solidFill>
              </a:endParaRPr>
            </a:p>
          </p:txBody>
        </p:sp>
      </p:grpSp>
      <p:sp>
        <p:nvSpPr>
          <p:cNvPr id="18" name="Star: 5 Points 17">
            <a:extLst>
              <a:ext uri="{FF2B5EF4-FFF2-40B4-BE49-F238E27FC236}">
                <a16:creationId xmlns:a16="http://schemas.microsoft.com/office/drawing/2014/main" id="{3517FB6F-A1CF-443C-BC23-67FC3FE2D983}"/>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596727549"/>
      </p:ext>
    </p:extLst>
  </p:cSld>
  <p:clrMapOvr>
    <a:masterClrMapping/>
  </p:clrMapOvr>
  <p:transition>
    <p:fade/>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4994A-D666-7345-A078-C262F7DE2C95}"/>
              </a:ext>
            </a:extLst>
          </p:cNvPr>
          <p:cNvSpPr>
            <a:spLocks noGrp="1"/>
          </p:cNvSpPr>
          <p:nvPr>
            <p:ph type="title"/>
          </p:nvPr>
        </p:nvSpPr>
        <p:spPr/>
        <p:txBody>
          <a:bodyPr/>
          <a:lstStyle/>
          <a:p>
            <a:r>
              <a:rPr lang="en-US" dirty="0"/>
              <a:t>Funnel</a:t>
            </a:r>
          </a:p>
        </p:txBody>
      </p:sp>
      <p:sp>
        <p:nvSpPr>
          <p:cNvPr id="11" name="Freeform 134">
            <a:extLst>
              <a:ext uri="{FF2B5EF4-FFF2-40B4-BE49-F238E27FC236}">
                <a16:creationId xmlns:a16="http://schemas.microsoft.com/office/drawing/2014/main" id="{88E7D19B-238D-D440-A92C-0DB0EBF9176D}"/>
              </a:ext>
            </a:extLst>
          </p:cNvPr>
          <p:cNvSpPr>
            <a:spLocks/>
          </p:cNvSpPr>
          <p:nvPr/>
        </p:nvSpPr>
        <p:spPr bwMode="auto">
          <a:xfrm>
            <a:off x="8217650" y="2108993"/>
            <a:ext cx="1911350" cy="823913"/>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Freeform 176">
            <a:extLst>
              <a:ext uri="{FF2B5EF4-FFF2-40B4-BE49-F238E27FC236}">
                <a16:creationId xmlns:a16="http://schemas.microsoft.com/office/drawing/2014/main" id="{9B404E82-D985-3049-9E33-54620171669B}"/>
              </a:ext>
            </a:extLst>
          </p:cNvPr>
          <p:cNvSpPr>
            <a:spLocks/>
          </p:cNvSpPr>
          <p:nvPr/>
        </p:nvSpPr>
        <p:spPr bwMode="auto">
          <a:xfrm>
            <a:off x="6935304" y="4914106"/>
            <a:ext cx="2184400" cy="822325"/>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 name="Freeform 219">
            <a:extLst>
              <a:ext uri="{FF2B5EF4-FFF2-40B4-BE49-F238E27FC236}">
                <a16:creationId xmlns:a16="http://schemas.microsoft.com/office/drawing/2014/main" id="{26EDF01B-DA90-664F-B13C-9D50DE3DB84C}"/>
              </a:ext>
            </a:extLst>
          </p:cNvPr>
          <p:cNvSpPr>
            <a:spLocks/>
          </p:cNvSpPr>
          <p:nvPr/>
        </p:nvSpPr>
        <p:spPr bwMode="auto">
          <a:xfrm>
            <a:off x="1920875" y="2932906"/>
            <a:ext cx="2189163" cy="822325"/>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文本框 337">
            <a:extLst>
              <a:ext uri="{FF2B5EF4-FFF2-40B4-BE49-F238E27FC236}">
                <a16:creationId xmlns:a16="http://schemas.microsoft.com/office/drawing/2014/main" id="{2C1F93CD-E5D8-E946-BC04-EB789263D3AD}"/>
              </a:ext>
            </a:extLst>
          </p:cNvPr>
          <p:cNvSpPr txBox="1"/>
          <p:nvPr/>
        </p:nvSpPr>
        <p:spPr>
          <a:xfrm>
            <a:off x="690562" y="2868215"/>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7" name="文本框 338">
            <a:extLst>
              <a:ext uri="{FF2B5EF4-FFF2-40B4-BE49-F238E27FC236}">
                <a16:creationId xmlns:a16="http://schemas.microsoft.com/office/drawing/2014/main" id="{3C92380F-CD14-0849-A9F8-108A7C9FFCD8}"/>
              </a:ext>
            </a:extLst>
          </p:cNvPr>
          <p:cNvSpPr txBox="1"/>
          <p:nvPr/>
        </p:nvSpPr>
        <p:spPr>
          <a:xfrm>
            <a:off x="9416567" y="4914106"/>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8" name="文本框 339">
            <a:extLst>
              <a:ext uri="{FF2B5EF4-FFF2-40B4-BE49-F238E27FC236}">
                <a16:creationId xmlns:a16="http://schemas.microsoft.com/office/drawing/2014/main" id="{90793AD6-E764-EE4F-A440-D4B6B2C857B2}"/>
              </a:ext>
            </a:extLst>
          </p:cNvPr>
          <p:cNvSpPr txBox="1"/>
          <p:nvPr/>
        </p:nvSpPr>
        <p:spPr>
          <a:xfrm>
            <a:off x="10217633" y="2868215"/>
            <a:ext cx="1631951" cy="1231106"/>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a:ln>
                  <a:noFill/>
                </a:ln>
                <a:solidFill>
                  <a:prstClr val="white"/>
                </a:solidFill>
                <a:effectLst/>
                <a:uLnTx/>
                <a:uFillTx/>
                <a:latin typeface="Calibri Light"/>
                <a:ea typeface="+mn-ea"/>
                <a:cs typeface="+mn-cs"/>
              </a:rPr>
              <a:t>XXXXX</a:t>
            </a: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white"/>
              </a:solidFill>
              <a:effectLst/>
              <a:uLnTx/>
              <a:uFillTx/>
              <a:latin typeface="Calibri Light"/>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20" name="Group 19">
            <a:extLst>
              <a:ext uri="{FF2B5EF4-FFF2-40B4-BE49-F238E27FC236}">
                <a16:creationId xmlns:a16="http://schemas.microsoft.com/office/drawing/2014/main" id="{80C48BC1-3A61-0A46-8EC1-5EA8AAC5EF10}"/>
              </a:ext>
            </a:extLst>
          </p:cNvPr>
          <p:cNvGrpSpPr/>
          <p:nvPr/>
        </p:nvGrpSpPr>
        <p:grpSpPr>
          <a:xfrm>
            <a:off x="3696613" y="1533574"/>
            <a:ext cx="4440001" cy="4611638"/>
            <a:chOff x="567554" y="1718528"/>
            <a:chExt cx="4440001" cy="4611638"/>
          </a:xfrm>
        </p:grpSpPr>
        <p:grpSp>
          <p:nvGrpSpPr>
            <p:cNvPr id="21" name="Group 20">
              <a:extLst>
                <a:ext uri="{FF2B5EF4-FFF2-40B4-BE49-F238E27FC236}">
                  <a16:creationId xmlns:a16="http://schemas.microsoft.com/office/drawing/2014/main" id="{E2FD73FF-82F7-0941-998E-F6BD255BEAD1}"/>
                </a:ext>
              </a:extLst>
            </p:cNvPr>
            <p:cNvGrpSpPr/>
            <p:nvPr/>
          </p:nvGrpSpPr>
          <p:grpSpPr>
            <a:xfrm>
              <a:off x="567554" y="1718528"/>
              <a:ext cx="4440001" cy="4611638"/>
              <a:chOff x="567554" y="1869449"/>
              <a:chExt cx="4440001" cy="4611638"/>
            </a:xfrm>
          </p:grpSpPr>
          <p:sp>
            <p:nvSpPr>
              <p:cNvPr id="26" name="Freeform 12">
                <a:extLst>
                  <a:ext uri="{FF2B5EF4-FFF2-40B4-BE49-F238E27FC236}">
                    <a16:creationId xmlns:a16="http://schemas.microsoft.com/office/drawing/2014/main" id="{9AC1D823-D514-9443-8284-94112EEF7754}"/>
                  </a:ext>
                </a:extLst>
              </p:cNvPr>
              <p:cNvSpPr>
                <a:spLocks/>
              </p:cNvSpPr>
              <p:nvPr/>
            </p:nvSpPr>
            <p:spPr bwMode="gray">
              <a:xfrm flipH="1">
                <a:off x="591158" y="2294418"/>
                <a:ext cx="4392793"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1"/>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sp>
            <p:nvSpPr>
              <p:cNvPr id="27" name="Oval 13">
                <a:extLst>
                  <a:ext uri="{FF2B5EF4-FFF2-40B4-BE49-F238E27FC236}">
                    <a16:creationId xmlns:a16="http://schemas.microsoft.com/office/drawing/2014/main" id="{DB8B8AC9-39B4-2840-9656-4ACB584BB45B}"/>
                  </a:ext>
                </a:extLst>
              </p:cNvPr>
              <p:cNvSpPr>
                <a:spLocks noChangeArrowheads="1"/>
              </p:cNvSpPr>
              <p:nvPr/>
            </p:nvSpPr>
            <p:spPr bwMode="gray">
              <a:xfrm>
                <a:off x="567554" y="1869449"/>
                <a:ext cx="4440001" cy="620432"/>
              </a:xfrm>
              <a:prstGeom prst="ellipse">
                <a:avLst/>
              </a:prstGeom>
              <a:solidFill>
                <a:schemeClr val="bg1">
                  <a:lumMod val="85000"/>
                </a:schemeClr>
              </a:solidFill>
              <a:ln w="9525">
                <a:noFill/>
                <a:round/>
                <a:headEnd/>
                <a:tailEn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Light"/>
                  <a:ea typeface="+mn-ea"/>
                  <a:cs typeface="+mn-cs"/>
                </a:endParaRPr>
              </a:p>
            </p:txBody>
          </p:sp>
          <p:sp>
            <p:nvSpPr>
              <p:cNvPr id="28" name="Freeform 14">
                <a:extLst>
                  <a:ext uri="{FF2B5EF4-FFF2-40B4-BE49-F238E27FC236}">
                    <a16:creationId xmlns:a16="http://schemas.microsoft.com/office/drawing/2014/main" id="{F1E304B8-7250-B44D-84E3-73B09FED3602}"/>
                  </a:ext>
                </a:extLst>
              </p:cNvPr>
              <p:cNvSpPr>
                <a:spLocks/>
              </p:cNvSpPr>
              <p:nvPr/>
            </p:nvSpPr>
            <p:spPr bwMode="gray">
              <a:xfrm>
                <a:off x="1084941" y="3289254"/>
                <a:ext cx="3405226" cy="1202163"/>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solidFill>
                <a:schemeClr val="accent2"/>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sp>
            <p:nvSpPr>
              <p:cNvPr id="29" name="Freeform 15">
                <a:extLst>
                  <a:ext uri="{FF2B5EF4-FFF2-40B4-BE49-F238E27FC236}">
                    <a16:creationId xmlns:a16="http://schemas.microsoft.com/office/drawing/2014/main" id="{E549792C-FFBA-7340-9DEF-30739BB88CF8}"/>
                  </a:ext>
                </a:extLst>
              </p:cNvPr>
              <p:cNvSpPr>
                <a:spLocks/>
              </p:cNvSpPr>
              <p:nvPr/>
            </p:nvSpPr>
            <p:spPr bwMode="gray">
              <a:xfrm>
                <a:off x="1470710" y="4295954"/>
                <a:ext cx="2633689" cy="1190299"/>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4"/>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sp>
            <p:nvSpPr>
              <p:cNvPr id="30" name="Freeform 16">
                <a:extLst>
                  <a:ext uri="{FF2B5EF4-FFF2-40B4-BE49-F238E27FC236}">
                    <a16:creationId xmlns:a16="http://schemas.microsoft.com/office/drawing/2014/main" id="{A9F39A93-9D0E-AF4C-8FA8-91EB4ECDDDC9}"/>
                  </a:ext>
                </a:extLst>
              </p:cNvPr>
              <p:cNvSpPr>
                <a:spLocks/>
              </p:cNvSpPr>
              <p:nvPr/>
            </p:nvSpPr>
            <p:spPr bwMode="gray">
              <a:xfrm flipH="1">
                <a:off x="1768864" y="5290788"/>
                <a:ext cx="2037381"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5"/>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grpSp>
        <p:sp>
          <p:nvSpPr>
            <p:cNvPr id="22" name="Text Box 17">
              <a:extLst>
                <a:ext uri="{FF2B5EF4-FFF2-40B4-BE49-F238E27FC236}">
                  <a16:creationId xmlns:a16="http://schemas.microsoft.com/office/drawing/2014/main" id="{09C0029B-0DCF-554B-A699-D5CFF277D251}"/>
                </a:ext>
              </a:extLst>
            </p:cNvPr>
            <p:cNvSpPr txBox="1">
              <a:spLocks noChangeArrowheads="1"/>
            </p:cNvSpPr>
            <p:nvPr/>
          </p:nvSpPr>
          <p:spPr bwMode="gray">
            <a:xfrm>
              <a:off x="1378778" y="2743837"/>
              <a:ext cx="2817549" cy="161583"/>
            </a:xfrm>
            <a:prstGeom prst="rect">
              <a:avLst/>
            </a:prstGeom>
            <a:noFill/>
            <a:ln w="9525">
              <a:noFill/>
              <a:miter lim="800000"/>
              <a:headEnd/>
              <a:tailEnd/>
            </a:ln>
          </p:spPr>
          <p:txBody>
            <a:bodyPr wrap="square" lIns="0" tIns="0" rIns="0" bIns="0" anchor="ctr">
              <a:spAutoFit/>
            </a:bodyPr>
            <a:lstStyle/>
            <a:p>
              <a:pPr lvl="0" algn="ctr" defTabSz="913686"/>
              <a:r>
                <a:rPr lang="en-US" sz="1050" dirty="0">
                  <a:solidFill>
                    <a:prstClr val="white"/>
                  </a:solidFill>
                  <a:ea typeface="Lato" pitchFamily="34" charset="0"/>
                  <a:cs typeface="Lato" pitchFamily="34" charset="0"/>
                </a:rPr>
                <a:t>Category</a:t>
              </a:r>
              <a:endParaRPr lang="en-US" sz="1050" b="1" dirty="0">
                <a:solidFill>
                  <a:prstClr val="white"/>
                </a:solidFill>
              </a:endParaRPr>
            </a:p>
          </p:txBody>
        </p:sp>
        <p:sp>
          <p:nvSpPr>
            <p:cNvPr id="23" name="Text Box 20">
              <a:extLst>
                <a:ext uri="{FF2B5EF4-FFF2-40B4-BE49-F238E27FC236}">
                  <a16:creationId xmlns:a16="http://schemas.microsoft.com/office/drawing/2014/main" id="{B6447982-D86D-5E43-87B9-ADC48D546F9C}"/>
                </a:ext>
              </a:extLst>
            </p:cNvPr>
            <p:cNvSpPr txBox="1">
              <a:spLocks noChangeArrowheads="1"/>
            </p:cNvSpPr>
            <p:nvPr/>
          </p:nvSpPr>
          <p:spPr bwMode="gray">
            <a:xfrm>
              <a:off x="1378779" y="5725248"/>
              <a:ext cx="2817549" cy="161583"/>
            </a:xfrm>
            <a:prstGeom prst="rect">
              <a:avLst/>
            </a:prstGeom>
            <a:noFill/>
            <a:ln w="9525">
              <a:noFill/>
              <a:miter lim="800000"/>
              <a:headEnd/>
              <a:tailEnd/>
            </a:ln>
          </p:spPr>
          <p:txBody>
            <a:bodyPr wrap="square" lIns="0" tIns="0" rIns="0" bIns="0" anchor="ctr">
              <a:spAutoFit/>
            </a:bodyPr>
            <a:lstStyle/>
            <a:p>
              <a:pPr lvl="0" algn="ctr" defTabSz="913686"/>
              <a:r>
                <a:rPr lang="en-US" sz="1050" dirty="0">
                  <a:solidFill>
                    <a:prstClr val="white"/>
                  </a:solidFill>
                  <a:ea typeface="Lato" pitchFamily="34" charset="0"/>
                  <a:cs typeface="Lato" pitchFamily="34" charset="0"/>
                </a:rPr>
                <a:t>Category</a:t>
              </a:r>
              <a:endParaRPr lang="en-US" sz="1050" b="1" dirty="0">
                <a:solidFill>
                  <a:prstClr val="white"/>
                </a:solidFill>
              </a:endParaRPr>
            </a:p>
          </p:txBody>
        </p:sp>
        <p:sp>
          <p:nvSpPr>
            <p:cNvPr id="24" name="Text Box 17">
              <a:extLst>
                <a:ext uri="{FF2B5EF4-FFF2-40B4-BE49-F238E27FC236}">
                  <a16:creationId xmlns:a16="http://schemas.microsoft.com/office/drawing/2014/main" id="{475C367C-45F4-6A49-89DB-B342297EF327}"/>
                </a:ext>
              </a:extLst>
            </p:cNvPr>
            <p:cNvSpPr txBox="1">
              <a:spLocks noChangeArrowheads="1"/>
            </p:cNvSpPr>
            <p:nvPr/>
          </p:nvSpPr>
          <p:spPr bwMode="gray">
            <a:xfrm>
              <a:off x="1378778" y="3745629"/>
              <a:ext cx="2817549" cy="161583"/>
            </a:xfrm>
            <a:prstGeom prst="rect">
              <a:avLst/>
            </a:prstGeom>
            <a:noFill/>
            <a:ln w="9525">
              <a:noFill/>
              <a:miter lim="800000"/>
              <a:headEnd/>
              <a:tailEnd/>
            </a:ln>
          </p:spPr>
          <p:txBody>
            <a:bodyPr wrap="square" lIns="0" tIns="0" rIns="0" bIns="0" anchor="ctr">
              <a:spAutoFit/>
            </a:bodyPr>
            <a:lstStyle/>
            <a:p>
              <a:pPr lvl="0" algn="ctr" defTabSz="913686"/>
              <a:r>
                <a:rPr lang="en-US" sz="1050" dirty="0">
                  <a:solidFill>
                    <a:prstClr val="white"/>
                  </a:solidFill>
                  <a:ea typeface="Lato" pitchFamily="34" charset="0"/>
                  <a:cs typeface="Lato" pitchFamily="34" charset="0"/>
                </a:rPr>
                <a:t>Category</a:t>
              </a:r>
              <a:endParaRPr lang="en-US" sz="1050" b="1" dirty="0">
                <a:solidFill>
                  <a:prstClr val="white"/>
                </a:solidFill>
              </a:endParaRPr>
            </a:p>
          </p:txBody>
        </p:sp>
        <p:sp>
          <p:nvSpPr>
            <p:cNvPr id="25" name="Text Box 17">
              <a:extLst>
                <a:ext uri="{FF2B5EF4-FFF2-40B4-BE49-F238E27FC236}">
                  <a16:creationId xmlns:a16="http://schemas.microsoft.com/office/drawing/2014/main" id="{154C81D5-7CDA-9848-9FE3-CE4C1A21F3A1}"/>
                </a:ext>
              </a:extLst>
            </p:cNvPr>
            <p:cNvSpPr txBox="1">
              <a:spLocks noChangeArrowheads="1"/>
            </p:cNvSpPr>
            <p:nvPr/>
          </p:nvSpPr>
          <p:spPr bwMode="gray">
            <a:xfrm>
              <a:off x="1378778" y="4750972"/>
              <a:ext cx="2817549" cy="161583"/>
            </a:xfrm>
            <a:prstGeom prst="rect">
              <a:avLst/>
            </a:prstGeom>
            <a:noFill/>
            <a:ln w="9525">
              <a:noFill/>
              <a:miter lim="800000"/>
              <a:headEnd/>
              <a:tailEnd/>
            </a:ln>
          </p:spPr>
          <p:txBody>
            <a:bodyPr wrap="square" lIns="0" tIns="0" rIns="0" bIns="0" anchor="ctr">
              <a:spAutoFit/>
            </a:bodyPr>
            <a:lstStyle/>
            <a:p>
              <a:pPr lvl="0" algn="ctr" defTabSz="913686"/>
              <a:r>
                <a:rPr lang="en-US" sz="1050" dirty="0">
                  <a:solidFill>
                    <a:prstClr val="white"/>
                  </a:solidFill>
                  <a:ea typeface="Lato" pitchFamily="34" charset="0"/>
                  <a:cs typeface="Lato" pitchFamily="34" charset="0"/>
                </a:rPr>
                <a:t>Category</a:t>
              </a:r>
              <a:endParaRPr lang="en-US" sz="1050" b="1" dirty="0">
                <a:solidFill>
                  <a:prstClr val="white"/>
                </a:solidFill>
              </a:endParaRPr>
            </a:p>
          </p:txBody>
        </p:sp>
      </p:grpSp>
      <p:sp>
        <p:nvSpPr>
          <p:cNvPr id="31" name="Oval 30">
            <a:extLst>
              <a:ext uri="{FF2B5EF4-FFF2-40B4-BE49-F238E27FC236}">
                <a16:creationId xmlns:a16="http://schemas.microsoft.com/office/drawing/2014/main" id="{6A2840AD-53F2-9249-8B58-4667539D67FF}"/>
              </a:ext>
            </a:extLst>
          </p:cNvPr>
          <p:cNvSpPr>
            <a:spLocks noChangeAspect="1"/>
          </p:cNvSpPr>
          <p:nvPr/>
        </p:nvSpPr>
        <p:spPr>
          <a:xfrm>
            <a:off x="4233517" y="2367290"/>
            <a:ext cx="274320" cy="272995"/>
          </a:xfrm>
          <a:prstGeom prst="ellipse">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Calibri Light"/>
                <a:ea typeface="Open Sans" panose="020B0606030504020204" pitchFamily="34" charset="0"/>
                <a:cs typeface="Open Sans" panose="020B0606030504020204" pitchFamily="34" charset="0"/>
              </a:rPr>
              <a:t>1</a:t>
            </a:r>
          </a:p>
        </p:txBody>
      </p:sp>
      <p:sp>
        <p:nvSpPr>
          <p:cNvPr id="32" name="Oval 31">
            <a:extLst>
              <a:ext uri="{FF2B5EF4-FFF2-40B4-BE49-F238E27FC236}">
                <a16:creationId xmlns:a16="http://schemas.microsoft.com/office/drawing/2014/main" id="{0BDD4489-9D0B-FF49-BB87-2EFA6D2CED4B}"/>
              </a:ext>
            </a:extLst>
          </p:cNvPr>
          <p:cNvSpPr>
            <a:spLocks noChangeAspect="1"/>
          </p:cNvSpPr>
          <p:nvPr/>
        </p:nvSpPr>
        <p:spPr>
          <a:xfrm>
            <a:off x="4646600" y="3407954"/>
            <a:ext cx="274320" cy="272995"/>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Calibri Light"/>
                <a:ea typeface="Open Sans" panose="020B0606030504020204" pitchFamily="34" charset="0"/>
                <a:cs typeface="Open Sans" panose="020B0606030504020204" pitchFamily="34" charset="0"/>
              </a:rPr>
              <a:t>2</a:t>
            </a:r>
          </a:p>
        </p:txBody>
      </p:sp>
      <p:sp>
        <p:nvSpPr>
          <p:cNvPr id="33" name="Oval 32">
            <a:extLst>
              <a:ext uri="{FF2B5EF4-FFF2-40B4-BE49-F238E27FC236}">
                <a16:creationId xmlns:a16="http://schemas.microsoft.com/office/drawing/2014/main" id="{2A57BC44-D42C-6A40-A0A6-31ABF8C73B16}"/>
              </a:ext>
            </a:extLst>
          </p:cNvPr>
          <p:cNvSpPr>
            <a:spLocks noChangeAspect="1"/>
          </p:cNvSpPr>
          <p:nvPr/>
        </p:nvSpPr>
        <p:spPr>
          <a:xfrm>
            <a:off x="4896622" y="4352036"/>
            <a:ext cx="274320" cy="272995"/>
          </a:xfrm>
          <a:prstGeom prst="ellipse">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Calibri Light"/>
                <a:ea typeface="Open Sans" panose="020B0606030504020204" pitchFamily="34" charset="0"/>
                <a:cs typeface="Open Sans" panose="020B0606030504020204" pitchFamily="34" charset="0"/>
              </a:rPr>
              <a:t>3</a:t>
            </a:r>
          </a:p>
        </p:txBody>
      </p:sp>
      <p:sp>
        <p:nvSpPr>
          <p:cNvPr id="34" name="Oval 33">
            <a:extLst>
              <a:ext uri="{FF2B5EF4-FFF2-40B4-BE49-F238E27FC236}">
                <a16:creationId xmlns:a16="http://schemas.microsoft.com/office/drawing/2014/main" id="{D6BB8445-20BD-5D46-875A-519825F6B78E}"/>
              </a:ext>
            </a:extLst>
          </p:cNvPr>
          <p:cNvSpPr>
            <a:spLocks noChangeAspect="1"/>
          </p:cNvSpPr>
          <p:nvPr/>
        </p:nvSpPr>
        <p:spPr>
          <a:xfrm>
            <a:off x="5229889" y="5463436"/>
            <a:ext cx="274320" cy="272995"/>
          </a:xfrm>
          <a:prstGeom prst="ellipse">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Calibri Light"/>
                <a:ea typeface="Open Sans" panose="020B0606030504020204" pitchFamily="34" charset="0"/>
                <a:cs typeface="Open Sans" panose="020B0606030504020204" pitchFamily="34" charset="0"/>
              </a:rPr>
              <a:t>4</a:t>
            </a:r>
          </a:p>
        </p:txBody>
      </p:sp>
      <p:sp>
        <p:nvSpPr>
          <p:cNvPr id="35" name="Star: 5 Points 34">
            <a:extLst>
              <a:ext uri="{FF2B5EF4-FFF2-40B4-BE49-F238E27FC236}">
                <a16:creationId xmlns:a16="http://schemas.microsoft.com/office/drawing/2014/main" id="{3B145A61-8F99-4834-9FB5-1DC5B4F3372A}"/>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258721460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ext boxes</a:t>
            </a:r>
            <a:endParaRPr lang="en-US" dirty="0"/>
          </a:p>
        </p:txBody>
      </p:sp>
      <p:sp>
        <p:nvSpPr>
          <p:cNvPr id="15" name="Picture Placeholder 14"/>
          <p:cNvSpPr>
            <a:spLocks noGrp="1"/>
          </p:cNvSpPr>
          <p:nvPr>
            <p:ph type="pic" sz="quarter" idx="20"/>
          </p:nvPr>
        </p:nvSpPr>
        <p:spPr/>
      </p:sp>
      <p:sp>
        <p:nvSpPr>
          <p:cNvPr id="16" name="Picture Placeholder 15"/>
          <p:cNvSpPr>
            <a:spLocks noGrp="1"/>
          </p:cNvSpPr>
          <p:nvPr>
            <p:ph type="pic" sz="quarter" idx="24"/>
          </p:nvPr>
        </p:nvSpPr>
        <p:spPr/>
      </p:sp>
      <p:sp>
        <p:nvSpPr>
          <p:cNvPr id="17" name="Picture Placeholder 16"/>
          <p:cNvSpPr>
            <a:spLocks noGrp="1"/>
          </p:cNvSpPr>
          <p:nvPr>
            <p:ph type="pic" sz="quarter" idx="25"/>
          </p:nvPr>
        </p:nvSpPr>
        <p:spPr/>
      </p:sp>
      <p:sp>
        <p:nvSpPr>
          <p:cNvPr id="8" name="Text Placeholder 7"/>
          <p:cNvSpPr>
            <a:spLocks noGrp="1"/>
          </p:cNvSpPr>
          <p:nvPr>
            <p:ph type="body" sz="quarter" idx="13"/>
          </p:nvPr>
        </p:nvSpPr>
        <p:spPr/>
        <p:txBody>
          <a:bodyPr/>
          <a:lstStyle/>
          <a:p>
            <a:r>
              <a:rPr lang="en-US"/>
              <a:t>Two-by-two</a:t>
            </a:r>
            <a:endParaRPr lang="en-US" dirty="0"/>
          </a:p>
        </p:txBody>
      </p:sp>
      <p:sp>
        <p:nvSpPr>
          <p:cNvPr id="14" name="Picture Placeholder 13"/>
          <p:cNvSpPr>
            <a:spLocks noGrp="1"/>
          </p:cNvSpPr>
          <p:nvPr>
            <p:ph type="pic" sz="quarter" idx="19"/>
          </p:nvPr>
        </p:nvSpPr>
        <p:spPr/>
      </p:sp>
      <p:graphicFrame>
        <p:nvGraphicFramePr>
          <p:cNvPr id="26" name="Content Placeholder 6">
            <a:extLst>
              <a:ext uri="{FF2B5EF4-FFF2-40B4-BE49-F238E27FC236}">
                <a16:creationId xmlns:a16="http://schemas.microsoft.com/office/drawing/2014/main" id="{F73874B3-72A2-4321-9D8C-48B69B74830B}"/>
              </a:ext>
            </a:extLst>
          </p:cNvPr>
          <p:cNvGraphicFramePr>
            <a:graphicFrameLocks/>
          </p:cNvGraphicFramePr>
          <p:nvPr>
            <p:extLst>
              <p:ext uri="{D42A27DB-BD31-4B8C-83A1-F6EECF244321}">
                <p14:modId xmlns:p14="http://schemas.microsoft.com/office/powerpoint/2010/main" val="2547111197"/>
              </p:ext>
            </p:extLst>
          </p:nvPr>
        </p:nvGraphicFramePr>
        <p:xfrm>
          <a:off x="517066" y="4113648"/>
          <a:ext cx="5492224" cy="237744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7" name="Content Placeholder 6">
            <a:extLst>
              <a:ext uri="{FF2B5EF4-FFF2-40B4-BE49-F238E27FC236}">
                <a16:creationId xmlns:a16="http://schemas.microsoft.com/office/drawing/2014/main" id="{9D2A8436-AAED-429C-85B2-465A89C9CDF1}"/>
              </a:ext>
            </a:extLst>
          </p:cNvPr>
          <p:cNvGraphicFramePr>
            <a:graphicFrameLocks/>
          </p:cNvGraphicFramePr>
          <p:nvPr>
            <p:extLst>
              <p:ext uri="{D42A27DB-BD31-4B8C-83A1-F6EECF244321}">
                <p14:modId xmlns:p14="http://schemas.microsoft.com/office/powerpoint/2010/main" val="1024092597"/>
              </p:ext>
            </p:extLst>
          </p:nvPr>
        </p:nvGraphicFramePr>
        <p:xfrm>
          <a:off x="6234694" y="1727800"/>
          <a:ext cx="5492224" cy="237744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8" name="Content Placeholder 6">
            <a:extLst>
              <a:ext uri="{FF2B5EF4-FFF2-40B4-BE49-F238E27FC236}">
                <a16:creationId xmlns:a16="http://schemas.microsoft.com/office/drawing/2014/main" id="{C5252B48-0FDA-429C-A005-CF86912F0717}"/>
              </a:ext>
            </a:extLst>
          </p:cNvPr>
          <p:cNvGraphicFramePr>
            <a:graphicFrameLocks/>
          </p:cNvGraphicFramePr>
          <p:nvPr>
            <p:extLst>
              <p:ext uri="{D42A27DB-BD31-4B8C-83A1-F6EECF244321}">
                <p14:modId xmlns:p14="http://schemas.microsoft.com/office/powerpoint/2010/main" val="2661645541"/>
              </p:ext>
            </p:extLst>
          </p:nvPr>
        </p:nvGraphicFramePr>
        <p:xfrm>
          <a:off x="6234694" y="4113648"/>
          <a:ext cx="5492224" cy="237744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9" name="Content Placeholder 6">
            <a:extLst>
              <a:ext uri="{FF2B5EF4-FFF2-40B4-BE49-F238E27FC236}">
                <a16:creationId xmlns:a16="http://schemas.microsoft.com/office/drawing/2014/main" id="{3D6E8747-D0F2-4D9C-8912-5206F8AA86FF}"/>
              </a:ext>
            </a:extLst>
          </p:cNvPr>
          <p:cNvGraphicFramePr>
            <a:graphicFrameLocks/>
          </p:cNvGraphicFramePr>
          <p:nvPr>
            <p:extLst>
              <p:ext uri="{D42A27DB-BD31-4B8C-83A1-F6EECF244321}">
                <p14:modId xmlns:p14="http://schemas.microsoft.com/office/powerpoint/2010/main" val="235313613"/>
              </p:ext>
            </p:extLst>
          </p:nvPr>
        </p:nvGraphicFramePr>
        <p:xfrm>
          <a:off x="517066" y="1727800"/>
          <a:ext cx="5492224" cy="2377440"/>
        </p:xfrm>
        <a:graphic>
          <a:graphicData uri="http://schemas.openxmlformats.org/drawingml/2006/table">
            <a:tbl>
              <a:tblPr firstRow="1" bandRow="1">
                <a:tableStyleId>{5C22544A-7EE6-4342-B048-85BDC9FD1C3A}</a:tableStyleId>
              </a:tblPr>
              <a:tblGrid>
                <a:gridCol w="5492224">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6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rPr>
                        <a:t>Header</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Text</a:t>
                      </a:r>
                    </a:p>
                    <a:p>
                      <a:pPr marL="139700" marR="0" lvl="1"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wo is the first level of bullets</a:t>
                      </a:r>
                    </a:p>
                    <a:p>
                      <a:pPr marL="304800" marR="0" lvl="2"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three is the second level of bullets</a:t>
                      </a:r>
                    </a:p>
                    <a:p>
                      <a:pPr marL="469900" marR="0" lvl="3" indent="-1397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our is the third level of bullets</a:t>
                      </a:r>
                    </a:p>
                    <a:p>
                      <a:pPr marL="635000" marR="0" lvl="4" indent="-139700" algn="l" defTabSz="798513"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Level five is the fourth level of bullets</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dirty="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285259599"/>
      </p:ext>
    </p:extLst>
  </p:cSld>
  <p:clrMapOvr>
    <a:masterClrMapping/>
  </p:clrMapOvr>
  <p:transition>
    <p:fade/>
  </p:transition>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Highlight users</a:t>
            </a:r>
            <a:endParaRPr lang="en-GB" dirty="0"/>
          </a:p>
        </p:txBody>
      </p:sp>
      <p:sp>
        <p:nvSpPr>
          <p:cNvPr id="3" name="Title 2"/>
          <p:cNvSpPr>
            <a:spLocks noGrp="1"/>
          </p:cNvSpPr>
          <p:nvPr>
            <p:ph type="title"/>
          </p:nvPr>
        </p:nvSpPr>
        <p:spPr/>
        <p:txBody>
          <a:bodyPr/>
          <a:lstStyle/>
          <a:p>
            <a:r>
              <a:rPr lang="en-GB"/>
              <a:t>Process chart</a:t>
            </a:r>
            <a:endParaRPr lang="en-GB" dirty="0"/>
          </a:p>
        </p:txBody>
      </p:sp>
      <p:grpSp>
        <p:nvGrpSpPr>
          <p:cNvPr id="8" name="Group 7"/>
          <p:cNvGrpSpPr/>
          <p:nvPr/>
        </p:nvGrpSpPr>
        <p:grpSpPr>
          <a:xfrm>
            <a:off x="2945028" y="1472026"/>
            <a:ext cx="6005383" cy="4171393"/>
            <a:chOff x="1062790" y="1700213"/>
            <a:chExt cx="6739818" cy="4681538"/>
          </a:xfrm>
        </p:grpSpPr>
        <p:grpSp>
          <p:nvGrpSpPr>
            <p:cNvPr id="5" name="Group 550"/>
            <p:cNvGrpSpPr>
              <a:grpSpLocks noChangeAspect="1"/>
            </p:cNvGrpSpPr>
            <p:nvPr/>
          </p:nvGrpSpPr>
          <p:grpSpPr bwMode="auto">
            <a:xfrm>
              <a:off x="4134090" y="1700213"/>
              <a:ext cx="898019" cy="898019"/>
              <a:chOff x="1520" y="1938"/>
              <a:chExt cx="340" cy="340"/>
            </a:xfrm>
            <a:solidFill>
              <a:schemeClr val="accent6"/>
            </a:solidFill>
          </p:grpSpPr>
          <p:sp>
            <p:nvSpPr>
              <p:cNvPr id="6"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 name="Group 550"/>
            <p:cNvGrpSpPr>
              <a:grpSpLocks noChangeAspect="1"/>
            </p:cNvGrpSpPr>
            <p:nvPr/>
          </p:nvGrpSpPr>
          <p:grpSpPr bwMode="auto">
            <a:xfrm>
              <a:off x="5404516" y="2207894"/>
              <a:ext cx="898019" cy="898019"/>
              <a:chOff x="1520" y="1938"/>
              <a:chExt cx="340" cy="340"/>
            </a:xfrm>
            <a:solidFill>
              <a:schemeClr val="accent1"/>
            </a:solidFill>
          </p:grpSpPr>
          <p:sp>
            <p:nvSpPr>
              <p:cNvPr id="12"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 name="Group 550"/>
            <p:cNvGrpSpPr>
              <a:grpSpLocks noChangeAspect="1"/>
            </p:cNvGrpSpPr>
            <p:nvPr/>
          </p:nvGrpSpPr>
          <p:grpSpPr bwMode="auto">
            <a:xfrm>
              <a:off x="5987708" y="3559135"/>
              <a:ext cx="898019" cy="898019"/>
              <a:chOff x="1520" y="1938"/>
              <a:chExt cx="340" cy="340"/>
            </a:xfrm>
            <a:solidFill>
              <a:schemeClr val="accent6"/>
            </a:solidFill>
          </p:grpSpPr>
          <p:sp>
            <p:nvSpPr>
              <p:cNvPr id="15"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 name="Group 550"/>
            <p:cNvGrpSpPr>
              <a:grpSpLocks noChangeAspect="1"/>
            </p:cNvGrpSpPr>
            <p:nvPr/>
          </p:nvGrpSpPr>
          <p:grpSpPr bwMode="auto">
            <a:xfrm>
              <a:off x="2863664" y="2207894"/>
              <a:ext cx="898019" cy="898019"/>
              <a:chOff x="1520" y="1938"/>
              <a:chExt cx="340" cy="340"/>
            </a:xfrm>
            <a:solidFill>
              <a:schemeClr val="accent6"/>
            </a:solidFill>
          </p:grpSpPr>
          <p:sp>
            <p:nvSpPr>
              <p:cNvPr id="18"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 name="Group 550"/>
            <p:cNvGrpSpPr>
              <a:grpSpLocks noChangeAspect="1"/>
            </p:cNvGrpSpPr>
            <p:nvPr/>
          </p:nvGrpSpPr>
          <p:grpSpPr bwMode="auto">
            <a:xfrm>
              <a:off x="2258273" y="3559135"/>
              <a:ext cx="898019" cy="898019"/>
              <a:chOff x="1520" y="1938"/>
              <a:chExt cx="340" cy="340"/>
            </a:xfrm>
            <a:solidFill>
              <a:schemeClr val="accent3"/>
            </a:solidFill>
          </p:grpSpPr>
          <p:sp>
            <p:nvSpPr>
              <p:cNvPr id="21"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 name="Group 550"/>
            <p:cNvGrpSpPr>
              <a:grpSpLocks noChangeAspect="1"/>
            </p:cNvGrpSpPr>
            <p:nvPr/>
          </p:nvGrpSpPr>
          <p:grpSpPr bwMode="auto">
            <a:xfrm>
              <a:off x="2863664" y="4910376"/>
              <a:ext cx="898019" cy="898019"/>
              <a:chOff x="1520" y="1938"/>
              <a:chExt cx="340" cy="340"/>
            </a:xfrm>
            <a:solidFill>
              <a:schemeClr val="accent6"/>
            </a:solidFill>
          </p:grpSpPr>
          <p:sp>
            <p:nvSpPr>
              <p:cNvPr id="24"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 name="Group 550"/>
            <p:cNvGrpSpPr>
              <a:grpSpLocks noChangeAspect="1"/>
            </p:cNvGrpSpPr>
            <p:nvPr/>
          </p:nvGrpSpPr>
          <p:grpSpPr bwMode="auto">
            <a:xfrm>
              <a:off x="5404516" y="4908077"/>
              <a:ext cx="898019" cy="898019"/>
              <a:chOff x="1520" y="1938"/>
              <a:chExt cx="340" cy="340"/>
            </a:xfrm>
            <a:solidFill>
              <a:schemeClr val="accent3"/>
            </a:solidFill>
          </p:grpSpPr>
          <p:sp>
            <p:nvSpPr>
              <p:cNvPr id="27"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 name="Group 550"/>
            <p:cNvGrpSpPr>
              <a:grpSpLocks noChangeAspect="1"/>
            </p:cNvGrpSpPr>
            <p:nvPr/>
          </p:nvGrpSpPr>
          <p:grpSpPr bwMode="auto">
            <a:xfrm>
              <a:off x="4134089" y="5483732"/>
              <a:ext cx="898019" cy="898019"/>
              <a:chOff x="1520" y="1938"/>
              <a:chExt cx="340" cy="340"/>
            </a:xfrm>
            <a:solidFill>
              <a:schemeClr val="accent6"/>
            </a:solidFill>
          </p:grpSpPr>
          <p:sp>
            <p:nvSpPr>
              <p:cNvPr id="30"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tx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 name="Half Frame 32"/>
            <p:cNvSpPr/>
            <p:nvPr/>
          </p:nvSpPr>
          <p:spPr bwMode="gray">
            <a:xfrm rot="1500347" flipH="1">
              <a:off x="5129086" y="5586122"/>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4" name="Half Frame 33"/>
            <p:cNvSpPr/>
            <p:nvPr/>
          </p:nvSpPr>
          <p:spPr bwMode="gray">
            <a:xfrm rot="20154718" flipH="1">
              <a:off x="6118343" y="4681953"/>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5" name="Half Frame 34"/>
            <p:cNvSpPr/>
            <p:nvPr/>
          </p:nvSpPr>
          <p:spPr bwMode="gray">
            <a:xfrm rot="17540729" flipH="1">
              <a:off x="6155527" y="3261817"/>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Half Frame 35"/>
            <p:cNvSpPr/>
            <p:nvPr/>
          </p:nvSpPr>
          <p:spPr bwMode="gray">
            <a:xfrm rot="14934681" flipH="1">
              <a:off x="5203952" y="2289444"/>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Half Frame 36"/>
            <p:cNvSpPr/>
            <p:nvPr/>
          </p:nvSpPr>
          <p:spPr bwMode="gray">
            <a:xfrm rot="11946707" flipH="1">
              <a:off x="3886655" y="2246226"/>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8" name="Half Frame 37"/>
            <p:cNvSpPr/>
            <p:nvPr/>
          </p:nvSpPr>
          <p:spPr bwMode="gray">
            <a:xfrm rot="9455885" flipH="1">
              <a:off x="2892751" y="3159311"/>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Half Frame 38"/>
            <p:cNvSpPr/>
            <p:nvPr/>
          </p:nvSpPr>
          <p:spPr bwMode="gray">
            <a:xfrm rot="6842855" flipH="1">
              <a:off x="2858669" y="4593760"/>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0" name="Half Frame 39"/>
            <p:cNvSpPr/>
            <p:nvPr/>
          </p:nvSpPr>
          <p:spPr bwMode="gray">
            <a:xfrm rot="4190970" flipH="1">
              <a:off x="3807226" y="5554213"/>
              <a:ext cx="157085" cy="157085"/>
            </a:xfrm>
            <a:prstGeom prst="halfFrame">
              <a:avLst>
                <a:gd name="adj1" fmla="val 15530"/>
                <a:gd name="adj2" fmla="val 15319"/>
              </a:avLst>
            </a:prstGeom>
            <a:solidFill>
              <a:schemeClr val="tx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3" name="TextBox 42"/>
            <p:cNvSpPr txBox="1"/>
            <p:nvPr/>
          </p:nvSpPr>
          <p:spPr>
            <a:xfrm>
              <a:off x="6674941" y="1824728"/>
              <a:ext cx="1127667" cy="898083"/>
            </a:xfrm>
            <a:prstGeom prst="rect">
              <a:avLst/>
            </a:prstGeom>
            <a:noFill/>
          </p:spPr>
          <p:txBody>
            <a:bodyPr wrap="square" lIns="0" tIns="0" rIns="0" bIns="0" rtlCol="0">
              <a:spAutoFit/>
            </a:bodyPr>
            <a:lstStyle/>
            <a:p>
              <a:pPr>
                <a:spcBef>
                  <a:spcPts val="600"/>
                </a:spcBef>
                <a:buSzPct val="100000"/>
              </a:pPr>
              <a:r>
                <a:rPr lang="en-GB" sz="1600" b="1" dirty="0">
                  <a:solidFill>
                    <a:schemeClr val="accent1"/>
                  </a:solidFill>
                </a:rPr>
                <a:t>User</a:t>
              </a:r>
            </a:p>
            <a:p>
              <a:r>
                <a:rPr lang="en-GB" sz="900" dirty="0">
                  <a:solidFill>
                    <a:schemeClr val="accent1"/>
                  </a:solidFill>
                </a:rPr>
                <a:t>Lorem ipsum</a:t>
              </a:r>
            </a:p>
            <a:p>
              <a:r>
                <a:rPr lang="en-GB" sz="900" dirty="0" err="1">
                  <a:solidFill>
                    <a:schemeClr val="accent1"/>
                  </a:solidFill>
                </a:rPr>
                <a:t>odit</a:t>
              </a:r>
              <a:r>
                <a:rPr lang="en-GB" sz="900" dirty="0">
                  <a:solidFill>
                    <a:schemeClr val="accent1"/>
                  </a:solidFill>
                </a:rPr>
                <a:t> que </a:t>
              </a:r>
              <a:r>
                <a:rPr lang="en-GB" sz="900" dirty="0" err="1">
                  <a:solidFill>
                    <a:schemeClr val="accent1"/>
                  </a:solidFill>
                </a:rPr>
                <a:t>perovit</a:t>
              </a:r>
              <a:endParaRPr lang="en-GB" sz="900" dirty="0">
                <a:solidFill>
                  <a:schemeClr val="accent1"/>
                </a:solidFill>
              </a:endParaRPr>
            </a:p>
            <a:p>
              <a:r>
                <a:rPr lang="en-GB" sz="900" dirty="0" err="1">
                  <a:solidFill>
                    <a:schemeClr val="accent1"/>
                  </a:solidFill>
                </a:rPr>
                <a:t>unt</a:t>
              </a:r>
              <a:r>
                <a:rPr lang="en-GB" sz="900" dirty="0">
                  <a:solidFill>
                    <a:schemeClr val="accent1"/>
                  </a:solidFill>
                </a:rPr>
                <a:t> pa </a:t>
              </a:r>
              <a:r>
                <a:rPr lang="en-GB" sz="900" dirty="0" err="1">
                  <a:solidFill>
                    <a:schemeClr val="accent1"/>
                  </a:solidFill>
                </a:rPr>
                <a:t>voluptio</a:t>
              </a:r>
              <a:endParaRPr lang="en-GB" sz="900" dirty="0">
                <a:solidFill>
                  <a:schemeClr val="accent1"/>
                </a:solidFill>
              </a:endParaRPr>
            </a:p>
            <a:p>
              <a:r>
                <a:rPr lang="en-GB" sz="900" dirty="0" err="1">
                  <a:solidFill>
                    <a:schemeClr val="accent1"/>
                  </a:solidFill>
                </a:rPr>
                <a:t>sequi</a:t>
              </a:r>
              <a:r>
                <a:rPr lang="en-GB" sz="900" dirty="0">
                  <a:solidFill>
                    <a:schemeClr val="accent1"/>
                  </a:solidFill>
                </a:rPr>
                <a:t> </a:t>
              </a:r>
              <a:r>
                <a:rPr lang="en-GB" sz="900" dirty="0" err="1">
                  <a:solidFill>
                    <a:schemeClr val="accent1"/>
                  </a:solidFill>
                </a:rPr>
                <a:t>ut</a:t>
              </a:r>
              <a:r>
                <a:rPr lang="en-GB" sz="900" dirty="0">
                  <a:solidFill>
                    <a:schemeClr val="accent1"/>
                  </a:solidFill>
                </a:rPr>
                <a:t> </a:t>
              </a:r>
              <a:r>
                <a:rPr lang="en-GB" sz="900" dirty="0" err="1">
                  <a:solidFill>
                    <a:schemeClr val="accent1"/>
                  </a:solidFill>
                </a:rPr>
                <a:t>aute</a:t>
              </a:r>
              <a:endParaRPr lang="en-GB" sz="900" dirty="0">
                <a:solidFill>
                  <a:schemeClr val="accent1"/>
                </a:solidFill>
              </a:endParaRPr>
            </a:p>
          </p:txBody>
        </p:sp>
        <p:sp>
          <p:nvSpPr>
            <p:cNvPr id="44" name="TextBox 43"/>
            <p:cNvSpPr txBox="1"/>
            <p:nvPr/>
          </p:nvSpPr>
          <p:spPr>
            <a:xfrm>
              <a:off x="6674938" y="5232646"/>
              <a:ext cx="1127669" cy="898083"/>
            </a:xfrm>
            <a:prstGeom prst="rect">
              <a:avLst/>
            </a:prstGeom>
            <a:noFill/>
          </p:spPr>
          <p:txBody>
            <a:bodyPr wrap="square" lIns="0" tIns="0" rIns="0" bIns="0" rtlCol="0">
              <a:spAutoFit/>
            </a:bodyPr>
            <a:lstStyle/>
            <a:p>
              <a:pPr>
                <a:spcBef>
                  <a:spcPts val="600"/>
                </a:spcBef>
                <a:buSzPct val="100000"/>
              </a:pPr>
              <a:r>
                <a:rPr lang="en-GB" sz="1600" b="1" dirty="0">
                  <a:solidFill>
                    <a:schemeClr val="accent3"/>
                  </a:solidFill>
                </a:rPr>
                <a:t>User</a:t>
              </a:r>
            </a:p>
            <a:p>
              <a:r>
                <a:rPr lang="en-GB" sz="900" dirty="0">
                  <a:solidFill>
                    <a:schemeClr val="accent3"/>
                  </a:solidFill>
                </a:rPr>
                <a:t>Lorem ipsum</a:t>
              </a:r>
            </a:p>
            <a:p>
              <a:r>
                <a:rPr lang="en-GB" sz="900" dirty="0" err="1">
                  <a:solidFill>
                    <a:schemeClr val="accent3"/>
                  </a:solidFill>
                </a:rPr>
                <a:t>odit</a:t>
              </a:r>
              <a:r>
                <a:rPr lang="en-GB" sz="900" dirty="0">
                  <a:solidFill>
                    <a:schemeClr val="accent3"/>
                  </a:solidFill>
                </a:rPr>
                <a:t> que </a:t>
              </a:r>
              <a:r>
                <a:rPr lang="en-GB" sz="900" dirty="0" err="1">
                  <a:solidFill>
                    <a:schemeClr val="accent3"/>
                  </a:solidFill>
                </a:rPr>
                <a:t>perovit</a:t>
              </a:r>
              <a:endParaRPr lang="en-GB" sz="900" dirty="0">
                <a:solidFill>
                  <a:schemeClr val="accent3"/>
                </a:solidFill>
              </a:endParaRPr>
            </a:p>
            <a:p>
              <a:r>
                <a:rPr lang="en-GB" sz="900" dirty="0" err="1">
                  <a:solidFill>
                    <a:schemeClr val="accent3"/>
                  </a:solidFill>
                </a:rPr>
                <a:t>unt</a:t>
              </a:r>
              <a:r>
                <a:rPr lang="en-GB" sz="900" dirty="0">
                  <a:solidFill>
                    <a:schemeClr val="accent3"/>
                  </a:solidFill>
                </a:rPr>
                <a:t> pa </a:t>
              </a:r>
              <a:r>
                <a:rPr lang="en-GB" sz="900" dirty="0" err="1">
                  <a:solidFill>
                    <a:schemeClr val="accent3"/>
                  </a:solidFill>
                </a:rPr>
                <a:t>voluptio</a:t>
              </a:r>
              <a:endParaRPr lang="en-GB" sz="900" dirty="0">
                <a:solidFill>
                  <a:schemeClr val="accent3"/>
                </a:solidFill>
              </a:endParaRPr>
            </a:p>
            <a:p>
              <a:r>
                <a:rPr lang="en-GB" sz="900" dirty="0" err="1">
                  <a:solidFill>
                    <a:schemeClr val="accent3"/>
                  </a:solidFill>
                </a:rPr>
                <a:t>sequi</a:t>
              </a:r>
              <a:r>
                <a:rPr lang="en-GB" sz="900" dirty="0">
                  <a:solidFill>
                    <a:schemeClr val="accent3"/>
                  </a:solidFill>
                </a:rPr>
                <a:t> </a:t>
              </a:r>
              <a:r>
                <a:rPr lang="en-GB" sz="900" dirty="0" err="1">
                  <a:solidFill>
                    <a:schemeClr val="accent3"/>
                  </a:solidFill>
                </a:rPr>
                <a:t>ut</a:t>
              </a:r>
              <a:r>
                <a:rPr lang="en-GB" sz="900" dirty="0">
                  <a:solidFill>
                    <a:schemeClr val="accent3"/>
                  </a:solidFill>
                </a:rPr>
                <a:t> </a:t>
              </a:r>
              <a:r>
                <a:rPr lang="en-GB" sz="900" dirty="0" err="1">
                  <a:solidFill>
                    <a:schemeClr val="accent3"/>
                  </a:solidFill>
                </a:rPr>
                <a:t>aute</a:t>
              </a:r>
              <a:endParaRPr lang="en-GB" sz="900" dirty="0">
                <a:solidFill>
                  <a:schemeClr val="accent3"/>
                </a:solidFill>
              </a:endParaRPr>
            </a:p>
          </p:txBody>
        </p:sp>
        <p:sp>
          <p:nvSpPr>
            <p:cNvPr id="45" name="TextBox 44"/>
            <p:cNvSpPr txBox="1"/>
            <p:nvPr/>
          </p:nvSpPr>
          <p:spPr>
            <a:xfrm>
              <a:off x="1062790" y="2940250"/>
              <a:ext cx="1081420" cy="898083"/>
            </a:xfrm>
            <a:prstGeom prst="rect">
              <a:avLst/>
            </a:prstGeom>
            <a:noFill/>
          </p:spPr>
          <p:txBody>
            <a:bodyPr wrap="square" lIns="0" tIns="0" rIns="0" bIns="0" rtlCol="0">
              <a:spAutoFit/>
            </a:bodyPr>
            <a:lstStyle/>
            <a:p>
              <a:pPr>
                <a:spcBef>
                  <a:spcPts val="600"/>
                </a:spcBef>
                <a:buSzPct val="100000"/>
              </a:pPr>
              <a:r>
                <a:rPr lang="en-GB" sz="1600" b="1" dirty="0">
                  <a:solidFill>
                    <a:schemeClr val="accent3"/>
                  </a:solidFill>
                </a:rPr>
                <a:t>User</a:t>
              </a:r>
            </a:p>
            <a:p>
              <a:r>
                <a:rPr lang="en-GB" sz="900" dirty="0">
                  <a:solidFill>
                    <a:schemeClr val="accent3"/>
                  </a:solidFill>
                </a:rPr>
                <a:t>Lorem ipsum</a:t>
              </a:r>
            </a:p>
            <a:p>
              <a:r>
                <a:rPr lang="en-GB" sz="900" dirty="0" err="1">
                  <a:solidFill>
                    <a:schemeClr val="accent3"/>
                  </a:solidFill>
                </a:rPr>
                <a:t>odit</a:t>
              </a:r>
              <a:r>
                <a:rPr lang="en-GB" sz="900" dirty="0">
                  <a:solidFill>
                    <a:schemeClr val="accent3"/>
                  </a:solidFill>
                </a:rPr>
                <a:t> que </a:t>
              </a:r>
              <a:r>
                <a:rPr lang="en-GB" sz="900" dirty="0" err="1">
                  <a:solidFill>
                    <a:schemeClr val="accent3"/>
                  </a:solidFill>
                </a:rPr>
                <a:t>perovit</a:t>
              </a:r>
              <a:endParaRPr lang="en-GB" sz="900" dirty="0">
                <a:solidFill>
                  <a:schemeClr val="accent3"/>
                </a:solidFill>
              </a:endParaRPr>
            </a:p>
            <a:p>
              <a:r>
                <a:rPr lang="en-GB" sz="900" dirty="0" err="1">
                  <a:solidFill>
                    <a:schemeClr val="accent3"/>
                  </a:solidFill>
                </a:rPr>
                <a:t>unt</a:t>
              </a:r>
              <a:r>
                <a:rPr lang="en-GB" sz="900" dirty="0">
                  <a:solidFill>
                    <a:schemeClr val="accent3"/>
                  </a:solidFill>
                </a:rPr>
                <a:t> pa </a:t>
              </a:r>
              <a:r>
                <a:rPr lang="en-GB" sz="900" dirty="0" err="1">
                  <a:solidFill>
                    <a:schemeClr val="accent3"/>
                  </a:solidFill>
                </a:rPr>
                <a:t>voluptio</a:t>
              </a:r>
              <a:endParaRPr lang="en-GB" sz="900" dirty="0">
                <a:solidFill>
                  <a:schemeClr val="accent3"/>
                </a:solidFill>
              </a:endParaRPr>
            </a:p>
            <a:p>
              <a:r>
                <a:rPr lang="en-GB" sz="900" dirty="0" err="1">
                  <a:solidFill>
                    <a:schemeClr val="accent3"/>
                  </a:solidFill>
                </a:rPr>
                <a:t>sequi</a:t>
              </a:r>
              <a:r>
                <a:rPr lang="en-GB" sz="900" dirty="0">
                  <a:solidFill>
                    <a:schemeClr val="accent3"/>
                  </a:solidFill>
                </a:rPr>
                <a:t> </a:t>
              </a:r>
              <a:r>
                <a:rPr lang="en-GB" sz="900" dirty="0" err="1">
                  <a:solidFill>
                    <a:schemeClr val="accent3"/>
                  </a:solidFill>
                </a:rPr>
                <a:t>ut</a:t>
              </a:r>
              <a:r>
                <a:rPr lang="en-GB" sz="900" dirty="0">
                  <a:solidFill>
                    <a:schemeClr val="accent3"/>
                  </a:solidFill>
                </a:rPr>
                <a:t> </a:t>
              </a:r>
              <a:r>
                <a:rPr lang="en-GB" sz="900" dirty="0" err="1">
                  <a:solidFill>
                    <a:schemeClr val="accent3"/>
                  </a:solidFill>
                </a:rPr>
                <a:t>aute</a:t>
              </a:r>
              <a:endParaRPr lang="en-GB" sz="900" dirty="0">
                <a:solidFill>
                  <a:schemeClr val="accent3"/>
                </a:solidFill>
              </a:endParaRPr>
            </a:p>
          </p:txBody>
        </p:sp>
      </p:grpSp>
    </p:spTree>
    <p:extLst>
      <p:ext uri="{BB962C8B-B14F-4D97-AF65-F5344CB8AC3E}">
        <p14:creationId xmlns:p14="http://schemas.microsoft.com/office/powerpoint/2010/main" val="1508576255"/>
      </p:ext>
    </p:extLst>
  </p:cSld>
  <p:clrMapOvr>
    <a:masterClrMapping/>
  </p:clrMapOvr>
  <p:transition>
    <p:fade/>
  </p:transition>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Manual chart</a:t>
            </a:r>
            <a:endParaRPr lang="en-GB" dirty="0"/>
          </a:p>
        </p:txBody>
      </p:sp>
      <p:sp>
        <p:nvSpPr>
          <p:cNvPr id="3" name="Title 2"/>
          <p:cNvSpPr>
            <a:spLocks noGrp="1"/>
          </p:cNvSpPr>
          <p:nvPr>
            <p:ph type="title"/>
          </p:nvPr>
        </p:nvSpPr>
        <p:spPr/>
        <p:txBody>
          <a:bodyPr/>
          <a:lstStyle/>
          <a:p>
            <a:r>
              <a:rPr lang="en-GB"/>
              <a:t>Icon chart</a:t>
            </a:r>
            <a:endParaRPr lang="en-GB" dirty="0"/>
          </a:p>
        </p:txBody>
      </p:sp>
      <p:grpSp>
        <p:nvGrpSpPr>
          <p:cNvPr id="5" name="Group 4"/>
          <p:cNvGrpSpPr/>
          <p:nvPr/>
        </p:nvGrpSpPr>
        <p:grpSpPr>
          <a:xfrm>
            <a:off x="3132083" y="1713880"/>
            <a:ext cx="6600496" cy="4565867"/>
            <a:chOff x="1248629" y="1705974"/>
            <a:chExt cx="6607992" cy="4571052"/>
          </a:xfrm>
        </p:grpSpPr>
        <p:sp>
          <p:nvSpPr>
            <p:cNvPr id="9" name="Oval 8"/>
            <p:cNvSpPr/>
            <p:nvPr/>
          </p:nvSpPr>
          <p:spPr bwMode="gray">
            <a:xfrm>
              <a:off x="1248629"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Freeform 48"/>
            <p:cNvSpPr>
              <a:spLocks noEditPoints="1"/>
            </p:cNvSpPr>
            <p:nvPr/>
          </p:nvSpPr>
          <p:spPr bwMode="auto">
            <a:xfrm>
              <a:off x="1520748"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2" name="Oval 31"/>
            <p:cNvSpPr/>
            <p:nvPr/>
          </p:nvSpPr>
          <p:spPr bwMode="gray">
            <a:xfrm>
              <a:off x="2302816" y="1706785"/>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Freeform 48"/>
            <p:cNvSpPr>
              <a:spLocks noEditPoints="1"/>
            </p:cNvSpPr>
            <p:nvPr/>
          </p:nvSpPr>
          <p:spPr bwMode="auto">
            <a:xfrm>
              <a:off x="2574935" y="1886594"/>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8" name="Oval 37"/>
            <p:cNvSpPr/>
            <p:nvPr/>
          </p:nvSpPr>
          <p:spPr bwMode="gray">
            <a:xfrm>
              <a:off x="3357003"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Freeform 48"/>
            <p:cNvSpPr>
              <a:spLocks noEditPoints="1"/>
            </p:cNvSpPr>
            <p:nvPr/>
          </p:nvSpPr>
          <p:spPr bwMode="auto">
            <a:xfrm>
              <a:off x="3629122"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0" name="Oval 39"/>
            <p:cNvSpPr/>
            <p:nvPr/>
          </p:nvSpPr>
          <p:spPr bwMode="gray">
            <a:xfrm>
              <a:off x="4411190"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1" name="Freeform 48"/>
            <p:cNvSpPr>
              <a:spLocks noEditPoints="1"/>
            </p:cNvSpPr>
            <p:nvPr/>
          </p:nvSpPr>
          <p:spPr bwMode="auto">
            <a:xfrm>
              <a:off x="4683309"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2" name="Oval 41"/>
            <p:cNvSpPr/>
            <p:nvPr/>
          </p:nvSpPr>
          <p:spPr bwMode="gray">
            <a:xfrm>
              <a:off x="5465377" y="1705974"/>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3" name="Freeform 48"/>
            <p:cNvSpPr>
              <a:spLocks noEditPoints="1"/>
            </p:cNvSpPr>
            <p:nvPr/>
          </p:nvSpPr>
          <p:spPr bwMode="auto">
            <a:xfrm>
              <a:off x="5737496" y="1885783"/>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Rectangle 9"/>
            <p:cNvSpPr/>
            <p:nvPr/>
          </p:nvSpPr>
          <p:spPr bwMode="gray">
            <a:xfrm>
              <a:off x="5953059" y="1705975"/>
              <a:ext cx="693683" cy="95854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4" name="Oval 43"/>
            <p:cNvSpPr/>
            <p:nvPr/>
          </p:nvSpPr>
          <p:spPr bwMode="gray">
            <a:xfrm>
              <a:off x="1248629"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5" name="Freeform 48"/>
            <p:cNvSpPr>
              <a:spLocks noEditPoints="1"/>
            </p:cNvSpPr>
            <p:nvPr/>
          </p:nvSpPr>
          <p:spPr bwMode="auto">
            <a:xfrm>
              <a:off x="1520748"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6" name="Oval 45"/>
            <p:cNvSpPr/>
            <p:nvPr/>
          </p:nvSpPr>
          <p:spPr bwMode="gray">
            <a:xfrm>
              <a:off x="2302816" y="3531037"/>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7" name="Freeform 48"/>
            <p:cNvSpPr>
              <a:spLocks noEditPoints="1"/>
            </p:cNvSpPr>
            <p:nvPr/>
          </p:nvSpPr>
          <p:spPr bwMode="auto">
            <a:xfrm>
              <a:off x="2574935" y="3710846"/>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8" name="Oval 47"/>
            <p:cNvSpPr/>
            <p:nvPr/>
          </p:nvSpPr>
          <p:spPr bwMode="gray">
            <a:xfrm>
              <a:off x="3357003"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9" name="Freeform 48"/>
            <p:cNvSpPr>
              <a:spLocks noEditPoints="1"/>
            </p:cNvSpPr>
            <p:nvPr/>
          </p:nvSpPr>
          <p:spPr bwMode="auto">
            <a:xfrm>
              <a:off x="3629122"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Oval 49"/>
            <p:cNvSpPr/>
            <p:nvPr/>
          </p:nvSpPr>
          <p:spPr bwMode="gray">
            <a:xfrm>
              <a:off x="4411190"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1" name="Freeform 48"/>
            <p:cNvSpPr>
              <a:spLocks noEditPoints="1"/>
            </p:cNvSpPr>
            <p:nvPr/>
          </p:nvSpPr>
          <p:spPr bwMode="auto">
            <a:xfrm>
              <a:off x="4683309"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Oval 51"/>
            <p:cNvSpPr/>
            <p:nvPr/>
          </p:nvSpPr>
          <p:spPr bwMode="gray">
            <a:xfrm>
              <a:off x="5465377" y="3530226"/>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3" name="Freeform 48"/>
            <p:cNvSpPr>
              <a:spLocks noEditPoints="1"/>
            </p:cNvSpPr>
            <p:nvPr/>
          </p:nvSpPr>
          <p:spPr bwMode="auto">
            <a:xfrm>
              <a:off x="5737496" y="3710035"/>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Oval 53"/>
            <p:cNvSpPr/>
            <p:nvPr/>
          </p:nvSpPr>
          <p:spPr bwMode="gray">
            <a:xfrm>
              <a:off x="1248629" y="4590720"/>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5" name="Freeform 48"/>
            <p:cNvSpPr>
              <a:spLocks noEditPoints="1"/>
            </p:cNvSpPr>
            <p:nvPr/>
          </p:nvSpPr>
          <p:spPr bwMode="auto">
            <a:xfrm>
              <a:off x="1520748"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Oval 55"/>
            <p:cNvSpPr/>
            <p:nvPr/>
          </p:nvSpPr>
          <p:spPr bwMode="gray">
            <a:xfrm>
              <a:off x="2302816" y="4591531"/>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7" name="Freeform 48"/>
            <p:cNvSpPr>
              <a:spLocks noEditPoints="1"/>
            </p:cNvSpPr>
            <p:nvPr/>
          </p:nvSpPr>
          <p:spPr bwMode="auto">
            <a:xfrm>
              <a:off x="2574935" y="4771340"/>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Oval 57"/>
            <p:cNvSpPr/>
            <p:nvPr/>
          </p:nvSpPr>
          <p:spPr bwMode="gray">
            <a:xfrm>
              <a:off x="3357003" y="4590720"/>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9" name="Freeform 58"/>
            <p:cNvSpPr>
              <a:spLocks noEditPoints="1"/>
            </p:cNvSpPr>
            <p:nvPr/>
          </p:nvSpPr>
          <p:spPr bwMode="auto">
            <a:xfrm>
              <a:off x="3629122"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0" name="Oval 59"/>
            <p:cNvSpPr/>
            <p:nvPr/>
          </p:nvSpPr>
          <p:spPr bwMode="gray">
            <a:xfrm>
              <a:off x="4411190" y="4590720"/>
              <a:ext cx="958544" cy="95854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1" name="Freeform 48"/>
            <p:cNvSpPr>
              <a:spLocks noEditPoints="1"/>
            </p:cNvSpPr>
            <p:nvPr/>
          </p:nvSpPr>
          <p:spPr bwMode="auto">
            <a:xfrm>
              <a:off x="4683309" y="4770529"/>
              <a:ext cx="427870" cy="58146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TextBox 61"/>
            <p:cNvSpPr txBox="1"/>
            <p:nvPr/>
          </p:nvSpPr>
          <p:spPr>
            <a:xfrm>
              <a:off x="1250680" y="2766468"/>
              <a:ext cx="6605941" cy="625812"/>
            </a:xfrm>
            <a:prstGeom prst="rect">
              <a:avLst/>
            </a:prstGeom>
            <a:noFill/>
          </p:spPr>
          <p:txBody>
            <a:bodyPr wrap="square" lIns="0" tIns="0" rIns="0" bIns="0" rtlCol="0">
              <a:noAutofit/>
            </a:bodyPr>
            <a:lstStyle/>
            <a:p>
              <a:r>
                <a:rPr lang="en-GB" sz="1400" b="1" dirty="0"/>
                <a:t>47 billion barrels</a:t>
              </a:r>
            </a:p>
            <a:p>
              <a:r>
                <a:rPr lang="en-GB" sz="1200" dirty="0"/>
                <a:t>Lorem ipsum </a:t>
              </a:r>
              <a:r>
                <a:rPr lang="en-GB" sz="1200" dirty="0" err="1"/>
                <a:t>iatesequi</a:t>
              </a:r>
              <a:r>
                <a:rPr lang="en-GB" sz="1200" dirty="0"/>
                <a:t> </a:t>
              </a:r>
              <a:r>
                <a:rPr lang="en-GB" sz="1200" dirty="0" err="1"/>
                <a:t>omnimpo</a:t>
              </a:r>
              <a:r>
                <a:rPr lang="en-GB" sz="1200" dirty="0"/>
                <a:t> </a:t>
              </a:r>
            </a:p>
          </p:txBody>
        </p:sp>
        <p:sp>
          <p:nvSpPr>
            <p:cNvPr id="63" name="TextBox 62"/>
            <p:cNvSpPr txBox="1"/>
            <p:nvPr/>
          </p:nvSpPr>
          <p:spPr>
            <a:xfrm>
              <a:off x="1250680" y="5651214"/>
              <a:ext cx="6605941" cy="625812"/>
            </a:xfrm>
            <a:prstGeom prst="rect">
              <a:avLst/>
            </a:prstGeom>
            <a:noFill/>
          </p:spPr>
          <p:txBody>
            <a:bodyPr wrap="square" lIns="0" tIns="0" rIns="0" bIns="0" rtlCol="0">
              <a:noAutofit/>
            </a:bodyPr>
            <a:lstStyle/>
            <a:p>
              <a:r>
                <a:rPr lang="en-GB" sz="1400" b="1" dirty="0"/>
                <a:t>90 billion barrels</a:t>
              </a:r>
            </a:p>
            <a:p>
              <a:r>
                <a:rPr lang="en-GB" sz="1200" dirty="0"/>
                <a:t>Lorem ipsum </a:t>
              </a:r>
              <a:r>
                <a:rPr lang="en-GB" sz="1200" dirty="0" err="1"/>
                <a:t>iatesequi</a:t>
              </a:r>
              <a:r>
                <a:rPr lang="en-GB" sz="1200" dirty="0"/>
                <a:t> </a:t>
              </a:r>
              <a:r>
                <a:rPr lang="en-GB" sz="1200" dirty="0" err="1"/>
                <a:t>omnimpo</a:t>
              </a:r>
              <a:r>
                <a:rPr lang="en-GB" sz="1200" dirty="0"/>
                <a:t> </a:t>
              </a:r>
            </a:p>
          </p:txBody>
        </p:sp>
      </p:grpSp>
    </p:spTree>
    <p:extLst>
      <p:ext uri="{BB962C8B-B14F-4D97-AF65-F5344CB8AC3E}">
        <p14:creationId xmlns:p14="http://schemas.microsoft.com/office/powerpoint/2010/main" val="347320934"/>
      </p:ext>
    </p:extLst>
  </p:cSld>
  <p:clrMapOvr>
    <a:masterClrMapping/>
  </p:clrMapOvr>
  <p:transition>
    <p:fade/>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Icon use with transparency</a:t>
            </a:r>
            <a:endParaRPr lang="en-GB" dirty="0"/>
          </a:p>
        </p:txBody>
      </p:sp>
      <p:sp>
        <p:nvSpPr>
          <p:cNvPr id="3" name="Title 2"/>
          <p:cNvSpPr>
            <a:spLocks noGrp="1"/>
          </p:cNvSpPr>
          <p:nvPr>
            <p:ph type="title"/>
          </p:nvPr>
        </p:nvSpPr>
        <p:spPr/>
        <p:txBody>
          <a:bodyPr/>
          <a:lstStyle/>
          <a:p>
            <a:r>
              <a:rPr lang="en-US"/>
              <a:t>Venn diagram</a:t>
            </a:r>
            <a:endParaRPr lang="en-GB" dirty="0"/>
          </a:p>
        </p:txBody>
      </p:sp>
      <p:grpSp>
        <p:nvGrpSpPr>
          <p:cNvPr id="5" name="Group 4"/>
          <p:cNvGrpSpPr>
            <a:grpSpLocks noChangeAspect="1"/>
          </p:cNvGrpSpPr>
          <p:nvPr/>
        </p:nvGrpSpPr>
        <p:grpSpPr>
          <a:xfrm>
            <a:off x="4012992" y="1554480"/>
            <a:ext cx="4166016" cy="3949200"/>
            <a:chOff x="1999036" y="1236975"/>
            <a:chExt cx="5154861" cy="4886582"/>
          </a:xfrm>
        </p:grpSpPr>
        <p:sp>
          <p:nvSpPr>
            <p:cNvPr id="8" name="Oval 7"/>
            <p:cNvSpPr/>
            <p:nvPr/>
          </p:nvSpPr>
          <p:spPr bwMode="gray">
            <a:xfrm>
              <a:off x="3180418" y="1236975"/>
              <a:ext cx="2783164" cy="2783164"/>
            </a:xfrm>
            <a:prstGeom prst="ellipse">
              <a:avLst/>
            </a:prstGeom>
            <a:solidFill>
              <a:srgbClr val="00A3E0">
                <a:alpha val="7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Oval 35"/>
            <p:cNvSpPr/>
            <p:nvPr/>
          </p:nvSpPr>
          <p:spPr bwMode="gray">
            <a:xfrm>
              <a:off x="4370733" y="3340393"/>
              <a:ext cx="2783164" cy="2783164"/>
            </a:xfrm>
            <a:prstGeom prst="ellipse">
              <a:avLst/>
            </a:prstGeom>
            <a:solidFill>
              <a:schemeClr val="accent6">
                <a:alpha val="7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Oval 36"/>
            <p:cNvSpPr/>
            <p:nvPr/>
          </p:nvSpPr>
          <p:spPr bwMode="gray">
            <a:xfrm>
              <a:off x="1999036" y="3340393"/>
              <a:ext cx="2783164" cy="2783164"/>
            </a:xfrm>
            <a:prstGeom prst="ellipse">
              <a:avLst/>
            </a:prstGeom>
            <a:solidFill>
              <a:schemeClr val="accent1">
                <a:alpha val="7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5" name="Freeform 605"/>
            <p:cNvSpPr>
              <a:spLocks noEditPoints="1"/>
            </p:cNvSpPr>
            <p:nvPr/>
          </p:nvSpPr>
          <p:spPr bwMode="auto">
            <a:xfrm>
              <a:off x="5219062" y="4164517"/>
              <a:ext cx="1166088" cy="1184379"/>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481"/>
            <p:cNvSpPr>
              <a:spLocks noEditPoints="1"/>
            </p:cNvSpPr>
            <p:nvPr/>
          </p:nvSpPr>
          <p:spPr bwMode="auto">
            <a:xfrm>
              <a:off x="4227216" y="1918774"/>
              <a:ext cx="676711" cy="1449118"/>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854"/>
            <p:cNvSpPr>
              <a:spLocks noEditPoints="1"/>
            </p:cNvSpPr>
            <p:nvPr/>
          </p:nvSpPr>
          <p:spPr bwMode="auto">
            <a:xfrm>
              <a:off x="2693806" y="4178268"/>
              <a:ext cx="1311855" cy="122562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62606876"/>
      </p:ext>
    </p:extLst>
  </p:cSld>
  <p:clrMapOvr>
    <a:masterClrMapping/>
  </p:clrMapOvr>
  <p:transition>
    <p:fade/>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Outline icons</a:t>
            </a:r>
            <a:endParaRPr lang="en-GB" dirty="0"/>
          </a:p>
        </p:txBody>
      </p:sp>
      <p:sp>
        <p:nvSpPr>
          <p:cNvPr id="3" name="Title 2"/>
          <p:cNvSpPr>
            <a:spLocks noGrp="1"/>
          </p:cNvSpPr>
          <p:nvPr>
            <p:ph type="title"/>
          </p:nvPr>
        </p:nvSpPr>
        <p:spPr/>
        <p:txBody>
          <a:bodyPr/>
          <a:lstStyle/>
          <a:p>
            <a:r>
              <a:rPr lang="en-US"/>
              <a:t>Venn diagram</a:t>
            </a:r>
            <a:endParaRPr lang="en-GB" dirty="0"/>
          </a:p>
        </p:txBody>
      </p:sp>
      <p:grpSp>
        <p:nvGrpSpPr>
          <p:cNvPr id="5" name="Group 4"/>
          <p:cNvGrpSpPr/>
          <p:nvPr/>
        </p:nvGrpSpPr>
        <p:grpSpPr>
          <a:xfrm>
            <a:off x="4012507" y="1549680"/>
            <a:ext cx="4166986" cy="3950120"/>
            <a:chOff x="1999036" y="1236975"/>
            <a:chExt cx="5154861" cy="4886582"/>
          </a:xfrm>
        </p:grpSpPr>
        <p:sp>
          <p:nvSpPr>
            <p:cNvPr id="8" name="Oval 7"/>
            <p:cNvSpPr/>
            <p:nvPr/>
          </p:nvSpPr>
          <p:spPr bwMode="gray">
            <a:xfrm>
              <a:off x="3180418" y="1236975"/>
              <a:ext cx="2783164" cy="2783164"/>
            </a:xfrm>
            <a:prstGeom prst="ellipse">
              <a:avLst/>
            </a:prstGeom>
            <a:noFill/>
            <a:ln w="6350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Oval 35"/>
            <p:cNvSpPr/>
            <p:nvPr/>
          </p:nvSpPr>
          <p:spPr bwMode="gray">
            <a:xfrm>
              <a:off x="4370733" y="3340393"/>
              <a:ext cx="2783164" cy="2783164"/>
            </a:xfrm>
            <a:prstGeom prst="ellipse">
              <a:avLst/>
            </a:prstGeom>
            <a:noFill/>
            <a:ln w="6350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Oval 36"/>
            <p:cNvSpPr/>
            <p:nvPr/>
          </p:nvSpPr>
          <p:spPr bwMode="gray">
            <a:xfrm>
              <a:off x="1999036" y="3340393"/>
              <a:ext cx="2783164" cy="2783164"/>
            </a:xfrm>
            <a:prstGeom prst="ellipse">
              <a:avLst/>
            </a:prstGeom>
            <a:noFill/>
            <a:ln w="635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5" name="Freeform 605"/>
            <p:cNvSpPr>
              <a:spLocks noEditPoints="1"/>
            </p:cNvSpPr>
            <p:nvPr/>
          </p:nvSpPr>
          <p:spPr bwMode="auto">
            <a:xfrm>
              <a:off x="5219062" y="4164517"/>
              <a:ext cx="1166088" cy="1184379"/>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481"/>
            <p:cNvSpPr>
              <a:spLocks noEditPoints="1"/>
            </p:cNvSpPr>
            <p:nvPr/>
          </p:nvSpPr>
          <p:spPr bwMode="auto">
            <a:xfrm>
              <a:off x="4227216" y="1918774"/>
              <a:ext cx="676711" cy="1449118"/>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854"/>
            <p:cNvSpPr>
              <a:spLocks noEditPoints="1"/>
            </p:cNvSpPr>
            <p:nvPr/>
          </p:nvSpPr>
          <p:spPr bwMode="auto">
            <a:xfrm>
              <a:off x="2693806" y="4178268"/>
              <a:ext cx="1311855" cy="122562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chemeClr val="accent1"/>
            </a:solidFill>
            <a:ln w="38100">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79706960"/>
      </p:ext>
    </p:extLst>
  </p:cSld>
  <p:clrMapOvr>
    <a:masterClrMapping/>
  </p:clrMapOvr>
  <p:transition>
    <p:fade/>
  </p:transition>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Title round shape</a:t>
            </a:r>
            <a:endParaRPr lang="en-GB" dirty="0"/>
          </a:p>
        </p:txBody>
      </p:sp>
      <p:sp>
        <p:nvSpPr>
          <p:cNvPr id="3" name="Title 2"/>
          <p:cNvSpPr>
            <a:spLocks noGrp="1"/>
          </p:cNvSpPr>
          <p:nvPr>
            <p:ph type="title"/>
          </p:nvPr>
        </p:nvSpPr>
        <p:spPr/>
        <p:txBody>
          <a:bodyPr/>
          <a:lstStyle/>
          <a:p>
            <a:r>
              <a:rPr lang="en-GB"/>
              <a:t>Circle diagram</a:t>
            </a:r>
            <a:endParaRPr lang="en-GB" dirty="0"/>
          </a:p>
        </p:txBody>
      </p:sp>
      <p:grpSp>
        <p:nvGrpSpPr>
          <p:cNvPr id="4" name="Group 3">
            <a:extLst>
              <a:ext uri="{FF2B5EF4-FFF2-40B4-BE49-F238E27FC236}">
                <a16:creationId xmlns:a16="http://schemas.microsoft.com/office/drawing/2014/main" id="{425D36B4-4F3A-49F2-AD13-EE1389495FE8}"/>
              </a:ext>
            </a:extLst>
          </p:cNvPr>
          <p:cNvGrpSpPr/>
          <p:nvPr/>
        </p:nvGrpSpPr>
        <p:grpSpPr>
          <a:xfrm>
            <a:off x="1912883" y="1455882"/>
            <a:ext cx="8187558" cy="4708149"/>
            <a:chOff x="3178629" y="2183733"/>
            <a:chExt cx="5774785" cy="3320715"/>
          </a:xfrm>
        </p:grpSpPr>
        <p:sp>
          <p:nvSpPr>
            <p:cNvPr id="10" name="Oval 9"/>
            <p:cNvSpPr/>
            <p:nvPr/>
          </p:nvSpPr>
          <p:spPr bwMode="gray">
            <a:xfrm>
              <a:off x="3298658" y="3138073"/>
              <a:ext cx="1536196" cy="1536196"/>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600" b="1" dirty="0">
                  <a:solidFill>
                    <a:schemeClr val="bg1"/>
                  </a:solidFill>
                </a:rPr>
                <a:t>$1.7m</a:t>
              </a:r>
            </a:p>
          </p:txBody>
        </p:sp>
        <p:sp>
          <p:nvSpPr>
            <p:cNvPr id="32" name="Oval 31"/>
            <p:cNvSpPr/>
            <p:nvPr/>
          </p:nvSpPr>
          <p:spPr bwMode="gray">
            <a:xfrm>
              <a:off x="5791199" y="2365882"/>
              <a:ext cx="2982155" cy="298215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4000" b="1" dirty="0">
                  <a:solidFill>
                    <a:schemeClr val="bg1"/>
                  </a:solidFill>
                </a:rPr>
                <a:t>$52m</a:t>
              </a:r>
            </a:p>
          </p:txBody>
        </p:sp>
        <p:sp>
          <p:nvSpPr>
            <p:cNvPr id="35" name="TextBox 34"/>
            <p:cNvSpPr txBox="1"/>
            <p:nvPr/>
          </p:nvSpPr>
          <p:spPr>
            <a:xfrm>
              <a:off x="5626769" y="2183733"/>
              <a:ext cx="3326645" cy="3320715"/>
            </a:xfrm>
            <a:prstGeom prst="rect">
              <a:avLst/>
            </a:prstGeom>
            <a:noFill/>
          </p:spPr>
          <p:txBody>
            <a:bodyPr spcFirstLastPara="1" wrap="square" lIns="0" tIns="0" rIns="0" bIns="0" numCol="1" rtlCol="0">
              <a:prstTxWarp prst="textArchUp">
                <a:avLst>
                  <a:gd name="adj" fmla="val 11715203"/>
                </a:avLst>
              </a:prstTxWarp>
              <a:noAutofit/>
            </a:bodyPr>
            <a:lstStyle/>
            <a:p>
              <a:r>
                <a:rPr lang="en-GB" dirty="0">
                  <a:solidFill>
                    <a:schemeClr val="accent1"/>
                  </a:solidFill>
                </a:rPr>
                <a:t>Title one here</a:t>
              </a:r>
              <a:endParaRPr lang="en-GB" sz="1400" dirty="0">
                <a:solidFill>
                  <a:schemeClr val="accent1"/>
                </a:solidFill>
              </a:endParaRPr>
            </a:p>
          </p:txBody>
        </p:sp>
        <p:sp>
          <p:nvSpPr>
            <p:cNvPr id="36" name="TextBox 35"/>
            <p:cNvSpPr txBox="1"/>
            <p:nvPr/>
          </p:nvSpPr>
          <p:spPr>
            <a:xfrm>
              <a:off x="3178629" y="3021875"/>
              <a:ext cx="1792324" cy="1751197"/>
            </a:xfrm>
            <a:prstGeom prst="rect">
              <a:avLst/>
            </a:prstGeom>
            <a:noFill/>
          </p:spPr>
          <p:txBody>
            <a:bodyPr spcFirstLastPara="1" wrap="square" lIns="0" tIns="0" rIns="0" bIns="0" numCol="1" rtlCol="0">
              <a:prstTxWarp prst="textArchUp">
                <a:avLst>
                  <a:gd name="adj" fmla="val 10781328"/>
                </a:avLst>
              </a:prstTxWarp>
              <a:noAutofit/>
            </a:bodyPr>
            <a:lstStyle/>
            <a:p>
              <a:r>
                <a:rPr lang="en-GB" dirty="0">
                  <a:solidFill>
                    <a:schemeClr val="accent2"/>
                  </a:solidFill>
                </a:rPr>
                <a:t>Title two here</a:t>
              </a:r>
              <a:endParaRPr lang="en-GB" sz="1400" dirty="0">
                <a:solidFill>
                  <a:schemeClr val="accent2"/>
                </a:solidFill>
              </a:endParaRPr>
            </a:p>
          </p:txBody>
        </p:sp>
      </p:grpSp>
    </p:spTree>
    <p:extLst>
      <p:ext uri="{BB962C8B-B14F-4D97-AF65-F5344CB8AC3E}">
        <p14:creationId xmlns:p14="http://schemas.microsoft.com/office/powerpoint/2010/main" val="4038912118"/>
      </p:ext>
    </p:extLst>
  </p:cSld>
  <p:clrMapOvr>
    <a:masterClrMapping/>
  </p:clrMapOvr>
  <p:transition>
    <p:fade/>
  </p:transition>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Highlight colors</a:t>
            </a:r>
            <a:endParaRPr lang="en-GB" dirty="0"/>
          </a:p>
        </p:txBody>
      </p:sp>
      <p:sp>
        <p:nvSpPr>
          <p:cNvPr id="3" name="Title 2"/>
          <p:cNvSpPr>
            <a:spLocks noGrp="1"/>
          </p:cNvSpPr>
          <p:nvPr>
            <p:ph type="title"/>
          </p:nvPr>
        </p:nvSpPr>
        <p:spPr/>
        <p:txBody>
          <a:bodyPr/>
          <a:lstStyle/>
          <a:p>
            <a:r>
              <a:rPr lang="en-US"/>
              <a:t>Circle diagram</a:t>
            </a:r>
            <a:endParaRPr lang="en-GB" dirty="0"/>
          </a:p>
        </p:txBody>
      </p:sp>
      <p:grpSp>
        <p:nvGrpSpPr>
          <p:cNvPr id="4" name="Group 3">
            <a:extLst>
              <a:ext uri="{FF2B5EF4-FFF2-40B4-BE49-F238E27FC236}">
                <a16:creationId xmlns:a16="http://schemas.microsoft.com/office/drawing/2014/main" id="{CE797E52-C564-4578-A8BF-968A9417D48B}"/>
              </a:ext>
            </a:extLst>
          </p:cNvPr>
          <p:cNvGrpSpPr/>
          <p:nvPr/>
        </p:nvGrpSpPr>
        <p:grpSpPr>
          <a:xfrm>
            <a:off x="701042" y="2433144"/>
            <a:ext cx="10495044" cy="3026979"/>
            <a:chOff x="1920000" y="2784717"/>
            <a:chExt cx="8182641" cy="2360036"/>
          </a:xfrm>
        </p:grpSpPr>
        <p:grpSp>
          <p:nvGrpSpPr>
            <p:cNvPr id="7" name="Group 6"/>
            <p:cNvGrpSpPr/>
            <p:nvPr/>
          </p:nvGrpSpPr>
          <p:grpSpPr>
            <a:xfrm>
              <a:off x="1920000" y="2784717"/>
              <a:ext cx="3500876" cy="2360036"/>
              <a:chOff x="511731" y="1788975"/>
              <a:chExt cx="3500876" cy="2360036"/>
            </a:xfrm>
          </p:grpSpPr>
          <p:sp>
            <p:nvSpPr>
              <p:cNvPr id="37" name="Oval 36"/>
              <p:cNvSpPr/>
              <p:nvPr/>
            </p:nvSpPr>
            <p:spPr bwMode="gray">
              <a:xfrm>
                <a:off x="1446470" y="2010310"/>
                <a:ext cx="1752377" cy="1752377"/>
              </a:xfrm>
              <a:prstGeom prst="ellipse">
                <a:avLst/>
              </a:prstGeom>
              <a:solidFill>
                <a:srgbClr val="86BC25">
                  <a:alpha val="70000"/>
                </a:srgb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Title</a:t>
                </a:r>
              </a:p>
            </p:txBody>
          </p:sp>
          <p:sp>
            <p:nvSpPr>
              <p:cNvPr id="12" name="Oval 11"/>
              <p:cNvSpPr/>
              <p:nvPr/>
            </p:nvSpPr>
            <p:spPr bwMode="gray">
              <a:xfrm>
                <a:off x="511731" y="1788975"/>
                <a:ext cx="1286195" cy="1286195"/>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54%</a:t>
                </a:r>
              </a:p>
            </p:txBody>
          </p:sp>
          <p:sp>
            <p:nvSpPr>
              <p:cNvPr id="13" name="Oval 12"/>
              <p:cNvSpPr/>
              <p:nvPr/>
            </p:nvSpPr>
            <p:spPr bwMode="gray">
              <a:xfrm>
                <a:off x="2957256" y="2662508"/>
                <a:ext cx="1055351" cy="1055351"/>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24%</a:t>
                </a:r>
              </a:p>
            </p:txBody>
          </p:sp>
          <p:sp>
            <p:nvSpPr>
              <p:cNvPr id="14" name="Oval 13"/>
              <p:cNvSpPr/>
              <p:nvPr/>
            </p:nvSpPr>
            <p:spPr bwMode="gray">
              <a:xfrm>
                <a:off x="1341769" y="3383599"/>
                <a:ext cx="765412" cy="765412"/>
              </a:xfrm>
              <a:prstGeom prst="ellipse">
                <a:avLst/>
              </a:prstGeom>
              <a:solidFill>
                <a:schemeClr val="accent6">
                  <a:lumMod val="75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7%</a:t>
                </a:r>
              </a:p>
            </p:txBody>
          </p:sp>
        </p:grpSp>
        <p:grpSp>
          <p:nvGrpSpPr>
            <p:cNvPr id="8" name="Group 7"/>
            <p:cNvGrpSpPr/>
            <p:nvPr/>
          </p:nvGrpSpPr>
          <p:grpSpPr>
            <a:xfrm>
              <a:off x="6383232" y="2786389"/>
              <a:ext cx="3719409" cy="2358364"/>
              <a:chOff x="4504253" y="3515858"/>
              <a:chExt cx="4077838" cy="2585633"/>
            </a:xfrm>
          </p:grpSpPr>
          <p:sp>
            <p:nvSpPr>
              <p:cNvPr id="11" name="Oval 10"/>
              <p:cNvSpPr/>
              <p:nvPr/>
            </p:nvSpPr>
            <p:spPr bwMode="gray">
              <a:xfrm>
                <a:off x="5109009" y="3762687"/>
                <a:ext cx="1752377" cy="1752377"/>
              </a:xfrm>
              <a:prstGeom prst="ellipse">
                <a:avLst/>
              </a:prstGeom>
              <a:solidFill>
                <a:schemeClr val="accent5">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Title</a:t>
                </a:r>
              </a:p>
            </p:txBody>
          </p:sp>
          <p:sp>
            <p:nvSpPr>
              <p:cNvPr id="15" name="Oval 14"/>
              <p:cNvSpPr/>
              <p:nvPr/>
            </p:nvSpPr>
            <p:spPr bwMode="gray">
              <a:xfrm>
                <a:off x="4598239" y="4984355"/>
                <a:ext cx="1117136" cy="1117136"/>
              </a:xfrm>
              <a:prstGeom prst="ellipse">
                <a:avLst/>
              </a:prstGeom>
              <a:solidFill>
                <a:schemeClr val="accent6">
                  <a:lumMod val="75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32%</a:t>
                </a:r>
              </a:p>
            </p:txBody>
          </p:sp>
          <p:sp>
            <p:nvSpPr>
              <p:cNvPr id="16" name="Oval 15"/>
              <p:cNvSpPr/>
              <p:nvPr/>
            </p:nvSpPr>
            <p:spPr bwMode="gray">
              <a:xfrm>
                <a:off x="4504253" y="3515858"/>
                <a:ext cx="984267" cy="984267"/>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11%</a:t>
                </a:r>
              </a:p>
            </p:txBody>
          </p:sp>
          <p:sp>
            <p:nvSpPr>
              <p:cNvPr id="17" name="Oval 16"/>
              <p:cNvSpPr/>
              <p:nvPr/>
            </p:nvSpPr>
            <p:spPr bwMode="gray">
              <a:xfrm>
                <a:off x="6577687" y="3933256"/>
                <a:ext cx="2004404" cy="2004404"/>
              </a:xfrm>
              <a:prstGeom prst="ellipse">
                <a:avLst/>
              </a:prstGeom>
              <a:solidFill>
                <a:schemeClr val="accent6">
                  <a:lumMod val="60000"/>
                  <a:lumOff val="40000"/>
                  <a:alpha val="70000"/>
                </a:schemeClr>
              </a:solidFill>
              <a:ln w="381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500" dirty="0"/>
                  <a:t>74%</a:t>
                </a:r>
              </a:p>
            </p:txBody>
          </p:sp>
        </p:grpSp>
      </p:grpSp>
    </p:spTree>
    <p:extLst>
      <p:ext uri="{BB962C8B-B14F-4D97-AF65-F5344CB8AC3E}">
        <p14:creationId xmlns:p14="http://schemas.microsoft.com/office/powerpoint/2010/main" val="2657698934"/>
      </p:ext>
    </p:extLst>
  </p:cSld>
  <p:clrMapOvr>
    <a:masterClrMapping/>
  </p:clrMapOvr>
  <p:transition>
    <p:fade/>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Descriptive text</a:t>
            </a:r>
            <a:endParaRPr lang="en-GB" dirty="0"/>
          </a:p>
        </p:txBody>
      </p:sp>
      <p:sp>
        <p:nvSpPr>
          <p:cNvPr id="3" name="Title 2"/>
          <p:cNvSpPr>
            <a:spLocks noGrp="1"/>
          </p:cNvSpPr>
          <p:nvPr>
            <p:ph type="title"/>
          </p:nvPr>
        </p:nvSpPr>
        <p:spPr/>
        <p:txBody>
          <a:bodyPr/>
          <a:lstStyle/>
          <a:p>
            <a:r>
              <a:rPr lang="en-GB"/>
              <a:t>Icon chart</a:t>
            </a:r>
            <a:endParaRPr lang="en-GB" dirty="0"/>
          </a:p>
        </p:txBody>
      </p:sp>
      <p:grpSp>
        <p:nvGrpSpPr>
          <p:cNvPr id="7" name="Group 6"/>
          <p:cNvGrpSpPr/>
          <p:nvPr/>
        </p:nvGrpSpPr>
        <p:grpSpPr>
          <a:xfrm>
            <a:off x="3069273" y="1902941"/>
            <a:ext cx="6053454" cy="4122738"/>
            <a:chOff x="788456" y="1258060"/>
            <a:chExt cx="7508358" cy="5113608"/>
          </a:xfrm>
        </p:grpSpPr>
        <p:sp>
          <p:nvSpPr>
            <p:cNvPr id="9" name="TextBox 8"/>
            <p:cNvSpPr txBox="1"/>
            <p:nvPr/>
          </p:nvSpPr>
          <p:spPr>
            <a:xfrm>
              <a:off x="3470506" y="1258060"/>
              <a:ext cx="4007120" cy="788864"/>
            </a:xfrm>
            <a:prstGeom prst="rect">
              <a:avLst/>
            </a:prstGeom>
            <a:noFill/>
          </p:spPr>
          <p:txBody>
            <a:bodyPr wrap="square" lIns="0" tIns="0" rIns="0" bIns="0" rtlCol="0">
              <a:noAutofit/>
            </a:bodyPr>
            <a:lstStyle/>
            <a:p>
              <a:r>
                <a:rPr lang="en-GB" sz="1600" b="1" dirty="0">
                  <a:solidFill>
                    <a:schemeClr val="accent2"/>
                  </a:solidFill>
                </a:rPr>
                <a:t>52,446</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1 000 000 + Income</a:t>
              </a:r>
            </a:p>
            <a:p>
              <a:r>
                <a:rPr lang="en-GB" sz="1200" dirty="0">
                  <a:solidFill>
                    <a:srgbClr val="53565A"/>
                  </a:solidFill>
                </a:rPr>
                <a:t>Contribution: R 37 billion</a:t>
              </a:r>
            </a:p>
          </p:txBody>
        </p:sp>
        <p:sp>
          <p:nvSpPr>
            <p:cNvPr id="11" name="TextBox 10"/>
            <p:cNvSpPr txBox="1"/>
            <p:nvPr/>
          </p:nvSpPr>
          <p:spPr>
            <a:xfrm>
              <a:off x="3470506" y="2340153"/>
              <a:ext cx="4826308" cy="788864"/>
            </a:xfrm>
            <a:prstGeom prst="rect">
              <a:avLst/>
            </a:prstGeom>
            <a:noFill/>
          </p:spPr>
          <p:txBody>
            <a:bodyPr wrap="square" lIns="0" tIns="0" rIns="0" bIns="0" rtlCol="0">
              <a:noAutofit/>
            </a:bodyPr>
            <a:lstStyle/>
            <a:p>
              <a:r>
                <a:rPr lang="en-GB" sz="1600" b="1" dirty="0">
                  <a:solidFill>
                    <a:schemeClr val="accent2"/>
                  </a:solidFill>
                </a:rPr>
                <a:t>1,011,000</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 200 000 - R 1 000 000 Income</a:t>
              </a:r>
            </a:p>
            <a:p>
              <a:r>
                <a:rPr lang="en-GB" sz="1200" dirty="0">
                  <a:solidFill>
                    <a:srgbClr val="53565A"/>
                  </a:solidFill>
                </a:rPr>
                <a:t>Contribution: R 89 billion</a:t>
              </a:r>
            </a:p>
          </p:txBody>
        </p:sp>
        <p:sp>
          <p:nvSpPr>
            <p:cNvPr id="12" name="TextBox 11"/>
            <p:cNvSpPr txBox="1"/>
            <p:nvPr/>
          </p:nvSpPr>
          <p:spPr>
            <a:xfrm>
              <a:off x="3470506" y="3695003"/>
              <a:ext cx="4826308" cy="788864"/>
            </a:xfrm>
            <a:prstGeom prst="rect">
              <a:avLst/>
            </a:prstGeom>
            <a:noFill/>
          </p:spPr>
          <p:txBody>
            <a:bodyPr wrap="square" lIns="0" tIns="0" rIns="0" bIns="0" rtlCol="0">
              <a:noAutofit/>
            </a:bodyPr>
            <a:lstStyle/>
            <a:p>
              <a:r>
                <a:rPr lang="en-GB" sz="1600" b="1" dirty="0">
                  <a:solidFill>
                    <a:schemeClr val="accent2"/>
                  </a:solidFill>
                </a:rPr>
                <a:t>1,181,406</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100 000 Income</a:t>
              </a:r>
            </a:p>
            <a:p>
              <a:r>
                <a:rPr lang="en-GB" sz="1200" dirty="0">
                  <a:solidFill>
                    <a:srgbClr val="53565A"/>
                  </a:solidFill>
                </a:rPr>
                <a:t>Contribution: R 3 billion</a:t>
              </a:r>
            </a:p>
          </p:txBody>
        </p:sp>
        <p:sp>
          <p:nvSpPr>
            <p:cNvPr id="13" name="TextBox 12"/>
            <p:cNvSpPr txBox="1"/>
            <p:nvPr/>
          </p:nvSpPr>
          <p:spPr>
            <a:xfrm>
              <a:off x="3470506" y="5144597"/>
              <a:ext cx="4826308" cy="788864"/>
            </a:xfrm>
            <a:prstGeom prst="rect">
              <a:avLst/>
            </a:prstGeom>
            <a:noFill/>
          </p:spPr>
          <p:txBody>
            <a:bodyPr wrap="square" lIns="0" tIns="0" rIns="0" bIns="0" rtlCol="0">
              <a:noAutofit/>
            </a:bodyPr>
            <a:lstStyle/>
            <a:p>
              <a:r>
                <a:rPr lang="en-GB" sz="1600" b="1" dirty="0">
                  <a:solidFill>
                    <a:schemeClr val="accent2"/>
                  </a:solidFill>
                </a:rPr>
                <a:t>1,339,691</a:t>
              </a:r>
              <a:r>
                <a:rPr lang="en-GB" sz="1400" b="1" dirty="0">
                  <a:solidFill>
                    <a:schemeClr val="accent2"/>
                  </a:solidFill>
                </a:rPr>
                <a:t> </a:t>
              </a:r>
              <a:r>
                <a:rPr lang="en-GB" sz="1200" b="1" dirty="0">
                  <a:solidFill>
                    <a:schemeClr val="accent2"/>
                  </a:solidFill>
                </a:rPr>
                <a:t>taxpayers</a:t>
              </a:r>
            </a:p>
            <a:p>
              <a:r>
                <a:rPr lang="en-GB" sz="1200" dirty="0">
                  <a:solidFill>
                    <a:srgbClr val="53565A"/>
                  </a:solidFill>
                </a:rPr>
                <a:t>Earn less than R 100 000 - R 200 000 Income</a:t>
              </a:r>
            </a:p>
            <a:p>
              <a:r>
                <a:rPr lang="en-GB" sz="1200" dirty="0">
                  <a:solidFill>
                    <a:srgbClr val="53565A"/>
                  </a:solidFill>
                </a:rPr>
                <a:t>Contribution: R 26 billion</a:t>
              </a:r>
            </a:p>
          </p:txBody>
        </p:sp>
        <p:grpSp>
          <p:nvGrpSpPr>
            <p:cNvPr id="6" name="Group 5"/>
            <p:cNvGrpSpPr/>
            <p:nvPr/>
          </p:nvGrpSpPr>
          <p:grpSpPr>
            <a:xfrm>
              <a:off x="788456" y="4842122"/>
              <a:ext cx="1529546" cy="1529546"/>
              <a:chOff x="799346" y="2126913"/>
              <a:chExt cx="2088359" cy="2088359"/>
            </a:xfrm>
          </p:grpSpPr>
          <p:sp>
            <p:nvSpPr>
              <p:cNvPr id="5" name="Oval 4"/>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1" name="Group 20"/>
            <p:cNvGrpSpPr/>
            <p:nvPr/>
          </p:nvGrpSpPr>
          <p:grpSpPr>
            <a:xfrm>
              <a:off x="953476" y="3461885"/>
              <a:ext cx="1206973" cy="1206973"/>
              <a:chOff x="799346" y="2126913"/>
              <a:chExt cx="2088359" cy="2088359"/>
            </a:xfrm>
          </p:grpSpPr>
          <p:sp>
            <p:nvSpPr>
              <p:cNvPr id="22" name="Oval 21"/>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3"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4" name="Group 23"/>
            <p:cNvGrpSpPr/>
            <p:nvPr/>
          </p:nvGrpSpPr>
          <p:grpSpPr>
            <a:xfrm>
              <a:off x="1120498" y="2290696"/>
              <a:ext cx="882399" cy="882399"/>
              <a:chOff x="799346" y="2126913"/>
              <a:chExt cx="2088359" cy="2088359"/>
            </a:xfrm>
          </p:grpSpPr>
          <p:sp>
            <p:nvSpPr>
              <p:cNvPr id="25" name="Oval 24"/>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6"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7" name="Group 26"/>
            <p:cNvGrpSpPr/>
            <p:nvPr/>
          </p:nvGrpSpPr>
          <p:grpSpPr>
            <a:xfrm>
              <a:off x="1207743" y="1298539"/>
              <a:ext cx="707907" cy="707907"/>
              <a:chOff x="799346" y="2126913"/>
              <a:chExt cx="2088359" cy="2088359"/>
            </a:xfrm>
          </p:grpSpPr>
          <p:sp>
            <p:nvSpPr>
              <p:cNvPr id="28" name="Oval 27"/>
              <p:cNvSpPr/>
              <p:nvPr/>
            </p:nvSpPr>
            <p:spPr bwMode="gray">
              <a:xfrm>
                <a:off x="799346" y="2126913"/>
                <a:ext cx="2088359" cy="208835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9" name="Freeform 547"/>
              <p:cNvSpPr>
                <a:spLocks/>
              </p:cNvSpPr>
              <p:nvPr/>
            </p:nvSpPr>
            <p:spPr bwMode="auto">
              <a:xfrm>
                <a:off x="1189398" y="2548248"/>
                <a:ext cx="1308257" cy="1125710"/>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3375728961"/>
      </p:ext>
    </p:extLst>
  </p:cSld>
  <p:clrMapOvr>
    <a:masterClrMapping/>
  </p:clrMapOvr>
  <p:transition>
    <p:fade/>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Example use</a:t>
            </a:r>
            <a:endParaRPr lang="en-GB" dirty="0"/>
          </a:p>
        </p:txBody>
      </p:sp>
      <p:sp>
        <p:nvSpPr>
          <p:cNvPr id="3" name="Title 2"/>
          <p:cNvSpPr>
            <a:spLocks noGrp="1"/>
          </p:cNvSpPr>
          <p:nvPr>
            <p:ph type="title"/>
          </p:nvPr>
        </p:nvSpPr>
        <p:spPr/>
        <p:txBody>
          <a:bodyPr/>
          <a:lstStyle/>
          <a:p>
            <a:r>
              <a:rPr lang="en-GB"/>
              <a:t>Icon graphics</a:t>
            </a:r>
            <a:endParaRPr lang="en-GB" dirty="0"/>
          </a:p>
        </p:txBody>
      </p:sp>
      <p:grpSp>
        <p:nvGrpSpPr>
          <p:cNvPr id="14" name="Group 13"/>
          <p:cNvGrpSpPr/>
          <p:nvPr/>
        </p:nvGrpSpPr>
        <p:grpSpPr>
          <a:xfrm>
            <a:off x="6566649" y="1566252"/>
            <a:ext cx="2116435" cy="3476201"/>
            <a:chOff x="5138818" y="765175"/>
            <a:chExt cx="2857801" cy="4693878"/>
          </a:xfrm>
        </p:grpSpPr>
        <p:sp>
          <p:nvSpPr>
            <p:cNvPr id="62" name="Rounded Rectangle 61"/>
            <p:cNvSpPr/>
            <p:nvPr/>
          </p:nvSpPr>
          <p:spPr bwMode="gray">
            <a:xfrm>
              <a:off x="5343669" y="878314"/>
              <a:ext cx="2440155" cy="4004814"/>
            </a:xfrm>
            <a:prstGeom prst="roundRect">
              <a:avLst>
                <a:gd name="adj" fmla="val 4667"/>
              </a:avLst>
            </a:prstGeom>
            <a:solidFill>
              <a:schemeClr val="accent4"/>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10" name="Group 9"/>
            <p:cNvGrpSpPr/>
            <p:nvPr/>
          </p:nvGrpSpPr>
          <p:grpSpPr>
            <a:xfrm>
              <a:off x="5138818" y="765175"/>
              <a:ext cx="2857801" cy="4693878"/>
              <a:chOff x="5138818" y="765175"/>
              <a:chExt cx="2857801" cy="4693878"/>
            </a:xfrm>
          </p:grpSpPr>
          <p:sp>
            <p:nvSpPr>
              <p:cNvPr id="60" name="Rounded Rectangle 59"/>
              <p:cNvSpPr/>
              <p:nvPr/>
            </p:nvSpPr>
            <p:spPr bwMode="gray">
              <a:xfrm>
                <a:off x="5218027"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3" name="Oval 62"/>
              <p:cNvSpPr/>
              <p:nvPr/>
            </p:nvSpPr>
            <p:spPr bwMode="gray">
              <a:xfrm>
                <a:off x="6442305"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0" name="Rectangle 79"/>
              <p:cNvSpPr/>
              <p:nvPr/>
            </p:nvSpPr>
            <p:spPr bwMode="gray">
              <a:xfrm>
                <a:off x="5138818"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1" name="Rectangle 80"/>
              <p:cNvSpPr/>
              <p:nvPr/>
            </p:nvSpPr>
            <p:spPr bwMode="gray">
              <a:xfrm>
                <a:off x="5138818"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2" name="Rectangle 81"/>
              <p:cNvSpPr/>
              <p:nvPr/>
            </p:nvSpPr>
            <p:spPr bwMode="gray">
              <a:xfrm>
                <a:off x="7916825"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grpSp>
        <p:nvGrpSpPr>
          <p:cNvPr id="13" name="Group 12"/>
          <p:cNvGrpSpPr/>
          <p:nvPr/>
        </p:nvGrpSpPr>
        <p:grpSpPr>
          <a:xfrm>
            <a:off x="3508918" y="1566252"/>
            <a:ext cx="2116435" cy="3476201"/>
            <a:chOff x="1009996" y="765175"/>
            <a:chExt cx="2857801" cy="4693878"/>
          </a:xfrm>
        </p:grpSpPr>
        <p:sp>
          <p:nvSpPr>
            <p:cNvPr id="20" name="Rounded Rectangle 19"/>
            <p:cNvSpPr/>
            <p:nvPr/>
          </p:nvSpPr>
          <p:spPr bwMode="gray">
            <a:xfrm>
              <a:off x="1214847" y="878314"/>
              <a:ext cx="2440155" cy="4004814"/>
            </a:xfrm>
            <a:prstGeom prst="roundRect">
              <a:avLst>
                <a:gd name="adj" fmla="val 4667"/>
              </a:avLst>
            </a:prstGeom>
            <a:solidFill>
              <a:schemeClr val="accent5"/>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11" name="Group 10"/>
            <p:cNvGrpSpPr/>
            <p:nvPr/>
          </p:nvGrpSpPr>
          <p:grpSpPr>
            <a:xfrm>
              <a:off x="1009996" y="765175"/>
              <a:ext cx="2857801" cy="4693878"/>
              <a:chOff x="1009996" y="765175"/>
              <a:chExt cx="2857801" cy="4693878"/>
            </a:xfrm>
          </p:grpSpPr>
          <p:sp>
            <p:nvSpPr>
              <p:cNvPr id="5" name="Rounded Rectangle 4"/>
              <p:cNvSpPr/>
              <p:nvPr/>
            </p:nvSpPr>
            <p:spPr bwMode="gray">
              <a:xfrm>
                <a:off x="1089205"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 name="Oval 5"/>
              <p:cNvSpPr/>
              <p:nvPr/>
            </p:nvSpPr>
            <p:spPr bwMode="gray">
              <a:xfrm>
                <a:off x="2313483"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 name="Rectangle 7"/>
              <p:cNvSpPr/>
              <p:nvPr/>
            </p:nvSpPr>
            <p:spPr bwMode="gray">
              <a:xfrm>
                <a:off x="1009996"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8" name="Rectangle 37"/>
              <p:cNvSpPr/>
              <p:nvPr/>
            </p:nvSpPr>
            <p:spPr bwMode="gray">
              <a:xfrm>
                <a:off x="1009996"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Rectangle 38"/>
              <p:cNvSpPr/>
              <p:nvPr/>
            </p:nvSpPr>
            <p:spPr bwMode="gray">
              <a:xfrm>
                <a:off x="3788003"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19" name="TextBox 18"/>
          <p:cNvSpPr txBox="1"/>
          <p:nvPr/>
        </p:nvSpPr>
        <p:spPr>
          <a:xfrm>
            <a:off x="3781543" y="1741501"/>
            <a:ext cx="1703480" cy="849107"/>
          </a:xfrm>
          <a:prstGeom prst="rect">
            <a:avLst/>
          </a:prstGeom>
          <a:noFill/>
        </p:spPr>
        <p:txBody>
          <a:bodyPr wrap="square" lIns="0" tIns="0" rIns="0" bIns="0" rtlCol="0">
            <a:noAutofit/>
          </a:bodyPr>
          <a:lstStyle/>
          <a:p>
            <a:r>
              <a:rPr lang="en-GB" sz="2000" b="1" dirty="0">
                <a:solidFill>
                  <a:schemeClr val="bg1"/>
                </a:solidFill>
              </a:rPr>
              <a:t>Early adopters</a:t>
            </a:r>
            <a:endParaRPr lang="en-GB" sz="2000" dirty="0">
              <a:solidFill>
                <a:schemeClr val="bg1"/>
              </a:solidFill>
            </a:endParaRPr>
          </a:p>
        </p:txBody>
      </p:sp>
      <p:grpSp>
        <p:nvGrpSpPr>
          <p:cNvPr id="7" name="Group 6"/>
          <p:cNvGrpSpPr/>
          <p:nvPr/>
        </p:nvGrpSpPr>
        <p:grpSpPr>
          <a:xfrm>
            <a:off x="4032777" y="2586614"/>
            <a:ext cx="1011237" cy="1011237"/>
            <a:chOff x="5009507" y="3352896"/>
            <a:chExt cx="1194615" cy="1194615"/>
          </a:xfrm>
          <a:solidFill>
            <a:schemeClr val="bg1"/>
          </a:solidFill>
        </p:grpSpPr>
        <p:sp>
          <p:nvSpPr>
            <p:cNvPr id="23" name="Freeform 22"/>
            <p:cNvSpPr>
              <a:spLocks noEditPoints="1"/>
            </p:cNvSpPr>
            <p:nvPr/>
          </p:nvSpPr>
          <p:spPr bwMode="auto">
            <a:xfrm>
              <a:off x="5246176" y="3589565"/>
              <a:ext cx="721277" cy="721277"/>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70 h 192"/>
                <a:gd name="T12" fmla="*/ 21 w 192"/>
                <a:gd name="T13" fmla="*/ 96 h 192"/>
                <a:gd name="T14" fmla="*/ 96 w 192"/>
                <a:gd name="T15" fmla="*/ 21 h 192"/>
                <a:gd name="T16" fmla="*/ 170 w 192"/>
                <a:gd name="T17" fmla="*/ 96 h 192"/>
                <a:gd name="T18" fmla="*/ 96 w 192"/>
                <a:gd name="T19"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70"/>
                  </a:moveTo>
                  <a:cubicBezTo>
                    <a:pt x="54" y="170"/>
                    <a:pt x="21" y="137"/>
                    <a:pt x="21" y="96"/>
                  </a:cubicBezTo>
                  <a:cubicBezTo>
                    <a:pt x="21" y="54"/>
                    <a:pt x="54" y="21"/>
                    <a:pt x="96" y="21"/>
                  </a:cubicBezTo>
                  <a:cubicBezTo>
                    <a:pt x="137" y="21"/>
                    <a:pt x="170" y="54"/>
                    <a:pt x="170" y="96"/>
                  </a:cubicBezTo>
                  <a:cubicBezTo>
                    <a:pt x="170" y="137"/>
                    <a:pt x="137" y="170"/>
                    <a:pt x="9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23"/>
            <p:cNvSpPr>
              <a:spLocks/>
            </p:cNvSpPr>
            <p:nvPr/>
          </p:nvSpPr>
          <p:spPr bwMode="auto">
            <a:xfrm>
              <a:off x="6046343" y="3910759"/>
              <a:ext cx="157779" cy="78890"/>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4"/>
            <p:cNvSpPr>
              <a:spLocks/>
            </p:cNvSpPr>
            <p:nvPr/>
          </p:nvSpPr>
          <p:spPr bwMode="auto">
            <a:xfrm>
              <a:off x="5009507" y="3910759"/>
              <a:ext cx="157779" cy="78890"/>
            </a:xfrm>
            <a:custGeom>
              <a:avLst/>
              <a:gdLst>
                <a:gd name="T0" fmla="*/ 32 w 42"/>
                <a:gd name="T1" fmla="*/ 0 h 21"/>
                <a:gd name="T2" fmla="*/ 10 w 42"/>
                <a:gd name="T3" fmla="*/ 0 h 21"/>
                <a:gd name="T4" fmla="*/ 0 w 42"/>
                <a:gd name="T5" fmla="*/ 11 h 21"/>
                <a:gd name="T6" fmla="*/ 10 w 42"/>
                <a:gd name="T7" fmla="*/ 21 h 21"/>
                <a:gd name="T8" fmla="*/ 32 w 42"/>
                <a:gd name="T9" fmla="*/ 21 h 21"/>
                <a:gd name="T10" fmla="*/ 42 w 42"/>
                <a:gd name="T11" fmla="*/ 11 h 21"/>
                <a:gd name="T12" fmla="*/ 32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32" y="0"/>
                  </a:moveTo>
                  <a:cubicBezTo>
                    <a:pt x="10" y="0"/>
                    <a:pt x="10" y="0"/>
                    <a:pt x="10" y="0"/>
                  </a:cubicBezTo>
                  <a:cubicBezTo>
                    <a:pt x="4" y="0"/>
                    <a:pt x="0" y="5"/>
                    <a:pt x="0" y="11"/>
                  </a:cubicBezTo>
                  <a:cubicBezTo>
                    <a:pt x="0" y="17"/>
                    <a:pt x="4" y="21"/>
                    <a:pt x="10" y="21"/>
                  </a:cubicBezTo>
                  <a:cubicBezTo>
                    <a:pt x="32" y="21"/>
                    <a:pt x="32" y="21"/>
                    <a:pt x="32" y="21"/>
                  </a:cubicBezTo>
                  <a:cubicBezTo>
                    <a:pt x="38" y="21"/>
                    <a:pt x="42" y="17"/>
                    <a:pt x="42" y="11"/>
                  </a:cubicBezTo>
                  <a:cubicBezTo>
                    <a:pt x="42"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5"/>
            <p:cNvSpPr>
              <a:spLocks/>
            </p:cNvSpPr>
            <p:nvPr/>
          </p:nvSpPr>
          <p:spPr bwMode="auto">
            <a:xfrm>
              <a:off x="5567370" y="3352896"/>
              <a:ext cx="78890" cy="157779"/>
            </a:xfrm>
            <a:custGeom>
              <a:avLst/>
              <a:gdLst>
                <a:gd name="T0" fmla="*/ 11 w 21"/>
                <a:gd name="T1" fmla="*/ 42 h 42"/>
                <a:gd name="T2" fmla="*/ 21 w 21"/>
                <a:gd name="T3" fmla="*/ 32 h 42"/>
                <a:gd name="T4" fmla="*/ 21 w 21"/>
                <a:gd name="T5" fmla="*/ 10 h 42"/>
                <a:gd name="T6" fmla="*/ 11 w 21"/>
                <a:gd name="T7" fmla="*/ 0 h 42"/>
                <a:gd name="T8" fmla="*/ 0 w 21"/>
                <a:gd name="T9" fmla="*/ 10 h 42"/>
                <a:gd name="T10" fmla="*/ 0 w 21"/>
                <a:gd name="T11" fmla="*/ 32 h 42"/>
                <a:gd name="T12" fmla="*/ 11 w 2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11" y="42"/>
                  </a:moveTo>
                  <a:cubicBezTo>
                    <a:pt x="17" y="42"/>
                    <a:pt x="21" y="38"/>
                    <a:pt x="21" y="32"/>
                  </a:cubicBezTo>
                  <a:cubicBezTo>
                    <a:pt x="21" y="10"/>
                    <a:pt x="21" y="10"/>
                    <a:pt x="21" y="10"/>
                  </a:cubicBezTo>
                  <a:cubicBezTo>
                    <a:pt x="21"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6"/>
            <p:cNvSpPr>
              <a:spLocks/>
            </p:cNvSpPr>
            <p:nvPr/>
          </p:nvSpPr>
          <p:spPr bwMode="auto">
            <a:xfrm>
              <a:off x="5567370" y="4389732"/>
              <a:ext cx="78890" cy="157779"/>
            </a:xfrm>
            <a:custGeom>
              <a:avLst/>
              <a:gdLst>
                <a:gd name="T0" fmla="*/ 11 w 21"/>
                <a:gd name="T1" fmla="*/ 0 h 43"/>
                <a:gd name="T2" fmla="*/ 0 w 21"/>
                <a:gd name="T3" fmla="*/ 11 h 43"/>
                <a:gd name="T4" fmla="*/ 0 w 21"/>
                <a:gd name="T5" fmla="*/ 32 h 43"/>
                <a:gd name="T6" fmla="*/ 11 w 21"/>
                <a:gd name="T7" fmla="*/ 43 h 43"/>
                <a:gd name="T8" fmla="*/ 21 w 21"/>
                <a:gd name="T9" fmla="*/ 32 h 43"/>
                <a:gd name="T10" fmla="*/ 21 w 21"/>
                <a:gd name="T11" fmla="*/ 11 h 43"/>
                <a:gd name="T12" fmla="*/ 11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11" y="0"/>
                  </a:moveTo>
                  <a:cubicBezTo>
                    <a:pt x="5" y="0"/>
                    <a:pt x="0" y="5"/>
                    <a:pt x="0" y="11"/>
                  </a:cubicBezTo>
                  <a:cubicBezTo>
                    <a:pt x="0" y="32"/>
                    <a:pt x="0" y="32"/>
                    <a:pt x="0" y="32"/>
                  </a:cubicBezTo>
                  <a:cubicBezTo>
                    <a:pt x="0" y="38"/>
                    <a:pt x="5" y="43"/>
                    <a:pt x="11" y="43"/>
                  </a:cubicBezTo>
                  <a:cubicBezTo>
                    <a:pt x="17" y="43"/>
                    <a:pt x="21" y="38"/>
                    <a:pt x="21" y="32"/>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7"/>
            <p:cNvSpPr>
              <a:spLocks/>
            </p:cNvSpPr>
            <p:nvPr/>
          </p:nvSpPr>
          <p:spPr bwMode="auto">
            <a:xfrm>
              <a:off x="5899833" y="3510675"/>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5"/>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8"/>
            <p:cNvSpPr>
              <a:spLocks/>
            </p:cNvSpPr>
            <p:nvPr/>
          </p:nvSpPr>
          <p:spPr bwMode="auto">
            <a:xfrm>
              <a:off x="5167286" y="4243222"/>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6"/>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9"/>
            <p:cNvSpPr>
              <a:spLocks/>
            </p:cNvSpPr>
            <p:nvPr/>
          </p:nvSpPr>
          <p:spPr bwMode="auto">
            <a:xfrm>
              <a:off x="5167286" y="3510675"/>
              <a:ext cx="146509" cy="140874"/>
            </a:xfrm>
            <a:custGeom>
              <a:avLst/>
              <a:gdLst>
                <a:gd name="T0" fmla="*/ 20 w 39"/>
                <a:gd name="T1" fmla="*/ 35 h 38"/>
                <a:gd name="T2" fmla="*/ 27 w 39"/>
                <a:gd name="T3" fmla="*/ 38 h 38"/>
                <a:gd name="T4" fmla="*/ 35 w 39"/>
                <a:gd name="T5" fmla="*/ 35 h 38"/>
                <a:gd name="T6" fmla="*/ 35 w 39"/>
                <a:gd name="T7" fmla="*/ 20 h 38"/>
                <a:gd name="T8" fmla="*/ 20 w 39"/>
                <a:gd name="T9" fmla="*/ 5 h 38"/>
                <a:gd name="T10" fmla="*/ 5 w 39"/>
                <a:gd name="T11" fmla="*/ 5 h 38"/>
                <a:gd name="T12" fmla="*/ 5 w 39"/>
                <a:gd name="T13" fmla="*/ 20 h 38"/>
                <a:gd name="T14" fmla="*/ 20 w 39"/>
                <a:gd name="T15" fmla="*/ 3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35"/>
                  </a:moveTo>
                  <a:cubicBezTo>
                    <a:pt x="22" y="37"/>
                    <a:pt x="24" y="38"/>
                    <a:pt x="27" y="38"/>
                  </a:cubicBezTo>
                  <a:cubicBezTo>
                    <a:pt x="30" y="38"/>
                    <a:pt x="33" y="37"/>
                    <a:pt x="35" y="35"/>
                  </a:cubicBezTo>
                  <a:cubicBezTo>
                    <a:pt x="39" y="31"/>
                    <a:pt x="39" y="24"/>
                    <a:pt x="35" y="20"/>
                  </a:cubicBezTo>
                  <a:cubicBezTo>
                    <a:pt x="20" y="5"/>
                    <a:pt x="20" y="5"/>
                    <a:pt x="20" y="5"/>
                  </a:cubicBezTo>
                  <a:cubicBezTo>
                    <a:pt x="15" y="0"/>
                    <a:pt x="9" y="0"/>
                    <a:pt x="5" y="5"/>
                  </a:cubicBezTo>
                  <a:cubicBezTo>
                    <a:pt x="0" y="9"/>
                    <a:pt x="0" y="15"/>
                    <a:pt x="5" y="20"/>
                  </a:cubicBezTo>
                  <a:lnTo>
                    <a:pt x="2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30"/>
            <p:cNvSpPr>
              <a:spLocks/>
            </p:cNvSpPr>
            <p:nvPr/>
          </p:nvSpPr>
          <p:spPr bwMode="auto">
            <a:xfrm>
              <a:off x="5899833" y="4243222"/>
              <a:ext cx="146509" cy="140874"/>
            </a:xfrm>
            <a:custGeom>
              <a:avLst/>
              <a:gdLst>
                <a:gd name="T0" fmla="*/ 20 w 39"/>
                <a:gd name="T1" fmla="*/ 5 h 38"/>
                <a:gd name="T2" fmla="*/ 5 w 39"/>
                <a:gd name="T3" fmla="*/ 5 h 38"/>
                <a:gd name="T4" fmla="*/ 5 w 39"/>
                <a:gd name="T5" fmla="*/ 20 h 38"/>
                <a:gd name="T6" fmla="*/ 20 w 39"/>
                <a:gd name="T7" fmla="*/ 35 h 38"/>
                <a:gd name="T8" fmla="*/ 27 w 39"/>
                <a:gd name="T9" fmla="*/ 38 h 38"/>
                <a:gd name="T10" fmla="*/ 35 w 39"/>
                <a:gd name="T11" fmla="*/ 35 h 38"/>
                <a:gd name="T12" fmla="*/ 35 w 39"/>
                <a:gd name="T13" fmla="*/ 20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16" y="0"/>
                    <a:pt x="9" y="0"/>
                    <a:pt x="5" y="5"/>
                  </a:cubicBezTo>
                  <a:cubicBezTo>
                    <a:pt x="0" y="9"/>
                    <a:pt x="0" y="16"/>
                    <a:pt x="5" y="20"/>
                  </a:cubicBezTo>
                  <a:cubicBezTo>
                    <a:pt x="20" y="35"/>
                    <a:pt x="20" y="35"/>
                    <a:pt x="20" y="35"/>
                  </a:cubicBezTo>
                  <a:cubicBezTo>
                    <a:pt x="22" y="37"/>
                    <a:pt x="25" y="38"/>
                    <a:pt x="27" y="38"/>
                  </a:cubicBezTo>
                  <a:cubicBezTo>
                    <a:pt x="30" y="38"/>
                    <a:pt x="33" y="37"/>
                    <a:pt x="35" y="35"/>
                  </a:cubicBezTo>
                  <a:cubicBezTo>
                    <a:pt x="39" y="31"/>
                    <a:pt x="39" y="24"/>
                    <a:pt x="35" y="20"/>
                  </a:cubicBezTo>
                  <a:lnTo>
                    <a:pt x="2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 name="TextBox 32"/>
          <p:cNvSpPr txBox="1"/>
          <p:nvPr/>
        </p:nvSpPr>
        <p:spPr>
          <a:xfrm>
            <a:off x="3778763" y="3846947"/>
            <a:ext cx="1741264" cy="651460"/>
          </a:xfrm>
          <a:prstGeom prst="rect">
            <a:avLst/>
          </a:prstGeom>
          <a:noFill/>
        </p:spPr>
        <p:txBody>
          <a:bodyPr wrap="square" lIns="0" tIns="0" rIns="0" bIns="0" rtlCol="0">
            <a:noAutofit/>
          </a:bodyPr>
          <a:lstStyle/>
          <a:p>
            <a:r>
              <a:rPr lang="en-GB" sz="1000" i="1" dirty="0">
                <a:solidFill>
                  <a:schemeClr val="bg1"/>
                </a:solidFill>
              </a:rPr>
              <a:t>“I’m always keen to </a:t>
            </a:r>
          </a:p>
          <a:p>
            <a:r>
              <a:rPr lang="en-GB" sz="1000" i="1" dirty="0">
                <a:solidFill>
                  <a:schemeClr val="bg1"/>
                </a:solidFill>
              </a:rPr>
              <a:t>use new technology </a:t>
            </a:r>
          </a:p>
          <a:p>
            <a:r>
              <a:rPr lang="en-GB" sz="1000" i="1" dirty="0">
                <a:solidFill>
                  <a:schemeClr val="bg1"/>
                </a:solidFill>
              </a:rPr>
              <a:t>products as soon as </a:t>
            </a:r>
          </a:p>
          <a:p>
            <a:r>
              <a:rPr lang="en-GB" sz="1000" i="1" dirty="0">
                <a:solidFill>
                  <a:schemeClr val="bg1"/>
                </a:solidFill>
              </a:rPr>
              <a:t>they enter the market.”</a:t>
            </a:r>
          </a:p>
        </p:txBody>
      </p:sp>
      <p:grpSp>
        <p:nvGrpSpPr>
          <p:cNvPr id="18" name="Group 17"/>
          <p:cNvGrpSpPr/>
          <p:nvPr/>
        </p:nvGrpSpPr>
        <p:grpSpPr>
          <a:xfrm>
            <a:off x="3708775" y="5180217"/>
            <a:ext cx="1757822" cy="341140"/>
            <a:chOff x="1279862" y="5645076"/>
            <a:chExt cx="2373569" cy="460638"/>
          </a:xfrm>
        </p:grpSpPr>
        <p:grpSp>
          <p:nvGrpSpPr>
            <p:cNvPr id="15" name="Group 14"/>
            <p:cNvGrpSpPr/>
            <p:nvPr/>
          </p:nvGrpSpPr>
          <p:grpSpPr>
            <a:xfrm>
              <a:off x="1279862" y="5645076"/>
              <a:ext cx="2373569" cy="460638"/>
              <a:chOff x="1279862" y="5645076"/>
              <a:chExt cx="2373569" cy="460638"/>
            </a:xfrm>
          </p:grpSpPr>
          <p:sp>
            <p:nvSpPr>
              <p:cNvPr id="9" name="Rectangle 8"/>
              <p:cNvSpPr/>
              <p:nvPr/>
            </p:nvSpPr>
            <p:spPr bwMode="gray">
              <a:xfrm>
                <a:off x="1279862" y="5645076"/>
                <a:ext cx="2294930" cy="460638"/>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1" name="Rectangle 50"/>
              <p:cNvSpPr/>
              <p:nvPr/>
            </p:nvSpPr>
            <p:spPr bwMode="gray">
              <a:xfrm>
                <a:off x="3574792" y="5754770"/>
                <a:ext cx="78639" cy="24125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48" name="Rectangle 47"/>
            <p:cNvSpPr/>
            <p:nvPr/>
          </p:nvSpPr>
          <p:spPr bwMode="gray">
            <a:xfrm>
              <a:off x="1682819" y="5685316"/>
              <a:ext cx="1846048" cy="38015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57" name="TextBox 56"/>
          <p:cNvSpPr txBox="1"/>
          <p:nvPr/>
        </p:nvSpPr>
        <p:spPr>
          <a:xfrm>
            <a:off x="4055099" y="5242107"/>
            <a:ext cx="1295020" cy="183402"/>
          </a:xfrm>
          <a:prstGeom prst="rect">
            <a:avLst/>
          </a:prstGeom>
          <a:noFill/>
        </p:spPr>
        <p:txBody>
          <a:bodyPr wrap="square" lIns="0" tIns="0" rIns="0" bIns="0" rtlCol="0">
            <a:noAutofit/>
          </a:bodyPr>
          <a:lstStyle/>
          <a:p>
            <a:r>
              <a:rPr lang="en-GB" sz="1400" b="1" dirty="0">
                <a:solidFill>
                  <a:schemeClr val="accent5"/>
                </a:solidFill>
              </a:rPr>
              <a:t>10% </a:t>
            </a:r>
            <a:r>
              <a:rPr lang="en-GB" sz="900" dirty="0">
                <a:solidFill>
                  <a:schemeClr val="accent5"/>
                </a:solidFill>
              </a:rPr>
              <a:t>of the UK</a:t>
            </a:r>
          </a:p>
        </p:txBody>
      </p:sp>
      <p:sp>
        <p:nvSpPr>
          <p:cNvPr id="64" name="TextBox 63"/>
          <p:cNvSpPr txBox="1"/>
          <p:nvPr/>
        </p:nvSpPr>
        <p:spPr>
          <a:xfrm>
            <a:off x="6839273" y="1741501"/>
            <a:ext cx="1703480" cy="849107"/>
          </a:xfrm>
          <a:prstGeom prst="rect">
            <a:avLst/>
          </a:prstGeom>
          <a:noFill/>
        </p:spPr>
        <p:txBody>
          <a:bodyPr wrap="square" lIns="0" tIns="0" rIns="0" bIns="0" rtlCol="0">
            <a:noAutofit/>
          </a:bodyPr>
          <a:lstStyle/>
          <a:p>
            <a:r>
              <a:rPr lang="en-GB" sz="2000" b="1" dirty="0">
                <a:solidFill>
                  <a:schemeClr val="bg1"/>
                </a:solidFill>
              </a:rPr>
              <a:t>Late adopters</a:t>
            </a:r>
            <a:endParaRPr lang="en-GB" sz="2000" dirty="0">
              <a:solidFill>
                <a:schemeClr val="bg1"/>
              </a:solidFill>
            </a:endParaRPr>
          </a:p>
        </p:txBody>
      </p:sp>
      <p:sp>
        <p:nvSpPr>
          <p:cNvPr id="79" name="TextBox 78"/>
          <p:cNvSpPr txBox="1"/>
          <p:nvPr/>
        </p:nvSpPr>
        <p:spPr>
          <a:xfrm>
            <a:off x="6836493" y="3846947"/>
            <a:ext cx="1741264" cy="651460"/>
          </a:xfrm>
          <a:prstGeom prst="rect">
            <a:avLst/>
          </a:prstGeom>
          <a:noFill/>
        </p:spPr>
        <p:txBody>
          <a:bodyPr wrap="square" lIns="0" tIns="0" rIns="0" bIns="0" rtlCol="0">
            <a:noAutofit/>
          </a:bodyPr>
          <a:lstStyle/>
          <a:p>
            <a:r>
              <a:rPr lang="en-GB" sz="1000" i="1" dirty="0">
                <a:solidFill>
                  <a:schemeClr val="bg1"/>
                </a:solidFill>
              </a:rPr>
              <a:t>“I only replace </a:t>
            </a:r>
          </a:p>
          <a:p>
            <a:r>
              <a:rPr lang="en-GB" sz="1000" i="1" dirty="0">
                <a:solidFill>
                  <a:schemeClr val="bg1"/>
                </a:solidFill>
              </a:rPr>
              <a:t> technology products </a:t>
            </a:r>
          </a:p>
          <a:p>
            <a:r>
              <a:rPr lang="en-GB" sz="1000" i="1" dirty="0">
                <a:solidFill>
                  <a:schemeClr val="bg1"/>
                </a:solidFill>
              </a:rPr>
              <a:t> when they go wrong </a:t>
            </a:r>
          </a:p>
          <a:p>
            <a:r>
              <a:rPr lang="en-GB" sz="1000" i="1" dirty="0">
                <a:solidFill>
                  <a:schemeClr val="bg1"/>
                </a:solidFill>
              </a:rPr>
              <a:t> or are broken.”</a:t>
            </a:r>
          </a:p>
        </p:txBody>
      </p:sp>
      <p:grpSp>
        <p:nvGrpSpPr>
          <p:cNvPr id="17" name="Group 16"/>
          <p:cNvGrpSpPr/>
          <p:nvPr/>
        </p:nvGrpSpPr>
        <p:grpSpPr>
          <a:xfrm>
            <a:off x="6766505" y="5180217"/>
            <a:ext cx="1757822" cy="341140"/>
            <a:chOff x="5408684" y="5645076"/>
            <a:chExt cx="2373569" cy="460638"/>
          </a:xfrm>
        </p:grpSpPr>
        <p:grpSp>
          <p:nvGrpSpPr>
            <p:cNvPr id="16" name="Group 15"/>
            <p:cNvGrpSpPr/>
            <p:nvPr/>
          </p:nvGrpSpPr>
          <p:grpSpPr>
            <a:xfrm>
              <a:off x="5408684" y="5645076"/>
              <a:ext cx="2373569" cy="460638"/>
              <a:chOff x="5408684" y="5645076"/>
              <a:chExt cx="2373569" cy="460638"/>
            </a:xfrm>
          </p:grpSpPr>
          <p:sp>
            <p:nvSpPr>
              <p:cNvPr id="83" name="Rectangle 82"/>
              <p:cNvSpPr/>
              <p:nvPr/>
            </p:nvSpPr>
            <p:spPr bwMode="gray">
              <a:xfrm>
                <a:off x="5408684" y="5645076"/>
                <a:ext cx="2294930" cy="460638"/>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5" name="Rectangle 84"/>
              <p:cNvSpPr/>
              <p:nvPr/>
            </p:nvSpPr>
            <p:spPr bwMode="gray">
              <a:xfrm>
                <a:off x="7703614" y="5754770"/>
                <a:ext cx="78639" cy="24125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84" name="Rectangle 83"/>
            <p:cNvSpPr/>
            <p:nvPr/>
          </p:nvSpPr>
          <p:spPr bwMode="gray">
            <a:xfrm>
              <a:off x="5811641" y="5685316"/>
              <a:ext cx="1846048" cy="38015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86" name="TextBox 85"/>
          <p:cNvSpPr txBox="1"/>
          <p:nvPr/>
        </p:nvSpPr>
        <p:spPr>
          <a:xfrm>
            <a:off x="7112830" y="5242107"/>
            <a:ext cx="1319248" cy="183402"/>
          </a:xfrm>
          <a:prstGeom prst="rect">
            <a:avLst/>
          </a:prstGeom>
          <a:noFill/>
        </p:spPr>
        <p:txBody>
          <a:bodyPr wrap="square" lIns="0" tIns="0" rIns="0" bIns="0" rtlCol="0">
            <a:noAutofit/>
          </a:bodyPr>
          <a:lstStyle/>
          <a:p>
            <a:r>
              <a:rPr lang="en-GB" sz="1400" b="1" dirty="0">
                <a:solidFill>
                  <a:schemeClr val="accent4"/>
                </a:solidFill>
              </a:rPr>
              <a:t>25% </a:t>
            </a:r>
            <a:r>
              <a:rPr lang="en-GB" sz="1000" dirty="0">
                <a:solidFill>
                  <a:schemeClr val="accent4"/>
                </a:solidFill>
              </a:rPr>
              <a:t>of the UK</a:t>
            </a:r>
          </a:p>
        </p:txBody>
      </p:sp>
      <p:sp>
        <p:nvSpPr>
          <p:cNvPr id="41" name="Freeform 923"/>
          <p:cNvSpPr>
            <a:spLocks noEditPoints="1"/>
          </p:cNvSpPr>
          <p:nvPr/>
        </p:nvSpPr>
        <p:spPr bwMode="auto">
          <a:xfrm rot="9057761">
            <a:off x="6997880" y="2516470"/>
            <a:ext cx="1194670" cy="1233032"/>
          </a:xfrm>
          <a:custGeom>
            <a:avLst/>
            <a:gdLst>
              <a:gd name="T0" fmla="*/ 148 w 329"/>
              <a:gd name="T1" fmla="*/ 338 h 338"/>
              <a:gd name="T2" fmla="*/ 2 w 329"/>
              <a:gd name="T3" fmla="*/ 245 h 338"/>
              <a:gd name="T4" fmla="*/ 5 w 329"/>
              <a:gd name="T5" fmla="*/ 233 h 338"/>
              <a:gd name="T6" fmla="*/ 18 w 329"/>
              <a:gd name="T7" fmla="*/ 232 h 338"/>
              <a:gd name="T8" fmla="*/ 117 w 329"/>
              <a:gd name="T9" fmla="*/ 246 h 338"/>
              <a:gd name="T10" fmla="*/ 176 w 329"/>
              <a:gd name="T11" fmla="*/ 190 h 338"/>
              <a:gd name="T12" fmla="*/ 179 w 329"/>
              <a:gd name="T13" fmla="*/ 109 h 338"/>
              <a:gd name="T14" fmla="*/ 102 w 329"/>
              <a:gd name="T15" fmla="*/ 45 h 338"/>
              <a:gd name="T16" fmla="*/ 94 w 329"/>
              <a:gd name="T17" fmla="*/ 34 h 338"/>
              <a:gd name="T18" fmla="*/ 101 w 329"/>
              <a:gd name="T19" fmla="*/ 24 h 338"/>
              <a:gd name="T20" fmla="*/ 297 w 329"/>
              <a:gd name="T21" fmla="*/ 121 h 338"/>
              <a:gd name="T22" fmla="*/ 204 w 329"/>
              <a:gd name="T23" fmla="*/ 327 h 338"/>
              <a:gd name="T24" fmla="*/ 148 w 329"/>
              <a:gd name="T25" fmla="*/ 338 h 338"/>
              <a:gd name="T26" fmla="*/ 41 w 329"/>
              <a:gd name="T27" fmla="*/ 267 h 338"/>
              <a:gd name="T28" fmla="*/ 197 w 329"/>
              <a:gd name="T29" fmla="*/ 307 h 338"/>
              <a:gd name="T30" fmla="*/ 277 w 329"/>
              <a:gd name="T31" fmla="*/ 128 h 338"/>
              <a:gd name="T32" fmla="*/ 143 w 329"/>
              <a:gd name="T33" fmla="*/ 39 h 338"/>
              <a:gd name="T34" fmla="*/ 199 w 329"/>
              <a:gd name="T35" fmla="*/ 101 h 338"/>
              <a:gd name="T36" fmla="*/ 196 w 329"/>
              <a:gd name="T37" fmla="*/ 199 h 338"/>
              <a:gd name="T38" fmla="*/ 124 w 329"/>
              <a:gd name="T39" fmla="*/ 266 h 338"/>
              <a:gd name="T40" fmla="*/ 41 w 329"/>
              <a:gd name="T41" fmla="*/ 2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9" h="338">
                <a:moveTo>
                  <a:pt x="148" y="338"/>
                </a:moveTo>
                <a:cubicBezTo>
                  <a:pt x="88" y="338"/>
                  <a:pt x="30" y="303"/>
                  <a:pt x="2" y="245"/>
                </a:cubicBezTo>
                <a:cubicBezTo>
                  <a:pt x="0" y="241"/>
                  <a:pt x="1" y="236"/>
                  <a:pt x="5" y="233"/>
                </a:cubicBezTo>
                <a:cubicBezTo>
                  <a:pt x="8" y="229"/>
                  <a:pt x="14" y="229"/>
                  <a:pt x="18" y="232"/>
                </a:cubicBezTo>
                <a:cubicBezTo>
                  <a:pt x="42" y="248"/>
                  <a:pt x="81" y="260"/>
                  <a:pt x="117" y="246"/>
                </a:cubicBezTo>
                <a:cubicBezTo>
                  <a:pt x="143" y="236"/>
                  <a:pt x="164" y="216"/>
                  <a:pt x="176" y="190"/>
                </a:cubicBezTo>
                <a:cubicBezTo>
                  <a:pt x="188" y="165"/>
                  <a:pt x="189" y="136"/>
                  <a:pt x="179" y="109"/>
                </a:cubicBezTo>
                <a:cubicBezTo>
                  <a:pt x="165" y="73"/>
                  <a:pt x="130" y="52"/>
                  <a:pt x="102" y="45"/>
                </a:cubicBezTo>
                <a:cubicBezTo>
                  <a:pt x="97" y="43"/>
                  <a:pt x="94" y="39"/>
                  <a:pt x="94" y="34"/>
                </a:cubicBezTo>
                <a:cubicBezTo>
                  <a:pt x="94" y="30"/>
                  <a:pt x="97" y="25"/>
                  <a:pt x="101" y="24"/>
                </a:cubicBezTo>
                <a:cubicBezTo>
                  <a:pt x="179" y="0"/>
                  <a:pt x="268" y="44"/>
                  <a:pt x="297" y="121"/>
                </a:cubicBezTo>
                <a:cubicBezTo>
                  <a:pt x="329" y="203"/>
                  <a:pt x="287" y="296"/>
                  <a:pt x="204" y="327"/>
                </a:cubicBezTo>
                <a:cubicBezTo>
                  <a:pt x="186" y="334"/>
                  <a:pt x="167" y="338"/>
                  <a:pt x="148" y="338"/>
                </a:cubicBezTo>
                <a:close/>
                <a:moveTo>
                  <a:pt x="41" y="267"/>
                </a:moveTo>
                <a:cubicBezTo>
                  <a:pt x="79" y="311"/>
                  <a:pt x="141" y="329"/>
                  <a:pt x="197" y="307"/>
                </a:cubicBezTo>
                <a:cubicBezTo>
                  <a:pt x="268" y="280"/>
                  <a:pt x="304" y="200"/>
                  <a:pt x="277" y="128"/>
                </a:cubicBezTo>
                <a:cubicBezTo>
                  <a:pt x="257" y="74"/>
                  <a:pt x="200" y="38"/>
                  <a:pt x="143" y="39"/>
                </a:cubicBezTo>
                <a:cubicBezTo>
                  <a:pt x="169" y="54"/>
                  <a:pt x="189" y="76"/>
                  <a:pt x="199" y="101"/>
                </a:cubicBezTo>
                <a:cubicBezTo>
                  <a:pt x="211" y="133"/>
                  <a:pt x="210" y="168"/>
                  <a:pt x="196" y="199"/>
                </a:cubicBezTo>
                <a:cubicBezTo>
                  <a:pt x="182" y="230"/>
                  <a:pt x="156" y="254"/>
                  <a:pt x="124" y="266"/>
                </a:cubicBezTo>
                <a:cubicBezTo>
                  <a:pt x="99" y="276"/>
                  <a:pt x="69" y="276"/>
                  <a:pt x="41" y="2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87" name="TextBox 86"/>
          <p:cNvSpPr txBox="1"/>
          <p:nvPr/>
        </p:nvSpPr>
        <p:spPr>
          <a:xfrm>
            <a:off x="5571473" y="2964475"/>
            <a:ext cx="1053835" cy="767986"/>
          </a:xfrm>
          <a:prstGeom prst="rect">
            <a:avLst/>
          </a:prstGeom>
          <a:noFill/>
        </p:spPr>
        <p:txBody>
          <a:bodyPr wrap="square" lIns="0" tIns="0" rIns="0" bIns="0" rtlCol="0">
            <a:noAutofit/>
          </a:bodyPr>
          <a:lstStyle/>
          <a:p>
            <a:pPr algn="ctr"/>
            <a:r>
              <a:rPr lang="en-GB" sz="4800" dirty="0"/>
              <a:t>Vs</a:t>
            </a:r>
          </a:p>
        </p:txBody>
      </p:sp>
    </p:spTree>
    <p:extLst>
      <p:ext uri="{BB962C8B-B14F-4D97-AF65-F5344CB8AC3E}">
        <p14:creationId xmlns:p14="http://schemas.microsoft.com/office/powerpoint/2010/main" val="898335840"/>
      </p:ext>
    </p:extLst>
  </p:cSld>
  <p:clrMapOvr>
    <a:masterClrMapping/>
  </p:clrMapOvr>
  <p:transition>
    <p:fade/>
  </p:transition>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val 8"/>
          <p:cNvSpPr/>
          <p:nvPr/>
        </p:nvSpPr>
        <p:spPr>
          <a:xfrm rot="21012786">
            <a:off x="1867592" y="3723307"/>
            <a:ext cx="1910537" cy="961536"/>
          </a:xfrm>
          <a:custGeom>
            <a:avLst/>
            <a:gdLst/>
            <a:ahLst/>
            <a:cxnLst/>
            <a:rect l="l" t="t" r="r" b="b"/>
            <a:pathLst>
              <a:path w="1910537" h="961536">
                <a:moveTo>
                  <a:pt x="1224063" y="21329"/>
                </a:moveTo>
                <a:cubicBezTo>
                  <a:pt x="1580673" y="92833"/>
                  <a:pt x="1810771" y="325621"/>
                  <a:pt x="1897387" y="433649"/>
                </a:cubicBezTo>
                <a:lnTo>
                  <a:pt x="1626803" y="496581"/>
                </a:lnTo>
                <a:lnTo>
                  <a:pt x="1910537" y="522352"/>
                </a:lnTo>
                <a:cubicBezTo>
                  <a:pt x="1832352" y="630519"/>
                  <a:pt x="1569369" y="963849"/>
                  <a:pt x="1012869" y="961524"/>
                </a:cubicBezTo>
                <a:cubicBezTo>
                  <a:pt x="339966" y="958711"/>
                  <a:pt x="6948" y="510122"/>
                  <a:pt x="82" y="472334"/>
                </a:cubicBezTo>
                <a:cubicBezTo>
                  <a:pt x="-6785" y="434546"/>
                  <a:pt x="415497" y="-2798"/>
                  <a:pt x="1012869" y="14"/>
                </a:cubicBezTo>
                <a:cubicBezTo>
                  <a:pt x="1087541" y="366"/>
                  <a:pt x="1157975" y="8078"/>
                  <a:pt x="1224063" y="21329"/>
                </a:cubicBezTo>
                <a:close/>
              </a:path>
            </a:pathLst>
          </a:custGeom>
          <a:solidFill>
            <a:srgbClr val="C4D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1" name="Oval 8"/>
          <p:cNvSpPr/>
          <p:nvPr/>
        </p:nvSpPr>
        <p:spPr>
          <a:xfrm rot="13988512">
            <a:off x="1899386" y="2150159"/>
            <a:ext cx="2273862" cy="1221721"/>
          </a:xfrm>
          <a:custGeom>
            <a:avLst/>
            <a:gdLst/>
            <a:ahLst/>
            <a:cxnLst/>
            <a:rect l="l" t="t" r="r" b="b"/>
            <a:pathLst>
              <a:path w="2273862" h="1221721">
                <a:moveTo>
                  <a:pt x="2211107" y="708980"/>
                </a:moveTo>
                <a:cubicBezTo>
                  <a:pt x="2088160" y="876314"/>
                  <a:pt x="1773874" y="1224386"/>
                  <a:pt x="1171429" y="1221706"/>
                </a:cubicBezTo>
                <a:cubicBezTo>
                  <a:pt x="503391" y="1218735"/>
                  <a:pt x="115978" y="824007"/>
                  <a:pt x="0" y="663401"/>
                </a:cubicBezTo>
                <a:lnTo>
                  <a:pt x="337733" y="637869"/>
                </a:lnTo>
                <a:lnTo>
                  <a:pt x="3164" y="534988"/>
                </a:lnTo>
                <a:cubicBezTo>
                  <a:pt x="135621" y="376002"/>
                  <a:pt x="582164" y="-2935"/>
                  <a:pt x="1171429" y="17"/>
                </a:cubicBezTo>
                <a:cubicBezTo>
                  <a:pt x="1884527" y="3590"/>
                  <a:pt x="2273862" y="605714"/>
                  <a:pt x="2273862" y="621578"/>
                </a:cubicBezTo>
                <a:cubicBezTo>
                  <a:pt x="2271813" y="617507"/>
                  <a:pt x="2252090" y="653203"/>
                  <a:pt x="2211107" y="70898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8" name="Oval 8"/>
          <p:cNvSpPr/>
          <p:nvPr/>
        </p:nvSpPr>
        <p:spPr>
          <a:xfrm rot="17081601">
            <a:off x="3368165" y="2207922"/>
            <a:ext cx="1912653" cy="961536"/>
          </a:xfrm>
          <a:custGeom>
            <a:avLst/>
            <a:gdLst/>
            <a:ahLst/>
            <a:cxnLst/>
            <a:rect l="l" t="t" r="r" b="b"/>
            <a:pathLst>
              <a:path w="1912653" h="961536">
                <a:moveTo>
                  <a:pt x="1912653" y="489203"/>
                </a:moveTo>
                <a:cubicBezTo>
                  <a:pt x="1905787" y="476386"/>
                  <a:pt x="1662032" y="964336"/>
                  <a:pt x="989128" y="961524"/>
                </a:cubicBezTo>
                <a:cubicBezTo>
                  <a:pt x="413506" y="959118"/>
                  <a:pt x="86598" y="630509"/>
                  <a:pt x="0" y="511752"/>
                </a:cubicBezTo>
                <a:lnTo>
                  <a:pt x="277056" y="446503"/>
                </a:lnTo>
                <a:lnTo>
                  <a:pt x="12939" y="418139"/>
                </a:lnTo>
                <a:cubicBezTo>
                  <a:pt x="127078" y="291434"/>
                  <a:pt x="499223" y="-2292"/>
                  <a:pt x="989128" y="14"/>
                </a:cubicBezTo>
                <a:cubicBezTo>
                  <a:pt x="1586501" y="2826"/>
                  <a:pt x="1912653" y="476717"/>
                  <a:pt x="1912653" y="48920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9" name="Oval 8"/>
          <p:cNvSpPr/>
          <p:nvPr/>
        </p:nvSpPr>
        <p:spPr>
          <a:xfrm rot="20617441">
            <a:off x="4249178" y="2948061"/>
            <a:ext cx="2315587" cy="961536"/>
          </a:xfrm>
          <a:custGeom>
            <a:avLst/>
            <a:gdLst/>
            <a:ahLst/>
            <a:cxnLst/>
            <a:rect l="l" t="t" r="r" b="b"/>
            <a:pathLst>
              <a:path w="2315587" h="961536">
                <a:moveTo>
                  <a:pt x="1678234" y="75880"/>
                </a:moveTo>
                <a:cubicBezTo>
                  <a:pt x="2093797" y="210934"/>
                  <a:pt x="2315587" y="479838"/>
                  <a:pt x="2315587" y="489203"/>
                </a:cubicBezTo>
                <a:cubicBezTo>
                  <a:pt x="2307286" y="476386"/>
                  <a:pt x="2012605" y="964336"/>
                  <a:pt x="1199116" y="961524"/>
                </a:cubicBezTo>
                <a:cubicBezTo>
                  <a:pt x="495868" y="959092"/>
                  <a:pt x="99695" y="623517"/>
                  <a:pt x="0" y="508086"/>
                </a:cubicBezTo>
                <a:lnTo>
                  <a:pt x="251227" y="479748"/>
                </a:lnTo>
                <a:lnTo>
                  <a:pt x="12129" y="424785"/>
                </a:lnTo>
                <a:cubicBezTo>
                  <a:pt x="141272" y="301798"/>
                  <a:pt x="596501" y="-2333"/>
                  <a:pt x="1199116" y="14"/>
                </a:cubicBezTo>
                <a:cubicBezTo>
                  <a:pt x="1379661" y="717"/>
                  <a:pt x="1539712" y="30862"/>
                  <a:pt x="1678234" y="7588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0" name="Oval 8"/>
          <p:cNvSpPr/>
          <p:nvPr/>
        </p:nvSpPr>
        <p:spPr>
          <a:xfrm rot="2134922">
            <a:off x="4003417" y="4076783"/>
            <a:ext cx="1695106" cy="961536"/>
          </a:xfrm>
          <a:custGeom>
            <a:avLst/>
            <a:gdLst/>
            <a:ahLst/>
            <a:cxnLst/>
            <a:rect l="l" t="t" r="r" b="b"/>
            <a:pathLst>
              <a:path w="1695106" h="961536">
                <a:moveTo>
                  <a:pt x="233971" y="220949"/>
                </a:moveTo>
                <a:cubicBezTo>
                  <a:pt x="392198" y="107241"/>
                  <a:pt x="617046" y="-1392"/>
                  <a:pt x="880505" y="14"/>
                </a:cubicBezTo>
                <a:cubicBezTo>
                  <a:pt x="1407421" y="2826"/>
                  <a:pt x="1695106" y="476717"/>
                  <a:pt x="1695106" y="489203"/>
                </a:cubicBezTo>
                <a:cubicBezTo>
                  <a:pt x="1689050" y="476386"/>
                  <a:pt x="1474044" y="964336"/>
                  <a:pt x="880505" y="961524"/>
                </a:cubicBezTo>
                <a:cubicBezTo>
                  <a:pt x="352858" y="959024"/>
                  <a:pt x="62139" y="604229"/>
                  <a:pt x="0" y="498840"/>
                </a:cubicBezTo>
                <a:lnTo>
                  <a:pt x="220344" y="468230"/>
                </a:lnTo>
                <a:lnTo>
                  <a:pt x="13371" y="426223"/>
                </a:lnTo>
                <a:cubicBezTo>
                  <a:pt x="50549" y="376944"/>
                  <a:pt x="127049" y="297787"/>
                  <a:pt x="233971" y="220949"/>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5" name="Freeform 7"/>
          <p:cNvSpPr>
            <a:spLocks noChangeAspect="1"/>
          </p:cNvSpPr>
          <p:nvPr/>
        </p:nvSpPr>
        <p:spPr bwMode="auto">
          <a:xfrm>
            <a:off x="3277135" y="3905860"/>
            <a:ext cx="1410746" cy="2340864"/>
          </a:xfrm>
          <a:custGeom>
            <a:avLst/>
            <a:gdLst>
              <a:gd name="T0" fmla="*/ 219 w 441"/>
              <a:gd name="T1" fmla="*/ 0 h 732"/>
              <a:gd name="T2" fmla="*/ 32 w 441"/>
              <a:gd name="T3" fmla="*/ 732 h 732"/>
              <a:gd name="T4" fmla="*/ 441 w 441"/>
              <a:gd name="T5" fmla="*/ 732 h 732"/>
              <a:gd name="T6" fmla="*/ 219 w 441"/>
              <a:gd name="T7" fmla="*/ 0 h 732"/>
            </a:gdLst>
            <a:ahLst/>
            <a:cxnLst>
              <a:cxn ang="0">
                <a:pos x="T0" y="T1"/>
              </a:cxn>
              <a:cxn ang="0">
                <a:pos x="T2" y="T3"/>
              </a:cxn>
              <a:cxn ang="0">
                <a:pos x="T4" y="T5"/>
              </a:cxn>
              <a:cxn ang="0">
                <a:pos x="T6" y="T7"/>
              </a:cxn>
            </a:cxnLst>
            <a:rect l="0" t="0" r="r" b="b"/>
            <a:pathLst>
              <a:path w="441" h="732">
                <a:moveTo>
                  <a:pt x="219" y="0"/>
                </a:moveTo>
                <a:cubicBezTo>
                  <a:pt x="60" y="441"/>
                  <a:pt x="0" y="544"/>
                  <a:pt x="32" y="732"/>
                </a:cubicBezTo>
                <a:cubicBezTo>
                  <a:pt x="441" y="732"/>
                  <a:pt x="441" y="732"/>
                  <a:pt x="441" y="732"/>
                </a:cubicBezTo>
                <a:cubicBezTo>
                  <a:pt x="339" y="517"/>
                  <a:pt x="198" y="328"/>
                  <a:pt x="219" y="0"/>
                </a:cubicBezTo>
                <a:close/>
              </a:path>
            </a:pathLst>
          </a:custGeom>
          <a:solidFill>
            <a:schemeClr val="accent6"/>
          </a:solidFill>
          <a:ln>
            <a:noFill/>
          </a:ln>
        </p:spPr>
        <p:txBody>
          <a:bodyPr vert="horz" wrap="square" lIns="91440" tIns="91440" rIns="91440" bIns="91440" numCol="1" anchor="t" anchorCtr="0" compatLnSpc="1">
            <a:prstTxWarp prst="textNoShape">
              <a:avLst/>
            </a:prstTxWarp>
            <a:noAutofit/>
          </a:bodyPr>
          <a:lstStyle/>
          <a:p>
            <a:endParaRPr lang="en-US" dirty="0"/>
          </a:p>
        </p:txBody>
      </p:sp>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Tree with accompanying text</a:t>
            </a:r>
            <a:endParaRPr lang="en-US" dirty="0"/>
          </a:p>
        </p:txBody>
      </p:sp>
      <p:sp>
        <p:nvSpPr>
          <p:cNvPr id="36" name="TextBox 35"/>
          <p:cNvSpPr txBox="1"/>
          <p:nvPr/>
        </p:nvSpPr>
        <p:spPr>
          <a:xfrm>
            <a:off x="7174866" y="1803667"/>
            <a:ext cx="3108960" cy="461665"/>
          </a:xfrm>
          <a:prstGeom prst="rect">
            <a:avLst/>
          </a:prstGeom>
          <a:noFill/>
        </p:spPr>
        <p:txBody>
          <a:bodyPr wrap="square" lIns="0" tIns="0" rIns="0" bIns="0" rtlCol="0">
            <a:spAutoFit/>
          </a:bodyPr>
          <a:lstStyle/>
          <a:p>
            <a:r>
              <a:rPr lang="en-US" sz="1000" b="1" dirty="0" err="1">
                <a:solidFill>
                  <a:schemeClr val="accent1"/>
                </a:solidFill>
                <a:cs typeface="Times New Roman" pitchFamily="18" charset="0"/>
              </a:rPr>
              <a:t>Lorem</a:t>
            </a:r>
            <a:r>
              <a:rPr lang="en-US" sz="1000" b="1" dirty="0">
                <a:solidFill>
                  <a:schemeClr val="accent1"/>
                </a:solidFill>
                <a:cs typeface="Times New Roman" pitchFamily="18" charset="0"/>
              </a:rPr>
              <a:t> </a:t>
            </a:r>
            <a:r>
              <a:rPr lang="en-US" sz="1000" b="1" dirty="0" err="1">
                <a:solidFill>
                  <a:schemeClr val="accent1"/>
                </a:solidFill>
                <a:cs typeface="Times New Roman" pitchFamily="18" charset="0"/>
              </a:rPr>
              <a:t>ipsum</a:t>
            </a:r>
            <a:r>
              <a:rPr lang="en-US" sz="1000" b="1" dirty="0">
                <a:solidFill>
                  <a:schemeClr val="accent1"/>
                </a:solidFill>
                <a:cs typeface="Times New Roman" pitchFamily="18" charset="0"/>
              </a:rPr>
              <a:t> </a:t>
            </a:r>
            <a:br>
              <a:rPr lang="en-US" sz="1000" b="1" dirty="0">
                <a:solidFill>
                  <a:schemeClr val="accent4"/>
                </a:solidFill>
              </a:rPr>
            </a:br>
            <a:r>
              <a:rPr lang="en-US" sz="1000" dirty="0">
                <a:solidFill>
                  <a:srgbClr val="53565A"/>
                </a:solidFill>
              </a:rPr>
              <a:t>This is dummy text it is not here to be read this is dummy text it is not here to be read. </a:t>
            </a:r>
          </a:p>
        </p:txBody>
      </p:sp>
      <p:sp>
        <p:nvSpPr>
          <p:cNvPr id="41" name="Oval 8"/>
          <p:cNvSpPr/>
          <p:nvPr/>
        </p:nvSpPr>
        <p:spPr>
          <a:xfrm rot="21012786">
            <a:off x="6624674" y="1844044"/>
            <a:ext cx="480019" cy="238358"/>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C4D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dirty="0">
              <a:solidFill>
                <a:schemeClr val="tx2"/>
              </a:solidFill>
            </a:endParaRPr>
          </a:p>
        </p:txBody>
      </p:sp>
      <p:sp>
        <p:nvSpPr>
          <p:cNvPr id="39" name="TextBox 38"/>
          <p:cNvSpPr txBox="1"/>
          <p:nvPr/>
        </p:nvSpPr>
        <p:spPr>
          <a:xfrm>
            <a:off x="7174866" y="2792031"/>
            <a:ext cx="3108960" cy="461665"/>
          </a:xfrm>
          <a:prstGeom prst="rect">
            <a:avLst/>
          </a:prstGeom>
          <a:noFill/>
        </p:spPr>
        <p:txBody>
          <a:bodyPr wrap="square" lIns="0" tIns="0" rIns="0" bIns="0" rtlCol="0">
            <a:spAutoFit/>
          </a:bodyPr>
          <a:lstStyle/>
          <a:p>
            <a:r>
              <a:rPr lang="en-US" sz="1000" b="1" dirty="0" err="1">
                <a:solidFill>
                  <a:schemeClr val="accent2"/>
                </a:solidFill>
                <a:cs typeface="Times New Roman" pitchFamily="18" charset="0"/>
              </a:rPr>
              <a:t>Lorem</a:t>
            </a:r>
            <a:r>
              <a:rPr lang="en-US" sz="1000" b="1" dirty="0">
                <a:solidFill>
                  <a:schemeClr val="accent2"/>
                </a:solidFill>
                <a:cs typeface="Times New Roman" pitchFamily="18" charset="0"/>
              </a:rPr>
              <a:t> </a:t>
            </a:r>
            <a:r>
              <a:rPr lang="en-US" sz="1000" b="1" dirty="0" err="1">
                <a:solidFill>
                  <a:schemeClr val="accent2"/>
                </a:solidFill>
                <a:cs typeface="Times New Roman" pitchFamily="18" charset="0"/>
              </a:rPr>
              <a:t>ipsum</a:t>
            </a:r>
            <a:r>
              <a:rPr lang="en-US" sz="1000" b="1" dirty="0">
                <a:solidFill>
                  <a:schemeClr val="accent2"/>
                </a:solidFill>
                <a:cs typeface="Times New Roman" pitchFamily="18" charset="0"/>
              </a:rPr>
              <a:t> </a:t>
            </a:r>
            <a:br>
              <a:rPr lang="en-US" sz="1000" b="1" dirty="0">
                <a:solidFill>
                  <a:srgbClr val="313131"/>
                </a:solidFill>
              </a:rPr>
            </a:br>
            <a:r>
              <a:rPr lang="en-US" sz="1000" dirty="0">
                <a:solidFill>
                  <a:srgbClr val="53565A"/>
                </a:solidFill>
              </a:rPr>
              <a:t>This is dummy text it is not here to be read this is dummy text it is not here to be read.</a:t>
            </a:r>
          </a:p>
        </p:txBody>
      </p:sp>
      <p:sp>
        <p:nvSpPr>
          <p:cNvPr id="42" name="Oval 8"/>
          <p:cNvSpPr/>
          <p:nvPr/>
        </p:nvSpPr>
        <p:spPr>
          <a:xfrm rot="13988512">
            <a:off x="6645926" y="2889372"/>
            <a:ext cx="437512" cy="231241"/>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37" name="TextBox 36"/>
          <p:cNvSpPr txBox="1"/>
          <p:nvPr/>
        </p:nvSpPr>
        <p:spPr>
          <a:xfrm>
            <a:off x="7193915" y="3780395"/>
            <a:ext cx="3108960" cy="461665"/>
          </a:xfrm>
          <a:prstGeom prst="rect">
            <a:avLst/>
          </a:prstGeom>
          <a:noFill/>
        </p:spPr>
        <p:txBody>
          <a:bodyPr wrap="square" lIns="0" tIns="0" rIns="0" bIns="0" rtlCol="0">
            <a:spAutoFit/>
          </a:bodyPr>
          <a:lstStyle/>
          <a:p>
            <a:r>
              <a:rPr lang="en-US" sz="1000" b="1" dirty="0" err="1">
                <a:solidFill>
                  <a:schemeClr val="accent3"/>
                </a:solidFill>
                <a:cs typeface="Times New Roman" pitchFamily="18" charset="0"/>
              </a:rPr>
              <a:t>Lorem</a:t>
            </a:r>
            <a:r>
              <a:rPr lang="en-US" sz="1000" b="1" dirty="0">
                <a:solidFill>
                  <a:schemeClr val="accent3"/>
                </a:solidFill>
                <a:cs typeface="Times New Roman" pitchFamily="18" charset="0"/>
              </a:rPr>
              <a:t> </a:t>
            </a:r>
            <a:r>
              <a:rPr lang="en-US" sz="1000" b="1" dirty="0" err="1">
                <a:solidFill>
                  <a:schemeClr val="accent3"/>
                </a:solidFill>
                <a:cs typeface="Times New Roman" pitchFamily="18" charset="0"/>
              </a:rPr>
              <a:t>ipsum</a:t>
            </a:r>
            <a:r>
              <a:rPr lang="en-US" sz="1000" b="1" dirty="0">
                <a:solidFill>
                  <a:schemeClr val="accent3"/>
                </a:solidFill>
                <a:cs typeface="Times New Roman" pitchFamily="18" charset="0"/>
              </a:rPr>
              <a:t> </a:t>
            </a:r>
            <a:br>
              <a:rPr lang="en-US" sz="1000" b="1" dirty="0">
                <a:solidFill>
                  <a:schemeClr val="accent4"/>
                </a:solidFill>
              </a:rPr>
            </a:br>
            <a:r>
              <a:rPr lang="en-US" sz="1000" dirty="0">
                <a:solidFill>
                  <a:srgbClr val="53565A"/>
                </a:solidFill>
              </a:rPr>
              <a:t>This is dummy text it is not here to be read this is dummy text it is not here to be read.</a:t>
            </a:r>
          </a:p>
        </p:txBody>
      </p:sp>
      <p:sp>
        <p:nvSpPr>
          <p:cNvPr id="43" name="Oval 8"/>
          <p:cNvSpPr/>
          <p:nvPr/>
        </p:nvSpPr>
        <p:spPr>
          <a:xfrm rot="17081601">
            <a:off x="6611405" y="3911521"/>
            <a:ext cx="506557" cy="25153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38" name="TextBox 37"/>
          <p:cNvSpPr txBox="1"/>
          <p:nvPr/>
        </p:nvSpPr>
        <p:spPr>
          <a:xfrm>
            <a:off x="7193915" y="4768759"/>
            <a:ext cx="3108960" cy="461665"/>
          </a:xfrm>
          <a:prstGeom prst="rect">
            <a:avLst/>
          </a:prstGeom>
          <a:noFill/>
        </p:spPr>
        <p:txBody>
          <a:bodyPr wrap="square" lIns="0" tIns="0" rIns="0" bIns="0" rtlCol="0">
            <a:spAutoFit/>
          </a:bodyPr>
          <a:lstStyle/>
          <a:p>
            <a:r>
              <a:rPr lang="en-US" sz="1000" b="1" dirty="0" err="1">
                <a:solidFill>
                  <a:schemeClr val="accent4"/>
                </a:solidFill>
                <a:cs typeface="Times New Roman" pitchFamily="18" charset="0"/>
              </a:rPr>
              <a:t>Lorem</a:t>
            </a:r>
            <a:r>
              <a:rPr lang="en-US" sz="1000" b="1" dirty="0">
                <a:solidFill>
                  <a:schemeClr val="accent4"/>
                </a:solidFill>
                <a:cs typeface="Times New Roman" pitchFamily="18" charset="0"/>
              </a:rPr>
              <a:t> </a:t>
            </a:r>
            <a:r>
              <a:rPr lang="en-US" sz="1000" b="1" dirty="0" err="1">
                <a:solidFill>
                  <a:schemeClr val="accent4"/>
                </a:solidFill>
                <a:cs typeface="Times New Roman" pitchFamily="18" charset="0"/>
              </a:rPr>
              <a:t>ipsum</a:t>
            </a:r>
            <a:r>
              <a:rPr lang="en-US" sz="1000" b="1" dirty="0">
                <a:solidFill>
                  <a:schemeClr val="accent4"/>
                </a:solidFill>
                <a:cs typeface="Times New Roman" pitchFamily="18" charset="0"/>
              </a:rPr>
              <a:t> </a:t>
            </a:r>
            <a:br>
              <a:rPr lang="en-US" sz="1000" b="1" dirty="0">
                <a:solidFill>
                  <a:schemeClr val="accent4"/>
                </a:solidFill>
              </a:rPr>
            </a:br>
            <a:r>
              <a:rPr lang="en-US" sz="1000" dirty="0">
                <a:solidFill>
                  <a:srgbClr val="53565A"/>
                </a:solidFill>
              </a:rPr>
              <a:t>This is dummy text it is not here to be read this is dummy text it is not here to be read.</a:t>
            </a:r>
          </a:p>
        </p:txBody>
      </p:sp>
      <p:sp>
        <p:nvSpPr>
          <p:cNvPr id="44" name="Oval 8"/>
          <p:cNvSpPr/>
          <p:nvPr/>
        </p:nvSpPr>
        <p:spPr>
          <a:xfrm rot="20617441">
            <a:off x="6621533" y="4821328"/>
            <a:ext cx="486301" cy="19974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40" name="TextBox 39"/>
          <p:cNvSpPr txBox="1"/>
          <p:nvPr/>
        </p:nvSpPr>
        <p:spPr>
          <a:xfrm>
            <a:off x="7193915" y="5757124"/>
            <a:ext cx="3108960" cy="461665"/>
          </a:xfrm>
          <a:prstGeom prst="rect">
            <a:avLst/>
          </a:prstGeom>
          <a:noFill/>
        </p:spPr>
        <p:txBody>
          <a:bodyPr wrap="square" lIns="0" tIns="0" rIns="0" bIns="0" rtlCol="0">
            <a:spAutoFit/>
          </a:bodyPr>
          <a:lstStyle/>
          <a:p>
            <a:r>
              <a:rPr lang="en-US" sz="1000" b="1" dirty="0" err="1">
                <a:solidFill>
                  <a:schemeClr val="accent5"/>
                </a:solidFill>
                <a:cs typeface="Times New Roman" pitchFamily="18" charset="0"/>
              </a:rPr>
              <a:t>Lorem</a:t>
            </a:r>
            <a:r>
              <a:rPr lang="en-US" sz="1000" b="1" dirty="0">
                <a:solidFill>
                  <a:schemeClr val="accent5"/>
                </a:solidFill>
                <a:cs typeface="Times New Roman" pitchFamily="18" charset="0"/>
              </a:rPr>
              <a:t> </a:t>
            </a:r>
            <a:r>
              <a:rPr lang="en-US" sz="1000" b="1" dirty="0" err="1">
                <a:solidFill>
                  <a:schemeClr val="accent5"/>
                </a:solidFill>
                <a:cs typeface="Times New Roman" pitchFamily="18" charset="0"/>
              </a:rPr>
              <a:t>ipsum</a:t>
            </a:r>
            <a:r>
              <a:rPr lang="en-US" sz="1000" b="1" dirty="0">
                <a:solidFill>
                  <a:schemeClr val="accent5"/>
                </a:solidFill>
                <a:cs typeface="Times New Roman" pitchFamily="18" charset="0"/>
              </a:rPr>
              <a:t> </a:t>
            </a:r>
            <a:br>
              <a:rPr lang="en-US" sz="1000" b="1" dirty="0">
                <a:solidFill>
                  <a:schemeClr val="accent4"/>
                </a:solidFill>
              </a:rPr>
            </a:br>
            <a:r>
              <a:rPr lang="en-US" sz="1000" dirty="0">
                <a:solidFill>
                  <a:srgbClr val="53565A"/>
                </a:solidFill>
              </a:rPr>
              <a:t>This is dummy text it is not here to be read this is dummy text it is not here to be read.</a:t>
            </a:r>
          </a:p>
        </p:txBody>
      </p:sp>
      <p:sp>
        <p:nvSpPr>
          <p:cNvPr id="45" name="Oval 8"/>
          <p:cNvSpPr/>
          <p:nvPr/>
        </p:nvSpPr>
        <p:spPr>
          <a:xfrm rot="2134922">
            <a:off x="6647246" y="5794052"/>
            <a:ext cx="434870" cy="244813"/>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sp>
        <p:nvSpPr>
          <p:cNvPr id="53" name="Rectangle 52"/>
          <p:cNvSpPr/>
          <p:nvPr/>
        </p:nvSpPr>
        <p:spPr>
          <a:xfrm>
            <a:off x="3352632" y="5736126"/>
            <a:ext cx="1162274" cy="338554"/>
          </a:xfrm>
          <a:prstGeom prst="rect">
            <a:avLst/>
          </a:prstGeom>
        </p:spPr>
        <p:txBody>
          <a:bodyPr wrap="square" lIns="0" tIns="0" rIns="0" bIns="0" anchor="ctr" anchorCtr="0">
            <a:spAutoFit/>
          </a:bodyPr>
          <a:lstStyle/>
          <a:p>
            <a:pPr algn="ctr"/>
            <a:r>
              <a:rPr lang="en-US" sz="1100" b="1" dirty="0" err="1">
                <a:solidFill>
                  <a:schemeClr val="bg1"/>
                </a:solidFill>
              </a:rPr>
              <a:t>Lorem</a:t>
            </a:r>
            <a:r>
              <a:rPr lang="en-US" sz="1100" b="1" dirty="0">
                <a:solidFill>
                  <a:schemeClr val="bg1"/>
                </a:solidFill>
              </a:rPr>
              <a:t> </a:t>
            </a:r>
            <a:br>
              <a:rPr lang="en-US" sz="1100" b="1" dirty="0">
                <a:solidFill>
                  <a:schemeClr val="bg1"/>
                </a:solidFill>
              </a:rPr>
            </a:br>
            <a:r>
              <a:rPr lang="en-US" sz="1100" b="1" dirty="0" err="1">
                <a:solidFill>
                  <a:schemeClr val="bg1"/>
                </a:solidFill>
              </a:rPr>
              <a:t>ipsum</a:t>
            </a:r>
            <a:r>
              <a:rPr lang="en-US" sz="1100" b="1" dirty="0">
                <a:solidFill>
                  <a:schemeClr val="bg1"/>
                </a:solidFill>
              </a:rPr>
              <a:t> </a:t>
            </a:r>
            <a:endParaRPr lang="en-US" sz="1000" dirty="0">
              <a:solidFill>
                <a:schemeClr val="bg1"/>
              </a:solidFill>
            </a:endParaRPr>
          </a:p>
        </p:txBody>
      </p:sp>
      <p:sp>
        <p:nvSpPr>
          <p:cNvPr id="54" name="Rectangle 53"/>
          <p:cNvSpPr/>
          <p:nvPr/>
        </p:nvSpPr>
        <p:spPr>
          <a:xfrm rot="21126068">
            <a:off x="2200857" y="3971048"/>
            <a:ext cx="1287567" cy="461665"/>
          </a:xfrm>
          <a:prstGeom prst="rect">
            <a:avLst/>
          </a:prstGeom>
        </p:spPr>
        <p:txBody>
          <a:bodyPr wrap="square" lIns="0" tIns="0" rIns="0" bIns="0" anchor="ctr" anchorCtr="0">
            <a:spAutoFit/>
          </a:bodyPr>
          <a:lstStyle/>
          <a:p>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a:t>
            </a:r>
          </a:p>
        </p:txBody>
      </p:sp>
      <p:sp>
        <p:nvSpPr>
          <p:cNvPr id="56" name="Rectangle 55"/>
          <p:cNvSpPr/>
          <p:nvPr/>
        </p:nvSpPr>
        <p:spPr>
          <a:xfrm>
            <a:off x="2524682" y="2265332"/>
            <a:ext cx="912923" cy="627488"/>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a:t>
            </a:r>
          </a:p>
        </p:txBody>
      </p:sp>
      <p:sp>
        <p:nvSpPr>
          <p:cNvPr id="57" name="Rectangle 56"/>
          <p:cNvSpPr/>
          <p:nvPr/>
        </p:nvSpPr>
        <p:spPr>
          <a:xfrm>
            <a:off x="4075297" y="2167581"/>
            <a:ext cx="642664" cy="1077218"/>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a:t>
            </a:r>
          </a:p>
          <a:p>
            <a:r>
              <a:rPr lang="en-US" sz="1000" dirty="0">
                <a:solidFill>
                  <a:schemeClr val="bg1"/>
                </a:solidFill>
              </a:rPr>
              <a:t>read </a:t>
            </a:r>
          </a:p>
        </p:txBody>
      </p:sp>
      <p:sp>
        <p:nvSpPr>
          <p:cNvPr id="58" name="Rectangle 57"/>
          <p:cNvSpPr/>
          <p:nvPr/>
        </p:nvSpPr>
        <p:spPr>
          <a:xfrm>
            <a:off x="4855280" y="3211936"/>
            <a:ext cx="1287567" cy="461665"/>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a:t>
            </a:r>
          </a:p>
        </p:txBody>
      </p:sp>
      <p:sp>
        <p:nvSpPr>
          <p:cNvPr id="59" name="Rectangle 58"/>
          <p:cNvSpPr/>
          <p:nvPr/>
        </p:nvSpPr>
        <p:spPr>
          <a:xfrm rot="1945462">
            <a:off x="4272463" y="4380900"/>
            <a:ext cx="1287567" cy="461665"/>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a:t>
            </a:r>
          </a:p>
        </p:txBody>
      </p:sp>
    </p:spTree>
    <p:extLst>
      <p:ext uri="{BB962C8B-B14F-4D97-AF65-F5344CB8AC3E}">
        <p14:creationId xmlns:p14="http://schemas.microsoft.com/office/powerpoint/2010/main" val="621174475"/>
      </p:ext>
    </p:extLst>
  </p:cSld>
  <p:clrMapOvr>
    <a:masterClrMapping/>
  </p:clrMapOvr>
  <p:transition>
    <p:fade/>
  </p:transition>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Tree with circular text boxes</a:t>
            </a:r>
            <a:endParaRPr lang="en-US" dirty="0"/>
          </a:p>
        </p:txBody>
      </p:sp>
      <p:grpSp>
        <p:nvGrpSpPr>
          <p:cNvPr id="26" name="Group 25"/>
          <p:cNvGrpSpPr/>
          <p:nvPr/>
        </p:nvGrpSpPr>
        <p:grpSpPr>
          <a:xfrm>
            <a:off x="5315080" y="2327354"/>
            <a:ext cx="1886391" cy="3916285"/>
            <a:chOff x="3791079" y="2327353"/>
            <a:chExt cx="1886391" cy="3916285"/>
          </a:xfrm>
          <a:solidFill>
            <a:schemeClr val="tx2"/>
          </a:solidFill>
        </p:grpSpPr>
        <p:sp>
          <p:nvSpPr>
            <p:cNvPr id="27" name="Isosceles Triangle 9"/>
            <p:cNvSpPr/>
            <p:nvPr/>
          </p:nvSpPr>
          <p:spPr>
            <a:xfrm rot="16570907">
              <a:off x="4117494" y="31980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8" name="Isosceles Triangle 9"/>
            <p:cNvSpPr/>
            <p:nvPr/>
          </p:nvSpPr>
          <p:spPr>
            <a:xfrm rot="3443184">
              <a:off x="5060704" y="30701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9" name="Isosceles Triangle 9"/>
            <p:cNvSpPr/>
            <p:nvPr/>
          </p:nvSpPr>
          <p:spPr>
            <a:xfrm rot="2891513">
              <a:off x="4807007" y="2401867"/>
              <a:ext cx="175131" cy="614285"/>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8496"/>
                <a:gd name="connsiteY0" fmla="*/ 931740 h 1046998"/>
                <a:gd name="connsiteX1" fmla="*/ 137860 w 298496"/>
                <a:gd name="connsiteY1" fmla="*/ 0 h 1046998"/>
                <a:gd name="connsiteX2" fmla="*/ 270650 w 298496"/>
                <a:gd name="connsiteY2" fmla="*/ 1046997 h 1046998"/>
                <a:gd name="connsiteX3" fmla="*/ 0 w 298496"/>
                <a:gd name="connsiteY3" fmla="*/ 931740 h 1046998"/>
              </a:gdLst>
              <a:ahLst/>
              <a:cxnLst>
                <a:cxn ang="0">
                  <a:pos x="connsiteX0" y="connsiteY0"/>
                </a:cxn>
                <a:cxn ang="0">
                  <a:pos x="connsiteX1" y="connsiteY1"/>
                </a:cxn>
                <a:cxn ang="0">
                  <a:pos x="connsiteX2" y="connsiteY2"/>
                </a:cxn>
                <a:cxn ang="0">
                  <a:pos x="connsiteX3" y="connsiteY3"/>
                </a:cxn>
              </a:cxnLst>
              <a:rect l="l" t="t" r="r" b="b"/>
              <a:pathLst>
                <a:path w="298496" h="1046998">
                  <a:moveTo>
                    <a:pt x="0" y="931740"/>
                  </a:moveTo>
                  <a:cubicBezTo>
                    <a:pt x="122153" y="644020"/>
                    <a:pt x="168107" y="440120"/>
                    <a:pt x="137860" y="0"/>
                  </a:cubicBezTo>
                  <a:cubicBezTo>
                    <a:pt x="351453" y="310580"/>
                    <a:pt x="300897" y="804997"/>
                    <a:pt x="270650" y="1046997"/>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0" name="Isosceles Triangle 9"/>
            <p:cNvSpPr/>
            <p:nvPr/>
          </p:nvSpPr>
          <p:spPr>
            <a:xfrm rot="7286374" flipV="1">
              <a:off x="4383855" y="2453287"/>
              <a:ext cx="174792" cy="575221"/>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7919"/>
                <a:gd name="connsiteY0" fmla="*/ 931740 h 980416"/>
                <a:gd name="connsiteX1" fmla="*/ 137860 w 297919"/>
                <a:gd name="connsiteY1" fmla="*/ 0 h 980416"/>
                <a:gd name="connsiteX2" fmla="*/ 269746 w 297919"/>
                <a:gd name="connsiteY2" fmla="*/ 980416 h 980416"/>
                <a:gd name="connsiteX3" fmla="*/ 0 w 297919"/>
                <a:gd name="connsiteY3" fmla="*/ 931740 h 980416"/>
                <a:gd name="connsiteX0" fmla="*/ 0 w 297919"/>
                <a:gd name="connsiteY0" fmla="*/ 931740 h 980416"/>
                <a:gd name="connsiteX1" fmla="*/ 137860 w 297919"/>
                <a:gd name="connsiteY1" fmla="*/ 0 h 980416"/>
                <a:gd name="connsiteX2" fmla="*/ 269746 w 297919"/>
                <a:gd name="connsiteY2" fmla="*/ 980416 h 980416"/>
                <a:gd name="connsiteX3" fmla="*/ 0 w 297919"/>
                <a:gd name="connsiteY3" fmla="*/ 931740 h 980416"/>
              </a:gdLst>
              <a:ahLst/>
              <a:cxnLst>
                <a:cxn ang="0">
                  <a:pos x="connsiteX0" y="connsiteY0"/>
                </a:cxn>
                <a:cxn ang="0">
                  <a:pos x="connsiteX1" y="connsiteY1"/>
                </a:cxn>
                <a:cxn ang="0">
                  <a:pos x="connsiteX2" y="connsiteY2"/>
                </a:cxn>
                <a:cxn ang="0">
                  <a:pos x="connsiteX3" y="connsiteY3"/>
                </a:cxn>
              </a:cxnLst>
              <a:rect l="l" t="t" r="r" b="b"/>
              <a:pathLst>
                <a:path w="297919" h="980416">
                  <a:moveTo>
                    <a:pt x="0" y="931740"/>
                  </a:moveTo>
                  <a:cubicBezTo>
                    <a:pt x="122153" y="644020"/>
                    <a:pt x="168107" y="440120"/>
                    <a:pt x="137860" y="0"/>
                  </a:cubicBezTo>
                  <a:cubicBezTo>
                    <a:pt x="351453" y="310580"/>
                    <a:pt x="299993" y="738416"/>
                    <a:pt x="269746" y="980416"/>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1" name="Isosceles Triangle 9"/>
            <p:cNvSpPr/>
            <p:nvPr/>
          </p:nvSpPr>
          <p:spPr>
            <a:xfrm rot="3443184">
              <a:off x="5053400" y="41750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2" name="Isosceles Triangle 9"/>
            <p:cNvSpPr/>
            <p:nvPr/>
          </p:nvSpPr>
          <p:spPr>
            <a:xfrm rot="16570907">
              <a:off x="4106053" y="43029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3" name="Isosceles Triangle 7"/>
            <p:cNvSpPr/>
            <p:nvPr/>
          </p:nvSpPr>
          <p:spPr>
            <a:xfrm>
              <a:off x="4387335" y="2327353"/>
              <a:ext cx="642305" cy="3916285"/>
            </a:xfrm>
            <a:custGeom>
              <a:avLst/>
              <a:gdLst>
                <a:gd name="connsiteX0" fmla="*/ 0 w 571817"/>
                <a:gd name="connsiteY0" fmla="*/ 3832225 h 3832225"/>
                <a:gd name="connsiteX1" fmla="*/ 285909 w 571817"/>
                <a:gd name="connsiteY1" fmla="*/ 0 h 3832225"/>
                <a:gd name="connsiteX2" fmla="*/ 571817 w 571817"/>
                <a:gd name="connsiteY2" fmla="*/ 3832225 h 3832225"/>
                <a:gd name="connsiteX3" fmla="*/ 0 w 571817"/>
                <a:gd name="connsiteY3" fmla="*/ 3832225 h 3832225"/>
                <a:gd name="connsiteX0" fmla="*/ 0 w 571817"/>
                <a:gd name="connsiteY0" fmla="*/ 4152265 h 4152265"/>
                <a:gd name="connsiteX1" fmla="*/ 316389 w 571817"/>
                <a:gd name="connsiteY1" fmla="*/ 0 h 4152265"/>
                <a:gd name="connsiteX2" fmla="*/ 571817 w 571817"/>
                <a:gd name="connsiteY2" fmla="*/ 4152265 h 4152265"/>
                <a:gd name="connsiteX3" fmla="*/ 0 w 571817"/>
                <a:gd name="connsiteY3" fmla="*/ 4152265 h 4152265"/>
                <a:gd name="connsiteX0" fmla="*/ 0 w 571817"/>
                <a:gd name="connsiteY0" fmla="*/ 4266565 h 4266565"/>
                <a:gd name="connsiteX1" fmla="*/ 202089 w 571817"/>
                <a:gd name="connsiteY1" fmla="*/ 0 h 4266565"/>
                <a:gd name="connsiteX2" fmla="*/ 571817 w 571817"/>
                <a:gd name="connsiteY2" fmla="*/ 4266565 h 4266565"/>
                <a:gd name="connsiteX3" fmla="*/ 0 w 571817"/>
                <a:gd name="connsiteY3" fmla="*/ 4266565 h 4266565"/>
                <a:gd name="connsiteX0" fmla="*/ 0 w 618752"/>
                <a:gd name="connsiteY0" fmla="*/ 4266565 h 4266565"/>
                <a:gd name="connsiteX1" fmla="*/ 202089 w 618752"/>
                <a:gd name="connsiteY1" fmla="*/ 0 h 4266565"/>
                <a:gd name="connsiteX2" fmla="*/ 571817 w 618752"/>
                <a:gd name="connsiteY2" fmla="*/ 4266565 h 4266565"/>
                <a:gd name="connsiteX3" fmla="*/ 0 w 618752"/>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Lst>
              <a:ahLst/>
              <a:cxnLst>
                <a:cxn ang="0">
                  <a:pos x="connsiteX0" y="connsiteY0"/>
                </a:cxn>
                <a:cxn ang="0">
                  <a:pos x="connsiteX1" y="connsiteY1"/>
                </a:cxn>
                <a:cxn ang="0">
                  <a:pos x="connsiteX2" y="connsiteY2"/>
                </a:cxn>
                <a:cxn ang="0">
                  <a:pos x="connsiteX3" y="connsiteY3"/>
                </a:cxn>
              </a:cxnLst>
              <a:rect l="l" t="t" r="r" b="b"/>
              <a:pathLst>
                <a:path w="642305" h="4266565">
                  <a:moveTo>
                    <a:pt x="0" y="4266565"/>
                  </a:moveTo>
                  <a:cubicBezTo>
                    <a:pt x="326443" y="3126317"/>
                    <a:pt x="416666" y="1498388"/>
                    <a:pt x="202089" y="0"/>
                  </a:cubicBezTo>
                  <a:cubicBezTo>
                    <a:pt x="546312" y="1437428"/>
                    <a:pt x="760994" y="2730077"/>
                    <a:pt x="571817" y="4266565"/>
                  </a:cubicBezTo>
                  <a:lnTo>
                    <a:pt x="0" y="4266565"/>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34" name="Oval 33"/>
          <p:cNvSpPr/>
          <p:nvPr/>
        </p:nvSpPr>
        <p:spPr>
          <a:xfrm>
            <a:off x="3672473" y="4000677"/>
            <a:ext cx="1939280" cy="193928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bg1"/>
              </a:solidFill>
            </a:endParaRPr>
          </a:p>
        </p:txBody>
      </p:sp>
      <p:sp>
        <p:nvSpPr>
          <p:cNvPr id="35" name="Oval 34"/>
          <p:cNvSpPr/>
          <p:nvPr/>
        </p:nvSpPr>
        <p:spPr>
          <a:xfrm>
            <a:off x="6941453" y="3413937"/>
            <a:ext cx="1939280" cy="193928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6" name="Oval 45"/>
          <p:cNvSpPr/>
          <p:nvPr/>
        </p:nvSpPr>
        <p:spPr>
          <a:xfrm>
            <a:off x="6627933" y="2035522"/>
            <a:ext cx="1754553" cy="1754553"/>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7" name="Oval 46"/>
          <p:cNvSpPr/>
          <p:nvPr/>
        </p:nvSpPr>
        <p:spPr>
          <a:xfrm>
            <a:off x="4156783" y="2536661"/>
            <a:ext cx="1754553" cy="1754553"/>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0" name="Oval 59"/>
          <p:cNvSpPr/>
          <p:nvPr/>
        </p:nvSpPr>
        <p:spPr>
          <a:xfrm>
            <a:off x="4713360" y="1321534"/>
            <a:ext cx="1427974" cy="1427974"/>
          </a:xfrm>
          <a:prstGeom prst="ellipse">
            <a:avLst/>
          </a:prstGeom>
          <a:solidFill>
            <a:srgbClr val="62B5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bg1"/>
              </a:solidFill>
            </a:endParaRPr>
          </a:p>
        </p:txBody>
      </p:sp>
      <p:sp>
        <p:nvSpPr>
          <p:cNvPr id="61" name="Oval 60"/>
          <p:cNvSpPr/>
          <p:nvPr/>
        </p:nvSpPr>
        <p:spPr>
          <a:xfrm>
            <a:off x="5913945" y="1286380"/>
            <a:ext cx="1427974" cy="1427974"/>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3" name="Rectangle 62"/>
          <p:cNvSpPr/>
          <p:nvPr/>
        </p:nvSpPr>
        <p:spPr>
          <a:xfrm>
            <a:off x="3862594" y="4507983"/>
            <a:ext cx="1606464" cy="923330"/>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a:t>
            </a:r>
          </a:p>
        </p:txBody>
      </p:sp>
      <p:sp>
        <p:nvSpPr>
          <p:cNvPr id="65" name="Rectangle 64"/>
          <p:cNvSpPr/>
          <p:nvPr/>
        </p:nvSpPr>
        <p:spPr>
          <a:xfrm>
            <a:off x="7107861" y="3921912"/>
            <a:ext cx="1606464" cy="923330"/>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a:t>
            </a:r>
          </a:p>
        </p:txBody>
      </p:sp>
      <p:sp>
        <p:nvSpPr>
          <p:cNvPr id="66" name="Rectangle 65"/>
          <p:cNvSpPr/>
          <p:nvPr/>
        </p:nvSpPr>
        <p:spPr>
          <a:xfrm>
            <a:off x="4909457" y="1655206"/>
            <a:ext cx="956157"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a:t>
            </a:r>
          </a:p>
        </p:txBody>
      </p:sp>
      <p:sp>
        <p:nvSpPr>
          <p:cNvPr id="67" name="Rectangle 66"/>
          <p:cNvSpPr/>
          <p:nvPr/>
        </p:nvSpPr>
        <p:spPr>
          <a:xfrm>
            <a:off x="6096000" y="1629785"/>
            <a:ext cx="1042582"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24" name="Rectangle 23">
            <a:extLst>
              <a:ext uri="{FF2B5EF4-FFF2-40B4-BE49-F238E27FC236}">
                <a16:creationId xmlns:a16="http://schemas.microsoft.com/office/drawing/2014/main" id="{1957A397-5A7A-40FF-991A-79F360EF751B}"/>
              </a:ext>
            </a:extLst>
          </p:cNvPr>
          <p:cNvSpPr/>
          <p:nvPr/>
        </p:nvSpPr>
        <p:spPr>
          <a:xfrm>
            <a:off x="6882505" y="2620209"/>
            <a:ext cx="1327656"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a:t>
            </a:r>
          </a:p>
        </p:txBody>
      </p:sp>
      <p:sp>
        <p:nvSpPr>
          <p:cNvPr id="25" name="Rectangle 24">
            <a:extLst>
              <a:ext uri="{FF2B5EF4-FFF2-40B4-BE49-F238E27FC236}">
                <a16:creationId xmlns:a16="http://schemas.microsoft.com/office/drawing/2014/main" id="{481B71F3-3535-409C-9FEE-C9BF33634FFB}"/>
              </a:ext>
            </a:extLst>
          </p:cNvPr>
          <p:cNvSpPr/>
          <p:nvPr/>
        </p:nvSpPr>
        <p:spPr>
          <a:xfrm>
            <a:off x="4376623" y="3056956"/>
            <a:ext cx="1327656" cy="769441"/>
          </a:xfrm>
          <a:prstGeom prst="rect">
            <a:avLst/>
          </a:prstGeom>
        </p:spPr>
        <p:txBody>
          <a:bodyPr wrap="square" lIns="0" tIns="0" rIns="0" bIns="0" anchor="ctr" anchorCtr="0">
            <a:spAutoFit/>
          </a:bodyPr>
          <a:lstStyle/>
          <a:p>
            <a:pPr algn="ct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a:t>
            </a:r>
          </a:p>
        </p:txBody>
      </p:sp>
    </p:spTree>
    <p:extLst>
      <p:ext uri="{BB962C8B-B14F-4D97-AF65-F5344CB8AC3E}">
        <p14:creationId xmlns:p14="http://schemas.microsoft.com/office/powerpoint/2010/main" val="387835853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a:xfrm>
            <a:off x="501650" y="651600"/>
            <a:ext cx="11188700" cy="589565"/>
          </a:xfrm>
        </p:spPr>
        <p:txBody>
          <a:bodyPr/>
          <a:lstStyle/>
          <a:p>
            <a:r>
              <a:rPr lang="en-US" dirty="0"/>
              <a:t>Two columns of numbered points for each point</a:t>
            </a:r>
          </a:p>
        </p:txBody>
      </p:sp>
      <p:sp>
        <p:nvSpPr>
          <p:cNvPr id="9" name="Title 8"/>
          <p:cNvSpPr>
            <a:spLocks noGrp="1"/>
          </p:cNvSpPr>
          <p:nvPr>
            <p:ph type="title"/>
          </p:nvPr>
        </p:nvSpPr>
        <p:spPr/>
        <p:txBody>
          <a:bodyPr/>
          <a:lstStyle/>
          <a:p>
            <a:r>
              <a:rPr lang="en-US"/>
              <a:t>Text boxes</a:t>
            </a:r>
            <a:endParaRPr lang="en-US" dirty="0"/>
          </a:p>
        </p:txBody>
      </p:sp>
      <p:sp>
        <p:nvSpPr>
          <p:cNvPr id="11" name="Rectangle 4"/>
          <p:cNvSpPr>
            <a:spLocks noChangeArrowheads="1"/>
          </p:cNvSpPr>
          <p:nvPr/>
        </p:nvSpPr>
        <p:spPr bwMode="auto">
          <a:xfrm>
            <a:off x="501650" y="3304688"/>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3</a:t>
            </a:r>
          </a:p>
        </p:txBody>
      </p:sp>
      <p:sp>
        <p:nvSpPr>
          <p:cNvPr id="12" name="Rectangle 4"/>
          <p:cNvSpPr>
            <a:spLocks noChangeArrowheads="1"/>
          </p:cNvSpPr>
          <p:nvPr/>
        </p:nvSpPr>
        <p:spPr bwMode="auto">
          <a:xfrm>
            <a:off x="501650" y="4274424"/>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4</a:t>
            </a:r>
          </a:p>
        </p:txBody>
      </p:sp>
      <p:sp>
        <p:nvSpPr>
          <p:cNvPr id="13" name="Rectangle 4"/>
          <p:cNvSpPr>
            <a:spLocks noChangeArrowheads="1"/>
          </p:cNvSpPr>
          <p:nvPr/>
        </p:nvSpPr>
        <p:spPr bwMode="auto">
          <a:xfrm>
            <a:off x="501650" y="5244160"/>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5</a:t>
            </a:r>
          </a:p>
        </p:txBody>
      </p:sp>
      <p:sp>
        <p:nvSpPr>
          <p:cNvPr id="14" name="Rectangle 4"/>
          <p:cNvSpPr>
            <a:spLocks noChangeArrowheads="1"/>
          </p:cNvSpPr>
          <p:nvPr/>
        </p:nvSpPr>
        <p:spPr bwMode="auto">
          <a:xfrm>
            <a:off x="501650" y="2334953"/>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2</a:t>
            </a:r>
          </a:p>
        </p:txBody>
      </p:sp>
      <p:sp>
        <p:nvSpPr>
          <p:cNvPr id="15" name="Rectangle 4"/>
          <p:cNvSpPr>
            <a:spLocks noChangeArrowheads="1"/>
          </p:cNvSpPr>
          <p:nvPr/>
        </p:nvSpPr>
        <p:spPr bwMode="auto">
          <a:xfrm>
            <a:off x="501650" y="1361540"/>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1</a:t>
            </a:r>
          </a:p>
        </p:txBody>
      </p:sp>
      <p:sp>
        <p:nvSpPr>
          <p:cNvPr id="16" name="Rectangle 4"/>
          <p:cNvSpPr>
            <a:spLocks noChangeArrowheads="1"/>
          </p:cNvSpPr>
          <p:nvPr/>
        </p:nvSpPr>
        <p:spPr bwMode="auto">
          <a:xfrm>
            <a:off x="6177986" y="3304688"/>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8</a:t>
            </a:r>
          </a:p>
        </p:txBody>
      </p:sp>
      <p:sp>
        <p:nvSpPr>
          <p:cNvPr id="17" name="Rectangle 4"/>
          <p:cNvSpPr>
            <a:spLocks noChangeArrowheads="1"/>
          </p:cNvSpPr>
          <p:nvPr/>
        </p:nvSpPr>
        <p:spPr bwMode="auto">
          <a:xfrm>
            <a:off x="6177986" y="4274424"/>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9</a:t>
            </a:r>
          </a:p>
        </p:txBody>
      </p:sp>
      <p:sp>
        <p:nvSpPr>
          <p:cNvPr id="18" name="Rectangle 4"/>
          <p:cNvSpPr>
            <a:spLocks noChangeArrowheads="1"/>
          </p:cNvSpPr>
          <p:nvPr/>
        </p:nvSpPr>
        <p:spPr bwMode="auto">
          <a:xfrm>
            <a:off x="6177986" y="5244160"/>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10</a:t>
            </a:r>
          </a:p>
        </p:txBody>
      </p:sp>
      <p:sp>
        <p:nvSpPr>
          <p:cNvPr id="19" name="Rectangle 4"/>
          <p:cNvSpPr>
            <a:spLocks noChangeArrowheads="1"/>
          </p:cNvSpPr>
          <p:nvPr/>
        </p:nvSpPr>
        <p:spPr bwMode="auto">
          <a:xfrm>
            <a:off x="6177986" y="2334953"/>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7</a:t>
            </a:r>
          </a:p>
        </p:txBody>
      </p:sp>
      <p:sp>
        <p:nvSpPr>
          <p:cNvPr id="20" name="Rectangle 4"/>
          <p:cNvSpPr>
            <a:spLocks noChangeArrowheads="1"/>
          </p:cNvSpPr>
          <p:nvPr/>
        </p:nvSpPr>
        <p:spPr bwMode="auto">
          <a:xfrm>
            <a:off x="6177986" y="1361540"/>
            <a:ext cx="5512364" cy="379591"/>
          </a:xfrm>
          <a:prstGeom prst="rect">
            <a:avLst/>
          </a:prstGeom>
          <a:solidFill>
            <a:schemeClr val="accent2"/>
          </a:solidFill>
          <a:ln w="12700" algn="ctr">
            <a:noFill/>
            <a:miter lim="800000"/>
            <a:headEnd/>
            <a:tailEnd/>
          </a:ln>
        </p:spPr>
        <p:txBody>
          <a:bodyPr lIns="88900" tIns="88900" rIns="88900" bIns="88900" anchor="ctr">
            <a:spAutoFit/>
          </a:bodyPr>
          <a:lstStyle/>
          <a:p>
            <a:pPr defTabSz="1019175"/>
            <a:r>
              <a:rPr lang="en-US" sz="1300" b="1" dirty="0">
                <a:solidFill>
                  <a:schemeClr val="bg1"/>
                </a:solidFill>
              </a:rPr>
              <a:t>6</a:t>
            </a:r>
          </a:p>
        </p:txBody>
      </p:sp>
      <p:sp>
        <p:nvSpPr>
          <p:cNvPr id="21" name="Text Placeholder 5"/>
          <p:cNvSpPr txBox="1">
            <a:spLocks/>
          </p:cNvSpPr>
          <p:nvPr/>
        </p:nvSpPr>
        <p:spPr>
          <a:xfrm>
            <a:off x="501650" y="1784612"/>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2" name="Text Placeholder 5"/>
          <p:cNvSpPr txBox="1">
            <a:spLocks/>
          </p:cNvSpPr>
          <p:nvPr/>
        </p:nvSpPr>
        <p:spPr>
          <a:xfrm>
            <a:off x="6177986" y="1784612"/>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3" name="Text Placeholder 5"/>
          <p:cNvSpPr txBox="1">
            <a:spLocks/>
          </p:cNvSpPr>
          <p:nvPr/>
        </p:nvSpPr>
        <p:spPr>
          <a:xfrm>
            <a:off x="501650" y="5670446"/>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4" name="Text Placeholder 5"/>
          <p:cNvSpPr txBox="1">
            <a:spLocks/>
          </p:cNvSpPr>
          <p:nvPr/>
        </p:nvSpPr>
        <p:spPr>
          <a:xfrm>
            <a:off x="6177986" y="5670446"/>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5" name="Text Placeholder 5"/>
          <p:cNvSpPr txBox="1">
            <a:spLocks/>
          </p:cNvSpPr>
          <p:nvPr/>
        </p:nvSpPr>
        <p:spPr>
          <a:xfrm>
            <a:off x="501650" y="2756070"/>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6" name="Text Placeholder 5"/>
          <p:cNvSpPr txBox="1">
            <a:spLocks/>
          </p:cNvSpPr>
          <p:nvPr/>
        </p:nvSpPr>
        <p:spPr>
          <a:xfrm>
            <a:off x="6177986" y="2756070"/>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7" name="Text Placeholder 5"/>
          <p:cNvSpPr txBox="1">
            <a:spLocks/>
          </p:cNvSpPr>
          <p:nvPr/>
        </p:nvSpPr>
        <p:spPr>
          <a:xfrm>
            <a:off x="501650" y="3727528"/>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8" name="Text Placeholder 5"/>
          <p:cNvSpPr txBox="1">
            <a:spLocks/>
          </p:cNvSpPr>
          <p:nvPr/>
        </p:nvSpPr>
        <p:spPr>
          <a:xfrm>
            <a:off x="6177986" y="3727528"/>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29" name="Text Placeholder 5"/>
          <p:cNvSpPr txBox="1">
            <a:spLocks/>
          </p:cNvSpPr>
          <p:nvPr/>
        </p:nvSpPr>
        <p:spPr>
          <a:xfrm>
            <a:off x="501650" y="4698987"/>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
        <p:nvSpPr>
          <p:cNvPr id="30" name="Text Placeholder 5"/>
          <p:cNvSpPr txBox="1">
            <a:spLocks/>
          </p:cNvSpPr>
          <p:nvPr/>
        </p:nvSpPr>
        <p:spPr>
          <a:xfrm>
            <a:off x="6177986" y="4698987"/>
            <a:ext cx="5512364" cy="45140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buSzPct val="100000"/>
              <a:buFont typeface="Arial"/>
              <a:buChar char="•"/>
            </a:pPr>
            <a:r>
              <a:rPr lang="en-US" sz="1300" dirty="0">
                <a:solidFill>
                  <a:schemeClr val="tx1"/>
                </a:solidFill>
              </a:rPr>
              <a:t>This is dummy text it is not here to be read</a:t>
            </a:r>
          </a:p>
          <a:p>
            <a:pPr marL="254000" lvl="2" indent="-114300">
              <a:buSzPct val="100000"/>
              <a:buFont typeface="Arial"/>
              <a:buChar char="−"/>
            </a:pPr>
            <a:r>
              <a:rPr lang="en-US" sz="1300" dirty="0">
                <a:solidFill>
                  <a:schemeClr val="tx1"/>
                </a:solidFill>
              </a:rPr>
              <a:t>This is dummy text it is not here to be read</a:t>
            </a:r>
          </a:p>
        </p:txBody>
      </p:sp>
    </p:spTree>
    <p:extLst>
      <p:ext uri="{BB962C8B-B14F-4D97-AF65-F5344CB8AC3E}">
        <p14:creationId xmlns:p14="http://schemas.microsoft.com/office/powerpoint/2010/main" val="524992332"/>
      </p:ext>
    </p:extLst>
  </p:cSld>
  <p:clrMapOvr>
    <a:masterClrMapping/>
  </p:clrMapOvr>
  <p:transition>
    <p:fade/>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honeycomb</a:t>
            </a:r>
            <a:endParaRPr lang="en-US" dirty="0"/>
          </a:p>
        </p:txBody>
      </p:sp>
      <p:sp>
        <p:nvSpPr>
          <p:cNvPr id="24" name="Hexagon 23"/>
          <p:cNvSpPr/>
          <p:nvPr/>
        </p:nvSpPr>
        <p:spPr bwMode="gray">
          <a:xfrm>
            <a:off x="5555611" y="3157632"/>
            <a:ext cx="1087502" cy="937501"/>
          </a:xfrm>
          <a:prstGeom prst="hexagon">
            <a:avLst/>
          </a:prstGeom>
          <a:solidFill>
            <a:schemeClr val="accent5">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25" name="Hexagon 24"/>
          <p:cNvSpPr/>
          <p:nvPr/>
        </p:nvSpPr>
        <p:spPr bwMode="gray">
          <a:xfrm>
            <a:off x="5555611" y="2173772"/>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36" name="Hexagon 35"/>
          <p:cNvSpPr/>
          <p:nvPr/>
        </p:nvSpPr>
        <p:spPr bwMode="gray">
          <a:xfrm>
            <a:off x="5555611" y="4141493"/>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6457054" y="364698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6457054" y="2668278"/>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4654168" y="364698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4654168" y="2668278"/>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1" name="Rectangle 40"/>
          <p:cNvSpPr/>
          <p:nvPr/>
        </p:nvSpPr>
        <p:spPr>
          <a:xfrm>
            <a:off x="7947196" y="510012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42" name="Rectangle 41"/>
          <p:cNvSpPr/>
          <p:nvPr/>
        </p:nvSpPr>
        <p:spPr>
          <a:xfrm>
            <a:off x="7947196"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3" name="Freeform 42"/>
          <p:cNvSpPr/>
          <p:nvPr/>
        </p:nvSpPr>
        <p:spPr bwMode="gray">
          <a:xfrm flipH="1">
            <a:off x="7277386"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p>
        </p:txBody>
      </p:sp>
      <p:sp>
        <p:nvSpPr>
          <p:cNvPr id="44" name="Freeform 43"/>
          <p:cNvSpPr/>
          <p:nvPr/>
        </p:nvSpPr>
        <p:spPr bwMode="gray">
          <a:xfrm>
            <a:off x="2235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p>
        </p:txBody>
      </p:sp>
      <p:sp>
        <p:nvSpPr>
          <p:cNvPr id="45" name="Rectangle 44"/>
          <p:cNvSpPr/>
          <p:nvPr/>
        </p:nvSpPr>
        <p:spPr>
          <a:xfrm>
            <a:off x="2235200" y="510012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48" name="Rectangle 47"/>
          <p:cNvSpPr/>
          <p:nvPr/>
        </p:nvSpPr>
        <p:spPr>
          <a:xfrm>
            <a:off x="2235200"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9" name="Freeform 48"/>
          <p:cNvSpPr/>
          <p:nvPr/>
        </p:nvSpPr>
        <p:spPr bwMode="gray">
          <a:xfrm>
            <a:off x="5784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a:p>
        </p:txBody>
      </p:sp>
      <p:sp>
        <p:nvSpPr>
          <p:cNvPr id="50" name="Rectangle 49"/>
          <p:cNvSpPr/>
          <p:nvPr/>
        </p:nvSpPr>
        <p:spPr>
          <a:xfrm>
            <a:off x="5967730" y="5695433"/>
            <a:ext cx="182880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51" name="Rectangle 50"/>
          <p:cNvSpPr/>
          <p:nvPr/>
        </p:nvSpPr>
        <p:spPr>
          <a:xfrm>
            <a:off x="5967730" y="5908974"/>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2" name="Freeform 51"/>
          <p:cNvSpPr/>
          <p:nvPr/>
        </p:nvSpPr>
        <p:spPr bwMode="gray">
          <a:xfrm flipV="1">
            <a:off x="2235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3" name="Rectangle 52"/>
          <p:cNvSpPr/>
          <p:nvPr/>
        </p:nvSpPr>
        <p:spPr>
          <a:xfrm>
            <a:off x="2235200" y="179306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54" name="Rectangle 53"/>
          <p:cNvSpPr/>
          <p:nvPr/>
        </p:nvSpPr>
        <p:spPr>
          <a:xfrm>
            <a:off x="2235200"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5" name="Freeform 54"/>
          <p:cNvSpPr/>
          <p:nvPr/>
        </p:nvSpPr>
        <p:spPr bwMode="gray">
          <a:xfrm flipH="1" flipV="1">
            <a:off x="7277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56" name="Rectangle 55"/>
          <p:cNvSpPr/>
          <p:nvPr/>
        </p:nvSpPr>
        <p:spPr>
          <a:xfrm>
            <a:off x="7947196" y="1793060"/>
            <a:ext cx="201168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57" name="Rectangle 56"/>
          <p:cNvSpPr/>
          <p:nvPr/>
        </p:nvSpPr>
        <p:spPr>
          <a:xfrm>
            <a:off x="7947196"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9" name="Rectangle 58"/>
          <p:cNvSpPr/>
          <p:nvPr/>
        </p:nvSpPr>
        <p:spPr>
          <a:xfrm>
            <a:off x="5967730" y="1200921"/>
            <a:ext cx="1828800" cy="153888"/>
          </a:xfrm>
          <a:prstGeom prst="rect">
            <a:avLst/>
          </a:prstGeom>
        </p:spPr>
        <p:txBody>
          <a:bodyPr wrap="square" lIns="0" tIns="0" rIns="0" bIns="0">
            <a:spAutoFit/>
          </a:bodyPr>
          <a:lstStyle/>
          <a:p>
            <a:r>
              <a:rPr lang="en-US" sz="1000" b="1" dirty="0" err="1">
                <a:solidFill>
                  <a:srgbClr val="53565A"/>
                </a:solidFill>
              </a:rPr>
              <a:t>Lorem</a:t>
            </a:r>
            <a:r>
              <a:rPr lang="en-US" sz="1000" b="1" dirty="0">
                <a:solidFill>
                  <a:srgbClr val="53565A"/>
                </a:solidFill>
              </a:rPr>
              <a:t> </a:t>
            </a:r>
            <a:r>
              <a:rPr lang="en-US" sz="1000" b="1" dirty="0" err="1">
                <a:solidFill>
                  <a:srgbClr val="53565A"/>
                </a:solidFill>
              </a:rPr>
              <a:t>ipsum</a:t>
            </a:r>
            <a:endParaRPr lang="en-US" sz="800" dirty="0">
              <a:solidFill>
                <a:srgbClr val="53565A"/>
              </a:solidFill>
            </a:endParaRPr>
          </a:p>
        </p:txBody>
      </p:sp>
      <p:sp>
        <p:nvSpPr>
          <p:cNvPr id="68" name="Rectangle 67"/>
          <p:cNvSpPr/>
          <p:nvPr/>
        </p:nvSpPr>
        <p:spPr>
          <a:xfrm>
            <a:off x="5967730" y="1414462"/>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6" name="Freeform 45"/>
          <p:cNvSpPr/>
          <p:nvPr/>
        </p:nvSpPr>
        <p:spPr bwMode="gray">
          <a:xfrm flipV="1">
            <a:off x="5798705" y="1371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2" name="Freeform 516"/>
          <p:cNvSpPr>
            <a:spLocks noChangeAspect="1" noEditPoints="1"/>
          </p:cNvSpPr>
          <p:nvPr/>
        </p:nvSpPr>
        <p:spPr bwMode="auto">
          <a:xfrm>
            <a:off x="5763894" y="2331239"/>
            <a:ext cx="678470" cy="676481"/>
          </a:xfrm>
          <a:custGeom>
            <a:avLst/>
            <a:gdLst>
              <a:gd name="T0" fmla="*/ 141 w 512"/>
              <a:gd name="T1" fmla="*/ 138 h 512"/>
              <a:gd name="T2" fmla="*/ 203 w 512"/>
              <a:gd name="T3" fmla="*/ 213 h 512"/>
              <a:gd name="T4" fmla="*/ 245 w 512"/>
              <a:gd name="T5" fmla="*/ 309 h 512"/>
              <a:gd name="T6" fmla="*/ 266 w 512"/>
              <a:gd name="T7" fmla="*/ 266 h 512"/>
              <a:gd name="T8" fmla="*/ 245 w 512"/>
              <a:gd name="T9" fmla="*/ 309 h 512"/>
              <a:gd name="T10" fmla="*/ 224 w 512"/>
              <a:gd name="T11" fmla="*/ 330 h 512"/>
              <a:gd name="T12" fmla="*/ 139 w 512"/>
              <a:gd name="T13" fmla="*/ 234 h 512"/>
              <a:gd name="T14" fmla="*/ 170 w 512"/>
              <a:gd name="T15" fmla="*/ 373 h 512"/>
              <a:gd name="T16" fmla="*/ 213 w 512"/>
              <a:gd name="T17" fmla="*/ 352 h 512"/>
              <a:gd name="T18" fmla="*/ 170 w 512"/>
              <a:gd name="T19" fmla="*/ 373 h 512"/>
              <a:gd name="T20" fmla="*/ 341 w 512"/>
              <a:gd name="T21" fmla="*/ 373 h 512"/>
              <a:gd name="T22" fmla="*/ 298 w 512"/>
              <a:gd name="T23" fmla="*/ 352 h 512"/>
              <a:gd name="T24" fmla="*/ 512 w 512"/>
              <a:gd name="T25" fmla="*/ 256 h 512"/>
              <a:gd name="T26" fmla="*/ 0 w 512"/>
              <a:gd name="T27" fmla="*/ 256 h 512"/>
              <a:gd name="T28" fmla="*/ 512 w 512"/>
              <a:gd name="T29" fmla="*/ 256 h 512"/>
              <a:gd name="T30" fmla="*/ 392 w 512"/>
              <a:gd name="T31" fmla="*/ 217 h 512"/>
              <a:gd name="T32" fmla="*/ 376 w 512"/>
              <a:gd name="T33" fmla="*/ 213 h 512"/>
              <a:gd name="T34" fmla="*/ 392 w 512"/>
              <a:gd name="T35" fmla="*/ 121 h 512"/>
              <a:gd name="T36" fmla="*/ 288 w 512"/>
              <a:gd name="T37" fmla="*/ 117 h 512"/>
              <a:gd name="T38" fmla="*/ 277 w 512"/>
              <a:gd name="T39" fmla="*/ 129 h 512"/>
              <a:gd name="T40" fmla="*/ 277 w 512"/>
              <a:gd name="T41" fmla="*/ 213 h 512"/>
              <a:gd name="T42" fmla="*/ 266 w 512"/>
              <a:gd name="T43" fmla="*/ 245 h 512"/>
              <a:gd name="T44" fmla="*/ 245 w 512"/>
              <a:gd name="T45" fmla="*/ 224 h 512"/>
              <a:gd name="T46" fmla="*/ 225 w 512"/>
              <a:gd name="T47" fmla="*/ 213 h 512"/>
              <a:gd name="T48" fmla="*/ 232 w 512"/>
              <a:gd name="T49" fmla="*/ 121 h 512"/>
              <a:gd name="T50" fmla="*/ 128 w 512"/>
              <a:gd name="T51" fmla="*/ 117 h 512"/>
              <a:gd name="T52" fmla="*/ 117 w 512"/>
              <a:gd name="T53" fmla="*/ 130 h 512"/>
              <a:gd name="T54" fmla="*/ 128 w 512"/>
              <a:gd name="T55" fmla="*/ 213 h 512"/>
              <a:gd name="T56" fmla="*/ 117 w 512"/>
              <a:gd name="T57" fmla="*/ 225 h 512"/>
              <a:gd name="T58" fmla="*/ 139 w 512"/>
              <a:gd name="T59" fmla="*/ 352 h 512"/>
              <a:gd name="T60" fmla="*/ 149 w 512"/>
              <a:gd name="T61" fmla="*/ 384 h 512"/>
              <a:gd name="T62" fmla="*/ 224 w 512"/>
              <a:gd name="T63" fmla="*/ 394 h 512"/>
              <a:gd name="T64" fmla="*/ 234 w 512"/>
              <a:gd name="T65" fmla="*/ 352 h 512"/>
              <a:gd name="T66" fmla="*/ 245 w 512"/>
              <a:gd name="T67" fmla="*/ 330 h 512"/>
              <a:gd name="T68" fmla="*/ 266 w 512"/>
              <a:gd name="T69" fmla="*/ 341 h 512"/>
              <a:gd name="T70" fmla="*/ 277 w 512"/>
              <a:gd name="T71" fmla="*/ 384 h 512"/>
              <a:gd name="T72" fmla="*/ 352 w 512"/>
              <a:gd name="T73" fmla="*/ 394 h 512"/>
              <a:gd name="T74" fmla="*/ 362 w 512"/>
              <a:gd name="T75" fmla="*/ 352 h 512"/>
              <a:gd name="T76" fmla="*/ 383 w 512"/>
              <a:gd name="T77" fmla="*/ 342 h 512"/>
              <a:gd name="T78" fmla="*/ 354 w 512"/>
              <a:gd name="T79" fmla="*/ 213 h 512"/>
              <a:gd name="T80" fmla="*/ 300 w 512"/>
              <a:gd name="T81" fmla="*/ 138 h 512"/>
              <a:gd name="T82" fmla="*/ 354 w 512"/>
              <a:gd name="T83" fmla="*/ 213 h 512"/>
              <a:gd name="T84" fmla="*/ 362 w 512"/>
              <a:gd name="T85" fmla="*/ 330 h 512"/>
              <a:gd name="T86" fmla="*/ 288 w 512"/>
              <a:gd name="T8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58" y="213"/>
                </a:moveTo>
                <a:cubicBezTo>
                  <a:pt x="141" y="138"/>
                  <a:pt x="141" y="138"/>
                  <a:pt x="141" y="138"/>
                </a:cubicBezTo>
                <a:cubicBezTo>
                  <a:pt x="212" y="138"/>
                  <a:pt x="212" y="138"/>
                  <a:pt x="212" y="138"/>
                </a:cubicBezTo>
                <a:cubicBezTo>
                  <a:pt x="203" y="213"/>
                  <a:pt x="203" y="213"/>
                  <a:pt x="203" y="213"/>
                </a:cubicBezTo>
                <a:lnTo>
                  <a:pt x="158" y="213"/>
                </a:lnTo>
                <a:close/>
                <a:moveTo>
                  <a:pt x="245" y="309"/>
                </a:moveTo>
                <a:cubicBezTo>
                  <a:pt x="266" y="309"/>
                  <a:pt x="266" y="309"/>
                  <a:pt x="266" y="309"/>
                </a:cubicBezTo>
                <a:cubicBezTo>
                  <a:pt x="266" y="266"/>
                  <a:pt x="266" y="266"/>
                  <a:pt x="266" y="266"/>
                </a:cubicBezTo>
                <a:cubicBezTo>
                  <a:pt x="245" y="266"/>
                  <a:pt x="245" y="266"/>
                  <a:pt x="245" y="266"/>
                </a:cubicBezTo>
                <a:lnTo>
                  <a:pt x="245" y="309"/>
                </a:lnTo>
                <a:close/>
                <a:moveTo>
                  <a:pt x="149" y="330"/>
                </a:moveTo>
                <a:cubicBezTo>
                  <a:pt x="224" y="330"/>
                  <a:pt x="224" y="330"/>
                  <a:pt x="224" y="330"/>
                </a:cubicBezTo>
                <a:cubicBezTo>
                  <a:pt x="224" y="234"/>
                  <a:pt x="224" y="234"/>
                  <a:pt x="224" y="234"/>
                </a:cubicBezTo>
                <a:cubicBezTo>
                  <a:pt x="139" y="234"/>
                  <a:pt x="139" y="234"/>
                  <a:pt x="139" y="234"/>
                </a:cubicBezTo>
                <a:lnTo>
                  <a:pt x="149" y="330"/>
                </a:lnTo>
                <a:close/>
                <a:moveTo>
                  <a:pt x="170" y="373"/>
                </a:moveTo>
                <a:cubicBezTo>
                  <a:pt x="213" y="373"/>
                  <a:pt x="213" y="373"/>
                  <a:pt x="213" y="373"/>
                </a:cubicBezTo>
                <a:cubicBezTo>
                  <a:pt x="213" y="352"/>
                  <a:pt x="213" y="352"/>
                  <a:pt x="213" y="352"/>
                </a:cubicBezTo>
                <a:cubicBezTo>
                  <a:pt x="170" y="352"/>
                  <a:pt x="170" y="352"/>
                  <a:pt x="170" y="352"/>
                </a:cubicBezTo>
                <a:lnTo>
                  <a:pt x="170" y="373"/>
                </a:lnTo>
                <a:close/>
                <a:moveTo>
                  <a:pt x="298" y="373"/>
                </a:moveTo>
                <a:cubicBezTo>
                  <a:pt x="341" y="373"/>
                  <a:pt x="341" y="373"/>
                  <a:pt x="341" y="373"/>
                </a:cubicBezTo>
                <a:cubicBezTo>
                  <a:pt x="341" y="352"/>
                  <a:pt x="341" y="352"/>
                  <a:pt x="341" y="352"/>
                </a:cubicBezTo>
                <a:cubicBezTo>
                  <a:pt x="298" y="352"/>
                  <a:pt x="298" y="352"/>
                  <a:pt x="298" y="352"/>
                </a:cubicBezTo>
                <a:lnTo>
                  <a:pt x="29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25"/>
                </a:moveTo>
                <a:cubicBezTo>
                  <a:pt x="395" y="222"/>
                  <a:pt x="394" y="219"/>
                  <a:pt x="392" y="217"/>
                </a:cubicBezTo>
                <a:cubicBezTo>
                  <a:pt x="390" y="214"/>
                  <a:pt x="387" y="213"/>
                  <a:pt x="384" y="213"/>
                </a:cubicBezTo>
                <a:cubicBezTo>
                  <a:pt x="376" y="213"/>
                  <a:pt x="376" y="213"/>
                  <a:pt x="376" y="213"/>
                </a:cubicBezTo>
                <a:cubicBezTo>
                  <a:pt x="394" y="130"/>
                  <a:pt x="394" y="130"/>
                  <a:pt x="394" y="130"/>
                </a:cubicBezTo>
                <a:cubicBezTo>
                  <a:pt x="395" y="127"/>
                  <a:pt x="394" y="124"/>
                  <a:pt x="392" y="121"/>
                </a:cubicBezTo>
                <a:cubicBezTo>
                  <a:pt x="390" y="118"/>
                  <a:pt x="387" y="117"/>
                  <a:pt x="384" y="117"/>
                </a:cubicBezTo>
                <a:cubicBezTo>
                  <a:pt x="288" y="117"/>
                  <a:pt x="288" y="117"/>
                  <a:pt x="288" y="117"/>
                </a:cubicBezTo>
                <a:cubicBezTo>
                  <a:pt x="285" y="117"/>
                  <a:pt x="282" y="118"/>
                  <a:pt x="280" y="121"/>
                </a:cubicBezTo>
                <a:cubicBezTo>
                  <a:pt x="278" y="123"/>
                  <a:pt x="277" y="126"/>
                  <a:pt x="277" y="129"/>
                </a:cubicBezTo>
                <a:cubicBezTo>
                  <a:pt x="286" y="213"/>
                  <a:pt x="286" y="213"/>
                  <a:pt x="286" y="213"/>
                </a:cubicBezTo>
                <a:cubicBezTo>
                  <a:pt x="277" y="213"/>
                  <a:pt x="277" y="213"/>
                  <a:pt x="277" y="213"/>
                </a:cubicBezTo>
                <a:cubicBezTo>
                  <a:pt x="271" y="213"/>
                  <a:pt x="266" y="218"/>
                  <a:pt x="266" y="224"/>
                </a:cubicBezTo>
                <a:cubicBezTo>
                  <a:pt x="266" y="245"/>
                  <a:pt x="266" y="245"/>
                  <a:pt x="266" y="245"/>
                </a:cubicBezTo>
                <a:cubicBezTo>
                  <a:pt x="245" y="245"/>
                  <a:pt x="245" y="245"/>
                  <a:pt x="245" y="245"/>
                </a:cubicBezTo>
                <a:cubicBezTo>
                  <a:pt x="245" y="224"/>
                  <a:pt x="245" y="224"/>
                  <a:pt x="245" y="224"/>
                </a:cubicBezTo>
                <a:cubicBezTo>
                  <a:pt x="245" y="218"/>
                  <a:pt x="240" y="213"/>
                  <a:pt x="234" y="213"/>
                </a:cubicBezTo>
                <a:cubicBezTo>
                  <a:pt x="225" y="213"/>
                  <a:pt x="225" y="213"/>
                  <a:pt x="225" y="213"/>
                </a:cubicBezTo>
                <a:cubicBezTo>
                  <a:pt x="234" y="129"/>
                  <a:pt x="234" y="129"/>
                  <a:pt x="234" y="129"/>
                </a:cubicBezTo>
                <a:cubicBezTo>
                  <a:pt x="235" y="126"/>
                  <a:pt x="234" y="123"/>
                  <a:pt x="232" y="121"/>
                </a:cubicBezTo>
                <a:cubicBezTo>
                  <a:pt x="230" y="118"/>
                  <a:pt x="227" y="117"/>
                  <a:pt x="224" y="117"/>
                </a:cubicBezTo>
                <a:cubicBezTo>
                  <a:pt x="128" y="117"/>
                  <a:pt x="128" y="117"/>
                  <a:pt x="128" y="117"/>
                </a:cubicBezTo>
                <a:cubicBezTo>
                  <a:pt x="124" y="117"/>
                  <a:pt x="121" y="118"/>
                  <a:pt x="119" y="121"/>
                </a:cubicBezTo>
                <a:cubicBezTo>
                  <a:pt x="117" y="124"/>
                  <a:pt x="117" y="127"/>
                  <a:pt x="117" y="130"/>
                </a:cubicBezTo>
                <a:cubicBezTo>
                  <a:pt x="136" y="213"/>
                  <a:pt x="136" y="213"/>
                  <a:pt x="136" y="213"/>
                </a:cubicBezTo>
                <a:cubicBezTo>
                  <a:pt x="128" y="213"/>
                  <a:pt x="128" y="213"/>
                  <a:pt x="128" y="213"/>
                </a:cubicBezTo>
                <a:cubicBezTo>
                  <a:pt x="125" y="213"/>
                  <a:pt x="122" y="214"/>
                  <a:pt x="120" y="217"/>
                </a:cubicBezTo>
                <a:cubicBezTo>
                  <a:pt x="118" y="219"/>
                  <a:pt x="117" y="222"/>
                  <a:pt x="117" y="225"/>
                </a:cubicBezTo>
                <a:cubicBezTo>
                  <a:pt x="129" y="342"/>
                  <a:pt x="129" y="342"/>
                  <a:pt x="129" y="342"/>
                </a:cubicBezTo>
                <a:cubicBezTo>
                  <a:pt x="129" y="348"/>
                  <a:pt x="134" y="352"/>
                  <a:pt x="139" y="352"/>
                </a:cubicBezTo>
                <a:cubicBezTo>
                  <a:pt x="149" y="352"/>
                  <a:pt x="149" y="352"/>
                  <a:pt x="149" y="352"/>
                </a:cubicBezTo>
                <a:cubicBezTo>
                  <a:pt x="149" y="384"/>
                  <a:pt x="149" y="384"/>
                  <a:pt x="149" y="384"/>
                </a:cubicBezTo>
                <a:cubicBezTo>
                  <a:pt x="149" y="390"/>
                  <a:pt x="154" y="394"/>
                  <a:pt x="160" y="394"/>
                </a:cubicBezTo>
                <a:cubicBezTo>
                  <a:pt x="224" y="394"/>
                  <a:pt x="224" y="394"/>
                  <a:pt x="224" y="394"/>
                </a:cubicBezTo>
                <a:cubicBezTo>
                  <a:pt x="230" y="394"/>
                  <a:pt x="234" y="390"/>
                  <a:pt x="234" y="384"/>
                </a:cubicBezTo>
                <a:cubicBezTo>
                  <a:pt x="234" y="352"/>
                  <a:pt x="234" y="352"/>
                  <a:pt x="234" y="352"/>
                </a:cubicBezTo>
                <a:cubicBezTo>
                  <a:pt x="245" y="352"/>
                  <a:pt x="245" y="347"/>
                  <a:pt x="245" y="341"/>
                </a:cubicBezTo>
                <a:cubicBezTo>
                  <a:pt x="245" y="330"/>
                  <a:pt x="245" y="330"/>
                  <a:pt x="245" y="330"/>
                </a:cubicBezTo>
                <a:cubicBezTo>
                  <a:pt x="266" y="330"/>
                  <a:pt x="266" y="330"/>
                  <a:pt x="266" y="330"/>
                </a:cubicBezTo>
                <a:cubicBezTo>
                  <a:pt x="266" y="341"/>
                  <a:pt x="266" y="341"/>
                  <a:pt x="266" y="341"/>
                </a:cubicBezTo>
                <a:cubicBezTo>
                  <a:pt x="266" y="347"/>
                  <a:pt x="266" y="352"/>
                  <a:pt x="277" y="352"/>
                </a:cubicBezTo>
                <a:cubicBezTo>
                  <a:pt x="277" y="384"/>
                  <a:pt x="277" y="384"/>
                  <a:pt x="277" y="384"/>
                </a:cubicBezTo>
                <a:cubicBezTo>
                  <a:pt x="277" y="390"/>
                  <a:pt x="282" y="394"/>
                  <a:pt x="288" y="394"/>
                </a:cubicBezTo>
                <a:cubicBezTo>
                  <a:pt x="352" y="394"/>
                  <a:pt x="352" y="394"/>
                  <a:pt x="352" y="394"/>
                </a:cubicBezTo>
                <a:cubicBezTo>
                  <a:pt x="358" y="394"/>
                  <a:pt x="362" y="390"/>
                  <a:pt x="362" y="384"/>
                </a:cubicBezTo>
                <a:cubicBezTo>
                  <a:pt x="362" y="352"/>
                  <a:pt x="362" y="352"/>
                  <a:pt x="362" y="352"/>
                </a:cubicBezTo>
                <a:cubicBezTo>
                  <a:pt x="372" y="352"/>
                  <a:pt x="372" y="352"/>
                  <a:pt x="372" y="352"/>
                </a:cubicBezTo>
                <a:cubicBezTo>
                  <a:pt x="377" y="352"/>
                  <a:pt x="382" y="348"/>
                  <a:pt x="383" y="342"/>
                </a:cubicBezTo>
                <a:lnTo>
                  <a:pt x="394" y="225"/>
                </a:lnTo>
                <a:close/>
                <a:moveTo>
                  <a:pt x="354" y="213"/>
                </a:moveTo>
                <a:cubicBezTo>
                  <a:pt x="370" y="138"/>
                  <a:pt x="370" y="138"/>
                  <a:pt x="370" y="138"/>
                </a:cubicBezTo>
                <a:cubicBezTo>
                  <a:pt x="300" y="138"/>
                  <a:pt x="300" y="138"/>
                  <a:pt x="300" y="138"/>
                </a:cubicBezTo>
                <a:cubicBezTo>
                  <a:pt x="308" y="213"/>
                  <a:pt x="308" y="213"/>
                  <a:pt x="308" y="213"/>
                </a:cubicBezTo>
                <a:lnTo>
                  <a:pt x="354" y="213"/>
                </a:lnTo>
                <a:close/>
                <a:moveTo>
                  <a:pt x="288" y="330"/>
                </a:moveTo>
                <a:cubicBezTo>
                  <a:pt x="362" y="330"/>
                  <a:pt x="362" y="330"/>
                  <a:pt x="362" y="330"/>
                </a:cubicBezTo>
                <a:cubicBezTo>
                  <a:pt x="372" y="234"/>
                  <a:pt x="372" y="234"/>
                  <a:pt x="372" y="234"/>
                </a:cubicBezTo>
                <a:cubicBezTo>
                  <a:pt x="288" y="234"/>
                  <a:pt x="288" y="234"/>
                  <a:pt x="288" y="234"/>
                </a:cubicBezTo>
                <a:lnTo>
                  <a:pt x="288" y="33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992"/>
          <p:cNvSpPr>
            <a:spLocks noChangeAspect="1" noEditPoints="1"/>
          </p:cNvSpPr>
          <p:nvPr/>
        </p:nvSpPr>
        <p:spPr bwMode="auto">
          <a:xfrm>
            <a:off x="4851307" y="3748204"/>
            <a:ext cx="699105" cy="699105"/>
          </a:xfrm>
          <a:custGeom>
            <a:avLst/>
            <a:gdLst>
              <a:gd name="T0" fmla="*/ 158 w 512"/>
              <a:gd name="T1" fmla="*/ 373 h 512"/>
              <a:gd name="T2" fmla="*/ 353 w 512"/>
              <a:gd name="T3" fmla="*/ 373 h 512"/>
              <a:gd name="T4" fmla="*/ 381 w 512"/>
              <a:gd name="T5" fmla="*/ 224 h 512"/>
              <a:gd name="T6" fmla="*/ 130 w 512"/>
              <a:gd name="T7" fmla="*/ 224 h 512"/>
              <a:gd name="T8" fmla="*/ 158 w 512"/>
              <a:gd name="T9" fmla="*/ 373 h 512"/>
              <a:gd name="T10" fmla="*/ 309 w 512"/>
              <a:gd name="T11" fmla="*/ 256 h 512"/>
              <a:gd name="T12" fmla="*/ 320 w 512"/>
              <a:gd name="T13" fmla="*/ 245 h 512"/>
              <a:gd name="T14" fmla="*/ 330 w 512"/>
              <a:gd name="T15" fmla="*/ 256 h 512"/>
              <a:gd name="T16" fmla="*/ 330 w 512"/>
              <a:gd name="T17" fmla="*/ 341 h 512"/>
              <a:gd name="T18" fmla="*/ 320 w 512"/>
              <a:gd name="T19" fmla="*/ 352 h 512"/>
              <a:gd name="T20" fmla="*/ 309 w 512"/>
              <a:gd name="T21" fmla="*/ 341 h 512"/>
              <a:gd name="T22" fmla="*/ 309 w 512"/>
              <a:gd name="T23" fmla="*/ 256 h 512"/>
              <a:gd name="T24" fmla="*/ 266 w 512"/>
              <a:gd name="T25" fmla="*/ 256 h 512"/>
              <a:gd name="T26" fmla="*/ 277 w 512"/>
              <a:gd name="T27" fmla="*/ 245 h 512"/>
              <a:gd name="T28" fmla="*/ 288 w 512"/>
              <a:gd name="T29" fmla="*/ 256 h 512"/>
              <a:gd name="T30" fmla="*/ 288 w 512"/>
              <a:gd name="T31" fmla="*/ 341 h 512"/>
              <a:gd name="T32" fmla="*/ 277 w 512"/>
              <a:gd name="T33" fmla="*/ 352 h 512"/>
              <a:gd name="T34" fmla="*/ 266 w 512"/>
              <a:gd name="T35" fmla="*/ 341 h 512"/>
              <a:gd name="T36" fmla="*/ 266 w 512"/>
              <a:gd name="T37" fmla="*/ 256 h 512"/>
              <a:gd name="T38" fmla="*/ 224 w 512"/>
              <a:gd name="T39" fmla="*/ 256 h 512"/>
              <a:gd name="T40" fmla="*/ 234 w 512"/>
              <a:gd name="T41" fmla="*/ 245 h 512"/>
              <a:gd name="T42" fmla="*/ 245 w 512"/>
              <a:gd name="T43" fmla="*/ 256 h 512"/>
              <a:gd name="T44" fmla="*/ 245 w 512"/>
              <a:gd name="T45" fmla="*/ 341 h 512"/>
              <a:gd name="T46" fmla="*/ 234 w 512"/>
              <a:gd name="T47" fmla="*/ 352 h 512"/>
              <a:gd name="T48" fmla="*/ 224 w 512"/>
              <a:gd name="T49" fmla="*/ 341 h 512"/>
              <a:gd name="T50" fmla="*/ 224 w 512"/>
              <a:gd name="T51" fmla="*/ 256 h 512"/>
              <a:gd name="T52" fmla="*/ 181 w 512"/>
              <a:gd name="T53" fmla="*/ 256 h 512"/>
              <a:gd name="T54" fmla="*/ 192 w 512"/>
              <a:gd name="T55" fmla="*/ 245 h 512"/>
              <a:gd name="T56" fmla="*/ 202 w 512"/>
              <a:gd name="T57" fmla="*/ 256 h 512"/>
              <a:gd name="T58" fmla="*/ 202 w 512"/>
              <a:gd name="T59" fmla="*/ 341 h 512"/>
              <a:gd name="T60" fmla="*/ 192 w 512"/>
              <a:gd name="T61" fmla="*/ 352 h 512"/>
              <a:gd name="T62" fmla="*/ 181 w 512"/>
              <a:gd name="T63" fmla="*/ 341 h 512"/>
              <a:gd name="T64" fmla="*/ 181 w 512"/>
              <a:gd name="T65" fmla="*/ 256 h 512"/>
              <a:gd name="T66" fmla="*/ 256 w 512"/>
              <a:gd name="T67" fmla="*/ 0 h 512"/>
              <a:gd name="T68" fmla="*/ 0 w 512"/>
              <a:gd name="T69" fmla="*/ 256 h 512"/>
              <a:gd name="T70" fmla="*/ 256 w 512"/>
              <a:gd name="T71" fmla="*/ 512 h 512"/>
              <a:gd name="T72" fmla="*/ 512 w 512"/>
              <a:gd name="T73" fmla="*/ 256 h 512"/>
              <a:gd name="T74" fmla="*/ 256 w 512"/>
              <a:gd name="T75" fmla="*/ 0 h 512"/>
              <a:gd name="T76" fmla="*/ 405 w 512"/>
              <a:gd name="T77" fmla="*/ 224 h 512"/>
              <a:gd name="T78" fmla="*/ 403 w 512"/>
              <a:gd name="T79" fmla="*/ 224 h 512"/>
              <a:gd name="T80" fmla="*/ 373 w 512"/>
              <a:gd name="T81" fmla="*/ 386 h 512"/>
              <a:gd name="T82" fmla="*/ 362 w 512"/>
              <a:gd name="T83" fmla="*/ 394 h 512"/>
              <a:gd name="T84" fmla="*/ 149 w 512"/>
              <a:gd name="T85" fmla="*/ 394 h 512"/>
              <a:gd name="T86" fmla="*/ 139 w 512"/>
              <a:gd name="T87" fmla="*/ 386 h 512"/>
              <a:gd name="T88" fmla="*/ 108 w 512"/>
              <a:gd name="T89" fmla="*/ 224 h 512"/>
              <a:gd name="T90" fmla="*/ 106 w 512"/>
              <a:gd name="T91" fmla="*/ 224 h 512"/>
              <a:gd name="T92" fmla="*/ 96 w 512"/>
              <a:gd name="T93" fmla="*/ 213 h 512"/>
              <a:gd name="T94" fmla="*/ 106 w 512"/>
              <a:gd name="T95" fmla="*/ 202 h 512"/>
              <a:gd name="T96" fmla="*/ 143 w 512"/>
              <a:gd name="T97" fmla="*/ 202 h 512"/>
              <a:gd name="T98" fmla="*/ 204 w 512"/>
              <a:gd name="T99" fmla="*/ 111 h 512"/>
              <a:gd name="T100" fmla="*/ 219 w 512"/>
              <a:gd name="T101" fmla="*/ 108 h 512"/>
              <a:gd name="T102" fmla="*/ 222 w 512"/>
              <a:gd name="T103" fmla="*/ 123 h 512"/>
              <a:gd name="T104" fmla="*/ 169 w 512"/>
              <a:gd name="T105" fmla="*/ 202 h 512"/>
              <a:gd name="T106" fmla="*/ 342 w 512"/>
              <a:gd name="T107" fmla="*/ 202 h 512"/>
              <a:gd name="T108" fmla="*/ 289 w 512"/>
              <a:gd name="T109" fmla="*/ 123 h 512"/>
              <a:gd name="T110" fmla="*/ 292 w 512"/>
              <a:gd name="T111" fmla="*/ 108 h 512"/>
              <a:gd name="T112" fmla="*/ 307 w 512"/>
              <a:gd name="T113" fmla="*/ 111 h 512"/>
              <a:gd name="T114" fmla="*/ 368 w 512"/>
              <a:gd name="T115" fmla="*/ 202 h 512"/>
              <a:gd name="T116" fmla="*/ 405 w 512"/>
              <a:gd name="T117" fmla="*/ 202 h 512"/>
              <a:gd name="T118" fmla="*/ 416 w 512"/>
              <a:gd name="T119" fmla="*/ 213 h 512"/>
              <a:gd name="T120" fmla="*/ 405 w 512"/>
              <a:gd name="T121"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58" y="373"/>
                </a:moveTo>
                <a:cubicBezTo>
                  <a:pt x="353" y="373"/>
                  <a:pt x="353" y="373"/>
                  <a:pt x="353" y="373"/>
                </a:cubicBezTo>
                <a:cubicBezTo>
                  <a:pt x="381" y="224"/>
                  <a:pt x="381" y="224"/>
                  <a:pt x="381" y="224"/>
                </a:cubicBezTo>
                <a:cubicBezTo>
                  <a:pt x="130" y="224"/>
                  <a:pt x="130" y="224"/>
                  <a:pt x="130" y="224"/>
                </a:cubicBezTo>
                <a:lnTo>
                  <a:pt x="158" y="373"/>
                </a:lnTo>
                <a:close/>
                <a:moveTo>
                  <a:pt x="309" y="256"/>
                </a:moveTo>
                <a:cubicBezTo>
                  <a:pt x="309" y="250"/>
                  <a:pt x="314" y="245"/>
                  <a:pt x="320" y="245"/>
                </a:cubicBezTo>
                <a:cubicBezTo>
                  <a:pt x="326" y="245"/>
                  <a:pt x="330" y="250"/>
                  <a:pt x="330" y="256"/>
                </a:cubicBezTo>
                <a:cubicBezTo>
                  <a:pt x="330" y="341"/>
                  <a:pt x="330" y="341"/>
                  <a:pt x="330" y="341"/>
                </a:cubicBezTo>
                <a:cubicBezTo>
                  <a:pt x="330" y="347"/>
                  <a:pt x="326" y="352"/>
                  <a:pt x="320" y="352"/>
                </a:cubicBezTo>
                <a:cubicBezTo>
                  <a:pt x="314" y="352"/>
                  <a:pt x="309" y="347"/>
                  <a:pt x="309" y="341"/>
                </a:cubicBezTo>
                <a:lnTo>
                  <a:pt x="309" y="256"/>
                </a:lnTo>
                <a:close/>
                <a:moveTo>
                  <a:pt x="266" y="256"/>
                </a:moveTo>
                <a:cubicBezTo>
                  <a:pt x="266" y="250"/>
                  <a:pt x="271" y="245"/>
                  <a:pt x="277" y="245"/>
                </a:cubicBezTo>
                <a:cubicBezTo>
                  <a:pt x="283" y="245"/>
                  <a:pt x="288" y="250"/>
                  <a:pt x="288" y="256"/>
                </a:cubicBezTo>
                <a:cubicBezTo>
                  <a:pt x="288" y="341"/>
                  <a:pt x="288" y="341"/>
                  <a:pt x="288" y="341"/>
                </a:cubicBezTo>
                <a:cubicBezTo>
                  <a:pt x="288" y="347"/>
                  <a:pt x="283" y="352"/>
                  <a:pt x="277" y="352"/>
                </a:cubicBezTo>
                <a:cubicBezTo>
                  <a:pt x="271" y="352"/>
                  <a:pt x="266" y="347"/>
                  <a:pt x="266" y="341"/>
                </a:cubicBezTo>
                <a:lnTo>
                  <a:pt x="266" y="256"/>
                </a:lnTo>
                <a:close/>
                <a:moveTo>
                  <a:pt x="224" y="256"/>
                </a:moveTo>
                <a:cubicBezTo>
                  <a:pt x="224" y="250"/>
                  <a:pt x="228" y="245"/>
                  <a:pt x="234" y="245"/>
                </a:cubicBezTo>
                <a:cubicBezTo>
                  <a:pt x="240" y="245"/>
                  <a:pt x="245" y="250"/>
                  <a:pt x="245" y="256"/>
                </a:cubicBezTo>
                <a:cubicBezTo>
                  <a:pt x="245" y="341"/>
                  <a:pt x="245" y="341"/>
                  <a:pt x="245" y="341"/>
                </a:cubicBezTo>
                <a:cubicBezTo>
                  <a:pt x="245" y="347"/>
                  <a:pt x="240" y="352"/>
                  <a:pt x="234" y="352"/>
                </a:cubicBezTo>
                <a:cubicBezTo>
                  <a:pt x="228" y="352"/>
                  <a:pt x="224" y="347"/>
                  <a:pt x="224" y="341"/>
                </a:cubicBezTo>
                <a:lnTo>
                  <a:pt x="224" y="256"/>
                </a:lnTo>
                <a:close/>
                <a:moveTo>
                  <a:pt x="181" y="256"/>
                </a:moveTo>
                <a:cubicBezTo>
                  <a:pt x="181" y="250"/>
                  <a:pt x="186" y="245"/>
                  <a:pt x="192" y="245"/>
                </a:cubicBezTo>
                <a:cubicBezTo>
                  <a:pt x="198" y="245"/>
                  <a:pt x="202" y="250"/>
                  <a:pt x="202" y="256"/>
                </a:cubicBezTo>
                <a:cubicBezTo>
                  <a:pt x="202" y="341"/>
                  <a:pt x="202" y="341"/>
                  <a:pt x="202" y="341"/>
                </a:cubicBezTo>
                <a:cubicBezTo>
                  <a:pt x="202" y="347"/>
                  <a:pt x="198" y="352"/>
                  <a:pt x="192" y="352"/>
                </a:cubicBezTo>
                <a:cubicBezTo>
                  <a:pt x="186" y="352"/>
                  <a:pt x="181" y="347"/>
                  <a:pt x="181" y="341"/>
                </a:cubicBezTo>
                <a:lnTo>
                  <a:pt x="181"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24"/>
                </a:moveTo>
                <a:cubicBezTo>
                  <a:pt x="403" y="224"/>
                  <a:pt x="403" y="224"/>
                  <a:pt x="403" y="224"/>
                </a:cubicBezTo>
                <a:cubicBezTo>
                  <a:pt x="373" y="386"/>
                  <a:pt x="373" y="386"/>
                  <a:pt x="373" y="386"/>
                </a:cubicBezTo>
                <a:cubicBezTo>
                  <a:pt x="372" y="391"/>
                  <a:pt x="367" y="394"/>
                  <a:pt x="362" y="394"/>
                </a:cubicBezTo>
                <a:cubicBezTo>
                  <a:pt x="149" y="394"/>
                  <a:pt x="149" y="394"/>
                  <a:pt x="149" y="394"/>
                </a:cubicBezTo>
                <a:cubicBezTo>
                  <a:pt x="144" y="394"/>
                  <a:pt x="139" y="391"/>
                  <a:pt x="139" y="386"/>
                </a:cubicBezTo>
                <a:cubicBezTo>
                  <a:pt x="108" y="224"/>
                  <a:pt x="108" y="224"/>
                  <a:pt x="108" y="224"/>
                </a:cubicBezTo>
                <a:cubicBezTo>
                  <a:pt x="106" y="224"/>
                  <a:pt x="106" y="224"/>
                  <a:pt x="106" y="224"/>
                </a:cubicBezTo>
                <a:cubicBezTo>
                  <a:pt x="100" y="224"/>
                  <a:pt x="96" y="219"/>
                  <a:pt x="96" y="213"/>
                </a:cubicBezTo>
                <a:cubicBezTo>
                  <a:pt x="96" y="207"/>
                  <a:pt x="100" y="202"/>
                  <a:pt x="106" y="202"/>
                </a:cubicBezTo>
                <a:cubicBezTo>
                  <a:pt x="143" y="202"/>
                  <a:pt x="143" y="202"/>
                  <a:pt x="143" y="202"/>
                </a:cubicBezTo>
                <a:cubicBezTo>
                  <a:pt x="204" y="111"/>
                  <a:pt x="204" y="111"/>
                  <a:pt x="204" y="111"/>
                </a:cubicBezTo>
                <a:cubicBezTo>
                  <a:pt x="207" y="106"/>
                  <a:pt x="214" y="105"/>
                  <a:pt x="219" y="108"/>
                </a:cubicBezTo>
                <a:cubicBezTo>
                  <a:pt x="224" y="111"/>
                  <a:pt x="225" y="118"/>
                  <a:pt x="222" y="123"/>
                </a:cubicBezTo>
                <a:cubicBezTo>
                  <a:pt x="169" y="202"/>
                  <a:pt x="169" y="202"/>
                  <a:pt x="169" y="202"/>
                </a:cubicBezTo>
                <a:cubicBezTo>
                  <a:pt x="342" y="202"/>
                  <a:pt x="342" y="202"/>
                  <a:pt x="342" y="202"/>
                </a:cubicBezTo>
                <a:cubicBezTo>
                  <a:pt x="289" y="123"/>
                  <a:pt x="289" y="123"/>
                  <a:pt x="289" y="123"/>
                </a:cubicBezTo>
                <a:cubicBezTo>
                  <a:pt x="286" y="118"/>
                  <a:pt x="288" y="111"/>
                  <a:pt x="292" y="108"/>
                </a:cubicBezTo>
                <a:cubicBezTo>
                  <a:pt x="297" y="105"/>
                  <a:pt x="304" y="106"/>
                  <a:pt x="307" y="111"/>
                </a:cubicBezTo>
                <a:cubicBezTo>
                  <a:pt x="368" y="202"/>
                  <a:pt x="368" y="202"/>
                  <a:pt x="368" y="202"/>
                </a:cubicBezTo>
                <a:cubicBezTo>
                  <a:pt x="405" y="202"/>
                  <a:pt x="405" y="202"/>
                  <a:pt x="405" y="202"/>
                </a:cubicBezTo>
                <a:cubicBezTo>
                  <a:pt x="411" y="202"/>
                  <a:pt x="416" y="207"/>
                  <a:pt x="416" y="213"/>
                </a:cubicBezTo>
                <a:cubicBezTo>
                  <a:pt x="416" y="219"/>
                  <a:pt x="411" y="224"/>
                  <a:pt x="405" y="2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64" name="Group 674"/>
          <p:cNvGrpSpPr>
            <a:grpSpLocks noChangeAspect="1"/>
          </p:cNvGrpSpPr>
          <p:nvPr/>
        </p:nvGrpSpPr>
        <p:grpSpPr bwMode="auto">
          <a:xfrm>
            <a:off x="5733915" y="4239522"/>
            <a:ext cx="734261" cy="734261"/>
            <a:chOff x="1549" y="2327"/>
            <a:chExt cx="340" cy="340"/>
          </a:xfrm>
          <a:solidFill>
            <a:schemeClr val="accent1"/>
          </a:solidFill>
        </p:grpSpPr>
        <p:sp>
          <p:nvSpPr>
            <p:cNvPr id="65" name="Freeform 675"/>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676"/>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677"/>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678"/>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679"/>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927"/>
          <p:cNvGrpSpPr>
            <a:grpSpLocks noChangeAspect="1"/>
          </p:cNvGrpSpPr>
          <p:nvPr/>
        </p:nvGrpSpPr>
        <p:grpSpPr bwMode="auto">
          <a:xfrm>
            <a:off x="6653334" y="2791548"/>
            <a:ext cx="685944" cy="685944"/>
            <a:chOff x="5432" y="3568"/>
            <a:chExt cx="340" cy="340"/>
          </a:xfrm>
          <a:solidFill>
            <a:schemeClr val="accent4"/>
          </a:solidFill>
        </p:grpSpPr>
        <p:sp>
          <p:nvSpPr>
            <p:cNvPr id="81" name="Freeform 928"/>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929"/>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Freeform 331"/>
          <p:cNvSpPr>
            <a:spLocks noChangeAspect="1" noEditPoints="1"/>
          </p:cNvSpPr>
          <p:nvPr/>
        </p:nvSpPr>
        <p:spPr bwMode="auto">
          <a:xfrm>
            <a:off x="6694353" y="3774527"/>
            <a:ext cx="643181" cy="64507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507"/>
          <p:cNvSpPr>
            <a:spLocks noChangeAspect="1" noEditPoints="1"/>
          </p:cNvSpPr>
          <p:nvPr/>
        </p:nvSpPr>
        <p:spPr bwMode="auto">
          <a:xfrm>
            <a:off x="4863558" y="2795877"/>
            <a:ext cx="679616" cy="681615"/>
          </a:xfrm>
          <a:custGeom>
            <a:avLst/>
            <a:gdLst>
              <a:gd name="T0" fmla="*/ 181 w 512"/>
              <a:gd name="T1" fmla="*/ 394 h 512"/>
              <a:gd name="T2" fmla="*/ 330 w 512"/>
              <a:gd name="T3" fmla="*/ 394 h 512"/>
              <a:gd name="T4" fmla="*/ 330 w 512"/>
              <a:gd name="T5" fmla="*/ 202 h 512"/>
              <a:gd name="T6" fmla="*/ 181 w 512"/>
              <a:gd name="T7" fmla="*/ 202 h 512"/>
              <a:gd name="T8" fmla="*/ 181 w 512"/>
              <a:gd name="T9" fmla="*/ 394 h 512"/>
              <a:gd name="T10" fmla="*/ 288 w 512"/>
              <a:gd name="T11" fmla="*/ 234 h 512"/>
              <a:gd name="T12" fmla="*/ 298 w 512"/>
              <a:gd name="T13" fmla="*/ 224 h 512"/>
              <a:gd name="T14" fmla="*/ 309 w 512"/>
              <a:gd name="T15" fmla="*/ 234 h 512"/>
              <a:gd name="T16" fmla="*/ 309 w 512"/>
              <a:gd name="T17" fmla="*/ 362 h 512"/>
              <a:gd name="T18" fmla="*/ 298 w 512"/>
              <a:gd name="T19" fmla="*/ 373 h 512"/>
              <a:gd name="T20" fmla="*/ 288 w 512"/>
              <a:gd name="T21" fmla="*/ 362 h 512"/>
              <a:gd name="T22" fmla="*/ 288 w 512"/>
              <a:gd name="T23" fmla="*/ 234 h 512"/>
              <a:gd name="T24" fmla="*/ 245 w 512"/>
              <a:gd name="T25" fmla="*/ 234 h 512"/>
              <a:gd name="T26" fmla="*/ 256 w 512"/>
              <a:gd name="T27" fmla="*/ 224 h 512"/>
              <a:gd name="T28" fmla="*/ 266 w 512"/>
              <a:gd name="T29" fmla="*/ 234 h 512"/>
              <a:gd name="T30" fmla="*/ 266 w 512"/>
              <a:gd name="T31" fmla="*/ 362 h 512"/>
              <a:gd name="T32" fmla="*/ 256 w 512"/>
              <a:gd name="T33" fmla="*/ 373 h 512"/>
              <a:gd name="T34" fmla="*/ 245 w 512"/>
              <a:gd name="T35" fmla="*/ 362 h 512"/>
              <a:gd name="T36" fmla="*/ 245 w 512"/>
              <a:gd name="T37" fmla="*/ 234 h 512"/>
              <a:gd name="T38" fmla="*/ 202 w 512"/>
              <a:gd name="T39" fmla="*/ 234 h 512"/>
              <a:gd name="T40" fmla="*/ 213 w 512"/>
              <a:gd name="T41" fmla="*/ 224 h 512"/>
              <a:gd name="T42" fmla="*/ 224 w 512"/>
              <a:gd name="T43" fmla="*/ 234 h 512"/>
              <a:gd name="T44" fmla="*/ 224 w 512"/>
              <a:gd name="T45" fmla="*/ 362 h 512"/>
              <a:gd name="T46" fmla="*/ 213 w 512"/>
              <a:gd name="T47" fmla="*/ 373 h 512"/>
              <a:gd name="T48" fmla="*/ 202 w 512"/>
              <a:gd name="T49" fmla="*/ 362 h 512"/>
              <a:gd name="T50" fmla="*/ 202 w 512"/>
              <a:gd name="T51" fmla="*/ 234 h 512"/>
              <a:gd name="T52" fmla="*/ 293 w 512"/>
              <a:gd name="T53" fmla="*/ 138 h 512"/>
              <a:gd name="T54" fmla="*/ 219 w 512"/>
              <a:gd name="T55" fmla="*/ 138 h 512"/>
              <a:gd name="T56" fmla="*/ 256 w 512"/>
              <a:gd name="T57" fmla="*/ 117 h 512"/>
              <a:gd name="T58" fmla="*/ 293 w 512"/>
              <a:gd name="T59" fmla="*/ 138 h 512"/>
              <a:gd name="T60" fmla="*/ 256 w 512"/>
              <a:gd name="T61" fmla="*/ 0 h 512"/>
              <a:gd name="T62" fmla="*/ 0 w 512"/>
              <a:gd name="T63" fmla="*/ 256 h 512"/>
              <a:gd name="T64" fmla="*/ 256 w 512"/>
              <a:gd name="T65" fmla="*/ 512 h 512"/>
              <a:gd name="T66" fmla="*/ 512 w 512"/>
              <a:gd name="T67" fmla="*/ 256 h 512"/>
              <a:gd name="T68" fmla="*/ 256 w 512"/>
              <a:gd name="T69" fmla="*/ 0 h 512"/>
              <a:gd name="T70" fmla="*/ 352 w 512"/>
              <a:gd name="T71" fmla="*/ 202 h 512"/>
              <a:gd name="T72" fmla="*/ 352 w 512"/>
              <a:gd name="T73" fmla="*/ 405 h 512"/>
              <a:gd name="T74" fmla="*/ 341 w 512"/>
              <a:gd name="T75" fmla="*/ 416 h 512"/>
              <a:gd name="T76" fmla="*/ 170 w 512"/>
              <a:gd name="T77" fmla="*/ 416 h 512"/>
              <a:gd name="T78" fmla="*/ 160 w 512"/>
              <a:gd name="T79" fmla="*/ 405 h 512"/>
              <a:gd name="T80" fmla="*/ 160 w 512"/>
              <a:gd name="T81" fmla="*/ 202 h 512"/>
              <a:gd name="T82" fmla="*/ 149 w 512"/>
              <a:gd name="T83" fmla="*/ 192 h 512"/>
              <a:gd name="T84" fmla="*/ 160 w 512"/>
              <a:gd name="T85" fmla="*/ 181 h 512"/>
              <a:gd name="T86" fmla="*/ 170 w 512"/>
              <a:gd name="T87" fmla="*/ 181 h 512"/>
              <a:gd name="T88" fmla="*/ 341 w 512"/>
              <a:gd name="T89" fmla="*/ 181 h 512"/>
              <a:gd name="T90" fmla="*/ 352 w 512"/>
              <a:gd name="T91" fmla="*/ 181 h 512"/>
              <a:gd name="T92" fmla="*/ 362 w 512"/>
              <a:gd name="T93" fmla="*/ 192 h 512"/>
              <a:gd name="T94" fmla="*/ 352 w 512"/>
              <a:gd name="T95" fmla="*/ 202 h 512"/>
              <a:gd name="T96" fmla="*/ 352 w 512"/>
              <a:gd name="T97" fmla="*/ 160 h 512"/>
              <a:gd name="T98" fmla="*/ 160 w 512"/>
              <a:gd name="T99" fmla="*/ 160 h 512"/>
              <a:gd name="T100" fmla="*/ 149 w 512"/>
              <a:gd name="T101" fmla="*/ 149 h 512"/>
              <a:gd name="T102" fmla="*/ 160 w 512"/>
              <a:gd name="T103" fmla="*/ 138 h 512"/>
              <a:gd name="T104" fmla="*/ 195 w 512"/>
              <a:gd name="T105" fmla="*/ 138 h 512"/>
              <a:gd name="T106" fmla="*/ 197 w 512"/>
              <a:gd name="T107" fmla="*/ 134 h 512"/>
              <a:gd name="T108" fmla="*/ 197 w 512"/>
              <a:gd name="T109" fmla="*/ 134 h 512"/>
              <a:gd name="T110" fmla="*/ 256 w 512"/>
              <a:gd name="T111" fmla="*/ 96 h 512"/>
              <a:gd name="T112" fmla="*/ 316 w 512"/>
              <a:gd name="T113" fmla="*/ 138 h 512"/>
              <a:gd name="T114" fmla="*/ 352 w 512"/>
              <a:gd name="T115" fmla="*/ 138 h 512"/>
              <a:gd name="T116" fmla="*/ 362 w 512"/>
              <a:gd name="T117" fmla="*/ 149 h 512"/>
              <a:gd name="T118" fmla="*/ 352 w 512"/>
              <a:gd name="T11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1" y="394"/>
                </a:moveTo>
                <a:cubicBezTo>
                  <a:pt x="330" y="394"/>
                  <a:pt x="330" y="394"/>
                  <a:pt x="330" y="394"/>
                </a:cubicBezTo>
                <a:cubicBezTo>
                  <a:pt x="330" y="202"/>
                  <a:pt x="330" y="202"/>
                  <a:pt x="330" y="202"/>
                </a:cubicBezTo>
                <a:cubicBezTo>
                  <a:pt x="181" y="202"/>
                  <a:pt x="181" y="202"/>
                  <a:pt x="181" y="202"/>
                </a:cubicBezTo>
                <a:lnTo>
                  <a:pt x="181" y="394"/>
                </a:lnTo>
                <a:close/>
                <a:moveTo>
                  <a:pt x="288" y="234"/>
                </a:moveTo>
                <a:cubicBezTo>
                  <a:pt x="288" y="228"/>
                  <a:pt x="292" y="224"/>
                  <a:pt x="298" y="224"/>
                </a:cubicBezTo>
                <a:cubicBezTo>
                  <a:pt x="304" y="224"/>
                  <a:pt x="309" y="228"/>
                  <a:pt x="309" y="234"/>
                </a:cubicBezTo>
                <a:cubicBezTo>
                  <a:pt x="309" y="362"/>
                  <a:pt x="309" y="362"/>
                  <a:pt x="309" y="362"/>
                </a:cubicBezTo>
                <a:cubicBezTo>
                  <a:pt x="309" y="368"/>
                  <a:pt x="304" y="373"/>
                  <a:pt x="298" y="373"/>
                </a:cubicBezTo>
                <a:cubicBezTo>
                  <a:pt x="292" y="373"/>
                  <a:pt x="288" y="368"/>
                  <a:pt x="288" y="362"/>
                </a:cubicBezTo>
                <a:lnTo>
                  <a:pt x="288" y="234"/>
                </a:lnTo>
                <a:close/>
                <a:moveTo>
                  <a:pt x="245" y="234"/>
                </a:moveTo>
                <a:cubicBezTo>
                  <a:pt x="245" y="228"/>
                  <a:pt x="250" y="224"/>
                  <a:pt x="256" y="224"/>
                </a:cubicBezTo>
                <a:cubicBezTo>
                  <a:pt x="262" y="224"/>
                  <a:pt x="266" y="228"/>
                  <a:pt x="266" y="234"/>
                </a:cubicBezTo>
                <a:cubicBezTo>
                  <a:pt x="266" y="362"/>
                  <a:pt x="266" y="362"/>
                  <a:pt x="266" y="362"/>
                </a:cubicBezTo>
                <a:cubicBezTo>
                  <a:pt x="266" y="368"/>
                  <a:pt x="262" y="373"/>
                  <a:pt x="256" y="373"/>
                </a:cubicBezTo>
                <a:cubicBezTo>
                  <a:pt x="250" y="373"/>
                  <a:pt x="245" y="368"/>
                  <a:pt x="245" y="362"/>
                </a:cubicBezTo>
                <a:lnTo>
                  <a:pt x="245" y="234"/>
                </a:lnTo>
                <a:close/>
                <a:moveTo>
                  <a:pt x="202" y="234"/>
                </a:moveTo>
                <a:cubicBezTo>
                  <a:pt x="202" y="228"/>
                  <a:pt x="207" y="224"/>
                  <a:pt x="213" y="224"/>
                </a:cubicBezTo>
                <a:cubicBezTo>
                  <a:pt x="219" y="224"/>
                  <a:pt x="224" y="228"/>
                  <a:pt x="224" y="234"/>
                </a:cubicBezTo>
                <a:cubicBezTo>
                  <a:pt x="224" y="362"/>
                  <a:pt x="224" y="362"/>
                  <a:pt x="224" y="362"/>
                </a:cubicBezTo>
                <a:cubicBezTo>
                  <a:pt x="224" y="368"/>
                  <a:pt x="219" y="373"/>
                  <a:pt x="213" y="373"/>
                </a:cubicBezTo>
                <a:cubicBezTo>
                  <a:pt x="207" y="373"/>
                  <a:pt x="202" y="368"/>
                  <a:pt x="202" y="362"/>
                </a:cubicBezTo>
                <a:lnTo>
                  <a:pt x="202" y="234"/>
                </a:lnTo>
                <a:close/>
                <a:moveTo>
                  <a:pt x="293" y="138"/>
                </a:moveTo>
                <a:cubicBezTo>
                  <a:pt x="219" y="138"/>
                  <a:pt x="219" y="138"/>
                  <a:pt x="219" y="138"/>
                </a:cubicBezTo>
                <a:cubicBezTo>
                  <a:pt x="226" y="125"/>
                  <a:pt x="240" y="117"/>
                  <a:pt x="256" y="117"/>
                </a:cubicBezTo>
                <a:cubicBezTo>
                  <a:pt x="271" y="117"/>
                  <a:pt x="285" y="125"/>
                  <a:pt x="293" y="13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02"/>
                </a:moveTo>
                <a:cubicBezTo>
                  <a:pt x="352" y="405"/>
                  <a:pt x="352" y="405"/>
                  <a:pt x="352" y="405"/>
                </a:cubicBezTo>
                <a:cubicBezTo>
                  <a:pt x="352" y="411"/>
                  <a:pt x="347" y="416"/>
                  <a:pt x="341" y="416"/>
                </a:cubicBezTo>
                <a:cubicBezTo>
                  <a:pt x="170" y="416"/>
                  <a:pt x="170" y="416"/>
                  <a:pt x="170" y="416"/>
                </a:cubicBezTo>
                <a:cubicBezTo>
                  <a:pt x="164" y="416"/>
                  <a:pt x="160" y="411"/>
                  <a:pt x="160" y="405"/>
                </a:cubicBezTo>
                <a:cubicBezTo>
                  <a:pt x="160" y="202"/>
                  <a:pt x="160" y="202"/>
                  <a:pt x="160" y="202"/>
                </a:cubicBezTo>
                <a:cubicBezTo>
                  <a:pt x="154" y="202"/>
                  <a:pt x="149" y="198"/>
                  <a:pt x="149" y="192"/>
                </a:cubicBezTo>
                <a:cubicBezTo>
                  <a:pt x="149" y="186"/>
                  <a:pt x="154" y="181"/>
                  <a:pt x="160" y="181"/>
                </a:cubicBezTo>
                <a:cubicBezTo>
                  <a:pt x="170" y="181"/>
                  <a:pt x="170" y="181"/>
                  <a:pt x="170" y="181"/>
                </a:cubicBezTo>
                <a:cubicBezTo>
                  <a:pt x="341" y="181"/>
                  <a:pt x="341" y="181"/>
                  <a:pt x="341" y="181"/>
                </a:cubicBezTo>
                <a:cubicBezTo>
                  <a:pt x="352" y="181"/>
                  <a:pt x="352" y="181"/>
                  <a:pt x="352" y="181"/>
                </a:cubicBezTo>
                <a:cubicBezTo>
                  <a:pt x="358" y="181"/>
                  <a:pt x="362" y="186"/>
                  <a:pt x="362" y="192"/>
                </a:cubicBezTo>
                <a:cubicBezTo>
                  <a:pt x="362" y="198"/>
                  <a:pt x="358" y="202"/>
                  <a:pt x="352" y="202"/>
                </a:cubicBezTo>
                <a:close/>
                <a:moveTo>
                  <a:pt x="352" y="160"/>
                </a:moveTo>
                <a:cubicBezTo>
                  <a:pt x="160" y="160"/>
                  <a:pt x="160" y="160"/>
                  <a:pt x="160" y="160"/>
                </a:cubicBezTo>
                <a:cubicBezTo>
                  <a:pt x="154" y="160"/>
                  <a:pt x="149" y="155"/>
                  <a:pt x="149" y="149"/>
                </a:cubicBezTo>
                <a:cubicBezTo>
                  <a:pt x="149" y="143"/>
                  <a:pt x="154" y="138"/>
                  <a:pt x="160" y="138"/>
                </a:cubicBezTo>
                <a:cubicBezTo>
                  <a:pt x="195" y="138"/>
                  <a:pt x="195" y="138"/>
                  <a:pt x="195" y="138"/>
                </a:cubicBezTo>
                <a:cubicBezTo>
                  <a:pt x="196" y="137"/>
                  <a:pt x="196" y="135"/>
                  <a:pt x="197" y="134"/>
                </a:cubicBezTo>
                <a:cubicBezTo>
                  <a:pt x="197" y="134"/>
                  <a:pt x="197" y="134"/>
                  <a:pt x="197" y="134"/>
                </a:cubicBezTo>
                <a:cubicBezTo>
                  <a:pt x="207" y="111"/>
                  <a:pt x="230" y="96"/>
                  <a:pt x="256" y="96"/>
                </a:cubicBezTo>
                <a:cubicBezTo>
                  <a:pt x="283" y="96"/>
                  <a:pt x="307" y="113"/>
                  <a:pt x="316" y="138"/>
                </a:cubicBezTo>
                <a:cubicBezTo>
                  <a:pt x="352" y="138"/>
                  <a:pt x="352" y="138"/>
                  <a:pt x="352" y="138"/>
                </a:cubicBezTo>
                <a:cubicBezTo>
                  <a:pt x="358" y="138"/>
                  <a:pt x="362" y="143"/>
                  <a:pt x="362" y="149"/>
                </a:cubicBezTo>
                <a:cubicBezTo>
                  <a:pt x="362" y="155"/>
                  <a:pt x="358" y="160"/>
                  <a:pt x="352" y="1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875881303"/>
      </p:ext>
    </p:extLst>
  </p:cSld>
  <p:clrMapOvr>
    <a:masterClrMapping/>
  </p:clrMapOvr>
  <p:transition>
    <p:fade/>
  </p:transition>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68"/>
          <p:cNvSpPr/>
          <p:nvPr/>
        </p:nvSpPr>
        <p:spPr bwMode="gray">
          <a:xfrm flipH="1">
            <a:off x="7277386"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p>
        </p:txBody>
      </p:sp>
      <p:sp>
        <p:nvSpPr>
          <p:cNvPr id="71" name="Freeform 70"/>
          <p:cNvSpPr/>
          <p:nvPr/>
        </p:nvSpPr>
        <p:spPr bwMode="gray">
          <a:xfrm>
            <a:off x="2235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p>
        </p:txBody>
      </p:sp>
      <p:sp>
        <p:nvSpPr>
          <p:cNvPr id="75" name="Freeform 74"/>
          <p:cNvSpPr/>
          <p:nvPr/>
        </p:nvSpPr>
        <p:spPr bwMode="gray">
          <a:xfrm>
            <a:off x="5784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tx1"/>
            </a:solidFill>
            <a:miter lim="800000"/>
            <a:headEnd/>
            <a:tailEnd/>
          </a:ln>
        </p:spPr>
        <p:txBody>
          <a:bodyPr rtlCol="0" anchor="ctr"/>
          <a:lstStyle/>
          <a:p>
            <a:pPr algn="ctr"/>
            <a:endParaRPr lang="en-US"/>
          </a:p>
        </p:txBody>
      </p:sp>
      <p:sp>
        <p:nvSpPr>
          <p:cNvPr id="81" name="Freeform 80"/>
          <p:cNvSpPr/>
          <p:nvPr/>
        </p:nvSpPr>
        <p:spPr bwMode="gray">
          <a:xfrm flipV="1">
            <a:off x="2235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solidFill>
                <a:schemeClr val="accent6"/>
              </a:solidFill>
            </a:endParaRPr>
          </a:p>
        </p:txBody>
      </p:sp>
      <p:sp>
        <p:nvSpPr>
          <p:cNvPr id="86" name="Freeform 85"/>
          <p:cNvSpPr/>
          <p:nvPr/>
        </p:nvSpPr>
        <p:spPr bwMode="gray">
          <a:xfrm flipH="1" flipV="1">
            <a:off x="7277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tx1"/>
            </a:solidFill>
            <a:miter lim="800000"/>
            <a:headEnd/>
            <a:tailEnd/>
          </a:ln>
        </p:spPr>
        <p:txBody>
          <a:bodyPr rtlCol="0" anchor="ctr"/>
          <a:lstStyle/>
          <a:p>
            <a:pPr algn="ctr"/>
            <a:endParaRPr lang="en-US">
              <a:solidFill>
                <a:schemeClr val="accent6"/>
              </a:solidFill>
            </a:endParaRPr>
          </a:p>
        </p:txBody>
      </p:sp>
      <p:sp>
        <p:nvSpPr>
          <p:cNvPr id="91" name="Freeform 90"/>
          <p:cNvSpPr/>
          <p:nvPr/>
        </p:nvSpPr>
        <p:spPr bwMode="gray">
          <a:xfrm flipV="1">
            <a:off x="5784850" y="1378895"/>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tx1"/>
            </a:solidFill>
            <a:miter lim="800000"/>
            <a:headEnd/>
            <a:tailEnd/>
          </a:ln>
        </p:spPr>
        <p:txBody>
          <a:bodyPr rtlCol="0" anchor="ctr"/>
          <a:lstStyle/>
          <a:p>
            <a:pPr algn="ctr"/>
            <a:endParaRPr lang="en-US">
              <a:solidFill>
                <a:schemeClr val="accent6"/>
              </a:solidFill>
            </a:endParaRPr>
          </a:p>
        </p:txBody>
      </p:sp>
      <p:sp>
        <p:nvSpPr>
          <p:cNvPr id="104" name="Rectangle 103"/>
          <p:cNvSpPr/>
          <p:nvPr/>
        </p:nvSpPr>
        <p:spPr bwMode="gray">
          <a:xfrm>
            <a:off x="1920000" y="1408856"/>
            <a:ext cx="8354300" cy="497289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 name="Text Placeholder 4"/>
          <p:cNvSpPr>
            <a:spLocks noGrp="1"/>
          </p:cNvSpPr>
          <p:nvPr>
            <p:ph type="body" sz="quarter" idx="13"/>
          </p:nvPr>
        </p:nvSpPr>
        <p:spPr/>
        <p:txBody>
          <a:bodyPr/>
          <a:lstStyle/>
          <a:p>
            <a:r>
              <a:rPr lang="en-GB"/>
              <a:t>On solid background</a:t>
            </a:r>
            <a:endParaRPr lang="en-GB" dirty="0"/>
          </a:p>
        </p:txBody>
      </p:sp>
      <p:sp>
        <p:nvSpPr>
          <p:cNvPr id="3" name="Title 2"/>
          <p:cNvSpPr>
            <a:spLocks noGrp="1"/>
          </p:cNvSpPr>
          <p:nvPr>
            <p:ph type="title"/>
          </p:nvPr>
        </p:nvSpPr>
        <p:spPr/>
        <p:txBody>
          <a:bodyPr/>
          <a:lstStyle/>
          <a:p>
            <a:r>
              <a:rPr lang="en-US" altLang="ja-JP"/>
              <a:t>Connectors with honeycomb</a:t>
            </a:r>
            <a:endParaRPr lang="en-GB" dirty="0"/>
          </a:p>
        </p:txBody>
      </p:sp>
      <p:sp>
        <p:nvSpPr>
          <p:cNvPr id="55" name="Hexagon 54"/>
          <p:cNvSpPr/>
          <p:nvPr/>
        </p:nvSpPr>
        <p:spPr bwMode="gray">
          <a:xfrm>
            <a:off x="5555611" y="3157632"/>
            <a:ext cx="1087502" cy="937501"/>
          </a:xfrm>
          <a:prstGeom prst="hexagon">
            <a:avLst/>
          </a:prstGeom>
          <a:solidFill>
            <a:schemeClr val="accent5">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56" name="Hexagon 55"/>
          <p:cNvSpPr/>
          <p:nvPr/>
        </p:nvSpPr>
        <p:spPr bwMode="gray">
          <a:xfrm>
            <a:off x="5555611" y="2173772"/>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58" name="Hexagon 57"/>
          <p:cNvSpPr/>
          <p:nvPr/>
        </p:nvSpPr>
        <p:spPr bwMode="gray">
          <a:xfrm>
            <a:off x="5555611" y="4141493"/>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59" name="Hexagon 58"/>
          <p:cNvSpPr/>
          <p:nvPr/>
        </p:nvSpPr>
        <p:spPr bwMode="gray">
          <a:xfrm>
            <a:off x="6457054" y="364698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1" name="Hexagon 60"/>
          <p:cNvSpPr/>
          <p:nvPr/>
        </p:nvSpPr>
        <p:spPr bwMode="gray">
          <a:xfrm>
            <a:off x="6457054" y="2668278"/>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2" name="Hexagon 61"/>
          <p:cNvSpPr/>
          <p:nvPr/>
        </p:nvSpPr>
        <p:spPr bwMode="gray">
          <a:xfrm>
            <a:off x="4654168" y="3646987"/>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3" name="Hexagon 62"/>
          <p:cNvSpPr/>
          <p:nvPr/>
        </p:nvSpPr>
        <p:spPr bwMode="gray">
          <a:xfrm>
            <a:off x="4654168" y="2668278"/>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65" name="Rectangle 64"/>
          <p:cNvSpPr/>
          <p:nvPr/>
        </p:nvSpPr>
        <p:spPr>
          <a:xfrm>
            <a:off x="7947196" y="510012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67" name="Rectangle 66"/>
          <p:cNvSpPr/>
          <p:nvPr/>
        </p:nvSpPr>
        <p:spPr>
          <a:xfrm>
            <a:off x="7947196"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72" name="Rectangle 71"/>
          <p:cNvSpPr/>
          <p:nvPr/>
        </p:nvSpPr>
        <p:spPr>
          <a:xfrm>
            <a:off x="2235200" y="510012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73" name="Rectangle 72"/>
          <p:cNvSpPr/>
          <p:nvPr/>
        </p:nvSpPr>
        <p:spPr>
          <a:xfrm>
            <a:off x="2235200"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78" name="Rectangle 77"/>
          <p:cNvSpPr/>
          <p:nvPr/>
        </p:nvSpPr>
        <p:spPr>
          <a:xfrm>
            <a:off x="5967730" y="5695433"/>
            <a:ext cx="182880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79" name="Rectangle 78"/>
          <p:cNvSpPr/>
          <p:nvPr/>
        </p:nvSpPr>
        <p:spPr>
          <a:xfrm>
            <a:off x="5967730" y="5908974"/>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83" name="Rectangle 82"/>
          <p:cNvSpPr/>
          <p:nvPr/>
        </p:nvSpPr>
        <p:spPr>
          <a:xfrm>
            <a:off x="2235200" y="179306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85" name="Rectangle 84"/>
          <p:cNvSpPr/>
          <p:nvPr/>
        </p:nvSpPr>
        <p:spPr>
          <a:xfrm>
            <a:off x="2235200"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88" name="Rectangle 87"/>
          <p:cNvSpPr/>
          <p:nvPr/>
        </p:nvSpPr>
        <p:spPr>
          <a:xfrm>
            <a:off x="7947196" y="1793060"/>
            <a:ext cx="201168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90" name="Rectangle 89"/>
          <p:cNvSpPr/>
          <p:nvPr/>
        </p:nvSpPr>
        <p:spPr>
          <a:xfrm>
            <a:off x="7947196"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93" name="Rectangle 92"/>
          <p:cNvSpPr/>
          <p:nvPr/>
        </p:nvSpPr>
        <p:spPr>
          <a:xfrm>
            <a:off x="5967730" y="1200921"/>
            <a:ext cx="1828800" cy="153888"/>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endParaRPr lang="en-US" sz="800" dirty="0"/>
          </a:p>
        </p:txBody>
      </p:sp>
      <p:sp>
        <p:nvSpPr>
          <p:cNvPr id="94" name="Rectangle 93"/>
          <p:cNvSpPr/>
          <p:nvPr/>
        </p:nvSpPr>
        <p:spPr>
          <a:xfrm>
            <a:off x="5967730" y="1414462"/>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grpSp>
        <p:nvGrpSpPr>
          <p:cNvPr id="122" name="Group 510"/>
          <p:cNvGrpSpPr>
            <a:grpSpLocks noChangeAspect="1"/>
          </p:cNvGrpSpPr>
          <p:nvPr/>
        </p:nvGrpSpPr>
        <p:grpSpPr bwMode="auto">
          <a:xfrm>
            <a:off x="4835182" y="2765008"/>
            <a:ext cx="738305" cy="736140"/>
            <a:chOff x="4155" y="3088"/>
            <a:chExt cx="341" cy="340"/>
          </a:xfrm>
          <a:solidFill>
            <a:schemeClr val="tx1"/>
          </a:solidFill>
        </p:grpSpPr>
        <p:sp>
          <p:nvSpPr>
            <p:cNvPr id="123"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8" name="Group 325"/>
          <p:cNvGrpSpPr>
            <a:grpSpLocks noChangeAspect="1"/>
          </p:cNvGrpSpPr>
          <p:nvPr/>
        </p:nvGrpSpPr>
        <p:grpSpPr bwMode="auto">
          <a:xfrm>
            <a:off x="6645441" y="3746819"/>
            <a:ext cx="684623" cy="686636"/>
            <a:chOff x="5044" y="1157"/>
            <a:chExt cx="340" cy="341"/>
          </a:xfrm>
          <a:solidFill>
            <a:schemeClr val="tx1"/>
          </a:solidFill>
        </p:grpSpPr>
        <p:sp>
          <p:nvSpPr>
            <p:cNvPr id="129"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4" name="Group 932"/>
          <p:cNvGrpSpPr>
            <a:grpSpLocks noChangeAspect="1"/>
          </p:cNvGrpSpPr>
          <p:nvPr/>
        </p:nvGrpSpPr>
        <p:grpSpPr bwMode="auto">
          <a:xfrm>
            <a:off x="6654844" y="2777694"/>
            <a:ext cx="715774" cy="715774"/>
            <a:chOff x="5795" y="3560"/>
            <a:chExt cx="340" cy="340"/>
          </a:xfrm>
          <a:solidFill>
            <a:schemeClr val="tx1"/>
          </a:solidFill>
        </p:grpSpPr>
        <p:sp>
          <p:nvSpPr>
            <p:cNvPr id="135"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0" name="Group 669"/>
          <p:cNvGrpSpPr>
            <a:grpSpLocks noChangeAspect="1"/>
          </p:cNvGrpSpPr>
          <p:nvPr/>
        </p:nvGrpSpPr>
        <p:grpSpPr bwMode="auto">
          <a:xfrm>
            <a:off x="5703617" y="4225667"/>
            <a:ext cx="780311" cy="780311"/>
            <a:chOff x="1910" y="2326"/>
            <a:chExt cx="340" cy="340"/>
          </a:xfrm>
          <a:solidFill>
            <a:schemeClr val="tx1"/>
          </a:solidFill>
        </p:grpSpPr>
        <p:sp>
          <p:nvSpPr>
            <p:cNvPr id="141"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6" name="Group 986"/>
          <p:cNvGrpSpPr>
            <a:grpSpLocks noChangeAspect="1"/>
          </p:cNvGrpSpPr>
          <p:nvPr/>
        </p:nvGrpSpPr>
        <p:grpSpPr bwMode="auto">
          <a:xfrm>
            <a:off x="4869876" y="3762058"/>
            <a:ext cx="685798" cy="685798"/>
            <a:chOff x="4274" y="3998"/>
            <a:chExt cx="340" cy="340"/>
          </a:xfrm>
          <a:solidFill>
            <a:schemeClr val="tx1"/>
          </a:solidFill>
        </p:grpSpPr>
        <p:sp>
          <p:nvSpPr>
            <p:cNvPr id="147"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2" name="Group 519"/>
          <p:cNvGrpSpPr>
            <a:grpSpLocks noChangeAspect="1"/>
          </p:cNvGrpSpPr>
          <p:nvPr/>
        </p:nvGrpSpPr>
        <p:grpSpPr bwMode="auto">
          <a:xfrm>
            <a:off x="5754472" y="2317381"/>
            <a:ext cx="689055" cy="689055"/>
            <a:chOff x="4190" y="2983"/>
            <a:chExt cx="340" cy="340"/>
          </a:xfrm>
          <a:solidFill>
            <a:schemeClr val="tx1"/>
          </a:solidFill>
        </p:grpSpPr>
        <p:sp>
          <p:nvSpPr>
            <p:cNvPr id="153"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589159"/>
      </p:ext>
    </p:extLst>
  </p:cSld>
  <p:clrMapOvr>
    <a:masterClrMapping/>
  </p:clrMapOvr>
  <p:transition>
    <p:fade/>
  </p:transition>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42"/>
          <p:cNvSpPr/>
          <p:nvPr/>
        </p:nvSpPr>
        <p:spPr bwMode="gray">
          <a:xfrm flipH="1">
            <a:off x="7277386"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p>
        </p:txBody>
      </p:sp>
      <p:sp>
        <p:nvSpPr>
          <p:cNvPr id="44" name="Freeform 43"/>
          <p:cNvSpPr/>
          <p:nvPr/>
        </p:nvSpPr>
        <p:spPr bwMode="gray">
          <a:xfrm>
            <a:off x="2235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p>
        </p:txBody>
      </p:sp>
      <p:sp>
        <p:nvSpPr>
          <p:cNvPr id="49" name="Freeform 48"/>
          <p:cNvSpPr/>
          <p:nvPr/>
        </p:nvSpPr>
        <p:spPr bwMode="gray">
          <a:xfrm>
            <a:off x="5784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rgbClr val="BBBCBC"/>
            </a:solidFill>
            <a:miter lim="800000"/>
            <a:headEnd/>
            <a:tailEnd/>
          </a:ln>
        </p:spPr>
        <p:txBody>
          <a:bodyPr rtlCol="0" anchor="ctr"/>
          <a:lstStyle/>
          <a:p>
            <a:pPr algn="ctr"/>
            <a:endParaRPr lang="en-US"/>
          </a:p>
        </p:txBody>
      </p:sp>
      <p:sp>
        <p:nvSpPr>
          <p:cNvPr id="52" name="Freeform 51"/>
          <p:cNvSpPr/>
          <p:nvPr/>
        </p:nvSpPr>
        <p:spPr bwMode="gray">
          <a:xfrm flipV="1">
            <a:off x="2235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55" name="Freeform 54"/>
          <p:cNvSpPr/>
          <p:nvPr/>
        </p:nvSpPr>
        <p:spPr bwMode="gray">
          <a:xfrm flipH="1" flipV="1">
            <a:off x="7277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58" name="Freeform 57"/>
          <p:cNvSpPr/>
          <p:nvPr/>
        </p:nvSpPr>
        <p:spPr bwMode="gray">
          <a:xfrm flipV="1">
            <a:off x="5798705" y="1371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honeycomb</a:t>
            </a:r>
            <a:endParaRPr lang="en-US" dirty="0"/>
          </a:p>
        </p:txBody>
      </p:sp>
      <p:sp>
        <p:nvSpPr>
          <p:cNvPr id="24" name="Hexagon 23"/>
          <p:cNvSpPr/>
          <p:nvPr/>
        </p:nvSpPr>
        <p:spPr bwMode="gray">
          <a:xfrm>
            <a:off x="5555611" y="3157632"/>
            <a:ext cx="1087502" cy="937501"/>
          </a:xfrm>
          <a:prstGeom prst="hexag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25" name="Hexagon 24"/>
          <p:cNvSpPr/>
          <p:nvPr/>
        </p:nvSpPr>
        <p:spPr bwMode="gray">
          <a:xfrm>
            <a:off x="5555611" y="2173772"/>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36" name="Hexagon 35"/>
          <p:cNvSpPr/>
          <p:nvPr/>
        </p:nvSpPr>
        <p:spPr bwMode="gray">
          <a:xfrm>
            <a:off x="5555611" y="4141493"/>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6457054" y="3646987"/>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6457054" y="2668278"/>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4654168" y="3646987"/>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4654168" y="2668278"/>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1" name="Rectangle 40"/>
          <p:cNvSpPr/>
          <p:nvPr/>
        </p:nvSpPr>
        <p:spPr>
          <a:xfrm>
            <a:off x="7947196" y="5100120"/>
            <a:ext cx="2011680" cy="153888"/>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endParaRPr lang="en-US" sz="800" dirty="0">
              <a:solidFill>
                <a:schemeClr val="accent3"/>
              </a:solidFill>
            </a:endParaRPr>
          </a:p>
        </p:txBody>
      </p:sp>
      <p:sp>
        <p:nvSpPr>
          <p:cNvPr id="42" name="Rectangle 41"/>
          <p:cNvSpPr/>
          <p:nvPr/>
        </p:nvSpPr>
        <p:spPr>
          <a:xfrm>
            <a:off x="7947196"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5" name="Rectangle 44"/>
          <p:cNvSpPr/>
          <p:nvPr/>
        </p:nvSpPr>
        <p:spPr>
          <a:xfrm>
            <a:off x="2235200" y="5100120"/>
            <a:ext cx="2011680" cy="153888"/>
          </a:xfrm>
          <a:prstGeom prst="rect">
            <a:avLst/>
          </a:prstGeom>
        </p:spPr>
        <p:txBody>
          <a:bodyPr wrap="square" lIns="0" tIns="0" rIns="0" bIns="0">
            <a:spAutoFit/>
          </a:bodyPr>
          <a:lstStyle/>
          <a:p>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endParaRPr lang="en-US" sz="800" dirty="0">
              <a:solidFill>
                <a:schemeClr val="accent1"/>
              </a:solidFill>
            </a:endParaRPr>
          </a:p>
        </p:txBody>
      </p:sp>
      <p:sp>
        <p:nvSpPr>
          <p:cNvPr id="48" name="Rectangle 47"/>
          <p:cNvSpPr/>
          <p:nvPr/>
        </p:nvSpPr>
        <p:spPr>
          <a:xfrm>
            <a:off x="2235200" y="531366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0" name="Rectangle 49"/>
          <p:cNvSpPr/>
          <p:nvPr/>
        </p:nvSpPr>
        <p:spPr>
          <a:xfrm>
            <a:off x="5967730" y="5695433"/>
            <a:ext cx="1828800" cy="153888"/>
          </a:xfrm>
          <a:prstGeom prst="rect">
            <a:avLst/>
          </a:prstGeom>
        </p:spPr>
        <p:txBody>
          <a:bodyPr wrap="square" lIns="0" tIns="0" rIns="0" bIns="0">
            <a:spAutoFit/>
          </a:bodyPr>
          <a:lstStyle/>
          <a:p>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endParaRPr lang="en-US" sz="800" dirty="0">
              <a:solidFill>
                <a:schemeClr val="accent2"/>
              </a:solidFill>
            </a:endParaRPr>
          </a:p>
        </p:txBody>
      </p:sp>
      <p:sp>
        <p:nvSpPr>
          <p:cNvPr id="51" name="Rectangle 50"/>
          <p:cNvSpPr/>
          <p:nvPr/>
        </p:nvSpPr>
        <p:spPr>
          <a:xfrm>
            <a:off x="5967730" y="5908974"/>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3" name="Rectangle 52"/>
          <p:cNvSpPr/>
          <p:nvPr/>
        </p:nvSpPr>
        <p:spPr>
          <a:xfrm>
            <a:off x="2235200" y="1793060"/>
            <a:ext cx="2011680" cy="153888"/>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endParaRPr lang="en-US" sz="800" dirty="0">
              <a:solidFill>
                <a:schemeClr val="accent4"/>
              </a:solidFill>
            </a:endParaRPr>
          </a:p>
        </p:txBody>
      </p:sp>
      <p:sp>
        <p:nvSpPr>
          <p:cNvPr id="54" name="Rectangle 53"/>
          <p:cNvSpPr/>
          <p:nvPr/>
        </p:nvSpPr>
        <p:spPr>
          <a:xfrm>
            <a:off x="2235200"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6" name="Rectangle 55"/>
          <p:cNvSpPr/>
          <p:nvPr/>
        </p:nvSpPr>
        <p:spPr>
          <a:xfrm>
            <a:off x="7947196" y="1793060"/>
            <a:ext cx="2011680" cy="153888"/>
          </a:xfrm>
          <a:prstGeom prst="rect">
            <a:avLst/>
          </a:prstGeom>
        </p:spPr>
        <p:txBody>
          <a:bodyPr wrap="square" lIns="0" tIns="0" rIns="0" bIns="0">
            <a:spAutoFit/>
          </a:bodyPr>
          <a:lstStyle/>
          <a:p>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endParaRPr lang="en-US" sz="800" dirty="0">
              <a:solidFill>
                <a:schemeClr val="accent5"/>
              </a:solidFill>
            </a:endParaRPr>
          </a:p>
        </p:txBody>
      </p:sp>
      <p:sp>
        <p:nvSpPr>
          <p:cNvPr id="57" name="Rectangle 56"/>
          <p:cNvSpPr/>
          <p:nvPr/>
        </p:nvSpPr>
        <p:spPr>
          <a:xfrm>
            <a:off x="7947196" y="2006601"/>
            <a:ext cx="201168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59" name="Rectangle 58"/>
          <p:cNvSpPr/>
          <p:nvPr/>
        </p:nvSpPr>
        <p:spPr>
          <a:xfrm>
            <a:off x="5967730" y="1200921"/>
            <a:ext cx="1828800" cy="153888"/>
          </a:xfrm>
          <a:prstGeom prst="rect">
            <a:avLst/>
          </a:prstGeom>
        </p:spPr>
        <p:txBody>
          <a:bodyPr wrap="square" lIns="0" tIns="0" rIns="0" bIns="0">
            <a:spAutoFit/>
          </a:bodyPr>
          <a:lstStyle/>
          <a:p>
            <a:r>
              <a:rPr lang="en-US" sz="1000" b="1" dirty="0" err="1">
                <a:solidFill>
                  <a:schemeClr val="accent6"/>
                </a:solidFill>
              </a:rPr>
              <a:t>Lorem</a:t>
            </a:r>
            <a:r>
              <a:rPr lang="en-US" sz="1000" b="1" dirty="0">
                <a:solidFill>
                  <a:schemeClr val="accent6"/>
                </a:solidFill>
              </a:rPr>
              <a:t> </a:t>
            </a:r>
            <a:r>
              <a:rPr lang="en-US" sz="1000" b="1" dirty="0" err="1">
                <a:solidFill>
                  <a:schemeClr val="accent6"/>
                </a:solidFill>
              </a:rPr>
              <a:t>ipsum</a:t>
            </a:r>
            <a:endParaRPr lang="en-US" sz="800" dirty="0">
              <a:solidFill>
                <a:schemeClr val="accent6"/>
              </a:solidFill>
            </a:endParaRPr>
          </a:p>
        </p:txBody>
      </p:sp>
      <p:sp>
        <p:nvSpPr>
          <p:cNvPr id="68" name="Rectangle 67"/>
          <p:cNvSpPr/>
          <p:nvPr/>
        </p:nvSpPr>
        <p:spPr>
          <a:xfrm>
            <a:off x="5967730" y="1414462"/>
            <a:ext cx="1828800" cy="461665"/>
          </a:xfrm>
          <a:prstGeom prst="rect">
            <a:avLst/>
          </a:prstGeom>
        </p:spPr>
        <p:txBody>
          <a:bodyPr wrap="square" lIns="0" tIns="0" rIns="0" bIns="0">
            <a:spAutoFit/>
          </a:bodyPr>
          <a:lstStyle/>
          <a:p>
            <a:r>
              <a:rPr lang="en-US" sz="1000" dirty="0"/>
              <a:t>This is dummy text it is not here to be read. This is dummy text it is not here to be read.</a:t>
            </a:r>
          </a:p>
        </p:txBody>
      </p:sp>
      <p:grpSp>
        <p:nvGrpSpPr>
          <p:cNvPr id="47" name="Group 510"/>
          <p:cNvGrpSpPr>
            <a:grpSpLocks noChangeAspect="1"/>
          </p:cNvGrpSpPr>
          <p:nvPr/>
        </p:nvGrpSpPr>
        <p:grpSpPr bwMode="auto">
          <a:xfrm>
            <a:off x="4835182" y="2765008"/>
            <a:ext cx="738305" cy="736140"/>
            <a:chOff x="4155" y="3088"/>
            <a:chExt cx="341" cy="340"/>
          </a:xfrm>
          <a:solidFill>
            <a:schemeClr val="bg1"/>
          </a:solidFill>
        </p:grpSpPr>
        <p:sp>
          <p:nvSpPr>
            <p:cNvPr id="60"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325"/>
          <p:cNvGrpSpPr>
            <a:grpSpLocks noChangeAspect="1"/>
          </p:cNvGrpSpPr>
          <p:nvPr/>
        </p:nvGrpSpPr>
        <p:grpSpPr bwMode="auto">
          <a:xfrm>
            <a:off x="6645441" y="3746819"/>
            <a:ext cx="684623" cy="686636"/>
            <a:chOff x="5044" y="1157"/>
            <a:chExt cx="340" cy="341"/>
          </a:xfrm>
          <a:solidFill>
            <a:schemeClr val="bg1"/>
          </a:solidFill>
        </p:grpSpPr>
        <p:sp>
          <p:nvSpPr>
            <p:cNvPr id="63"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932"/>
          <p:cNvGrpSpPr>
            <a:grpSpLocks noChangeAspect="1"/>
          </p:cNvGrpSpPr>
          <p:nvPr/>
        </p:nvGrpSpPr>
        <p:grpSpPr bwMode="auto">
          <a:xfrm>
            <a:off x="6654844" y="2777694"/>
            <a:ext cx="715774" cy="715774"/>
            <a:chOff x="5795" y="3560"/>
            <a:chExt cx="340" cy="340"/>
          </a:xfrm>
          <a:solidFill>
            <a:schemeClr val="bg1"/>
          </a:solidFill>
        </p:grpSpPr>
        <p:sp>
          <p:nvSpPr>
            <p:cNvPr id="66"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669"/>
          <p:cNvGrpSpPr>
            <a:grpSpLocks noChangeAspect="1"/>
          </p:cNvGrpSpPr>
          <p:nvPr/>
        </p:nvGrpSpPr>
        <p:grpSpPr bwMode="auto">
          <a:xfrm>
            <a:off x="5703617" y="4225667"/>
            <a:ext cx="780311" cy="780311"/>
            <a:chOff x="1910" y="2326"/>
            <a:chExt cx="340" cy="340"/>
          </a:xfrm>
          <a:solidFill>
            <a:schemeClr val="bg1"/>
          </a:solidFill>
        </p:grpSpPr>
        <p:sp>
          <p:nvSpPr>
            <p:cNvPr id="79"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1" name="Group 986"/>
          <p:cNvGrpSpPr>
            <a:grpSpLocks noChangeAspect="1"/>
          </p:cNvGrpSpPr>
          <p:nvPr/>
        </p:nvGrpSpPr>
        <p:grpSpPr bwMode="auto">
          <a:xfrm>
            <a:off x="4869876" y="3762058"/>
            <a:ext cx="685798" cy="685798"/>
            <a:chOff x="4274" y="3998"/>
            <a:chExt cx="340" cy="340"/>
          </a:xfrm>
          <a:solidFill>
            <a:schemeClr val="bg1"/>
          </a:solidFill>
        </p:grpSpPr>
        <p:sp>
          <p:nvSpPr>
            <p:cNvPr id="82"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7" name="Group 519"/>
          <p:cNvGrpSpPr>
            <a:grpSpLocks noChangeAspect="1"/>
          </p:cNvGrpSpPr>
          <p:nvPr/>
        </p:nvGrpSpPr>
        <p:grpSpPr bwMode="auto">
          <a:xfrm>
            <a:off x="5754472" y="2317381"/>
            <a:ext cx="689055" cy="689055"/>
            <a:chOff x="4190" y="2983"/>
            <a:chExt cx="340" cy="340"/>
          </a:xfrm>
          <a:solidFill>
            <a:schemeClr val="bg1"/>
          </a:solidFill>
        </p:grpSpPr>
        <p:sp>
          <p:nvSpPr>
            <p:cNvPr id="88"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81813362"/>
      </p:ext>
    </p:extLst>
  </p:cSld>
  <p:clrMapOvr>
    <a:masterClrMapping/>
  </p:clrMapOvr>
  <p:transition>
    <p:fade/>
  </p:transition>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bubbles</a:t>
            </a:r>
            <a:endParaRPr lang="en-US" dirty="0"/>
          </a:p>
        </p:txBody>
      </p:sp>
      <p:sp>
        <p:nvSpPr>
          <p:cNvPr id="46" name="Freeform 45"/>
          <p:cNvSpPr/>
          <p:nvPr/>
        </p:nvSpPr>
        <p:spPr bwMode="gray">
          <a:xfrm>
            <a:off x="1908256" y="1548144"/>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7" name="Rectangle 46"/>
          <p:cNvSpPr/>
          <p:nvPr/>
        </p:nvSpPr>
        <p:spPr>
          <a:xfrm>
            <a:off x="1908255" y="1580937"/>
            <a:ext cx="1828800" cy="461665"/>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60" name="Rectangle 59"/>
          <p:cNvSpPr/>
          <p:nvPr/>
        </p:nvSpPr>
        <p:spPr>
          <a:xfrm>
            <a:off x="1908255" y="1377732"/>
            <a:ext cx="1828800" cy="153888"/>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endParaRPr lang="en-US" sz="800" dirty="0">
              <a:solidFill>
                <a:schemeClr val="accent3"/>
              </a:solidFill>
            </a:endParaRPr>
          </a:p>
        </p:txBody>
      </p:sp>
      <p:sp>
        <p:nvSpPr>
          <p:cNvPr id="61" name="Freeform 60"/>
          <p:cNvSpPr/>
          <p:nvPr/>
        </p:nvSpPr>
        <p:spPr bwMode="gray">
          <a:xfrm flipH="1">
            <a:off x="8035570" y="1711225"/>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62" name="Rectangle 61"/>
          <p:cNvSpPr/>
          <p:nvPr/>
        </p:nvSpPr>
        <p:spPr>
          <a:xfrm>
            <a:off x="8411800" y="1744018"/>
            <a:ext cx="1828800" cy="461665"/>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63" name="Rectangle 62"/>
          <p:cNvSpPr/>
          <p:nvPr/>
        </p:nvSpPr>
        <p:spPr>
          <a:xfrm>
            <a:off x="8411800" y="1540813"/>
            <a:ext cx="1828800" cy="153888"/>
          </a:xfrm>
          <a:prstGeom prst="rect">
            <a:avLst/>
          </a:prstGeom>
        </p:spPr>
        <p:txBody>
          <a:bodyPr wrap="square" lIns="0" tIns="0" rIns="0" bIns="0">
            <a:spAutoFit/>
          </a:bodyPr>
          <a:lstStyle/>
          <a:p>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endParaRPr lang="en-US" sz="800" dirty="0">
              <a:solidFill>
                <a:schemeClr val="accent1"/>
              </a:solidFill>
            </a:endParaRPr>
          </a:p>
        </p:txBody>
      </p:sp>
      <p:sp>
        <p:nvSpPr>
          <p:cNvPr id="64" name="Freeform 63"/>
          <p:cNvSpPr/>
          <p:nvPr/>
        </p:nvSpPr>
        <p:spPr bwMode="gray">
          <a:xfrm flipV="1">
            <a:off x="1908256" y="5145359"/>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65" name="Rectangle 64"/>
          <p:cNvSpPr/>
          <p:nvPr/>
        </p:nvSpPr>
        <p:spPr>
          <a:xfrm>
            <a:off x="1908255" y="5393813"/>
            <a:ext cx="1828800" cy="461665"/>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66" name="Rectangle 65"/>
          <p:cNvSpPr/>
          <p:nvPr/>
        </p:nvSpPr>
        <p:spPr>
          <a:xfrm>
            <a:off x="1908255" y="5190608"/>
            <a:ext cx="1828800" cy="153888"/>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endParaRPr lang="en-US" sz="800" dirty="0">
              <a:solidFill>
                <a:schemeClr val="accent4"/>
              </a:solidFill>
            </a:endParaRPr>
          </a:p>
        </p:txBody>
      </p:sp>
      <p:sp>
        <p:nvSpPr>
          <p:cNvPr id="67" name="Freeform 66"/>
          <p:cNvSpPr/>
          <p:nvPr/>
        </p:nvSpPr>
        <p:spPr bwMode="gray">
          <a:xfrm flipH="1" flipV="1">
            <a:off x="8043527" y="5534652"/>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78" name="Rectangle 77"/>
          <p:cNvSpPr/>
          <p:nvPr/>
        </p:nvSpPr>
        <p:spPr>
          <a:xfrm>
            <a:off x="8419757" y="5784148"/>
            <a:ext cx="1828800" cy="461665"/>
          </a:xfrm>
          <a:prstGeom prst="rect">
            <a:avLst/>
          </a:prstGeom>
        </p:spPr>
        <p:txBody>
          <a:bodyPr wrap="square" lIns="0" tIns="0" rIns="0" bIns="0">
            <a:spAutoFit/>
          </a:bodyPr>
          <a:lstStyle/>
          <a:p>
            <a:r>
              <a:rPr lang="en-US" sz="1000" dirty="0"/>
              <a:t>This is dummy text it is not here to be read. This is dummy text it is not here to be read. </a:t>
            </a:r>
          </a:p>
        </p:txBody>
      </p:sp>
      <p:sp>
        <p:nvSpPr>
          <p:cNvPr id="79" name="Rectangle 78"/>
          <p:cNvSpPr/>
          <p:nvPr/>
        </p:nvSpPr>
        <p:spPr>
          <a:xfrm>
            <a:off x="8419757" y="5580943"/>
            <a:ext cx="1828800" cy="153888"/>
          </a:xfrm>
          <a:prstGeom prst="rect">
            <a:avLst/>
          </a:prstGeom>
        </p:spPr>
        <p:txBody>
          <a:bodyPr wrap="square" lIns="0" tIns="0" rIns="0" bIns="0">
            <a:spAutoFit/>
          </a:bodyPr>
          <a:lstStyle/>
          <a:p>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endParaRPr lang="en-US" sz="800" dirty="0">
              <a:solidFill>
                <a:schemeClr val="accent5"/>
              </a:solidFill>
            </a:endParaRPr>
          </a:p>
        </p:txBody>
      </p:sp>
      <p:sp>
        <p:nvSpPr>
          <p:cNvPr id="80" name="Oval 79"/>
          <p:cNvSpPr/>
          <p:nvPr/>
        </p:nvSpPr>
        <p:spPr>
          <a:xfrm>
            <a:off x="6336334" y="1491660"/>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1" name="Oval 80"/>
          <p:cNvSpPr>
            <a:spLocks noChangeAspect="1"/>
          </p:cNvSpPr>
          <p:nvPr/>
        </p:nvSpPr>
        <p:spPr>
          <a:xfrm>
            <a:off x="6397474" y="1552800"/>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2" name="Oval 81"/>
          <p:cNvSpPr/>
          <p:nvPr/>
        </p:nvSpPr>
        <p:spPr>
          <a:xfrm>
            <a:off x="6275192" y="413694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Oval 82"/>
          <p:cNvSpPr>
            <a:spLocks noChangeAspect="1"/>
          </p:cNvSpPr>
          <p:nvPr/>
        </p:nvSpPr>
        <p:spPr>
          <a:xfrm>
            <a:off x="6336332" y="4198089"/>
            <a:ext cx="1783054" cy="178305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4" name="Oval 83"/>
          <p:cNvSpPr/>
          <p:nvPr/>
        </p:nvSpPr>
        <p:spPr>
          <a:xfrm>
            <a:off x="3551813" y="3401008"/>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5" name="Oval 84"/>
          <p:cNvSpPr>
            <a:spLocks noChangeAspect="1"/>
          </p:cNvSpPr>
          <p:nvPr/>
        </p:nvSpPr>
        <p:spPr>
          <a:xfrm>
            <a:off x="3612953" y="3462148"/>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6" name="Oval 85"/>
          <p:cNvSpPr/>
          <p:nvPr/>
        </p:nvSpPr>
        <p:spPr>
          <a:xfrm>
            <a:off x="4003859" y="1255571"/>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Oval 86"/>
          <p:cNvSpPr>
            <a:spLocks noChangeAspect="1"/>
          </p:cNvSpPr>
          <p:nvPr/>
        </p:nvSpPr>
        <p:spPr>
          <a:xfrm>
            <a:off x="4065000" y="131671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Oval 87"/>
          <p:cNvSpPr/>
          <p:nvPr/>
        </p:nvSpPr>
        <p:spPr>
          <a:xfrm>
            <a:off x="4569435" y="2152819"/>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Oval 88"/>
          <p:cNvSpPr>
            <a:spLocks noChangeAspect="1"/>
          </p:cNvSpPr>
          <p:nvPr/>
        </p:nvSpPr>
        <p:spPr>
          <a:xfrm>
            <a:off x="4667437" y="2250821"/>
            <a:ext cx="2858007" cy="2858007"/>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0" name="Rectangle 89"/>
          <p:cNvSpPr/>
          <p:nvPr/>
        </p:nvSpPr>
        <p:spPr>
          <a:xfrm>
            <a:off x="5169575" y="2910383"/>
            <a:ext cx="2007085" cy="1538883"/>
          </a:xfrm>
          <a:prstGeom prst="rect">
            <a:avLst/>
          </a:prstGeom>
        </p:spPr>
        <p:txBody>
          <a:bodyPr wrap="square" lIns="0" tIns="0" rIns="0" bIns="0" anchor="ctr" anchorCtr="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This is dummy text it is not here to be read. This is dummy text it is not here to be read. </a:t>
            </a:r>
          </a:p>
        </p:txBody>
      </p:sp>
      <p:grpSp>
        <p:nvGrpSpPr>
          <p:cNvPr id="105" name="Group 262"/>
          <p:cNvGrpSpPr>
            <a:grpSpLocks noChangeAspect="1"/>
          </p:cNvGrpSpPr>
          <p:nvPr/>
        </p:nvGrpSpPr>
        <p:grpSpPr bwMode="auto">
          <a:xfrm>
            <a:off x="4509478" y="1620348"/>
            <a:ext cx="688044" cy="688042"/>
            <a:chOff x="5792" y="779"/>
            <a:chExt cx="340" cy="340"/>
          </a:xfrm>
          <a:solidFill>
            <a:schemeClr val="bg1"/>
          </a:solidFill>
        </p:grpSpPr>
        <p:sp>
          <p:nvSpPr>
            <p:cNvPr id="106" name="Freeform 263"/>
            <p:cNvSpPr>
              <a:spLocks noEditPoints="1"/>
            </p:cNvSpPr>
            <p:nvPr/>
          </p:nvSpPr>
          <p:spPr bwMode="auto">
            <a:xfrm>
              <a:off x="5870" y="843"/>
              <a:ext cx="184" cy="212"/>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264"/>
            <p:cNvSpPr>
              <a:spLocks noEditPoints="1"/>
            </p:cNvSpPr>
            <p:nvPr/>
          </p:nvSpPr>
          <p:spPr bwMode="auto">
            <a:xfrm>
              <a:off x="5792" y="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8" name="Group 1038"/>
          <p:cNvGrpSpPr>
            <a:grpSpLocks noChangeAspect="1"/>
          </p:cNvGrpSpPr>
          <p:nvPr/>
        </p:nvGrpSpPr>
        <p:grpSpPr bwMode="auto">
          <a:xfrm>
            <a:off x="7191895" y="1842764"/>
            <a:ext cx="708758" cy="708758"/>
            <a:chOff x="394" y="3989"/>
            <a:chExt cx="340" cy="340"/>
          </a:xfrm>
          <a:solidFill>
            <a:schemeClr val="bg1"/>
          </a:solidFill>
        </p:grpSpPr>
        <p:sp>
          <p:nvSpPr>
            <p:cNvPr id="109" name="Freeform 1039"/>
            <p:cNvSpPr>
              <a:spLocks noEditPoints="1"/>
            </p:cNvSpPr>
            <p:nvPr/>
          </p:nvSpPr>
          <p:spPr bwMode="auto">
            <a:xfrm>
              <a:off x="394" y="39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1040"/>
            <p:cNvSpPr>
              <a:spLocks noEditPoints="1"/>
            </p:cNvSpPr>
            <p:nvPr/>
          </p:nvSpPr>
          <p:spPr bwMode="auto">
            <a:xfrm>
              <a:off x="471" y="4053"/>
              <a:ext cx="185" cy="201"/>
            </a:xfrm>
            <a:custGeom>
              <a:avLst/>
              <a:gdLst>
                <a:gd name="T0" fmla="*/ 265 w 279"/>
                <a:gd name="T1" fmla="*/ 301 h 303"/>
                <a:gd name="T2" fmla="*/ 225 w 279"/>
                <a:gd name="T3" fmla="*/ 302 h 303"/>
                <a:gd name="T4" fmla="*/ 172 w 279"/>
                <a:gd name="T5" fmla="*/ 302 h 303"/>
                <a:gd name="T6" fmla="*/ 140 w 279"/>
                <a:gd name="T7" fmla="*/ 292 h 303"/>
                <a:gd name="T8" fmla="*/ 87 w 279"/>
                <a:gd name="T9" fmla="*/ 292 h 303"/>
                <a:gd name="T10" fmla="*/ 34 w 279"/>
                <a:gd name="T11" fmla="*/ 292 h 303"/>
                <a:gd name="T12" fmla="*/ 1 w 279"/>
                <a:gd name="T13" fmla="*/ 293 h 303"/>
                <a:gd name="T14" fmla="*/ 24 w 279"/>
                <a:gd name="T15" fmla="*/ 271 h 303"/>
                <a:gd name="T16" fmla="*/ 41 w 279"/>
                <a:gd name="T17" fmla="*/ 269 h 303"/>
                <a:gd name="T18" fmla="*/ 77 w 279"/>
                <a:gd name="T19" fmla="*/ 271 h 303"/>
                <a:gd name="T20" fmla="*/ 94 w 279"/>
                <a:gd name="T21" fmla="*/ 269 h 303"/>
                <a:gd name="T22" fmla="*/ 131 w 279"/>
                <a:gd name="T23" fmla="*/ 271 h 303"/>
                <a:gd name="T24" fmla="*/ 147 w 279"/>
                <a:gd name="T25" fmla="*/ 269 h 303"/>
                <a:gd name="T26" fmla="*/ 184 w 279"/>
                <a:gd name="T27" fmla="*/ 271 h 303"/>
                <a:gd name="T28" fmla="*/ 201 w 279"/>
                <a:gd name="T29" fmla="*/ 269 h 303"/>
                <a:gd name="T30" fmla="*/ 238 w 279"/>
                <a:gd name="T31" fmla="*/ 271 h 303"/>
                <a:gd name="T32" fmla="*/ 254 w 279"/>
                <a:gd name="T33" fmla="*/ 269 h 303"/>
                <a:gd name="T34" fmla="*/ 278 w 279"/>
                <a:gd name="T35" fmla="*/ 293 h 303"/>
                <a:gd name="T36" fmla="*/ 20 w 279"/>
                <a:gd name="T37" fmla="*/ 149 h 303"/>
                <a:gd name="T38" fmla="*/ 65 w 279"/>
                <a:gd name="T39" fmla="*/ 51 h 303"/>
                <a:gd name="T40" fmla="*/ 97 w 279"/>
                <a:gd name="T41" fmla="*/ 42 h 303"/>
                <a:gd name="T42" fmla="*/ 108 w 279"/>
                <a:gd name="T43" fmla="*/ 0 h 303"/>
                <a:gd name="T44" fmla="*/ 182 w 279"/>
                <a:gd name="T45" fmla="*/ 10 h 303"/>
                <a:gd name="T46" fmla="*/ 204 w 279"/>
                <a:gd name="T47" fmla="*/ 42 h 303"/>
                <a:gd name="T48" fmla="*/ 234 w 279"/>
                <a:gd name="T49" fmla="*/ 142 h 303"/>
                <a:gd name="T50" fmla="*/ 267 w 279"/>
                <a:gd name="T51" fmla="*/ 162 h 303"/>
                <a:gd name="T52" fmla="*/ 236 w 279"/>
                <a:gd name="T53" fmla="*/ 256 h 303"/>
                <a:gd name="T54" fmla="*/ 225 w 279"/>
                <a:gd name="T55" fmla="*/ 242 h 303"/>
                <a:gd name="T56" fmla="*/ 150 w 279"/>
                <a:gd name="T57" fmla="*/ 142 h 303"/>
                <a:gd name="T58" fmla="*/ 140 w 279"/>
                <a:gd name="T59" fmla="*/ 245 h 303"/>
                <a:gd name="T60" fmla="*/ 129 w 279"/>
                <a:gd name="T61" fmla="*/ 142 h 303"/>
                <a:gd name="T62" fmla="*/ 54 w 279"/>
                <a:gd name="T63" fmla="*/ 242 h 303"/>
                <a:gd name="T64" fmla="*/ 33 w 279"/>
                <a:gd name="T65" fmla="*/ 248 h 303"/>
                <a:gd name="T66" fmla="*/ 118 w 279"/>
                <a:gd name="T67" fmla="*/ 42 h 303"/>
                <a:gd name="T68" fmla="*/ 161 w 279"/>
                <a:gd name="T69" fmla="*/ 21 h 303"/>
                <a:gd name="T70" fmla="*/ 118 w 279"/>
                <a:gd name="T71" fmla="*/ 42 h 303"/>
                <a:gd name="T72" fmla="*/ 137 w 279"/>
                <a:gd name="T73" fmla="*/ 117 h 303"/>
                <a:gd name="T74" fmla="*/ 211 w 279"/>
                <a:gd name="T75" fmla="*/ 136 h 303"/>
                <a:gd name="T76" fmla="*/ 84 w 279"/>
                <a:gd name="T77" fmla="*/ 6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03">
                  <a:moveTo>
                    <a:pt x="278" y="293"/>
                  </a:moveTo>
                  <a:cubicBezTo>
                    <a:pt x="277" y="299"/>
                    <a:pt x="271" y="302"/>
                    <a:pt x="265" y="301"/>
                  </a:cubicBezTo>
                  <a:cubicBezTo>
                    <a:pt x="259" y="299"/>
                    <a:pt x="253" y="296"/>
                    <a:pt x="247" y="292"/>
                  </a:cubicBezTo>
                  <a:cubicBezTo>
                    <a:pt x="242" y="296"/>
                    <a:pt x="234" y="301"/>
                    <a:pt x="225" y="302"/>
                  </a:cubicBezTo>
                  <a:cubicBezTo>
                    <a:pt x="214" y="303"/>
                    <a:pt x="204" y="299"/>
                    <a:pt x="194" y="292"/>
                  </a:cubicBezTo>
                  <a:cubicBezTo>
                    <a:pt x="189" y="296"/>
                    <a:pt x="181" y="301"/>
                    <a:pt x="172" y="302"/>
                  </a:cubicBezTo>
                  <a:cubicBezTo>
                    <a:pt x="170" y="302"/>
                    <a:pt x="169" y="302"/>
                    <a:pt x="168" y="302"/>
                  </a:cubicBezTo>
                  <a:cubicBezTo>
                    <a:pt x="159" y="302"/>
                    <a:pt x="149" y="299"/>
                    <a:pt x="140" y="292"/>
                  </a:cubicBezTo>
                  <a:cubicBezTo>
                    <a:pt x="135" y="296"/>
                    <a:pt x="128" y="301"/>
                    <a:pt x="118" y="302"/>
                  </a:cubicBezTo>
                  <a:cubicBezTo>
                    <a:pt x="108" y="303"/>
                    <a:pt x="97" y="299"/>
                    <a:pt x="87" y="292"/>
                  </a:cubicBezTo>
                  <a:cubicBezTo>
                    <a:pt x="82" y="296"/>
                    <a:pt x="75" y="301"/>
                    <a:pt x="65" y="302"/>
                  </a:cubicBezTo>
                  <a:cubicBezTo>
                    <a:pt x="54" y="303"/>
                    <a:pt x="44" y="300"/>
                    <a:pt x="34" y="292"/>
                  </a:cubicBezTo>
                  <a:cubicBezTo>
                    <a:pt x="29" y="296"/>
                    <a:pt x="22" y="300"/>
                    <a:pt x="13" y="302"/>
                  </a:cubicBezTo>
                  <a:cubicBezTo>
                    <a:pt x="7" y="302"/>
                    <a:pt x="2" y="298"/>
                    <a:pt x="1" y="293"/>
                  </a:cubicBezTo>
                  <a:cubicBezTo>
                    <a:pt x="0" y="287"/>
                    <a:pt x="4" y="281"/>
                    <a:pt x="10" y="280"/>
                  </a:cubicBezTo>
                  <a:cubicBezTo>
                    <a:pt x="18" y="279"/>
                    <a:pt x="24" y="271"/>
                    <a:pt x="24" y="271"/>
                  </a:cubicBezTo>
                  <a:cubicBezTo>
                    <a:pt x="26" y="268"/>
                    <a:pt x="29" y="267"/>
                    <a:pt x="32" y="266"/>
                  </a:cubicBezTo>
                  <a:cubicBezTo>
                    <a:pt x="35" y="266"/>
                    <a:pt x="38" y="267"/>
                    <a:pt x="41" y="269"/>
                  </a:cubicBezTo>
                  <a:cubicBezTo>
                    <a:pt x="49" y="277"/>
                    <a:pt x="56" y="281"/>
                    <a:pt x="63" y="281"/>
                  </a:cubicBezTo>
                  <a:cubicBezTo>
                    <a:pt x="71" y="280"/>
                    <a:pt x="77" y="271"/>
                    <a:pt x="77" y="271"/>
                  </a:cubicBezTo>
                  <a:cubicBezTo>
                    <a:pt x="79" y="268"/>
                    <a:pt x="82" y="267"/>
                    <a:pt x="85" y="266"/>
                  </a:cubicBezTo>
                  <a:cubicBezTo>
                    <a:pt x="89" y="266"/>
                    <a:pt x="92" y="267"/>
                    <a:pt x="94" y="269"/>
                  </a:cubicBezTo>
                  <a:cubicBezTo>
                    <a:pt x="102" y="277"/>
                    <a:pt x="109" y="281"/>
                    <a:pt x="116" y="281"/>
                  </a:cubicBezTo>
                  <a:cubicBezTo>
                    <a:pt x="125" y="280"/>
                    <a:pt x="131" y="271"/>
                    <a:pt x="131" y="271"/>
                  </a:cubicBezTo>
                  <a:cubicBezTo>
                    <a:pt x="133" y="268"/>
                    <a:pt x="136" y="267"/>
                    <a:pt x="139" y="266"/>
                  </a:cubicBezTo>
                  <a:cubicBezTo>
                    <a:pt x="142" y="266"/>
                    <a:pt x="145" y="267"/>
                    <a:pt x="147" y="269"/>
                  </a:cubicBezTo>
                  <a:cubicBezTo>
                    <a:pt x="155" y="277"/>
                    <a:pt x="163" y="281"/>
                    <a:pt x="169" y="281"/>
                  </a:cubicBezTo>
                  <a:cubicBezTo>
                    <a:pt x="178" y="280"/>
                    <a:pt x="184" y="271"/>
                    <a:pt x="184" y="271"/>
                  </a:cubicBezTo>
                  <a:cubicBezTo>
                    <a:pt x="186" y="268"/>
                    <a:pt x="189" y="267"/>
                    <a:pt x="192" y="266"/>
                  </a:cubicBezTo>
                  <a:cubicBezTo>
                    <a:pt x="195" y="266"/>
                    <a:pt x="198" y="267"/>
                    <a:pt x="201" y="269"/>
                  </a:cubicBezTo>
                  <a:cubicBezTo>
                    <a:pt x="208" y="277"/>
                    <a:pt x="216" y="281"/>
                    <a:pt x="222" y="280"/>
                  </a:cubicBezTo>
                  <a:cubicBezTo>
                    <a:pt x="231" y="280"/>
                    <a:pt x="237" y="271"/>
                    <a:pt x="238" y="271"/>
                  </a:cubicBezTo>
                  <a:cubicBezTo>
                    <a:pt x="239" y="268"/>
                    <a:pt x="242" y="267"/>
                    <a:pt x="245" y="266"/>
                  </a:cubicBezTo>
                  <a:cubicBezTo>
                    <a:pt x="248" y="266"/>
                    <a:pt x="252" y="267"/>
                    <a:pt x="254" y="269"/>
                  </a:cubicBezTo>
                  <a:cubicBezTo>
                    <a:pt x="260" y="275"/>
                    <a:pt x="265" y="279"/>
                    <a:pt x="270" y="280"/>
                  </a:cubicBezTo>
                  <a:cubicBezTo>
                    <a:pt x="276" y="281"/>
                    <a:pt x="279" y="287"/>
                    <a:pt x="278" y="293"/>
                  </a:cubicBezTo>
                  <a:close/>
                  <a:moveTo>
                    <a:pt x="12" y="162"/>
                  </a:moveTo>
                  <a:cubicBezTo>
                    <a:pt x="11" y="157"/>
                    <a:pt x="14" y="151"/>
                    <a:pt x="20" y="149"/>
                  </a:cubicBezTo>
                  <a:cubicBezTo>
                    <a:pt x="45" y="142"/>
                    <a:pt x="45" y="142"/>
                    <a:pt x="45" y="142"/>
                  </a:cubicBezTo>
                  <a:cubicBezTo>
                    <a:pt x="65" y="51"/>
                    <a:pt x="65" y="51"/>
                    <a:pt x="65" y="51"/>
                  </a:cubicBezTo>
                  <a:cubicBezTo>
                    <a:pt x="66" y="46"/>
                    <a:pt x="71" y="42"/>
                    <a:pt x="76" y="42"/>
                  </a:cubicBezTo>
                  <a:cubicBezTo>
                    <a:pt x="97" y="42"/>
                    <a:pt x="97" y="42"/>
                    <a:pt x="97" y="42"/>
                  </a:cubicBezTo>
                  <a:cubicBezTo>
                    <a:pt x="97" y="10"/>
                    <a:pt x="97" y="10"/>
                    <a:pt x="97" y="10"/>
                  </a:cubicBezTo>
                  <a:cubicBezTo>
                    <a:pt x="97" y="4"/>
                    <a:pt x="102" y="0"/>
                    <a:pt x="108" y="0"/>
                  </a:cubicBezTo>
                  <a:cubicBezTo>
                    <a:pt x="172" y="0"/>
                    <a:pt x="172" y="0"/>
                    <a:pt x="172" y="0"/>
                  </a:cubicBezTo>
                  <a:cubicBezTo>
                    <a:pt x="178" y="0"/>
                    <a:pt x="182" y="4"/>
                    <a:pt x="182" y="10"/>
                  </a:cubicBezTo>
                  <a:cubicBezTo>
                    <a:pt x="182" y="42"/>
                    <a:pt x="182" y="42"/>
                    <a:pt x="182" y="42"/>
                  </a:cubicBezTo>
                  <a:cubicBezTo>
                    <a:pt x="204" y="42"/>
                    <a:pt x="204" y="42"/>
                    <a:pt x="204" y="42"/>
                  </a:cubicBezTo>
                  <a:cubicBezTo>
                    <a:pt x="209" y="42"/>
                    <a:pt x="213" y="46"/>
                    <a:pt x="214" y="51"/>
                  </a:cubicBezTo>
                  <a:cubicBezTo>
                    <a:pt x="234" y="142"/>
                    <a:pt x="234" y="142"/>
                    <a:pt x="234" y="142"/>
                  </a:cubicBezTo>
                  <a:cubicBezTo>
                    <a:pt x="260" y="149"/>
                    <a:pt x="260" y="149"/>
                    <a:pt x="260" y="149"/>
                  </a:cubicBezTo>
                  <a:cubicBezTo>
                    <a:pt x="265" y="151"/>
                    <a:pt x="269" y="157"/>
                    <a:pt x="267" y="162"/>
                  </a:cubicBezTo>
                  <a:cubicBezTo>
                    <a:pt x="246" y="248"/>
                    <a:pt x="246" y="248"/>
                    <a:pt x="246" y="248"/>
                  </a:cubicBezTo>
                  <a:cubicBezTo>
                    <a:pt x="245" y="252"/>
                    <a:pt x="240" y="256"/>
                    <a:pt x="236" y="256"/>
                  </a:cubicBezTo>
                  <a:cubicBezTo>
                    <a:pt x="235" y="256"/>
                    <a:pt x="234" y="256"/>
                    <a:pt x="233" y="255"/>
                  </a:cubicBezTo>
                  <a:cubicBezTo>
                    <a:pt x="227" y="254"/>
                    <a:pt x="224" y="248"/>
                    <a:pt x="225" y="242"/>
                  </a:cubicBezTo>
                  <a:cubicBezTo>
                    <a:pt x="244" y="167"/>
                    <a:pt x="244" y="167"/>
                    <a:pt x="244" y="167"/>
                  </a:cubicBezTo>
                  <a:cubicBezTo>
                    <a:pt x="150" y="142"/>
                    <a:pt x="150" y="142"/>
                    <a:pt x="150" y="142"/>
                  </a:cubicBezTo>
                  <a:cubicBezTo>
                    <a:pt x="150" y="234"/>
                    <a:pt x="150" y="234"/>
                    <a:pt x="150" y="234"/>
                  </a:cubicBezTo>
                  <a:cubicBezTo>
                    <a:pt x="150" y="240"/>
                    <a:pt x="146" y="245"/>
                    <a:pt x="140" y="245"/>
                  </a:cubicBezTo>
                  <a:cubicBezTo>
                    <a:pt x="134" y="245"/>
                    <a:pt x="129" y="240"/>
                    <a:pt x="129" y="234"/>
                  </a:cubicBezTo>
                  <a:cubicBezTo>
                    <a:pt x="129" y="142"/>
                    <a:pt x="129" y="142"/>
                    <a:pt x="129" y="142"/>
                  </a:cubicBezTo>
                  <a:cubicBezTo>
                    <a:pt x="35" y="167"/>
                    <a:pt x="35" y="167"/>
                    <a:pt x="35" y="167"/>
                  </a:cubicBezTo>
                  <a:cubicBezTo>
                    <a:pt x="54" y="242"/>
                    <a:pt x="54" y="242"/>
                    <a:pt x="54" y="242"/>
                  </a:cubicBezTo>
                  <a:cubicBezTo>
                    <a:pt x="55" y="248"/>
                    <a:pt x="52" y="254"/>
                    <a:pt x="46" y="255"/>
                  </a:cubicBezTo>
                  <a:cubicBezTo>
                    <a:pt x="41" y="257"/>
                    <a:pt x="35" y="253"/>
                    <a:pt x="33" y="248"/>
                  </a:cubicBezTo>
                  <a:lnTo>
                    <a:pt x="12" y="162"/>
                  </a:lnTo>
                  <a:close/>
                  <a:moveTo>
                    <a:pt x="118" y="42"/>
                  </a:moveTo>
                  <a:cubicBezTo>
                    <a:pt x="161" y="42"/>
                    <a:pt x="161" y="42"/>
                    <a:pt x="161" y="42"/>
                  </a:cubicBezTo>
                  <a:cubicBezTo>
                    <a:pt x="161" y="21"/>
                    <a:pt x="161" y="21"/>
                    <a:pt x="161" y="21"/>
                  </a:cubicBezTo>
                  <a:cubicBezTo>
                    <a:pt x="118" y="21"/>
                    <a:pt x="118" y="21"/>
                    <a:pt x="118" y="21"/>
                  </a:cubicBezTo>
                  <a:lnTo>
                    <a:pt x="118" y="42"/>
                  </a:lnTo>
                  <a:close/>
                  <a:moveTo>
                    <a:pt x="69" y="136"/>
                  </a:moveTo>
                  <a:cubicBezTo>
                    <a:pt x="137" y="117"/>
                    <a:pt x="137" y="117"/>
                    <a:pt x="137" y="117"/>
                  </a:cubicBezTo>
                  <a:cubicBezTo>
                    <a:pt x="139" y="117"/>
                    <a:pt x="141" y="117"/>
                    <a:pt x="142" y="117"/>
                  </a:cubicBezTo>
                  <a:cubicBezTo>
                    <a:pt x="211" y="136"/>
                    <a:pt x="211" y="136"/>
                    <a:pt x="211" y="136"/>
                  </a:cubicBezTo>
                  <a:cubicBezTo>
                    <a:pt x="195" y="64"/>
                    <a:pt x="195" y="64"/>
                    <a:pt x="195" y="64"/>
                  </a:cubicBezTo>
                  <a:cubicBezTo>
                    <a:pt x="84" y="64"/>
                    <a:pt x="84" y="64"/>
                    <a:pt x="84" y="64"/>
                  </a:cubicBezTo>
                  <a:lnTo>
                    <a:pt x="69"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516"/>
          <p:cNvGrpSpPr>
            <a:grpSpLocks noChangeAspect="1"/>
          </p:cNvGrpSpPr>
          <p:nvPr/>
        </p:nvGrpSpPr>
        <p:grpSpPr bwMode="auto">
          <a:xfrm>
            <a:off x="7062883" y="4963465"/>
            <a:ext cx="712448" cy="712448"/>
            <a:chOff x="5807" y="1879"/>
            <a:chExt cx="340" cy="340"/>
          </a:xfrm>
          <a:solidFill>
            <a:schemeClr val="bg1"/>
          </a:solidFill>
        </p:grpSpPr>
        <p:sp>
          <p:nvSpPr>
            <p:cNvPr id="112" name="Freeform 517"/>
            <p:cNvSpPr>
              <a:spLocks noEditPoints="1"/>
            </p:cNvSpPr>
            <p:nvPr/>
          </p:nvSpPr>
          <p:spPr bwMode="auto">
            <a:xfrm>
              <a:off x="5807" y="18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518"/>
            <p:cNvSpPr>
              <a:spLocks noEditPoints="1"/>
            </p:cNvSpPr>
            <p:nvPr/>
          </p:nvSpPr>
          <p:spPr bwMode="auto">
            <a:xfrm>
              <a:off x="5956" y="1971"/>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2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5"/>
                    <a:pt x="0" y="32"/>
                  </a:cubicBezTo>
                  <a:cubicBezTo>
                    <a:pt x="0" y="50"/>
                    <a:pt x="14" y="64"/>
                    <a:pt x="32" y="64"/>
                  </a:cubicBezTo>
                  <a:cubicBezTo>
                    <a:pt x="49" y="64"/>
                    <a:pt x="64" y="50"/>
                    <a:pt x="64" y="32"/>
                  </a:cubicBezTo>
                  <a:cubicBezTo>
                    <a:pt x="64" y="15"/>
                    <a:pt x="49" y="0"/>
                    <a:pt x="32" y="0"/>
                  </a:cubicBezTo>
                  <a:close/>
                  <a:moveTo>
                    <a:pt x="32" y="43"/>
                  </a:moveTo>
                  <a:cubicBezTo>
                    <a:pt x="26" y="43"/>
                    <a:pt x="21" y="38"/>
                    <a:pt x="21" y="32"/>
                  </a:cubicBezTo>
                  <a:cubicBezTo>
                    <a:pt x="21" y="26"/>
                    <a:pt x="26" y="22"/>
                    <a:pt x="32" y="22"/>
                  </a:cubicBezTo>
                  <a:cubicBezTo>
                    <a:pt x="38" y="22"/>
                    <a:pt x="42" y="26"/>
                    <a:pt x="42" y="32"/>
                  </a:cubicBezTo>
                  <a:cubicBezTo>
                    <a:pt x="42" y="38"/>
                    <a:pt x="38" y="43"/>
                    <a:pt x="3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519"/>
            <p:cNvSpPr>
              <a:spLocks noEditPoints="1"/>
            </p:cNvSpPr>
            <p:nvPr/>
          </p:nvSpPr>
          <p:spPr bwMode="auto">
            <a:xfrm>
              <a:off x="5956" y="2028"/>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520"/>
            <p:cNvSpPr>
              <a:spLocks noEditPoints="1"/>
            </p:cNvSpPr>
            <p:nvPr/>
          </p:nvSpPr>
          <p:spPr bwMode="auto">
            <a:xfrm>
              <a:off x="5956" y="2084"/>
              <a:ext cx="42" cy="4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1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50"/>
                    <a:pt x="14" y="64"/>
                    <a:pt x="32" y="64"/>
                  </a:cubicBezTo>
                  <a:cubicBezTo>
                    <a:pt x="49" y="64"/>
                    <a:pt x="64" y="50"/>
                    <a:pt x="64" y="32"/>
                  </a:cubicBezTo>
                  <a:cubicBezTo>
                    <a:pt x="64" y="14"/>
                    <a:pt x="49" y="0"/>
                    <a:pt x="32" y="0"/>
                  </a:cubicBezTo>
                  <a:close/>
                  <a:moveTo>
                    <a:pt x="32" y="43"/>
                  </a:moveTo>
                  <a:cubicBezTo>
                    <a:pt x="26" y="43"/>
                    <a:pt x="21" y="38"/>
                    <a:pt x="21" y="32"/>
                  </a:cubicBezTo>
                  <a:cubicBezTo>
                    <a:pt x="21" y="26"/>
                    <a:pt x="26" y="21"/>
                    <a:pt x="32" y="21"/>
                  </a:cubicBezTo>
                  <a:cubicBezTo>
                    <a:pt x="38" y="21"/>
                    <a:pt x="42" y="26"/>
                    <a:pt x="42" y="32"/>
                  </a:cubicBezTo>
                  <a:cubicBezTo>
                    <a:pt x="42" y="38"/>
                    <a:pt x="38" y="43"/>
                    <a:pt x="3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521"/>
            <p:cNvSpPr>
              <a:spLocks noEditPoints="1"/>
            </p:cNvSpPr>
            <p:nvPr/>
          </p:nvSpPr>
          <p:spPr bwMode="auto">
            <a:xfrm>
              <a:off x="5892" y="1943"/>
              <a:ext cx="170" cy="212"/>
            </a:xfrm>
            <a:custGeom>
              <a:avLst/>
              <a:gdLst>
                <a:gd name="T0" fmla="*/ 256 w 256"/>
                <a:gd name="T1" fmla="*/ 128 h 320"/>
                <a:gd name="T2" fmla="*/ 245 w 256"/>
                <a:gd name="T3" fmla="*/ 117 h 320"/>
                <a:gd name="T4" fmla="*/ 202 w 256"/>
                <a:gd name="T5" fmla="*/ 117 h 320"/>
                <a:gd name="T6" fmla="*/ 202 w 256"/>
                <a:gd name="T7" fmla="*/ 95 h 320"/>
                <a:gd name="T8" fmla="*/ 256 w 256"/>
                <a:gd name="T9" fmla="*/ 32 h 320"/>
                <a:gd name="T10" fmla="*/ 245 w 256"/>
                <a:gd name="T11" fmla="*/ 21 h 320"/>
                <a:gd name="T12" fmla="*/ 196 w 256"/>
                <a:gd name="T13" fmla="*/ 21 h 320"/>
                <a:gd name="T14" fmla="*/ 160 w 256"/>
                <a:gd name="T15" fmla="*/ 0 h 320"/>
                <a:gd name="T16" fmla="*/ 96 w 256"/>
                <a:gd name="T17" fmla="*/ 0 h 320"/>
                <a:gd name="T18" fmla="*/ 59 w 256"/>
                <a:gd name="T19" fmla="*/ 21 h 320"/>
                <a:gd name="T20" fmla="*/ 10 w 256"/>
                <a:gd name="T21" fmla="*/ 21 h 320"/>
                <a:gd name="T22" fmla="*/ 0 w 256"/>
                <a:gd name="T23" fmla="*/ 32 h 320"/>
                <a:gd name="T24" fmla="*/ 53 w 256"/>
                <a:gd name="T25" fmla="*/ 95 h 320"/>
                <a:gd name="T26" fmla="*/ 53 w 256"/>
                <a:gd name="T27" fmla="*/ 117 h 320"/>
                <a:gd name="T28" fmla="*/ 10 w 256"/>
                <a:gd name="T29" fmla="*/ 117 h 320"/>
                <a:gd name="T30" fmla="*/ 0 w 256"/>
                <a:gd name="T31" fmla="*/ 128 h 320"/>
                <a:gd name="T32" fmla="*/ 53 w 256"/>
                <a:gd name="T33" fmla="*/ 191 h 320"/>
                <a:gd name="T34" fmla="*/ 53 w 256"/>
                <a:gd name="T35" fmla="*/ 213 h 320"/>
                <a:gd name="T36" fmla="*/ 10 w 256"/>
                <a:gd name="T37" fmla="*/ 213 h 320"/>
                <a:gd name="T38" fmla="*/ 0 w 256"/>
                <a:gd name="T39" fmla="*/ 224 h 320"/>
                <a:gd name="T40" fmla="*/ 54 w 256"/>
                <a:gd name="T41" fmla="*/ 287 h 320"/>
                <a:gd name="T42" fmla="*/ 96 w 256"/>
                <a:gd name="T43" fmla="*/ 320 h 320"/>
                <a:gd name="T44" fmla="*/ 160 w 256"/>
                <a:gd name="T45" fmla="*/ 320 h 320"/>
                <a:gd name="T46" fmla="*/ 201 w 256"/>
                <a:gd name="T47" fmla="*/ 287 h 320"/>
                <a:gd name="T48" fmla="*/ 256 w 256"/>
                <a:gd name="T49" fmla="*/ 224 h 320"/>
                <a:gd name="T50" fmla="*/ 245 w 256"/>
                <a:gd name="T51" fmla="*/ 213 h 320"/>
                <a:gd name="T52" fmla="*/ 202 w 256"/>
                <a:gd name="T53" fmla="*/ 213 h 320"/>
                <a:gd name="T54" fmla="*/ 202 w 256"/>
                <a:gd name="T55" fmla="*/ 191 h 320"/>
                <a:gd name="T56" fmla="*/ 256 w 256"/>
                <a:gd name="T57" fmla="*/ 128 h 320"/>
                <a:gd name="T58" fmla="*/ 233 w 256"/>
                <a:gd name="T59" fmla="*/ 138 h 320"/>
                <a:gd name="T60" fmla="*/ 202 w 256"/>
                <a:gd name="T61" fmla="*/ 169 h 320"/>
                <a:gd name="T62" fmla="*/ 202 w 256"/>
                <a:gd name="T63" fmla="*/ 138 h 320"/>
                <a:gd name="T64" fmla="*/ 233 w 256"/>
                <a:gd name="T65" fmla="*/ 138 h 320"/>
                <a:gd name="T66" fmla="*/ 233 w 256"/>
                <a:gd name="T67" fmla="*/ 42 h 320"/>
                <a:gd name="T68" fmla="*/ 202 w 256"/>
                <a:gd name="T69" fmla="*/ 73 h 320"/>
                <a:gd name="T70" fmla="*/ 202 w 256"/>
                <a:gd name="T71" fmla="*/ 42 h 320"/>
                <a:gd name="T72" fmla="*/ 233 w 256"/>
                <a:gd name="T73" fmla="*/ 42 h 320"/>
                <a:gd name="T74" fmla="*/ 22 w 256"/>
                <a:gd name="T75" fmla="*/ 42 h 320"/>
                <a:gd name="T76" fmla="*/ 53 w 256"/>
                <a:gd name="T77" fmla="*/ 42 h 320"/>
                <a:gd name="T78" fmla="*/ 53 w 256"/>
                <a:gd name="T79" fmla="*/ 73 h 320"/>
                <a:gd name="T80" fmla="*/ 22 w 256"/>
                <a:gd name="T81" fmla="*/ 42 h 320"/>
                <a:gd name="T82" fmla="*/ 22 w 256"/>
                <a:gd name="T83" fmla="*/ 138 h 320"/>
                <a:gd name="T84" fmla="*/ 53 w 256"/>
                <a:gd name="T85" fmla="*/ 138 h 320"/>
                <a:gd name="T86" fmla="*/ 53 w 256"/>
                <a:gd name="T87" fmla="*/ 169 h 320"/>
                <a:gd name="T88" fmla="*/ 22 w 256"/>
                <a:gd name="T89" fmla="*/ 138 h 320"/>
                <a:gd name="T90" fmla="*/ 22 w 256"/>
                <a:gd name="T91" fmla="*/ 234 h 320"/>
                <a:gd name="T92" fmla="*/ 53 w 256"/>
                <a:gd name="T93" fmla="*/ 234 h 320"/>
                <a:gd name="T94" fmla="*/ 53 w 256"/>
                <a:gd name="T95" fmla="*/ 265 h 320"/>
                <a:gd name="T96" fmla="*/ 22 w 256"/>
                <a:gd name="T97" fmla="*/ 234 h 320"/>
                <a:gd name="T98" fmla="*/ 181 w 256"/>
                <a:gd name="T99" fmla="*/ 277 h 320"/>
                <a:gd name="T100" fmla="*/ 160 w 256"/>
                <a:gd name="T101" fmla="*/ 298 h 320"/>
                <a:gd name="T102" fmla="*/ 96 w 256"/>
                <a:gd name="T103" fmla="*/ 298 h 320"/>
                <a:gd name="T104" fmla="*/ 74 w 256"/>
                <a:gd name="T105" fmla="*/ 277 h 320"/>
                <a:gd name="T106" fmla="*/ 74 w 256"/>
                <a:gd name="T107" fmla="*/ 42 h 320"/>
                <a:gd name="T108" fmla="*/ 96 w 256"/>
                <a:gd name="T109" fmla="*/ 21 h 320"/>
                <a:gd name="T110" fmla="*/ 160 w 256"/>
                <a:gd name="T111" fmla="*/ 21 h 320"/>
                <a:gd name="T112" fmla="*/ 181 w 256"/>
                <a:gd name="T113" fmla="*/ 42 h 320"/>
                <a:gd name="T114" fmla="*/ 181 w 256"/>
                <a:gd name="T115" fmla="*/ 277 h 320"/>
                <a:gd name="T116" fmla="*/ 233 w 256"/>
                <a:gd name="T117" fmla="*/ 234 h 320"/>
                <a:gd name="T118" fmla="*/ 202 w 256"/>
                <a:gd name="T119" fmla="*/ 265 h 320"/>
                <a:gd name="T120" fmla="*/ 202 w 256"/>
                <a:gd name="T121" fmla="*/ 234 h 320"/>
                <a:gd name="T122" fmla="*/ 233 w 256"/>
                <a:gd name="T123"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256" y="128"/>
                  </a:moveTo>
                  <a:cubicBezTo>
                    <a:pt x="256" y="122"/>
                    <a:pt x="251" y="117"/>
                    <a:pt x="245" y="117"/>
                  </a:cubicBezTo>
                  <a:cubicBezTo>
                    <a:pt x="202" y="117"/>
                    <a:pt x="202" y="117"/>
                    <a:pt x="202" y="117"/>
                  </a:cubicBezTo>
                  <a:cubicBezTo>
                    <a:pt x="202" y="95"/>
                    <a:pt x="202" y="95"/>
                    <a:pt x="202" y="95"/>
                  </a:cubicBezTo>
                  <a:cubicBezTo>
                    <a:pt x="244" y="89"/>
                    <a:pt x="256" y="52"/>
                    <a:pt x="256" y="32"/>
                  </a:cubicBezTo>
                  <a:cubicBezTo>
                    <a:pt x="256" y="26"/>
                    <a:pt x="251" y="21"/>
                    <a:pt x="245" y="21"/>
                  </a:cubicBezTo>
                  <a:cubicBezTo>
                    <a:pt x="196" y="21"/>
                    <a:pt x="196" y="21"/>
                    <a:pt x="196" y="21"/>
                  </a:cubicBezTo>
                  <a:cubicBezTo>
                    <a:pt x="189" y="8"/>
                    <a:pt x="175" y="0"/>
                    <a:pt x="160" y="0"/>
                  </a:cubicBezTo>
                  <a:cubicBezTo>
                    <a:pt x="96" y="0"/>
                    <a:pt x="96" y="0"/>
                    <a:pt x="96" y="0"/>
                  </a:cubicBezTo>
                  <a:cubicBezTo>
                    <a:pt x="80" y="0"/>
                    <a:pt x="66" y="8"/>
                    <a:pt x="59" y="21"/>
                  </a:cubicBezTo>
                  <a:cubicBezTo>
                    <a:pt x="10" y="21"/>
                    <a:pt x="10" y="21"/>
                    <a:pt x="10" y="21"/>
                  </a:cubicBezTo>
                  <a:cubicBezTo>
                    <a:pt x="4" y="21"/>
                    <a:pt x="0" y="26"/>
                    <a:pt x="0" y="32"/>
                  </a:cubicBezTo>
                  <a:cubicBezTo>
                    <a:pt x="0" y="52"/>
                    <a:pt x="11" y="89"/>
                    <a:pt x="53" y="95"/>
                  </a:cubicBezTo>
                  <a:cubicBezTo>
                    <a:pt x="53" y="117"/>
                    <a:pt x="53" y="117"/>
                    <a:pt x="53" y="117"/>
                  </a:cubicBezTo>
                  <a:cubicBezTo>
                    <a:pt x="10" y="117"/>
                    <a:pt x="10" y="117"/>
                    <a:pt x="10" y="117"/>
                  </a:cubicBezTo>
                  <a:cubicBezTo>
                    <a:pt x="4" y="117"/>
                    <a:pt x="0" y="122"/>
                    <a:pt x="0" y="128"/>
                  </a:cubicBezTo>
                  <a:cubicBezTo>
                    <a:pt x="0" y="148"/>
                    <a:pt x="11" y="185"/>
                    <a:pt x="53" y="191"/>
                  </a:cubicBezTo>
                  <a:cubicBezTo>
                    <a:pt x="53" y="213"/>
                    <a:pt x="53" y="213"/>
                    <a:pt x="53" y="213"/>
                  </a:cubicBezTo>
                  <a:cubicBezTo>
                    <a:pt x="10" y="213"/>
                    <a:pt x="10" y="213"/>
                    <a:pt x="10" y="213"/>
                  </a:cubicBezTo>
                  <a:cubicBezTo>
                    <a:pt x="4" y="213"/>
                    <a:pt x="0" y="218"/>
                    <a:pt x="0" y="224"/>
                  </a:cubicBezTo>
                  <a:cubicBezTo>
                    <a:pt x="0" y="244"/>
                    <a:pt x="11" y="282"/>
                    <a:pt x="54" y="287"/>
                  </a:cubicBezTo>
                  <a:cubicBezTo>
                    <a:pt x="59" y="306"/>
                    <a:pt x="76" y="320"/>
                    <a:pt x="96" y="320"/>
                  </a:cubicBezTo>
                  <a:cubicBezTo>
                    <a:pt x="160" y="320"/>
                    <a:pt x="160" y="320"/>
                    <a:pt x="160" y="320"/>
                  </a:cubicBezTo>
                  <a:cubicBezTo>
                    <a:pt x="180" y="320"/>
                    <a:pt x="196" y="306"/>
                    <a:pt x="201" y="287"/>
                  </a:cubicBezTo>
                  <a:cubicBezTo>
                    <a:pt x="244" y="282"/>
                    <a:pt x="256" y="244"/>
                    <a:pt x="256" y="224"/>
                  </a:cubicBezTo>
                  <a:cubicBezTo>
                    <a:pt x="256" y="218"/>
                    <a:pt x="251" y="213"/>
                    <a:pt x="245" y="213"/>
                  </a:cubicBezTo>
                  <a:cubicBezTo>
                    <a:pt x="202" y="213"/>
                    <a:pt x="202" y="213"/>
                    <a:pt x="202" y="213"/>
                  </a:cubicBezTo>
                  <a:cubicBezTo>
                    <a:pt x="202" y="191"/>
                    <a:pt x="202" y="191"/>
                    <a:pt x="202" y="191"/>
                  </a:cubicBezTo>
                  <a:cubicBezTo>
                    <a:pt x="244" y="185"/>
                    <a:pt x="256" y="148"/>
                    <a:pt x="256" y="128"/>
                  </a:cubicBezTo>
                  <a:close/>
                  <a:moveTo>
                    <a:pt x="233" y="138"/>
                  </a:moveTo>
                  <a:cubicBezTo>
                    <a:pt x="230" y="149"/>
                    <a:pt x="223" y="165"/>
                    <a:pt x="202" y="169"/>
                  </a:cubicBezTo>
                  <a:cubicBezTo>
                    <a:pt x="202" y="138"/>
                    <a:pt x="202" y="138"/>
                    <a:pt x="202" y="138"/>
                  </a:cubicBezTo>
                  <a:lnTo>
                    <a:pt x="233" y="138"/>
                  </a:lnTo>
                  <a:close/>
                  <a:moveTo>
                    <a:pt x="233" y="42"/>
                  </a:moveTo>
                  <a:cubicBezTo>
                    <a:pt x="230" y="53"/>
                    <a:pt x="223" y="69"/>
                    <a:pt x="202" y="73"/>
                  </a:cubicBezTo>
                  <a:cubicBezTo>
                    <a:pt x="202" y="42"/>
                    <a:pt x="202" y="42"/>
                    <a:pt x="202" y="42"/>
                  </a:cubicBezTo>
                  <a:lnTo>
                    <a:pt x="233" y="42"/>
                  </a:lnTo>
                  <a:close/>
                  <a:moveTo>
                    <a:pt x="22" y="42"/>
                  </a:moveTo>
                  <a:cubicBezTo>
                    <a:pt x="53" y="42"/>
                    <a:pt x="53" y="42"/>
                    <a:pt x="53" y="42"/>
                  </a:cubicBezTo>
                  <a:cubicBezTo>
                    <a:pt x="53" y="73"/>
                    <a:pt x="53" y="73"/>
                    <a:pt x="53" y="73"/>
                  </a:cubicBezTo>
                  <a:cubicBezTo>
                    <a:pt x="32" y="69"/>
                    <a:pt x="25" y="53"/>
                    <a:pt x="22" y="42"/>
                  </a:cubicBezTo>
                  <a:close/>
                  <a:moveTo>
                    <a:pt x="22" y="138"/>
                  </a:moveTo>
                  <a:cubicBezTo>
                    <a:pt x="53" y="138"/>
                    <a:pt x="53" y="138"/>
                    <a:pt x="53" y="138"/>
                  </a:cubicBezTo>
                  <a:cubicBezTo>
                    <a:pt x="53" y="169"/>
                    <a:pt x="53" y="169"/>
                    <a:pt x="53" y="169"/>
                  </a:cubicBezTo>
                  <a:cubicBezTo>
                    <a:pt x="32" y="165"/>
                    <a:pt x="25" y="149"/>
                    <a:pt x="22" y="138"/>
                  </a:cubicBezTo>
                  <a:close/>
                  <a:moveTo>
                    <a:pt x="22" y="234"/>
                  </a:moveTo>
                  <a:cubicBezTo>
                    <a:pt x="53" y="234"/>
                    <a:pt x="53" y="234"/>
                    <a:pt x="53" y="234"/>
                  </a:cubicBezTo>
                  <a:cubicBezTo>
                    <a:pt x="53" y="265"/>
                    <a:pt x="53" y="265"/>
                    <a:pt x="53" y="265"/>
                  </a:cubicBezTo>
                  <a:cubicBezTo>
                    <a:pt x="32" y="261"/>
                    <a:pt x="25" y="245"/>
                    <a:pt x="22" y="234"/>
                  </a:cubicBezTo>
                  <a:close/>
                  <a:moveTo>
                    <a:pt x="181" y="277"/>
                  </a:moveTo>
                  <a:cubicBezTo>
                    <a:pt x="181" y="289"/>
                    <a:pt x="171" y="298"/>
                    <a:pt x="160" y="298"/>
                  </a:cubicBezTo>
                  <a:cubicBezTo>
                    <a:pt x="96" y="298"/>
                    <a:pt x="96" y="298"/>
                    <a:pt x="96" y="298"/>
                  </a:cubicBezTo>
                  <a:cubicBezTo>
                    <a:pt x="84" y="298"/>
                    <a:pt x="74" y="289"/>
                    <a:pt x="74" y="277"/>
                  </a:cubicBezTo>
                  <a:cubicBezTo>
                    <a:pt x="74" y="42"/>
                    <a:pt x="74" y="42"/>
                    <a:pt x="74" y="42"/>
                  </a:cubicBezTo>
                  <a:cubicBezTo>
                    <a:pt x="74" y="31"/>
                    <a:pt x="84" y="21"/>
                    <a:pt x="96" y="21"/>
                  </a:cubicBezTo>
                  <a:cubicBezTo>
                    <a:pt x="160" y="21"/>
                    <a:pt x="160" y="21"/>
                    <a:pt x="160" y="21"/>
                  </a:cubicBezTo>
                  <a:cubicBezTo>
                    <a:pt x="171" y="21"/>
                    <a:pt x="181" y="31"/>
                    <a:pt x="181" y="42"/>
                  </a:cubicBezTo>
                  <a:lnTo>
                    <a:pt x="181" y="277"/>
                  </a:lnTo>
                  <a:close/>
                  <a:moveTo>
                    <a:pt x="233" y="234"/>
                  </a:moveTo>
                  <a:cubicBezTo>
                    <a:pt x="230" y="245"/>
                    <a:pt x="223" y="261"/>
                    <a:pt x="202" y="265"/>
                  </a:cubicBezTo>
                  <a:cubicBezTo>
                    <a:pt x="202" y="234"/>
                    <a:pt x="202" y="234"/>
                    <a:pt x="202" y="234"/>
                  </a:cubicBezTo>
                  <a:lnTo>
                    <a:pt x="233"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7" name="Group 309"/>
          <p:cNvGrpSpPr>
            <a:grpSpLocks noChangeAspect="1"/>
          </p:cNvGrpSpPr>
          <p:nvPr/>
        </p:nvGrpSpPr>
        <p:grpSpPr bwMode="auto">
          <a:xfrm>
            <a:off x="3878905" y="4178037"/>
            <a:ext cx="674756" cy="672778"/>
            <a:chOff x="6585" y="1193"/>
            <a:chExt cx="341" cy="340"/>
          </a:xfrm>
          <a:solidFill>
            <a:schemeClr val="bg1"/>
          </a:solidFill>
        </p:grpSpPr>
        <p:sp>
          <p:nvSpPr>
            <p:cNvPr id="11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19109337"/>
      </p:ext>
    </p:extLst>
  </p:cSld>
  <p:clrMapOvr>
    <a:masterClrMapping/>
  </p:clrMapOvr>
  <p:transition>
    <p:fade/>
  </p:transition>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puzzle pieces</a:t>
            </a:r>
            <a:endParaRPr lang="en-US" dirty="0"/>
          </a:p>
        </p:txBody>
      </p:sp>
      <p:sp>
        <p:nvSpPr>
          <p:cNvPr id="34" name="Oval 155"/>
          <p:cNvSpPr/>
          <p:nvPr/>
        </p:nvSpPr>
        <p:spPr>
          <a:xfrm rot="2700000">
            <a:off x="5629978"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5" name="Oval 155"/>
          <p:cNvSpPr/>
          <p:nvPr/>
        </p:nvSpPr>
        <p:spPr>
          <a:xfrm rot="18900000">
            <a:off x="6495804"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bg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Oval 155"/>
          <p:cNvSpPr/>
          <p:nvPr/>
        </p:nvSpPr>
        <p:spPr>
          <a:xfrm rot="18900000">
            <a:off x="4764129" y="2699920"/>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Rectangle 140"/>
          <p:cNvSpPr/>
          <p:nvPr/>
        </p:nvSpPr>
        <p:spPr>
          <a:xfrm rot="2700000">
            <a:off x="5629954" y="3565744"/>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Rectangle 37"/>
          <p:cNvSpPr/>
          <p:nvPr/>
        </p:nvSpPr>
        <p:spPr>
          <a:xfrm>
            <a:off x="8696411" y="1765890"/>
            <a:ext cx="1606464" cy="615553"/>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br>
              <a:rPr lang="en-US" sz="1000" b="1" dirty="0"/>
            </a:br>
            <a:r>
              <a:rPr lang="en-US" sz="1000" dirty="0"/>
              <a:t>This is dummy text it is not here to be read this is dummy text it is not here to be read. </a:t>
            </a:r>
          </a:p>
        </p:txBody>
      </p:sp>
      <p:sp>
        <p:nvSpPr>
          <p:cNvPr id="39" name="Rectangle 38"/>
          <p:cNvSpPr/>
          <p:nvPr/>
        </p:nvSpPr>
        <p:spPr>
          <a:xfrm>
            <a:off x="8696411" y="5273015"/>
            <a:ext cx="1606464" cy="615553"/>
          </a:xfrm>
          <a:prstGeom prst="rect">
            <a:avLst/>
          </a:prstGeom>
        </p:spPr>
        <p:txBody>
          <a:bodyPr wrap="square" lIns="0" tIns="0" rIns="0" bIns="0">
            <a:spAutoFit/>
          </a:bodyPr>
          <a:lstStyle/>
          <a:p>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a:t>
            </a:r>
          </a:p>
        </p:txBody>
      </p:sp>
      <p:sp>
        <p:nvSpPr>
          <p:cNvPr id="40" name="Rectangle 39"/>
          <p:cNvSpPr/>
          <p:nvPr/>
        </p:nvSpPr>
        <p:spPr>
          <a:xfrm>
            <a:off x="1882431" y="1765890"/>
            <a:ext cx="1606464" cy="615553"/>
          </a:xfrm>
          <a:prstGeom prst="rect">
            <a:avLst/>
          </a:prstGeom>
        </p:spPr>
        <p:txBody>
          <a:bodyPr wrap="square" lIns="0" tIns="0" rIns="0" bIns="0">
            <a:spAutoFit/>
          </a:bodyPr>
          <a:lstStyle/>
          <a:p>
            <a:pPr algn="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 </a:t>
            </a:r>
          </a:p>
        </p:txBody>
      </p:sp>
      <p:sp>
        <p:nvSpPr>
          <p:cNvPr id="41" name="Rectangle 40"/>
          <p:cNvSpPr/>
          <p:nvPr/>
        </p:nvSpPr>
        <p:spPr>
          <a:xfrm>
            <a:off x="1882431" y="5358740"/>
            <a:ext cx="1606464" cy="615553"/>
          </a:xfrm>
          <a:prstGeom prst="rect">
            <a:avLst/>
          </a:prstGeom>
        </p:spPr>
        <p:txBody>
          <a:bodyPr wrap="square" lIns="0" tIns="0" rIns="0" bIns="0">
            <a:spAutoFit/>
          </a:bodyPr>
          <a:lstStyle/>
          <a:p>
            <a:pPr algn="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is is dummy text it is not here to be read. </a:t>
            </a:r>
          </a:p>
        </p:txBody>
      </p:sp>
      <p:sp>
        <p:nvSpPr>
          <p:cNvPr id="42" name="Freeform 41"/>
          <p:cNvSpPr/>
          <p:nvPr/>
        </p:nvSpPr>
        <p:spPr bwMode="gray">
          <a:xfrm flipH="1">
            <a:off x="6438900" y="1855961"/>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3" name="Freeform 42"/>
          <p:cNvSpPr/>
          <p:nvPr/>
        </p:nvSpPr>
        <p:spPr bwMode="gray">
          <a:xfrm>
            <a:off x="3597245" y="1855961"/>
            <a:ext cx="1575303"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4" name="Freeform 43"/>
          <p:cNvSpPr/>
          <p:nvPr/>
        </p:nvSpPr>
        <p:spPr bwMode="gray">
          <a:xfrm rot="10800000">
            <a:off x="7324724" y="4485891"/>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5" name="Freeform 44"/>
          <p:cNvSpPr/>
          <p:nvPr/>
        </p:nvSpPr>
        <p:spPr bwMode="gray">
          <a:xfrm rot="16200000">
            <a:off x="4169205" y="4020418"/>
            <a:ext cx="528931" cy="21109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9" name="Freeform 16"/>
          <p:cNvSpPr>
            <a:spLocks noChangeAspect="1"/>
          </p:cNvSpPr>
          <p:nvPr/>
        </p:nvSpPr>
        <p:spPr bwMode="auto">
          <a:xfrm rot="18900000">
            <a:off x="3706389" y="2036253"/>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31"/>
          <p:cNvSpPr>
            <a:spLocks noChangeAspect="1" noEditPoints="1"/>
          </p:cNvSpPr>
          <p:nvPr/>
        </p:nvSpPr>
        <p:spPr bwMode="auto">
          <a:xfrm>
            <a:off x="8098982" y="2079707"/>
            <a:ext cx="30695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62"/>
          <p:cNvSpPr>
            <a:spLocks noChangeAspect="1" noEditPoints="1"/>
          </p:cNvSpPr>
          <p:nvPr/>
        </p:nvSpPr>
        <p:spPr bwMode="auto">
          <a:xfrm>
            <a:off x="8045335" y="5564647"/>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5" name="Group 54"/>
          <p:cNvGrpSpPr/>
          <p:nvPr/>
        </p:nvGrpSpPr>
        <p:grpSpPr>
          <a:xfrm>
            <a:off x="3691524" y="5542671"/>
            <a:ext cx="483327" cy="466148"/>
            <a:chOff x="2185477" y="5525527"/>
            <a:chExt cx="523177" cy="504582"/>
          </a:xfrm>
        </p:grpSpPr>
        <p:sp>
          <p:nvSpPr>
            <p:cNvPr id="56"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0" name="Group 137"/>
          <p:cNvGrpSpPr>
            <a:grpSpLocks noChangeAspect="1"/>
          </p:cNvGrpSpPr>
          <p:nvPr/>
        </p:nvGrpSpPr>
        <p:grpSpPr bwMode="auto">
          <a:xfrm>
            <a:off x="3590440" y="1934062"/>
            <a:ext cx="706366" cy="706366"/>
            <a:chOff x="4032" y="1187"/>
            <a:chExt cx="340" cy="340"/>
          </a:xfrm>
          <a:solidFill>
            <a:schemeClr val="bg2">
              <a:lumMod val="75000"/>
            </a:schemeClr>
          </a:solidFill>
        </p:grpSpPr>
        <p:sp>
          <p:nvSpPr>
            <p:cNvPr id="71" name="Freeform 138"/>
            <p:cNvSpPr>
              <a:spLocks noEditPoints="1"/>
            </p:cNvSpPr>
            <p:nvPr/>
          </p:nvSpPr>
          <p:spPr bwMode="auto">
            <a:xfrm>
              <a:off x="4032" y="11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39"/>
            <p:cNvSpPr>
              <a:spLocks noEditPoints="1"/>
            </p:cNvSpPr>
            <p:nvPr/>
          </p:nvSpPr>
          <p:spPr bwMode="auto">
            <a:xfrm>
              <a:off x="4117" y="1251"/>
              <a:ext cx="163" cy="212"/>
            </a:xfrm>
            <a:custGeom>
              <a:avLst/>
              <a:gdLst>
                <a:gd name="T0" fmla="*/ 234 w 245"/>
                <a:gd name="T1" fmla="*/ 10 h 320"/>
                <a:gd name="T2" fmla="*/ 192 w 245"/>
                <a:gd name="T3" fmla="*/ 10 h 320"/>
                <a:gd name="T4" fmla="*/ 181 w 245"/>
                <a:gd name="T5" fmla="*/ 21 h 320"/>
                <a:gd name="T6" fmla="*/ 181 w 245"/>
                <a:gd name="T7" fmla="*/ 32 h 320"/>
                <a:gd name="T8" fmla="*/ 149 w 245"/>
                <a:gd name="T9" fmla="*/ 32 h 320"/>
                <a:gd name="T10" fmla="*/ 149 w 245"/>
                <a:gd name="T11" fmla="*/ 10 h 320"/>
                <a:gd name="T12" fmla="*/ 138 w 245"/>
                <a:gd name="T13" fmla="*/ 0 h 320"/>
                <a:gd name="T14" fmla="*/ 96 w 245"/>
                <a:gd name="T15" fmla="*/ 0 h 320"/>
                <a:gd name="T16" fmla="*/ 85 w 245"/>
                <a:gd name="T17" fmla="*/ 10 h 320"/>
                <a:gd name="T18" fmla="*/ 85 w 245"/>
                <a:gd name="T19" fmla="*/ 32 h 320"/>
                <a:gd name="T20" fmla="*/ 64 w 245"/>
                <a:gd name="T21" fmla="*/ 32 h 320"/>
                <a:gd name="T22" fmla="*/ 53 w 245"/>
                <a:gd name="T23" fmla="*/ 42 h 320"/>
                <a:gd name="T24" fmla="*/ 49 w 245"/>
                <a:gd name="T25" fmla="*/ 53 h 320"/>
                <a:gd name="T26" fmla="*/ 10 w 245"/>
                <a:gd name="T27" fmla="*/ 64 h 320"/>
                <a:gd name="T28" fmla="*/ 3 w 245"/>
                <a:gd name="T29" fmla="*/ 67 h 320"/>
                <a:gd name="T30" fmla="*/ 0 w 245"/>
                <a:gd name="T31" fmla="*/ 74 h 320"/>
                <a:gd name="T32" fmla="*/ 0 w 245"/>
                <a:gd name="T33" fmla="*/ 106 h 320"/>
                <a:gd name="T34" fmla="*/ 10 w 245"/>
                <a:gd name="T35" fmla="*/ 117 h 320"/>
                <a:gd name="T36" fmla="*/ 85 w 245"/>
                <a:gd name="T37" fmla="*/ 117 h 320"/>
                <a:gd name="T38" fmla="*/ 85 w 245"/>
                <a:gd name="T39" fmla="*/ 309 h 320"/>
                <a:gd name="T40" fmla="*/ 96 w 245"/>
                <a:gd name="T41" fmla="*/ 320 h 320"/>
                <a:gd name="T42" fmla="*/ 138 w 245"/>
                <a:gd name="T43" fmla="*/ 320 h 320"/>
                <a:gd name="T44" fmla="*/ 149 w 245"/>
                <a:gd name="T45" fmla="*/ 309 h 320"/>
                <a:gd name="T46" fmla="*/ 149 w 245"/>
                <a:gd name="T47" fmla="*/ 117 h 320"/>
                <a:gd name="T48" fmla="*/ 181 w 245"/>
                <a:gd name="T49" fmla="*/ 117 h 320"/>
                <a:gd name="T50" fmla="*/ 181 w 245"/>
                <a:gd name="T51" fmla="*/ 128 h 320"/>
                <a:gd name="T52" fmla="*/ 192 w 245"/>
                <a:gd name="T53" fmla="*/ 138 h 320"/>
                <a:gd name="T54" fmla="*/ 234 w 245"/>
                <a:gd name="T55" fmla="*/ 138 h 320"/>
                <a:gd name="T56" fmla="*/ 245 w 245"/>
                <a:gd name="T57" fmla="*/ 128 h 320"/>
                <a:gd name="T58" fmla="*/ 245 w 245"/>
                <a:gd name="T59" fmla="*/ 21 h 320"/>
                <a:gd name="T60" fmla="*/ 234 w 245"/>
                <a:gd name="T61" fmla="*/ 10 h 320"/>
                <a:gd name="T62" fmla="*/ 106 w 245"/>
                <a:gd name="T63" fmla="*/ 21 h 320"/>
                <a:gd name="T64" fmla="*/ 128 w 245"/>
                <a:gd name="T65" fmla="*/ 21 h 320"/>
                <a:gd name="T66" fmla="*/ 128 w 245"/>
                <a:gd name="T67" fmla="*/ 32 h 320"/>
                <a:gd name="T68" fmla="*/ 106 w 245"/>
                <a:gd name="T69" fmla="*/ 32 h 320"/>
                <a:gd name="T70" fmla="*/ 106 w 245"/>
                <a:gd name="T71" fmla="*/ 21 h 320"/>
                <a:gd name="T72" fmla="*/ 128 w 245"/>
                <a:gd name="T73" fmla="*/ 298 h 320"/>
                <a:gd name="T74" fmla="*/ 106 w 245"/>
                <a:gd name="T75" fmla="*/ 298 h 320"/>
                <a:gd name="T76" fmla="*/ 106 w 245"/>
                <a:gd name="T77" fmla="*/ 117 h 320"/>
                <a:gd name="T78" fmla="*/ 128 w 245"/>
                <a:gd name="T79" fmla="*/ 117 h 320"/>
                <a:gd name="T80" fmla="*/ 128 w 245"/>
                <a:gd name="T81" fmla="*/ 298 h 320"/>
                <a:gd name="T82" fmla="*/ 170 w 245"/>
                <a:gd name="T83" fmla="*/ 96 h 320"/>
                <a:gd name="T84" fmla="*/ 21 w 245"/>
                <a:gd name="T85" fmla="*/ 96 h 320"/>
                <a:gd name="T86" fmla="*/ 21 w 245"/>
                <a:gd name="T87" fmla="*/ 84 h 320"/>
                <a:gd name="T88" fmla="*/ 64 w 245"/>
                <a:gd name="T89" fmla="*/ 68 h 320"/>
                <a:gd name="T90" fmla="*/ 73 w 245"/>
                <a:gd name="T91" fmla="*/ 53 h 320"/>
                <a:gd name="T92" fmla="*/ 170 w 245"/>
                <a:gd name="T93" fmla="*/ 53 h 320"/>
                <a:gd name="T94" fmla="*/ 170 w 245"/>
                <a:gd name="T95" fmla="*/ 96 h 320"/>
                <a:gd name="T96" fmla="*/ 224 w 245"/>
                <a:gd name="T97" fmla="*/ 117 h 320"/>
                <a:gd name="T98" fmla="*/ 202 w 245"/>
                <a:gd name="T99" fmla="*/ 117 h 320"/>
                <a:gd name="T100" fmla="*/ 202 w 245"/>
                <a:gd name="T101" fmla="*/ 32 h 320"/>
                <a:gd name="T102" fmla="*/ 224 w 245"/>
                <a:gd name="T103" fmla="*/ 32 h 320"/>
                <a:gd name="T104" fmla="*/ 224 w 245"/>
                <a:gd name="T105"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320">
                  <a:moveTo>
                    <a:pt x="234" y="10"/>
                  </a:moveTo>
                  <a:cubicBezTo>
                    <a:pt x="192" y="10"/>
                    <a:pt x="192" y="10"/>
                    <a:pt x="192" y="10"/>
                  </a:cubicBezTo>
                  <a:cubicBezTo>
                    <a:pt x="186" y="10"/>
                    <a:pt x="181" y="15"/>
                    <a:pt x="181" y="21"/>
                  </a:cubicBezTo>
                  <a:cubicBezTo>
                    <a:pt x="181" y="32"/>
                    <a:pt x="181" y="32"/>
                    <a:pt x="181" y="32"/>
                  </a:cubicBezTo>
                  <a:cubicBezTo>
                    <a:pt x="149" y="32"/>
                    <a:pt x="149" y="32"/>
                    <a:pt x="149" y="32"/>
                  </a:cubicBezTo>
                  <a:cubicBezTo>
                    <a:pt x="149" y="10"/>
                    <a:pt x="149" y="10"/>
                    <a:pt x="149" y="10"/>
                  </a:cubicBezTo>
                  <a:cubicBezTo>
                    <a:pt x="149" y="4"/>
                    <a:pt x="144" y="0"/>
                    <a:pt x="138" y="0"/>
                  </a:cubicBezTo>
                  <a:cubicBezTo>
                    <a:pt x="96" y="0"/>
                    <a:pt x="96" y="0"/>
                    <a:pt x="96" y="0"/>
                  </a:cubicBezTo>
                  <a:cubicBezTo>
                    <a:pt x="90" y="0"/>
                    <a:pt x="85" y="4"/>
                    <a:pt x="85" y="10"/>
                  </a:cubicBezTo>
                  <a:cubicBezTo>
                    <a:pt x="85" y="32"/>
                    <a:pt x="85" y="32"/>
                    <a:pt x="85" y="32"/>
                  </a:cubicBezTo>
                  <a:cubicBezTo>
                    <a:pt x="64" y="32"/>
                    <a:pt x="64" y="32"/>
                    <a:pt x="64" y="32"/>
                  </a:cubicBezTo>
                  <a:cubicBezTo>
                    <a:pt x="58" y="32"/>
                    <a:pt x="53" y="36"/>
                    <a:pt x="53" y="42"/>
                  </a:cubicBezTo>
                  <a:cubicBezTo>
                    <a:pt x="53" y="47"/>
                    <a:pt x="52" y="50"/>
                    <a:pt x="49" y="53"/>
                  </a:cubicBezTo>
                  <a:cubicBezTo>
                    <a:pt x="39" y="62"/>
                    <a:pt x="18" y="64"/>
                    <a:pt x="10" y="64"/>
                  </a:cubicBezTo>
                  <a:cubicBezTo>
                    <a:pt x="8" y="64"/>
                    <a:pt x="5" y="65"/>
                    <a:pt x="3" y="67"/>
                  </a:cubicBezTo>
                  <a:cubicBezTo>
                    <a:pt x="1" y="69"/>
                    <a:pt x="0" y="71"/>
                    <a:pt x="0" y="74"/>
                  </a:cubicBezTo>
                  <a:cubicBezTo>
                    <a:pt x="0" y="106"/>
                    <a:pt x="0" y="106"/>
                    <a:pt x="0" y="106"/>
                  </a:cubicBezTo>
                  <a:cubicBezTo>
                    <a:pt x="0" y="112"/>
                    <a:pt x="4" y="117"/>
                    <a:pt x="10" y="117"/>
                  </a:cubicBezTo>
                  <a:cubicBezTo>
                    <a:pt x="85" y="117"/>
                    <a:pt x="85" y="117"/>
                    <a:pt x="85" y="117"/>
                  </a:cubicBezTo>
                  <a:cubicBezTo>
                    <a:pt x="85" y="309"/>
                    <a:pt x="85" y="309"/>
                    <a:pt x="85" y="309"/>
                  </a:cubicBezTo>
                  <a:cubicBezTo>
                    <a:pt x="85" y="315"/>
                    <a:pt x="90" y="320"/>
                    <a:pt x="96" y="320"/>
                  </a:cubicBezTo>
                  <a:cubicBezTo>
                    <a:pt x="138" y="320"/>
                    <a:pt x="138" y="320"/>
                    <a:pt x="138" y="320"/>
                  </a:cubicBezTo>
                  <a:cubicBezTo>
                    <a:pt x="144" y="320"/>
                    <a:pt x="149" y="315"/>
                    <a:pt x="149" y="309"/>
                  </a:cubicBezTo>
                  <a:cubicBezTo>
                    <a:pt x="149" y="117"/>
                    <a:pt x="149" y="117"/>
                    <a:pt x="149" y="117"/>
                  </a:cubicBezTo>
                  <a:cubicBezTo>
                    <a:pt x="181" y="117"/>
                    <a:pt x="181" y="117"/>
                    <a:pt x="181" y="117"/>
                  </a:cubicBezTo>
                  <a:cubicBezTo>
                    <a:pt x="181" y="128"/>
                    <a:pt x="181" y="128"/>
                    <a:pt x="181" y="128"/>
                  </a:cubicBezTo>
                  <a:cubicBezTo>
                    <a:pt x="181" y="134"/>
                    <a:pt x="186" y="138"/>
                    <a:pt x="192" y="138"/>
                  </a:cubicBezTo>
                  <a:cubicBezTo>
                    <a:pt x="234" y="138"/>
                    <a:pt x="234" y="138"/>
                    <a:pt x="234" y="138"/>
                  </a:cubicBezTo>
                  <a:cubicBezTo>
                    <a:pt x="240" y="138"/>
                    <a:pt x="245" y="134"/>
                    <a:pt x="245" y="128"/>
                  </a:cubicBezTo>
                  <a:cubicBezTo>
                    <a:pt x="245" y="21"/>
                    <a:pt x="245" y="21"/>
                    <a:pt x="245" y="21"/>
                  </a:cubicBezTo>
                  <a:cubicBezTo>
                    <a:pt x="245" y="15"/>
                    <a:pt x="240" y="10"/>
                    <a:pt x="234" y="10"/>
                  </a:cubicBezTo>
                  <a:close/>
                  <a:moveTo>
                    <a:pt x="106" y="21"/>
                  </a:moveTo>
                  <a:cubicBezTo>
                    <a:pt x="128" y="21"/>
                    <a:pt x="128" y="21"/>
                    <a:pt x="128" y="21"/>
                  </a:cubicBezTo>
                  <a:cubicBezTo>
                    <a:pt x="128" y="32"/>
                    <a:pt x="128" y="32"/>
                    <a:pt x="128" y="32"/>
                  </a:cubicBezTo>
                  <a:cubicBezTo>
                    <a:pt x="106" y="32"/>
                    <a:pt x="106" y="32"/>
                    <a:pt x="106" y="32"/>
                  </a:cubicBezTo>
                  <a:lnTo>
                    <a:pt x="106" y="21"/>
                  </a:lnTo>
                  <a:close/>
                  <a:moveTo>
                    <a:pt x="128" y="298"/>
                  </a:moveTo>
                  <a:cubicBezTo>
                    <a:pt x="106" y="298"/>
                    <a:pt x="106" y="298"/>
                    <a:pt x="106" y="298"/>
                  </a:cubicBezTo>
                  <a:cubicBezTo>
                    <a:pt x="106" y="117"/>
                    <a:pt x="106" y="117"/>
                    <a:pt x="106" y="117"/>
                  </a:cubicBezTo>
                  <a:cubicBezTo>
                    <a:pt x="128" y="117"/>
                    <a:pt x="128" y="117"/>
                    <a:pt x="128" y="117"/>
                  </a:cubicBezTo>
                  <a:lnTo>
                    <a:pt x="128" y="298"/>
                  </a:lnTo>
                  <a:close/>
                  <a:moveTo>
                    <a:pt x="170" y="96"/>
                  </a:moveTo>
                  <a:cubicBezTo>
                    <a:pt x="21" y="96"/>
                    <a:pt x="21" y="96"/>
                    <a:pt x="21" y="96"/>
                  </a:cubicBezTo>
                  <a:cubicBezTo>
                    <a:pt x="21" y="84"/>
                    <a:pt x="21" y="84"/>
                    <a:pt x="21" y="84"/>
                  </a:cubicBezTo>
                  <a:cubicBezTo>
                    <a:pt x="33" y="83"/>
                    <a:pt x="52" y="80"/>
                    <a:pt x="64" y="68"/>
                  </a:cubicBezTo>
                  <a:cubicBezTo>
                    <a:pt x="68" y="64"/>
                    <a:pt x="71" y="59"/>
                    <a:pt x="73" y="53"/>
                  </a:cubicBezTo>
                  <a:cubicBezTo>
                    <a:pt x="170" y="53"/>
                    <a:pt x="170" y="53"/>
                    <a:pt x="170" y="53"/>
                  </a:cubicBezTo>
                  <a:lnTo>
                    <a:pt x="170" y="96"/>
                  </a:lnTo>
                  <a:close/>
                  <a:moveTo>
                    <a:pt x="224" y="117"/>
                  </a:moveTo>
                  <a:cubicBezTo>
                    <a:pt x="202" y="117"/>
                    <a:pt x="202" y="117"/>
                    <a:pt x="202" y="117"/>
                  </a:cubicBezTo>
                  <a:cubicBezTo>
                    <a:pt x="202" y="32"/>
                    <a:pt x="202" y="32"/>
                    <a:pt x="202" y="32"/>
                  </a:cubicBezTo>
                  <a:cubicBezTo>
                    <a:pt x="224" y="32"/>
                    <a:pt x="224" y="32"/>
                    <a:pt x="224" y="32"/>
                  </a:cubicBezTo>
                  <a:lnTo>
                    <a:pt x="224"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3" name="Group 285"/>
          <p:cNvGrpSpPr>
            <a:grpSpLocks noChangeAspect="1"/>
          </p:cNvGrpSpPr>
          <p:nvPr/>
        </p:nvGrpSpPr>
        <p:grpSpPr bwMode="auto">
          <a:xfrm>
            <a:off x="7834727" y="5406481"/>
            <a:ext cx="713529" cy="711437"/>
            <a:chOff x="388" y="758"/>
            <a:chExt cx="341" cy="340"/>
          </a:xfrm>
          <a:solidFill>
            <a:schemeClr val="bg2">
              <a:lumMod val="75000"/>
            </a:schemeClr>
          </a:solidFill>
        </p:grpSpPr>
        <p:sp>
          <p:nvSpPr>
            <p:cNvPr id="74" name="Freeform 286"/>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87"/>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6" name="Group 569"/>
          <p:cNvGrpSpPr>
            <a:grpSpLocks noChangeAspect="1"/>
          </p:cNvGrpSpPr>
          <p:nvPr/>
        </p:nvGrpSpPr>
        <p:grpSpPr bwMode="auto">
          <a:xfrm>
            <a:off x="3641692" y="5410416"/>
            <a:ext cx="707502" cy="707502"/>
            <a:chOff x="5648" y="3248"/>
            <a:chExt cx="340" cy="340"/>
          </a:xfrm>
          <a:solidFill>
            <a:schemeClr val="bg2">
              <a:lumMod val="75000"/>
            </a:schemeClr>
          </a:solidFill>
        </p:grpSpPr>
        <p:sp>
          <p:nvSpPr>
            <p:cNvPr id="77" name="Freeform 570"/>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571"/>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9" name="Freeform 917"/>
          <p:cNvSpPr>
            <a:spLocks noChangeAspect="1" noEditPoints="1"/>
          </p:cNvSpPr>
          <p:nvPr/>
        </p:nvSpPr>
        <p:spPr bwMode="auto">
          <a:xfrm>
            <a:off x="7871315" y="1923957"/>
            <a:ext cx="704648" cy="70672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114077685"/>
      </p:ext>
    </p:extLst>
  </p:cSld>
  <p:clrMapOvr>
    <a:masterClrMapping/>
  </p:clrMapOvr>
  <p:transition>
    <p:fade/>
  </p:transition>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nnectors with puzzle pieces</a:t>
            </a:r>
            <a:endParaRPr lang="en-US" dirty="0"/>
          </a:p>
        </p:txBody>
      </p:sp>
      <p:sp>
        <p:nvSpPr>
          <p:cNvPr id="34" name="Oval 155"/>
          <p:cNvSpPr/>
          <p:nvPr/>
        </p:nvSpPr>
        <p:spPr>
          <a:xfrm rot="2700000">
            <a:off x="5629978"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5" name="Oval 155"/>
          <p:cNvSpPr/>
          <p:nvPr/>
        </p:nvSpPr>
        <p:spPr>
          <a:xfrm rot="18900000">
            <a:off x="6495804"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Oval 155"/>
          <p:cNvSpPr/>
          <p:nvPr/>
        </p:nvSpPr>
        <p:spPr>
          <a:xfrm rot="18900000">
            <a:off x="4764129" y="2699920"/>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Rectangle 140"/>
          <p:cNvSpPr/>
          <p:nvPr/>
        </p:nvSpPr>
        <p:spPr>
          <a:xfrm rot="2700000">
            <a:off x="5629954" y="3565744"/>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Rectangle 37"/>
          <p:cNvSpPr/>
          <p:nvPr/>
        </p:nvSpPr>
        <p:spPr>
          <a:xfrm>
            <a:off x="8696411" y="1765890"/>
            <a:ext cx="1606464" cy="615553"/>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br>
              <a:rPr lang="en-US" sz="1000" b="1" dirty="0"/>
            </a:br>
            <a:r>
              <a:rPr lang="en-US" sz="1000" dirty="0"/>
              <a:t>This is dummy text it is not here to be read this is dummy text it is not here to be read. </a:t>
            </a:r>
          </a:p>
        </p:txBody>
      </p:sp>
      <p:sp>
        <p:nvSpPr>
          <p:cNvPr id="39" name="Rectangle 38"/>
          <p:cNvSpPr/>
          <p:nvPr/>
        </p:nvSpPr>
        <p:spPr>
          <a:xfrm>
            <a:off x="8696411" y="5273015"/>
            <a:ext cx="1606464" cy="615553"/>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r>
              <a:rPr lang="en-US" sz="1000" b="1" dirty="0">
                <a:solidFill>
                  <a:schemeClr val="accent4"/>
                </a:solidFill>
              </a:rPr>
              <a:t> </a:t>
            </a:r>
            <a:br>
              <a:rPr lang="en-US" sz="1000" b="1" dirty="0"/>
            </a:br>
            <a:r>
              <a:rPr lang="en-US" sz="1000" dirty="0"/>
              <a:t>This is dummy text it is not here to be read this is dummy text it is not here to be read.</a:t>
            </a:r>
          </a:p>
        </p:txBody>
      </p:sp>
      <p:sp>
        <p:nvSpPr>
          <p:cNvPr id="40" name="Rectangle 39"/>
          <p:cNvSpPr/>
          <p:nvPr/>
        </p:nvSpPr>
        <p:spPr>
          <a:xfrm>
            <a:off x="1882431" y="1765890"/>
            <a:ext cx="1606464" cy="615553"/>
          </a:xfrm>
          <a:prstGeom prst="rect">
            <a:avLst/>
          </a:prstGeom>
        </p:spPr>
        <p:txBody>
          <a:bodyPr wrap="square" lIns="0" tIns="0" rIns="0" bIns="0">
            <a:spAutoFit/>
          </a:bodyPr>
          <a:lstStyle/>
          <a:p>
            <a:pPr algn="r"/>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a:t>
            </a:r>
            <a:br>
              <a:rPr lang="en-US" sz="1000" b="1" dirty="0"/>
            </a:br>
            <a:r>
              <a:rPr lang="en-US" sz="1000" dirty="0"/>
              <a:t>This is dummy text it is not here to be read this is dummy text it is not here to be read. </a:t>
            </a:r>
          </a:p>
        </p:txBody>
      </p:sp>
      <p:sp>
        <p:nvSpPr>
          <p:cNvPr id="41" name="Rectangle 40"/>
          <p:cNvSpPr/>
          <p:nvPr/>
        </p:nvSpPr>
        <p:spPr>
          <a:xfrm>
            <a:off x="1882431" y="5358740"/>
            <a:ext cx="1606464" cy="615553"/>
          </a:xfrm>
          <a:prstGeom prst="rect">
            <a:avLst/>
          </a:prstGeom>
        </p:spPr>
        <p:txBody>
          <a:bodyPr wrap="square" lIns="0" tIns="0" rIns="0" bIns="0">
            <a:spAutoFit/>
          </a:bodyPr>
          <a:lstStyle/>
          <a:p>
            <a:pPr algn="r"/>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r>
              <a:rPr lang="en-US" sz="1000" b="1" dirty="0">
                <a:solidFill>
                  <a:schemeClr val="accent5"/>
                </a:solidFill>
              </a:rPr>
              <a:t> </a:t>
            </a:r>
            <a:br>
              <a:rPr lang="en-US" sz="1000" b="1" dirty="0"/>
            </a:br>
            <a:r>
              <a:rPr lang="en-US" sz="1000" dirty="0"/>
              <a:t>This is dummy text it is not here to be read this is dummy text it is not here to be read. </a:t>
            </a:r>
          </a:p>
        </p:txBody>
      </p:sp>
      <p:sp>
        <p:nvSpPr>
          <p:cNvPr id="42" name="Freeform 41"/>
          <p:cNvSpPr/>
          <p:nvPr/>
        </p:nvSpPr>
        <p:spPr bwMode="gray">
          <a:xfrm flipH="1">
            <a:off x="6438900" y="1855961"/>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3" name="Freeform 42"/>
          <p:cNvSpPr/>
          <p:nvPr/>
        </p:nvSpPr>
        <p:spPr bwMode="gray">
          <a:xfrm>
            <a:off x="3597245" y="1855961"/>
            <a:ext cx="1575303"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4" name="Freeform 43"/>
          <p:cNvSpPr/>
          <p:nvPr/>
        </p:nvSpPr>
        <p:spPr bwMode="gray">
          <a:xfrm rot="10800000">
            <a:off x="7324724" y="4485891"/>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5" name="Freeform 44"/>
          <p:cNvSpPr/>
          <p:nvPr/>
        </p:nvSpPr>
        <p:spPr bwMode="gray">
          <a:xfrm rot="16200000">
            <a:off x="4169205" y="4020418"/>
            <a:ext cx="528931" cy="21109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49" name="Freeform 16"/>
          <p:cNvSpPr>
            <a:spLocks noChangeAspect="1"/>
          </p:cNvSpPr>
          <p:nvPr/>
        </p:nvSpPr>
        <p:spPr bwMode="auto">
          <a:xfrm rot="18900000">
            <a:off x="3706389" y="2036253"/>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31"/>
          <p:cNvSpPr>
            <a:spLocks noChangeAspect="1" noEditPoints="1"/>
          </p:cNvSpPr>
          <p:nvPr/>
        </p:nvSpPr>
        <p:spPr bwMode="auto">
          <a:xfrm>
            <a:off x="8098982" y="2079707"/>
            <a:ext cx="30695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62"/>
          <p:cNvSpPr>
            <a:spLocks noChangeAspect="1" noEditPoints="1"/>
          </p:cNvSpPr>
          <p:nvPr/>
        </p:nvSpPr>
        <p:spPr bwMode="auto">
          <a:xfrm>
            <a:off x="8045335" y="5564647"/>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5" name="Group 54"/>
          <p:cNvGrpSpPr/>
          <p:nvPr/>
        </p:nvGrpSpPr>
        <p:grpSpPr>
          <a:xfrm>
            <a:off x="3691524" y="5542671"/>
            <a:ext cx="483327" cy="466148"/>
            <a:chOff x="2185477" y="5525527"/>
            <a:chExt cx="523177" cy="504582"/>
          </a:xfrm>
        </p:grpSpPr>
        <p:sp>
          <p:nvSpPr>
            <p:cNvPr id="56"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9" name="Freeform 917"/>
          <p:cNvSpPr>
            <a:spLocks noChangeAspect="1" noEditPoints="1"/>
          </p:cNvSpPr>
          <p:nvPr/>
        </p:nvSpPr>
        <p:spPr bwMode="auto">
          <a:xfrm>
            <a:off x="7871315" y="1923957"/>
            <a:ext cx="704648" cy="70672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134"/>
          <p:cNvSpPr>
            <a:spLocks noChangeAspect="1" noEditPoints="1"/>
          </p:cNvSpPr>
          <p:nvPr/>
        </p:nvSpPr>
        <p:spPr bwMode="auto">
          <a:xfrm>
            <a:off x="3585888" y="1939796"/>
            <a:ext cx="690538" cy="692568"/>
          </a:xfrm>
          <a:custGeom>
            <a:avLst/>
            <a:gdLst>
              <a:gd name="T0" fmla="*/ 256 w 512"/>
              <a:gd name="T1" fmla="*/ 128 h 512"/>
              <a:gd name="T2" fmla="*/ 234 w 512"/>
              <a:gd name="T3" fmla="*/ 128 h 512"/>
              <a:gd name="T4" fmla="*/ 234 w 512"/>
              <a:gd name="T5" fmla="*/ 117 h 512"/>
              <a:gd name="T6" fmla="*/ 256 w 512"/>
              <a:gd name="T7" fmla="*/ 117 h 512"/>
              <a:gd name="T8" fmla="*/ 256 w 512"/>
              <a:gd name="T9" fmla="*/ 128 h 512"/>
              <a:gd name="T10" fmla="*/ 192 w 512"/>
              <a:gd name="T11" fmla="*/ 164 h 512"/>
              <a:gd name="T12" fmla="*/ 149 w 512"/>
              <a:gd name="T13" fmla="*/ 180 h 512"/>
              <a:gd name="T14" fmla="*/ 149 w 512"/>
              <a:gd name="T15" fmla="*/ 192 h 512"/>
              <a:gd name="T16" fmla="*/ 298 w 512"/>
              <a:gd name="T17" fmla="*/ 192 h 512"/>
              <a:gd name="T18" fmla="*/ 298 w 512"/>
              <a:gd name="T19" fmla="*/ 149 h 512"/>
              <a:gd name="T20" fmla="*/ 201 w 512"/>
              <a:gd name="T21" fmla="*/ 149 h 512"/>
              <a:gd name="T22" fmla="*/ 192 w 512"/>
              <a:gd name="T23" fmla="*/ 164 h 512"/>
              <a:gd name="T24" fmla="*/ 234 w 512"/>
              <a:gd name="T25" fmla="*/ 394 h 512"/>
              <a:gd name="T26" fmla="*/ 256 w 512"/>
              <a:gd name="T27" fmla="*/ 394 h 512"/>
              <a:gd name="T28" fmla="*/ 256 w 512"/>
              <a:gd name="T29" fmla="*/ 213 h 512"/>
              <a:gd name="T30" fmla="*/ 234 w 512"/>
              <a:gd name="T31" fmla="*/ 213 h 512"/>
              <a:gd name="T32" fmla="*/ 234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73 w 512"/>
              <a:gd name="T45" fmla="*/ 117 h 512"/>
              <a:gd name="T46" fmla="*/ 362 w 512"/>
              <a:gd name="T47" fmla="*/ 106 h 512"/>
              <a:gd name="T48" fmla="*/ 320 w 512"/>
              <a:gd name="T49" fmla="*/ 106 h 512"/>
              <a:gd name="T50" fmla="*/ 309 w 512"/>
              <a:gd name="T51" fmla="*/ 117 h 512"/>
              <a:gd name="T52" fmla="*/ 309 w 512"/>
              <a:gd name="T53" fmla="*/ 128 h 512"/>
              <a:gd name="T54" fmla="*/ 277 w 512"/>
              <a:gd name="T55" fmla="*/ 128 h 512"/>
              <a:gd name="T56" fmla="*/ 277 w 512"/>
              <a:gd name="T57" fmla="*/ 106 h 512"/>
              <a:gd name="T58" fmla="*/ 266 w 512"/>
              <a:gd name="T59" fmla="*/ 96 h 512"/>
              <a:gd name="T60" fmla="*/ 224 w 512"/>
              <a:gd name="T61" fmla="*/ 96 h 512"/>
              <a:gd name="T62" fmla="*/ 213 w 512"/>
              <a:gd name="T63" fmla="*/ 106 h 512"/>
              <a:gd name="T64" fmla="*/ 213 w 512"/>
              <a:gd name="T65" fmla="*/ 128 h 512"/>
              <a:gd name="T66" fmla="*/ 192 w 512"/>
              <a:gd name="T67" fmla="*/ 128 h 512"/>
              <a:gd name="T68" fmla="*/ 181 w 512"/>
              <a:gd name="T69" fmla="*/ 138 h 512"/>
              <a:gd name="T70" fmla="*/ 177 w 512"/>
              <a:gd name="T71" fmla="*/ 149 h 512"/>
              <a:gd name="T72" fmla="*/ 138 w 512"/>
              <a:gd name="T73" fmla="*/ 160 h 512"/>
              <a:gd name="T74" fmla="*/ 131 w 512"/>
              <a:gd name="T75" fmla="*/ 163 h 512"/>
              <a:gd name="T76" fmla="*/ 128 w 512"/>
              <a:gd name="T77" fmla="*/ 170 h 512"/>
              <a:gd name="T78" fmla="*/ 128 w 512"/>
              <a:gd name="T79" fmla="*/ 202 h 512"/>
              <a:gd name="T80" fmla="*/ 138 w 512"/>
              <a:gd name="T81" fmla="*/ 213 h 512"/>
              <a:gd name="T82" fmla="*/ 213 w 512"/>
              <a:gd name="T83" fmla="*/ 213 h 512"/>
              <a:gd name="T84" fmla="*/ 213 w 512"/>
              <a:gd name="T85" fmla="*/ 405 h 512"/>
              <a:gd name="T86" fmla="*/ 224 w 512"/>
              <a:gd name="T87" fmla="*/ 416 h 512"/>
              <a:gd name="T88" fmla="*/ 266 w 512"/>
              <a:gd name="T89" fmla="*/ 416 h 512"/>
              <a:gd name="T90" fmla="*/ 277 w 512"/>
              <a:gd name="T91" fmla="*/ 405 h 512"/>
              <a:gd name="T92" fmla="*/ 277 w 512"/>
              <a:gd name="T93" fmla="*/ 213 h 512"/>
              <a:gd name="T94" fmla="*/ 309 w 512"/>
              <a:gd name="T95" fmla="*/ 213 h 512"/>
              <a:gd name="T96" fmla="*/ 309 w 512"/>
              <a:gd name="T97" fmla="*/ 224 h 512"/>
              <a:gd name="T98" fmla="*/ 320 w 512"/>
              <a:gd name="T99" fmla="*/ 234 h 512"/>
              <a:gd name="T100" fmla="*/ 362 w 512"/>
              <a:gd name="T101" fmla="*/ 234 h 512"/>
              <a:gd name="T102" fmla="*/ 373 w 512"/>
              <a:gd name="T103" fmla="*/ 224 h 512"/>
              <a:gd name="T104" fmla="*/ 373 w 512"/>
              <a:gd name="T105" fmla="*/ 117 h 512"/>
              <a:gd name="T106" fmla="*/ 330 w 512"/>
              <a:gd name="T107" fmla="*/ 213 h 512"/>
              <a:gd name="T108" fmla="*/ 352 w 512"/>
              <a:gd name="T109" fmla="*/ 213 h 512"/>
              <a:gd name="T110" fmla="*/ 352 w 512"/>
              <a:gd name="T111" fmla="*/ 128 h 512"/>
              <a:gd name="T112" fmla="*/ 330 w 512"/>
              <a:gd name="T113" fmla="*/ 128 h 512"/>
              <a:gd name="T114" fmla="*/ 330 w 512"/>
              <a:gd name="T11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128"/>
                </a:moveTo>
                <a:cubicBezTo>
                  <a:pt x="234" y="128"/>
                  <a:pt x="234" y="128"/>
                  <a:pt x="234" y="128"/>
                </a:cubicBezTo>
                <a:cubicBezTo>
                  <a:pt x="234" y="117"/>
                  <a:pt x="234" y="117"/>
                  <a:pt x="234" y="117"/>
                </a:cubicBezTo>
                <a:cubicBezTo>
                  <a:pt x="256" y="117"/>
                  <a:pt x="256" y="117"/>
                  <a:pt x="256" y="117"/>
                </a:cubicBezTo>
                <a:lnTo>
                  <a:pt x="256" y="128"/>
                </a:lnTo>
                <a:close/>
                <a:moveTo>
                  <a:pt x="192" y="164"/>
                </a:moveTo>
                <a:cubicBezTo>
                  <a:pt x="180" y="176"/>
                  <a:pt x="161" y="179"/>
                  <a:pt x="149" y="180"/>
                </a:cubicBezTo>
                <a:cubicBezTo>
                  <a:pt x="149" y="192"/>
                  <a:pt x="149" y="192"/>
                  <a:pt x="149" y="192"/>
                </a:cubicBezTo>
                <a:cubicBezTo>
                  <a:pt x="298" y="192"/>
                  <a:pt x="298" y="192"/>
                  <a:pt x="298" y="192"/>
                </a:cubicBezTo>
                <a:cubicBezTo>
                  <a:pt x="298" y="149"/>
                  <a:pt x="298" y="149"/>
                  <a:pt x="298" y="149"/>
                </a:cubicBezTo>
                <a:cubicBezTo>
                  <a:pt x="201" y="149"/>
                  <a:pt x="201" y="149"/>
                  <a:pt x="201" y="149"/>
                </a:cubicBezTo>
                <a:cubicBezTo>
                  <a:pt x="199" y="155"/>
                  <a:pt x="196" y="160"/>
                  <a:pt x="192" y="164"/>
                </a:cubicBezTo>
                <a:close/>
                <a:moveTo>
                  <a:pt x="234" y="394"/>
                </a:moveTo>
                <a:cubicBezTo>
                  <a:pt x="256" y="394"/>
                  <a:pt x="256" y="394"/>
                  <a:pt x="256" y="394"/>
                </a:cubicBezTo>
                <a:cubicBezTo>
                  <a:pt x="256" y="213"/>
                  <a:pt x="256" y="213"/>
                  <a:pt x="256" y="213"/>
                </a:cubicBezTo>
                <a:cubicBezTo>
                  <a:pt x="234" y="213"/>
                  <a:pt x="234" y="213"/>
                  <a:pt x="234" y="213"/>
                </a:cubicBezTo>
                <a:lnTo>
                  <a:pt x="234"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320" y="106"/>
                  <a:pt x="320" y="106"/>
                  <a:pt x="320" y="106"/>
                </a:cubicBezTo>
                <a:cubicBezTo>
                  <a:pt x="314" y="106"/>
                  <a:pt x="309" y="111"/>
                  <a:pt x="309" y="117"/>
                </a:cubicBezTo>
                <a:cubicBezTo>
                  <a:pt x="309" y="128"/>
                  <a:pt x="309" y="128"/>
                  <a:pt x="309" y="128"/>
                </a:cubicBezTo>
                <a:cubicBezTo>
                  <a:pt x="277" y="128"/>
                  <a:pt x="277" y="128"/>
                  <a:pt x="277" y="128"/>
                </a:cubicBezTo>
                <a:cubicBezTo>
                  <a:pt x="277" y="106"/>
                  <a:pt x="277" y="106"/>
                  <a:pt x="277" y="106"/>
                </a:cubicBezTo>
                <a:cubicBezTo>
                  <a:pt x="277" y="100"/>
                  <a:pt x="272" y="96"/>
                  <a:pt x="266" y="96"/>
                </a:cubicBezTo>
                <a:cubicBezTo>
                  <a:pt x="224" y="96"/>
                  <a:pt x="224" y="96"/>
                  <a:pt x="224" y="96"/>
                </a:cubicBezTo>
                <a:cubicBezTo>
                  <a:pt x="218" y="96"/>
                  <a:pt x="213" y="100"/>
                  <a:pt x="213" y="106"/>
                </a:cubicBezTo>
                <a:cubicBezTo>
                  <a:pt x="213" y="128"/>
                  <a:pt x="213" y="128"/>
                  <a:pt x="213" y="128"/>
                </a:cubicBezTo>
                <a:cubicBezTo>
                  <a:pt x="192" y="128"/>
                  <a:pt x="192" y="128"/>
                  <a:pt x="192" y="128"/>
                </a:cubicBezTo>
                <a:cubicBezTo>
                  <a:pt x="186" y="128"/>
                  <a:pt x="181" y="132"/>
                  <a:pt x="181" y="138"/>
                </a:cubicBezTo>
                <a:cubicBezTo>
                  <a:pt x="181" y="143"/>
                  <a:pt x="180" y="146"/>
                  <a:pt x="177" y="149"/>
                </a:cubicBezTo>
                <a:cubicBezTo>
                  <a:pt x="167" y="158"/>
                  <a:pt x="146" y="160"/>
                  <a:pt x="138" y="160"/>
                </a:cubicBezTo>
                <a:cubicBezTo>
                  <a:pt x="136" y="160"/>
                  <a:pt x="133" y="161"/>
                  <a:pt x="131" y="163"/>
                </a:cubicBezTo>
                <a:cubicBezTo>
                  <a:pt x="129" y="165"/>
                  <a:pt x="128" y="167"/>
                  <a:pt x="128" y="170"/>
                </a:cubicBezTo>
                <a:cubicBezTo>
                  <a:pt x="128" y="202"/>
                  <a:pt x="128" y="202"/>
                  <a:pt x="128" y="202"/>
                </a:cubicBezTo>
                <a:cubicBezTo>
                  <a:pt x="128" y="208"/>
                  <a:pt x="132" y="213"/>
                  <a:pt x="138" y="213"/>
                </a:cubicBezTo>
                <a:cubicBezTo>
                  <a:pt x="213" y="213"/>
                  <a:pt x="213" y="213"/>
                  <a:pt x="213" y="213"/>
                </a:cubicBezTo>
                <a:cubicBezTo>
                  <a:pt x="213" y="405"/>
                  <a:pt x="213" y="405"/>
                  <a:pt x="213" y="405"/>
                </a:cubicBezTo>
                <a:cubicBezTo>
                  <a:pt x="213" y="411"/>
                  <a:pt x="218" y="416"/>
                  <a:pt x="224" y="416"/>
                </a:cubicBezTo>
                <a:cubicBezTo>
                  <a:pt x="266" y="416"/>
                  <a:pt x="266" y="416"/>
                  <a:pt x="266" y="416"/>
                </a:cubicBezTo>
                <a:cubicBezTo>
                  <a:pt x="272" y="416"/>
                  <a:pt x="277" y="411"/>
                  <a:pt x="277" y="405"/>
                </a:cubicBezTo>
                <a:cubicBezTo>
                  <a:pt x="277" y="213"/>
                  <a:pt x="277" y="213"/>
                  <a:pt x="277" y="213"/>
                </a:cubicBezTo>
                <a:cubicBezTo>
                  <a:pt x="309" y="213"/>
                  <a:pt x="309" y="213"/>
                  <a:pt x="309" y="213"/>
                </a:cubicBezTo>
                <a:cubicBezTo>
                  <a:pt x="309" y="224"/>
                  <a:pt x="309" y="224"/>
                  <a:pt x="309" y="224"/>
                </a:cubicBezTo>
                <a:cubicBezTo>
                  <a:pt x="309" y="230"/>
                  <a:pt x="314" y="234"/>
                  <a:pt x="320" y="234"/>
                </a:cubicBezTo>
                <a:cubicBezTo>
                  <a:pt x="362" y="234"/>
                  <a:pt x="362" y="234"/>
                  <a:pt x="362" y="234"/>
                </a:cubicBezTo>
                <a:cubicBezTo>
                  <a:pt x="368" y="234"/>
                  <a:pt x="373" y="230"/>
                  <a:pt x="373" y="224"/>
                </a:cubicBezTo>
                <a:lnTo>
                  <a:pt x="373" y="117"/>
                </a:lnTo>
                <a:close/>
                <a:moveTo>
                  <a:pt x="330" y="213"/>
                </a:moveTo>
                <a:cubicBezTo>
                  <a:pt x="352" y="213"/>
                  <a:pt x="352" y="213"/>
                  <a:pt x="352" y="213"/>
                </a:cubicBezTo>
                <a:cubicBezTo>
                  <a:pt x="352" y="128"/>
                  <a:pt x="352" y="128"/>
                  <a:pt x="352" y="128"/>
                </a:cubicBezTo>
                <a:cubicBezTo>
                  <a:pt x="330" y="128"/>
                  <a:pt x="330" y="128"/>
                  <a:pt x="330" y="128"/>
                </a:cubicBezTo>
                <a:lnTo>
                  <a:pt x="330" y="21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566"/>
          <p:cNvSpPr>
            <a:spLocks noChangeAspect="1" noEditPoints="1"/>
          </p:cNvSpPr>
          <p:nvPr/>
        </p:nvSpPr>
        <p:spPr bwMode="auto">
          <a:xfrm>
            <a:off x="3664259" y="5417776"/>
            <a:ext cx="691649" cy="691649"/>
          </a:xfrm>
          <a:custGeom>
            <a:avLst/>
            <a:gdLst>
              <a:gd name="T0" fmla="*/ 364 w 512"/>
              <a:gd name="T1" fmla="*/ 138 h 512"/>
              <a:gd name="T2" fmla="*/ 393 w 512"/>
              <a:gd name="T3" fmla="*/ 352 h 512"/>
              <a:gd name="T4" fmla="*/ 310 w 512"/>
              <a:gd name="T5" fmla="*/ 352 h 512"/>
              <a:gd name="T6" fmla="*/ 329 w 512"/>
              <a:gd name="T7" fmla="*/ 138 h 512"/>
              <a:gd name="T8" fmla="*/ 364 w 512"/>
              <a:gd name="T9" fmla="*/ 138 h 512"/>
              <a:gd name="T10" fmla="*/ 213 w 512"/>
              <a:gd name="T11" fmla="*/ 233 h 512"/>
              <a:gd name="T12" fmla="*/ 213 w 512"/>
              <a:gd name="T13" fmla="*/ 352 h 512"/>
              <a:gd name="T14" fmla="*/ 289 w 512"/>
              <a:gd name="T15" fmla="*/ 352 h 512"/>
              <a:gd name="T16" fmla="*/ 294 w 512"/>
              <a:gd name="T17" fmla="*/ 287 h 512"/>
              <a:gd name="T18" fmla="*/ 292 w 512"/>
              <a:gd name="T19" fmla="*/ 286 h 512"/>
              <a:gd name="T20" fmla="*/ 213 w 512"/>
              <a:gd name="T21" fmla="*/ 233 h 512"/>
              <a:gd name="T22" fmla="*/ 117 w 512"/>
              <a:gd name="T23" fmla="*/ 352 h 512"/>
              <a:gd name="T24" fmla="*/ 192 w 512"/>
              <a:gd name="T25" fmla="*/ 352 h 512"/>
              <a:gd name="T26" fmla="*/ 192 w 512"/>
              <a:gd name="T27" fmla="*/ 283 h 512"/>
              <a:gd name="T28" fmla="*/ 117 w 512"/>
              <a:gd name="T29" fmla="*/ 233 h 512"/>
              <a:gd name="T30" fmla="*/ 117 w 512"/>
              <a:gd name="T31" fmla="*/ 352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361 h 512"/>
              <a:gd name="T44" fmla="*/ 384 w 512"/>
              <a:gd name="T45" fmla="*/ 126 h 512"/>
              <a:gd name="T46" fmla="*/ 373 w 512"/>
              <a:gd name="T47" fmla="*/ 117 h 512"/>
              <a:gd name="T48" fmla="*/ 320 w 512"/>
              <a:gd name="T49" fmla="*/ 117 h 512"/>
              <a:gd name="T50" fmla="*/ 309 w 512"/>
              <a:gd name="T51" fmla="*/ 127 h 512"/>
              <a:gd name="T52" fmla="*/ 297 w 512"/>
              <a:gd name="T53" fmla="*/ 263 h 512"/>
              <a:gd name="T54" fmla="*/ 208 w 512"/>
              <a:gd name="T55" fmla="*/ 204 h 512"/>
              <a:gd name="T56" fmla="*/ 197 w 512"/>
              <a:gd name="T57" fmla="*/ 204 h 512"/>
              <a:gd name="T58" fmla="*/ 192 w 512"/>
              <a:gd name="T59" fmla="*/ 213 h 512"/>
              <a:gd name="T60" fmla="*/ 192 w 512"/>
              <a:gd name="T61" fmla="*/ 257 h 512"/>
              <a:gd name="T62" fmla="*/ 112 w 512"/>
              <a:gd name="T63" fmla="*/ 204 h 512"/>
              <a:gd name="T64" fmla="*/ 101 w 512"/>
              <a:gd name="T65" fmla="*/ 204 h 512"/>
              <a:gd name="T66" fmla="*/ 96 w 512"/>
              <a:gd name="T67" fmla="*/ 213 h 512"/>
              <a:gd name="T68" fmla="*/ 96 w 512"/>
              <a:gd name="T69" fmla="*/ 362 h 512"/>
              <a:gd name="T70" fmla="*/ 106 w 512"/>
              <a:gd name="T71" fmla="*/ 373 h 512"/>
              <a:gd name="T72" fmla="*/ 405 w 512"/>
              <a:gd name="T73" fmla="*/ 373 h 512"/>
              <a:gd name="T74" fmla="*/ 413 w 512"/>
              <a:gd name="T75" fmla="*/ 369 h 512"/>
              <a:gd name="T76" fmla="*/ 416 w 512"/>
              <a:gd name="T77"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64" y="138"/>
                </a:moveTo>
                <a:cubicBezTo>
                  <a:pt x="393" y="352"/>
                  <a:pt x="393" y="352"/>
                  <a:pt x="393" y="352"/>
                </a:cubicBezTo>
                <a:cubicBezTo>
                  <a:pt x="310" y="352"/>
                  <a:pt x="310" y="352"/>
                  <a:pt x="310" y="352"/>
                </a:cubicBezTo>
                <a:cubicBezTo>
                  <a:pt x="329" y="138"/>
                  <a:pt x="329" y="138"/>
                  <a:pt x="329" y="138"/>
                </a:cubicBezTo>
                <a:lnTo>
                  <a:pt x="364" y="138"/>
                </a:lnTo>
                <a:close/>
                <a:moveTo>
                  <a:pt x="213" y="233"/>
                </a:moveTo>
                <a:cubicBezTo>
                  <a:pt x="213" y="352"/>
                  <a:pt x="213" y="352"/>
                  <a:pt x="213" y="352"/>
                </a:cubicBezTo>
                <a:cubicBezTo>
                  <a:pt x="289" y="352"/>
                  <a:pt x="289" y="352"/>
                  <a:pt x="289" y="352"/>
                </a:cubicBezTo>
                <a:cubicBezTo>
                  <a:pt x="294" y="287"/>
                  <a:pt x="294" y="287"/>
                  <a:pt x="294" y="287"/>
                </a:cubicBezTo>
                <a:cubicBezTo>
                  <a:pt x="294" y="286"/>
                  <a:pt x="293" y="286"/>
                  <a:pt x="292" y="286"/>
                </a:cubicBezTo>
                <a:lnTo>
                  <a:pt x="213" y="233"/>
                </a:lnTo>
                <a:close/>
                <a:moveTo>
                  <a:pt x="117" y="352"/>
                </a:moveTo>
                <a:cubicBezTo>
                  <a:pt x="192" y="352"/>
                  <a:pt x="192" y="352"/>
                  <a:pt x="192" y="352"/>
                </a:cubicBezTo>
                <a:cubicBezTo>
                  <a:pt x="192" y="283"/>
                  <a:pt x="192" y="283"/>
                  <a:pt x="192" y="283"/>
                </a:cubicBezTo>
                <a:cubicBezTo>
                  <a:pt x="117" y="233"/>
                  <a:pt x="117" y="233"/>
                  <a:pt x="117" y="233"/>
                </a:cubicBezTo>
                <a:lnTo>
                  <a:pt x="117"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361"/>
                </a:moveTo>
                <a:cubicBezTo>
                  <a:pt x="384" y="126"/>
                  <a:pt x="384" y="126"/>
                  <a:pt x="384" y="126"/>
                </a:cubicBezTo>
                <a:cubicBezTo>
                  <a:pt x="383" y="121"/>
                  <a:pt x="378" y="117"/>
                  <a:pt x="373" y="117"/>
                </a:cubicBezTo>
                <a:cubicBezTo>
                  <a:pt x="320" y="117"/>
                  <a:pt x="320" y="117"/>
                  <a:pt x="320" y="117"/>
                </a:cubicBezTo>
                <a:cubicBezTo>
                  <a:pt x="314" y="117"/>
                  <a:pt x="310" y="121"/>
                  <a:pt x="309" y="127"/>
                </a:cubicBezTo>
                <a:cubicBezTo>
                  <a:pt x="297" y="263"/>
                  <a:pt x="297" y="263"/>
                  <a:pt x="297" y="263"/>
                </a:cubicBezTo>
                <a:cubicBezTo>
                  <a:pt x="208" y="204"/>
                  <a:pt x="208" y="204"/>
                  <a:pt x="208" y="204"/>
                </a:cubicBezTo>
                <a:cubicBezTo>
                  <a:pt x="205" y="202"/>
                  <a:pt x="201" y="202"/>
                  <a:pt x="197" y="204"/>
                </a:cubicBezTo>
                <a:cubicBezTo>
                  <a:pt x="194" y="205"/>
                  <a:pt x="192" y="209"/>
                  <a:pt x="192" y="213"/>
                </a:cubicBezTo>
                <a:cubicBezTo>
                  <a:pt x="192" y="257"/>
                  <a:pt x="192" y="257"/>
                  <a:pt x="192" y="257"/>
                </a:cubicBezTo>
                <a:cubicBezTo>
                  <a:pt x="112" y="204"/>
                  <a:pt x="112" y="204"/>
                  <a:pt x="112" y="204"/>
                </a:cubicBezTo>
                <a:cubicBezTo>
                  <a:pt x="109" y="202"/>
                  <a:pt x="105" y="202"/>
                  <a:pt x="101" y="204"/>
                </a:cubicBezTo>
                <a:cubicBezTo>
                  <a:pt x="98" y="205"/>
                  <a:pt x="96" y="209"/>
                  <a:pt x="96" y="213"/>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4"/>
                  <a:pt x="416" y="36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5"/>
          <p:cNvSpPr>
            <a:spLocks noChangeAspect="1" noEditPoints="1"/>
          </p:cNvSpPr>
          <p:nvPr/>
        </p:nvSpPr>
        <p:spPr bwMode="auto">
          <a:xfrm>
            <a:off x="7827328" y="5401665"/>
            <a:ext cx="695893" cy="695895"/>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048833397"/>
      </p:ext>
    </p:extLst>
  </p:cSld>
  <p:clrMapOvr>
    <a:masterClrMapping/>
  </p:clrMapOvr>
  <p:transition>
    <p:fade/>
  </p:transition>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Leaves and bubble combined</a:t>
            </a:r>
            <a:endParaRPr lang="en-US" dirty="0"/>
          </a:p>
        </p:txBody>
      </p:sp>
      <p:sp>
        <p:nvSpPr>
          <p:cNvPr id="28" name="Oval 2"/>
          <p:cNvSpPr/>
          <p:nvPr/>
        </p:nvSpPr>
        <p:spPr bwMode="gray">
          <a:xfrm>
            <a:off x="3742096" y="2671776"/>
            <a:ext cx="4173172" cy="3351800"/>
          </a:xfrm>
          <a:custGeom>
            <a:avLst/>
            <a:gdLst>
              <a:gd name="connsiteX0" fmla="*/ 389298 w 4173172"/>
              <a:gd name="connsiteY0" fmla="*/ 0 h 3351800"/>
              <a:gd name="connsiteX1" fmla="*/ 389298 w 4173172"/>
              <a:gd name="connsiteY1" fmla="*/ 9553 h 3351800"/>
              <a:gd name="connsiteX2" fmla="*/ 671470 w 4173172"/>
              <a:gd name="connsiteY2" fmla="*/ 291725 h 3351800"/>
              <a:gd name="connsiteX3" fmla="*/ 2837142 w 4173172"/>
              <a:gd name="connsiteY3" fmla="*/ 291725 h 3351800"/>
              <a:gd name="connsiteX4" fmla="*/ 2837142 w 4173172"/>
              <a:gd name="connsiteY4" fmla="*/ 1551661 h 3351800"/>
              <a:gd name="connsiteX5" fmla="*/ 3089136 w 4173172"/>
              <a:gd name="connsiteY5" fmla="*/ 1803655 h 3351800"/>
              <a:gd name="connsiteX6" fmla="*/ 4173172 w 4173172"/>
              <a:gd name="connsiteY6" fmla="*/ 1803655 h 3351800"/>
              <a:gd name="connsiteX7" fmla="*/ 2127565 w 4173172"/>
              <a:gd name="connsiteY7" fmla="*/ 3351800 h 3351800"/>
              <a:gd name="connsiteX8" fmla="*/ 0 w 4173172"/>
              <a:gd name="connsiteY8" fmla="*/ 1224235 h 3351800"/>
              <a:gd name="connsiteX9" fmla="*/ 389298 w 4173172"/>
              <a:gd name="connsiteY9" fmla="*/ 0 h 3351800"/>
              <a:gd name="connsiteX10" fmla="*/ 3171425 w 4173172"/>
              <a:gd name="connsiteY10" fmla="*/ 291724 h 3351800"/>
              <a:gd name="connsiteX11" fmla="*/ 4039314 w 4173172"/>
              <a:gd name="connsiteY11" fmla="*/ 291724 h 3351800"/>
              <a:gd name="connsiteX12" fmla="*/ 3171425 w 4173172"/>
              <a:gd name="connsiteY12" fmla="*/ 291724 h 3351800"/>
              <a:gd name="connsiteX0" fmla="*/ 389298 w 4173172"/>
              <a:gd name="connsiteY0" fmla="*/ 0 h 3351800"/>
              <a:gd name="connsiteX1" fmla="*/ 389298 w 4173172"/>
              <a:gd name="connsiteY1" fmla="*/ 9553 h 3351800"/>
              <a:gd name="connsiteX2" fmla="*/ 671470 w 4173172"/>
              <a:gd name="connsiteY2" fmla="*/ 291725 h 3351800"/>
              <a:gd name="connsiteX3" fmla="*/ 2837142 w 4173172"/>
              <a:gd name="connsiteY3" fmla="*/ 291725 h 3351800"/>
              <a:gd name="connsiteX4" fmla="*/ 2837142 w 4173172"/>
              <a:gd name="connsiteY4" fmla="*/ 1551661 h 3351800"/>
              <a:gd name="connsiteX5" fmla="*/ 3089136 w 4173172"/>
              <a:gd name="connsiteY5" fmla="*/ 1803655 h 3351800"/>
              <a:gd name="connsiteX6" fmla="*/ 4173172 w 4173172"/>
              <a:gd name="connsiteY6" fmla="*/ 1803655 h 3351800"/>
              <a:gd name="connsiteX7" fmla="*/ 2127565 w 4173172"/>
              <a:gd name="connsiteY7" fmla="*/ 3351800 h 3351800"/>
              <a:gd name="connsiteX8" fmla="*/ 0 w 4173172"/>
              <a:gd name="connsiteY8" fmla="*/ 1224235 h 3351800"/>
              <a:gd name="connsiteX9" fmla="*/ 389298 w 4173172"/>
              <a:gd name="connsiteY9" fmla="*/ 0 h 335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73172" h="3351800">
                <a:moveTo>
                  <a:pt x="389298" y="0"/>
                </a:moveTo>
                <a:lnTo>
                  <a:pt x="389298" y="9553"/>
                </a:lnTo>
                <a:cubicBezTo>
                  <a:pt x="389298" y="165392"/>
                  <a:pt x="515631" y="291725"/>
                  <a:pt x="671470" y="291725"/>
                </a:cubicBezTo>
                <a:lnTo>
                  <a:pt x="2837142" y="291725"/>
                </a:lnTo>
                <a:lnTo>
                  <a:pt x="2837142" y="1551661"/>
                </a:lnTo>
                <a:cubicBezTo>
                  <a:pt x="2837142" y="1690833"/>
                  <a:pt x="2949964" y="1803655"/>
                  <a:pt x="3089136" y="1803655"/>
                </a:cubicBezTo>
                <a:lnTo>
                  <a:pt x="4173172" y="1803655"/>
                </a:lnTo>
                <a:cubicBezTo>
                  <a:pt x="3922639" y="2697346"/>
                  <a:pt x="3101531" y="3351800"/>
                  <a:pt x="2127565" y="3351800"/>
                </a:cubicBezTo>
                <a:cubicBezTo>
                  <a:pt x="952543" y="3351800"/>
                  <a:pt x="0" y="2399257"/>
                  <a:pt x="0" y="1224235"/>
                </a:cubicBezTo>
                <a:cubicBezTo>
                  <a:pt x="0" y="768074"/>
                  <a:pt x="143559" y="345443"/>
                  <a:pt x="389298" y="0"/>
                </a:cubicBez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9" name="Round Diagonal Corner Rectangle 28"/>
          <p:cNvSpPr/>
          <p:nvPr/>
        </p:nvSpPr>
        <p:spPr bwMode="gray">
          <a:xfrm>
            <a:off x="6675421" y="1596426"/>
            <a:ext cx="2052943" cy="1267486"/>
          </a:xfrm>
          <a:prstGeom prst="round2Diag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30" name="Round Diagonal Corner Rectangle 29"/>
          <p:cNvSpPr/>
          <p:nvPr/>
        </p:nvSpPr>
        <p:spPr bwMode="gray">
          <a:xfrm flipH="1">
            <a:off x="6675419" y="2963500"/>
            <a:ext cx="2596369" cy="1421395"/>
          </a:xfrm>
          <a:prstGeom prst="round2Diag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31" name="Round Diagonal Corner Rectangle 30"/>
          <p:cNvSpPr/>
          <p:nvPr/>
        </p:nvSpPr>
        <p:spPr bwMode="gray">
          <a:xfrm flipH="1">
            <a:off x="4240038" y="1442518"/>
            <a:ext cx="2335795" cy="1421395"/>
          </a:xfrm>
          <a:prstGeom prst="round2Diag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32" name="Rectangle 31"/>
          <p:cNvSpPr/>
          <p:nvPr/>
        </p:nvSpPr>
        <p:spPr>
          <a:xfrm>
            <a:off x="4447110" y="3220031"/>
            <a:ext cx="2023541" cy="2000548"/>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body copy that is not here to be read it is not here to be read is the body copy it’s just dummy text. This is dummy text it is not here to be read. This is dummy text it is not here to be read. This is body copy that is not here to be read it is not here to be read is the body copy it’s just dummy text.</a:t>
            </a:r>
          </a:p>
          <a:p>
            <a:pPr>
              <a:spcBef>
                <a:spcPts val="600"/>
              </a:spcBef>
            </a:pPr>
            <a:endParaRPr lang="en-US" sz="1000" dirty="0">
              <a:solidFill>
                <a:schemeClr val="bg1"/>
              </a:solidFill>
            </a:endParaRPr>
          </a:p>
        </p:txBody>
      </p:sp>
      <p:cxnSp>
        <p:nvCxnSpPr>
          <p:cNvPr id="33" name="Straight Connector 32"/>
          <p:cNvCxnSpPr/>
          <p:nvPr/>
        </p:nvCxnSpPr>
        <p:spPr>
          <a:xfrm>
            <a:off x="4447110" y="3412276"/>
            <a:ext cx="1966391"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4754562" y="1674020"/>
            <a:ext cx="1766888" cy="846386"/>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a:t>
            </a:r>
          </a:p>
        </p:txBody>
      </p:sp>
      <p:cxnSp>
        <p:nvCxnSpPr>
          <p:cNvPr id="47" name="Straight Connector 46"/>
          <p:cNvCxnSpPr/>
          <p:nvPr/>
        </p:nvCxnSpPr>
        <p:spPr>
          <a:xfrm>
            <a:off x="4754562" y="1866265"/>
            <a:ext cx="160178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6765507" y="1827909"/>
            <a:ext cx="1353257" cy="692497"/>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 </a:t>
            </a:r>
          </a:p>
        </p:txBody>
      </p:sp>
      <p:cxnSp>
        <p:nvCxnSpPr>
          <p:cNvPr id="60" name="Straight Connector 59"/>
          <p:cNvCxnSpPr/>
          <p:nvPr/>
        </p:nvCxnSpPr>
        <p:spPr>
          <a:xfrm>
            <a:off x="6765507" y="2020153"/>
            <a:ext cx="117299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a:off x="6829008" y="3220032"/>
            <a:ext cx="1624112" cy="692497"/>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a:t>
            </a:r>
          </a:p>
        </p:txBody>
      </p:sp>
      <p:cxnSp>
        <p:nvCxnSpPr>
          <p:cNvPr id="62" name="Straight Connector 61"/>
          <p:cNvCxnSpPr/>
          <p:nvPr/>
        </p:nvCxnSpPr>
        <p:spPr>
          <a:xfrm>
            <a:off x="6829007" y="3412276"/>
            <a:ext cx="160178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1" name="Group 17"/>
          <p:cNvGrpSpPr>
            <a:grpSpLocks noChangeAspect="1"/>
          </p:cNvGrpSpPr>
          <p:nvPr/>
        </p:nvGrpSpPr>
        <p:grpSpPr bwMode="auto">
          <a:xfrm>
            <a:off x="4302604" y="1641620"/>
            <a:ext cx="367631" cy="367631"/>
            <a:chOff x="2387" y="1141"/>
            <a:chExt cx="340" cy="340"/>
          </a:xfrm>
          <a:solidFill>
            <a:schemeClr val="bg1"/>
          </a:solidFill>
        </p:grpSpPr>
        <p:sp>
          <p:nvSpPr>
            <p:cNvPr id="72"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162"/>
          <p:cNvGrpSpPr>
            <a:grpSpLocks noChangeAspect="1"/>
          </p:cNvGrpSpPr>
          <p:nvPr/>
        </p:nvGrpSpPr>
        <p:grpSpPr bwMode="auto">
          <a:xfrm>
            <a:off x="3935507" y="3179474"/>
            <a:ext cx="367631" cy="367631"/>
            <a:chOff x="3425" y="1699"/>
            <a:chExt cx="340" cy="340"/>
          </a:xfrm>
          <a:solidFill>
            <a:schemeClr val="bg1"/>
          </a:solidFill>
        </p:grpSpPr>
        <p:sp>
          <p:nvSpPr>
            <p:cNvPr id="78"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67"/>
          <p:cNvGrpSpPr>
            <a:grpSpLocks noChangeAspect="1"/>
          </p:cNvGrpSpPr>
          <p:nvPr/>
        </p:nvGrpSpPr>
        <p:grpSpPr bwMode="auto">
          <a:xfrm>
            <a:off x="8695010" y="3137908"/>
            <a:ext cx="368254" cy="368152"/>
            <a:chOff x="1017" y="408"/>
            <a:chExt cx="3636" cy="3635"/>
          </a:xfrm>
          <a:solidFill>
            <a:schemeClr val="bg1"/>
          </a:solidFill>
        </p:grpSpPr>
        <p:sp>
          <p:nvSpPr>
            <p:cNvPr id="81"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3" name="Group 537"/>
          <p:cNvGrpSpPr>
            <a:grpSpLocks noChangeAspect="1"/>
          </p:cNvGrpSpPr>
          <p:nvPr/>
        </p:nvGrpSpPr>
        <p:grpSpPr bwMode="auto">
          <a:xfrm>
            <a:off x="8222006" y="1738598"/>
            <a:ext cx="367982" cy="367982"/>
            <a:chOff x="3877" y="2753"/>
            <a:chExt cx="340" cy="340"/>
          </a:xfrm>
          <a:solidFill>
            <a:schemeClr val="bg1"/>
          </a:solidFill>
        </p:grpSpPr>
        <p:sp>
          <p:nvSpPr>
            <p:cNvPr id="84" name="Freeform 538"/>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539"/>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96607321"/>
      </p:ext>
    </p:extLst>
  </p:cSld>
  <p:clrMapOvr>
    <a:masterClrMapping/>
  </p:clrMapOvr>
  <p:transition>
    <p:fade/>
  </p:transition>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Leaves with text</a:t>
            </a:r>
            <a:endParaRPr lang="en-US" dirty="0"/>
          </a:p>
        </p:txBody>
      </p:sp>
      <p:sp>
        <p:nvSpPr>
          <p:cNvPr id="86" name="Rounded Rectangle 5"/>
          <p:cNvSpPr/>
          <p:nvPr/>
        </p:nvSpPr>
        <p:spPr>
          <a:xfrm>
            <a:off x="3620671" y="1600202"/>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Rounded Rectangle 5"/>
          <p:cNvSpPr/>
          <p:nvPr/>
        </p:nvSpPr>
        <p:spPr>
          <a:xfrm>
            <a:off x="6472480" y="3366073"/>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Rounded Rectangle 5"/>
          <p:cNvSpPr/>
          <p:nvPr/>
        </p:nvSpPr>
        <p:spPr>
          <a:xfrm flipV="1">
            <a:off x="6472481" y="1836586"/>
            <a:ext cx="2050775" cy="1440377"/>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Rectangle 88"/>
          <p:cNvSpPr/>
          <p:nvPr/>
        </p:nvSpPr>
        <p:spPr>
          <a:xfrm>
            <a:off x="4200397" y="1722172"/>
            <a:ext cx="2043973" cy="1000274"/>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cxnSp>
        <p:nvCxnSpPr>
          <p:cNvPr id="90" name="Straight Connector 89"/>
          <p:cNvCxnSpPr/>
          <p:nvPr/>
        </p:nvCxnSpPr>
        <p:spPr>
          <a:xfrm>
            <a:off x="4205457" y="1925446"/>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Rectangle 90"/>
          <p:cNvSpPr/>
          <p:nvPr/>
        </p:nvSpPr>
        <p:spPr>
          <a:xfrm>
            <a:off x="6601279" y="2114507"/>
            <a:ext cx="1600613" cy="692497"/>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p>
          <a:p>
            <a:pPr>
              <a:spcBef>
                <a:spcPts val="600"/>
              </a:spcBef>
            </a:pPr>
            <a:r>
              <a:rPr lang="en-US" sz="1000" dirty="0">
                <a:solidFill>
                  <a:schemeClr val="bg1"/>
                </a:solidFill>
              </a:rPr>
              <a:t>This is dummy text it is not here to be read. This is dummy text it is not here to be read. </a:t>
            </a:r>
          </a:p>
        </p:txBody>
      </p:sp>
      <p:cxnSp>
        <p:nvCxnSpPr>
          <p:cNvPr id="92" name="Straight Connector 91"/>
          <p:cNvCxnSpPr/>
          <p:nvPr/>
        </p:nvCxnSpPr>
        <p:spPr>
          <a:xfrm>
            <a:off x="6575818" y="2324987"/>
            <a:ext cx="1254720"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6650077" y="3545961"/>
            <a:ext cx="1940871" cy="846386"/>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a:t>
            </a:r>
          </a:p>
        </p:txBody>
      </p:sp>
      <p:cxnSp>
        <p:nvCxnSpPr>
          <p:cNvPr id="94" name="Straight Connector 93"/>
          <p:cNvCxnSpPr/>
          <p:nvPr/>
        </p:nvCxnSpPr>
        <p:spPr>
          <a:xfrm>
            <a:off x="6650076" y="3754298"/>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Rounded Rectangle 5"/>
          <p:cNvSpPr/>
          <p:nvPr/>
        </p:nvSpPr>
        <p:spPr>
          <a:xfrm flipV="1">
            <a:off x="3386892" y="3366073"/>
            <a:ext cx="2982112" cy="1863153"/>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6" name="Rectangle 95"/>
          <p:cNvSpPr/>
          <p:nvPr/>
        </p:nvSpPr>
        <p:spPr>
          <a:xfrm>
            <a:off x="4191353" y="3529069"/>
            <a:ext cx="2017372" cy="1000274"/>
          </a:xfrm>
          <a:prstGeom prst="rect">
            <a:avLst/>
          </a:prstGeom>
        </p:spPr>
        <p:txBody>
          <a:bodyPr wrap="square" lIns="0" tIns="0" rIns="0" bIns="0">
            <a:spAutoFit/>
          </a:bodyPr>
          <a:lstStyle/>
          <a:p>
            <a:pPr>
              <a:spcBef>
                <a:spcPts val="600"/>
              </a:spcBef>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Bef>
                <a:spcPts val="600"/>
              </a:spcBef>
            </a:pPr>
            <a:r>
              <a:rPr lang="en-US" sz="1000" dirty="0">
                <a:solidFill>
                  <a:schemeClr val="bg1"/>
                </a:solidFill>
              </a:rPr>
              <a:t>This is dummy text it is not here to be read. This is dummy text it is not here to be read. This is dummy text it is not here to be read. This is dummy text it is not here to be read.</a:t>
            </a:r>
          </a:p>
        </p:txBody>
      </p:sp>
      <p:cxnSp>
        <p:nvCxnSpPr>
          <p:cNvPr id="97" name="Straight Connector 96"/>
          <p:cNvCxnSpPr/>
          <p:nvPr/>
        </p:nvCxnSpPr>
        <p:spPr>
          <a:xfrm>
            <a:off x="4191353" y="3737405"/>
            <a:ext cx="1873178" cy="0"/>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7" name="Group 17"/>
          <p:cNvGrpSpPr>
            <a:grpSpLocks noChangeAspect="1"/>
          </p:cNvGrpSpPr>
          <p:nvPr/>
        </p:nvGrpSpPr>
        <p:grpSpPr bwMode="auto">
          <a:xfrm>
            <a:off x="3720713" y="1738605"/>
            <a:ext cx="367631" cy="367631"/>
            <a:chOff x="2387" y="1141"/>
            <a:chExt cx="340" cy="340"/>
          </a:xfrm>
          <a:solidFill>
            <a:schemeClr val="bg1"/>
          </a:solidFill>
        </p:grpSpPr>
        <p:sp>
          <p:nvSpPr>
            <p:cNvPr id="108"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3" name="Group 162"/>
          <p:cNvGrpSpPr>
            <a:grpSpLocks noChangeAspect="1"/>
          </p:cNvGrpSpPr>
          <p:nvPr/>
        </p:nvGrpSpPr>
        <p:grpSpPr bwMode="auto">
          <a:xfrm>
            <a:off x="3589144" y="3553551"/>
            <a:ext cx="367631" cy="367631"/>
            <a:chOff x="3425" y="1699"/>
            <a:chExt cx="340" cy="340"/>
          </a:xfrm>
          <a:solidFill>
            <a:schemeClr val="bg1"/>
          </a:solidFill>
        </p:grpSpPr>
        <p:sp>
          <p:nvSpPr>
            <p:cNvPr id="114"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6" name="Group 67"/>
          <p:cNvGrpSpPr>
            <a:grpSpLocks noChangeAspect="1"/>
          </p:cNvGrpSpPr>
          <p:nvPr/>
        </p:nvGrpSpPr>
        <p:grpSpPr bwMode="auto">
          <a:xfrm>
            <a:off x="8625735" y="3456563"/>
            <a:ext cx="368254" cy="368152"/>
            <a:chOff x="1017" y="408"/>
            <a:chExt cx="3636" cy="3635"/>
          </a:xfrm>
          <a:solidFill>
            <a:schemeClr val="bg1"/>
          </a:solidFill>
        </p:grpSpPr>
        <p:sp>
          <p:nvSpPr>
            <p:cNvPr id="117" name="Freeform 68"/>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69"/>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9" name="Group 537"/>
          <p:cNvGrpSpPr>
            <a:grpSpLocks noChangeAspect="1"/>
          </p:cNvGrpSpPr>
          <p:nvPr/>
        </p:nvGrpSpPr>
        <p:grpSpPr bwMode="auto">
          <a:xfrm>
            <a:off x="8014187" y="1932568"/>
            <a:ext cx="367982" cy="367982"/>
            <a:chOff x="3877" y="2753"/>
            <a:chExt cx="340" cy="340"/>
          </a:xfrm>
          <a:solidFill>
            <a:schemeClr val="bg1"/>
          </a:solidFill>
        </p:grpSpPr>
        <p:sp>
          <p:nvSpPr>
            <p:cNvPr id="120" name="Freeform 538"/>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539"/>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74034713"/>
      </p:ext>
    </p:extLst>
  </p:cSld>
  <p:clrMapOvr>
    <a:masterClrMapping/>
  </p:clrMapOvr>
  <p:transition>
    <p:fade/>
  </p:transition>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Subtitle runs here</a:t>
            </a:r>
            <a:endParaRPr lang="en-GB" dirty="0"/>
          </a:p>
        </p:txBody>
      </p:sp>
      <p:sp>
        <p:nvSpPr>
          <p:cNvPr id="3" name="Title 2"/>
          <p:cNvSpPr>
            <a:spLocks noGrp="1"/>
          </p:cNvSpPr>
          <p:nvPr>
            <p:ph type="title"/>
          </p:nvPr>
        </p:nvSpPr>
        <p:spPr/>
        <p:txBody>
          <a:bodyPr/>
          <a:lstStyle/>
          <a:p>
            <a:r>
              <a:rPr lang="en-US" altLang="ja-JP"/>
              <a:t>Leaves with text</a:t>
            </a:r>
            <a:endParaRPr lang="en-GB" dirty="0"/>
          </a:p>
        </p:txBody>
      </p:sp>
      <p:sp>
        <p:nvSpPr>
          <p:cNvPr id="48" name="Rounded Rectangle 5"/>
          <p:cNvSpPr/>
          <p:nvPr/>
        </p:nvSpPr>
        <p:spPr>
          <a:xfrm>
            <a:off x="3620671" y="1600202"/>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9" name="Rounded Rectangle 5"/>
          <p:cNvSpPr/>
          <p:nvPr/>
        </p:nvSpPr>
        <p:spPr>
          <a:xfrm>
            <a:off x="6472480" y="3366073"/>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Rounded Rectangle 5"/>
          <p:cNvSpPr/>
          <p:nvPr/>
        </p:nvSpPr>
        <p:spPr>
          <a:xfrm flipV="1">
            <a:off x="6472481" y="1836586"/>
            <a:ext cx="2050775" cy="1440377"/>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Rectangle 50"/>
          <p:cNvSpPr/>
          <p:nvPr/>
        </p:nvSpPr>
        <p:spPr>
          <a:xfrm>
            <a:off x="4200397" y="1722172"/>
            <a:ext cx="2043973" cy="1000274"/>
          </a:xfrm>
          <a:prstGeom prst="rect">
            <a:avLst/>
          </a:prstGeom>
        </p:spPr>
        <p:txBody>
          <a:bodyPr wrap="square" lIns="0" tIns="0" rIns="0" bIns="0">
            <a:spAutoFit/>
          </a:bodyPr>
          <a:lstStyle/>
          <a:p>
            <a:pPr>
              <a:spcBef>
                <a:spcPts val="600"/>
              </a:spcBef>
            </a:pPr>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r>
              <a:rPr lang="en-US" sz="1000" b="1" dirty="0">
                <a:solidFill>
                  <a:schemeClr val="accent1"/>
                </a:solidFill>
              </a:rPr>
              <a:t> dolor </a:t>
            </a:r>
          </a:p>
          <a:p>
            <a:pPr>
              <a:spcBef>
                <a:spcPts val="600"/>
              </a:spcBef>
            </a:pPr>
            <a:r>
              <a:rPr lang="en-US" sz="1000" dirty="0"/>
              <a:t>This is dummy text it is not here to be read. This is dummy text it is not here to be read. This is dummy text it is not here to be read. This is dummy text it is not here to be read. </a:t>
            </a:r>
          </a:p>
        </p:txBody>
      </p:sp>
      <p:cxnSp>
        <p:nvCxnSpPr>
          <p:cNvPr id="52" name="Straight Connector 51"/>
          <p:cNvCxnSpPr/>
          <p:nvPr/>
        </p:nvCxnSpPr>
        <p:spPr>
          <a:xfrm>
            <a:off x="4205457" y="1934238"/>
            <a:ext cx="1873178"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6601279" y="2114507"/>
            <a:ext cx="1600613" cy="692497"/>
          </a:xfrm>
          <a:prstGeom prst="rect">
            <a:avLst/>
          </a:prstGeom>
        </p:spPr>
        <p:txBody>
          <a:bodyPr wrap="square" lIns="0" tIns="0" rIns="0" bIns="0">
            <a:spAutoFit/>
          </a:bodyPr>
          <a:lstStyle/>
          <a:p>
            <a:pPr>
              <a:spcBef>
                <a:spcPts val="600"/>
              </a:spcBef>
            </a:pPr>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p>
          <a:p>
            <a:pPr>
              <a:spcBef>
                <a:spcPts val="600"/>
              </a:spcBef>
            </a:pPr>
            <a:r>
              <a:rPr lang="en-US" sz="1000" dirty="0"/>
              <a:t>This is dummy text it is not here to be read. This is dummy text it is not here to be </a:t>
            </a:r>
            <a:r>
              <a:rPr lang="en-US" sz="1000" dirty="0">
                <a:solidFill>
                  <a:schemeClr val="bg1"/>
                </a:solidFill>
              </a:rPr>
              <a:t>read. </a:t>
            </a:r>
          </a:p>
        </p:txBody>
      </p:sp>
      <p:cxnSp>
        <p:nvCxnSpPr>
          <p:cNvPr id="54" name="Straight Connector 53"/>
          <p:cNvCxnSpPr/>
          <p:nvPr/>
        </p:nvCxnSpPr>
        <p:spPr>
          <a:xfrm>
            <a:off x="6575818" y="2333779"/>
            <a:ext cx="1254720"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6650077" y="3545961"/>
            <a:ext cx="1940871" cy="846386"/>
          </a:xfrm>
          <a:prstGeom prst="rect">
            <a:avLst/>
          </a:prstGeom>
        </p:spPr>
        <p:txBody>
          <a:bodyPr wrap="square" lIns="0" tIns="0" rIns="0" bIns="0">
            <a:spAutoFit/>
          </a:bodyPr>
          <a:lstStyle/>
          <a:p>
            <a:pPr>
              <a:spcBef>
                <a:spcPts val="600"/>
              </a:spcBef>
            </a:pPr>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r>
              <a:rPr lang="en-US" sz="1000" b="1" dirty="0">
                <a:solidFill>
                  <a:schemeClr val="accent4"/>
                </a:solidFill>
              </a:rPr>
              <a:t> dolor </a:t>
            </a:r>
          </a:p>
          <a:p>
            <a:pPr>
              <a:spcBef>
                <a:spcPts val="600"/>
              </a:spcBef>
            </a:pPr>
            <a:r>
              <a:rPr lang="en-US" sz="1000" dirty="0"/>
              <a:t>This is dummy text it is not here to be read. This is dummy text it is not here to be read. This is dummy text it is not here to be read. </a:t>
            </a:r>
          </a:p>
        </p:txBody>
      </p:sp>
      <p:cxnSp>
        <p:nvCxnSpPr>
          <p:cNvPr id="60" name="Straight Connector 59"/>
          <p:cNvCxnSpPr/>
          <p:nvPr/>
        </p:nvCxnSpPr>
        <p:spPr>
          <a:xfrm>
            <a:off x="6650076" y="3754298"/>
            <a:ext cx="1873178"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Rounded Rectangle 5"/>
          <p:cNvSpPr/>
          <p:nvPr/>
        </p:nvSpPr>
        <p:spPr>
          <a:xfrm flipV="1">
            <a:off x="3386892" y="3366073"/>
            <a:ext cx="2982112" cy="1863153"/>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Rectangle 65"/>
          <p:cNvSpPr/>
          <p:nvPr/>
        </p:nvSpPr>
        <p:spPr>
          <a:xfrm>
            <a:off x="4191353" y="3529069"/>
            <a:ext cx="2017372" cy="1000274"/>
          </a:xfrm>
          <a:prstGeom prst="rect">
            <a:avLst/>
          </a:prstGeom>
        </p:spPr>
        <p:txBody>
          <a:bodyPr wrap="square" lIns="0" tIns="0" rIns="0" bIns="0">
            <a:spAutoFit/>
          </a:bodyPr>
          <a:lstStyle/>
          <a:p>
            <a:pPr>
              <a:spcBef>
                <a:spcPts val="600"/>
              </a:spcBef>
            </a:pPr>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dolor </a:t>
            </a:r>
          </a:p>
          <a:p>
            <a:pPr>
              <a:spcBef>
                <a:spcPts val="600"/>
              </a:spcBef>
            </a:pPr>
            <a:r>
              <a:rPr lang="en-US" sz="1000" dirty="0"/>
              <a:t>This is dummy text it is not here to be read. This is dummy text it is not here to be read. This is dummy text it is not here to be read. This is dummy text it is not here to be read.</a:t>
            </a:r>
          </a:p>
        </p:txBody>
      </p:sp>
      <p:cxnSp>
        <p:nvCxnSpPr>
          <p:cNvPr id="68" name="Straight Connector 67"/>
          <p:cNvCxnSpPr/>
          <p:nvPr/>
        </p:nvCxnSpPr>
        <p:spPr>
          <a:xfrm>
            <a:off x="4191353" y="3737405"/>
            <a:ext cx="1873178" cy="0"/>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1" name="Freeform 14"/>
          <p:cNvSpPr>
            <a:spLocks noChangeAspect="1" noEditPoints="1"/>
          </p:cNvSpPr>
          <p:nvPr/>
        </p:nvSpPr>
        <p:spPr bwMode="auto">
          <a:xfrm>
            <a:off x="3729999" y="1738603"/>
            <a:ext cx="368713" cy="367631"/>
          </a:xfrm>
          <a:custGeom>
            <a:avLst/>
            <a:gdLst>
              <a:gd name="T0" fmla="*/ 380 w 512"/>
              <a:gd name="T1" fmla="*/ 293 h 512"/>
              <a:gd name="T2" fmla="*/ 380 w 512"/>
              <a:gd name="T3" fmla="*/ 265 h 512"/>
              <a:gd name="T4" fmla="*/ 138 w 512"/>
              <a:gd name="T5" fmla="*/ 259 h 512"/>
              <a:gd name="T6" fmla="*/ 341 w 512"/>
              <a:gd name="T7" fmla="*/ 259 h 512"/>
              <a:gd name="T8" fmla="*/ 138 w 512"/>
              <a:gd name="T9" fmla="*/ 245 h 512"/>
              <a:gd name="T10" fmla="*/ 512 w 512"/>
              <a:gd name="T11" fmla="*/ 256 h 512"/>
              <a:gd name="T12" fmla="*/ 0 w 512"/>
              <a:gd name="T13" fmla="*/ 256 h 512"/>
              <a:gd name="T14" fmla="*/ 512 w 512"/>
              <a:gd name="T15" fmla="*/ 256 h 512"/>
              <a:gd name="T16" fmla="*/ 305 w 512"/>
              <a:gd name="T17" fmla="*/ 186 h 512"/>
              <a:gd name="T18" fmla="*/ 314 w 512"/>
              <a:gd name="T19" fmla="*/ 203 h 512"/>
              <a:gd name="T20" fmla="*/ 323 w 512"/>
              <a:gd name="T21" fmla="*/ 148 h 512"/>
              <a:gd name="T22" fmla="*/ 321 w 512"/>
              <a:gd name="T23" fmla="*/ 109 h 512"/>
              <a:gd name="T24" fmla="*/ 305 w 512"/>
              <a:gd name="T25" fmla="*/ 160 h 512"/>
              <a:gd name="T26" fmla="*/ 231 w 512"/>
              <a:gd name="T27" fmla="*/ 186 h 512"/>
              <a:gd name="T28" fmla="*/ 239 w 512"/>
              <a:gd name="T29" fmla="*/ 203 h 512"/>
              <a:gd name="T30" fmla="*/ 248 w 512"/>
              <a:gd name="T31" fmla="*/ 148 h 512"/>
              <a:gd name="T32" fmla="*/ 246 w 512"/>
              <a:gd name="T33" fmla="*/ 109 h 512"/>
              <a:gd name="T34" fmla="*/ 230 w 512"/>
              <a:gd name="T35" fmla="*/ 160 h 512"/>
              <a:gd name="T36" fmla="*/ 156 w 512"/>
              <a:gd name="T37" fmla="*/ 186 h 512"/>
              <a:gd name="T38" fmla="*/ 164 w 512"/>
              <a:gd name="T39" fmla="*/ 203 h 512"/>
              <a:gd name="T40" fmla="*/ 173 w 512"/>
              <a:gd name="T41" fmla="*/ 148 h 512"/>
              <a:gd name="T42" fmla="*/ 171 w 512"/>
              <a:gd name="T43" fmla="*/ 109 h 512"/>
              <a:gd name="T44" fmla="*/ 155 w 512"/>
              <a:gd name="T45" fmla="*/ 160 h 512"/>
              <a:gd name="T46" fmla="*/ 380 w 512"/>
              <a:gd name="T47" fmla="*/ 243 h 512"/>
              <a:gd name="T48" fmla="*/ 362 w 512"/>
              <a:gd name="T49" fmla="*/ 234 h 512"/>
              <a:gd name="T50" fmla="*/ 128 w 512"/>
              <a:gd name="T51" fmla="*/ 224 h 512"/>
              <a:gd name="T52" fmla="*/ 117 w 512"/>
              <a:gd name="T53" fmla="*/ 259 h 512"/>
              <a:gd name="T54" fmla="*/ 128 w 512"/>
              <a:gd name="T55" fmla="*/ 373 h 512"/>
              <a:gd name="T56" fmla="*/ 128 w 512"/>
              <a:gd name="T57" fmla="*/ 394 h 512"/>
              <a:gd name="T58" fmla="*/ 394 w 512"/>
              <a:gd name="T59" fmla="*/ 384 h 512"/>
              <a:gd name="T60" fmla="*/ 290 w 512"/>
              <a:gd name="T61" fmla="*/ 373 h 512"/>
              <a:gd name="T62" fmla="*/ 380 w 512"/>
              <a:gd name="T63" fmla="*/ 3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94" y="279"/>
                </a:moveTo>
                <a:cubicBezTo>
                  <a:pt x="394" y="286"/>
                  <a:pt x="388" y="293"/>
                  <a:pt x="380" y="293"/>
                </a:cubicBezTo>
                <a:cubicBezTo>
                  <a:pt x="372" y="293"/>
                  <a:pt x="366" y="286"/>
                  <a:pt x="366" y="279"/>
                </a:cubicBezTo>
                <a:cubicBezTo>
                  <a:pt x="366" y="271"/>
                  <a:pt x="372" y="265"/>
                  <a:pt x="380" y="265"/>
                </a:cubicBezTo>
                <a:cubicBezTo>
                  <a:pt x="388" y="265"/>
                  <a:pt x="394" y="271"/>
                  <a:pt x="394" y="279"/>
                </a:cubicBezTo>
                <a:close/>
                <a:moveTo>
                  <a:pt x="138" y="259"/>
                </a:moveTo>
                <a:cubicBezTo>
                  <a:pt x="138" y="317"/>
                  <a:pt x="183" y="362"/>
                  <a:pt x="240" y="362"/>
                </a:cubicBezTo>
                <a:cubicBezTo>
                  <a:pt x="296" y="362"/>
                  <a:pt x="341" y="317"/>
                  <a:pt x="341" y="259"/>
                </a:cubicBezTo>
                <a:cubicBezTo>
                  <a:pt x="341" y="245"/>
                  <a:pt x="341" y="245"/>
                  <a:pt x="341" y="245"/>
                </a:cubicBezTo>
                <a:cubicBezTo>
                  <a:pt x="138" y="245"/>
                  <a:pt x="138" y="245"/>
                  <a:pt x="138" y="245"/>
                </a:cubicBezTo>
                <a:lnTo>
                  <a:pt x="138" y="25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5" y="160"/>
                </a:moveTo>
                <a:cubicBezTo>
                  <a:pt x="314" y="174"/>
                  <a:pt x="306" y="185"/>
                  <a:pt x="305" y="186"/>
                </a:cubicBezTo>
                <a:cubicBezTo>
                  <a:pt x="302" y="190"/>
                  <a:pt x="302" y="197"/>
                  <a:pt x="307" y="201"/>
                </a:cubicBezTo>
                <a:cubicBezTo>
                  <a:pt x="309" y="202"/>
                  <a:pt x="311" y="203"/>
                  <a:pt x="314" y="203"/>
                </a:cubicBezTo>
                <a:cubicBezTo>
                  <a:pt x="317" y="203"/>
                  <a:pt x="320" y="202"/>
                  <a:pt x="322" y="199"/>
                </a:cubicBezTo>
                <a:cubicBezTo>
                  <a:pt x="323" y="198"/>
                  <a:pt x="340" y="176"/>
                  <a:pt x="323" y="148"/>
                </a:cubicBezTo>
                <a:cubicBezTo>
                  <a:pt x="314" y="134"/>
                  <a:pt x="321" y="125"/>
                  <a:pt x="322" y="124"/>
                </a:cubicBezTo>
                <a:cubicBezTo>
                  <a:pt x="326" y="119"/>
                  <a:pt x="325" y="113"/>
                  <a:pt x="321" y="109"/>
                </a:cubicBezTo>
                <a:cubicBezTo>
                  <a:pt x="316" y="105"/>
                  <a:pt x="310" y="106"/>
                  <a:pt x="306" y="110"/>
                </a:cubicBezTo>
                <a:cubicBezTo>
                  <a:pt x="305" y="111"/>
                  <a:pt x="287" y="132"/>
                  <a:pt x="305" y="160"/>
                </a:cubicBezTo>
                <a:close/>
                <a:moveTo>
                  <a:pt x="230" y="160"/>
                </a:moveTo>
                <a:cubicBezTo>
                  <a:pt x="239" y="174"/>
                  <a:pt x="231" y="185"/>
                  <a:pt x="231" y="186"/>
                </a:cubicBezTo>
                <a:cubicBezTo>
                  <a:pt x="227" y="190"/>
                  <a:pt x="228" y="197"/>
                  <a:pt x="232" y="201"/>
                </a:cubicBezTo>
                <a:cubicBezTo>
                  <a:pt x="234" y="202"/>
                  <a:pt x="237" y="203"/>
                  <a:pt x="239" y="203"/>
                </a:cubicBezTo>
                <a:cubicBezTo>
                  <a:pt x="242" y="203"/>
                  <a:pt x="245" y="202"/>
                  <a:pt x="247" y="199"/>
                </a:cubicBezTo>
                <a:cubicBezTo>
                  <a:pt x="248" y="198"/>
                  <a:pt x="265" y="176"/>
                  <a:pt x="248" y="148"/>
                </a:cubicBezTo>
                <a:cubicBezTo>
                  <a:pt x="239" y="134"/>
                  <a:pt x="246" y="125"/>
                  <a:pt x="247" y="124"/>
                </a:cubicBezTo>
                <a:cubicBezTo>
                  <a:pt x="251" y="119"/>
                  <a:pt x="250" y="113"/>
                  <a:pt x="246" y="109"/>
                </a:cubicBezTo>
                <a:cubicBezTo>
                  <a:pt x="242" y="105"/>
                  <a:pt x="235" y="106"/>
                  <a:pt x="231" y="110"/>
                </a:cubicBezTo>
                <a:cubicBezTo>
                  <a:pt x="230" y="111"/>
                  <a:pt x="212" y="132"/>
                  <a:pt x="230" y="160"/>
                </a:cubicBezTo>
                <a:close/>
                <a:moveTo>
                  <a:pt x="155" y="160"/>
                </a:moveTo>
                <a:cubicBezTo>
                  <a:pt x="164" y="174"/>
                  <a:pt x="157" y="185"/>
                  <a:pt x="156" y="186"/>
                </a:cubicBezTo>
                <a:cubicBezTo>
                  <a:pt x="152" y="190"/>
                  <a:pt x="153" y="197"/>
                  <a:pt x="158" y="201"/>
                </a:cubicBezTo>
                <a:cubicBezTo>
                  <a:pt x="160" y="202"/>
                  <a:pt x="162" y="203"/>
                  <a:pt x="164" y="203"/>
                </a:cubicBezTo>
                <a:cubicBezTo>
                  <a:pt x="167" y="203"/>
                  <a:pt x="171" y="202"/>
                  <a:pt x="173" y="199"/>
                </a:cubicBezTo>
                <a:cubicBezTo>
                  <a:pt x="173" y="198"/>
                  <a:pt x="191" y="176"/>
                  <a:pt x="173" y="148"/>
                </a:cubicBezTo>
                <a:cubicBezTo>
                  <a:pt x="165" y="134"/>
                  <a:pt x="172" y="125"/>
                  <a:pt x="172" y="124"/>
                </a:cubicBezTo>
                <a:cubicBezTo>
                  <a:pt x="176" y="119"/>
                  <a:pt x="176" y="113"/>
                  <a:pt x="171" y="109"/>
                </a:cubicBezTo>
                <a:cubicBezTo>
                  <a:pt x="167" y="105"/>
                  <a:pt x="160" y="106"/>
                  <a:pt x="156" y="110"/>
                </a:cubicBezTo>
                <a:cubicBezTo>
                  <a:pt x="156" y="111"/>
                  <a:pt x="138" y="132"/>
                  <a:pt x="155" y="160"/>
                </a:cubicBezTo>
                <a:close/>
                <a:moveTo>
                  <a:pt x="416" y="279"/>
                </a:moveTo>
                <a:cubicBezTo>
                  <a:pt x="416" y="259"/>
                  <a:pt x="400" y="243"/>
                  <a:pt x="380" y="243"/>
                </a:cubicBezTo>
                <a:cubicBezTo>
                  <a:pt x="374" y="243"/>
                  <a:pt x="368" y="245"/>
                  <a:pt x="362" y="248"/>
                </a:cubicBezTo>
                <a:cubicBezTo>
                  <a:pt x="362" y="234"/>
                  <a:pt x="362" y="234"/>
                  <a:pt x="362" y="234"/>
                </a:cubicBezTo>
                <a:cubicBezTo>
                  <a:pt x="362" y="228"/>
                  <a:pt x="358" y="224"/>
                  <a:pt x="352" y="224"/>
                </a:cubicBezTo>
                <a:cubicBezTo>
                  <a:pt x="128" y="224"/>
                  <a:pt x="128" y="224"/>
                  <a:pt x="128" y="224"/>
                </a:cubicBezTo>
                <a:cubicBezTo>
                  <a:pt x="122" y="224"/>
                  <a:pt x="117" y="228"/>
                  <a:pt x="117" y="234"/>
                </a:cubicBezTo>
                <a:cubicBezTo>
                  <a:pt x="117" y="259"/>
                  <a:pt x="117" y="259"/>
                  <a:pt x="117" y="259"/>
                </a:cubicBezTo>
                <a:cubicBezTo>
                  <a:pt x="117" y="311"/>
                  <a:pt x="147" y="354"/>
                  <a:pt x="190"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ubicBezTo>
                  <a:pt x="394" y="378"/>
                  <a:pt x="390" y="373"/>
                  <a:pt x="384" y="373"/>
                </a:cubicBezTo>
                <a:cubicBezTo>
                  <a:pt x="290" y="373"/>
                  <a:pt x="290" y="373"/>
                  <a:pt x="290" y="373"/>
                </a:cubicBezTo>
                <a:cubicBezTo>
                  <a:pt x="320" y="360"/>
                  <a:pt x="343" y="335"/>
                  <a:pt x="355" y="303"/>
                </a:cubicBezTo>
                <a:cubicBezTo>
                  <a:pt x="361" y="310"/>
                  <a:pt x="370" y="314"/>
                  <a:pt x="380" y="314"/>
                </a:cubicBezTo>
                <a:cubicBezTo>
                  <a:pt x="400" y="314"/>
                  <a:pt x="416" y="298"/>
                  <a:pt x="416" y="2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64"/>
          <p:cNvSpPr>
            <a:spLocks noChangeAspect="1" noEditPoints="1"/>
          </p:cNvSpPr>
          <p:nvPr/>
        </p:nvSpPr>
        <p:spPr bwMode="auto">
          <a:xfrm>
            <a:off x="8635686" y="3456566"/>
            <a:ext cx="368051" cy="368152"/>
          </a:xfrm>
          <a:custGeom>
            <a:avLst/>
            <a:gdLst>
              <a:gd name="T0" fmla="*/ 266 w 512"/>
              <a:gd name="T1" fmla="*/ 159 h 512"/>
              <a:gd name="T2" fmla="*/ 275 w 512"/>
              <a:gd name="T3" fmla="*/ 133 h 512"/>
              <a:gd name="T4" fmla="*/ 308 w 512"/>
              <a:gd name="T5" fmla="*/ 118 h 512"/>
              <a:gd name="T6" fmla="*/ 302 w 512"/>
              <a:gd name="T7" fmla="*/ 133 h 512"/>
              <a:gd name="T8" fmla="*/ 266 w 512"/>
              <a:gd name="T9" fmla="*/ 159 h 512"/>
              <a:gd name="T10" fmla="*/ 330 w 512"/>
              <a:gd name="T11" fmla="*/ 170 h 512"/>
              <a:gd name="T12" fmla="*/ 304 w 512"/>
              <a:gd name="T13" fmla="*/ 176 h 512"/>
              <a:gd name="T14" fmla="*/ 237 w 512"/>
              <a:gd name="T15" fmla="*/ 188 h 512"/>
              <a:gd name="T16" fmla="*/ 211 w 512"/>
              <a:gd name="T17" fmla="*/ 179 h 512"/>
              <a:gd name="T18" fmla="*/ 181 w 512"/>
              <a:gd name="T19" fmla="*/ 170 h 512"/>
              <a:gd name="T20" fmla="*/ 117 w 512"/>
              <a:gd name="T21" fmla="*/ 234 h 512"/>
              <a:gd name="T22" fmla="*/ 188 w 512"/>
              <a:gd name="T23" fmla="*/ 386 h 512"/>
              <a:gd name="T24" fmla="*/ 189 w 512"/>
              <a:gd name="T25" fmla="*/ 387 h 512"/>
              <a:gd name="T26" fmla="*/ 202 w 512"/>
              <a:gd name="T27" fmla="*/ 394 h 512"/>
              <a:gd name="T28" fmla="*/ 209 w 512"/>
              <a:gd name="T29" fmla="*/ 393 h 512"/>
              <a:gd name="T30" fmla="*/ 256 w 512"/>
              <a:gd name="T31" fmla="*/ 384 h 512"/>
              <a:gd name="T32" fmla="*/ 303 w 512"/>
              <a:gd name="T33" fmla="*/ 393 h 512"/>
              <a:gd name="T34" fmla="*/ 309 w 512"/>
              <a:gd name="T35" fmla="*/ 394 h 512"/>
              <a:gd name="T36" fmla="*/ 322 w 512"/>
              <a:gd name="T37" fmla="*/ 387 h 512"/>
              <a:gd name="T38" fmla="*/ 324 w 512"/>
              <a:gd name="T39" fmla="*/ 386 h 512"/>
              <a:gd name="T40" fmla="*/ 394 w 512"/>
              <a:gd name="T41" fmla="*/ 234 h 512"/>
              <a:gd name="T42" fmla="*/ 330 w 512"/>
              <a:gd name="T43" fmla="*/ 170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416 w 512"/>
              <a:gd name="T55" fmla="*/ 234 h 512"/>
              <a:gd name="T56" fmla="*/ 330 w 512"/>
              <a:gd name="T57" fmla="*/ 149 h 512"/>
              <a:gd name="T58" fmla="*/ 317 w 512"/>
              <a:gd name="T59" fmla="*/ 150 h 512"/>
              <a:gd name="T60" fmla="*/ 321 w 512"/>
              <a:gd name="T61" fmla="*/ 143 h 512"/>
              <a:gd name="T62" fmla="*/ 330 w 512"/>
              <a:gd name="T63" fmla="*/ 106 h 512"/>
              <a:gd name="T64" fmla="*/ 320 w 512"/>
              <a:gd name="T65" fmla="*/ 96 h 512"/>
              <a:gd name="T66" fmla="*/ 259 w 512"/>
              <a:gd name="T67" fmla="*/ 119 h 512"/>
              <a:gd name="T68" fmla="*/ 254 w 512"/>
              <a:gd name="T69" fmla="*/ 125 h 512"/>
              <a:gd name="T70" fmla="*/ 229 w 512"/>
              <a:gd name="T71" fmla="*/ 97 h 512"/>
              <a:gd name="T72" fmla="*/ 215 w 512"/>
              <a:gd name="T73" fmla="*/ 101 h 512"/>
              <a:gd name="T74" fmla="*/ 218 w 512"/>
              <a:gd name="T75" fmla="*/ 115 h 512"/>
              <a:gd name="T76" fmla="*/ 244 w 512"/>
              <a:gd name="T77" fmla="*/ 161 h 512"/>
              <a:gd name="T78" fmla="*/ 245 w 512"/>
              <a:gd name="T79" fmla="*/ 168 h 512"/>
              <a:gd name="T80" fmla="*/ 242 w 512"/>
              <a:gd name="T81" fmla="*/ 167 h 512"/>
              <a:gd name="T82" fmla="*/ 220 w 512"/>
              <a:gd name="T83" fmla="*/ 160 h 512"/>
              <a:gd name="T84" fmla="*/ 181 w 512"/>
              <a:gd name="T85" fmla="*/ 149 h 512"/>
              <a:gd name="T86" fmla="*/ 96 w 512"/>
              <a:gd name="T87" fmla="*/ 234 h 512"/>
              <a:gd name="T88" fmla="*/ 174 w 512"/>
              <a:gd name="T89" fmla="*/ 402 h 512"/>
              <a:gd name="T90" fmla="*/ 202 w 512"/>
              <a:gd name="T91" fmla="*/ 416 h 512"/>
              <a:gd name="T92" fmla="*/ 217 w 512"/>
              <a:gd name="T93" fmla="*/ 413 h 512"/>
              <a:gd name="T94" fmla="*/ 256 w 512"/>
              <a:gd name="T95" fmla="*/ 405 h 512"/>
              <a:gd name="T96" fmla="*/ 295 w 512"/>
              <a:gd name="T97" fmla="*/ 413 h 512"/>
              <a:gd name="T98" fmla="*/ 309 w 512"/>
              <a:gd name="T99" fmla="*/ 416 h 512"/>
              <a:gd name="T100" fmla="*/ 338 w 512"/>
              <a:gd name="T101" fmla="*/ 402 h 512"/>
              <a:gd name="T102" fmla="*/ 416 w 512"/>
              <a:gd name="T10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66" y="159"/>
                </a:moveTo>
                <a:cubicBezTo>
                  <a:pt x="266" y="151"/>
                  <a:pt x="268" y="141"/>
                  <a:pt x="275" y="133"/>
                </a:cubicBezTo>
                <a:cubicBezTo>
                  <a:pt x="282" y="124"/>
                  <a:pt x="293" y="119"/>
                  <a:pt x="308" y="118"/>
                </a:cubicBezTo>
                <a:cubicBezTo>
                  <a:pt x="307" y="122"/>
                  <a:pt x="305" y="128"/>
                  <a:pt x="302" y="133"/>
                </a:cubicBezTo>
                <a:cubicBezTo>
                  <a:pt x="295" y="148"/>
                  <a:pt x="283" y="157"/>
                  <a:pt x="266" y="159"/>
                </a:cubicBezTo>
                <a:close/>
                <a:moveTo>
                  <a:pt x="330" y="170"/>
                </a:moveTo>
                <a:cubicBezTo>
                  <a:pt x="319" y="170"/>
                  <a:pt x="310" y="172"/>
                  <a:pt x="304" y="176"/>
                </a:cubicBezTo>
                <a:cubicBezTo>
                  <a:pt x="283" y="189"/>
                  <a:pt x="259" y="193"/>
                  <a:pt x="237" y="188"/>
                </a:cubicBezTo>
                <a:cubicBezTo>
                  <a:pt x="228" y="186"/>
                  <a:pt x="219" y="183"/>
                  <a:pt x="211" y="179"/>
                </a:cubicBezTo>
                <a:cubicBezTo>
                  <a:pt x="201" y="175"/>
                  <a:pt x="191" y="170"/>
                  <a:pt x="181" y="170"/>
                </a:cubicBezTo>
                <a:cubicBezTo>
                  <a:pt x="146" y="170"/>
                  <a:pt x="117" y="199"/>
                  <a:pt x="117" y="234"/>
                </a:cubicBezTo>
                <a:cubicBezTo>
                  <a:pt x="117" y="330"/>
                  <a:pt x="187" y="385"/>
                  <a:pt x="188" y="386"/>
                </a:cubicBezTo>
                <a:cubicBezTo>
                  <a:pt x="188" y="386"/>
                  <a:pt x="189" y="387"/>
                  <a:pt x="189" y="387"/>
                </a:cubicBezTo>
                <a:cubicBezTo>
                  <a:pt x="194" y="393"/>
                  <a:pt x="197" y="394"/>
                  <a:pt x="202" y="394"/>
                </a:cubicBezTo>
                <a:cubicBezTo>
                  <a:pt x="205" y="394"/>
                  <a:pt x="207" y="394"/>
                  <a:pt x="209" y="393"/>
                </a:cubicBezTo>
                <a:cubicBezTo>
                  <a:pt x="209" y="393"/>
                  <a:pt x="231" y="384"/>
                  <a:pt x="256" y="384"/>
                </a:cubicBezTo>
                <a:cubicBezTo>
                  <a:pt x="281" y="384"/>
                  <a:pt x="302" y="393"/>
                  <a:pt x="303" y="393"/>
                </a:cubicBezTo>
                <a:cubicBezTo>
                  <a:pt x="304" y="394"/>
                  <a:pt x="307" y="394"/>
                  <a:pt x="309" y="394"/>
                </a:cubicBezTo>
                <a:cubicBezTo>
                  <a:pt x="314" y="394"/>
                  <a:pt x="318" y="393"/>
                  <a:pt x="322" y="387"/>
                </a:cubicBezTo>
                <a:cubicBezTo>
                  <a:pt x="323" y="387"/>
                  <a:pt x="323" y="386"/>
                  <a:pt x="324" y="386"/>
                </a:cubicBezTo>
                <a:cubicBezTo>
                  <a:pt x="324" y="385"/>
                  <a:pt x="394" y="330"/>
                  <a:pt x="394" y="234"/>
                </a:cubicBezTo>
                <a:cubicBezTo>
                  <a:pt x="394" y="199"/>
                  <a:pt x="366" y="170"/>
                  <a:pt x="330"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34"/>
                </a:moveTo>
                <a:cubicBezTo>
                  <a:pt x="416" y="187"/>
                  <a:pt x="377" y="149"/>
                  <a:pt x="330" y="149"/>
                </a:cubicBezTo>
                <a:cubicBezTo>
                  <a:pt x="326" y="149"/>
                  <a:pt x="321" y="149"/>
                  <a:pt x="317" y="150"/>
                </a:cubicBezTo>
                <a:cubicBezTo>
                  <a:pt x="319" y="148"/>
                  <a:pt x="320" y="145"/>
                  <a:pt x="321" y="143"/>
                </a:cubicBezTo>
                <a:cubicBezTo>
                  <a:pt x="330" y="125"/>
                  <a:pt x="330" y="107"/>
                  <a:pt x="330" y="106"/>
                </a:cubicBezTo>
                <a:cubicBezTo>
                  <a:pt x="330" y="100"/>
                  <a:pt x="326" y="96"/>
                  <a:pt x="320" y="96"/>
                </a:cubicBezTo>
                <a:cubicBezTo>
                  <a:pt x="292" y="96"/>
                  <a:pt x="272" y="104"/>
                  <a:pt x="259" y="119"/>
                </a:cubicBezTo>
                <a:cubicBezTo>
                  <a:pt x="257" y="121"/>
                  <a:pt x="256" y="123"/>
                  <a:pt x="254" y="125"/>
                </a:cubicBezTo>
                <a:cubicBezTo>
                  <a:pt x="244" y="107"/>
                  <a:pt x="230" y="98"/>
                  <a:pt x="229" y="97"/>
                </a:cubicBezTo>
                <a:cubicBezTo>
                  <a:pt x="224" y="94"/>
                  <a:pt x="218" y="96"/>
                  <a:pt x="215" y="101"/>
                </a:cubicBezTo>
                <a:cubicBezTo>
                  <a:pt x="212" y="105"/>
                  <a:pt x="213" y="112"/>
                  <a:pt x="218" y="115"/>
                </a:cubicBezTo>
                <a:cubicBezTo>
                  <a:pt x="219" y="116"/>
                  <a:pt x="241" y="131"/>
                  <a:pt x="244" y="161"/>
                </a:cubicBezTo>
                <a:cubicBezTo>
                  <a:pt x="244" y="164"/>
                  <a:pt x="245" y="166"/>
                  <a:pt x="245" y="168"/>
                </a:cubicBezTo>
                <a:cubicBezTo>
                  <a:pt x="244" y="168"/>
                  <a:pt x="243" y="168"/>
                  <a:pt x="242" y="167"/>
                </a:cubicBezTo>
                <a:cubicBezTo>
                  <a:pt x="234" y="166"/>
                  <a:pt x="227" y="163"/>
                  <a:pt x="220" y="160"/>
                </a:cubicBezTo>
                <a:cubicBezTo>
                  <a:pt x="208" y="154"/>
                  <a:pt x="196" y="149"/>
                  <a:pt x="181" y="149"/>
                </a:cubicBezTo>
                <a:cubicBezTo>
                  <a:pt x="134" y="149"/>
                  <a:pt x="96" y="187"/>
                  <a:pt x="96" y="234"/>
                </a:cubicBezTo>
                <a:cubicBezTo>
                  <a:pt x="96" y="336"/>
                  <a:pt x="165" y="395"/>
                  <a:pt x="174" y="402"/>
                </a:cubicBezTo>
                <a:cubicBezTo>
                  <a:pt x="180" y="409"/>
                  <a:pt x="188" y="416"/>
                  <a:pt x="202" y="416"/>
                </a:cubicBezTo>
                <a:cubicBezTo>
                  <a:pt x="207" y="416"/>
                  <a:pt x="212" y="415"/>
                  <a:pt x="217" y="413"/>
                </a:cubicBezTo>
                <a:cubicBezTo>
                  <a:pt x="218" y="413"/>
                  <a:pt x="235" y="405"/>
                  <a:pt x="256" y="405"/>
                </a:cubicBezTo>
                <a:cubicBezTo>
                  <a:pt x="276" y="405"/>
                  <a:pt x="294" y="413"/>
                  <a:pt x="295" y="413"/>
                </a:cubicBezTo>
                <a:cubicBezTo>
                  <a:pt x="299" y="415"/>
                  <a:pt x="304" y="416"/>
                  <a:pt x="309" y="416"/>
                </a:cubicBezTo>
                <a:cubicBezTo>
                  <a:pt x="323" y="416"/>
                  <a:pt x="332" y="409"/>
                  <a:pt x="338" y="402"/>
                </a:cubicBezTo>
                <a:cubicBezTo>
                  <a:pt x="346" y="395"/>
                  <a:pt x="416" y="336"/>
                  <a:pt x="416" y="23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106" name="Freeform 159"/>
          <p:cNvSpPr>
            <a:spLocks noChangeAspect="1" noEditPoints="1"/>
          </p:cNvSpPr>
          <p:nvPr/>
        </p:nvSpPr>
        <p:spPr bwMode="auto">
          <a:xfrm>
            <a:off x="3585655" y="3553549"/>
            <a:ext cx="367631" cy="367631"/>
          </a:xfrm>
          <a:custGeom>
            <a:avLst/>
            <a:gdLst>
              <a:gd name="T0" fmla="*/ 288 w 512"/>
              <a:gd name="T1" fmla="*/ 220 h 512"/>
              <a:gd name="T2" fmla="*/ 320 w 512"/>
              <a:gd name="T3" fmla="*/ 129 h 512"/>
              <a:gd name="T4" fmla="*/ 320 w 512"/>
              <a:gd name="T5" fmla="*/ 394 h 512"/>
              <a:gd name="T6" fmla="*/ 299 w 512"/>
              <a:gd name="T7" fmla="*/ 384 h 512"/>
              <a:gd name="T8" fmla="*/ 309 w 512"/>
              <a:gd name="T9" fmla="*/ 246 h 512"/>
              <a:gd name="T10" fmla="*/ 306 w 512"/>
              <a:gd name="T11" fmla="*/ 238 h 512"/>
              <a:gd name="T12" fmla="*/ 288 w 512"/>
              <a:gd name="T13" fmla="*/ 220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181 w 512"/>
              <a:gd name="T25" fmla="*/ 160 h 512"/>
              <a:gd name="T26" fmla="*/ 192 w 512"/>
              <a:gd name="T27" fmla="*/ 171 h 512"/>
              <a:gd name="T28" fmla="*/ 203 w 512"/>
              <a:gd name="T29" fmla="*/ 160 h 512"/>
              <a:gd name="T30" fmla="*/ 203 w 512"/>
              <a:gd name="T31" fmla="*/ 107 h 512"/>
              <a:gd name="T32" fmla="*/ 192 w 512"/>
              <a:gd name="T33" fmla="*/ 96 h 512"/>
              <a:gd name="T34" fmla="*/ 181 w 512"/>
              <a:gd name="T35" fmla="*/ 107 h 512"/>
              <a:gd name="T36" fmla="*/ 181 w 512"/>
              <a:gd name="T37" fmla="*/ 160 h 512"/>
              <a:gd name="T38" fmla="*/ 245 w 512"/>
              <a:gd name="T39" fmla="*/ 107 h 512"/>
              <a:gd name="T40" fmla="*/ 235 w 512"/>
              <a:gd name="T41" fmla="*/ 96 h 512"/>
              <a:gd name="T42" fmla="*/ 224 w 512"/>
              <a:gd name="T43" fmla="*/ 107 h 512"/>
              <a:gd name="T44" fmla="*/ 224 w 512"/>
              <a:gd name="T45" fmla="*/ 171 h 512"/>
              <a:gd name="T46" fmla="*/ 213 w 512"/>
              <a:gd name="T47" fmla="*/ 182 h 512"/>
              <a:gd name="T48" fmla="*/ 203 w 512"/>
              <a:gd name="T49" fmla="*/ 192 h 512"/>
              <a:gd name="T50" fmla="*/ 203 w 512"/>
              <a:gd name="T51" fmla="*/ 384 h 512"/>
              <a:gd name="T52" fmla="*/ 192 w 512"/>
              <a:gd name="T53" fmla="*/ 395 h 512"/>
              <a:gd name="T54" fmla="*/ 181 w 512"/>
              <a:gd name="T55" fmla="*/ 384 h 512"/>
              <a:gd name="T56" fmla="*/ 181 w 512"/>
              <a:gd name="T57" fmla="*/ 192 h 512"/>
              <a:gd name="T58" fmla="*/ 171 w 512"/>
              <a:gd name="T59" fmla="*/ 182 h 512"/>
              <a:gd name="T60" fmla="*/ 160 w 512"/>
              <a:gd name="T61" fmla="*/ 171 h 512"/>
              <a:gd name="T62" fmla="*/ 160 w 512"/>
              <a:gd name="T63" fmla="*/ 107 h 512"/>
              <a:gd name="T64" fmla="*/ 149 w 512"/>
              <a:gd name="T65" fmla="*/ 96 h 512"/>
              <a:gd name="T66" fmla="*/ 139 w 512"/>
              <a:gd name="T67" fmla="*/ 107 h 512"/>
              <a:gd name="T68" fmla="*/ 139 w 512"/>
              <a:gd name="T69" fmla="*/ 171 h 512"/>
              <a:gd name="T70" fmla="*/ 160 w 512"/>
              <a:gd name="T71" fmla="*/ 201 h 512"/>
              <a:gd name="T72" fmla="*/ 160 w 512"/>
              <a:gd name="T73" fmla="*/ 385 h 512"/>
              <a:gd name="T74" fmla="*/ 192 w 512"/>
              <a:gd name="T75" fmla="*/ 416 h 512"/>
              <a:gd name="T76" fmla="*/ 192 w 512"/>
              <a:gd name="T77" fmla="*/ 416 h 512"/>
              <a:gd name="T78" fmla="*/ 192 w 512"/>
              <a:gd name="T79" fmla="*/ 416 h 512"/>
              <a:gd name="T80" fmla="*/ 224 w 512"/>
              <a:gd name="T81" fmla="*/ 384 h 512"/>
              <a:gd name="T82" fmla="*/ 224 w 512"/>
              <a:gd name="T83" fmla="*/ 201 h 512"/>
              <a:gd name="T84" fmla="*/ 245 w 512"/>
              <a:gd name="T85" fmla="*/ 171 h 512"/>
              <a:gd name="T86" fmla="*/ 245 w 512"/>
              <a:gd name="T87" fmla="*/ 107 h 512"/>
              <a:gd name="T88" fmla="*/ 341 w 512"/>
              <a:gd name="T89" fmla="*/ 107 h 512"/>
              <a:gd name="T90" fmla="*/ 336 w 512"/>
              <a:gd name="T91" fmla="*/ 98 h 512"/>
              <a:gd name="T92" fmla="*/ 326 w 512"/>
              <a:gd name="T93" fmla="*/ 98 h 512"/>
              <a:gd name="T94" fmla="*/ 267 w 512"/>
              <a:gd name="T95" fmla="*/ 224 h 512"/>
              <a:gd name="T96" fmla="*/ 270 w 512"/>
              <a:gd name="T97" fmla="*/ 232 h 512"/>
              <a:gd name="T98" fmla="*/ 288 w 512"/>
              <a:gd name="T99" fmla="*/ 250 h 512"/>
              <a:gd name="T100" fmla="*/ 277 w 512"/>
              <a:gd name="T101" fmla="*/ 384 h 512"/>
              <a:gd name="T102" fmla="*/ 331 w 512"/>
              <a:gd name="T103" fmla="*/ 416 h 512"/>
              <a:gd name="T104" fmla="*/ 341 w 512"/>
              <a:gd name="T105" fmla="*/ 406 h 512"/>
              <a:gd name="T106" fmla="*/ 341 w 512"/>
              <a:gd name="T107"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8" y="220"/>
                </a:moveTo>
                <a:cubicBezTo>
                  <a:pt x="289" y="172"/>
                  <a:pt x="307" y="144"/>
                  <a:pt x="320" y="129"/>
                </a:cubicBezTo>
                <a:cubicBezTo>
                  <a:pt x="320" y="394"/>
                  <a:pt x="320" y="394"/>
                  <a:pt x="320" y="394"/>
                </a:cubicBezTo>
                <a:cubicBezTo>
                  <a:pt x="305" y="393"/>
                  <a:pt x="299" y="387"/>
                  <a:pt x="299" y="384"/>
                </a:cubicBezTo>
                <a:cubicBezTo>
                  <a:pt x="309" y="246"/>
                  <a:pt x="309" y="246"/>
                  <a:pt x="309" y="246"/>
                </a:cubicBezTo>
                <a:cubicBezTo>
                  <a:pt x="310" y="243"/>
                  <a:pt x="308" y="240"/>
                  <a:pt x="306" y="238"/>
                </a:cubicBezTo>
                <a:lnTo>
                  <a:pt x="288" y="22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81" y="160"/>
                </a:moveTo>
                <a:cubicBezTo>
                  <a:pt x="181" y="166"/>
                  <a:pt x="186" y="171"/>
                  <a:pt x="192" y="171"/>
                </a:cubicBezTo>
                <a:cubicBezTo>
                  <a:pt x="198" y="171"/>
                  <a:pt x="203" y="166"/>
                  <a:pt x="203" y="160"/>
                </a:cubicBezTo>
                <a:cubicBezTo>
                  <a:pt x="203" y="107"/>
                  <a:pt x="203" y="107"/>
                  <a:pt x="203" y="107"/>
                </a:cubicBezTo>
                <a:cubicBezTo>
                  <a:pt x="203" y="101"/>
                  <a:pt x="198" y="96"/>
                  <a:pt x="192" y="96"/>
                </a:cubicBezTo>
                <a:cubicBezTo>
                  <a:pt x="186" y="96"/>
                  <a:pt x="181" y="101"/>
                  <a:pt x="181" y="107"/>
                </a:cubicBezTo>
                <a:lnTo>
                  <a:pt x="181" y="160"/>
                </a:lnTo>
                <a:close/>
                <a:moveTo>
                  <a:pt x="245" y="107"/>
                </a:moveTo>
                <a:cubicBezTo>
                  <a:pt x="245" y="101"/>
                  <a:pt x="241" y="96"/>
                  <a:pt x="235" y="96"/>
                </a:cubicBezTo>
                <a:cubicBezTo>
                  <a:pt x="229" y="96"/>
                  <a:pt x="224" y="101"/>
                  <a:pt x="224" y="107"/>
                </a:cubicBezTo>
                <a:cubicBezTo>
                  <a:pt x="224" y="171"/>
                  <a:pt x="224" y="171"/>
                  <a:pt x="224" y="171"/>
                </a:cubicBezTo>
                <a:cubicBezTo>
                  <a:pt x="224" y="176"/>
                  <a:pt x="222" y="182"/>
                  <a:pt x="213" y="182"/>
                </a:cubicBezTo>
                <a:cubicBezTo>
                  <a:pt x="207" y="182"/>
                  <a:pt x="203" y="186"/>
                  <a:pt x="203" y="192"/>
                </a:cubicBezTo>
                <a:cubicBezTo>
                  <a:pt x="203" y="384"/>
                  <a:pt x="203" y="384"/>
                  <a:pt x="203" y="384"/>
                </a:cubicBezTo>
                <a:cubicBezTo>
                  <a:pt x="203" y="388"/>
                  <a:pt x="201" y="395"/>
                  <a:pt x="192" y="395"/>
                </a:cubicBezTo>
                <a:cubicBezTo>
                  <a:pt x="183" y="395"/>
                  <a:pt x="182" y="388"/>
                  <a:pt x="181" y="384"/>
                </a:cubicBezTo>
                <a:cubicBezTo>
                  <a:pt x="181" y="192"/>
                  <a:pt x="181" y="192"/>
                  <a:pt x="181" y="192"/>
                </a:cubicBezTo>
                <a:cubicBezTo>
                  <a:pt x="181" y="186"/>
                  <a:pt x="177" y="182"/>
                  <a:pt x="171" y="182"/>
                </a:cubicBezTo>
                <a:cubicBezTo>
                  <a:pt x="162" y="182"/>
                  <a:pt x="160" y="176"/>
                  <a:pt x="160" y="171"/>
                </a:cubicBezTo>
                <a:cubicBezTo>
                  <a:pt x="160" y="107"/>
                  <a:pt x="160" y="107"/>
                  <a:pt x="160" y="107"/>
                </a:cubicBezTo>
                <a:cubicBezTo>
                  <a:pt x="160" y="101"/>
                  <a:pt x="155" y="96"/>
                  <a:pt x="149" y="96"/>
                </a:cubicBezTo>
                <a:cubicBezTo>
                  <a:pt x="143" y="96"/>
                  <a:pt x="139" y="101"/>
                  <a:pt x="139" y="107"/>
                </a:cubicBezTo>
                <a:cubicBezTo>
                  <a:pt x="139" y="171"/>
                  <a:pt x="139" y="171"/>
                  <a:pt x="139" y="171"/>
                </a:cubicBezTo>
                <a:cubicBezTo>
                  <a:pt x="139" y="182"/>
                  <a:pt x="149" y="197"/>
                  <a:pt x="160" y="201"/>
                </a:cubicBezTo>
                <a:cubicBezTo>
                  <a:pt x="160" y="385"/>
                  <a:pt x="160" y="385"/>
                  <a:pt x="160" y="385"/>
                </a:cubicBezTo>
                <a:cubicBezTo>
                  <a:pt x="160" y="397"/>
                  <a:pt x="169" y="416"/>
                  <a:pt x="192" y="416"/>
                </a:cubicBezTo>
                <a:cubicBezTo>
                  <a:pt x="192" y="416"/>
                  <a:pt x="192" y="416"/>
                  <a:pt x="192" y="416"/>
                </a:cubicBezTo>
                <a:cubicBezTo>
                  <a:pt x="192" y="416"/>
                  <a:pt x="192" y="416"/>
                  <a:pt x="192" y="416"/>
                </a:cubicBezTo>
                <a:cubicBezTo>
                  <a:pt x="215" y="416"/>
                  <a:pt x="224" y="397"/>
                  <a:pt x="224" y="384"/>
                </a:cubicBezTo>
                <a:cubicBezTo>
                  <a:pt x="224" y="201"/>
                  <a:pt x="224" y="201"/>
                  <a:pt x="224" y="201"/>
                </a:cubicBezTo>
                <a:cubicBezTo>
                  <a:pt x="239" y="197"/>
                  <a:pt x="245" y="182"/>
                  <a:pt x="245" y="171"/>
                </a:cubicBezTo>
                <a:lnTo>
                  <a:pt x="245" y="107"/>
                </a:lnTo>
                <a:close/>
                <a:moveTo>
                  <a:pt x="341" y="107"/>
                </a:moveTo>
                <a:cubicBezTo>
                  <a:pt x="341" y="103"/>
                  <a:pt x="339" y="100"/>
                  <a:pt x="336" y="98"/>
                </a:cubicBezTo>
                <a:cubicBezTo>
                  <a:pt x="333" y="96"/>
                  <a:pt x="329" y="96"/>
                  <a:pt x="326" y="98"/>
                </a:cubicBezTo>
                <a:cubicBezTo>
                  <a:pt x="323" y="99"/>
                  <a:pt x="267" y="130"/>
                  <a:pt x="267" y="224"/>
                </a:cubicBezTo>
                <a:cubicBezTo>
                  <a:pt x="267" y="227"/>
                  <a:pt x="268" y="230"/>
                  <a:pt x="270" y="232"/>
                </a:cubicBezTo>
                <a:cubicBezTo>
                  <a:pt x="288" y="250"/>
                  <a:pt x="288" y="250"/>
                  <a:pt x="288" y="250"/>
                </a:cubicBezTo>
                <a:cubicBezTo>
                  <a:pt x="277" y="384"/>
                  <a:pt x="277" y="384"/>
                  <a:pt x="277" y="384"/>
                </a:cubicBezTo>
                <a:cubicBezTo>
                  <a:pt x="277" y="386"/>
                  <a:pt x="278" y="416"/>
                  <a:pt x="331" y="416"/>
                </a:cubicBezTo>
                <a:cubicBezTo>
                  <a:pt x="337" y="416"/>
                  <a:pt x="341" y="412"/>
                  <a:pt x="341" y="406"/>
                </a:cubicBezTo>
                <a:lnTo>
                  <a:pt x="341" y="10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08" name="Freeform 534"/>
          <p:cNvSpPr>
            <a:spLocks noChangeAspect="1" noEditPoints="1"/>
          </p:cNvSpPr>
          <p:nvPr/>
        </p:nvSpPr>
        <p:spPr bwMode="auto">
          <a:xfrm>
            <a:off x="8010354" y="1932566"/>
            <a:ext cx="367982" cy="367982"/>
          </a:xfrm>
          <a:custGeom>
            <a:avLst/>
            <a:gdLst>
              <a:gd name="T0" fmla="*/ 373 w 512"/>
              <a:gd name="T1" fmla="*/ 298 h 512"/>
              <a:gd name="T2" fmla="*/ 139 w 512"/>
              <a:gd name="T3" fmla="*/ 352 h 512"/>
              <a:gd name="T4" fmla="*/ 147 w 512"/>
              <a:gd name="T5" fmla="*/ 286 h 512"/>
              <a:gd name="T6" fmla="*/ 212 w 512"/>
              <a:gd name="T7" fmla="*/ 286 h 512"/>
              <a:gd name="T8" fmla="*/ 249 w 512"/>
              <a:gd name="T9" fmla="*/ 286 h 512"/>
              <a:gd name="T10" fmla="*/ 314 w 512"/>
              <a:gd name="T11" fmla="*/ 286 h 512"/>
              <a:gd name="T12" fmla="*/ 352 w 512"/>
              <a:gd name="T13" fmla="*/ 286 h 512"/>
              <a:gd name="T14" fmla="*/ 160 w 512"/>
              <a:gd name="T15" fmla="*/ 269 h 512"/>
              <a:gd name="T16" fmla="*/ 198 w 512"/>
              <a:gd name="T17" fmla="*/ 269 h 512"/>
              <a:gd name="T18" fmla="*/ 263 w 512"/>
              <a:gd name="T19" fmla="*/ 269 h 512"/>
              <a:gd name="T20" fmla="*/ 300 w 512"/>
              <a:gd name="T21" fmla="*/ 269 h 512"/>
              <a:gd name="T22" fmla="*/ 365 w 512"/>
              <a:gd name="T23" fmla="*/ 269 h 512"/>
              <a:gd name="T24" fmla="*/ 373 w 512"/>
              <a:gd name="T25" fmla="*/ 224 h 512"/>
              <a:gd name="T26" fmla="*/ 139 w 512"/>
              <a:gd name="T27" fmla="*/ 257 h 512"/>
              <a:gd name="T28" fmla="*/ 256 w 512"/>
              <a:gd name="T29" fmla="*/ 512 h 512"/>
              <a:gd name="T30" fmla="*/ 256 w 512"/>
              <a:gd name="T31" fmla="*/ 0 h 512"/>
              <a:gd name="T32" fmla="*/ 320 w 512"/>
              <a:gd name="T33" fmla="*/ 118 h 512"/>
              <a:gd name="T34" fmla="*/ 341 w 512"/>
              <a:gd name="T35" fmla="*/ 118 h 512"/>
              <a:gd name="T36" fmla="*/ 331 w 512"/>
              <a:gd name="T37" fmla="*/ 96 h 512"/>
              <a:gd name="T38" fmla="*/ 320 w 512"/>
              <a:gd name="T39" fmla="*/ 118 h 512"/>
              <a:gd name="T40" fmla="*/ 256 w 512"/>
              <a:gd name="T41" fmla="*/ 128 h 512"/>
              <a:gd name="T42" fmla="*/ 267 w 512"/>
              <a:gd name="T43" fmla="*/ 107 h 512"/>
              <a:gd name="T44" fmla="*/ 245 w 512"/>
              <a:gd name="T45" fmla="*/ 107 h 512"/>
              <a:gd name="T46" fmla="*/ 171 w 512"/>
              <a:gd name="T47" fmla="*/ 118 h 512"/>
              <a:gd name="T48" fmla="*/ 192 w 512"/>
              <a:gd name="T49" fmla="*/ 118 h 512"/>
              <a:gd name="T50" fmla="*/ 181 w 512"/>
              <a:gd name="T51" fmla="*/ 96 h 512"/>
              <a:gd name="T52" fmla="*/ 171 w 512"/>
              <a:gd name="T53" fmla="*/ 118 h 512"/>
              <a:gd name="T54" fmla="*/ 405 w 512"/>
              <a:gd name="T55" fmla="*/ 352 h 512"/>
              <a:gd name="T56" fmla="*/ 395 w 512"/>
              <a:gd name="T57" fmla="*/ 214 h 512"/>
              <a:gd name="T58" fmla="*/ 341 w 512"/>
              <a:gd name="T59" fmla="*/ 203 h 512"/>
              <a:gd name="T60" fmla="*/ 331 w 512"/>
              <a:gd name="T61" fmla="*/ 150 h 512"/>
              <a:gd name="T62" fmla="*/ 320 w 512"/>
              <a:gd name="T63" fmla="*/ 203 h 512"/>
              <a:gd name="T64" fmla="*/ 267 w 512"/>
              <a:gd name="T65" fmla="*/ 160 h 512"/>
              <a:gd name="T66" fmla="*/ 245 w 512"/>
              <a:gd name="T67" fmla="*/ 160 h 512"/>
              <a:gd name="T68" fmla="*/ 192 w 512"/>
              <a:gd name="T69" fmla="*/ 203 h 512"/>
              <a:gd name="T70" fmla="*/ 181 w 512"/>
              <a:gd name="T71" fmla="*/ 150 h 512"/>
              <a:gd name="T72" fmla="*/ 171 w 512"/>
              <a:gd name="T73" fmla="*/ 203 h 512"/>
              <a:gd name="T74" fmla="*/ 117 w 512"/>
              <a:gd name="T75" fmla="*/ 214 h 512"/>
              <a:gd name="T76" fmla="*/ 107 w 512"/>
              <a:gd name="T77" fmla="*/ 352 h 512"/>
              <a:gd name="T78" fmla="*/ 107 w 512"/>
              <a:gd name="T79" fmla="*/ 374 h 512"/>
              <a:gd name="T80" fmla="*/ 384 w 512"/>
              <a:gd name="T81" fmla="*/ 374 h 512"/>
              <a:gd name="T82" fmla="*/ 416 w 512"/>
              <a:gd name="T8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52" y="286"/>
                </a:moveTo>
                <a:cubicBezTo>
                  <a:pt x="357" y="290"/>
                  <a:pt x="363" y="296"/>
                  <a:pt x="373" y="298"/>
                </a:cubicBezTo>
                <a:cubicBezTo>
                  <a:pt x="373" y="352"/>
                  <a:pt x="373" y="352"/>
                  <a:pt x="373" y="352"/>
                </a:cubicBezTo>
                <a:cubicBezTo>
                  <a:pt x="139" y="352"/>
                  <a:pt x="139" y="352"/>
                  <a:pt x="139" y="352"/>
                </a:cubicBezTo>
                <a:cubicBezTo>
                  <a:pt x="139" y="280"/>
                  <a:pt x="139" y="280"/>
                  <a:pt x="139" y="280"/>
                </a:cubicBezTo>
                <a:cubicBezTo>
                  <a:pt x="141" y="281"/>
                  <a:pt x="144" y="283"/>
                  <a:pt x="147" y="286"/>
                </a:cubicBezTo>
                <a:cubicBezTo>
                  <a:pt x="154" y="292"/>
                  <a:pt x="162" y="299"/>
                  <a:pt x="179" y="299"/>
                </a:cubicBezTo>
                <a:cubicBezTo>
                  <a:pt x="196" y="299"/>
                  <a:pt x="205" y="292"/>
                  <a:pt x="212" y="286"/>
                </a:cubicBezTo>
                <a:cubicBezTo>
                  <a:pt x="217" y="281"/>
                  <a:pt x="221" y="278"/>
                  <a:pt x="230" y="278"/>
                </a:cubicBezTo>
                <a:cubicBezTo>
                  <a:pt x="239" y="278"/>
                  <a:pt x="243" y="281"/>
                  <a:pt x="249" y="286"/>
                </a:cubicBezTo>
                <a:cubicBezTo>
                  <a:pt x="256" y="292"/>
                  <a:pt x="265" y="299"/>
                  <a:pt x="282" y="299"/>
                </a:cubicBezTo>
                <a:cubicBezTo>
                  <a:pt x="298" y="299"/>
                  <a:pt x="307" y="292"/>
                  <a:pt x="314" y="286"/>
                </a:cubicBezTo>
                <a:cubicBezTo>
                  <a:pt x="320" y="281"/>
                  <a:pt x="324" y="278"/>
                  <a:pt x="333" y="278"/>
                </a:cubicBezTo>
                <a:cubicBezTo>
                  <a:pt x="342" y="278"/>
                  <a:pt x="346" y="281"/>
                  <a:pt x="352" y="286"/>
                </a:cubicBezTo>
                <a:close/>
                <a:moveTo>
                  <a:pt x="139" y="257"/>
                </a:moveTo>
                <a:cubicBezTo>
                  <a:pt x="149" y="260"/>
                  <a:pt x="155" y="265"/>
                  <a:pt x="160" y="269"/>
                </a:cubicBezTo>
                <a:cubicBezTo>
                  <a:pt x="166" y="274"/>
                  <a:pt x="170" y="278"/>
                  <a:pt x="179" y="278"/>
                </a:cubicBezTo>
                <a:cubicBezTo>
                  <a:pt x="188" y="278"/>
                  <a:pt x="192" y="274"/>
                  <a:pt x="198" y="269"/>
                </a:cubicBezTo>
                <a:cubicBezTo>
                  <a:pt x="205" y="264"/>
                  <a:pt x="214" y="256"/>
                  <a:pt x="230" y="256"/>
                </a:cubicBezTo>
                <a:cubicBezTo>
                  <a:pt x="247" y="256"/>
                  <a:pt x="256" y="264"/>
                  <a:pt x="263" y="269"/>
                </a:cubicBezTo>
                <a:cubicBezTo>
                  <a:pt x="269" y="274"/>
                  <a:pt x="273" y="278"/>
                  <a:pt x="282" y="278"/>
                </a:cubicBezTo>
                <a:cubicBezTo>
                  <a:pt x="290" y="278"/>
                  <a:pt x="294" y="274"/>
                  <a:pt x="300" y="269"/>
                </a:cubicBezTo>
                <a:cubicBezTo>
                  <a:pt x="307" y="264"/>
                  <a:pt x="316" y="256"/>
                  <a:pt x="333" y="256"/>
                </a:cubicBezTo>
                <a:cubicBezTo>
                  <a:pt x="349" y="256"/>
                  <a:pt x="358" y="264"/>
                  <a:pt x="365" y="269"/>
                </a:cubicBezTo>
                <a:cubicBezTo>
                  <a:pt x="368" y="272"/>
                  <a:pt x="371" y="274"/>
                  <a:pt x="373" y="275"/>
                </a:cubicBezTo>
                <a:cubicBezTo>
                  <a:pt x="373" y="224"/>
                  <a:pt x="373" y="224"/>
                  <a:pt x="373" y="224"/>
                </a:cubicBezTo>
                <a:cubicBezTo>
                  <a:pt x="139" y="224"/>
                  <a:pt x="139" y="224"/>
                  <a:pt x="139" y="224"/>
                </a:cubicBezTo>
                <a:lnTo>
                  <a:pt x="139" y="25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20" y="118"/>
                </a:moveTo>
                <a:cubicBezTo>
                  <a:pt x="320" y="124"/>
                  <a:pt x="325" y="128"/>
                  <a:pt x="331" y="128"/>
                </a:cubicBezTo>
                <a:cubicBezTo>
                  <a:pt x="337" y="128"/>
                  <a:pt x="341" y="124"/>
                  <a:pt x="341" y="118"/>
                </a:cubicBezTo>
                <a:cubicBezTo>
                  <a:pt x="341" y="107"/>
                  <a:pt x="341" y="107"/>
                  <a:pt x="341" y="107"/>
                </a:cubicBezTo>
                <a:cubicBezTo>
                  <a:pt x="341" y="101"/>
                  <a:pt x="337" y="96"/>
                  <a:pt x="331" y="96"/>
                </a:cubicBezTo>
                <a:cubicBezTo>
                  <a:pt x="325" y="96"/>
                  <a:pt x="320" y="101"/>
                  <a:pt x="320" y="107"/>
                </a:cubicBezTo>
                <a:lnTo>
                  <a:pt x="320" y="118"/>
                </a:lnTo>
                <a:close/>
                <a:moveTo>
                  <a:pt x="245" y="118"/>
                </a:moveTo>
                <a:cubicBezTo>
                  <a:pt x="245" y="124"/>
                  <a:pt x="250" y="128"/>
                  <a:pt x="256" y="128"/>
                </a:cubicBezTo>
                <a:cubicBezTo>
                  <a:pt x="262" y="128"/>
                  <a:pt x="267" y="124"/>
                  <a:pt x="267" y="118"/>
                </a:cubicBezTo>
                <a:cubicBezTo>
                  <a:pt x="267" y="107"/>
                  <a:pt x="267" y="107"/>
                  <a:pt x="267" y="107"/>
                </a:cubicBezTo>
                <a:cubicBezTo>
                  <a:pt x="267" y="101"/>
                  <a:pt x="262" y="96"/>
                  <a:pt x="256" y="96"/>
                </a:cubicBezTo>
                <a:cubicBezTo>
                  <a:pt x="250" y="96"/>
                  <a:pt x="245" y="101"/>
                  <a:pt x="245" y="107"/>
                </a:cubicBezTo>
                <a:lnTo>
                  <a:pt x="245" y="118"/>
                </a:lnTo>
                <a:close/>
                <a:moveTo>
                  <a:pt x="171" y="118"/>
                </a:moveTo>
                <a:cubicBezTo>
                  <a:pt x="171" y="124"/>
                  <a:pt x="175" y="128"/>
                  <a:pt x="181" y="128"/>
                </a:cubicBezTo>
                <a:cubicBezTo>
                  <a:pt x="187" y="128"/>
                  <a:pt x="192" y="124"/>
                  <a:pt x="192" y="118"/>
                </a:cubicBezTo>
                <a:cubicBezTo>
                  <a:pt x="192" y="107"/>
                  <a:pt x="192" y="107"/>
                  <a:pt x="192" y="107"/>
                </a:cubicBezTo>
                <a:cubicBezTo>
                  <a:pt x="192" y="101"/>
                  <a:pt x="187" y="96"/>
                  <a:pt x="181" y="96"/>
                </a:cubicBezTo>
                <a:cubicBezTo>
                  <a:pt x="175" y="96"/>
                  <a:pt x="171" y="101"/>
                  <a:pt x="171" y="107"/>
                </a:cubicBezTo>
                <a:lnTo>
                  <a:pt x="171" y="118"/>
                </a:lnTo>
                <a:close/>
                <a:moveTo>
                  <a:pt x="416" y="363"/>
                </a:moveTo>
                <a:cubicBezTo>
                  <a:pt x="416" y="357"/>
                  <a:pt x="411" y="352"/>
                  <a:pt x="405" y="352"/>
                </a:cubicBezTo>
                <a:cubicBezTo>
                  <a:pt x="395" y="352"/>
                  <a:pt x="395" y="352"/>
                  <a:pt x="395" y="352"/>
                </a:cubicBezTo>
                <a:cubicBezTo>
                  <a:pt x="395" y="214"/>
                  <a:pt x="395" y="214"/>
                  <a:pt x="395" y="214"/>
                </a:cubicBezTo>
                <a:cubicBezTo>
                  <a:pt x="395" y="208"/>
                  <a:pt x="390" y="203"/>
                  <a:pt x="384" y="203"/>
                </a:cubicBezTo>
                <a:cubicBezTo>
                  <a:pt x="341" y="203"/>
                  <a:pt x="341" y="203"/>
                  <a:pt x="341" y="203"/>
                </a:cubicBezTo>
                <a:cubicBezTo>
                  <a:pt x="341" y="160"/>
                  <a:pt x="341" y="160"/>
                  <a:pt x="341" y="160"/>
                </a:cubicBezTo>
                <a:cubicBezTo>
                  <a:pt x="341" y="154"/>
                  <a:pt x="337" y="150"/>
                  <a:pt x="331" y="150"/>
                </a:cubicBezTo>
                <a:cubicBezTo>
                  <a:pt x="325" y="150"/>
                  <a:pt x="320" y="154"/>
                  <a:pt x="320" y="160"/>
                </a:cubicBezTo>
                <a:cubicBezTo>
                  <a:pt x="320" y="203"/>
                  <a:pt x="320" y="203"/>
                  <a:pt x="320" y="203"/>
                </a:cubicBezTo>
                <a:cubicBezTo>
                  <a:pt x="267" y="203"/>
                  <a:pt x="267" y="203"/>
                  <a:pt x="267" y="203"/>
                </a:cubicBezTo>
                <a:cubicBezTo>
                  <a:pt x="267" y="160"/>
                  <a:pt x="267" y="160"/>
                  <a:pt x="267" y="160"/>
                </a:cubicBezTo>
                <a:cubicBezTo>
                  <a:pt x="267" y="154"/>
                  <a:pt x="262" y="150"/>
                  <a:pt x="256" y="150"/>
                </a:cubicBezTo>
                <a:cubicBezTo>
                  <a:pt x="250" y="150"/>
                  <a:pt x="245" y="154"/>
                  <a:pt x="245" y="160"/>
                </a:cubicBezTo>
                <a:cubicBezTo>
                  <a:pt x="245" y="203"/>
                  <a:pt x="245" y="203"/>
                  <a:pt x="245" y="203"/>
                </a:cubicBezTo>
                <a:cubicBezTo>
                  <a:pt x="192" y="203"/>
                  <a:pt x="192" y="203"/>
                  <a:pt x="192" y="203"/>
                </a:cubicBezTo>
                <a:cubicBezTo>
                  <a:pt x="192" y="160"/>
                  <a:pt x="192" y="160"/>
                  <a:pt x="192" y="160"/>
                </a:cubicBezTo>
                <a:cubicBezTo>
                  <a:pt x="192" y="154"/>
                  <a:pt x="187" y="150"/>
                  <a:pt x="181" y="150"/>
                </a:cubicBezTo>
                <a:cubicBezTo>
                  <a:pt x="175" y="150"/>
                  <a:pt x="171" y="154"/>
                  <a:pt x="171" y="160"/>
                </a:cubicBezTo>
                <a:cubicBezTo>
                  <a:pt x="171" y="203"/>
                  <a:pt x="171" y="203"/>
                  <a:pt x="171" y="203"/>
                </a:cubicBezTo>
                <a:cubicBezTo>
                  <a:pt x="128" y="203"/>
                  <a:pt x="128" y="203"/>
                  <a:pt x="128" y="203"/>
                </a:cubicBezTo>
                <a:cubicBezTo>
                  <a:pt x="122" y="203"/>
                  <a:pt x="117" y="208"/>
                  <a:pt x="117" y="214"/>
                </a:cubicBezTo>
                <a:cubicBezTo>
                  <a:pt x="117" y="352"/>
                  <a:pt x="117" y="352"/>
                  <a:pt x="117" y="352"/>
                </a:cubicBezTo>
                <a:cubicBezTo>
                  <a:pt x="107" y="352"/>
                  <a:pt x="107" y="352"/>
                  <a:pt x="107" y="352"/>
                </a:cubicBezTo>
                <a:cubicBezTo>
                  <a:pt x="101" y="352"/>
                  <a:pt x="96" y="357"/>
                  <a:pt x="96" y="363"/>
                </a:cubicBezTo>
                <a:cubicBezTo>
                  <a:pt x="96" y="369"/>
                  <a:pt x="101" y="374"/>
                  <a:pt x="107" y="374"/>
                </a:cubicBezTo>
                <a:cubicBezTo>
                  <a:pt x="128" y="374"/>
                  <a:pt x="128" y="374"/>
                  <a:pt x="128" y="374"/>
                </a:cubicBezTo>
                <a:cubicBezTo>
                  <a:pt x="384" y="374"/>
                  <a:pt x="384" y="374"/>
                  <a:pt x="384" y="374"/>
                </a:cubicBezTo>
                <a:cubicBezTo>
                  <a:pt x="405" y="374"/>
                  <a:pt x="405" y="374"/>
                  <a:pt x="405" y="374"/>
                </a:cubicBezTo>
                <a:cubicBezTo>
                  <a:pt x="411" y="374"/>
                  <a:pt x="416" y="369"/>
                  <a:pt x="416" y="36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48327551"/>
      </p:ext>
    </p:extLst>
  </p:cSld>
  <p:clrMapOvr>
    <a:masterClrMapping/>
  </p:clrMapOvr>
  <p:transition>
    <p:fade/>
  </p:transition>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Arrows with supportive text</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grpSp>
        <p:nvGrpSpPr>
          <p:cNvPr id="2" name="Group 1">
            <a:extLst>
              <a:ext uri="{FF2B5EF4-FFF2-40B4-BE49-F238E27FC236}">
                <a16:creationId xmlns:a16="http://schemas.microsoft.com/office/drawing/2014/main" id="{606F7A72-DDC9-4DD1-A409-1A01C743CD2A}"/>
              </a:ext>
            </a:extLst>
          </p:cNvPr>
          <p:cNvGrpSpPr/>
          <p:nvPr/>
        </p:nvGrpSpPr>
        <p:grpSpPr>
          <a:xfrm>
            <a:off x="973979" y="1840229"/>
            <a:ext cx="10513827" cy="3855008"/>
            <a:chOff x="1811716" y="1840230"/>
            <a:chExt cx="8432896" cy="3092012"/>
          </a:xfrm>
        </p:grpSpPr>
        <p:sp>
          <p:nvSpPr>
            <p:cNvPr id="31" name="Rectangle 30"/>
            <p:cNvSpPr/>
            <p:nvPr/>
          </p:nvSpPr>
          <p:spPr>
            <a:xfrm>
              <a:off x="3017446" y="3925028"/>
              <a:ext cx="1645920" cy="923330"/>
            </a:xfrm>
            <a:prstGeom prst="rect">
              <a:avLst/>
            </a:prstGeom>
          </p:spPr>
          <p:txBody>
            <a:bodyPr wrap="square" lIns="0" tIns="0" rIns="0" bIns="0">
              <a:spAutoFit/>
            </a:bodyPr>
            <a:lstStyle/>
            <a:p>
              <a:r>
                <a:rPr lang="en-US" sz="1000" b="1" dirty="0" err="1">
                  <a:solidFill>
                    <a:schemeClr val="accent4"/>
                  </a:solidFill>
                </a:rPr>
                <a:t>Lorem</a:t>
              </a:r>
              <a:r>
                <a:rPr lang="en-US" sz="1000" b="1" dirty="0">
                  <a:solidFill>
                    <a:schemeClr val="accent4"/>
                  </a:solidFill>
                </a:rPr>
                <a:t> </a:t>
              </a:r>
              <a:r>
                <a:rPr lang="en-US" sz="1000" b="1" dirty="0" err="1">
                  <a:solidFill>
                    <a:schemeClr val="accent4"/>
                  </a:solidFill>
                </a:rPr>
                <a:t>ipsum</a:t>
              </a:r>
              <a:r>
                <a:rPr lang="en-US" sz="1000" b="1" dirty="0">
                  <a:solidFill>
                    <a:schemeClr val="accent4"/>
                  </a:solidFill>
                </a:rPr>
                <a:t> dolor </a:t>
              </a:r>
            </a:p>
            <a:p>
              <a:r>
                <a:rPr lang="en-US" sz="1000" dirty="0">
                  <a:solidFill>
                    <a:schemeClr val="accent4"/>
                  </a:solidFill>
                </a:rPr>
                <a:t>This is dummy text it is not here to be read. This is dummy text it is not here to be read. This is dummy text it is not here to be read</a:t>
              </a:r>
              <a:r>
                <a:rPr lang="en-US" sz="800" dirty="0">
                  <a:solidFill>
                    <a:schemeClr val="accent4"/>
                  </a:solidFill>
                </a:rPr>
                <a:t>. </a:t>
              </a:r>
            </a:p>
          </p:txBody>
        </p:sp>
        <p:sp>
          <p:nvSpPr>
            <p:cNvPr id="32" name="TextBox 31"/>
            <p:cNvSpPr txBox="1"/>
            <p:nvPr/>
          </p:nvSpPr>
          <p:spPr>
            <a:xfrm>
              <a:off x="3429869" y="3261106"/>
              <a:ext cx="385737" cy="688256"/>
            </a:xfrm>
            <a:prstGeom prst="rect">
              <a:avLst/>
            </a:prstGeom>
            <a:noFill/>
          </p:spPr>
          <p:txBody>
            <a:bodyPr wrap="square" lIns="36000" tIns="36000" rIns="36000" bIns="36000" rtlCol="0">
              <a:spAutoFit/>
            </a:bodyPr>
            <a:lstStyle/>
            <a:p>
              <a:r>
                <a:rPr lang="en-US" sz="4000" b="1" dirty="0">
                  <a:solidFill>
                    <a:schemeClr val="accent4"/>
                  </a:solidFill>
                </a:rPr>
                <a:t>1</a:t>
              </a:r>
            </a:p>
          </p:txBody>
        </p:sp>
        <p:sp>
          <p:nvSpPr>
            <p:cNvPr id="33" name="Rectangle 32"/>
            <p:cNvSpPr/>
            <p:nvPr/>
          </p:nvSpPr>
          <p:spPr>
            <a:xfrm>
              <a:off x="5805547" y="3925028"/>
              <a:ext cx="1645920" cy="923330"/>
            </a:xfrm>
            <a:prstGeom prst="rect">
              <a:avLst/>
            </a:prstGeom>
          </p:spPr>
          <p:txBody>
            <a:bodyPr wrap="square" lIns="0" tIns="0" rIns="0" bIns="0">
              <a:spAutoFit/>
            </a:bodyPr>
            <a:lstStyle/>
            <a:p>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dolor </a:t>
              </a:r>
            </a:p>
            <a:p>
              <a:r>
                <a:rPr lang="en-US" sz="1000" dirty="0">
                  <a:solidFill>
                    <a:schemeClr val="accent2"/>
                  </a:solidFill>
                </a:rPr>
                <a:t>This is dummy text it is not here to be read. This is dummy text it is not here to be read. This is dummy text it is not here to be read.</a:t>
              </a:r>
            </a:p>
          </p:txBody>
        </p:sp>
        <p:sp>
          <p:nvSpPr>
            <p:cNvPr id="34" name="Rectangle 33"/>
            <p:cNvSpPr/>
            <p:nvPr/>
          </p:nvSpPr>
          <p:spPr>
            <a:xfrm>
              <a:off x="8598692" y="3925028"/>
              <a:ext cx="1645920" cy="923330"/>
            </a:xfrm>
            <a:prstGeom prst="rect">
              <a:avLst/>
            </a:prstGeom>
          </p:spPr>
          <p:txBody>
            <a:bodyPr wrap="square" lIns="0" tIns="0" rIns="0" bIns="0">
              <a:spAutoFit/>
            </a:bodyPr>
            <a:lstStyle/>
            <a:p>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r>
                <a:rPr lang="en-US" sz="1000" b="1" dirty="0">
                  <a:solidFill>
                    <a:schemeClr val="accent5"/>
                  </a:solidFill>
                </a:rPr>
                <a:t> dolor </a:t>
              </a:r>
            </a:p>
            <a:p>
              <a:r>
                <a:rPr lang="en-US" sz="1000" dirty="0">
                  <a:solidFill>
                    <a:schemeClr val="accent5"/>
                  </a:solidFill>
                </a:rPr>
                <a:t>This is dummy text it is not here to be read. This is dummy text it is not here to be read. This is dummy text it is not here to be read. </a:t>
              </a:r>
            </a:p>
          </p:txBody>
        </p:sp>
        <p:sp>
          <p:nvSpPr>
            <p:cNvPr id="35" name="TextBox 34"/>
            <p:cNvSpPr txBox="1"/>
            <p:nvPr/>
          </p:nvSpPr>
          <p:spPr>
            <a:xfrm>
              <a:off x="6238264" y="3261106"/>
              <a:ext cx="385737" cy="688256"/>
            </a:xfrm>
            <a:prstGeom prst="rect">
              <a:avLst/>
            </a:prstGeom>
            <a:noFill/>
          </p:spPr>
          <p:txBody>
            <a:bodyPr wrap="square" lIns="36000" tIns="36000" rIns="36000" bIns="36000" rtlCol="0">
              <a:spAutoFit/>
            </a:bodyPr>
            <a:lstStyle/>
            <a:p>
              <a:r>
                <a:rPr lang="en-US" sz="4000" b="1" dirty="0">
                  <a:solidFill>
                    <a:schemeClr val="accent2"/>
                  </a:solidFill>
                </a:rPr>
                <a:t>2</a:t>
              </a:r>
            </a:p>
          </p:txBody>
        </p:sp>
        <p:sp>
          <p:nvSpPr>
            <p:cNvPr id="36" name="TextBox 35"/>
            <p:cNvSpPr txBox="1"/>
            <p:nvPr/>
          </p:nvSpPr>
          <p:spPr>
            <a:xfrm>
              <a:off x="9024908" y="3261106"/>
              <a:ext cx="385737" cy="688256"/>
            </a:xfrm>
            <a:prstGeom prst="rect">
              <a:avLst/>
            </a:prstGeom>
            <a:noFill/>
          </p:spPr>
          <p:txBody>
            <a:bodyPr wrap="square" lIns="36000" tIns="36000" rIns="36000" bIns="36000" rtlCol="0">
              <a:spAutoFit/>
            </a:bodyPr>
            <a:lstStyle/>
            <a:p>
              <a:r>
                <a:rPr lang="en-US" sz="4000" b="1" dirty="0">
                  <a:solidFill>
                    <a:schemeClr val="accent5"/>
                  </a:solidFill>
                </a:rPr>
                <a:t>3</a:t>
              </a:r>
            </a:p>
          </p:txBody>
        </p:sp>
        <p:sp>
          <p:nvSpPr>
            <p:cNvPr id="38" name="Diagonal Stripe 37"/>
            <p:cNvSpPr/>
            <p:nvPr/>
          </p:nvSpPr>
          <p:spPr>
            <a:xfrm>
              <a:off x="1917700" y="3420074"/>
              <a:ext cx="1512168" cy="1512168"/>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Diagonal Stripe 38"/>
            <p:cNvSpPr/>
            <p:nvPr/>
          </p:nvSpPr>
          <p:spPr>
            <a:xfrm flipV="1">
              <a:off x="1917700" y="1840230"/>
              <a:ext cx="1512168" cy="151216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3" name="Diagonal Stripe 42"/>
            <p:cNvSpPr/>
            <p:nvPr/>
          </p:nvSpPr>
          <p:spPr>
            <a:xfrm>
              <a:off x="7502482" y="3420074"/>
              <a:ext cx="1512168" cy="1512168"/>
            </a:xfrm>
            <a:prstGeom prst="diagStrip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Diagonal Stripe 43"/>
            <p:cNvSpPr/>
            <p:nvPr/>
          </p:nvSpPr>
          <p:spPr>
            <a:xfrm flipV="1">
              <a:off x="7502482" y="1840230"/>
              <a:ext cx="1512168" cy="1512168"/>
            </a:xfrm>
            <a:prstGeom prst="diagStrip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8" name="Diagonal Stripe 47"/>
            <p:cNvSpPr/>
            <p:nvPr/>
          </p:nvSpPr>
          <p:spPr>
            <a:xfrm>
              <a:off x="4710091" y="3420074"/>
              <a:ext cx="1512168" cy="1512168"/>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9" name="Diagonal Stripe 48"/>
            <p:cNvSpPr/>
            <p:nvPr/>
          </p:nvSpPr>
          <p:spPr>
            <a:xfrm flipV="1">
              <a:off x="4710091" y="1840230"/>
              <a:ext cx="1512168" cy="1512168"/>
            </a:xfrm>
            <a:prstGeom prst="diagStrip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nvGrpSpPr>
            <p:cNvPr id="52" name="Group 740"/>
            <p:cNvGrpSpPr>
              <a:grpSpLocks noChangeAspect="1"/>
            </p:cNvGrpSpPr>
            <p:nvPr/>
          </p:nvGrpSpPr>
          <p:grpSpPr bwMode="auto">
            <a:xfrm>
              <a:off x="1811716" y="3061765"/>
              <a:ext cx="630173" cy="632026"/>
              <a:chOff x="4293" y="2651"/>
              <a:chExt cx="340" cy="341"/>
            </a:xfrm>
            <a:solidFill>
              <a:schemeClr val="accent4"/>
            </a:solidFill>
          </p:grpSpPr>
          <p:sp>
            <p:nvSpPr>
              <p:cNvPr id="53" name="Freeform 741"/>
              <p:cNvSpPr>
                <a:spLocks noEditPoints="1"/>
              </p:cNvSpPr>
              <p:nvPr/>
            </p:nvSpPr>
            <p:spPr bwMode="auto">
              <a:xfrm>
                <a:off x="4293" y="26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742"/>
              <p:cNvSpPr>
                <a:spLocks noEditPoints="1"/>
              </p:cNvSpPr>
              <p:nvPr/>
            </p:nvSpPr>
            <p:spPr bwMode="auto">
              <a:xfrm>
                <a:off x="4357" y="2743"/>
                <a:ext cx="212" cy="156"/>
              </a:xfrm>
              <a:custGeom>
                <a:avLst/>
                <a:gdLst>
                  <a:gd name="T0" fmla="*/ 224 w 320"/>
                  <a:gd name="T1" fmla="*/ 235 h 235"/>
                  <a:gd name="T2" fmla="*/ 10 w 320"/>
                  <a:gd name="T3" fmla="*/ 235 h 235"/>
                  <a:gd name="T4" fmla="*/ 0 w 320"/>
                  <a:gd name="T5" fmla="*/ 224 h 235"/>
                  <a:gd name="T6" fmla="*/ 0 w 320"/>
                  <a:gd name="T7" fmla="*/ 11 h 235"/>
                  <a:gd name="T8" fmla="*/ 10 w 320"/>
                  <a:gd name="T9" fmla="*/ 0 h 235"/>
                  <a:gd name="T10" fmla="*/ 224 w 320"/>
                  <a:gd name="T11" fmla="*/ 0 h 235"/>
                  <a:gd name="T12" fmla="*/ 234 w 320"/>
                  <a:gd name="T13" fmla="*/ 11 h 235"/>
                  <a:gd name="T14" fmla="*/ 234 w 320"/>
                  <a:gd name="T15" fmla="*/ 58 h 235"/>
                  <a:gd name="T16" fmla="*/ 304 w 320"/>
                  <a:gd name="T17" fmla="*/ 23 h 235"/>
                  <a:gd name="T18" fmla="*/ 315 w 320"/>
                  <a:gd name="T19" fmla="*/ 23 h 235"/>
                  <a:gd name="T20" fmla="*/ 320 w 320"/>
                  <a:gd name="T21" fmla="*/ 32 h 235"/>
                  <a:gd name="T22" fmla="*/ 320 w 320"/>
                  <a:gd name="T23" fmla="*/ 203 h 235"/>
                  <a:gd name="T24" fmla="*/ 315 w 320"/>
                  <a:gd name="T25" fmla="*/ 212 h 235"/>
                  <a:gd name="T26" fmla="*/ 304 w 320"/>
                  <a:gd name="T27" fmla="*/ 213 h 235"/>
                  <a:gd name="T28" fmla="*/ 234 w 320"/>
                  <a:gd name="T29" fmla="*/ 178 h 235"/>
                  <a:gd name="T30" fmla="*/ 234 w 320"/>
                  <a:gd name="T31" fmla="*/ 224 h 235"/>
                  <a:gd name="T32" fmla="*/ 224 w 320"/>
                  <a:gd name="T33" fmla="*/ 235 h 235"/>
                  <a:gd name="T34" fmla="*/ 21 w 320"/>
                  <a:gd name="T35" fmla="*/ 214 h 235"/>
                  <a:gd name="T36" fmla="*/ 213 w 320"/>
                  <a:gd name="T37" fmla="*/ 214 h 235"/>
                  <a:gd name="T38" fmla="*/ 213 w 320"/>
                  <a:gd name="T39" fmla="*/ 160 h 235"/>
                  <a:gd name="T40" fmla="*/ 218 w 320"/>
                  <a:gd name="T41" fmla="*/ 151 h 235"/>
                  <a:gd name="T42" fmla="*/ 228 w 320"/>
                  <a:gd name="T43" fmla="*/ 151 h 235"/>
                  <a:gd name="T44" fmla="*/ 298 w 320"/>
                  <a:gd name="T45" fmla="*/ 186 h 235"/>
                  <a:gd name="T46" fmla="*/ 298 w 320"/>
                  <a:gd name="T47" fmla="*/ 50 h 235"/>
                  <a:gd name="T48" fmla="*/ 228 w 320"/>
                  <a:gd name="T49" fmla="*/ 85 h 235"/>
                  <a:gd name="T50" fmla="*/ 218 w 320"/>
                  <a:gd name="T51" fmla="*/ 84 h 235"/>
                  <a:gd name="T52" fmla="*/ 213 w 320"/>
                  <a:gd name="T53" fmla="*/ 75 h 235"/>
                  <a:gd name="T54" fmla="*/ 213 w 320"/>
                  <a:gd name="T55" fmla="*/ 22 h 235"/>
                  <a:gd name="T56" fmla="*/ 21 w 320"/>
                  <a:gd name="T57" fmla="*/ 22 h 235"/>
                  <a:gd name="T58" fmla="*/ 21 w 320"/>
                  <a:gd name="T5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235">
                    <a:moveTo>
                      <a:pt x="224" y="235"/>
                    </a:moveTo>
                    <a:cubicBezTo>
                      <a:pt x="10" y="235"/>
                      <a:pt x="10" y="235"/>
                      <a:pt x="10" y="235"/>
                    </a:cubicBezTo>
                    <a:cubicBezTo>
                      <a:pt x="4" y="235"/>
                      <a:pt x="0" y="230"/>
                      <a:pt x="0" y="224"/>
                    </a:cubicBezTo>
                    <a:cubicBezTo>
                      <a:pt x="0" y="11"/>
                      <a:pt x="0" y="11"/>
                      <a:pt x="0" y="11"/>
                    </a:cubicBezTo>
                    <a:cubicBezTo>
                      <a:pt x="0" y="5"/>
                      <a:pt x="4" y="0"/>
                      <a:pt x="10" y="0"/>
                    </a:cubicBezTo>
                    <a:cubicBezTo>
                      <a:pt x="224" y="0"/>
                      <a:pt x="224" y="0"/>
                      <a:pt x="224" y="0"/>
                    </a:cubicBezTo>
                    <a:cubicBezTo>
                      <a:pt x="230" y="0"/>
                      <a:pt x="234" y="5"/>
                      <a:pt x="234" y="11"/>
                    </a:cubicBezTo>
                    <a:cubicBezTo>
                      <a:pt x="234" y="58"/>
                      <a:pt x="234" y="58"/>
                      <a:pt x="234" y="58"/>
                    </a:cubicBezTo>
                    <a:cubicBezTo>
                      <a:pt x="304" y="23"/>
                      <a:pt x="304" y="23"/>
                      <a:pt x="304" y="23"/>
                    </a:cubicBezTo>
                    <a:cubicBezTo>
                      <a:pt x="308" y="21"/>
                      <a:pt x="311" y="21"/>
                      <a:pt x="315" y="23"/>
                    </a:cubicBezTo>
                    <a:cubicBezTo>
                      <a:pt x="318" y="25"/>
                      <a:pt x="320" y="29"/>
                      <a:pt x="320" y="32"/>
                    </a:cubicBezTo>
                    <a:cubicBezTo>
                      <a:pt x="320" y="203"/>
                      <a:pt x="320" y="203"/>
                      <a:pt x="320" y="203"/>
                    </a:cubicBezTo>
                    <a:cubicBezTo>
                      <a:pt x="320" y="207"/>
                      <a:pt x="318" y="210"/>
                      <a:pt x="315" y="212"/>
                    </a:cubicBezTo>
                    <a:cubicBezTo>
                      <a:pt x="311" y="214"/>
                      <a:pt x="308" y="214"/>
                      <a:pt x="304" y="213"/>
                    </a:cubicBezTo>
                    <a:cubicBezTo>
                      <a:pt x="234" y="178"/>
                      <a:pt x="234" y="178"/>
                      <a:pt x="234" y="178"/>
                    </a:cubicBezTo>
                    <a:cubicBezTo>
                      <a:pt x="234" y="224"/>
                      <a:pt x="234" y="224"/>
                      <a:pt x="234" y="224"/>
                    </a:cubicBezTo>
                    <a:cubicBezTo>
                      <a:pt x="234" y="230"/>
                      <a:pt x="230" y="235"/>
                      <a:pt x="224" y="235"/>
                    </a:cubicBezTo>
                    <a:close/>
                    <a:moveTo>
                      <a:pt x="21" y="214"/>
                    </a:moveTo>
                    <a:cubicBezTo>
                      <a:pt x="213" y="214"/>
                      <a:pt x="213" y="214"/>
                      <a:pt x="213" y="214"/>
                    </a:cubicBezTo>
                    <a:cubicBezTo>
                      <a:pt x="213" y="160"/>
                      <a:pt x="213" y="160"/>
                      <a:pt x="213" y="160"/>
                    </a:cubicBezTo>
                    <a:cubicBezTo>
                      <a:pt x="213" y="157"/>
                      <a:pt x="215" y="153"/>
                      <a:pt x="218" y="151"/>
                    </a:cubicBezTo>
                    <a:cubicBezTo>
                      <a:pt x="221" y="149"/>
                      <a:pt x="225" y="149"/>
                      <a:pt x="228" y="151"/>
                    </a:cubicBezTo>
                    <a:cubicBezTo>
                      <a:pt x="298" y="186"/>
                      <a:pt x="298" y="186"/>
                      <a:pt x="298" y="186"/>
                    </a:cubicBezTo>
                    <a:cubicBezTo>
                      <a:pt x="298" y="50"/>
                      <a:pt x="298" y="50"/>
                      <a:pt x="298" y="50"/>
                    </a:cubicBezTo>
                    <a:cubicBezTo>
                      <a:pt x="228" y="85"/>
                      <a:pt x="228" y="85"/>
                      <a:pt x="228" y="85"/>
                    </a:cubicBezTo>
                    <a:cubicBezTo>
                      <a:pt x="225" y="86"/>
                      <a:pt x="221" y="86"/>
                      <a:pt x="218" y="84"/>
                    </a:cubicBezTo>
                    <a:cubicBezTo>
                      <a:pt x="215" y="82"/>
                      <a:pt x="213" y="79"/>
                      <a:pt x="213" y="75"/>
                    </a:cubicBezTo>
                    <a:cubicBezTo>
                      <a:pt x="213" y="22"/>
                      <a:pt x="213" y="22"/>
                      <a:pt x="213" y="22"/>
                    </a:cubicBezTo>
                    <a:cubicBezTo>
                      <a:pt x="21" y="22"/>
                      <a:pt x="21" y="22"/>
                      <a:pt x="21" y="22"/>
                    </a:cubicBezTo>
                    <a:lnTo>
                      <a:pt x="21"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5" name="Group 414"/>
            <p:cNvGrpSpPr>
              <a:grpSpLocks noChangeAspect="1"/>
            </p:cNvGrpSpPr>
            <p:nvPr/>
          </p:nvGrpSpPr>
          <p:grpSpPr bwMode="auto">
            <a:xfrm>
              <a:off x="4634555" y="3061765"/>
              <a:ext cx="630173" cy="632026"/>
              <a:chOff x="5060" y="1524"/>
              <a:chExt cx="340" cy="341"/>
            </a:xfrm>
            <a:solidFill>
              <a:schemeClr val="accent2"/>
            </a:solidFill>
          </p:grpSpPr>
          <p:sp>
            <p:nvSpPr>
              <p:cNvPr id="56" name="Freeform 415"/>
              <p:cNvSpPr>
                <a:spLocks noEditPoints="1"/>
              </p:cNvSpPr>
              <p:nvPr/>
            </p:nvSpPr>
            <p:spPr bwMode="auto">
              <a:xfrm>
                <a:off x="5124" y="1623"/>
                <a:ext cx="212" cy="157"/>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416"/>
              <p:cNvSpPr>
                <a:spLocks noEditPoints="1"/>
              </p:cNvSpPr>
              <p:nvPr/>
            </p:nvSpPr>
            <p:spPr bwMode="auto">
              <a:xfrm>
                <a:off x="5060" y="152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382"/>
            <p:cNvGrpSpPr>
              <a:grpSpLocks noChangeAspect="1"/>
            </p:cNvGrpSpPr>
            <p:nvPr/>
          </p:nvGrpSpPr>
          <p:grpSpPr bwMode="auto">
            <a:xfrm>
              <a:off x="7396301" y="3061765"/>
              <a:ext cx="629056" cy="629056"/>
              <a:chOff x="390" y="1196"/>
              <a:chExt cx="340" cy="340"/>
            </a:xfrm>
            <a:solidFill>
              <a:schemeClr val="accent5"/>
            </a:solidFill>
          </p:grpSpPr>
          <p:sp>
            <p:nvSpPr>
              <p:cNvPr id="59" name="Freeform 383"/>
              <p:cNvSpPr>
                <a:spLocks noEditPoints="1"/>
              </p:cNvSpPr>
              <p:nvPr/>
            </p:nvSpPr>
            <p:spPr bwMode="auto">
              <a:xfrm>
                <a:off x="465" y="1266"/>
                <a:ext cx="195" cy="192"/>
              </a:xfrm>
              <a:custGeom>
                <a:avLst/>
                <a:gdLst>
                  <a:gd name="T0" fmla="*/ 238 w 293"/>
                  <a:gd name="T1" fmla="*/ 288 h 288"/>
                  <a:gd name="T2" fmla="*/ 225 w 293"/>
                  <a:gd name="T3" fmla="*/ 287 h 288"/>
                  <a:gd name="T4" fmla="*/ 82 w 293"/>
                  <a:gd name="T5" fmla="*/ 210 h 288"/>
                  <a:gd name="T6" fmla="*/ 6 w 293"/>
                  <a:gd name="T7" fmla="*/ 67 h 288"/>
                  <a:gd name="T8" fmla="*/ 18 w 293"/>
                  <a:gd name="T9" fmla="*/ 26 h 288"/>
                  <a:gd name="T10" fmla="*/ 20 w 293"/>
                  <a:gd name="T11" fmla="*/ 23 h 288"/>
                  <a:gd name="T12" fmla="*/ 47 w 293"/>
                  <a:gd name="T13" fmla="*/ 1 h 288"/>
                  <a:gd name="T14" fmla="*/ 47 w 293"/>
                  <a:gd name="T15" fmla="*/ 1 h 288"/>
                  <a:gd name="T16" fmla="*/ 76 w 293"/>
                  <a:gd name="T17" fmla="*/ 9 h 288"/>
                  <a:gd name="T18" fmla="*/ 125 w 293"/>
                  <a:gd name="T19" fmla="*/ 71 h 288"/>
                  <a:gd name="T20" fmla="*/ 123 w 293"/>
                  <a:gd name="T21" fmla="*/ 80 h 288"/>
                  <a:gd name="T22" fmla="*/ 99 w 293"/>
                  <a:gd name="T23" fmla="*/ 104 h 288"/>
                  <a:gd name="T24" fmla="*/ 106 w 293"/>
                  <a:gd name="T25" fmla="*/ 116 h 288"/>
                  <a:gd name="T26" fmla="*/ 138 w 293"/>
                  <a:gd name="T27" fmla="*/ 155 h 288"/>
                  <a:gd name="T28" fmla="*/ 177 w 293"/>
                  <a:gd name="T29" fmla="*/ 186 h 288"/>
                  <a:gd name="T30" fmla="*/ 189 w 293"/>
                  <a:gd name="T31" fmla="*/ 193 h 288"/>
                  <a:gd name="T32" fmla="*/ 213 w 293"/>
                  <a:gd name="T33" fmla="*/ 170 h 288"/>
                  <a:gd name="T34" fmla="*/ 222 w 293"/>
                  <a:gd name="T35" fmla="*/ 167 h 288"/>
                  <a:gd name="T36" fmla="*/ 284 w 293"/>
                  <a:gd name="T37" fmla="*/ 216 h 288"/>
                  <a:gd name="T38" fmla="*/ 291 w 293"/>
                  <a:gd name="T39" fmla="*/ 244 h 288"/>
                  <a:gd name="T40" fmla="*/ 291 w 293"/>
                  <a:gd name="T41" fmla="*/ 244 h 288"/>
                  <a:gd name="T42" fmla="*/ 269 w 293"/>
                  <a:gd name="T43" fmla="*/ 272 h 288"/>
                  <a:gd name="T44" fmla="*/ 266 w 293"/>
                  <a:gd name="T45" fmla="*/ 275 h 288"/>
                  <a:gd name="T46" fmla="*/ 238 w 293"/>
                  <a:gd name="T47" fmla="*/ 288 h 288"/>
                  <a:gd name="T48" fmla="*/ 53 w 293"/>
                  <a:gd name="T49" fmla="*/ 22 h 288"/>
                  <a:gd name="T50" fmla="*/ 36 w 293"/>
                  <a:gd name="T51" fmla="*/ 38 h 288"/>
                  <a:gd name="T52" fmla="*/ 33 w 293"/>
                  <a:gd name="T53" fmla="*/ 41 h 288"/>
                  <a:gd name="T54" fmla="*/ 27 w 293"/>
                  <a:gd name="T55" fmla="*/ 63 h 288"/>
                  <a:gd name="T56" fmla="*/ 27 w 293"/>
                  <a:gd name="T57" fmla="*/ 65 h 288"/>
                  <a:gd name="T58" fmla="*/ 97 w 293"/>
                  <a:gd name="T59" fmla="*/ 195 h 288"/>
                  <a:gd name="T60" fmla="*/ 228 w 293"/>
                  <a:gd name="T61" fmla="*/ 266 h 288"/>
                  <a:gd name="T62" fmla="*/ 229 w 293"/>
                  <a:gd name="T63" fmla="*/ 266 h 288"/>
                  <a:gd name="T64" fmla="*/ 251 w 293"/>
                  <a:gd name="T65" fmla="*/ 259 h 288"/>
                  <a:gd name="T66" fmla="*/ 255 w 293"/>
                  <a:gd name="T67" fmla="*/ 256 h 288"/>
                  <a:gd name="T68" fmla="*/ 270 w 293"/>
                  <a:gd name="T69" fmla="*/ 240 h 288"/>
                  <a:gd name="T70" fmla="*/ 224 w 293"/>
                  <a:gd name="T71" fmla="*/ 189 h 288"/>
                  <a:gd name="T72" fmla="*/ 198 w 293"/>
                  <a:gd name="T73" fmla="*/ 215 h 288"/>
                  <a:gd name="T74" fmla="*/ 184 w 293"/>
                  <a:gd name="T75" fmla="*/ 216 h 288"/>
                  <a:gd name="T76" fmla="*/ 166 w 293"/>
                  <a:gd name="T77" fmla="*/ 204 h 288"/>
                  <a:gd name="T78" fmla="*/ 122 w 293"/>
                  <a:gd name="T79" fmla="*/ 170 h 288"/>
                  <a:gd name="T80" fmla="*/ 88 w 293"/>
                  <a:gd name="T81" fmla="*/ 127 h 288"/>
                  <a:gd name="T82" fmla="*/ 76 w 293"/>
                  <a:gd name="T83" fmla="*/ 108 h 288"/>
                  <a:gd name="T84" fmla="*/ 78 w 293"/>
                  <a:gd name="T85" fmla="*/ 95 h 288"/>
                  <a:gd name="T86" fmla="*/ 104 w 293"/>
                  <a:gd name="T87" fmla="*/ 69 h 288"/>
                  <a:gd name="T88" fmla="*/ 53 w 293"/>
                  <a:gd name="T89" fmla="*/ 2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 h="288">
                    <a:moveTo>
                      <a:pt x="238" y="288"/>
                    </a:moveTo>
                    <a:cubicBezTo>
                      <a:pt x="234" y="288"/>
                      <a:pt x="230" y="288"/>
                      <a:pt x="225" y="287"/>
                    </a:cubicBezTo>
                    <a:cubicBezTo>
                      <a:pt x="216" y="286"/>
                      <a:pt x="144" y="275"/>
                      <a:pt x="82" y="210"/>
                    </a:cubicBezTo>
                    <a:cubicBezTo>
                      <a:pt x="17" y="148"/>
                      <a:pt x="7" y="76"/>
                      <a:pt x="6" y="67"/>
                    </a:cubicBezTo>
                    <a:cubicBezTo>
                      <a:pt x="0" y="44"/>
                      <a:pt x="9" y="35"/>
                      <a:pt x="18" y="26"/>
                    </a:cubicBezTo>
                    <a:cubicBezTo>
                      <a:pt x="20" y="23"/>
                      <a:pt x="20" y="23"/>
                      <a:pt x="20" y="23"/>
                    </a:cubicBezTo>
                    <a:cubicBezTo>
                      <a:pt x="30" y="13"/>
                      <a:pt x="36" y="4"/>
                      <a:pt x="47" y="1"/>
                    </a:cubicBezTo>
                    <a:cubicBezTo>
                      <a:pt x="47" y="1"/>
                      <a:pt x="47" y="1"/>
                      <a:pt x="47" y="1"/>
                    </a:cubicBezTo>
                    <a:cubicBezTo>
                      <a:pt x="47" y="0"/>
                      <a:pt x="58" y="0"/>
                      <a:pt x="76" y="9"/>
                    </a:cubicBezTo>
                    <a:cubicBezTo>
                      <a:pt x="103" y="23"/>
                      <a:pt x="121" y="45"/>
                      <a:pt x="125" y="71"/>
                    </a:cubicBezTo>
                    <a:cubicBezTo>
                      <a:pt x="126" y="74"/>
                      <a:pt x="125" y="77"/>
                      <a:pt x="123" y="80"/>
                    </a:cubicBezTo>
                    <a:cubicBezTo>
                      <a:pt x="99" y="104"/>
                      <a:pt x="99" y="104"/>
                      <a:pt x="99" y="104"/>
                    </a:cubicBezTo>
                    <a:cubicBezTo>
                      <a:pt x="102" y="108"/>
                      <a:pt x="104" y="112"/>
                      <a:pt x="106" y="116"/>
                    </a:cubicBezTo>
                    <a:cubicBezTo>
                      <a:pt x="114" y="127"/>
                      <a:pt x="119" y="136"/>
                      <a:pt x="138" y="155"/>
                    </a:cubicBezTo>
                    <a:cubicBezTo>
                      <a:pt x="156" y="174"/>
                      <a:pt x="165" y="179"/>
                      <a:pt x="177" y="186"/>
                    </a:cubicBezTo>
                    <a:cubicBezTo>
                      <a:pt x="180" y="188"/>
                      <a:pt x="184" y="191"/>
                      <a:pt x="189" y="193"/>
                    </a:cubicBezTo>
                    <a:cubicBezTo>
                      <a:pt x="213" y="170"/>
                      <a:pt x="213" y="170"/>
                      <a:pt x="213" y="170"/>
                    </a:cubicBezTo>
                    <a:cubicBezTo>
                      <a:pt x="215" y="167"/>
                      <a:pt x="218" y="166"/>
                      <a:pt x="222" y="167"/>
                    </a:cubicBezTo>
                    <a:cubicBezTo>
                      <a:pt x="248" y="170"/>
                      <a:pt x="270" y="188"/>
                      <a:pt x="284" y="216"/>
                    </a:cubicBezTo>
                    <a:cubicBezTo>
                      <a:pt x="290" y="229"/>
                      <a:pt x="293" y="239"/>
                      <a:pt x="291" y="244"/>
                    </a:cubicBezTo>
                    <a:cubicBezTo>
                      <a:pt x="291" y="244"/>
                      <a:pt x="291" y="244"/>
                      <a:pt x="291" y="244"/>
                    </a:cubicBezTo>
                    <a:cubicBezTo>
                      <a:pt x="289" y="253"/>
                      <a:pt x="280" y="262"/>
                      <a:pt x="269" y="272"/>
                    </a:cubicBezTo>
                    <a:cubicBezTo>
                      <a:pt x="266" y="275"/>
                      <a:pt x="266" y="275"/>
                      <a:pt x="266" y="275"/>
                    </a:cubicBezTo>
                    <a:cubicBezTo>
                      <a:pt x="259" y="281"/>
                      <a:pt x="252" y="288"/>
                      <a:pt x="238" y="288"/>
                    </a:cubicBezTo>
                    <a:close/>
                    <a:moveTo>
                      <a:pt x="53" y="22"/>
                    </a:moveTo>
                    <a:cubicBezTo>
                      <a:pt x="48" y="25"/>
                      <a:pt x="40" y="34"/>
                      <a:pt x="36" y="38"/>
                    </a:cubicBezTo>
                    <a:cubicBezTo>
                      <a:pt x="33" y="41"/>
                      <a:pt x="33" y="41"/>
                      <a:pt x="33" y="41"/>
                    </a:cubicBezTo>
                    <a:cubicBezTo>
                      <a:pt x="26" y="49"/>
                      <a:pt x="24" y="51"/>
                      <a:pt x="27" y="63"/>
                    </a:cubicBezTo>
                    <a:cubicBezTo>
                      <a:pt x="27" y="64"/>
                      <a:pt x="27" y="64"/>
                      <a:pt x="27" y="65"/>
                    </a:cubicBezTo>
                    <a:cubicBezTo>
                      <a:pt x="27" y="65"/>
                      <a:pt x="35" y="136"/>
                      <a:pt x="97" y="195"/>
                    </a:cubicBezTo>
                    <a:cubicBezTo>
                      <a:pt x="157" y="258"/>
                      <a:pt x="227" y="265"/>
                      <a:pt x="228" y="266"/>
                    </a:cubicBezTo>
                    <a:cubicBezTo>
                      <a:pt x="228" y="266"/>
                      <a:pt x="229" y="266"/>
                      <a:pt x="229" y="266"/>
                    </a:cubicBezTo>
                    <a:cubicBezTo>
                      <a:pt x="242" y="269"/>
                      <a:pt x="244" y="267"/>
                      <a:pt x="251" y="259"/>
                    </a:cubicBezTo>
                    <a:cubicBezTo>
                      <a:pt x="255" y="256"/>
                      <a:pt x="255" y="256"/>
                      <a:pt x="255" y="256"/>
                    </a:cubicBezTo>
                    <a:cubicBezTo>
                      <a:pt x="258" y="253"/>
                      <a:pt x="267" y="244"/>
                      <a:pt x="270" y="240"/>
                    </a:cubicBezTo>
                    <a:cubicBezTo>
                      <a:pt x="267" y="230"/>
                      <a:pt x="255" y="197"/>
                      <a:pt x="224" y="189"/>
                    </a:cubicBezTo>
                    <a:cubicBezTo>
                      <a:pt x="198" y="215"/>
                      <a:pt x="198" y="215"/>
                      <a:pt x="198" y="215"/>
                    </a:cubicBezTo>
                    <a:cubicBezTo>
                      <a:pt x="194" y="218"/>
                      <a:pt x="188" y="219"/>
                      <a:pt x="184" y="216"/>
                    </a:cubicBezTo>
                    <a:cubicBezTo>
                      <a:pt x="177" y="211"/>
                      <a:pt x="171" y="207"/>
                      <a:pt x="166" y="204"/>
                    </a:cubicBezTo>
                    <a:cubicBezTo>
                      <a:pt x="154" y="197"/>
                      <a:pt x="143" y="190"/>
                      <a:pt x="122" y="170"/>
                    </a:cubicBezTo>
                    <a:cubicBezTo>
                      <a:pt x="102" y="149"/>
                      <a:pt x="96" y="139"/>
                      <a:pt x="88" y="127"/>
                    </a:cubicBezTo>
                    <a:cubicBezTo>
                      <a:pt x="85" y="121"/>
                      <a:pt x="81" y="116"/>
                      <a:pt x="76" y="108"/>
                    </a:cubicBezTo>
                    <a:cubicBezTo>
                      <a:pt x="73" y="104"/>
                      <a:pt x="74" y="98"/>
                      <a:pt x="78" y="95"/>
                    </a:cubicBezTo>
                    <a:cubicBezTo>
                      <a:pt x="104" y="69"/>
                      <a:pt x="104" y="69"/>
                      <a:pt x="104" y="69"/>
                    </a:cubicBezTo>
                    <a:cubicBezTo>
                      <a:pt x="96" y="38"/>
                      <a:pt x="62" y="25"/>
                      <a:pt x="5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84"/>
              <p:cNvSpPr>
                <a:spLocks noEditPoints="1"/>
              </p:cNvSpPr>
              <p:nvPr/>
            </p:nvSpPr>
            <p:spPr bwMode="auto">
              <a:xfrm>
                <a:off x="390" y="11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99868724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501650" y="651600"/>
            <a:ext cx="11188700" cy="590099"/>
          </a:xfrm>
        </p:spPr>
        <p:txBody>
          <a:bodyPr/>
          <a:lstStyle/>
          <a:p>
            <a:r>
              <a:rPr lang="en-US" dirty="0"/>
              <a:t>Two ways of showing major points</a:t>
            </a:r>
          </a:p>
        </p:txBody>
      </p:sp>
      <p:sp>
        <p:nvSpPr>
          <p:cNvPr id="3" name="Title 2"/>
          <p:cNvSpPr>
            <a:spLocks noGrp="1"/>
          </p:cNvSpPr>
          <p:nvPr>
            <p:ph type="title"/>
          </p:nvPr>
        </p:nvSpPr>
        <p:spPr/>
        <p:txBody>
          <a:bodyPr/>
          <a:lstStyle/>
          <a:p>
            <a:r>
              <a:rPr lang="en-US"/>
              <a:t>Text boxes</a:t>
            </a:r>
            <a:endParaRPr lang="en-US" dirty="0"/>
          </a:p>
        </p:txBody>
      </p:sp>
      <p:sp>
        <p:nvSpPr>
          <p:cNvPr id="8" name="Pentagon 7"/>
          <p:cNvSpPr/>
          <p:nvPr/>
        </p:nvSpPr>
        <p:spPr bwMode="gray">
          <a:xfrm>
            <a:off x="501650" y="1360890"/>
            <a:ext cx="2616593" cy="822960"/>
          </a:xfrm>
          <a:prstGeom prst="homePlat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xt runs here</a:t>
            </a:r>
          </a:p>
        </p:txBody>
      </p:sp>
      <p:sp>
        <p:nvSpPr>
          <p:cNvPr id="9" name="Text Placeholder 3"/>
          <p:cNvSpPr txBox="1">
            <a:spLocks/>
          </p:cNvSpPr>
          <p:nvPr/>
        </p:nvSpPr>
        <p:spPr bwMode="gray">
          <a:xfrm>
            <a:off x="3604079" y="3838491"/>
            <a:ext cx="3801806"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0" name="Pentagon 9"/>
          <p:cNvSpPr/>
          <p:nvPr/>
        </p:nvSpPr>
        <p:spPr bwMode="gray">
          <a:xfrm>
            <a:off x="501650" y="3824450"/>
            <a:ext cx="2616593" cy="822960"/>
          </a:xfrm>
          <a:prstGeom prst="homePlat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xt runs here</a:t>
            </a:r>
          </a:p>
        </p:txBody>
      </p:sp>
      <p:sp>
        <p:nvSpPr>
          <p:cNvPr id="11" name="Text Placeholder 3"/>
          <p:cNvSpPr txBox="1">
            <a:spLocks/>
          </p:cNvSpPr>
          <p:nvPr/>
        </p:nvSpPr>
        <p:spPr bwMode="gray">
          <a:xfrm>
            <a:off x="3604079" y="5056231"/>
            <a:ext cx="3801806"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2" name="Pentagon 11"/>
          <p:cNvSpPr/>
          <p:nvPr/>
        </p:nvSpPr>
        <p:spPr bwMode="gray">
          <a:xfrm>
            <a:off x="501650" y="5056231"/>
            <a:ext cx="2616593" cy="822960"/>
          </a:xfrm>
          <a:prstGeom prst="homePlat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xt runs here</a:t>
            </a:r>
          </a:p>
        </p:txBody>
      </p:sp>
      <p:sp>
        <p:nvSpPr>
          <p:cNvPr id="13" name="Text Placeholder 3"/>
          <p:cNvSpPr txBox="1">
            <a:spLocks/>
          </p:cNvSpPr>
          <p:nvPr/>
        </p:nvSpPr>
        <p:spPr bwMode="gray">
          <a:xfrm>
            <a:off x="3604079" y="1360890"/>
            <a:ext cx="3801806" cy="1144258"/>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4" name="Pentagon 13"/>
          <p:cNvSpPr/>
          <p:nvPr/>
        </p:nvSpPr>
        <p:spPr bwMode="gray">
          <a:xfrm>
            <a:off x="501650" y="2592670"/>
            <a:ext cx="2616593" cy="822960"/>
          </a:xfrm>
          <a:prstGeom prst="homePlat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xt runs here</a:t>
            </a:r>
          </a:p>
        </p:txBody>
      </p:sp>
      <p:sp>
        <p:nvSpPr>
          <p:cNvPr id="15" name="Text Placeholder 3"/>
          <p:cNvSpPr txBox="1">
            <a:spLocks/>
          </p:cNvSpPr>
          <p:nvPr/>
        </p:nvSpPr>
        <p:spPr bwMode="gray">
          <a:xfrm>
            <a:off x="3604079" y="2589764"/>
            <a:ext cx="3801806"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6" name="Text Placeholder 3"/>
          <p:cNvSpPr txBox="1">
            <a:spLocks/>
          </p:cNvSpPr>
          <p:nvPr/>
        </p:nvSpPr>
        <p:spPr bwMode="gray">
          <a:xfrm>
            <a:off x="7609871" y="3838491"/>
            <a:ext cx="4160889"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7" name="Text Placeholder 3"/>
          <p:cNvSpPr txBox="1">
            <a:spLocks/>
          </p:cNvSpPr>
          <p:nvPr/>
        </p:nvSpPr>
        <p:spPr bwMode="gray">
          <a:xfrm>
            <a:off x="7609871" y="5056231"/>
            <a:ext cx="4160889"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8" name="Text Placeholder 3"/>
          <p:cNvSpPr txBox="1">
            <a:spLocks/>
          </p:cNvSpPr>
          <p:nvPr/>
        </p:nvSpPr>
        <p:spPr bwMode="gray">
          <a:xfrm>
            <a:off x="7609871" y="1360890"/>
            <a:ext cx="4160889" cy="8356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
        <p:nvSpPr>
          <p:cNvPr id="19" name="Text Placeholder 3"/>
          <p:cNvSpPr txBox="1">
            <a:spLocks/>
          </p:cNvSpPr>
          <p:nvPr/>
        </p:nvSpPr>
        <p:spPr bwMode="gray">
          <a:xfrm>
            <a:off x="7609871" y="2589764"/>
            <a:ext cx="4160889" cy="822960"/>
          </a:xfrm>
          <a:prstGeom prst="rect">
            <a:avLst/>
          </a:prstGeom>
        </p:spPr>
        <p:txBody>
          <a:bodyPr vert="horz" lIns="0" tIns="0" rIns="0" bIns="0" rtlCol="0">
            <a:noAutofit/>
          </a:bodyPr>
          <a:lstStyle/>
          <a:p>
            <a:pPr lvl="0">
              <a:spcAft>
                <a:spcPts val="1000"/>
              </a:spcAft>
              <a:buSzPct val="100000"/>
              <a:defRPr/>
            </a:pPr>
            <a:r>
              <a:rPr lang="en-US" sz="1100" dirty="0">
                <a:solidFill>
                  <a:prstClr val="black"/>
                </a:solidFill>
                <a:cs typeface="Calibri Light" panose="020F0302020204030204" pitchFamily="34" charset="0"/>
              </a:rPr>
              <a:t>Text</a:t>
            </a:r>
          </a:p>
          <a:p>
            <a:pPr marL="139700" lvl="1" indent="-139700">
              <a:spcAft>
                <a:spcPts val="1000"/>
              </a:spcAft>
              <a:buSzPct val="100000"/>
              <a:buFont typeface="Arial" panose="020B0604020202020204" pitchFamily="34" charset="0"/>
              <a:buChar char="•"/>
              <a:defRPr/>
            </a:pPr>
            <a:r>
              <a:rPr lang="en-US" sz="1100" b="1" dirty="0">
                <a:solidFill>
                  <a:prstClr val="black"/>
                </a:solidFill>
                <a:cs typeface="Calibri Light" panose="020F0302020204030204" pitchFamily="34" charset="0"/>
              </a:rPr>
              <a:t>Level two is the first level of bullets</a:t>
            </a:r>
          </a:p>
          <a:p>
            <a:pPr marL="304800" lvl="2"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three is the second level of bullets</a:t>
            </a:r>
          </a:p>
          <a:p>
            <a:pPr marL="469900" lvl="3" indent="-139700">
              <a:spcAft>
                <a:spcPts val="1000"/>
              </a:spcAft>
              <a:buSzPct val="100000"/>
              <a:buFont typeface="Arial" panose="020B0604020202020204" pitchFamily="34" charset="0"/>
              <a:buChar char="◦"/>
              <a:defRPr/>
            </a:pPr>
            <a:r>
              <a:rPr lang="en-US" sz="1100" dirty="0">
                <a:solidFill>
                  <a:prstClr val="black"/>
                </a:solidFill>
                <a:cs typeface="Calibri Light" panose="020F0302020204030204" pitchFamily="34" charset="0"/>
              </a:rPr>
              <a:t>Level four is the third level of bullets</a:t>
            </a:r>
          </a:p>
        </p:txBody>
      </p:sp>
    </p:spTree>
    <p:extLst>
      <p:ext uri="{BB962C8B-B14F-4D97-AF65-F5344CB8AC3E}">
        <p14:creationId xmlns:p14="http://schemas.microsoft.com/office/powerpoint/2010/main" val="1135549735"/>
      </p:ext>
    </p:extLst>
  </p:cSld>
  <p:clrMapOvr>
    <a:masterClrMapping/>
  </p:clrMapOvr>
  <p:transition>
    <p:fade/>
  </p:transition>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bubble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grpSp>
        <p:nvGrpSpPr>
          <p:cNvPr id="2" name="Group 1">
            <a:extLst>
              <a:ext uri="{FF2B5EF4-FFF2-40B4-BE49-F238E27FC236}">
                <a16:creationId xmlns:a16="http://schemas.microsoft.com/office/drawing/2014/main" id="{C07CE754-0E03-4364-9F10-AD8E6F20C54B}"/>
              </a:ext>
            </a:extLst>
          </p:cNvPr>
          <p:cNvGrpSpPr/>
          <p:nvPr/>
        </p:nvGrpSpPr>
        <p:grpSpPr>
          <a:xfrm>
            <a:off x="1355834" y="1583782"/>
            <a:ext cx="9480331" cy="4539208"/>
            <a:chOff x="2634801" y="1840230"/>
            <a:chExt cx="6923777" cy="3315123"/>
          </a:xfrm>
        </p:grpSpPr>
        <p:sp>
          <p:nvSpPr>
            <p:cNvPr id="61" name="Rectangle 13"/>
            <p:cNvSpPr/>
            <p:nvPr/>
          </p:nvSpPr>
          <p:spPr>
            <a:xfrm rot="12691956">
              <a:off x="7660581" y="3033663"/>
              <a:ext cx="1173179" cy="1344110"/>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2" name="Rectangle 13"/>
            <p:cNvSpPr/>
            <p:nvPr/>
          </p:nvSpPr>
          <p:spPr>
            <a:xfrm rot="9073758">
              <a:off x="5915099" y="2971874"/>
              <a:ext cx="1224381" cy="1402772"/>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3" name="Rectangle 13"/>
            <p:cNvSpPr/>
            <p:nvPr/>
          </p:nvSpPr>
          <p:spPr>
            <a:xfrm rot="2024838">
              <a:off x="4000039" y="2840262"/>
              <a:ext cx="1611666" cy="1659646"/>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4" name="Oval 63"/>
            <p:cNvSpPr>
              <a:spLocks noChangeAspect="1"/>
            </p:cNvSpPr>
            <p:nvPr/>
          </p:nvSpPr>
          <p:spPr>
            <a:xfrm>
              <a:off x="6528120" y="2325581"/>
              <a:ext cx="1748174" cy="1747304"/>
            </a:xfrm>
            <a:prstGeom prst="ellips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5" name="Oval 64"/>
            <p:cNvSpPr/>
            <p:nvPr/>
          </p:nvSpPr>
          <p:spPr>
            <a:xfrm>
              <a:off x="2634801" y="1840230"/>
              <a:ext cx="2241396" cy="2241396"/>
            </a:xfrm>
            <a:prstGeom prst="ellips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Oval 65"/>
            <p:cNvSpPr>
              <a:spLocks noChangeAspect="1"/>
            </p:cNvSpPr>
            <p:nvPr/>
          </p:nvSpPr>
          <p:spPr>
            <a:xfrm>
              <a:off x="4689562" y="3199234"/>
              <a:ext cx="1957093" cy="1956119"/>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7" name="Rectangle 66"/>
            <p:cNvSpPr/>
            <p:nvPr/>
          </p:nvSpPr>
          <p:spPr>
            <a:xfrm>
              <a:off x="3271542" y="2345375"/>
              <a:ext cx="1325805" cy="1231106"/>
            </a:xfrm>
            <a:prstGeom prst="rect">
              <a:avLst/>
            </a:prstGeom>
          </p:spPr>
          <p:txBody>
            <a:bodyPr wrap="square" lIns="0" tIns="0" rIns="0" bIns="0" anchor="ctr" anchorCtr="0">
              <a:spAutoFit/>
            </a:bodyPr>
            <a:lstStyle/>
            <a:p>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sp>
          <p:nvSpPr>
            <p:cNvPr id="68" name="TextBox 67"/>
            <p:cNvSpPr txBox="1"/>
            <p:nvPr/>
          </p:nvSpPr>
          <p:spPr>
            <a:xfrm>
              <a:off x="2705984" y="2416745"/>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1</a:t>
              </a:r>
            </a:p>
          </p:txBody>
        </p:sp>
        <p:cxnSp>
          <p:nvCxnSpPr>
            <p:cNvPr id="69" name="Straight Connector 68"/>
            <p:cNvCxnSpPr/>
            <p:nvPr/>
          </p:nvCxnSpPr>
          <p:spPr>
            <a:xfrm>
              <a:off x="3195341" y="2236290"/>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5396503" y="3638683"/>
              <a:ext cx="1034476" cy="1077218"/>
            </a:xfrm>
            <a:prstGeom prst="rect">
              <a:avLst/>
            </a:prstGeom>
          </p:spPr>
          <p:txBody>
            <a:bodyPr wrap="square" lIns="0" tIns="0" rIns="0" bIns="0" anchor="ctr" anchorCtr="0">
              <a:spAutoFit/>
            </a:bodyPr>
            <a:lstStyle/>
            <a:p>
              <a:r>
                <a:rPr lang="en-US" sz="1000" dirty="0">
                  <a:solidFill>
                    <a:schemeClr val="bg1"/>
                  </a:solidFill>
                </a:rPr>
                <a:t>This is dummy text it is not here to be read. This is dummy text it is not here to be read. This is dummy text it is not here to be read. </a:t>
              </a:r>
            </a:p>
          </p:txBody>
        </p:sp>
        <p:sp>
          <p:nvSpPr>
            <p:cNvPr id="71" name="TextBox 70"/>
            <p:cNvSpPr txBox="1"/>
            <p:nvPr/>
          </p:nvSpPr>
          <p:spPr>
            <a:xfrm>
              <a:off x="4795158" y="3633109"/>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2</a:t>
              </a:r>
            </a:p>
          </p:txBody>
        </p:sp>
        <p:cxnSp>
          <p:nvCxnSpPr>
            <p:cNvPr id="72" name="Straight Connector 71"/>
            <p:cNvCxnSpPr/>
            <p:nvPr/>
          </p:nvCxnSpPr>
          <p:spPr>
            <a:xfrm>
              <a:off x="5324503" y="3452654"/>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7226743" y="2737568"/>
              <a:ext cx="871368" cy="923330"/>
            </a:xfrm>
            <a:prstGeom prst="rect">
              <a:avLst/>
            </a:prstGeom>
          </p:spPr>
          <p:txBody>
            <a:bodyPr wrap="square" lIns="0" tIns="0" rIns="0" bIns="0" anchor="ctr" anchorCtr="0">
              <a:spAutoFit/>
            </a:bodyPr>
            <a:lstStyle/>
            <a:p>
              <a:r>
                <a:rPr lang="en-US" sz="1000" dirty="0">
                  <a:solidFill>
                    <a:schemeClr val="bg1"/>
                  </a:solidFill>
                </a:rPr>
                <a:t>This is dummy text it is not here to be read. This is dummy text it is not here to be read. </a:t>
              </a:r>
            </a:p>
          </p:txBody>
        </p:sp>
        <p:sp>
          <p:nvSpPr>
            <p:cNvPr id="74" name="TextBox 73"/>
            <p:cNvSpPr txBox="1"/>
            <p:nvPr/>
          </p:nvSpPr>
          <p:spPr>
            <a:xfrm>
              <a:off x="6596806" y="2655050"/>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3</a:t>
              </a:r>
            </a:p>
          </p:txBody>
        </p:sp>
        <p:cxnSp>
          <p:nvCxnSpPr>
            <p:cNvPr id="75" name="Straight Connector 74"/>
            <p:cNvCxnSpPr/>
            <p:nvPr/>
          </p:nvCxnSpPr>
          <p:spPr>
            <a:xfrm>
              <a:off x="7144257" y="2521724"/>
              <a:ext cx="0" cy="135502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Oval 75"/>
            <p:cNvSpPr>
              <a:spLocks noChangeAspect="1"/>
            </p:cNvSpPr>
            <p:nvPr/>
          </p:nvSpPr>
          <p:spPr>
            <a:xfrm>
              <a:off x="8153193" y="3386355"/>
              <a:ext cx="1405385" cy="140468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1"/>
                </a:solidFill>
              </a:endParaRPr>
            </a:p>
          </p:txBody>
        </p:sp>
        <p:sp>
          <p:nvSpPr>
            <p:cNvPr id="77" name="Rectangle 76"/>
            <p:cNvSpPr/>
            <p:nvPr/>
          </p:nvSpPr>
          <p:spPr>
            <a:xfrm>
              <a:off x="8827620" y="3703978"/>
              <a:ext cx="617489" cy="769441"/>
            </a:xfrm>
            <a:prstGeom prst="rect">
              <a:avLst/>
            </a:prstGeom>
          </p:spPr>
          <p:txBody>
            <a:bodyPr wrap="square" lIns="0" tIns="0" rIns="0" bIns="0" anchor="ctr" anchorCtr="0">
              <a:spAutoFit/>
            </a:bodyPr>
            <a:lstStyle/>
            <a:p>
              <a:r>
                <a:rPr lang="en-US" sz="1000" dirty="0"/>
                <a:t>This is dummy text it is not here to be read. </a:t>
              </a:r>
            </a:p>
          </p:txBody>
        </p:sp>
        <p:sp>
          <p:nvSpPr>
            <p:cNvPr id="78" name="TextBox 77"/>
            <p:cNvSpPr txBox="1"/>
            <p:nvPr/>
          </p:nvSpPr>
          <p:spPr>
            <a:xfrm>
              <a:off x="8200125" y="3544514"/>
              <a:ext cx="631825" cy="1088366"/>
            </a:xfrm>
            <a:prstGeom prst="rect">
              <a:avLst/>
            </a:prstGeom>
            <a:noFill/>
          </p:spPr>
          <p:txBody>
            <a:bodyPr wrap="square" lIns="36000" tIns="36000" rIns="36000" bIns="36000" rtlCol="0" anchor="ctr" anchorCtr="0">
              <a:spAutoFit/>
            </a:bodyPr>
            <a:lstStyle/>
            <a:p>
              <a:r>
                <a:rPr lang="en-US" sz="6600" dirty="0"/>
                <a:t>4</a:t>
              </a:r>
            </a:p>
          </p:txBody>
        </p:sp>
        <p:cxnSp>
          <p:nvCxnSpPr>
            <p:cNvPr id="79" name="Straight Connector 78"/>
            <p:cNvCxnSpPr/>
            <p:nvPr/>
          </p:nvCxnSpPr>
          <p:spPr>
            <a:xfrm>
              <a:off x="8736179" y="3602968"/>
              <a:ext cx="0" cy="971461"/>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48469303"/>
      </p:ext>
    </p:extLst>
  </p:cSld>
  <p:clrMapOvr>
    <a:masterClrMapping/>
  </p:clrMapOvr>
  <p:transition>
    <p:fade/>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raindrop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23" name="Teardrop 25"/>
          <p:cNvSpPr/>
          <p:nvPr/>
        </p:nvSpPr>
        <p:spPr bwMode="gray">
          <a:xfrm rot="8100000" flipH="1">
            <a:off x="4545795" y="1609954"/>
            <a:ext cx="1963244" cy="2093979"/>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1963244"/>
              <a:gd name="connsiteY0" fmla="*/ 1005501 h 1987123"/>
              <a:gd name="connsiteX1" fmla="*/ 981623 w 1963244"/>
              <a:gd name="connsiteY1" fmla="*/ 23879 h 1987123"/>
              <a:gd name="connsiteX2" fmla="*/ 1924909 w 1963244"/>
              <a:gd name="connsiteY2" fmla="*/ 28973 h 1987123"/>
              <a:gd name="connsiteX3" fmla="*/ 1963244 w 1963244"/>
              <a:gd name="connsiteY3" fmla="*/ 1005501 h 1987123"/>
              <a:gd name="connsiteX4" fmla="*/ 981622 w 1963244"/>
              <a:gd name="connsiteY4" fmla="*/ 1987123 h 1987123"/>
              <a:gd name="connsiteX5" fmla="*/ 0 w 1963244"/>
              <a:gd name="connsiteY5" fmla="*/ 1005501 h 1987123"/>
              <a:gd name="connsiteX6" fmla="*/ 1 w 1963244"/>
              <a:gd name="connsiteY6" fmla="*/ 1005501 h 1987123"/>
              <a:gd name="connsiteX0" fmla="*/ 1 w 1963244"/>
              <a:gd name="connsiteY0" fmla="*/ 1018555 h 2000177"/>
              <a:gd name="connsiteX1" fmla="*/ 981623 w 1963244"/>
              <a:gd name="connsiteY1" fmla="*/ 36933 h 2000177"/>
              <a:gd name="connsiteX2" fmla="*/ 1940680 w 1963244"/>
              <a:gd name="connsiteY2" fmla="*/ 19949 h 2000177"/>
              <a:gd name="connsiteX3" fmla="*/ 1963244 w 1963244"/>
              <a:gd name="connsiteY3" fmla="*/ 1018555 h 2000177"/>
              <a:gd name="connsiteX4" fmla="*/ 981622 w 1963244"/>
              <a:gd name="connsiteY4" fmla="*/ 2000177 h 2000177"/>
              <a:gd name="connsiteX5" fmla="*/ 0 w 1963244"/>
              <a:gd name="connsiteY5" fmla="*/ 1018555 h 2000177"/>
              <a:gd name="connsiteX6" fmla="*/ 1 w 1963244"/>
              <a:gd name="connsiteY6" fmla="*/ 1018555 h 2000177"/>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3244" h="2093979">
                <a:moveTo>
                  <a:pt x="1" y="1112357"/>
                </a:moveTo>
                <a:cubicBezTo>
                  <a:pt x="1" y="570222"/>
                  <a:pt x="439488" y="130735"/>
                  <a:pt x="981623" y="130735"/>
                </a:cubicBezTo>
                <a:cubicBezTo>
                  <a:pt x="1310964" y="98726"/>
                  <a:pt x="1603802" y="154382"/>
                  <a:pt x="1942160" y="0"/>
                </a:cubicBezTo>
                <a:cubicBezTo>
                  <a:pt x="1831091" y="454143"/>
                  <a:pt x="1963244" y="785150"/>
                  <a:pt x="1963244" y="1112357"/>
                </a:cubicBezTo>
                <a:cubicBezTo>
                  <a:pt x="1963244" y="1654492"/>
                  <a:pt x="1523757" y="2093979"/>
                  <a:pt x="981622" y="2093979"/>
                </a:cubicBezTo>
                <a:cubicBezTo>
                  <a:pt x="439487" y="2093979"/>
                  <a:pt x="0" y="1654492"/>
                  <a:pt x="0" y="1112357"/>
                </a:cubicBezTo>
                <a:lnTo>
                  <a:pt x="1" y="1112357"/>
                </a:lnTo>
                <a:close/>
              </a:path>
            </a:pathLst>
          </a:custGeom>
          <a:solidFill>
            <a:schemeClr val="accent3"/>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4" name="Teardrop 1"/>
          <p:cNvSpPr/>
          <p:nvPr/>
        </p:nvSpPr>
        <p:spPr bwMode="gray">
          <a:xfrm rot="13500000">
            <a:off x="6092026" y="2753261"/>
            <a:ext cx="1939171" cy="1858350"/>
          </a:xfrm>
          <a:custGeom>
            <a:avLst/>
            <a:gdLst>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719" h="1811917">
                <a:moveTo>
                  <a:pt x="0" y="951927"/>
                </a:moveTo>
                <a:cubicBezTo>
                  <a:pt x="0" y="476968"/>
                  <a:pt x="388899" y="119011"/>
                  <a:pt x="859990" y="91937"/>
                </a:cubicBezTo>
                <a:cubicBezTo>
                  <a:pt x="1203566" y="61291"/>
                  <a:pt x="1445356" y="93032"/>
                  <a:pt x="1890719" y="0"/>
                </a:cubicBezTo>
                <a:cubicBezTo>
                  <a:pt x="1673060" y="312270"/>
                  <a:pt x="1719980" y="665264"/>
                  <a:pt x="1719980" y="951927"/>
                </a:cubicBezTo>
                <a:cubicBezTo>
                  <a:pt x="1719980" y="1426886"/>
                  <a:pt x="1334949" y="1811917"/>
                  <a:pt x="859990" y="1811917"/>
                </a:cubicBezTo>
                <a:cubicBezTo>
                  <a:pt x="385031" y="1811917"/>
                  <a:pt x="0" y="1426886"/>
                  <a:pt x="0" y="951927"/>
                </a:cubicBezTo>
                <a:close/>
              </a:path>
            </a:pathLst>
          </a:custGeom>
          <a:solidFill>
            <a:schemeClr val="accent6"/>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5" name="Teardrop 25"/>
          <p:cNvSpPr/>
          <p:nvPr/>
        </p:nvSpPr>
        <p:spPr bwMode="gray">
          <a:xfrm rot="8100000" flipH="1">
            <a:off x="3884832" y="3573366"/>
            <a:ext cx="2597580" cy="2402465"/>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930" h="1973642">
                <a:moveTo>
                  <a:pt x="1" y="992020"/>
                </a:moveTo>
                <a:cubicBezTo>
                  <a:pt x="1" y="449885"/>
                  <a:pt x="439488" y="10398"/>
                  <a:pt x="981623" y="10398"/>
                </a:cubicBezTo>
                <a:cubicBezTo>
                  <a:pt x="1310964" y="-21611"/>
                  <a:pt x="1798187" y="27001"/>
                  <a:pt x="2133930" y="65411"/>
                </a:cubicBezTo>
                <a:cubicBezTo>
                  <a:pt x="1969313" y="292018"/>
                  <a:pt x="2015416" y="673803"/>
                  <a:pt x="2000056" y="944688"/>
                </a:cubicBezTo>
                <a:cubicBezTo>
                  <a:pt x="2000056" y="1486823"/>
                  <a:pt x="1523757" y="1973642"/>
                  <a:pt x="981622" y="1973642"/>
                </a:cubicBezTo>
                <a:cubicBezTo>
                  <a:pt x="439487" y="1973642"/>
                  <a:pt x="0" y="1534155"/>
                  <a:pt x="0" y="992020"/>
                </a:cubicBezTo>
                <a:lnTo>
                  <a:pt x="1" y="992020"/>
                </a:lnTo>
                <a:close/>
              </a:path>
            </a:pathLst>
          </a:custGeom>
          <a:solidFill>
            <a:schemeClr val="accent6"/>
          </a:solidFill>
          <a:ln w="63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6" name="Oval 2"/>
          <p:cNvSpPr/>
          <p:nvPr/>
        </p:nvSpPr>
        <p:spPr bwMode="gray">
          <a:xfrm>
            <a:off x="6228099" y="1042521"/>
            <a:ext cx="1991762" cy="1657854"/>
          </a:xfrm>
          <a:custGeom>
            <a:avLst/>
            <a:gdLst/>
            <a:ahLst/>
            <a:cxnLst/>
            <a:rect l="l" t="t" r="r" b="b"/>
            <a:pathLst>
              <a:path w="1991762" h="1729212">
                <a:moveTo>
                  <a:pt x="1127156" y="0"/>
                </a:moveTo>
                <a:cubicBezTo>
                  <a:pt x="1604665" y="0"/>
                  <a:pt x="1991762" y="387097"/>
                  <a:pt x="1991762" y="864606"/>
                </a:cubicBezTo>
                <a:cubicBezTo>
                  <a:pt x="1991762" y="1342115"/>
                  <a:pt x="1604665" y="1729212"/>
                  <a:pt x="1127156" y="1729212"/>
                </a:cubicBezTo>
                <a:cubicBezTo>
                  <a:pt x="854437" y="1729212"/>
                  <a:pt x="611209" y="1602946"/>
                  <a:pt x="455780" y="1403245"/>
                </a:cubicBezTo>
                <a:cubicBezTo>
                  <a:pt x="297421" y="1231998"/>
                  <a:pt x="164430" y="1008390"/>
                  <a:pt x="0" y="851026"/>
                </a:cubicBezTo>
                <a:cubicBezTo>
                  <a:pt x="222938" y="845780"/>
                  <a:pt x="235708" y="758685"/>
                  <a:pt x="293792" y="637170"/>
                </a:cubicBezTo>
                <a:cubicBezTo>
                  <a:pt x="392780" y="269872"/>
                  <a:pt x="728452" y="0"/>
                  <a:pt x="1127156" y="0"/>
                </a:cubicBezTo>
                <a:close/>
              </a:path>
            </a:pathLst>
          </a:custGeom>
          <a:solidFill>
            <a:schemeClr val="accent6"/>
          </a:solidFill>
          <a:ln w="19050" algn="ctr">
            <a:no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7" name="Rectangle 26"/>
          <p:cNvSpPr/>
          <p:nvPr/>
        </p:nvSpPr>
        <p:spPr>
          <a:xfrm>
            <a:off x="4680668" y="3985278"/>
            <a:ext cx="1371600" cy="1692771"/>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 This is dummy text it is not here to be read. This is dummy text it is not here to be read. </a:t>
            </a:r>
          </a:p>
        </p:txBody>
      </p:sp>
      <p:sp>
        <p:nvSpPr>
          <p:cNvPr id="28" name="TextBox 27"/>
          <p:cNvSpPr txBox="1"/>
          <p:nvPr/>
        </p:nvSpPr>
        <p:spPr>
          <a:xfrm>
            <a:off x="4024441" y="4237814"/>
            <a:ext cx="689491" cy="1187699"/>
          </a:xfrm>
          <a:prstGeom prst="rect">
            <a:avLst/>
          </a:prstGeom>
          <a:noFill/>
        </p:spPr>
        <p:txBody>
          <a:bodyPr wrap="square" lIns="0" tIns="0" rIns="0" bIns="0" rtlCol="0" anchor="ctr" anchorCtr="0">
            <a:noAutofit/>
          </a:bodyPr>
          <a:lstStyle/>
          <a:p>
            <a:r>
              <a:rPr lang="en-US" sz="6600" dirty="0">
                <a:solidFill>
                  <a:schemeClr val="bg1"/>
                </a:solidFill>
              </a:rPr>
              <a:t>1</a:t>
            </a:r>
          </a:p>
        </p:txBody>
      </p:sp>
      <p:cxnSp>
        <p:nvCxnSpPr>
          <p:cNvPr id="29" name="Straight Connector 28"/>
          <p:cNvCxnSpPr/>
          <p:nvPr/>
        </p:nvCxnSpPr>
        <p:spPr>
          <a:xfrm>
            <a:off x="4565884" y="3952101"/>
            <a:ext cx="0" cy="1759125"/>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5237908" y="1997135"/>
            <a:ext cx="1005840" cy="1231106"/>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 This is dummy text it is not here to be read. </a:t>
            </a:r>
          </a:p>
        </p:txBody>
      </p:sp>
      <p:sp>
        <p:nvSpPr>
          <p:cNvPr id="31" name="TextBox 30"/>
          <p:cNvSpPr txBox="1"/>
          <p:nvPr/>
        </p:nvSpPr>
        <p:spPr>
          <a:xfrm>
            <a:off x="4599786" y="2018840"/>
            <a:ext cx="689491" cy="1187699"/>
          </a:xfrm>
          <a:prstGeom prst="rect">
            <a:avLst/>
          </a:prstGeom>
          <a:noFill/>
        </p:spPr>
        <p:txBody>
          <a:bodyPr wrap="square" lIns="0" tIns="0" rIns="0" bIns="0" rtlCol="0" anchor="ctr" anchorCtr="0">
            <a:noAutofit/>
          </a:bodyPr>
          <a:lstStyle/>
          <a:p>
            <a:r>
              <a:rPr lang="en-US" sz="6600" dirty="0">
                <a:solidFill>
                  <a:schemeClr val="bg1"/>
                </a:solidFill>
              </a:rPr>
              <a:t>3</a:t>
            </a:r>
          </a:p>
        </p:txBody>
      </p:sp>
      <p:cxnSp>
        <p:nvCxnSpPr>
          <p:cNvPr id="32" name="Straight Connector 31"/>
          <p:cNvCxnSpPr/>
          <p:nvPr/>
        </p:nvCxnSpPr>
        <p:spPr>
          <a:xfrm>
            <a:off x="5132176" y="1875444"/>
            <a:ext cx="0" cy="147449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6939731" y="3221098"/>
            <a:ext cx="950896" cy="923330"/>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a:t>
            </a:r>
          </a:p>
        </p:txBody>
      </p:sp>
      <p:sp>
        <p:nvSpPr>
          <p:cNvPr id="34" name="TextBox 33"/>
          <p:cNvSpPr txBox="1"/>
          <p:nvPr/>
        </p:nvSpPr>
        <p:spPr>
          <a:xfrm>
            <a:off x="6304620" y="3189675"/>
            <a:ext cx="689491" cy="986179"/>
          </a:xfrm>
          <a:prstGeom prst="rect">
            <a:avLst/>
          </a:prstGeom>
          <a:noFill/>
        </p:spPr>
        <p:txBody>
          <a:bodyPr wrap="square" lIns="0" tIns="0" rIns="0" bIns="0" rtlCol="0" anchor="ctr" anchorCtr="0">
            <a:noAutofit/>
          </a:bodyPr>
          <a:lstStyle/>
          <a:p>
            <a:r>
              <a:rPr lang="en-US" sz="6600" dirty="0">
                <a:solidFill>
                  <a:schemeClr val="bg1"/>
                </a:solidFill>
              </a:rPr>
              <a:t>2</a:t>
            </a:r>
          </a:p>
        </p:txBody>
      </p:sp>
      <p:cxnSp>
        <p:nvCxnSpPr>
          <p:cNvPr id="35" name="Straight Connector 34"/>
          <p:cNvCxnSpPr/>
          <p:nvPr/>
        </p:nvCxnSpPr>
        <p:spPr>
          <a:xfrm>
            <a:off x="6824207" y="3062530"/>
            <a:ext cx="0" cy="124046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7132423" y="1417213"/>
            <a:ext cx="950896" cy="923330"/>
          </a:xfrm>
          <a:prstGeom prst="rect">
            <a:avLst/>
          </a:prstGeom>
        </p:spPr>
        <p:txBody>
          <a:bodyPr wrap="square" lIns="0" tIns="0" rIns="0" bIns="0" anchor="ctr" anchorCtr="0">
            <a:noAutofit/>
          </a:bodyPr>
          <a:lstStyle/>
          <a:p>
            <a:r>
              <a:rPr lang="en-US" sz="1000" dirty="0">
                <a:solidFill>
                  <a:schemeClr val="bg1"/>
                </a:solidFill>
              </a:rPr>
              <a:t>This is dummy text it is not here to be read. This is dummy text it is not here to be read.</a:t>
            </a:r>
          </a:p>
        </p:txBody>
      </p:sp>
      <p:sp>
        <p:nvSpPr>
          <p:cNvPr id="37" name="TextBox 36"/>
          <p:cNvSpPr txBox="1"/>
          <p:nvPr/>
        </p:nvSpPr>
        <p:spPr>
          <a:xfrm>
            <a:off x="6516274" y="1385790"/>
            <a:ext cx="689491" cy="986179"/>
          </a:xfrm>
          <a:prstGeom prst="rect">
            <a:avLst/>
          </a:prstGeom>
          <a:noFill/>
        </p:spPr>
        <p:txBody>
          <a:bodyPr wrap="square" lIns="0" tIns="0" rIns="0" bIns="0" rtlCol="0" anchor="ctr" anchorCtr="0">
            <a:noAutofit/>
          </a:bodyPr>
          <a:lstStyle/>
          <a:p>
            <a:r>
              <a:rPr lang="en-US" sz="6600" dirty="0">
                <a:solidFill>
                  <a:schemeClr val="bg1"/>
                </a:solidFill>
              </a:rPr>
              <a:t>4</a:t>
            </a:r>
          </a:p>
        </p:txBody>
      </p:sp>
      <p:cxnSp>
        <p:nvCxnSpPr>
          <p:cNvPr id="38" name="Straight Connector 37"/>
          <p:cNvCxnSpPr/>
          <p:nvPr/>
        </p:nvCxnSpPr>
        <p:spPr>
          <a:xfrm>
            <a:off x="7035007" y="1258645"/>
            <a:ext cx="0" cy="124046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359665"/>
      </p:ext>
    </p:extLst>
  </p:cSld>
  <p:clrMapOvr>
    <a:masterClrMapping/>
  </p:clrMapOvr>
  <p:transition>
    <p:fade/>
  </p:transition>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Numbered elements</a:t>
            </a:r>
            <a:endParaRPr lang="en-GB" dirty="0"/>
          </a:p>
        </p:txBody>
      </p:sp>
      <p:sp>
        <p:nvSpPr>
          <p:cNvPr id="3" name="Title 2"/>
          <p:cNvSpPr>
            <a:spLocks noGrp="1"/>
          </p:cNvSpPr>
          <p:nvPr>
            <p:ph type="title"/>
          </p:nvPr>
        </p:nvSpPr>
        <p:spPr/>
        <p:txBody>
          <a:bodyPr/>
          <a:lstStyle/>
          <a:p>
            <a:r>
              <a:rPr lang="en-US" altLang="ja-JP"/>
              <a:t>Ranking elements</a:t>
            </a:r>
            <a:endParaRPr lang="en-GB" dirty="0"/>
          </a:p>
        </p:txBody>
      </p:sp>
      <p:sp>
        <p:nvSpPr>
          <p:cNvPr id="20" name="Teardrop 25"/>
          <p:cNvSpPr/>
          <p:nvPr/>
        </p:nvSpPr>
        <p:spPr bwMode="gray">
          <a:xfrm rot="8100000" flipH="1">
            <a:off x="4545795" y="1609954"/>
            <a:ext cx="1963244" cy="2093979"/>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1963244"/>
              <a:gd name="connsiteY0" fmla="*/ 1005501 h 1987123"/>
              <a:gd name="connsiteX1" fmla="*/ 981623 w 1963244"/>
              <a:gd name="connsiteY1" fmla="*/ 23879 h 1987123"/>
              <a:gd name="connsiteX2" fmla="*/ 1924909 w 1963244"/>
              <a:gd name="connsiteY2" fmla="*/ 28973 h 1987123"/>
              <a:gd name="connsiteX3" fmla="*/ 1963244 w 1963244"/>
              <a:gd name="connsiteY3" fmla="*/ 1005501 h 1987123"/>
              <a:gd name="connsiteX4" fmla="*/ 981622 w 1963244"/>
              <a:gd name="connsiteY4" fmla="*/ 1987123 h 1987123"/>
              <a:gd name="connsiteX5" fmla="*/ 0 w 1963244"/>
              <a:gd name="connsiteY5" fmla="*/ 1005501 h 1987123"/>
              <a:gd name="connsiteX6" fmla="*/ 1 w 1963244"/>
              <a:gd name="connsiteY6" fmla="*/ 1005501 h 1987123"/>
              <a:gd name="connsiteX0" fmla="*/ 1 w 1963244"/>
              <a:gd name="connsiteY0" fmla="*/ 1018555 h 2000177"/>
              <a:gd name="connsiteX1" fmla="*/ 981623 w 1963244"/>
              <a:gd name="connsiteY1" fmla="*/ 36933 h 2000177"/>
              <a:gd name="connsiteX2" fmla="*/ 1940680 w 1963244"/>
              <a:gd name="connsiteY2" fmla="*/ 19949 h 2000177"/>
              <a:gd name="connsiteX3" fmla="*/ 1963244 w 1963244"/>
              <a:gd name="connsiteY3" fmla="*/ 1018555 h 2000177"/>
              <a:gd name="connsiteX4" fmla="*/ 981622 w 1963244"/>
              <a:gd name="connsiteY4" fmla="*/ 2000177 h 2000177"/>
              <a:gd name="connsiteX5" fmla="*/ 0 w 1963244"/>
              <a:gd name="connsiteY5" fmla="*/ 1018555 h 2000177"/>
              <a:gd name="connsiteX6" fmla="*/ 1 w 1963244"/>
              <a:gd name="connsiteY6" fmla="*/ 1018555 h 2000177"/>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3244" h="2093979">
                <a:moveTo>
                  <a:pt x="1" y="1112357"/>
                </a:moveTo>
                <a:cubicBezTo>
                  <a:pt x="1" y="570222"/>
                  <a:pt x="439488" y="130735"/>
                  <a:pt x="981623" y="130735"/>
                </a:cubicBezTo>
                <a:cubicBezTo>
                  <a:pt x="1310964" y="98726"/>
                  <a:pt x="1603802" y="154382"/>
                  <a:pt x="1942160" y="0"/>
                </a:cubicBezTo>
                <a:cubicBezTo>
                  <a:pt x="1831091" y="454143"/>
                  <a:pt x="1963244" y="785150"/>
                  <a:pt x="1963244" y="1112357"/>
                </a:cubicBezTo>
                <a:cubicBezTo>
                  <a:pt x="1963244" y="1654492"/>
                  <a:pt x="1523757" y="2093979"/>
                  <a:pt x="981622" y="2093979"/>
                </a:cubicBezTo>
                <a:cubicBezTo>
                  <a:pt x="439487" y="2093979"/>
                  <a:pt x="0" y="1654492"/>
                  <a:pt x="0" y="1112357"/>
                </a:cubicBezTo>
                <a:lnTo>
                  <a:pt x="1" y="1112357"/>
                </a:lnTo>
                <a:close/>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1" name="Teardrop 1"/>
          <p:cNvSpPr/>
          <p:nvPr/>
        </p:nvSpPr>
        <p:spPr bwMode="gray">
          <a:xfrm rot="13500000">
            <a:off x="6092026" y="2753261"/>
            <a:ext cx="1939171" cy="1858350"/>
          </a:xfrm>
          <a:custGeom>
            <a:avLst/>
            <a:gdLst>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719" h="1811917">
                <a:moveTo>
                  <a:pt x="0" y="951927"/>
                </a:moveTo>
                <a:cubicBezTo>
                  <a:pt x="0" y="476968"/>
                  <a:pt x="388899" y="119011"/>
                  <a:pt x="859990" y="91937"/>
                </a:cubicBezTo>
                <a:cubicBezTo>
                  <a:pt x="1203566" y="61291"/>
                  <a:pt x="1445356" y="93032"/>
                  <a:pt x="1890719" y="0"/>
                </a:cubicBezTo>
                <a:cubicBezTo>
                  <a:pt x="1673060" y="312270"/>
                  <a:pt x="1719980" y="665264"/>
                  <a:pt x="1719980" y="951927"/>
                </a:cubicBezTo>
                <a:cubicBezTo>
                  <a:pt x="1719980" y="1426886"/>
                  <a:pt x="1334949" y="1811917"/>
                  <a:pt x="859990" y="1811917"/>
                </a:cubicBezTo>
                <a:cubicBezTo>
                  <a:pt x="385031" y="1811917"/>
                  <a:pt x="0" y="1426886"/>
                  <a:pt x="0" y="951927"/>
                </a:cubicBezTo>
                <a:close/>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2" name="Teardrop 25"/>
          <p:cNvSpPr/>
          <p:nvPr/>
        </p:nvSpPr>
        <p:spPr bwMode="gray">
          <a:xfrm rot="8100000" flipH="1">
            <a:off x="3884832" y="3573366"/>
            <a:ext cx="2597580" cy="2402465"/>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930" h="1973642">
                <a:moveTo>
                  <a:pt x="1" y="992020"/>
                </a:moveTo>
                <a:cubicBezTo>
                  <a:pt x="1" y="449885"/>
                  <a:pt x="439488" y="10398"/>
                  <a:pt x="981623" y="10398"/>
                </a:cubicBezTo>
                <a:cubicBezTo>
                  <a:pt x="1310964" y="-21611"/>
                  <a:pt x="1798187" y="27001"/>
                  <a:pt x="2133930" y="65411"/>
                </a:cubicBezTo>
                <a:cubicBezTo>
                  <a:pt x="1969313" y="292018"/>
                  <a:pt x="2015416" y="673803"/>
                  <a:pt x="2000056" y="944688"/>
                </a:cubicBezTo>
                <a:cubicBezTo>
                  <a:pt x="2000056" y="1486823"/>
                  <a:pt x="1523757" y="1973642"/>
                  <a:pt x="981622" y="1973642"/>
                </a:cubicBezTo>
                <a:cubicBezTo>
                  <a:pt x="439487" y="1973642"/>
                  <a:pt x="0" y="1534155"/>
                  <a:pt x="0" y="992020"/>
                </a:cubicBezTo>
                <a:lnTo>
                  <a:pt x="1" y="992020"/>
                </a:lnTo>
                <a:close/>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3" name="Oval 2"/>
          <p:cNvSpPr/>
          <p:nvPr/>
        </p:nvSpPr>
        <p:spPr bwMode="gray">
          <a:xfrm>
            <a:off x="6228099" y="1042521"/>
            <a:ext cx="1991762" cy="1657854"/>
          </a:xfrm>
          <a:custGeom>
            <a:avLst/>
            <a:gdLst/>
            <a:ahLst/>
            <a:cxnLst/>
            <a:rect l="l" t="t" r="r" b="b"/>
            <a:pathLst>
              <a:path w="1991762" h="1729212">
                <a:moveTo>
                  <a:pt x="1127156" y="0"/>
                </a:moveTo>
                <a:cubicBezTo>
                  <a:pt x="1604665" y="0"/>
                  <a:pt x="1991762" y="387097"/>
                  <a:pt x="1991762" y="864606"/>
                </a:cubicBezTo>
                <a:cubicBezTo>
                  <a:pt x="1991762" y="1342115"/>
                  <a:pt x="1604665" y="1729212"/>
                  <a:pt x="1127156" y="1729212"/>
                </a:cubicBezTo>
                <a:cubicBezTo>
                  <a:pt x="854437" y="1729212"/>
                  <a:pt x="611209" y="1602946"/>
                  <a:pt x="455780" y="1403245"/>
                </a:cubicBezTo>
                <a:cubicBezTo>
                  <a:pt x="297421" y="1231998"/>
                  <a:pt x="164430" y="1008390"/>
                  <a:pt x="0" y="851026"/>
                </a:cubicBezTo>
                <a:cubicBezTo>
                  <a:pt x="222938" y="845780"/>
                  <a:pt x="235708" y="758685"/>
                  <a:pt x="293792" y="637170"/>
                </a:cubicBezTo>
                <a:cubicBezTo>
                  <a:pt x="392780" y="269872"/>
                  <a:pt x="728452" y="0"/>
                  <a:pt x="1127156" y="0"/>
                </a:cubicBezTo>
                <a:close/>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pPr>
            <a:endParaRPr lang="en-US" sz="1600" b="1" dirty="0">
              <a:solidFill>
                <a:schemeClr val="bg1"/>
              </a:solidFill>
            </a:endParaRPr>
          </a:p>
        </p:txBody>
      </p:sp>
      <p:sp>
        <p:nvSpPr>
          <p:cNvPr id="24" name="Rectangle 23"/>
          <p:cNvSpPr/>
          <p:nvPr/>
        </p:nvSpPr>
        <p:spPr>
          <a:xfrm>
            <a:off x="4680668" y="3985278"/>
            <a:ext cx="1371600" cy="1692771"/>
          </a:xfrm>
          <a:prstGeom prst="rect">
            <a:avLst/>
          </a:prstGeom>
        </p:spPr>
        <p:txBody>
          <a:bodyPr wrap="square" lIns="0" tIns="0" rIns="0" bIns="0" anchor="ctr" anchorCtr="0">
            <a:noAutofit/>
          </a:bodyPr>
          <a:lstStyle/>
          <a:p>
            <a:r>
              <a:rPr lang="en-US" sz="1000" dirty="0"/>
              <a:t>This is dummy text it is not here to be read. This is dummy text it is not here to be read. This is dummy text it is not here to be read. This is dummy text it is not here to be read. </a:t>
            </a:r>
          </a:p>
        </p:txBody>
      </p:sp>
      <p:sp>
        <p:nvSpPr>
          <p:cNvPr id="25" name="TextBox 24"/>
          <p:cNvSpPr txBox="1"/>
          <p:nvPr/>
        </p:nvSpPr>
        <p:spPr>
          <a:xfrm>
            <a:off x="4024441" y="4237814"/>
            <a:ext cx="689491" cy="1187699"/>
          </a:xfrm>
          <a:prstGeom prst="rect">
            <a:avLst/>
          </a:prstGeom>
          <a:noFill/>
        </p:spPr>
        <p:txBody>
          <a:bodyPr wrap="square" lIns="0" tIns="0" rIns="0" bIns="0" rtlCol="0" anchor="ctr" anchorCtr="0">
            <a:noAutofit/>
          </a:bodyPr>
          <a:lstStyle/>
          <a:p>
            <a:r>
              <a:rPr lang="en-US" sz="6600" dirty="0">
                <a:solidFill>
                  <a:schemeClr val="accent1"/>
                </a:solidFill>
              </a:rPr>
              <a:t>1</a:t>
            </a:r>
          </a:p>
        </p:txBody>
      </p:sp>
      <p:cxnSp>
        <p:nvCxnSpPr>
          <p:cNvPr id="26" name="Straight Connector 25"/>
          <p:cNvCxnSpPr/>
          <p:nvPr/>
        </p:nvCxnSpPr>
        <p:spPr>
          <a:xfrm>
            <a:off x="4565884" y="3952101"/>
            <a:ext cx="0" cy="1759125"/>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5237908" y="1997135"/>
            <a:ext cx="1005840" cy="1231106"/>
          </a:xfrm>
          <a:prstGeom prst="rect">
            <a:avLst/>
          </a:prstGeom>
        </p:spPr>
        <p:txBody>
          <a:bodyPr wrap="square" lIns="0" tIns="0" rIns="0" bIns="0" anchor="ctr" anchorCtr="0">
            <a:noAutofit/>
          </a:bodyPr>
          <a:lstStyle/>
          <a:p>
            <a:r>
              <a:rPr lang="en-US" sz="1000" dirty="0"/>
              <a:t>This is dummy text it is not here to be read. This is dummy text it is not here to be read. This is dummy text it is not here to be read. </a:t>
            </a:r>
          </a:p>
        </p:txBody>
      </p:sp>
      <p:sp>
        <p:nvSpPr>
          <p:cNvPr id="28" name="TextBox 27"/>
          <p:cNvSpPr txBox="1"/>
          <p:nvPr/>
        </p:nvSpPr>
        <p:spPr>
          <a:xfrm>
            <a:off x="4599786" y="2018840"/>
            <a:ext cx="689491" cy="1187699"/>
          </a:xfrm>
          <a:prstGeom prst="rect">
            <a:avLst/>
          </a:prstGeom>
          <a:noFill/>
        </p:spPr>
        <p:txBody>
          <a:bodyPr wrap="square" lIns="0" tIns="0" rIns="0" bIns="0" rtlCol="0" anchor="ctr" anchorCtr="0">
            <a:noAutofit/>
          </a:bodyPr>
          <a:lstStyle/>
          <a:p>
            <a:r>
              <a:rPr lang="en-US" sz="6600" dirty="0">
                <a:solidFill>
                  <a:schemeClr val="accent3"/>
                </a:solidFill>
              </a:rPr>
              <a:t>3</a:t>
            </a:r>
          </a:p>
        </p:txBody>
      </p:sp>
      <p:cxnSp>
        <p:nvCxnSpPr>
          <p:cNvPr id="29" name="Straight Connector 28"/>
          <p:cNvCxnSpPr/>
          <p:nvPr/>
        </p:nvCxnSpPr>
        <p:spPr>
          <a:xfrm>
            <a:off x="5132176" y="1875444"/>
            <a:ext cx="0" cy="1474491"/>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6939731" y="3221098"/>
            <a:ext cx="950896" cy="923330"/>
          </a:xfrm>
          <a:prstGeom prst="rect">
            <a:avLst/>
          </a:prstGeom>
        </p:spPr>
        <p:txBody>
          <a:bodyPr wrap="square" lIns="0" tIns="0" rIns="0" bIns="0" anchor="ctr" anchorCtr="0">
            <a:noAutofit/>
          </a:bodyPr>
          <a:lstStyle/>
          <a:p>
            <a:r>
              <a:rPr lang="en-US" sz="1000" dirty="0"/>
              <a:t>This is dummy text it is not here to be read. This is dummy text it is not here to be read.</a:t>
            </a:r>
          </a:p>
        </p:txBody>
      </p:sp>
      <p:sp>
        <p:nvSpPr>
          <p:cNvPr id="31" name="TextBox 30"/>
          <p:cNvSpPr txBox="1"/>
          <p:nvPr/>
        </p:nvSpPr>
        <p:spPr>
          <a:xfrm>
            <a:off x="6304620" y="3189675"/>
            <a:ext cx="689491" cy="986179"/>
          </a:xfrm>
          <a:prstGeom prst="rect">
            <a:avLst/>
          </a:prstGeom>
          <a:noFill/>
        </p:spPr>
        <p:txBody>
          <a:bodyPr wrap="square" lIns="0" tIns="0" rIns="0" bIns="0" rtlCol="0" anchor="ctr" anchorCtr="0">
            <a:noAutofit/>
          </a:bodyPr>
          <a:lstStyle/>
          <a:p>
            <a:r>
              <a:rPr lang="en-US" sz="6600" dirty="0">
                <a:solidFill>
                  <a:schemeClr val="accent2"/>
                </a:solidFill>
              </a:rPr>
              <a:t>2</a:t>
            </a:r>
          </a:p>
        </p:txBody>
      </p:sp>
      <p:cxnSp>
        <p:nvCxnSpPr>
          <p:cNvPr id="32" name="Straight Connector 31"/>
          <p:cNvCxnSpPr/>
          <p:nvPr/>
        </p:nvCxnSpPr>
        <p:spPr>
          <a:xfrm>
            <a:off x="6824207" y="3062530"/>
            <a:ext cx="0" cy="1240466"/>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7132423" y="1417213"/>
            <a:ext cx="950896" cy="923330"/>
          </a:xfrm>
          <a:prstGeom prst="rect">
            <a:avLst/>
          </a:prstGeom>
        </p:spPr>
        <p:txBody>
          <a:bodyPr wrap="square" lIns="0" tIns="0" rIns="0" bIns="0" anchor="ctr" anchorCtr="0">
            <a:noAutofit/>
          </a:bodyPr>
          <a:lstStyle/>
          <a:p>
            <a:r>
              <a:rPr lang="en-US" sz="1000" dirty="0"/>
              <a:t>This is dummy text it is not here to be read. This is dummy text it is not here to be read.</a:t>
            </a:r>
          </a:p>
        </p:txBody>
      </p:sp>
      <p:sp>
        <p:nvSpPr>
          <p:cNvPr id="34" name="TextBox 33"/>
          <p:cNvSpPr txBox="1"/>
          <p:nvPr/>
        </p:nvSpPr>
        <p:spPr>
          <a:xfrm>
            <a:off x="6516274" y="1385790"/>
            <a:ext cx="689491" cy="986179"/>
          </a:xfrm>
          <a:prstGeom prst="rect">
            <a:avLst/>
          </a:prstGeom>
          <a:noFill/>
        </p:spPr>
        <p:txBody>
          <a:bodyPr wrap="square" lIns="0" tIns="0" rIns="0" bIns="0" rtlCol="0" anchor="ctr" anchorCtr="0">
            <a:noAutofit/>
          </a:bodyPr>
          <a:lstStyle/>
          <a:p>
            <a:r>
              <a:rPr lang="en-US" sz="6600" dirty="0">
                <a:solidFill>
                  <a:schemeClr val="accent5"/>
                </a:solidFill>
              </a:rPr>
              <a:t>4</a:t>
            </a:r>
          </a:p>
        </p:txBody>
      </p:sp>
      <p:cxnSp>
        <p:nvCxnSpPr>
          <p:cNvPr id="35" name="Straight Connector 34"/>
          <p:cNvCxnSpPr/>
          <p:nvPr/>
        </p:nvCxnSpPr>
        <p:spPr>
          <a:xfrm>
            <a:off x="7035007" y="1258645"/>
            <a:ext cx="0" cy="1240466"/>
          </a:xfrm>
          <a:prstGeom prst="line">
            <a:avLst/>
          </a:prstGeom>
          <a:ln w="9525">
            <a:solidFill>
              <a:srgbClr val="BBBCBC"/>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8658557"/>
      </p:ext>
    </p:extLst>
  </p:cSld>
  <p:clrMapOvr>
    <a:masterClrMapping/>
  </p:clrMapOvr>
  <p:transition>
    <p:fade/>
  </p:transition>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cube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20" name="Rectangle 19"/>
          <p:cNvSpPr/>
          <p:nvPr/>
        </p:nvSpPr>
        <p:spPr bwMode="gray">
          <a:xfrm>
            <a:off x="3121588" y="3292288"/>
            <a:ext cx="4187190" cy="969264"/>
          </a:xfrm>
          <a:prstGeom prst="rect">
            <a:avLst/>
          </a:prstGeom>
          <a:solidFill>
            <a:schemeClr val="accent5"/>
          </a:solidFill>
          <a:ln w="19050" algn="ctr">
            <a:noFill/>
            <a:miter lim="800000"/>
            <a:headEnd/>
            <a:tailEnd/>
          </a:ln>
        </p:spPr>
        <p:txBody>
          <a:bodyPr wrap="square" lIns="88900" tIns="88900" rIns="88900" bIns="88900" rtlCol="0" anchor="ct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p>
        </p:txBody>
      </p:sp>
      <p:sp>
        <p:nvSpPr>
          <p:cNvPr id="21" name="Rectangle 20"/>
          <p:cNvSpPr/>
          <p:nvPr/>
        </p:nvSpPr>
        <p:spPr bwMode="gray">
          <a:xfrm>
            <a:off x="3926401" y="4914713"/>
            <a:ext cx="4187190" cy="969264"/>
          </a:xfrm>
          <a:prstGeom prst="rect">
            <a:avLst/>
          </a:prstGeom>
          <a:solidFill>
            <a:schemeClr val="accent2"/>
          </a:solidFill>
          <a:ln w="19050" algn="ctr">
            <a:noFill/>
            <a:miter lim="800000"/>
            <a:headEnd/>
            <a:tailEnd/>
          </a:ln>
        </p:spPr>
        <p:txBody>
          <a:bodyPr wrap="square" lIns="88900" tIns="88900" rIns="88900" bIns="88900" rtlCol="0" anchor="ct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p>
        </p:txBody>
      </p:sp>
      <p:grpSp>
        <p:nvGrpSpPr>
          <p:cNvPr id="22" name="Group 21"/>
          <p:cNvGrpSpPr/>
          <p:nvPr/>
        </p:nvGrpSpPr>
        <p:grpSpPr>
          <a:xfrm>
            <a:off x="8096540" y="4436506"/>
            <a:ext cx="1620874" cy="1920242"/>
            <a:chOff x="6572540" y="4436506"/>
            <a:chExt cx="1620874" cy="1920242"/>
          </a:xfrm>
        </p:grpSpPr>
        <p:sp>
          <p:nvSpPr>
            <p:cNvPr id="39" name="Freeform 38"/>
            <p:cNvSpPr/>
            <p:nvPr/>
          </p:nvSpPr>
          <p:spPr>
            <a:xfrm>
              <a:off x="6585104" y="4436506"/>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2">
                <a:lumMod val="20000"/>
                <a:lumOff val="80000"/>
              </a:schemeClr>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Freeform 39"/>
            <p:cNvSpPr/>
            <p:nvPr/>
          </p:nvSpPr>
          <p:spPr>
            <a:xfrm>
              <a:off x="6572540" y="4913975"/>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 name="connsiteX0" fmla="*/ 0 w 955567"/>
                <a:gd name="connsiteY0" fmla="*/ 1126541 h 1679944"/>
                <a:gd name="connsiteX1" fmla="*/ 14631 w 955567"/>
                <a:gd name="connsiteY1" fmla="*/ 0 h 1679944"/>
                <a:gd name="connsiteX2" fmla="*/ 946580 w 955567"/>
                <a:gd name="connsiteY2" fmla="*/ 565273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46580" y="565273"/>
                  </a:lnTo>
                  <a:cubicBezTo>
                    <a:pt x="949075" y="937554"/>
                    <a:pt x="953072" y="1307663"/>
                    <a:pt x="955567" y="1679944"/>
                  </a:cubicBezTo>
                  <a:lnTo>
                    <a:pt x="0" y="1126541"/>
                  </a:lnTo>
                  <a:close/>
                </a:path>
              </a:pathLst>
            </a:custGeom>
            <a:solidFill>
              <a:schemeClr val="accent2">
                <a:lumMod val="20000"/>
                <a:lumOff val="80000"/>
              </a:schemeClr>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Freeform 40"/>
            <p:cNvSpPr/>
            <p:nvPr/>
          </p:nvSpPr>
          <p:spPr>
            <a:xfrm>
              <a:off x="7377019" y="4913973"/>
              <a:ext cx="816395" cy="1441857"/>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2109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2109 h 1675181"/>
                <a:gd name="connsiteX0" fmla="*/ 0 w 950597"/>
                <a:gd name="connsiteY0" fmla="*/ 552109 h 1678878"/>
                <a:gd name="connsiteX1" fmla="*/ 17870 w 950597"/>
                <a:gd name="connsiteY1" fmla="*/ 1678878 h 1678878"/>
                <a:gd name="connsiteX2" fmla="*/ 943282 w 950597"/>
                <a:gd name="connsiteY2" fmla="*/ 1126541 h 1678878"/>
                <a:gd name="connsiteX3" fmla="*/ 950597 w 950597"/>
                <a:gd name="connsiteY3" fmla="*/ 0 h 1678878"/>
                <a:gd name="connsiteX4" fmla="*/ 0 w 950597"/>
                <a:gd name="connsiteY4" fmla="*/ 552109 h 1678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8878">
                  <a:moveTo>
                    <a:pt x="0" y="552109"/>
                  </a:moveTo>
                  <a:lnTo>
                    <a:pt x="17870" y="1678878"/>
                  </a:lnTo>
                  <a:lnTo>
                    <a:pt x="943282" y="1126541"/>
                  </a:lnTo>
                  <a:cubicBezTo>
                    <a:pt x="945720" y="751027"/>
                    <a:pt x="948159" y="375514"/>
                    <a:pt x="950597" y="0"/>
                  </a:cubicBezTo>
                  <a:lnTo>
                    <a:pt x="0" y="552109"/>
                  </a:lnTo>
                  <a:close/>
                </a:path>
              </a:pathLst>
            </a:custGeom>
            <a:solidFill>
              <a:schemeClr val="accent2"/>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42" name="Rectangle 41"/>
          <p:cNvSpPr/>
          <p:nvPr/>
        </p:nvSpPr>
        <p:spPr bwMode="gray">
          <a:xfrm>
            <a:off x="2345885" y="1669863"/>
            <a:ext cx="4187190" cy="969264"/>
          </a:xfrm>
          <a:prstGeom prst="rect">
            <a:avLst/>
          </a:prstGeom>
          <a:solidFill>
            <a:schemeClr val="accent3"/>
          </a:solidFill>
          <a:ln w="19050" algn="ctr">
            <a:noFill/>
            <a:miter lim="800000"/>
            <a:headEnd/>
            <a:tailEnd/>
          </a:ln>
        </p:spPr>
        <p:txBody>
          <a:bodyPr wrap="square" lIns="88900" tIns="88900" rIns="88900" bIns="88900" rtlCol="0" anchor="ct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p>
        </p:txBody>
      </p:sp>
      <p:grpSp>
        <p:nvGrpSpPr>
          <p:cNvPr id="43" name="Group 42"/>
          <p:cNvGrpSpPr>
            <a:grpSpLocks noChangeAspect="1"/>
          </p:cNvGrpSpPr>
          <p:nvPr/>
        </p:nvGrpSpPr>
        <p:grpSpPr>
          <a:xfrm>
            <a:off x="6510789" y="1193060"/>
            <a:ext cx="1620876" cy="1920240"/>
            <a:chOff x="3525926" y="2604211"/>
            <a:chExt cx="1887324" cy="2235900"/>
          </a:xfrm>
        </p:grpSpPr>
        <p:sp>
          <p:nvSpPr>
            <p:cNvPr id="44" name="Freeform 43"/>
            <p:cNvSpPr/>
            <p:nvPr/>
          </p:nvSpPr>
          <p:spPr>
            <a:xfrm>
              <a:off x="3540558" y="2604211"/>
              <a:ext cx="1872692"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5" name="Freeform 44"/>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6" name="Freeform 45"/>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47" name="TextBox 46"/>
          <p:cNvSpPr txBox="1"/>
          <p:nvPr/>
        </p:nvSpPr>
        <p:spPr>
          <a:xfrm>
            <a:off x="6965179" y="1295718"/>
            <a:ext cx="691028" cy="688256"/>
          </a:xfrm>
          <a:prstGeom prst="rect">
            <a:avLst/>
          </a:prstGeom>
          <a:noFill/>
        </p:spPr>
        <p:txBody>
          <a:bodyPr wrap="square" lIns="36000" tIns="36000" rIns="36000" bIns="36000" rtlCol="0">
            <a:spAutoFit/>
          </a:bodyPr>
          <a:lstStyle/>
          <a:p>
            <a:pPr algn="ctr"/>
            <a:r>
              <a:rPr lang="en-US" sz="4000" b="1" dirty="0">
                <a:solidFill>
                  <a:schemeClr val="accent3"/>
                </a:solidFill>
              </a:rPr>
              <a:t>1</a:t>
            </a:r>
          </a:p>
        </p:txBody>
      </p:sp>
      <p:sp>
        <p:nvSpPr>
          <p:cNvPr id="48" name="Rectangle 47"/>
          <p:cNvSpPr/>
          <p:nvPr/>
        </p:nvSpPr>
        <p:spPr>
          <a:xfrm>
            <a:off x="6441062" y="2175595"/>
            <a:ext cx="958915" cy="307777"/>
          </a:xfrm>
          <a:prstGeom prst="rect">
            <a:avLst/>
          </a:prstGeom>
        </p:spPr>
        <p:txBody>
          <a:bodyPr wrap="square" lIns="0" tIns="0" rIns="0" bIns="0">
            <a:spAutoFit/>
          </a:bodyPr>
          <a:lstStyle/>
          <a:p>
            <a:pPr algn="ctr">
              <a:spcAft>
                <a:spcPts val="600"/>
              </a:spcAft>
            </a:pPr>
            <a:r>
              <a:rPr lang="en-US" sz="1000" b="1" dirty="0" err="1"/>
              <a:t>Lorem</a:t>
            </a:r>
            <a:r>
              <a:rPr lang="en-US" sz="1000" b="1" dirty="0"/>
              <a:t> </a:t>
            </a:r>
            <a:br>
              <a:rPr lang="en-US" sz="1000" b="1" dirty="0"/>
            </a:br>
            <a:r>
              <a:rPr lang="en-US" sz="1000" b="1" dirty="0" err="1"/>
              <a:t>ipsum</a:t>
            </a:r>
            <a:endParaRPr lang="en-US" sz="800" dirty="0"/>
          </a:p>
        </p:txBody>
      </p:sp>
      <p:sp>
        <p:nvSpPr>
          <p:cNvPr id="53" name="Rectangle 52"/>
          <p:cNvSpPr/>
          <p:nvPr/>
        </p:nvSpPr>
        <p:spPr>
          <a:xfrm>
            <a:off x="8027412" y="5449690"/>
            <a:ext cx="958915" cy="307777"/>
          </a:xfrm>
          <a:prstGeom prst="rect">
            <a:avLst/>
          </a:prstGeom>
        </p:spPr>
        <p:txBody>
          <a:bodyPr wrap="square" lIns="0" tIns="0" rIns="0" bIns="0">
            <a:spAutoFit/>
          </a:bodyPr>
          <a:lstStyle/>
          <a:p>
            <a:pPr algn="ctr">
              <a:spcAft>
                <a:spcPts val="600"/>
              </a:spcAft>
            </a:pPr>
            <a:r>
              <a:rPr lang="en-US" sz="1000" b="1" dirty="0" err="1"/>
              <a:t>Lorem</a:t>
            </a:r>
            <a:r>
              <a:rPr lang="en-US" sz="1000" b="1" dirty="0"/>
              <a:t> </a:t>
            </a:r>
            <a:br>
              <a:rPr lang="en-US" sz="1000" b="1" dirty="0"/>
            </a:br>
            <a:r>
              <a:rPr lang="en-US" sz="1000" b="1" dirty="0" err="1"/>
              <a:t>ipsum</a:t>
            </a:r>
            <a:endParaRPr lang="en-US" sz="800" dirty="0"/>
          </a:p>
        </p:txBody>
      </p:sp>
      <p:sp>
        <p:nvSpPr>
          <p:cNvPr id="55" name="TextBox 54"/>
          <p:cNvSpPr txBox="1"/>
          <p:nvPr/>
        </p:nvSpPr>
        <p:spPr>
          <a:xfrm>
            <a:off x="8571688" y="4569845"/>
            <a:ext cx="691028" cy="688256"/>
          </a:xfrm>
          <a:prstGeom prst="rect">
            <a:avLst/>
          </a:prstGeom>
          <a:noFill/>
        </p:spPr>
        <p:txBody>
          <a:bodyPr wrap="square" lIns="36000" tIns="36000" rIns="36000" bIns="36000" rtlCol="0">
            <a:spAutoFit/>
          </a:bodyPr>
          <a:lstStyle/>
          <a:p>
            <a:pPr algn="ctr"/>
            <a:r>
              <a:rPr lang="en-US" sz="4000" b="1" dirty="0">
                <a:solidFill>
                  <a:schemeClr val="accent2"/>
                </a:solidFill>
              </a:rPr>
              <a:t>3</a:t>
            </a:r>
          </a:p>
        </p:txBody>
      </p:sp>
      <p:grpSp>
        <p:nvGrpSpPr>
          <p:cNvPr id="56" name="Group 55"/>
          <p:cNvGrpSpPr/>
          <p:nvPr/>
        </p:nvGrpSpPr>
        <p:grpSpPr>
          <a:xfrm>
            <a:off x="7298129" y="2814784"/>
            <a:ext cx="1620875" cy="1920240"/>
            <a:chOff x="5774128" y="2814784"/>
            <a:chExt cx="1620875" cy="1920240"/>
          </a:xfrm>
        </p:grpSpPr>
        <p:sp>
          <p:nvSpPr>
            <p:cNvPr id="57" name="Freeform 56"/>
            <p:cNvSpPr/>
            <p:nvPr/>
          </p:nvSpPr>
          <p:spPr>
            <a:xfrm>
              <a:off x="5786693" y="2814784"/>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8" name="Freeform 57"/>
            <p:cNvSpPr/>
            <p:nvPr/>
          </p:nvSpPr>
          <p:spPr>
            <a:xfrm>
              <a:off x="6578608" y="3292250"/>
              <a:ext cx="816395" cy="1438682"/>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9044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9044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5181">
                  <a:moveTo>
                    <a:pt x="0" y="559044"/>
                  </a:moveTo>
                  <a:lnTo>
                    <a:pt x="21567" y="1675181"/>
                  </a:lnTo>
                  <a:lnTo>
                    <a:pt x="943282" y="1126541"/>
                  </a:lnTo>
                  <a:cubicBezTo>
                    <a:pt x="945720" y="751027"/>
                    <a:pt x="948159" y="375514"/>
                    <a:pt x="950597" y="0"/>
                  </a:cubicBezTo>
                  <a:lnTo>
                    <a:pt x="0" y="559044"/>
                  </a:lnTo>
                  <a:close/>
                </a:path>
              </a:pathLst>
            </a:cu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9" name="Freeform 58"/>
            <p:cNvSpPr/>
            <p:nvPr/>
          </p:nvSpPr>
          <p:spPr>
            <a:xfrm>
              <a:off x="5774128" y="3292251"/>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60" name="TextBox 59"/>
          <p:cNvSpPr txBox="1"/>
          <p:nvPr/>
        </p:nvSpPr>
        <p:spPr>
          <a:xfrm>
            <a:off x="7763052" y="2948123"/>
            <a:ext cx="691028" cy="688256"/>
          </a:xfrm>
          <a:prstGeom prst="rect">
            <a:avLst/>
          </a:prstGeom>
          <a:noFill/>
        </p:spPr>
        <p:txBody>
          <a:bodyPr wrap="square" lIns="36000" tIns="36000" rIns="36000" bIns="36000" rtlCol="0">
            <a:spAutoFit/>
          </a:bodyPr>
          <a:lstStyle/>
          <a:p>
            <a:pPr algn="ctr"/>
            <a:r>
              <a:rPr lang="en-US" sz="4000" b="1" dirty="0">
                <a:solidFill>
                  <a:schemeClr val="accent5"/>
                </a:solidFill>
              </a:rPr>
              <a:t>2</a:t>
            </a:r>
          </a:p>
        </p:txBody>
      </p:sp>
      <p:sp>
        <p:nvSpPr>
          <p:cNvPr id="61" name="Rectangle 60"/>
          <p:cNvSpPr/>
          <p:nvPr/>
        </p:nvSpPr>
        <p:spPr>
          <a:xfrm>
            <a:off x="7229562" y="3785647"/>
            <a:ext cx="958915" cy="307777"/>
          </a:xfrm>
          <a:prstGeom prst="rect">
            <a:avLst/>
          </a:prstGeom>
        </p:spPr>
        <p:txBody>
          <a:bodyPr wrap="square" lIns="0" tIns="0" rIns="0" bIns="0">
            <a:spAutoFit/>
          </a:bodyPr>
          <a:lstStyle/>
          <a:p>
            <a:pPr algn="ctr">
              <a:spcAft>
                <a:spcPts val="600"/>
              </a:spcAft>
            </a:pPr>
            <a:r>
              <a:rPr lang="en-US" sz="1000" b="1" dirty="0" err="1"/>
              <a:t>Lorem</a:t>
            </a:r>
            <a:r>
              <a:rPr lang="en-US" sz="1000" b="1" dirty="0"/>
              <a:t> </a:t>
            </a:r>
            <a:br>
              <a:rPr lang="en-US" sz="1000" b="1" dirty="0"/>
            </a:br>
            <a:r>
              <a:rPr lang="en-US" sz="1000" b="1" dirty="0" err="1"/>
              <a:t>ipsum</a:t>
            </a:r>
            <a:endParaRPr lang="en-US" sz="800" dirty="0"/>
          </a:p>
        </p:txBody>
      </p:sp>
      <p:grpSp>
        <p:nvGrpSpPr>
          <p:cNvPr id="63" name="Group 517"/>
          <p:cNvGrpSpPr>
            <a:grpSpLocks noChangeAspect="1"/>
          </p:cNvGrpSpPr>
          <p:nvPr/>
        </p:nvGrpSpPr>
        <p:grpSpPr bwMode="auto">
          <a:xfrm>
            <a:off x="7387692" y="2080948"/>
            <a:ext cx="625256" cy="625256"/>
            <a:chOff x="4034" y="2248"/>
            <a:chExt cx="340" cy="340"/>
          </a:xfrm>
          <a:solidFill>
            <a:schemeClr val="bg1"/>
          </a:solidFill>
        </p:grpSpPr>
        <p:sp>
          <p:nvSpPr>
            <p:cNvPr id="64" name="Freeform 518"/>
            <p:cNvSpPr>
              <a:spLocks noEditPoints="1"/>
            </p:cNvSpPr>
            <p:nvPr/>
          </p:nvSpPr>
          <p:spPr bwMode="auto">
            <a:xfrm>
              <a:off x="4098" y="2312"/>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8"/>
                    <a:pt x="237" y="105"/>
                    <a:pt x="244" y="110"/>
                  </a:cubicBezTo>
                  <a:cubicBezTo>
                    <a:pt x="248" y="112"/>
                    <a:pt x="253" y="112"/>
                    <a:pt x="257" y="109"/>
                  </a:cubicBezTo>
                  <a:cubicBezTo>
                    <a:pt x="258" y="108"/>
                    <a:pt x="259" y="107"/>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519"/>
            <p:cNvSpPr>
              <a:spLocks/>
            </p:cNvSpPr>
            <p:nvPr/>
          </p:nvSpPr>
          <p:spPr bwMode="auto">
            <a:xfrm>
              <a:off x="4132" y="2495"/>
              <a:ext cx="20"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520"/>
            <p:cNvSpPr>
              <a:spLocks/>
            </p:cNvSpPr>
            <p:nvPr/>
          </p:nvSpPr>
          <p:spPr bwMode="auto">
            <a:xfrm>
              <a:off x="4143" y="2453"/>
              <a:ext cx="19"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521"/>
            <p:cNvSpPr>
              <a:spLocks/>
            </p:cNvSpPr>
            <p:nvPr/>
          </p:nvSpPr>
          <p:spPr bwMode="auto">
            <a:xfrm>
              <a:off x="4182" y="2495"/>
              <a:ext cx="19"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522"/>
            <p:cNvSpPr>
              <a:spLocks/>
            </p:cNvSpPr>
            <p:nvPr/>
          </p:nvSpPr>
          <p:spPr bwMode="auto">
            <a:xfrm>
              <a:off x="4193" y="2453"/>
              <a:ext cx="18"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523"/>
            <p:cNvSpPr>
              <a:spLocks/>
            </p:cNvSpPr>
            <p:nvPr/>
          </p:nvSpPr>
          <p:spPr bwMode="auto">
            <a:xfrm>
              <a:off x="4231" y="2495"/>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524"/>
            <p:cNvSpPr>
              <a:spLocks/>
            </p:cNvSpPr>
            <p:nvPr/>
          </p:nvSpPr>
          <p:spPr bwMode="auto">
            <a:xfrm>
              <a:off x="4242" y="2453"/>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525"/>
            <p:cNvSpPr>
              <a:spLocks noEditPoints="1"/>
            </p:cNvSpPr>
            <p:nvPr/>
          </p:nvSpPr>
          <p:spPr bwMode="auto">
            <a:xfrm>
              <a:off x="4034" y="2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2" name="Group 1000"/>
          <p:cNvGrpSpPr>
            <a:grpSpLocks noChangeAspect="1"/>
          </p:cNvGrpSpPr>
          <p:nvPr/>
        </p:nvGrpSpPr>
        <p:grpSpPr bwMode="auto">
          <a:xfrm>
            <a:off x="8181990" y="3758843"/>
            <a:ext cx="626859" cy="626859"/>
            <a:chOff x="5030" y="4091"/>
            <a:chExt cx="340" cy="340"/>
          </a:xfrm>
          <a:solidFill>
            <a:schemeClr val="bg1"/>
          </a:solidFill>
        </p:grpSpPr>
        <p:sp>
          <p:nvSpPr>
            <p:cNvPr id="73" name="Freeform 1001"/>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1002"/>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5" name="Group 568"/>
          <p:cNvGrpSpPr>
            <a:grpSpLocks noChangeAspect="1"/>
          </p:cNvGrpSpPr>
          <p:nvPr/>
        </p:nvGrpSpPr>
        <p:grpSpPr bwMode="auto">
          <a:xfrm>
            <a:off x="8985037" y="5354630"/>
            <a:ext cx="689621" cy="625256"/>
            <a:chOff x="6616" y="2941"/>
            <a:chExt cx="375" cy="340"/>
          </a:xfrm>
          <a:solidFill>
            <a:schemeClr val="bg1"/>
          </a:solidFill>
        </p:grpSpPr>
        <p:sp>
          <p:nvSpPr>
            <p:cNvPr id="76" name="Freeform 75"/>
            <p:cNvSpPr>
              <a:spLocks noEditPoints="1"/>
            </p:cNvSpPr>
            <p:nvPr/>
          </p:nvSpPr>
          <p:spPr bwMode="auto">
            <a:xfrm>
              <a:off x="6616" y="2941"/>
              <a:ext cx="375" cy="34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76"/>
            <p:cNvSpPr>
              <a:spLocks noEditPoints="1"/>
            </p:cNvSpPr>
            <p:nvPr/>
          </p:nvSpPr>
          <p:spPr bwMode="auto">
            <a:xfrm>
              <a:off x="6697" y="3005"/>
              <a:ext cx="213"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39 w 320"/>
                <a:gd name="T41" fmla="*/ 99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8"/>
                    <a:pt x="244" y="110"/>
                  </a:cubicBezTo>
                  <a:cubicBezTo>
                    <a:pt x="248" y="112"/>
                    <a:pt x="253" y="112"/>
                    <a:pt x="257" y="109"/>
                  </a:cubicBezTo>
                  <a:cubicBezTo>
                    <a:pt x="257" y="108"/>
                    <a:pt x="258" y="108"/>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77"/>
            <p:cNvSpPr>
              <a:spLocks/>
            </p:cNvSpPr>
            <p:nvPr/>
          </p:nvSpPr>
          <p:spPr bwMode="auto">
            <a:xfrm>
              <a:off x="6782" y="3146"/>
              <a:ext cx="36" cy="71"/>
            </a:xfrm>
            <a:custGeom>
              <a:avLst/>
              <a:gdLst>
                <a:gd name="T0" fmla="*/ 43 w 55"/>
                <a:gd name="T1" fmla="*/ 44 h 108"/>
                <a:gd name="T2" fmla="*/ 29 w 55"/>
                <a:gd name="T3" fmla="*/ 44 h 108"/>
                <a:gd name="T4" fmla="*/ 42 w 55"/>
                <a:gd name="T5" fmla="*/ 16 h 108"/>
                <a:gd name="T6" fmla="*/ 37 w 55"/>
                <a:gd name="T7" fmla="*/ 2 h 108"/>
                <a:gd name="T8" fmla="*/ 23 w 55"/>
                <a:gd name="T9" fmla="*/ 7 h 108"/>
                <a:gd name="T10" fmla="*/ 2 w 55"/>
                <a:gd name="T11" fmla="*/ 50 h 108"/>
                <a:gd name="T12" fmla="*/ 2 w 55"/>
                <a:gd name="T13" fmla="*/ 60 h 108"/>
                <a:gd name="T14" fmla="*/ 11 w 55"/>
                <a:gd name="T15" fmla="*/ 65 h 108"/>
                <a:gd name="T16" fmla="*/ 26 w 55"/>
                <a:gd name="T17" fmla="*/ 65 h 108"/>
                <a:gd name="T18" fmla="*/ 12 w 55"/>
                <a:gd name="T19" fmla="*/ 92 h 108"/>
                <a:gd name="T20" fmla="*/ 17 w 55"/>
                <a:gd name="T21" fmla="*/ 107 h 108"/>
                <a:gd name="T22" fmla="*/ 22 w 55"/>
                <a:gd name="T23" fmla="*/ 108 h 108"/>
                <a:gd name="T24" fmla="*/ 32 w 55"/>
                <a:gd name="T25" fmla="*/ 102 h 108"/>
                <a:gd name="T26" fmla="*/ 53 w 55"/>
                <a:gd name="T27" fmla="*/ 59 h 108"/>
                <a:gd name="T28" fmla="*/ 52 w 55"/>
                <a:gd name="T29" fmla="*/ 49 h 108"/>
                <a:gd name="T30" fmla="*/ 43 w 55"/>
                <a:gd name="T3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08">
                  <a:moveTo>
                    <a:pt x="43" y="44"/>
                  </a:moveTo>
                  <a:cubicBezTo>
                    <a:pt x="29" y="44"/>
                    <a:pt x="29" y="44"/>
                    <a:pt x="29" y="44"/>
                  </a:cubicBezTo>
                  <a:cubicBezTo>
                    <a:pt x="42" y="16"/>
                    <a:pt x="42" y="16"/>
                    <a:pt x="42" y="16"/>
                  </a:cubicBezTo>
                  <a:cubicBezTo>
                    <a:pt x="45" y="11"/>
                    <a:pt x="43" y="5"/>
                    <a:pt x="37" y="2"/>
                  </a:cubicBezTo>
                  <a:cubicBezTo>
                    <a:pt x="32" y="0"/>
                    <a:pt x="26" y="2"/>
                    <a:pt x="23" y="7"/>
                  </a:cubicBezTo>
                  <a:cubicBezTo>
                    <a:pt x="2" y="50"/>
                    <a:pt x="2" y="50"/>
                    <a:pt x="2" y="50"/>
                  </a:cubicBezTo>
                  <a:cubicBezTo>
                    <a:pt x="0" y="53"/>
                    <a:pt x="0" y="57"/>
                    <a:pt x="2" y="60"/>
                  </a:cubicBezTo>
                  <a:cubicBezTo>
                    <a:pt x="4" y="63"/>
                    <a:pt x="8" y="65"/>
                    <a:pt x="11" y="65"/>
                  </a:cubicBezTo>
                  <a:cubicBezTo>
                    <a:pt x="26" y="65"/>
                    <a:pt x="26" y="65"/>
                    <a:pt x="26" y="65"/>
                  </a:cubicBezTo>
                  <a:cubicBezTo>
                    <a:pt x="12" y="92"/>
                    <a:pt x="12" y="92"/>
                    <a:pt x="12" y="92"/>
                  </a:cubicBezTo>
                  <a:cubicBezTo>
                    <a:pt x="10" y="98"/>
                    <a:pt x="12" y="104"/>
                    <a:pt x="17" y="107"/>
                  </a:cubicBezTo>
                  <a:cubicBezTo>
                    <a:pt x="19" y="107"/>
                    <a:pt x="20" y="108"/>
                    <a:pt x="22" y="108"/>
                  </a:cubicBezTo>
                  <a:cubicBezTo>
                    <a:pt x="26" y="108"/>
                    <a:pt x="30" y="106"/>
                    <a:pt x="32" y="102"/>
                  </a:cubicBezTo>
                  <a:cubicBezTo>
                    <a:pt x="53" y="59"/>
                    <a:pt x="53" y="59"/>
                    <a:pt x="53" y="59"/>
                  </a:cubicBezTo>
                  <a:cubicBezTo>
                    <a:pt x="55" y="56"/>
                    <a:pt x="54" y="52"/>
                    <a:pt x="52" y="49"/>
                  </a:cubicBezTo>
                  <a:cubicBezTo>
                    <a:pt x="50" y="46"/>
                    <a:pt x="47" y="44"/>
                    <a:pt x="43"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742588159"/>
      </p:ext>
    </p:extLst>
  </p:cSld>
  <p:clrMapOvr>
    <a:masterClrMapping/>
  </p:clrMapOvr>
  <p:transition>
    <p:fade/>
  </p:transition>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arrow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49" name="Right Arrow 48"/>
          <p:cNvSpPr/>
          <p:nvPr/>
        </p:nvSpPr>
        <p:spPr>
          <a:xfrm>
            <a:off x="605777" y="1381356"/>
            <a:ext cx="10462027" cy="1760220"/>
          </a:xfrm>
          <a:prstGeom prst="rightArrow">
            <a:avLst>
              <a:gd name="adj1" fmla="val 66450"/>
              <a:gd name="adj2" fmla="val 5000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Right Arrow 49"/>
          <p:cNvSpPr/>
          <p:nvPr/>
        </p:nvSpPr>
        <p:spPr>
          <a:xfrm>
            <a:off x="615910" y="2920596"/>
            <a:ext cx="9295051" cy="1760220"/>
          </a:xfrm>
          <a:prstGeom prst="rightArrow">
            <a:avLst>
              <a:gd name="adj1" fmla="val 66450"/>
              <a:gd name="adj2" fmla="val 5000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Right Arrow 50"/>
          <p:cNvSpPr/>
          <p:nvPr/>
        </p:nvSpPr>
        <p:spPr>
          <a:xfrm>
            <a:off x="593292" y="4436976"/>
            <a:ext cx="10684308" cy="1760220"/>
          </a:xfrm>
          <a:prstGeom prst="rightArrow">
            <a:avLst>
              <a:gd name="adj1" fmla="val 66450"/>
              <a:gd name="adj2" fmla="val 5000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2" name="Flowchart: Data 9"/>
          <p:cNvSpPr/>
          <p:nvPr/>
        </p:nvSpPr>
        <p:spPr>
          <a:xfrm>
            <a:off x="1790344" y="1478194"/>
            <a:ext cx="1988820" cy="471360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1">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4" name="Half Frame 53"/>
          <p:cNvSpPr/>
          <p:nvPr/>
        </p:nvSpPr>
        <p:spPr>
          <a:xfrm rot="8142470">
            <a:off x="3192910" y="1854152"/>
            <a:ext cx="281314"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tx2"/>
              </a:solidFill>
            </a:endParaRPr>
          </a:p>
        </p:txBody>
      </p:sp>
      <p:sp>
        <p:nvSpPr>
          <p:cNvPr id="62" name="TextBox 61"/>
          <p:cNvSpPr txBox="1"/>
          <p:nvPr/>
        </p:nvSpPr>
        <p:spPr>
          <a:xfrm>
            <a:off x="2577061" y="1645913"/>
            <a:ext cx="756507" cy="1231106"/>
          </a:xfrm>
          <a:prstGeom prst="rect">
            <a:avLst/>
          </a:prstGeom>
          <a:noFill/>
        </p:spPr>
        <p:txBody>
          <a:bodyPr wrap="square" lIns="0" tIns="0" rIns="0" bIns="0" rtlCol="0">
            <a:spAutoFit/>
          </a:bodyPr>
          <a:lstStyle/>
          <a:p>
            <a:pPr algn="ctr"/>
            <a:r>
              <a:rPr lang="en-US" sz="8000" dirty="0">
                <a:solidFill>
                  <a:schemeClr val="accent3"/>
                </a:solidFill>
              </a:rPr>
              <a:t>1</a:t>
            </a:r>
          </a:p>
        </p:txBody>
      </p:sp>
      <p:sp>
        <p:nvSpPr>
          <p:cNvPr id="79" name="Half Frame 78"/>
          <p:cNvSpPr/>
          <p:nvPr/>
        </p:nvSpPr>
        <p:spPr>
          <a:xfrm rot="8142470">
            <a:off x="3022350" y="3400618"/>
            <a:ext cx="281314" cy="288147"/>
          </a:xfrm>
          <a:prstGeom prst="halfFrame">
            <a:avLst>
              <a:gd name="adj1" fmla="val 26576"/>
              <a:gd name="adj2" fmla="val 25856"/>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bg2"/>
              </a:solidFill>
            </a:endParaRPr>
          </a:p>
        </p:txBody>
      </p:sp>
      <p:sp>
        <p:nvSpPr>
          <p:cNvPr id="80" name="TextBox 79"/>
          <p:cNvSpPr txBox="1"/>
          <p:nvPr/>
        </p:nvSpPr>
        <p:spPr>
          <a:xfrm>
            <a:off x="2360781" y="3185153"/>
            <a:ext cx="756507" cy="1231106"/>
          </a:xfrm>
          <a:prstGeom prst="rect">
            <a:avLst/>
          </a:prstGeom>
          <a:noFill/>
        </p:spPr>
        <p:txBody>
          <a:bodyPr wrap="square" lIns="0" tIns="0" rIns="0" bIns="0" rtlCol="0">
            <a:spAutoFit/>
          </a:bodyPr>
          <a:lstStyle/>
          <a:p>
            <a:pPr algn="ctr"/>
            <a:r>
              <a:rPr lang="en-US" sz="8000" dirty="0">
                <a:solidFill>
                  <a:schemeClr val="accent5"/>
                </a:solidFill>
              </a:rPr>
              <a:t>2</a:t>
            </a:r>
          </a:p>
        </p:txBody>
      </p:sp>
      <p:sp>
        <p:nvSpPr>
          <p:cNvPr id="81" name="Half Frame 80"/>
          <p:cNvSpPr/>
          <p:nvPr/>
        </p:nvSpPr>
        <p:spPr>
          <a:xfrm rot="8142470">
            <a:off x="2756491" y="4886519"/>
            <a:ext cx="281314" cy="288147"/>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bg2"/>
              </a:solidFill>
            </a:endParaRPr>
          </a:p>
        </p:txBody>
      </p:sp>
      <p:sp>
        <p:nvSpPr>
          <p:cNvPr id="82" name="TextBox 81"/>
          <p:cNvSpPr txBox="1"/>
          <p:nvPr/>
        </p:nvSpPr>
        <p:spPr>
          <a:xfrm>
            <a:off x="2102542" y="4701533"/>
            <a:ext cx="756507" cy="1231106"/>
          </a:xfrm>
          <a:prstGeom prst="rect">
            <a:avLst/>
          </a:prstGeom>
          <a:noFill/>
        </p:spPr>
        <p:txBody>
          <a:bodyPr wrap="square" lIns="0" tIns="0" rIns="0" bIns="0" rtlCol="0">
            <a:spAutoFit/>
          </a:bodyPr>
          <a:lstStyle/>
          <a:p>
            <a:pPr algn="ctr"/>
            <a:r>
              <a:rPr lang="en-US" sz="8000" dirty="0">
                <a:solidFill>
                  <a:schemeClr val="accent2"/>
                </a:solidFill>
              </a:rPr>
              <a:t>3</a:t>
            </a:r>
          </a:p>
        </p:txBody>
      </p:sp>
      <p:sp>
        <p:nvSpPr>
          <p:cNvPr id="83" name="Rectangle 82"/>
          <p:cNvSpPr/>
          <p:nvPr/>
        </p:nvSpPr>
        <p:spPr>
          <a:xfrm>
            <a:off x="3849133" y="1738247"/>
            <a:ext cx="6062794"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84" name="Rectangle 83"/>
          <p:cNvSpPr/>
          <p:nvPr/>
        </p:nvSpPr>
        <p:spPr>
          <a:xfrm>
            <a:off x="3595292" y="3277487"/>
            <a:ext cx="5096763"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85" name="Rectangle 84"/>
          <p:cNvSpPr/>
          <p:nvPr/>
        </p:nvSpPr>
        <p:spPr>
          <a:xfrm>
            <a:off x="3364985" y="4793473"/>
            <a:ext cx="6062794"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grpSp>
        <p:nvGrpSpPr>
          <p:cNvPr id="111" name="Group 517"/>
          <p:cNvGrpSpPr>
            <a:grpSpLocks noChangeAspect="1"/>
          </p:cNvGrpSpPr>
          <p:nvPr/>
        </p:nvGrpSpPr>
        <p:grpSpPr bwMode="auto">
          <a:xfrm>
            <a:off x="802950" y="1859273"/>
            <a:ext cx="824502" cy="824502"/>
            <a:chOff x="4034" y="2248"/>
            <a:chExt cx="340" cy="340"/>
          </a:xfrm>
          <a:solidFill>
            <a:schemeClr val="bg1"/>
          </a:solidFill>
        </p:grpSpPr>
        <p:sp>
          <p:nvSpPr>
            <p:cNvPr id="112" name="Freeform 518"/>
            <p:cNvSpPr>
              <a:spLocks noEditPoints="1"/>
            </p:cNvSpPr>
            <p:nvPr/>
          </p:nvSpPr>
          <p:spPr bwMode="auto">
            <a:xfrm>
              <a:off x="4098" y="2312"/>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8"/>
                    <a:pt x="237" y="105"/>
                    <a:pt x="244" y="110"/>
                  </a:cubicBezTo>
                  <a:cubicBezTo>
                    <a:pt x="248" y="112"/>
                    <a:pt x="253" y="112"/>
                    <a:pt x="257" y="109"/>
                  </a:cubicBezTo>
                  <a:cubicBezTo>
                    <a:pt x="258" y="108"/>
                    <a:pt x="259" y="107"/>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519"/>
            <p:cNvSpPr>
              <a:spLocks/>
            </p:cNvSpPr>
            <p:nvPr/>
          </p:nvSpPr>
          <p:spPr bwMode="auto">
            <a:xfrm>
              <a:off x="4132" y="2495"/>
              <a:ext cx="20"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520"/>
            <p:cNvSpPr>
              <a:spLocks/>
            </p:cNvSpPr>
            <p:nvPr/>
          </p:nvSpPr>
          <p:spPr bwMode="auto">
            <a:xfrm>
              <a:off x="4143" y="2453"/>
              <a:ext cx="19"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521"/>
            <p:cNvSpPr>
              <a:spLocks/>
            </p:cNvSpPr>
            <p:nvPr/>
          </p:nvSpPr>
          <p:spPr bwMode="auto">
            <a:xfrm>
              <a:off x="4182" y="2495"/>
              <a:ext cx="19"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522"/>
            <p:cNvSpPr>
              <a:spLocks/>
            </p:cNvSpPr>
            <p:nvPr/>
          </p:nvSpPr>
          <p:spPr bwMode="auto">
            <a:xfrm>
              <a:off x="4193" y="2453"/>
              <a:ext cx="18"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523"/>
            <p:cNvSpPr>
              <a:spLocks/>
            </p:cNvSpPr>
            <p:nvPr/>
          </p:nvSpPr>
          <p:spPr bwMode="auto">
            <a:xfrm>
              <a:off x="4231" y="2495"/>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524"/>
            <p:cNvSpPr>
              <a:spLocks/>
            </p:cNvSpPr>
            <p:nvPr/>
          </p:nvSpPr>
          <p:spPr bwMode="auto">
            <a:xfrm>
              <a:off x="4242" y="2453"/>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525"/>
            <p:cNvSpPr>
              <a:spLocks noEditPoints="1"/>
            </p:cNvSpPr>
            <p:nvPr/>
          </p:nvSpPr>
          <p:spPr bwMode="auto">
            <a:xfrm>
              <a:off x="4034" y="2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0" name="Group 1000"/>
          <p:cNvGrpSpPr>
            <a:grpSpLocks noChangeAspect="1"/>
          </p:cNvGrpSpPr>
          <p:nvPr/>
        </p:nvGrpSpPr>
        <p:grpSpPr bwMode="auto">
          <a:xfrm>
            <a:off x="802950" y="3426327"/>
            <a:ext cx="826616" cy="826616"/>
            <a:chOff x="5030" y="4091"/>
            <a:chExt cx="340" cy="340"/>
          </a:xfrm>
          <a:solidFill>
            <a:schemeClr val="bg1"/>
          </a:solidFill>
        </p:grpSpPr>
        <p:sp>
          <p:nvSpPr>
            <p:cNvPr id="121" name="Freeform 1001"/>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1002"/>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3" name="Group 568"/>
          <p:cNvGrpSpPr>
            <a:grpSpLocks noChangeAspect="1"/>
          </p:cNvGrpSpPr>
          <p:nvPr/>
        </p:nvGrpSpPr>
        <p:grpSpPr bwMode="auto">
          <a:xfrm>
            <a:off x="802950" y="4938989"/>
            <a:ext cx="909378" cy="824502"/>
            <a:chOff x="6616" y="2941"/>
            <a:chExt cx="375" cy="340"/>
          </a:xfrm>
          <a:solidFill>
            <a:schemeClr val="bg1"/>
          </a:solidFill>
        </p:grpSpPr>
        <p:sp>
          <p:nvSpPr>
            <p:cNvPr id="124" name="Freeform 123"/>
            <p:cNvSpPr>
              <a:spLocks noEditPoints="1"/>
            </p:cNvSpPr>
            <p:nvPr/>
          </p:nvSpPr>
          <p:spPr bwMode="auto">
            <a:xfrm>
              <a:off x="6616" y="2941"/>
              <a:ext cx="375" cy="34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124"/>
            <p:cNvSpPr>
              <a:spLocks noEditPoints="1"/>
            </p:cNvSpPr>
            <p:nvPr/>
          </p:nvSpPr>
          <p:spPr bwMode="auto">
            <a:xfrm>
              <a:off x="6697" y="3005"/>
              <a:ext cx="213"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39 w 320"/>
                <a:gd name="T41" fmla="*/ 99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8"/>
                    <a:pt x="244" y="110"/>
                  </a:cubicBezTo>
                  <a:cubicBezTo>
                    <a:pt x="248" y="112"/>
                    <a:pt x="253" y="112"/>
                    <a:pt x="257" y="109"/>
                  </a:cubicBezTo>
                  <a:cubicBezTo>
                    <a:pt x="257" y="108"/>
                    <a:pt x="258" y="108"/>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125"/>
            <p:cNvSpPr>
              <a:spLocks/>
            </p:cNvSpPr>
            <p:nvPr/>
          </p:nvSpPr>
          <p:spPr bwMode="auto">
            <a:xfrm>
              <a:off x="6782" y="3146"/>
              <a:ext cx="36" cy="71"/>
            </a:xfrm>
            <a:custGeom>
              <a:avLst/>
              <a:gdLst>
                <a:gd name="T0" fmla="*/ 43 w 55"/>
                <a:gd name="T1" fmla="*/ 44 h 108"/>
                <a:gd name="T2" fmla="*/ 29 w 55"/>
                <a:gd name="T3" fmla="*/ 44 h 108"/>
                <a:gd name="T4" fmla="*/ 42 w 55"/>
                <a:gd name="T5" fmla="*/ 16 h 108"/>
                <a:gd name="T6" fmla="*/ 37 w 55"/>
                <a:gd name="T7" fmla="*/ 2 h 108"/>
                <a:gd name="T8" fmla="*/ 23 w 55"/>
                <a:gd name="T9" fmla="*/ 7 h 108"/>
                <a:gd name="T10" fmla="*/ 2 w 55"/>
                <a:gd name="T11" fmla="*/ 50 h 108"/>
                <a:gd name="T12" fmla="*/ 2 w 55"/>
                <a:gd name="T13" fmla="*/ 60 h 108"/>
                <a:gd name="T14" fmla="*/ 11 w 55"/>
                <a:gd name="T15" fmla="*/ 65 h 108"/>
                <a:gd name="T16" fmla="*/ 26 w 55"/>
                <a:gd name="T17" fmla="*/ 65 h 108"/>
                <a:gd name="T18" fmla="*/ 12 w 55"/>
                <a:gd name="T19" fmla="*/ 92 h 108"/>
                <a:gd name="T20" fmla="*/ 17 w 55"/>
                <a:gd name="T21" fmla="*/ 107 h 108"/>
                <a:gd name="T22" fmla="*/ 22 w 55"/>
                <a:gd name="T23" fmla="*/ 108 h 108"/>
                <a:gd name="T24" fmla="*/ 32 w 55"/>
                <a:gd name="T25" fmla="*/ 102 h 108"/>
                <a:gd name="T26" fmla="*/ 53 w 55"/>
                <a:gd name="T27" fmla="*/ 59 h 108"/>
                <a:gd name="T28" fmla="*/ 52 w 55"/>
                <a:gd name="T29" fmla="*/ 49 h 108"/>
                <a:gd name="T30" fmla="*/ 43 w 55"/>
                <a:gd name="T3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08">
                  <a:moveTo>
                    <a:pt x="43" y="44"/>
                  </a:moveTo>
                  <a:cubicBezTo>
                    <a:pt x="29" y="44"/>
                    <a:pt x="29" y="44"/>
                    <a:pt x="29" y="44"/>
                  </a:cubicBezTo>
                  <a:cubicBezTo>
                    <a:pt x="42" y="16"/>
                    <a:pt x="42" y="16"/>
                    <a:pt x="42" y="16"/>
                  </a:cubicBezTo>
                  <a:cubicBezTo>
                    <a:pt x="45" y="11"/>
                    <a:pt x="43" y="5"/>
                    <a:pt x="37" y="2"/>
                  </a:cubicBezTo>
                  <a:cubicBezTo>
                    <a:pt x="32" y="0"/>
                    <a:pt x="26" y="2"/>
                    <a:pt x="23" y="7"/>
                  </a:cubicBezTo>
                  <a:cubicBezTo>
                    <a:pt x="2" y="50"/>
                    <a:pt x="2" y="50"/>
                    <a:pt x="2" y="50"/>
                  </a:cubicBezTo>
                  <a:cubicBezTo>
                    <a:pt x="0" y="53"/>
                    <a:pt x="0" y="57"/>
                    <a:pt x="2" y="60"/>
                  </a:cubicBezTo>
                  <a:cubicBezTo>
                    <a:pt x="4" y="63"/>
                    <a:pt x="8" y="65"/>
                    <a:pt x="11" y="65"/>
                  </a:cubicBezTo>
                  <a:cubicBezTo>
                    <a:pt x="26" y="65"/>
                    <a:pt x="26" y="65"/>
                    <a:pt x="26" y="65"/>
                  </a:cubicBezTo>
                  <a:cubicBezTo>
                    <a:pt x="12" y="92"/>
                    <a:pt x="12" y="92"/>
                    <a:pt x="12" y="92"/>
                  </a:cubicBezTo>
                  <a:cubicBezTo>
                    <a:pt x="10" y="98"/>
                    <a:pt x="12" y="104"/>
                    <a:pt x="17" y="107"/>
                  </a:cubicBezTo>
                  <a:cubicBezTo>
                    <a:pt x="19" y="107"/>
                    <a:pt x="20" y="108"/>
                    <a:pt x="22" y="108"/>
                  </a:cubicBezTo>
                  <a:cubicBezTo>
                    <a:pt x="26" y="108"/>
                    <a:pt x="30" y="106"/>
                    <a:pt x="32" y="102"/>
                  </a:cubicBezTo>
                  <a:cubicBezTo>
                    <a:pt x="53" y="59"/>
                    <a:pt x="53" y="59"/>
                    <a:pt x="53" y="59"/>
                  </a:cubicBezTo>
                  <a:cubicBezTo>
                    <a:pt x="55" y="56"/>
                    <a:pt x="54" y="52"/>
                    <a:pt x="52" y="49"/>
                  </a:cubicBezTo>
                  <a:cubicBezTo>
                    <a:pt x="50" y="46"/>
                    <a:pt x="47" y="44"/>
                    <a:pt x="43"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48161832"/>
      </p:ext>
    </p:extLst>
  </p:cSld>
  <p:clrMapOvr>
    <a:masterClrMapping/>
  </p:clrMapOvr>
  <p:transition>
    <p:fade/>
  </p:transition>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Numbered ribbon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127" name="Rectangle 126"/>
          <p:cNvSpPr/>
          <p:nvPr/>
        </p:nvSpPr>
        <p:spPr>
          <a:xfrm>
            <a:off x="501650" y="1778569"/>
            <a:ext cx="1317942" cy="69342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28" name="Rectangle 127"/>
          <p:cNvSpPr/>
          <p:nvPr/>
        </p:nvSpPr>
        <p:spPr>
          <a:xfrm>
            <a:off x="501650" y="2692969"/>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29" name="Rectangle 128"/>
          <p:cNvSpPr/>
          <p:nvPr/>
        </p:nvSpPr>
        <p:spPr>
          <a:xfrm>
            <a:off x="501650" y="3592129"/>
            <a:ext cx="1317942" cy="6934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30" name="Rectangle 129"/>
          <p:cNvSpPr/>
          <p:nvPr/>
        </p:nvSpPr>
        <p:spPr>
          <a:xfrm>
            <a:off x="501650" y="4506529"/>
            <a:ext cx="1317942" cy="69342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31" name="Rectangle 130"/>
          <p:cNvSpPr/>
          <p:nvPr/>
        </p:nvSpPr>
        <p:spPr>
          <a:xfrm>
            <a:off x="501650" y="5408865"/>
            <a:ext cx="1317942" cy="69342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32" name="Isosceles Triangle 131"/>
          <p:cNvSpPr/>
          <p:nvPr/>
        </p:nvSpPr>
        <p:spPr>
          <a:xfrm rot="16200000">
            <a:off x="1441293" y="3907247"/>
            <a:ext cx="246381" cy="510222"/>
          </a:xfrm>
          <a:prstGeom prst="triangle">
            <a:avLst/>
          </a:prstGeom>
          <a:solidFill>
            <a:schemeClr val="accent4">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3" name="Round Same Side Corner Rectangle 132"/>
          <p:cNvSpPr/>
          <p:nvPr/>
        </p:nvSpPr>
        <p:spPr>
          <a:xfrm rot="5400000">
            <a:off x="5951679" y="-1169558"/>
            <a:ext cx="673101" cy="9957719"/>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34" name="Isosceles Triangle 133"/>
          <p:cNvSpPr/>
          <p:nvPr/>
        </p:nvSpPr>
        <p:spPr>
          <a:xfrm rot="16200000">
            <a:off x="1427006" y="4807361"/>
            <a:ext cx="274956" cy="510222"/>
          </a:xfrm>
          <a:prstGeom prst="triangle">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5" name="Round Same Side Corner Rectangle 134"/>
          <p:cNvSpPr/>
          <p:nvPr/>
        </p:nvSpPr>
        <p:spPr>
          <a:xfrm rot="5400000">
            <a:off x="5951679" y="-267223"/>
            <a:ext cx="673101" cy="9957719"/>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36" name="Isosceles Triangle 135"/>
          <p:cNvSpPr/>
          <p:nvPr/>
        </p:nvSpPr>
        <p:spPr>
          <a:xfrm rot="16200000">
            <a:off x="1427002" y="5704937"/>
            <a:ext cx="274956" cy="510222"/>
          </a:xfrm>
          <a:prstGeom prst="triangle">
            <a:avLst/>
          </a:pr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7" name="Round Same Side Corner Rectangle 136"/>
          <p:cNvSpPr/>
          <p:nvPr/>
        </p:nvSpPr>
        <p:spPr>
          <a:xfrm rot="5400000">
            <a:off x="5951679" y="635112"/>
            <a:ext cx="673101" cy="9957719"/>
          </a:xfrm>
          <a:prstGeom prst="round2SameRect">
            <a:avLst>
              <a:gd name="adj1" fmla="val 50000"/>
              <a:gd name="adj2" fmla="val 0"/>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38" name="Isosceles Triangle 137"/>
          <p:cNvSpPr/>
          <p:nvPr/>
        </p:nvSpPr>
        <p:spPr>
          <a:xfrm rot="16200000">
            <a:off x="1441294" y="3008087"/>
            <a:ext cx="246381" cy="510222"/>
          </a:xfrm>
          <a:prstGeom prst="triangle">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39" name="Round Same Side Corner Rectangle 138"/>
          <p:cNvSpPr/>
          <p:nvPr/>
        </p:nvSpPr>
        <p:spPr>
          <a:xfrm rot="5400000">
            <a:off x="5951679" y="-2071894"/>
            <a:ext cx="673101" cy="9957719"/>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40" name="Isosceles Triangle 139"/>
          <p:cNvSpPr/>
          <p:nvPr/>
        </p:nvSpPr>
        <p:spPr>
          <a:xfrm rot="16200000">
            <a:off x="1441295" y="2093687"/>
            <a:ext cx="246381" cy="510222"/>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41" name="Round Same Side Corner Rectangle 140"/>
          <p:cNvSpPr/>
          <p:nvPr/>
        </p:nvSpPr>
        <p:spPr>
          <a:xfrm rot="5400000">
            <a:off x="5951679" y="-2974229"/>
            <a:ext cx="673101" cy="9957719"/>
          </a:xfrm>
          <a:prstGeom prst="round2SameRect">
            <a:avLst>
              <a:gd name="adj1" fmla="val 50000"/>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42" name="TextBox 141"/>
          <p:cNvSpPr txBox="1"/>
          <p:nvPr/>
        </p:nvSpPr>
        <p:spPr>
          <a:xfrm>
            <a:off x="560536" y="1742121"/>
            <a:ext cx="691028" cy="738664"/>
          </a:xfrm>
          <a:prstGeom prst="rect">
            <a:avLst/>
          </a:prstGeom>
          <a:noFill/>
        </p:spPr>
        <p:txBody>
          <a:bodyPr wrap="square" lIns="0" tIns="0" rIns="0" bIns="0" rtlCol="0">
            <a:spAutoFit/>
          </a:bodyPr>
          <a:lstStyle/>
          <a:p>
            <a:pPr algn="ctr"/>
            <a:r>
              <a:rPr lang="en-US" sz="4800" b="1" dirty="0">
                <a:solidFill>
                  <a:schemeClr val="bg1"/>
                </a:solidFill>
              </a:rPr>
              <a:t>1</a:t>
            </a:r>
          </a:p>
        </p:txBody>
      </p:sp>
      <p:sp>
        <p:nvSpPr>
          <p:cNvPr id="143" name="TextBox 142"/>
          <p:cNvSpPr txBox="1"/>
          <p:nvPr/>
        </p:nvSpPr>
        <p:spPr>
          <a:xfrm>
            <a:off x="560536" y="2670571"/>
            <a:ext cx="691028" cy="738664"/>
          </a:xfrm>
          <a:prstGeom prst="rect">
            <a:avLst/>
          </a:prstGeom>
          <a:noFill/>
        </p:spPr>
        <p:txBody>
          <a:bodyPr wrap="square" lIns="0" tIns="0" rIns="0" bIns="0" rtlCol="0">
            <a:spAutoFit/>
          </a:bodyPr>
          <a:lstStyle/>
          <a:p>
            <a:pPr algn="ctr"/>
            <a:r>
              <a:rPr lang="en-US" sz="4800" b="1" dirty="0">
                <a:solidFill>
                  <a:schemeClr val="bg1"/>
                </a:solidFill>
              </a:rPr>
              <a:t>2</a:t>
            </a:r>
          </a:p>
        </p:txBody>
      </p:sp>
      <p:sp>
        <p:nvSpPr>
          <p:cNvPr id="144" name="TextBox 143"/>
          <p:cNvSpPr txBox="1"/>
          <p:nvPr/>
        </p:nvSpPr>
        <p:spPr>
          <a:xfrm>
            <a:off x="560536" y="3569731"/>
            <a:ext cx="691028" cy="738664"/>
          </a:xfrm>
          <a:prstGeom prst="rect">
            <a:avLst/>
          </a:prstGeom>
          <a:noFill/>
        </p:spPr>
        <p:txBody>
          <a:bodyPr wrap="square" lIns="0" tIns="0" rIns="0" bIns="0" rtlCol="0">
            <a:spAutoFit/>
          </a:bodyPr>
          <a:lstStyle/>
          <a:p>
            <a:pPr algn="ctr"/>
            <a:r>
              <a:rPr lang="en-US" sz="4800" b="1">
                <a:solidFill>
                  <a:schemeClr val="bg1"/>
                </a:solidFill>
              </a:rPr>
              <a:t>3</a:t>
            </a:r>
          </a:p>
        </p:txBody>
      </p:sp>
      <p:sp>
        <p:nvSpPr>
          <p:cNvPr id="145" name="TextBox 144"/>
          <p:cNvSpPr txBox="1"/>
          <p:nvPr/>
        </p:nvSpPr>
        <p:spPr>
          <a:xfrm>
            <a:off x="560536" y="4484131"/>
            <a:ext cx="691028" cy="738664"/>
          </a:xfrm>
          <a:prstGeom prst="rect">
            <a:avLst/>
          </a:prstGeom>
          <a:noFill/>
        </p:spPr>
        <p:txBody>
          <a:bodyPr wrap="square" lIns="0" tIns="0" rIns="0" bIns="0" rtlCol="0">
            <a:spAutoFit/>
          </a:bodyPr>
          <a:lstStyle/>
          <a:p>
            <a:pPr algn="ctr"/>
            <a:r>
              <a:rPr lang="en-US" sz="4800" b="1">
                <a:solidFill>
                  <a:schemeClr val="bg1"/>
                </a:solidFill>
              </a:rPr>
              <a:t>4</a:t>
            </a:r>
          </a:p>
        </p:txBody>
      </p:sp>
      <p:sp>
        <p:nvSpPr>
          <p:cNvPr id="146" name="TextBox 145"/>
          <p:cNvSpPr txBox="1"/>
          <p:nvPr/>
        </p:nvSpPr>
        <p:spPr>
          <a:xfrm>
            <a:off x="560536" y="5382105"/>
            <a:ext cx="691028" cy="738664"/>
          </a:xfrm>
          <a:prstGeom prst="rect">
            <a:avLst/>
          </a:prstGeom>
          <a:noFill/>
        </p:spPr>
        <p:txBody>
          <a:bodyPr wrap="square" lIns="0" tIns="0" rIns="0" bIns="0" rtlCol="0">
            <a:spAutoFit/>
          </a:bodyPr>
          <a:lstStyle/>
          <a:p>
            <a:pPr algn="ctr"/>
            <a:r>
              <a:rPr lang="en-US" sz="4800" b="1">
                <a:solidFill>
                  <a:schemeClr val="bg1"/>
                </a:solidFill>
              </a:rPr>
              <a:t>5</a:t>
            </a:r>
          </a:p>
        </p:txBody>
      </p:sp>
      <p:sp>
        <p:nvSpPr>
          <p:cNvPr id="147" name="Rectangle 146"/>
          <p:cNvSpPr/>
          <p:nvPr/>
        </p:nvSpPr>
        <p:spPr>
          <a:xfrm>
            <a:off x="1478915" y="1705165"/>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48" name="Rectangle 147"/>
          <p:cNvSpPr/>
          <p:nvPr/>
        </p:nvSpPr>
        <p:spPr>
          <a:xfrm>
            <a:off x="1478915" y="2602730"/>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149" name="Rectangle 148"/>
          <p:cNvSpPr/>
          <p:nvPr/>
        </p:nvSpPr>
        <p:spPr>
          <a:xfrm>
            <a:off x="1478915" y="3498138"/>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50" name="Rectangle 149"/>
          <p:cNvSpPr/>
          <p:nvPr/>
        </p:nvSpPr>
        <p:spPr>
          <a:xfrm>
            <a:off x="1478915" y="4415019"/>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151" name="Rectangle 150"/>
          <p:cNvSpPr/>
          <p:nvPr/>
        </p:nvSpPr>
        <p:spPr>
          <a:xfrm>
            <a:off x="1478915" y="5312752"/>
            <a:ext cx="9041940" cy="461665"/>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Tree>
    <p:extLst>
      <p:ext uri="{BB962C8B-B14F-4D97-AF65-F5344CB8AC3E}">
        <p14:creationId xmlns:p14="http://schemas.microsoft.com/office/powerpoint/2010/main" val="3801425194"/>
      </p:ext>
    </p:extLst>
  </p:cSld>
  <p:clrMapOvr>
    <a:masterClrMapping/>
  </p:clrMapOvr>
  <p:transition>
    <p:fade/>
  </p:transition>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Twisted ribbons</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grpSp>
        <p:nvGrpSpPr>
          <p:cNvPr id="4" name="Group 3"/>
          <p:cNvGrpSpPr/>
          <p:nvPr/>
        </p:nvGrpSpPr>
        <p:grpSpPr>
          <a:xfrm>
            <a:off x="3563621" y="1312773"/>
            <a:ext cx="5054281" cy="4555172"/>
            <a:chOff x="2039620" y="1776413"/>
            <a:chExt cx="5054281" cy="4555172"/>
          </a:xfrm>
        </p:grpSpPr>
        <p:sp>
          <p:nvSpPr>
            <p:cNvPr id="31" name="Pentagon 12"/>
            <p:cNvSpPr/>
            <p:nvPr/>
          </p:nvSpPr>
          <p:spPr>
            <a:xfrm flipH="1">
              <a:off x="3757307" y="1776413"/>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2" name="Pentagon 9"/>
            <p:cNvSpPr/>
            <p:nvPr/>
          </p:nvSpPr>
          <p:spPr>
            <a:xfrm>
              <a:off x="2039620" y="1776413"/>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3" name="Pentagon 9"/>
            <p:cNvSpPr/>
            <p:nvPr/>
          </p:nvSpPr>
          <p:spPr>
            <a:xfrm>
              <a:off x="2039620" y="2698274"/>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4" name="Pentagon 12"/>
            <p:cNvSpPr/>
            <p:nvPr/>
          </p:nvSpPr>
          <p:spPr>
            <a:xfrm flipH="1">
              <a:off x="3757307" y="2698274"/>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Pentagon 9"/>
            <p:cNvSpPr/>
            <p:nvPr/>
          </p:nvSpPr>
          <p:spPr>
            <a:xfrm>
              <a:off x="2039620" y="3620135"/>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Pentagon 12"/>
            <p:cNvSpPr/>
            <p:nvPr/>
          </p:nvSpPr>
          <p:spPr>
            <a:xfrm flipH="1">
              <a:off x="3757307" y="3620135"/>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Pentagon 9"/>
            <p:cNvSpPr/>
            <p:nvPr/>
          </p:nvSpPr>
          <p:spPr>
            <a:xfrm>
              <a:off x="2039620" y="4564856"/>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Pentagon 12"/>
            <p:cNvSpPr/>
            <p:nvPr/>
          </p:nvSpPr>
          <p:spPr>
            <a:xfrm flipH="1">
              <a:off x="3757307" y="4564856"/>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Pentagon 9"/>
            <p:cNvSpPr/>
            <p:nvPr/>
          </p:nvSpPr>
          <p:spPr>
            <a:xfrm>
              <a:off x="2039620" y="5498148"/>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Pentagon 12"/>
            <p:cNvSpPr/>
            <p:nvPr/>
          </p:nvSpPr>
          <p:spPr>
            <a:xfrm flipH="1">
              <a:off x="3757307" y="5498148"/>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TextBox 40"/>
            <p:cNvSpPr txBox="1"/>
            <p:nvPr/>
          </p:nvSpPr>
          <p:spPr>
            <a:xfrm>
              <a:off x="2122170" y="1834833"/>
              <a:ext cx="631825" cy="565146"/>
            </a:xfrm>
            <a:prstGeom prst="rect">
              <a:avLst/>
            </a:prstGeom>
            <a:noFill/>
          </p:spPr>
          <p:txBody>
            <a:bodyPr wrap="square" lIns="0" tIns="0" rIns="0" bIns="0" rtlCol="0" anchor="ctr" anchorCtr="0">
              <a:noAutofit/>
            </a:bodyPr>
            <a:lstStyle/>
            <a:p>
              <a:r>
                <a:rPr lang="en-US" sz="3200" dirty="0">
                  <a:solidFill>
                    <a:schemeClr val="bg1"/>
                  </a:solidFill>
                </a:rPr>
                <a:t>01</a:t>
              </a:r>
            </a:p>
          </p:txBody>
        </p:sp>
        <p:sp>
          <p:nvSpPr>
            <p:cNvPr id="42" name="TextBox 41"/>
            <p:cNvSpPr txBox="1"/>
            <p:nvPr/>
          </p:nvSpPr>
          <p:spPr>
            <a:xfrm>
              <a:off x="2122170" y="2296694"/>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3" name="TextBox 42"/>
            <p:cNvSpPr txBox="1"/>
            <p:nvPr/>
          </p:nvSpPr>
          <p:spPr>
            <a:xfrm>
              <a:off x="2122170" y="2764473"/>
              <a:ext cx="631825" cy="565146"/>
            </a:xfrm>
            <a:prstGeom prst="rect">
              <a:avLst/>
            </a:prstGeom>
            <a:noFill/>
          </p:spPr>
          <p:txBody>
            <a:bodyPr wrap="square" lIns="0" tIns="0" rIns="0" bIns="0" rtlCol="0" anchor="ctr" anchorCtr="0">
              <a:noAutofit/>
            </a:bodyPr>
            <a:lstStyle/>
            <a:p>
              <a:r>
                <a:rPr lang="en-US" sz="3200" dirty="0">
                  <a:solidFill>
                    <a:schemeClr val="bg1"/>
                  </a:solidFill>
                </a:rPr>
                <a:t>02</a:t>
              </a:r>
            </a:p>
          </p:txBody>
        </p:sp>
        <p:sp>
          <p:nvSpPr>
            <p:cNvPr id="44" name="TextBox 43"/>
            <p:cNvSpPr txBox="1"/>
            <p:nvPr/>
          </p:nvSpPr>
          <p:spPr>
            <a:xfrm>
              <a:off x="2122170" y="3226334"/>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5" name="TextBox 44"/>
            <p:cNvSpPr txBox="1"/>
            <p:nvPr/>
          </p:nvSpPr>
          <p:spPr>
            <a:xfrm>
              <a:off x="2122170" y="3684715"/>
              <a:ext cx="631825" cy="565146"/>
            </a:xfrm>
            <a:prstGeom prst="rect">
              <a:avLst/>
            </a:prstGeom>
            <a:noFill/>
          </p:spPr>
          <p:txBody>
            <a:bodyPr wrap="square" lIns="0" tIns="0" rIns="0" bIns="0" rtlCol="0" anchor="ctr" anchorCtr="0">
              <a:noAutofit/>
            </a:bodyPr>
            <a:lstStyle/>
            <a:p>
              <a:r>
                <a:rPr lang="en-US" sz="3200" dirty="0">
                  <a:solidFill>
                    <a:schemeClr val="bg1"/>
                  </a:solidFill>
                </a:rPr>
                <a:t>03</a:t>
              </a:r>
            </a:p>
          </p:txBody>
        </p:sp>
        <p:sp>
          <p:nvSpPr>
            <p:cNvPr id="46" name="TextBox 45"/>
            <p:cNvSpPr txBox="1"/>
            <p:nvPr/>
          </p:nvSpPr>
          <p:spPr>
            <a:xfrm>
              <a:off x="2122170" y="4146576"/>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7" name="TextBox 46"/>
            <p:cNvSpPr txBox="1"/>
            <p:nvPr/>
          </p:nvSpPr>
          <p:spPr>
            <a:xfrm>
              <a:off x="2122170" y="4627055"/>
              <a:ext cx="631825" cy="565146"/>
            </a:xfrm>
            <a:prstGeom prst="rect">
              <a:avLst/>
            </a:prstGeom>
            <a:noFill/>
          </p:spPr>
          <p:txBody>
            <a:bodyPr wrap="square" lIns="0" tIns="0" rIns="0" bIns="0" rtlCol="0" anchor="ctr" anchorCtr="0">
              <a:noAutofit/>
            </a:bodyPr>
            <a:lstStyle/>
            <a:p>
              <a:r>
                <a:rPr lang="en-US" sz="3200" dirty="0">
                  <a:solidFill>
                    <a:schemeClr val="bg1"/>
                  </a:solidFill>
                </a:rPr>
                <a:t>04</a:t>
              </a:r>
            </a:p>
          </p:txBody>
        </p:sp>
        <p:sp>
          <p:nvSpPr>
            <p:cNvPr id="48" name="TextBox 47"/>
            <p:cNvSpPr txBox="1"/>
            <p:nvPr/>
          </p:nvSpPr>
          <p:spPr>
            <a:xfrm>
              <a:off x="2122170" y="5088916"/>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49" name="TextBox 48"/>
            <p:cNvSpPr txBox="1"/>
            <p:nvPr/>
          </p:nvSpPr>
          <p:spPr>
            <a:xfrm>
              <a:off x="2122170" y="5564315"/>
              <a:ext cx="631825" cy="565146"/>
            </a:xfrm>
            <a:prstGeom prst="rect">
              <a:avLst/>
            </a:prstGeom>
            <a:noFill/>
          </p:spPr>
          <p:txBody>
            <a:bodyPr wrap="square" lIns="0" tIns="0" rIns="0" bIns="0" rtlCol="0" anchor="ctr" anchorCtr="0">
              <a:noAutofit/>
            </a:bodyPr>
            <a:lstStyle/>
            <a:p>
              <a:r>
                <a:rPr lang="en-US" sz="3200" dirty="0">
                  <a:solidFill>
                    <a:schemeClr val="bg1"/>
                  </a:solidFill>
                </a:rPr>
                <a:t>05</a:t>
              </a:r>
            </a:p>
          </p:txBody>
        </p:sp>
        <p:sp>
          <p:nvSpPr>
            <p:cNvPr id="50" name="TextBox 49"/>
            <p:cNvSpPr txBox="1"/>
            <p:nvPr/>
          </p:nvSpPr>
          <p:spPr>
            <a:xfrm>
              <a:off x="2122170" y="6026176"/>
              <a:ext cx="901700" cy="241980"/>
            </a:xfrm>
            <a:prstGeom prst="rect">
              <a:avLst/>
            </a:prstGeom>
            <a:noFill/>
          </p:spPr>
          <p:txBody>
            <a:bodyPr wrap="square" lIns="0" tIns="0" rIns="0" bIns="0" rtlCol="0" anchor="ctr" anchorCtr="0">
              <a:noAutofit/>
            </a:bodyPr>
            <a:lstStyle/>
            <a:p>
              <a:r>
                <a:rPr lang="en-US" sz="1100" b="1" dirty="0">
                  <a:solidFill>
                    <a:schemeClr val="bg1"/>
                  </a:solidFill>
                </a:rPr>
                <a:t>Options</a:t>
              </a:r>
            </a:p>
          </p:txBody>
        </p:sp>
        <p:sp>
          <p:nvSpPr>
            <p:cNvPr id="51" name="Half Frame 50"/>
            <p:cNvSpPr/>
            <p:nvPr/>
          </p:nvSpPr>
          <p:spPr>
            <a:xfrm rot="8142470">
              <a:off x="4396820" y="2064446"/>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2" name="Rectangle 51"/>
            <p:cNvSpPr/>
            <p:nvPr/>
          </p:nvSpPr>
          <p:spPr>
            <a:xfrm>
              <a:off x="4811821" y="1817728"/>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3" name="Half Frame 52"/>
            <p:cNvSpPr/>
            <p:nvPr/>
          </p:nvSpPr>
          <p:spPr>
            <a:xfrm rot="8142470">
              <a:off x="4396820" y="2986308"/>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4" name="Rectangle 53"/>
            <p:cNvSpPr/>
            <p:nvPr/>
          </p:nvSpPr>
          <p:spPr>
            <a:xfrm>
              <a:off x="4811821" y="2739590"/>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5" name="Half Frame 54"/>
            <p:cNvSpPr/>
            <p:nvPr/>
          </p:nvSpPr>
          <p:spPr>
            <a:xfrm rot="8142470">
              <a:off x="4396820" y="3908169"/>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6" name="Rectangle 55"/>
            <p:cNvSpPr/>
            <p:nvPr/>
          </p:nvSpPr>
          <p:spPr>
            <a:xfrm>
              <a:off x="4811821" y="3674514"/>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7" name="Half Frame 56"/>
            <p:cNvSpPr/>
            <p:nvPr/>
          </p:nvSpPr>
          <p:spPr>
            <a:xfrm rot="8142470">
              <a:off x="4396820" y="4852890"/>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8" name="Rectangle 57"/>
            <p:cNvSpPr/>
            <p:nvPr/>
          </p:nvSpPr>
          <p:spPr>
            <a:xfrm>
              <a:off x="4811821" y="4593109"/>
              <a:ext cx="1945849" cy="615553"/>
            </a:xfrm>
            <a:prstGeom prst="rect">
              <a:avLst/>
            </a:prstGeom>
          </p:spPr>
          <p:txBody>
            <a:bodyPr wrap="square" lIns="0" tIns="0" rIns="0" bIns="0">
              <a:noAutofit/>
            </a:bodyPr>
            <a:lstStyle/>
            <a:p>
              <a:r>
                <a:rPr lang="en-US" sz="1000" dirty="0">
                  <a:solidFill>
                    <a:schemeClr val="bg1"/>
                  </a:solidFill>
                </a:rPr>
                <a:t>This is dummy text it is not here to be read. The is just text to show where you could insert text. This is dummy text.</a:t>
              </a:r>
            </a:p>
          </p:txBody>
        </p:sp>
        <p:sp>
          <p:nvSpPr>
            <p:cNvPr id="59" name="Half Frame 58"/>
            <p:cNvSpPr/>
            <p:nvPr/>
          </p:nvSpPr>
          <p:spPr>
            <a:xfrm rot="8142470">
              <a:off x="4396820" y="5786182"/>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0" name="Rectangle 59"/>
            <p:cNvSpPr/>
            <p:nvPr/>
          </p:nvSpPr>
          <p:spPr>
            <a:xfrm>
              <a:off x="4811821" y="5539464"/>
              <a:ext cx="1945849" cy="615553"/>
            </a:xfrm>
            <a:prstGeom prst="rect">
              <a:avLst/>
            </a:prstGeom>
          </p:spPr>
          <p:txBody>
            <a:bodyPr wrap="square" lIns="0" tIns="0" rIns="0" bIns="0">
              <a:noAutofit/>
            </a:bodyPr>
            <a:lstStyle/>
            <a:p>
              <a:r>
                <a:rPr lang="en-US" sz="1000" dirty="0"/>
                <a:t>This is dummy text it is not here to be read. The is just text to show where you could insert text. This is dummy text.</a:t>
              </a:r>
            </a:p>
          </p:txBody>
        </p:sp>
      </p:grpSp>
    </p:spTree>
    <p:extLst>
      <p:ext uri="{BB962C8B-B14F-4D97-AF65-F5344CB8AC3E}">
        <p14:creationId xmlns:p14="http://schemas.microsoft.com/office/powerpoint/2010/main" val="2421040303"/>
      </p:ext>
    </p:extLst>
  </p:cSld>
  <p:clrMapOvr>
    <a:masterClrMapping/>
  </p:clrMapOvr>
  <p:transition>
    <p:fade/>
  </p:transition>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bouncing</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61" name="Freeform 60"/>
          <p:cNvSpPr/>
          <p:nvPr/>
        </p:nvSpPr>
        <p:spPr>
          <a:xfrm>
            <a:off x="3791823" y="196442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2" name="Freeform 61"/>
          <p:cNvSpPr/>
          <p:nvPr/>
        </p:nvSpPr>
        <p:spPr>
          <a:xfrm>
            <a:off x="3682602" y="263117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3" name="Freeform 62"/>
          <p:cNvSpPr/>
          <p:nvPr/>
        </p:nvSpPr>
        <p:spPr>
          <a:xfrm>
            <a:off x="2849801" y="261831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4" name="Freeform 63"/>
          <p:cNvSpPr/>
          <p:nvPr/>
        </p:nvSpPr>
        <p:spPr>
          <a:xfrm>
            <a:off x="2737722" y="328173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5" name="Freeform 64"/>
          <p:cNvSpPr/>
          <p:nvPr/>
        </p:nvSpPr>
        <p:spPr>
          <a:xfrm>
            <a:off x="1897935" y="3267443"/>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Freeform 65"/>
          <p:cNvSpPr/>
          <p:nvPr/>
        </p:nvSpPr>
        <p:spPr>
          <a:xfrm>
            <a:off x="1793793" y="3936574"/>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7" name="Freeform 66"/>
          <p:cNvSpPr/>
          <p:nvPr/>
        </p:nvSpPr>
        <p:spPr>
          <a:xfrm>
            <a:off x="963214" y="3921809"/>
            <a:ext cx="1135380" cy="179070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1" name="Rectangle 70"/>
          <p:cNvSpPr/>
          <p:nvPr/>
        </p:nvSpPr>
        <p:spPr>
          <a:xfrm>
            <a:off x="2620849" y="5390552"/>
            <a:ext cx="2341949"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 </a:t>
            </a:r>
          </a:p>
        </p:txBody>
      </p:sp>
      <p:sp>
        <p:nvSpPr>
          <p:cNvPr id="72" name="Rectangle 71"/>
          <p:cNvSpPr/>
          <p:nvPr/>
        </p:nvSpPr>
        <p:spPr>
          <a:xfrm>
            <a:off x="3574596" y="4670087"/>
            <a:ext cx="2468130"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a:t>
            </a:r>
          </a:p>
        </p:txBody>
      </p:sp>
      <p:sp>
        <p:nvSpPr>
          <p:cNvPr id="73" name="Rectangle 72"/>
          <p:cNvSpPr/>
          <p:nvPr/>
        </p:nvSpPr>
        <p:spPr>
          <a:xfrm>
            <a:off x="4536042" y="4025338"/>
            <a:ext cx="2525990"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a:t>
            </a:r>
          </a:p>
        </p:txBody>
      </p:sp>
      <p:sp>
        <p:nvSpPr>
          <p:cNvPr id="74" name="Rectangle 73"/>
          <p:cNvSpPr/>
          <p:nvPr/>
        </p:nvSpPr>
        <p:spPr>
          <a:xfrm>
            <a:off x="5505733" y="3213321"/>
            <a:ext cx="2568892" cy="577081"/>
          </a:xfrm>
          <a:prstGeom prst="rect">
            <a:avLst/>
          </a:prstGeom>
        </p:spPr>
        <p:txBody>
          <a:bodyPr wrap="square" lIns="0" tIns="0" rIns="0" bIns="0">
            <a:spAutoFit/>
          </a:bodyPr>
          <a:lstStyle/>
          <a:p>
            <a:pPr>
              <a:spcAft>
                <a:spcPts val="600"/>
              </a:spcAft>
            </a:pPr>
            <a:r>
              <a:rPr lang="en-US" sz="1050" b="1" dirty="0" err="1">
                <a:solidFill>
                  <a:srgbClr val="53565A"/>
                </a:solidFill>
              </a:rPr>
              <a:t>Lorem</a:t>
            </a:r>
            <a:r>
              <a:rPr lang="en-US" sz="1050" b="1" dirty="0">
                <a:solidFill>
                  <a:srgbClr val="53565A"/>
                </a:solidFill>
              </a:rPr>
              <a:t> </a:t>
            </a:r>
            <a:r>
              <a:rPr lang="en-US" sz="1050" b="1" dirty="0" err="1">
                <a:solidFill>
                  <a:srgbClr val="53565A"/>
                </a:solidFill>
              </a:rPr>
              <a:t>ipsum</a:t>
            </a:r>
            <a:r>
              <a:rPr lang="en-US" sz="1050" b="1" dirty="0">
                <a:solidFill>
                  <a:srgbClr val="53565A"/>
                </a:solidFill>
              </a:rPr>
              <a:t> </a:t>
            </a:r>
            <a:br>
              <a:rPr lang="en-US" sz="1050" b="1" dirty="0">
                <a:solidFill>
                  <a:srgbClr val="53565A"/>
                </a:solidFill>
              </a:rPr>
            </a:br>
            <a:r>
              <a:rPr lang="en-US" sz="900" dirty="0">
                <a:solidFill>
                  <a:srgbClr val="53565A"/>
                </a:solidFill>
              </a:rPr>
              <a:t>This is dummy text it is not here to be read. The is just text to show where you could insert text. This is dummy text.</a:t>
            </a:r>
          </a:p>
        </p:txBody>
      </p:sp>
      <p:grpSp>
        <p:nvGrpSpPr>
          <p:cNvPr id="81" name="Group 80"/>
          <p:cNvGrpSpPr/>
          <p:nvPr/>
        </p:nvGrpSpPr>
        <p:grpSpPr>
          <a:xfrm>
            <a:off x="4712236" y="3069940"/>
            <a:ext cx="706551" cy="365760"/>
            <a:chOff x="4953973" y="3370420"/>
            <a:chExt cx="706551" cy="365760"/>
          </a:xfrm>
        </p:grpSpPr>
        <p:sp>
          <p:nvSpPr>
            <p:cNvPr id="82"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5">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84" name="TextBox 83"/>
          <p:cNvSpPr txBox="1"/>
          <p:nvPr/>
        </p:nvSpPr>
        <p:spPr>
          <a:xfrm>
            <a:off x="1388589" y="3298060"/>
            <a:ext cx="691028" cy="811367"/>
          </a:xfrm>
          <a:prstGeom prst="rect">
            <a:avLst/>
          </a:prstGeom>
          <a:noFill/>
        </p:spPr>
        <p:txBody>
          <a:bodyPr wrap="square" lIns="36000" tIns="36000" rIns="36000" bIns="36000" rtlCol="0">
            <a:spAutoFit/>
          </a:bodyPr>
          <a:lstStyle/>
          <a:p>
            <a:pPr algn="ctr"/>
            <a:r>
              <a:rPr lang="en-US" sz="4800" b="1" dirty="0">
                <a:solidFill>
                  <a:schemeClr val="accent1"/>
                </a:solidFill>
              </a:rPr>
              <a:t>1</a:t>
            </a:r>
          </a:p>
        </p:txBody>
      </p:sp>
      <p:sp>
        <p:nvSpPr>
          <p:cNvPr id="85" name="TextBox 84"/>
          <p:cNvSpPr txBox="1"/>
          <p:nvPr/>
        </p:nvSpPr>
        <p:spPr>
          <a:xfrm>
            <a:off x="2349418" y="2650696"/>
            <a:ext cx="691028" cy="811367"/>
          </a:xfrm>
          <a:prstGeom prst="rect">
            <a:avLst/>
          </a:prstGeom>
          <a:noFill/>
        </p:spPr>
        <p:txBody>
          <a:bodyPr wrap="square" lIns="36000" tIns="36000" rIns="36000" bIns="36000" rtlCol="0">
            <a:spAutoFit/>
          </a:bodyPr>
          <a:lstStyle/>
          <a:p>
            <a:pPr algn="ctr"/>
            <a:r>
              <a:rPr lang="en-US" sz="4800" b="1" dirty="0">
                <a:solidFill>
                  <a:schemeClr val="accent6">
                    <a:lumMod val="40000"/>
                    <a:lumOff val="60000"/>
                  </a:schemeClr>
                </a:solidFill>
              </a:rPr>
              <a:t>2</a:t>
            </a:r>
          </a:p>
        </p:txBody>
      </p:sp>
      <p:sp>
        <p:nvSpPr>
          <p:cNvPr id="86" name="TextBox 85"/>
          <p:cNvSpPr txBox="1"/>
          <p:nvPr/>
        </p:nvSpPr>
        <p:spPr>
          <a:xfrm>
            <a:off x="3288351" y="2001805"/>
            <a:ext cx="691028" cy="811367"/>
          </a:xfrm>
          <a:prstGeom prst="rect">
            <a:avLst/>
          </a:prstGeom>
          <a:noFill/>
        </p:spPr>
        <p:txBody>
          <a:bodyPr wrap="square" lIns="36000" tIns="36000" rIns="36000" bIns="36000" rtlCol="0">
            <a:spAutoFit/>
          </a:bodyPr>
          <a:lstStyle/>
          <a:p>
            <a:pPr algn="ctr"/>
            <a:r>
              <a:rPr lang="en-US" sz="4800" b="1" dirty="0">
                <a:solidFill>
                  <a:schemeClr val="accent3"/>
                </a:solidFill>
              </a:rPr>
              <a:t>3</a:t>
            </a:r>
          </a:p>
        </p:txBody>
      </p:sp>
      <p:sp>
        <p:nvSpPr>
          <p:cNvPr id="87" name="TextBox 86"/>
          <p:cNvSpPr txBox="1"/>
          <p:nvPr/>
        </p:nvSpPr>
        <p:spPr>
          <a:xfrm>
            <a:off x="4199344" y="1350102"/>
            <a:ext cx="691028" cy="811367"/>
          </a:xfrm>
          <a:prstGeom prst="rect">
            <a:avLst/>
          </a:prstGeom>
          <a:noFill/>
        </p:spPr>
        <p:txBody>
          <a:bodyPr wrap="square" lIns="36000" tIns="36000" rIns="36000" bIns="36000" rtlCol="0">
            <a:spAutoFit/>
          </a:bodyPr>
          <a:lstStyle/>
          <a:p>
            <a:pPr algn="ctr"/>
            <a:r>
              <a:rPr lang="en-US" sz="4800" b="1" dirty="0">
                <a:solidFill>
                  <a:schemeClr val="accent5"/>
                </a:solidFill>
              </a:rPr>
              <a:t>4</a:t>
            </a:r>
          </a:p>
        </p:txBody>
      </p:sp>
      <p:grpSp>
        <p:nvGrpSpPr>
          <p:cNvPr id="96" name="Group 95"/>
          <p:cNvGrpSpPr/>
          <p:nvPr/>
        </p:nvGrpSpPr>
        <p:grpSpPr>
          <a:xfrm>
            <a:off x="3693333" y="3971277"/>
            <a:ext cx="706551" cy="365760"/>
            <a:chOff x="4953973" y="3370420"/>
            <a:chExt cx="706551" cy="365760"/>
          </a:xfrm>
        </p:grpSpPr>
        <p:sp>
          <p:nvSpPr>
            <p:cNvPr id="97"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8"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99" name="Group 98"/>
          <p:cNvGrpSpPr/>
          <p:nvPr/>
        </p:nvGrpSpPr>
        <p:grpSpPr>
          <a:xfrm>
            <a:off x="2818121" y="4650545"/>
            <a:ext cx="706551" cy="365760"/>
            <a:chOff x="4953973" y="3370420"/>
            <a:chExt cx="706551" cy="365760"/>
          </a:xfrm>
        </p:grpSpPr>
        <p:sp>
          <p:nvSpPr>
            <p:cNvPr id="100"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01"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102" name="Group 101"/>
          <p:cNvGrpSpPr/>
          <p:nvPr/>
        </p:nvGrpSpPr>
        <p:grpSpPr>
          <a:xfrm>
            <a:off x="1838407" y="5355939"/>
            <a:ext cx="706551" cy="365760"/>
            <a:chOff x="4953973" y="3370420"/>
            <a:chExt cx="706551" cy="365760"/>
          </a:xfrm>
        </p:grpSpPr>
        <p:sp>
          <p:nvSpPr>
            <p:cNvPr id="103"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04"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105" name="Group 452"/>
          <p:cNvGrpSpPr>
            <a:grpSpLocks noChangeAspect="1"/>
          </p:cNvGrpSpPr>
          <p:nvPr/>
        </p:nvGrpSpPr>
        <p:grpSpPr bwMode="auto">
          <a:xfrm>
            <a:off x="1403765" y="4412470"/>
            <a:ext cx="367041" cy="367041"/>
            <a:chOff x="6020" y="1753"/>
            <a:chExt cx="340" cy="340"/>
          </a:xfrm>
          <a:solidFill>
            <a:schemeClr val="bg1"/>
          </a:solidFill>
        </p:grpSpPr>
        <p:sp>
          <p:nvSpPr>
            <p:cNvPr id="106" name="Freeform 453"/>
            <p:cNvSpPr>
              <a:spLocks noEditPoints="1"/>
            </p:cNvSpPr>
            <p:nvPr/>
          </p:nvSpPr>
          <p:spPr bwMode="auto">
            <a:xfrm>
              <a:off x="6020" y="17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454"/>
            <p:cNvSpPr>
              <a:spLocks noEditPoints="1"/>
            </p:cNvSpPr>
            <p:nvPr/>
          </p:nvSpPr>
          <p:spPr bwMode="auto">
            <a:xfrm>
              <a:off x="6084" y="1867"/>
              <a:ext cx="212" cy="113"/>
            </a:xfrm>
            <a:custGeom>
              <a:avLst/>
              <a:gdLst>
                <a:gd name="T0" fmla="*/ 318 w 320"/>
                <a:gd name="T1" fmla="*/ 79 h 171"/>
                <a:gd name="T2" fmla="*/ 297 w 320"/>
                <a:gd name="T3" fmla="*/ 47 h 171"/>
                <a:gd name="T4" fmla="*/ 288 w 320"/>
                <a:gd name="T5" fmla="*/ 43 h 171"/>
                <a:gd name="T6" fmla="*/ 159 w 320"/>
                <a:gd name="T7" fmla="*/ 43 h 171"/>
                <a:gd name="T8" fmla="*/ 85 w 320"/>
                <a:gd name="T9" fmla="*/ 0 h 171"/>
                <a:gd name="T10" fmla="*/ 0 w 320"/>
                <a:gd name="T11" fmla="*/ 85 h 171"/>
                <a:gd name="T12" fmla="*/ 85 w 320"/>
                <a:gd name="T13" fmla="*/ 171 h 171"/>
                <a:gd name="T14" fmla="*/ 159 w 320"/>
                <a:gd name="T15" fmla="*/ 128 h 171"/>
                <a:gd name="T16" fmla="*/ 202 w 320"/>
                <a:gd name="T17" fmla="*/ 128 h 171"/>
                <a:gd name="T18" fmla="*/ 210 w 320"/>
                <a:gd name="T19" fmla="*/ 125 h 171"/>
                <a:gd name="T20" fmla="*/ 224 w 320"/>
                <a:gd name="T21" fmla="*/ 111 h 171"/>
                <a:gd name="T22" fmla="*/ 237 w 320"/>
                <a:gd name="T23" fmla="*/ 125 h 171"/>
                <a:gd name="T24" fmla="*/ 253 w 320"/>
                <a:gd name="T25" fmla="*/ 125 h 171"/>
                <a:gd name="T26" fmla="*/ 266 w 320"/>
                <a:gd name="T27" fmla="*/ 111 h 171"/>
                <a:gd name="T28" fmla="*/ 280 w 320"/>
                <a:gd name="T29" fmla="*/ 125 h 171"/>
                <a:gd name="T30" fmla="*/ 289 w 320"/>
                <a:gd name="T31" fmla="*/ 128 h 171"/>
                <a:gd name="T32" fmla="*/ 297 w 320"/>
                <a:gd name="T33" fmla="*/ 123 h 171"/>
                <a:gd name="T34" fmla="*/ 318 w 320"/>
                <a:gd name="T35" fmla="*/ 91 h 171"/>
                <a:gd name="T36" fmla="*/ 318 w 320"/>
                <a:gd name="T37" fmla="*/ 79 h 171"/>
                <a:gd name="T38" fmla="*/ 286 w 320"/>
                <a:gd name="T39" fmla="*/ 100 h 171"/>
                <a:gd name="T40" fmla="*/ 274 w 320"/>
                <a:gd name="T41" fmla="*/ 88 h 171"/>
                <a:gd name="T42" fmla="*/ 259 w 320"/>
                <a:gd name="T43" fmla="*/ 88 h 171"/>
                <a:gd name="T44" fmla="*/ 245 w 320"/>
                <a:gd name="T45" fmla="*/ 102 h 171"/>
                <a:gd name="T46" fmla="*/ 231 w 320"/>
                <a:gd name="T47" fmla="*/ 88 h 171"/>
                <a:gd name="T48" fmla="*/ 216 w 320"/>
                <a:gd name="T49" fmla="*/ 88 h 171"/>
                <a:gd name="T50" fmla="*/ 198 w 320"/>
                <a:gd name="T51" fmla="*/ 107 h 171"/>
                <a:gd name="T52" fmla="*/ 152 w 320"/>
                <a:gd name="T53" fmla="*/ 107 h 171"/>
                <a:gd name="T54" fmla="*/ 143 w 320"/>
                <a:gd name="T55" fmla="*/ 113 h 171"/>
                <a:gd name="T56" fmla="*/ 85 w 320"/>
                <a:gd name="T57" fmla="*/ 149 h 171"/>
                <a:gd name="T58" fmla="*/ 21 w 320"/>
                <a:gd name="T59" fmla="*/ 85 h 171"/>
                <a:gd name="T60" fmla="*/ 85 w 320"/>
                <a:gd name="T61" fmla="*/ 21 h 171"/>
                <a:gd name="T62" fmla="*/ 143 w 320"/>
                <a:gd name="T63" fmla="*/ 58 h 171"/>
                <a:gd name="T64" fmla="*/ 152 w 320"/>
                <a:gd name="T65" fmla="*/ 64 h 171"/>
                <a:gd name="T66" fmla="*/ 282 w 320"/>
                <a:gd name="T67" fmla="*/ 64 h 171"/>
                <a:gd name="T68" fmla="*/ 296 w 320"/>
                <a:gd name="T69" fmla="*/ 85 h 171"/>
                <a:gd name="T70" fmla="*/ 286 w 320"/>
                <a:gd name="T71" fmla="*/ 10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171">
                  <a:moveTo>
                    <a:pt x="318" y="79"/>
                  </a:moveTo>
                  <a:cubicBezTo>
                    <a:pt x="297" y="47"/>
                    <a:pt x="297" y="47"/>
                    <a:pt x="297" y="47"/>
                  </a:cubicBezTo>
                  <a:cubicBezTo>
                    <a:pt x="295" y="44"/>
                    <a:pt x="291" y="43"/>
                    <a:pt x="288" y="43"/>
                  </a:cubicBezTo>
                  <a:cubicBezTo>
                    <a:pt x="159" y="43"/>
                    <a:pt x="159" y="43"/>
                    <a:pt x="159" y="43"/>
                  </a:cubicBezTo>
                  <a:cubicBezTo>
                    <a:pt x="144" y="16"/>
                    <a:pt x="115" y="0"/>
                    <a:pt x="85" y="0"/>
                  </a:cubicBezTo>
                  <a:cubicBezTo>
                    <a:pt x="38" y="0"/>
                    <a:pt x="0" y="38"/>
                    <a:pt x="0" y="85"/>
                  </a:cubicBezTo>
                  <a:cubicBezTo>
                    <a:pt x="0" y="132"/>
                    <a:pt x="38" y="171"/>
                    <a:pt x="85" y="171"/>
                  </a:cubicBezTo>
                  <a:cubicBezTo>
                    <a:pt x="115" y="171"/>
                    <a:pt x="144" y="154"/>
                    <a:pt x="159" y="128"/>
                  </a:cubicBezTo>
                  <a:cubicBezTo>
                    <a:pt x="202" y="128"/>
                    <a:pt x="202" y="128"/>
                    <a:pt x="202" y="128"/>
                  </a:cubicBezTo>
                  <a:cubicBezTo>
                    <a:pt x="205" y="128"/>
                    <a:pt x="208" y="127"/>
                    <a:pt x="210" y="125"/>
                  </a:cubicBezTo>
                  <a:cubicBezTo>
                    <a:pt x="224" y="111"/>
                    <a:pt x="224" y="111"/>
                    <a:pt x="224" y="111"/>
                  </a:cubicBezTo>
                  <a:cubicBezTo>
                    <a:pt x="237" y="125"/>
                    <a:pt x="237" y="125"/>
                    <a:pt x="237" y="125"/>
                  </a:cubicBezTo>
                  <a:cubicBezTo>
                    <a:pt x="242" y="129"/>
                    <a:pt x="248" y="129"/>
                    <a:pt x="253" y="125"/>
                  </a:cubicBezTo>
                  <a:cubicBezTo>
                    <a:pt x="266" y="111"/>
                    <a:pt x="266" y="111"/>
                    <a:pt x="266" y="111"/>
                  </a:cubicBezTo>
                  <a:cubicBezTo>
                    <a:pt x="280" y="125"/>
                    <a:pt x="280" y="125"/>
                    <a:pt x="280" y="125"/>
                  </a:cubicBezTo>
                  <a:cubicBezTo>
                    <a:pt x="282" y="127"/>
                    <a:pt x="285" y="128"/>
                    <a:pt x="289" y="128"/>
                  </a:cubicBezTo>
                  <a:cubicBezTo>
                    <a:pt x="292" y="127"/>
                    <a:pt x="295" y="126"/>
                    <a:pt x="297" y="123"/>
                  </a:cubicBezTo>
                  <a:cubicBezTo>
                    <a:pt x="318" y="91"/>
                    <a:pt x="318" y="91"/>
                    <a:pt x="318" y="91"/>
                  </a:cubicBezTo>
                  <a:cubicBezTo>
                    <a:pt x="320" y="87"/>
                    <a:pt x="320" y="83"/>
                    <a:pt x="318" y="79"/>
                  </a:cubicBezTo>
                  <a:close/>
                  <a:moveTo>
                    <a:pt x="286" y="100"/>
                  </a:moveTo>
                  <a:cubicBezTo>
                    <a:pt x="274" y="88"/>
                    <a:pt x="274" y="88"/>
                    <a:pt x="274" y="88"/>
                  </a:cubicBezTo>
                  <a:cubicBezTo>
                    <a:pt x="270" y="84"/>
                    <a:pt x="263" y="84"/>
                    <a:pt x="259" y="88"/>
                  </a:cubicBezTo>
                  <a:cubicBezTo>
                    <a:pt x="245" y="102"/>
                    <a:pt x="245" y="102"/>
                    <a:pt x="245" y="102"/>
                  </a:cubicBezTo>
                  <a:cubicBezTo>
                    <a:pt x="231" y="88"/>
                    <a:pt x="231" y="88"/>
                    <a:pt x="231" y="88"/>
                  </a:cubicBezTo>
                  <a:cubicBezTo>
                    <a:pt x="227" y="84"/>
                    <a:pt x="220" y="84"/>
                    <a:pt x="216" y="88"/>
                  </a:cubicBezTo>
                  <a:cubicBezTo>
                    <a:pt x="198" y="107"/>
                    <a:pt x="198" y="107"/>
                    <a:pt x="198" y="107"/>
                  </a:cubicBezTo>
                  <a:cubicBezTo>
                    <a:pt x="152" y="107"/>
                    <a:pt x="152" y="107"/>
                    <a:pt x="152" y="107"/>
                  </a:cubicBezTo>
                  <a:cubicBezTo>
                    <a:pt x="148" y="107"/>
                    <a:pt x="145" y="109"/>
                    <a:pt x="143" y="113"/>
                  </a:cubicBezTo>
                  <a:cubicBezTo>
                    <a:pt x="132" y="135"/>
                    <a:pt x="110" y="149"/>
                    <a:pt x="85" y="149"/>
                  </a:cubicBezTo>
                  <a:cubicBezTo>
                    <a:pt x="50" y="149"/>
                    <a:pt x="21" y="120"/>
                    <a:pt x="21" y="85"/>
                  </a:cubicBezTo>
                  <a:cubicBezTo>
                    <a:pt x="21" y="50"/>
                    <a:pt x="50" y="21"/>
                    <a:pt x="85" y="21"/>
                  </a:cubicBezTo>
                  <a:cubicBezTo>
                    <a:pt x="110" y="21"/>
                    <a:pt x="132" y="36"/>
                    <a:pt x="143" y="58"/>
                  </a:cubicBezTo>
                  <a:cubicBezTo>
                    <a:pt x="145" y="62"/>
                    <a:pt x="148" y="64"/>
                    <a:pt x="152" y="64"/>
                  </a:cubicBezTo>
                  <a:cubicBezTo>
                    <a:pt x="282" y="64"/>
                    <a:pt x="282" y="64"/>
                    <a:pt x="282" y="64"/>
                  </a:cubicBezTo>
                  <a:cubicBezTo>
                    <a:pt x="296" y="85"/>
                    <a:pt x="296" y="85"/>
                    <a:pt x="296" y="85"/>
                  </a:cubicBezTo>
                  <a:lnTo>
                    <a:pt x="286" y="1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Oval 455"/>
            <p:cNvSpPr>
              <a:spLocks noChangeArrowheads="1"/>
            </p:cNvSpPr>
            <p:nvPr/>
          </p:nvSpPr>
          <p:spPr bwMode="auto">
            <a:xfrm>
              <a:off x="6119" y="1909"/>
              <a:ext cx="28"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9" name="Group 349"/>
          <p:cNvGrpSpPr>
            <a:grpSpLocks noChangeAspect="1"/>
          </p:cNvGrpSpPr>
          <p:nvPr/>
        </p:nvGrpSpPr>
        <p:grpSpPr bwMode="auto">
          <a:xfrm>
            <a:off x="2320334" y="3713223"/>
            <a:ext cx="367041" cy="367041"/>
            <a:chOff x="5071" y="1628"/>
            <a:chExt cx="340" cy="340"/>
          </a:xfrm>
          <a:solidFill>
            <a:schemeClr val="bg1"/>
          </a:solidFill>
        </p:grpSpPr>
        <p:sp>
          <p:nvSpPr>
            <p:cNvPr id="110" name="Freeform 350"/>
            <p:cNvSpPr>
              <a:spLocks noEditPoints="1"/>
            </p:cNvSpPr>
            <p:nvPr/>
          </p:nvSpPr>
          <p:spPr bwMode="auto">
            <a:xfrm>
              <a:off x="5071" y="162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351"/>
            <p:cNvSpPr>
              <a:spLocks noEditPoints="1"/>
            </p:cNvSpPr>
            <p:nvPr/>
          </p:nvSpPr>
          <p:spPr bwMode="auto">
            <a:xfrm>
              <a:off x="5141" y="1691"/>
              <a:ext cx="200" cy="199"/>
            </a:xfrm>
            <a:custGeom>
              <a:avLst/>
              <a:gdLst>
                <a:gd name="T0" fmla="*/ 59 w 301"/>
                <a:gd name="T1" fmla="*/ 163 h 299"/>
                <a:gd name="T2" fmla="*/ 2 w 301"/>
                <a:gd name="T3" fmla="*/ 218 h 299"/>
                <a:gd name="T4" fmla="*/ 12 w 301"/>
                <a:gd name="T5" fmla="*/ 289 h 299"/>
                <a:gd name="T6" fmla="*/ 108 w 301"/>
                <a:gd name="T7" fmla="*/ 299 h 299"/>
                <a:gd name="T8" fmla="*/ 119 w 301"/>
                <a:gd name="T9" fmla="*/ 225 h 299"/>
                <a:gd name="T10" fmla="*/ 125 w 301"/>
                <a:gd name="T11" fmla="*/ 206 h 299"/>
                <a:gd name="T12" fmla="*/ 65 w 301"/>
                <a:gd name="T13" fmla="*/ 185 h 299"/>
                <a:gd name="T14" fmla="*/ 42 w 301"/>
                <a:gd name="T15" fmla="*/ 203 h 299"/>
                <a:gd name="T16" fmla="*/ 97 w 301"/>
                <a:gd name="T17" fmla="*/ 278 h 299"/>
                <a:gd name="T18" fmla="*/ 76 w 301"/>
                <a:gd name="T19" fmla="*/ 257 h 299"/>
                <a:gd name="T20" fmla="*/ 55 w 301"/>
                <a:gd name="T21" fmla="*/ 257 h 299"/>
                <a:gd name="T22" fmla="*/ 33 w 301"/>
                <a:gd name="T23" fmla="*/ 278 h 299"/>
                <a:gd name="T24" fmla="*/ 97 w 301"/>
                <a:gd name="T25" fmla="*/ 225 h 299"/>
                <a:gd name="T26" fmla="*/ 296 w 301"/>
                <a:gd name="T27" fmla="*/ 206 h 299"/>
                <a:gd name="T28" fmla="*/ 229 w 301"/>
                <a:gd name="T29" fmla="*/ 163 h 299"/>
                <a:gd name="T30" fmla="*/ 173 w 301"/>
                <a:gd name="T31" fmla="*/ 218 h 299"/>
                <a:gd name="T32" fmla="*/ 183 w 301"/>
                <a:gd name="T33" fmla="*/ 289 h 299"/>
                <a:gd name="T34" fmla="*/ 279 w 301"/>
                <a:gd name="T35" fmla="*/ 299 h 299"/>
                <a:gd name="T36" fmla="*/ 289 w 301"/>
                <a:gd name="T37" fmla="*/ 225 h 299"/>
                <a:gd name="T38" fmla="*/ 296 w 301"/>
                <a:gd name="T39" fmla="*/ 206 h 299"/>
                <a:gd name="T40" fmla="*/ 259 w 301"/>
                <a:gd name="T41" fmla="*/ 203 h 299"/>
                <a:gd name="T42" fmla="*/ 236 w 301"/>
                <a:gd name="T43" fmla="*/ 185 h 299"/>
                <a:gd name="T44" fmla="*/ 247 w 301"/>
                <a:gd name="T45" fmla="*/ 278 h 299"/>
                <a:gd name="T46" fmla="*/ 236 w 301"/>
                <a:gd name="T47" fmla="*/ 246 h 299"/>
                <a:gd name="T48" fmla="*/ 225 w 301"/>
                <a:gd name="T49" fmla="*/ 278 h 299"/>
                <a:gd name="T50" fmla="*/ 204 w 301"/>
                <a:gd name="T51" fmla="*/ 225 h 299"/>
                <a:gd name="T52" fmla="*/ 268 w 301"/>
                <a:gd name="T53" fmla="*/ 278 h 299"/>
                <a:gd name="T54" fmla="*/ 204 w 301"/>
                <a:gd name="T55" fmla="*/ 65 h 299"/>
                <a:gd name="T56" fmla="*/ 211 w 301"/>
                <a:gd name="T57" fmla="*/ 46 h 299"/>
                <a:gd name="T58" fmla="*/ 144 w 301"/>
                <a:gd name="T59" fmla="*/ 3 h 299"/>
                <a:gd name="T60" fmla="*/ 87 w 301"/>
                <a:gd name="T61" fmla="*/ 58 h 299"/>
                <a:gd name="T62" fmla="*/ 97 w 301"/>
                <a:gd name="T63" fmla="*/ 129 h 299"/>
                <a:gd name="T64" fmla="*/ 193 w 301"/>
                <a:gd name="T65" fmla="*/ 139 h 299"/>
                <a:gd name="T66" fmla="*/ 151 w 301"/>
                <a:gd name="T67" fmla="*/ 25 h 299"/>
                <a:gd name="T68" fmla="*/ 128 w 301"/>
                <a:gd name="T69" fmla="*/ 43 h 299"/>
                <a:gd name="T70" fmla="*/ 183 w 301"/>
                <a:gd name="T71" fmla="*/ 118 h 299"/>
                <a:gd name="T72" fmla="*/ 161 w 301"/>
                <a:gd name="T73" fmla="*/ 97 h 299"/>
                <a:gd name="T74" fmla="*/ 140 w 301"/>
                <a:gd name="T75" fmla="*/ 97 h 299"/>
                <a:gd name="T76" fmla="*/ 119 w 301"/>
                <a:gd name="T77" fmla="*/ 118 h 299"/>
                <a:gd name="T78" fmla="*/ 183 w 301"/>
                <a:gd name="T79" fmla="*/ 65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99">
                  <a:moveTo>
                    <a:pt x="72" y="163"/>
                  </a:moveTo>
                  <a:cubicBezTo>
                    <a:pt x="68" y="160"/>
                    <a:pt x="63" y="160"/>
                    <a:pt x="59" y="163"/>
                  </a:cubicBezTo>
                  <a:cubicBezTo>
                    <a:pt x="5" y="206"/>
                    <a:pt x="5" y="206"/>
                    <a:pt x="5" y="206"/>
                  </a:cubicBezTo>
                  <a:cubicBezTo>
                    <a:pt x="2" y="209"/>
                    <a:pt x="0" y="213"/>
                    <a:pt x="2" y="218"/>
                  </a:cubicBezTo>
                  <a:cubicBezTo>
                    <a:pt x="3" y="222"/>
                    <a:pt x="7" y="225"/>
                    <a:pt x="12" y="225"/>
                  </a:cubicBezTo>
                  <a:cubicBezTo>
                    <a:pt x="12" y="289"/>
                    <a:pt x="12" y="289"/>
                    <a:pt x="12" y="289"/>
                  </a:cubicBezTo>
                  <a:cubicBezTo>
                    <a:pt x="12" y="295"/>
                    <a:pt x="17" y="299"/>
                    <a:pt x="23" y="299"/>
                  </a:cubicBezTo>
                  <a:cubicBezTo>
                    <a:pt x="108" y="299"/>
                    <a:pt x="108" y="299"/>
                    <a:pt x="108" y="299"/>
                  </a:cubicBezTo>
                  <a:cubicBezTo>
                    <a:pt x="114" y="299"/>
                    <a:pt x="119" y="295"/>
                    <a:pt x="119" y="289"/>
                  </a:cubicBezTo>
                  <a:cubicBezTo>
                    <a:pt x="119" y="225"/>
                    <a:pt x="119" y="225"/>
                    <a:pt x="119" y="225"/>
                  </a:cubicBezTo>
                  <a:cubicBezTo>
                    <a:pt x="123" y="225"/>
                    <a:pt x="127" y="222"/>
                    <a:pt x="129" y="218"/>
                  </a:cubicBezTo>
                  <a:cubicBezTo>
                    <a:pt x="130" y="213"/>
                    <a:pt x="129" y="209"/>
                    <a:pt x="125" y="206"/>
                  </a:cubicBezTo>
                  <a:lnTo>
                    <a:pt x="72" y="163"/>
                  </a:lnTo>
                  <a:close/>
                  <a:moveTo>
                    <a:pt x="65" y="185"/>
                  </a:moveTo>
                  <a:cubicBezTo>
                    <a:pt x="88" y="203"/>
                    <a:pt x="88" y="203"/>
                    <a:pt x="88" y="203"/>
                  </a:cubicBezTo>
                  <a:cubicBezTo>
                    <a:pt x="42" y="203"/>
                    <a:pt x="42" y="203"/>
                    <a:pt x="42" y="203"/>
                  </a:cubicBezTo>
                  <a:lnTo>
                    <a:pt x="65" y="185"/>
                  </a:lnTo>
                  <a:close/>
                  <a:moveTo>
                    <a:pt x="97" y="278"/>
                  </a:moveTo>
                  <a:cubicBezTo>
                    <a:pt x="76" y="278"/>
                    <a:pt x="76" y="278"/>
                    <a:pt x="76" y="278"/>
                  </a:cubicBezTo>
                  <a:cubicBezTo>
                    <a:pt x="76" y="257"/>
                    <a:pt x="76" y="257"/>
                    <a:pt x="76" y="257"/>
                  </a:cubicBezTo>
                  <a:cubicBezTo>
                    <a:pt x="76" y="251"/>
                    <a:pt x="71" y="246"/>
                    <a:pt x="65" y="246"/>
                  </a:cubicBezTo>
                  <a:cubicBezTo>
                    <a:pt x="59" y="246"/>
                    <a:pt x="55" y="251"/>
                    <a:pt x="55" y="257"/>
                  </a:cubicBezTo>
                  <a:cubicBezTo>
                    <a:pt x="55" y="278"/>
                    <a:pt x="55" y="278"/>
                    <a:pt x="55" y="278"/>
                  </a:cubicBezTo>
                  <a:cubicBezTo>
                    <a:pt x="33" y="278"/>
                    <a:pt x="33" y="278"/>
                    <a:pt x="33" y="278"/>
                  </a:cubicBezTo>
                  <a:cubicBezTo>
                    <a:pt x="33" y="225"/>
                    <a:pt x="33" y="225"/>
                    <a:pt x="33" y="225"/>
                  </a:cubicBezTo>
                  <a:cubicBezTo>
                    <a:pt x="97" y="225"/>
                    <a:pt x="97" y="225"/>
                    <a:pt x="97" y="225"/>
                  </a:cubicBezTo>
                  <a:lnTo>
                    <a:pt x="97" y="278"/>
                  </a:lnTo>
                  <a:close/>
                  <a:moveTo>
                    <a:pt x="296" y="206"/>
                  </a:moveTo>
                  <a:cubicBezTo>
                    <a:pt x="243" y="163"/>
                    <a:pt x="243" y="163"/>
                    <a:pt x="243" y="163"/>
                  </a:cubicBezTo>
                  <a:cubicBezTo>
                    <a:pt x="239" y="160"/>
                    <a:pt x="233" y="160"/>
                    <a:pt x="229" y="163"/>
                  </a:cubicBezTo>
                  <a:cubicBezTo>
                    <a:pt x="176" y="206"/>
                    <a:pt x="176" y="206"/>
                    <a:pt x="176" y="206"/>
                  </a:cubicBezTo>
                  <a:cubicBezTo>
                    <a:pt x="172" y="209"/>
                    <a:pt x="171" y="213"/>
                    <a:pt x="173" y="218"/>
                  </a:cubicBezTo>
                  <a:cubicBezTo>
                    <a:pt x="174" y="222"/>
                    <a:pt x="178" y="225"/>
                    <a:pt x="183" y="225"/>
                  </a:cubicBezTo>
                  <a:cubicBezTo>
                    <a:pt x="183" y="289"/>
                    <a:pt x="183" y="289"/>
                    <a:pt x="183" y="289"/>
                  </a:cubicBezTo>
                  <a:cubicBezTo>
                    <a:pt x="183" y="295"/>
                    <a:pt x="187" y="299"/>
                    <a:pt x="193" y="299"/>
                  </a:cubicBezTo>
                  <a:cubicBezTo>
                    <a:pt x="279" y="299"/>
                    <a:pt x="279" y="299"/>
                    <a:pt x="279" y="299"/>
                  </a:cubicBezTo>
                  <a:cubicBezTo>
                    <a:pt x="285" y="299"/>
                    <a:pt x="289" y="295"/>
                    <a:pt x="289" y="289"/>
                  </a:cubicBezTo>
                  <a:cubicBezTo>
                    <a:pt x="289" y="225"/>
                    <a:pt x="289" y="225"/>
                    <a:pt x="289" y="225"/>
                  </a:cubicBezTo>
                  <a:cubicBezTo>
                    <a:pt x="294" y="225"/>
                    <a:pt x="298" y="222"/>
                    <a:pt x="299" y="218"/>
                  </a:cubicBezTo>
                  <a:cubicBezTo>
                    <a:pt x="301" y="213"/>
                    <a:pt x="300" y="209"/>
                    <a:pt x="296" y="206"/>
                  </a:cubicBezTo>
                  <a:close/>
                  <a:moveTo>
                    <a:pt x="236" y="185"/>
                  </a:moveTo>
                  <a:cubicBezTo>
                    <a:pt x="259" y="203"/>
                    <a:pt x="259" y="203"/>
                    <a:pt x="259" y="203"/>
                  </a:cubicBezTo>
                  <a:cubicBezTo>
                    <a:pt x="213" y="203"/>
                    <a:pt x="213" y="203"/>
                    <a:pt x="213" y="203"/>
                  </a:cubicBezTo>
                  <a:lnTo>
                    <a:pt x="236" y="185"/>
                  </a:lnTo>
                  <a:close/>
                  <a:moveTo>
                    <a:pt x="268" y="278"/>
                  </a:moveTo>
                  <a:cubicBezTo>
                    <a:pt x="247" y="278"/>
                    <a:pt x="247" y="278"/>
                    <a:pt x="247" y="278"/>
                  </a:cubicBezTo>
                  <a:cubicBezTo>
                    <a:pt x="247" y="257"/>
                    <a:pt x="247" y="257"/>
                    <a:pt x="247" y="257"/>
                  </a:cubicBezTo>
                  <a:cubicBezTo>
                    <a:pt x="247" y="251"/>
                    <a:pt x="242" y="246"/>
                    <a:pt x="236" y="246"/>
                  </a:cubicBezTo>
                  <a:cubicBezTo>
                    <a:pt x="230" y="246"/>
                    <a:pt x="225" y="251"/>
                    <a:pt x="225" y="257"/>
                  </a:cubicBezTo>
                  <a:cubicBezTo>
                    <a:pt x="225" y="278"/>
                    <a:pt x="225" y="278"/>
                    <a:pt x="225" y="278"/>
                  </a:cubicBezTo>
                  <a:cubicBezTo>
                    <a:pt x="204" y="278"/>
                    <a:pt x="204" y="278"/>
                    <a:pt x="204" y="278"/>
                  </a:cubicBezTo>
                  <a:cubicBezTo>
                    <a:pt x="204" y="225"/>
                    <a:pt x="204" y="225"/>
                    <a:pt x="204" y="225"/>
                  </a:cubicBezTo>
                  <a:cubicBezTo>
                    <a:pt x="268" y="225"/>
                    <a:pt x="268" y="225"/>
                    <a:pt x="268" y="225"/>
                  </a:cubicBezTo>
                  <a:lnTo>
                    <a:pt x="268" y="278"/>
                  </a:lnTo>
                  <a:close/>
                  <a:moveTo>
                    <a:pt x="204" y="129"/>
                  </a:moveTo>
                  <a:cubicBezTo>
                    <a:pt x="204" y="65"/>
                    <a:pt x="204" y="65"/>
                    <a:pt x="204" y="65"/>
                  </a:cubicBezTo>
                  <a:cubicBezTo>
                    <a:pt x="209" y="65"/>
                    <a:pt x="213" y="62"/>
                    <a:pt x="214" y="58"/>
                  </a:cubicBezTo>
                  <a:cubicBezTo>
                    <a:pt x="216" y="53"/>
                    <a:pt x="214" y="48"/>
                    <a:pt x="211" y="46"/>
                  </a:cubicBezTo>
                  <a:cubicBezTo>
                    <a:pt x="157" y="3"/>
                    <a:pt x="157" y="3"/>
                    <a:pt x="157" y="3"/>
                  </a:cubicBezTo>
                  <a:cubicBezTo>
                    <a:pt x="153" y="0"/>
                    <a:pt x="148" y="0"/>
                    <a:pt x="144" y="3"/>
                  </a:cubicBezTo>
                  <a:cubicBezTo>
                    <a:pt x="91" y="46"/>
                    <a:pt x="91" y="46"/>
                    <a:pt x="91" y="46"/>
                  </a:cubicBezTo>
                  <a:cubicBezTo>
                    <a:pt x="87" y="48"/>
                    <a:pt x="86" y="53"/>
                    <a:pt x="87" y="58"/>
                  </a:cubicBezTo>
                  <a:cubicBezTo>
                    <a:pt x="89" y="62"/>
                    <a:pt x="93" y="65"/>
                    <a:pt x="97" y="65"/>
                  </a:cubicBezTo>
                  <a:cubicBezTo>
                    <a:pt x="97" y="129"/>
                    <a:pt x="97" y="129"/>
                    <a:pt x="97" y="129"/>
                  </a:cubicBezTo>
                  <a:cubicBezTo>
                    <a:pt x="97" y="135"/>
                    <a:pt x="102" y="139"/>
                    <a:pt x="108" y="139"/>
                  </a:cubicBezTo>
                  <a:cubicBezTo>
                    <a:pt x="193" y="139"/>
                    <a:pt x="193" y="139"/>
                    <a:pt x="193" y="139"/>
                  </a:cubicBezTo>
                  <a:cubicBezTo>
                    <a:pt x="199" y="139"/>
                    <a:pt x="204" y="135"/>
                    <a:pt x="204" y="129"/>
                  </a:cubicBezTo>
                  <a:close/>
                  <a:moveTo>
                    <a:pt x="151" y="25"/>
                  </a:moveTo>
                  <a:cubicBezTo>
                    <a:pt x="174" y="43"/>
                    <a:pt x="174" y="43"/>
                    <a:pt x="174" y="43"/>
                  </a:cubicBezTo>
                  <a:cubicBezTo>
                    <a:pt x="128" y="43"/>
                    <a:pt x="128" y="43"/>
                    <a:pt x="128" y="43"/>
                  </a:cubicBezTo>
                  <a:lnTo>
                    <a:pt x="151" y="25"/>
                  </a:lnTo>
                  <a:close/>
                  <a:moveTo>
                    <a:pt x="183" y="118"/>
                  </a:moveTo>
                  <a:cubicBezTo>
                    <a:pt x="161" y="118"/>
                    <a:pt x="161" y="118"/>
                    <a:pt x="161" y="118"/>
                  </a:cubicBezTo>
                  <a:cubicBezTo>
                    <a:pt x="161" y="97"/>
                    <a:pt x="161" y="97"/>
                    <a:pt x="161" y="97"/>
                  </a:cubicBezTo>
                  <a:cubicBezTo>
                    <a:pt x="161" y="91"/>
                    <a:pt x="157" y="86"/>
                    <a:pt x="151" y="86"/>
                  </a:cubicBezTo>
                  <a:cubicBezTo>
                    <a:pt x="145" y="86"/>
                    <a:pt x="140" y="91"/>
                    <a:pt x="140" y="97"/>
                  </a:cubicBezTo>
                  <a:cubicBezTo>
                    <a:pt x="140" y="118"/>
                    <a:pt x="140" y="118"/>
                    <a:pt x="140" y="118"/>
                  </a:cubicBezTo>
                  <a:cubicBezTo>
                    <a:pt x="119" y="118"/>
                    <a:pt x="119" y="118"/>
                    <a:pt x="119" y="118"/>
                  </a:cubicBezTo>
                  <a:cubicBezTo>
                    <a:pt x="119" y="65"/>
                    <a:pt x="119" y="65"/>
                    <a:pt x="119" y="65"/>
                  </a:cubicBezTo>
                  <a:cubicBezTo>
                    <a:pt x="183" y="65"/>
                    <a:pt x="183" y="65"/>
                    <a:pt x="183" y="65"/>
                  </a:cubicBezTo>
                  <a:lnTo>
                    <a:pt x="183" y="1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2" name="Group 29"/>
          <p:cNvGrpSpPr>
            <a:grpSpLocks noChangeAspect="1"/>
          </p:cNvGrpSpPr>
          <p:nvPr/>
        </p:nvGrpSpPr>
        <p:grpSpPr bwMode="auto">
          <a:xfrm>
            <a:off x="4220046" y="2372920"/>
            <a:ext cx="371475" cy="371475"/>
            <a:chOff x="2077" y="567"/>
            <a:chExt cx="234" cy="234"/>
          </a:xfrm>
          <a:solidFill>
            <a:schemeClr val="bg1"/>
          </a:solidFill>
        </p:grpSpPr>
        <p:sp>
          <p:nvSpPr>
            <p:cNvPr id="113" name="Freeform 30"/>
            <p:cNvSpPr>
              <a:spLocks noEditPoints="1"/>
            </p:cNvSpPr>
            <p:nvPr/>
          </p:nvSpPr>
          <p:spPr bwMode="auto">
            <a:xfrm>
              <a:off x="2077" y="567"/>
              <a:ext cx="234" cy="234"/>
            </a:xfrm>
            <a:custGeom>
              <a:avLst/>
              <a:gdLst>
                <a:gd name="T0" fmla="*/ 97 w 194"/>
                <a:gd name="T1" fmla="*/ 8 h 194"/>
                <a:gd name="T2" fmla="*/ 186 w 194"/>
                <a:gd name="T3" fmla="*/ 97 h 194"/>
                <a:gd name="T4" fmla="*/ 97 w 194"/>
                <a:gd name="T5" fmla="*/ 186 h 194"/>
                <a:gd name="T6" fmla="*/ 8 w 194"/>
                <a:gd name="T7" fmla="*/ 97 h 194"/>
                <a:gd name="T8" fmla="*/ 97 w 194"/>
                <a:gd name="T9" fmla="*/ 8 h 194"/>
                <a:gd name="T10" fmla="*/ 97 w 194"/>
                <a:gd name="T11" fmla="*/ 0 h 194"/>
                <a:gd name="T12" fmla="*/ 0 w 194"/>
                <a:gd name="T13" fmla="*/ 97 h 194"/>
                <a:gd name="T14" fmla="*/ 97 w 194"/>
                <a:gd name="T15" fmla="*/ 194 h 194"/>
                <a:gd name="T16" fmla="*/ 194 w 194"/>
                <a:gd name="T17" fmla="*/ 97 h 194"/>
                <a:gd name="T18" fmla="*/ 97 w 194"/>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94">
                  <a:moveTo>
                    <a:pt x="97" y="8"/>
                  </a:moveTo>
                  <a:cubicBezTo>
                    <a:pt x="146" y="8"/>
                    <a:pt x="186" y="48"/>
                    <a:pt x="186" y="97"/>
                  </a:cubicBezTo>
                  <a:cubicBezTo>
                    <a:pt x="186" y="146"/>
                    <a:pt x="146" y="186"/>
                    <a:pt x="97" y="186"/>
                  </a:cubicBezTo>
                  <a:cubicBezTo>
                    <a:pt x="48" y="186"/>
                    <a:pt x="8" y="146"/>
                    <a:pt x="8" y="97"/>
                  </a:cubicBezTo>
                  <a:cubicBezTo>
                    <a:pt x="8" y="48"/>
                    <a:pt x="48" y="8"/>
                    <a:pt x="97" y="8"/>
                  </a:cubicBezTo>
                  <a:moveTo>
                    <a:pt x="97" y="0"/>
                  </a:moveTo>
                  <a:cubicBezTo>
                    <a:pt x="43" y="0"/>
                    <a:pt x="0" y="43"/>
                    <a:pt x="0" y="97"/>
                  </a:cubicBezTo>
                  <a:cubicBezTo>
                    <a:pt x="0" y="151"/>
                    <a:pt x="43" y="194"/>
                    <a:pt x="97" y="194"/>
                  </a:cubicBezTo>
                  <a:cubicBezTo>
                    <a:pt x="151" y="194"/>
                    <a:pt x="194" y="151"/>
                    <a:pt x="194" y="97"/>
                  </a:cubicBezTo>
                  <a:cubicBezTo>
                    <a:pt x="194" y="43"/>
                    <a:pt x="151" y="0"/>
                    <a:pt x="9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31"/>
            <p:cNvSpPr>
              <a:spLocks noEditPoints="1"/>
            </p:cNvSpPr>
            <p:nvPr/>
          </p:nvSpPr>
          <p:spPr bwMode="auto">
            <a:xfrm>
              <a:off x="2118" y="608"/>
              <a:ext cx="152" cy="129"/>
            </a:xfrm>
            <a:custGeom>
              <a:avLst/>
              <a:gdLst>
                <a:gd name="T0" fmla="*/ 91 w 126"/>
                <a:gd name="T1" fmla="*/ 19 h 107"/>
                <a:gd name="T2" fmla="*/ 87 w 126"/>
                <a:gd name="T3" fmla="*/ 0 h 107"/>
                <a:gd name="T4" fmla="*/ 35 w 126"/>
                <a:gd name="T5" fmla="*/ 6 h 107"/>
                <a:gd name="T6" fmla="*/ 6 w 126"/>
                <a:gd name="T7" fmla="*/ 19 h 107"/>
                <a:gd name="T8" fmla="*/ 0 w 126"/>
                <a:gd name="T9" fmla="*/ 104 h 107"/>
                <a:gd name="T10" fmla="*/ 120 w 126"/>
                <a:gd name="T11" fmla="*/ 107 h 107"/>
                <a:gd name="T12" fmla="*/ 126 w 126"/>
                <a:gd name="T13" fmla="*/ 22 h 107"/>
                <a:gd name="T14" fmla="*/ 35 w 126"/>
                <a:gd name="T15" fmla="*/ 100 h 107"/>
                <a:gd name="T16" fmla="*/ 26 w 126"/>
                <a:gd name="T17" fmla="*/ 87 h 107"/>
                <a:gd name="T18" fmla="*/ 19 w 126"/>
                <a:gd name="T19" fmla="*/ 87 h 107"/>
                <a:gd name="T20" fmla="*/ 11 w 126"/>
                <a:gd name="T21" fmla="*/ 100 h 107"/>
                <a:gd name="T22" fmla="*/ 35 w 126"/>
                <a:gd name="T23" fmla="*/ 26 h 107"/>
                <a:gd name="T24" fmla="*/ 83 w 126"/>
                <a:gd name="T25" fmla="*/ 100 h 107"/>
                <a:gd name="T26" fmla="*/ 58 w 126"/>
                <a:gd name="T27" fmla="*/ 87 h 107"/>
                <a:gd name="T28" fmla="*/ 52 w 126"/>
                <a:gd name="T29" fmla="*/ 87 h 107"/>
                <a:gd name="T30" fmla="*/ 43 w 126"/>
                <a:gd name="T31" fmla="*/ 100 h 107"/>
                <a:gd name="T32" fmla="*/ 83 w 126"/>
                <a:gd name="T33" fmla="*/ 11 h 107"/>
                <a:gd name="T34" fmla="*/ 115 w 126"/>
                <a:gd name="T35" fmla="*/ 100 h 107"/>
                <a:gd name="T36" fmla="*/ 107 w 126"/>
                <a:gd name="T37" fmla="*/ 87 h 107"/>
                <a:gd name="T38" fmla="*/ 100 w 126"/>
                <a:gd name="T39" fmla="*/ 87 h 107"/>
                <a:gd name="T40" fmla="*/ 91 w 126"/>
                <a:gd name="T41" fmla="*/ 100 h 107"/>
                <a:gd name="T42" fmla="*/ 115 w 126"/>
                <a:gd name="T43" fmla="*/ 26 h 107"/>
                <a:gd name="T44" fmla="*/ 18 w 126"/>
                <a:gd name="T45" fmla="*/ 71 h 107"/>
                <a:gd name="T46" fmla="*/ 26 w 126"/>
                <a:gd name="T47" fmla="*/ 71 h 107"/>
                <a:gd name="T48" fmla="*/ 18 w 126"/>
                <a:gd name="T49" fmla="*/ 71 h 107"/>
                <a:gd name="T50" fmla="*/ 22 w 126"/>
                <a:gd name="T51" fmla="*/ 51 h 107"/>
                <a:gd name="T52" fmla="*/ 22 w 126"/>
                <a:gd name="T53" fmla="*/ 59 h 107"/>
                <a:gd name="T54" fmla="*/ 18 w 126"/>
                <a:gd name="T55" fmla="*/ 39 h 107"/>
                <a:gd name="T56" fmla="*/ 26 w 126"/>
                <a:gd name="T57" fmla="*/ 39 h 107"/>
                <a:gd name="T58" fmla="*/ 18 w 126"/>
                <a:gd name="T59" fmla="*/ 39 h 107"/>
                <a:gd name="T60" fmla="*/ 55 w 126"/>
                <a:gd name="T61" fmla="*/ 67 h 107"/>
                <a:gd name="T62" fmla="*/ 55 w 126"/>
                <a:gd name="T63" fmla="*/ 75 h 107"/>
                <a:gd name="T64" fmla="*/ 51 w 126"/>
                <a:gd name="T65" fmla="*/ 55 h 107"/>
                <a:gd name="T66" fmla="*/ 59 w 126"/>
                <a:gd name="T67" fmla="*/ 55 h 107"/>
                <a:gd name="T68" fmla="*/ 51 w 126"/>
                <a:gd name="T69" fmla="*/ 55 h 107"/>
                <a:gd name="T70" fmla="*/ 55 w 126"/>
                <a:gd name="T71" fmla="*/ 35 h 107"/>
                <a:gd name="T72" fmla="*/ 55 w 126"/>
                <a:gd name="T73" fmla="*/ 43 h 107"/>
                <a:gd name="T74" fmla="*/ 67 w 126"/>
                <a:gd name="T75" fmla="*/ 71 h 107"/>
                <a:gd name="T76" fmla="*/ 75 w 126"/>
                <a:gd name="T77" fmla="*/ 71 h 107"/>
                <a:gd name="T78" fmla="*/ 67 w 126"/>
                <a:gd name="T79" fmla="*/ 71 h 107"/>
                <a:gd name="T80" fmla="*/ 71 w 126"/>
                <a:gd name="T81" fmla="*/ 51 h 107"/>
                <a:gd name="T82" fmla="*/ 71 w 126"/>
                <a:gd name="T83" fmla="*/ 59 h 107"/>
                <a:gd name="T84" fmla="*/ 67 w 126"/>
                <a:gd name="T85" fmla="*/ 39 h 107"/>
                <a:gd name="T86" fmla="*/ 75 w 126"/>
                <a:gd name="T87" fmla="*/ 39 h 107"/>
                <a:gd name="T88" fmla="*/ 67 w 126"/>
                <a:gd name="T89" fmla="*/ 39 h 107"/>
                <a:gd name="T90" fmla="*/ 104 w 126"/>
                <a:gd name="T91" fmla="*/ 67 h 107"/>
                <a:gd name="T92" fmla="*/ 104 w 126"/>
                <a:gd name="T93" fmla="*/ 75 h 107"/>
                <a:gd name="T94" fmla="*/ 100 w 126"/>
                <a:gd name="T95" fmla="*/ 55 h 107"/>
                <a:gd name="T96" fmla="*/ 108 w 126"/>
                <a:gd name="T97" fmla="*/ 55 h 107"/>
                <a:gd name="T98" fmla="*/ 100 w 126"/>
                <a:gd name="T99" fmla="*/ 55 h 107"/>
                <a:gd name="T100" fmla="*/ 104 w 126"/>
                <a:gd name="T101" fmla="*/ 35 h 107"/>
                <a:gd name="T102" fmla="*/ 104 w 126"/>
                <a:gd name="T103" fmla="*/ 43 h 107"/>
                <a:gd name="T104" fmla="*/ 51 w 126"/>
                <a:gd name="T105" fmla="*/ 22 h 107"/>
                <a:gd name="T106" fmla="*/ 59 w 126"/>
                <a:gd name="T107" fmla="*/ 22 h 107"/>
                <a:gd name="T108" fmla="*/ 51 w 126"/>
                <a:gd name="T109" fmla="*/ 22 h 107"/>
                <a:gd name="T110" fmla="*/ 71 w 126"/>
                <a:gd name="T111" fmla="*/ 18 h 107"/>
                <a:gd name="T112" fmla="*/ 71 w 126"/>
                <a:gd name="T11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07">
                  <a:moveTo>
                    <a:pt x="120" y="19"/>
                  </a:moveTo>
                  <a:cubicBezTo>
                    <a:pt x="91" y="19"/>
                    <a:pt x="91" y="19"/>
                    <a:pt x="91" y="19"/>
                  </a:cubicBezTo>
                  <a:cubicBezTo>
                    <a:pt x="91" y="6"/>
                    <a:pt x="91" y="6"/>
                    <a:pt x="91" y="6"/>
                  </a:cubicBezTo>
                  <a:cubicBezTo>
                    <a:pt x="91" y="4"/>
                    <a:pt x="90" y="0"/>
                    <a:pt x="87" y="0"/>
                  </a:cubicBezTo>
                  <a:cubicBezTo>
                    <a:pt x="39" y="0"/>
                    <a:pt x="39" y="0"/>
                    <a:pt x="39" y="0"/>
                  </a:cubicBezTo>
                  <a:cubicBezTo>
                    <a:pt x="36" y="0"/>
                    <a:pt x="35" y="4"/>
                    <a:pt x="35" y="6"/>
                  </a:cubicBezTo>
                  <a:cubicBezTo>
                    <a:pt x="35" y="19"/>
                    <a:pt x="35" y="19"/>
                    <a:pt x="35" y="19"/>
                  </a:cubicBezTo>
                  <a:cubicBezTo>
                    <a:pt x="6" y="19"/>
                    <a:pt x="6" y="19"/>
                    <a:pt x="6" y="19"/>
                  </a:cubicBezTo>
                  <a:cubicBezTo>
                    <a:pt x="4" y="19"/>
                    <a:pt x="0" y="20"/>
                    <a:pt x="0" y="22"/>
                  </a:cubicBezTo>
                  <a:cubicBezTo>
                    <a:pt x="0" y="104"/>
                    <a:pt x="0" y="104"/>
                    <a:pt x="0" y="104"/>
                  </a:cubicBezTo>
                  <a:cubicBezTo>
                    <a:pt x="0" y="106"/>
                    <a:pt x="4" y="107"/>
                    <a:pt x="6" y="107"/>
                  </a:cubicBezTo>
                  <a:cubicBezTo>
                    <a:pt x="120" y="107"/>
                    <a:pt x="120" y="107"/>
                    <a:pt x="120" y="107"/>
                  </a:cubicBezTo>
                  <a:cubicBezTo>
                    <a:pt x="122" y="107"/>
                    <a:pt x="126" y="106"/>
                    <a:pt x="126" y="104"/>
                  </a:cubicBezTo>
                  <a:cubicBezTo>
                    <a:pt x="126" y="22"/>
                    <a:pt x="126" y="22"/>
                    <a:pt x="126" y="22"/>
                  </a:cubicBezTo>
                  <a:cubicBezTo>
                    <a:pt x="126" y="20"/>
                    <a:pt x="122" y="19"/>
                    <a:pt x="120" y="19"/>
                  </a:cubicBezTo>
                  <a:close/>
                  <a:moveTo>
                    <a:pt x="35" y="100"/>
                  </a:moveTo>
                  <a:cubicBezTo>
                    <a:pt x="26" y="100"/>
                    <a:pt x="26" y="100"/>
                    <a:pt x="26" y="100"/>
                  </a:cubicBezTo>
                  <a:cubicBezTo>
                    <a:pt x="26" y="87"/>
                    <a:pt x="26" y="87"/>
                    <a:pt x="26" y="87"/>
                  </a:cubicBezTo>
                  <a:cubicBezTo>
                    <a:pt x="26" y="85"/>
                    <a:pt x="25" y="83"/>
                    <a:pt x="22" y="83"/>
                  </a:cubicBezTo>
                  <a:cubicBezTo>
                    <a:pt x="20" y="83"/>
                    <a:pt x="19" y="85"/>
                    <a:pt x="19" y="87"/>
                  </a:cubicBezTo>
                  <a:cubicBezTo>
                    <a:pt x="19" y="100"/>
                    <a:pt x="19" y="100"/>
                    <a:pt x="19" y="100"/>
                  </a:cubicBezTo>
                  <a:cubicBezTo>
                    <a:pt x="11" y="100"/>
                    <a:pt x="11" y="100"/>
                    <a:pt x="11" y="100"/>
                  </a:cubicBezTo>
                  <a:cubicBezTo>
                    <a:pt x="11" y="26"/>
                    <a:pt x="11" y="26"/>
                    <a:pt x="11" y="26"/>
                  </a:cubicBezTo>
                  <a:cubicBezTo>
                    <a:pt x="35" y="26"/>
                    <a:pt x="35" y="26"/>
                    <a:pt x="35" y="26"/>
                  </a:cubicBezTo>
                  <a:lnTo>
                    <a:pt x="35" y="100"/>
                  </a:lnTo>
                  <a:close/>
                  <a:moveTo>
                    <a:pt x="83" y="100"/>
                  </a:moveTo>
                  <a:cubicBezTo>
                    <a:pt x="58" y="100"/>
                    <a:pt x="58" y="100"/>
                    <a:pt x="58" y="100"/>
                  </a:cubicBezTo>
                  <a:cubicBezTo>
                    <a:pt x="58" y="87"/>
                    <a:pt x="58" y="87"/>
                    <a:pt x="58" y="87"/>
                  </a:cubicBezTo>
                  <a:cubicBezTo>
                    <a:pt x="58" y="85"/>
                    <a:pt x="57" y="83"/>
                    <a:pt x="55" y="83"/>
                  </a:cubicBezTo>
                  <a:cubicBezTo>
                    <a:pt x="53" y="83"/>
                    <a:pt x="52" y="85"/>
                    <a:pt x="52" y="87"/>
                  </a:cubicBezTo>
                  <a:cubicBezTo>
                    <a:pt x="52" y="100"/>
                    <a:pt x="52" y="100"/>
                    <a:pt x="52" y="100"/>
                  </a:cubicBezTo>
                  <a:cubicBezTo>
                    <a:pt x="43" y="100"/>
                    <a:pt x="43" y="100"/>
                    <a:pt x="43" y="100"/>
                  </a:cubicBezTo>
                  <a:cubicBezTo>
                    <a:pt x="43" y="11"/>
                    <a:pt x="43" y="11"/>
                    <a:pt x="43" y="11"/>
                  </a:cubicBezTo>
                  <a:cubicBezTo>
                    <a:pt x="83" y="11"/>
                    <a:pt x="83" y="11"/>
                    <a:pt x="83" y="11"/>
                  </a:cubicBezTo>
                  <a:lnTo>
                    <a:pt x="83" y="100"/>
                  </a:lnTo>
                  <a:close/>
                  <a:moveTo>
                    <a:pt x="115" y="100"/>
                  </a:moveTo>
                  <a:cubicBezTo>
                    <a:pt x="107" y="100"/>
                    <a:pt x="107" y="100"/>
                    <a:pt x="107" y="100"/>
                  </a:cubicBezTo>
                  <a:cubicBezTo>
                    <a:pt x="107" y="87"/>
                    <a:pt x="107" y="87"/>
                    <a:pt x="107" y="87"/>
                  </a:cubicBezTo>
                  <a:cubicBezTo>
                    <a:pt x="107" y="85"/>
                    <a:pt x="106" y="83"/>
                    <a:pt x="104" y="83"/>
                  </a:cubicBezTo>
                  <a:cubicBezTo>
                    <a:pt x="101" y="83"/>
                    <a:pt x="100" y="85"/>
                    <a:pt x="100" y="87"/>
                  </a:cubicBezTo>
                  <a:cubicBezTo>
                    <a:pt x="100" y="100"/>
                    <a:pt x="100" y="100"/>
                    <a:pt x="100" y="100"/>
                  </a:cubicBezTo>
                  <a:cubicBezTo>
                    <a:pt x="91" y="100"/>
                    <a:pt x="91" y="100"/>
                    <a:pt x="91" y="100"/>
                  </a:cubicBezTo>
                  <a:cubicBezTo>
                    <a:pt x="91" y="26"/>
                    <a:pt x="91" y="26"/>
                    <a:pt x="91" y="26"/>
                  </a:cubicBezTo>
                  <a:cubicBezTo>
                    <a:pt x="115" y="26"/>
                    <a:pt x="115" y="26"/>
                    <a:pt x="115" y="26"/>
                  </a:cubicBezTo>
                  <a:lnTo>
                    <a:pt x="115" y="100"/>
                  </a:lnTo>
                  <a:close/>
                  <a:moveTo>
                    <a:pt x="18" y="71"/>
                  </a:moveTo>
                  <a:cubicBezTo>
                    <a:pt x="18" y="69"/>
                    <a:pt x="20" y="67"/>
                    <a:pt x="22" y="67"/>
                  </a:cubicBezTo>
                  <a:cubicBezTo>
                    <a:pt x="25" y="67"/>
                    <a:pt x="26" y="69"/>
                    <a:pt x="26" y="71"/>
                  </a:cubicBezTo>
                  <a:cubicBezTo>
                    <a:pt x="26" y="73"/>
                    <a:pt x="25" y="75"/>
                    <a:pt x="22" y="75"/>
                  </a:cubicBezTo>
                  <a:cubicBezTo>
                    <a:pt x="20" y="75"/>
                    <a:pt x="18" y="73"/>
                    <a:pt x="18" y="71"/>
                  </a:cubicBezTo>
                  <a:close/>
                  <a:moveTo>
                    <a:pt x="18" y="55"/>
                  </a:moveTo>
                  <a:cubicBezTo>
                    <a:pt x="18" y="53"/>
                    <a:pt x="20" y="51"/>
                    <a:pt x="22" y="51"/>
                  </a:cubicBezTo>
                  <a:cubicBezTo>
                    <a:pt x="25" y="51"/>
                    <a:pt x="26" y="53"/>
                    <a:pt x="26" y="55"/>
                  </a:cubicBezTo>
                  <a:cubicBezTo>
                    <a:pt x="26" y="57"/>
                    <a:pt x="25" y="59"/>
                    <a:pt x="22" y="59"/>
                  </a:cubicBezTo>
                  <a:cubicBezTo>
                    <a:pt x="20" y="59"/>
                    <a:pt x="18" y="57"/>
                    <a:pt x="18" y="55"/>
                  </a:cubicBezTo>
                  <a:close/>
                  <a:moveTo>
                    <a:pt x="18" y="39"/>
                  </a:moveTo>
                  <a:cubicBezTo>
                    <a:pt x="18" y="36"/>
                    <a:pt x="20" y="35"/>
                    <a:pt x="22" y="35"/>
                  </a:cubicBezTo>
                  <a:cubicBezTo>
                    <a:pt x="25" y="35"/>
                    <a:pt x="26" y="36"/>
                    <a:pt x="26" y="39"/>
                  </a:cubicBezTo>
                  <a:cubicBezTo>
                    <a:pt x="26" y="41"/>
                    <a:pt x="25" y="43"/>
                    <a:pt x="22" y="43"/>
                  </a:cubicBezTo>
                  <a:cubicBezTo>
                    <a:pt x="20" y="43"/>
                    <a:pt x="18" y="41"/>
                    <a:pt x="18" y="39"/>
                  </a:cubicBezTo>
                  <a:close/>
                  <a:moveTo>
                    <a:pt x="51" y="71"/>
                  </a:moveTo>
                  <a:cubicBezTo>
                    <a:pt x="51" y="69"/>
                    <a:pt x="53" y="67"/>
                    <a:pt x="55" y="67"/>
                  </a:cubicBezTo>
                  <a:cubicBezTo>
                    <a:pt x="57" y="67"/>
                    <a:pt x="59" y="69"/>
                    <a:pt x="59" y="71"/>
                  </a:cubicBezTo>
                  <a:cubicBezTo>
                    <a:pt x="59" y="73"/>
                    <a:pt x="57" y="75"/>
                    <a:pt x="55" y="75"/>
                  </a:cubicBezTo>
                  <a:cubicBezTo>
                    <a:pt x="53" y="75"/>
                    <a:pt x="51" y="73"/>
                    <a:pt x="51" y="71"/>
                  </a:cubicBezTo>
                  <a:close/>
                  <a:moveTo>
                    <a:pt x="51" y="55"/>
                  </a:moveTo>
                  <a:cubicBezTo>
                    <a:pt x="51" y="53"/>
                    <a:pt x="53" y="51"/>
                    <a:pt x="55" y="51"/>
                  </a:cubicBezTo>
                  <a:cubicBezTo>
                    <a:pt x="57" y="51"/>
                    <a:pt x="59" y="53"/>
                    <a:pt x="59" y="55"/>
                  </a:cubicBezTo>
                  <a:cubicBezTo>
                    <a:pt x="59" y="57"/>
                    <a:pt x="57" y="59"/>
                    <a:pt x="55" y="59"/>
                  </a:cubicBezTo>
                  <a:cubicBezTo>
                    <a:pt x="53" y="59"/>
                    <a:pt x="51" y="57"/>
                    <a:pt x="51" y="55"/>
                  </a:cubicBezTo>
                  <a:close/>
                  <a:moveTo>
                    <a:pt x="51" y="39"/>
                  </a:moveTo>
                  <a:cubicBezTo>
                    <a:pt x="51" y="36"/>
                    <a:pt x="53" y="35"/>
                    <a:pt x="55" y="35"/>
                  </a:cubicBezTo>
                  <a:cubicBezTo>
                    <a:pt x="57" y="35"/>
                    <a:pt x="59" y="36"/>
                    <a:pt x="59" y="39"/>
                  </a:cubicBezTo>
                  <a:cubicBezTo>
                    <a:pt x="59" y="41"/>
                    <a:pt x="57" y="43"/>
                    <a:pt x="55" y="43"/>
                  </a:cubicBezTo>
                  <a:cubicBezTo>
                    <a:pt x="53" y="43"/>
                    <a:pt x="51" y="41"/>
                    <a:pt x="51" y="39"/>
                  </a:cubicBezTo>
                  <a:close/>
                  <a:moveTo>
                    <a:pt x="67" y="71"/>
                  </a:moveTo>
                  <a:cubicBezTo>
                    <a:pt x="67" y="69"/>
                    <a:pt x="69" y="67"/>
                    <a:pt x="71" y="67"/>
                  </a:cubicBezTo>
                  <a:cubicBezTo>
                    <a:pt x="73" y="67"/>
                    <a:pt x="75" y="69"/>
                    <a:pt x="75" y="71"/>
                  </a:cubicBezTo>
                  <a:cubicBezTo>
                    <a:pt x="75" y="73"/>
                    <a:pt x="73" y="75"/>
                    <a:pt x="71" y="75"/>
                  </a:cubicBezTo>
                  <a:cubicBezTo>
                    <a:pt x="69" y="75"/>
                    <a:pt x="67" y="73"/>
                    <a:pt x="67" y="71"/>
                  </a:cubicBezTo>
                  <a:close/>
                  <a:moveTo>
                    <a:pt x="67" y="55"/>
                  </a:moveTo>
                  <a:cubicBezTo>
                    <a:pt x="67" y="53"/>
                    <a:pt x="69" y="51"/>
                    <a:pt x="71" y="51"/>
                  </a:cubicBezTo>
                  <a:cubicBezTo>
                    <a:pt x="73" y="51"/>
                    <a:pt x="75" y="53"/>
                    <a:pt x="75" y="55"/>
                  </a:cubicBezTo>
                  <a:cubicBezTo>
                    <a:pt x="75" y="57"/>
                    <a:pt x="73" y="59"/>
                    <a:pt x="71" y="59"/>
                  </a:cubicBezTo>
                  <a:cubicBezTo>
                    <a:pt x="69" y="59"/>
                    <a:pt x="67" y="57"/>
                    <a:pt x="67" y="55"/>
                  </a:cubicBezTo>
                  <a:close/>
                  <a:moveTo>
                    <a:pt x="67" y="39"/>
                  </a:moveTo>
                  <a:cubicBezTo>
                    <a:pt x="67" y="36"/>
                    <a:pt x="69" y="35"/>
                    <a:pt x="71" y="35"/>
                  </a:cubicBezTo>
                  <a:cubicBezTo>
                    <a:pt x="73" y="35"/>
                    <a:pt x="75" y="36"/>
                    <a:pt x="75" y="39"/>
                  </a:cubicBezTo>
                  <a:cubicBezTo>
                    <a:pt x="75" y="41"/>
                    <a:pt x="73" y="43"/>
                    <a:pt x="71" y="43"/>
                  </a:cubicBezTo>
                  <a:cubicBezTo>
                    <a:pt x="69" y="43"/>
                    <a:pt x="67" y="41"/>
                    <a:pt x="67" y="39"/>
                  </a:cubicBezTo>
                  <a:close/>
                  <a:moveTo>
                    <a:pt x="100" y="71"/>
                  </a:moveTo>
                  <a:cubicBezTo>
                    <a:pt x="100" y="69"/>
                    <a:pt x="101" y="67"/>
                    <a:pt x="104" y="67"/>
                  </a:cubicBezTo>
                  <a:cubicBezTo>
                    <a:pt x="106" y="67"/>
                    <a:pt x="108" y="69"/>
                    <a:pt x="108" y="71"/>
                  </a:cubicBezTo>
                  <a:cubicBezTo>
                    <a:pt x="108" y="73"/>
                    <a:pt x="106" y="75"/>
                    <a:pt x="104" y="75"/>
                  </a:cubicBezTo>
                  <a:cubicBezTo>
                    <a:pt x="101" y="75"/>
                    <a:pt x="100" y="73"/>
                    <a:pt x="100" y="71"/>
                  </a:cubicBezTo>
                  <a:close/>
                  <a:moveTo>
                    <a:pt x="100" y="55"/>
                  </a:moveTo>
                  <a:cubicBezTo>
                    <a:pt x="100" y="53"/>
                    <a:pt x="101" y="51"/>
                    <a:pt x="104" y="51"/>
                  </a:cubicBezTo>
                  <a:cubicBezTo>
                    <a:pt x="106" y="51"/>
                    <a:pt x="108" y="53"/>
                    <a:pt x="108" y="55"/>
                  </a:cubicBezTo>
                  <a:cubicBezTo>
                    <a:pt x="108" y="57"/>
                    <a:pt x="106" y="59"/>
                    <a:pt x="104" y="59"/>
                  </a:cubicBezTo>
                  <a:cubicBezTo>
                    <a:pt x="101" y="59"/>
                    <a:pt x="100" y="57"/>
                    <a:pt x="100" y="55"/>
                  </a:cubicBezTo>
                  <a:close/>
                  <a:moveTo>
                    <a:pt x="100" y="39"/>
                  </a:moveTo>
                  <a:cubicBezTo>
                    <a:pt x="100" y="36"/>
                    <a:pt x="101" y="35"/>
                    <a:pt x="104" y="35"/>
                  </a:cubicBezTo>
                  <a:cubicBezTo>
                    <a:pt x="106" y="35"/>
                    <a:pt x="108" y="36"/>
                    <a:pt x="108" y="39"/>
                  </a:cubicBezTo>
                  <a:cubicBezTo>
                    <a:pt x="108" y="41"/>
                    <a:pt x="106" y="43"/>
                    <a:pt x="104" y="43"/>
                  </a:cubicBezTo>
                  <a:cubicBezTo>
                    <a:pt x="101" y="43"/>
                    <a:pt x="100" y="41"/>
                    <a:pt x="100" y="39"/>
                  </a:cubicBezTo>
                  <a:close/>
                  <a:moveTo>
                    <a:pt x="51" y="22"/>
                  </a:moveTo>
                  <a:cubicBezTo>
                    <a:pt x="51" y="20"/>
                    <a:pt x="53" y="18"/>
                    <a:pt x="55" y="18"/>
                  </a:cubicBezTo>
                  <a:cubicBezTo>
                    <a:pt x="57" y="18"/>
                    <a:pt x="59" y="20"/>
                    <a:pt x="59" y="22"/>
                  </a:cubicBezTo>
                  <a:cubicBezTo>
                    <a:pt x="59" y="25"/>
                    <a:pt x="57" y="26"/>
                    <a:pt x="55" y="26"/>
                  </a:cubicBezTo>
                  <a:cubicBezTo>
                    <a:pt x="53" y="26"/>
                    <a:pt x="51" y="25"/>
                    <a:pt x="51" y="22"/>
                  </a:cubicBezTo>
                  <a:close/>
                  <a:moveTo>
                    <a:pt x="67" y="22"/>
                  </a:moveTo>
                  <a:cubicBezTo>
                    <a:pt x="67" y="20"/>
                    <a:pt x="69" y="18"/>
                    <a:pt x="71" y="18"/>
                  </a:cubicBezTo>
                  <a:cubicBezTo>
                    <a:pt x="73" y="18"/>
                    <a:pt x="75" y="20"/>
                    <a:pt x="75" y="22"/>
                  </a:cubicBezTo>
                  <a:cubicBezTo>
                    <a:pt x="75" y="25"/>
                    <a:pt x="73" y="26"/>
                    <a:pt x="71" y="26"/>
                  </a:cubicBezTo>
                  <a:cubicBezTo>
                    <a:pt x="69" y="26"/>
                    <a:pt x="67" y="25"/>
                    <a:pt x="67"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114"/>
          <p:cNvGrpSpPr>
            <a:grpSpLocks noChangeAspect="1"/>
          </p:cNvGrpSpPr>
          <p:nvPr/>
        </p:nvGrpSpPr>
        <p:grpSpPr bwMode="auto">
          <a:xfrm>
            <a:off x="3311764" y="3025443"/>
            <a:ext cx="369021" cy="369021"/>
            <a:chOff x="1925" y="6"/>
            <a:chExt cx="340" cy="340"/>
          </a:xfrm>
          <a:solidFill>
            <a:schemeClr val="bg1"/>
          </a:solidFill>
        </p:grpSpPr>
        <p:sp>
          <p:nvSpPr>
            <p:cNvPr id="116" name="Freeform 115"/>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116"/>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89398914"/>
      </p:ext>
    </p:extLst>
  </p:cSld>
  <p:clrMapOvr>
    <a:masterClrMapping/>
  </p:clrMapOvr>
  <p:transition>
    <p:fade/>
  </p:transition>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bouncing</a:t>
            </a:r>
            <a:endParaRPr lang="en-US" dirty="0"/>
          </a:p>
        </p:txBody>
      </p:sp>
      <p:sp>
        <p:nvSpPr>
          <p:cNvPr id="371719" name="Title 1"/>
          <p:cNvSpPr>
            <a:spLocks noGrp="1"/>
          </p:cNvSpPr>
          <p:nvPr>
            <p:ph type="title"/>
          </p:nvPr>
        </p:nvSpPr>
        <p:spPr/>
        <p:txBody>
          <a:bodyPr/>
          <a:lstStyle/>
          <a:p>
            <a:r>
              <a:rPr lang="en-US" altLang="ja-JP"/>
              <a:t>Ranking elements</a:t>
            </a:r>
            <a:endParaRPr lang="en-US" dirty="0"/>
          </a:p>
        </p:txBody>
      </p:sp>
      <p:sp>
        <p:nvSpPr>
          <p:cNvPr id="37" name="Freeform 60">
            <a:extLst>
              <a:ext uri="{FF2B5EF4-FFF2-40B4-BE49-F238E27FC236}">
                <a16:creationId xmlns:a16="http://schemas.microsoft.com/office/drawing/2014/main" id="{A44DE82C-502D-4404-B24A-91FA278576B8}"/>
              </a:ext>
            </a:extLst>
          </p:cNvPr>
          <p:cNvSpPr/>
          <p:nvPr/>
        </p:nvSpPr>
        <p:spPr>
          <a:xfrm>
            <a:off x="3791823" y="196442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Freeform 61">
            <a:extLst>
              <a:ext uri="{FF2B5EF4-FFF2-40B4-BE49-F238E27FC236}">
                <a16:creationId xmlns:a16="http://schemas.microsoft.com/office/drawing/2014/main" id="{2229E677-E64F-4270-A398-0EE3D717F09C}"/>
              </a:ext>
            </a:extLst>
          </p:cNvPr>
          <p:cNvSpPr/>
          <p:nvPr/>
        </p:nvSpPr>
        <p:spPr>
          <a:xfrm>
            <a:off x="3682602" y="263117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Freeform 62">
            <a:extLst>
              <a:ext uri="{FF2B5EF4-FFF2-40B4-BE49-F238E27FC236}">
                <a16:creationId xmlns:a16="http://schemas.microsoft.com/office/drawing/2014/main" id="{F5A1F393-A1A4-4573-B458-B0EBF4798DA1}"/>
              </a:ext>
            </a:extLst>
          </p:cNvPr>
          <p:cNvSpPr/>
          <p:nvPr/>
        </p:nvSpPr>
        <p:spPr>
          <a:xfrm>
            <a:off x="2849801" y="261831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Freeform 63">
            <a:extLst>
              <a:ext uri="{FF2B5EF4-FFF2-40B4-BE49-F238E27FC236}">
                <a16:creationId xmlns:a16="http://schemas.microsoft.com/office/drawing/2014/main" id="{0AFE5DA8-618F-40A2-8C3F-4FCD1F0DF926}"/>
              </a:ext>
            </a:extLst>
          </p:cNvPr>
          <p:cNvSpPr/>
          <p:nvPr/>
        </p:nvSpPr>
        <p:spPr>
          <a:xfrm>
            <a:off x="2737722" y="328173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Freeform 64">
            <a:extLst>
              <a:ext uri="{FF2B5EF4-FFF2-40B4-BE49-F238E27FC236}">
                <a16:creationId xmlns:a16="http://schemas.microsoft.com/office/drawing/2014/main" id="{EF296BF0-99E4-4542-AAE5-48CB89D9C0B8}"/>
              </a:ext>
            </a:extLst>
          </p:cNvPr>
          <p:cNvSpPr/>
          <p:nvPr/>
        </p:nvSpPr>
        <p:spPr>
          <a:xfrm>
            <a:off x="1897935" y="3267443"/>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2" name="Freeform 65">
            <a:extLst>
              <a:ext uri="{FF2B5EF4-FFF2-40B4-BE49-F238E27FC236}">
                <a16:creationId xmlns:a16="http://schemas.microsoft.com/office/drawing/2014/main" id="{42495449-38E5-456F-AC2B-FEB5757057C3}"/>
              </a:ext>
            </a:extLst>
          </p:cNvPr>
          <p:cNvSpPr/>
          <p:nvPr/>
        </p:nvSpPr>
        <p:spPr>
          <a:xfrm>
            <a:off x="1793793" y="3936574"/>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3" name="Freeform 66">
            <a:extLst>
              <a:ext uri="{FF2B5EF4-FFF2-40B4-BE49-F238E27FC236}">
                <a16:creationId xmlns:a16="http://schemas.microsoft.com/office/drawing/2014/main" id="{19967F14-2CD2-42AD-8630-B6D10D109CE3}"/>
              </a:ext>
            </a:extLst>
          </p:cNvPr>
          <p:cNvSpPr/>
          <p:nvPr/>
        </p:nvSpPr>
        <p:spPr>
          <a:xfrm>
            <a:off x="963214" y="3921809"/>
            <a:ext cx="1135380" cy="179070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Rectangle 43">
            <a:extLst>
              <a:ext uri="{FF2B5EF4-FFF2-40B4-BE49-F238E27FC236}">
                <a16:creationId xmlns:a16="http://schemas.microsoft.com/office/drawing/2014/main" id="{46A04C8E-7A76-4713-BF4A-ACD049EFACA4}"/>
              </a:ext>
            </a:extLst>
          </p:cNvPr>
          <p:cNvSpPr/>
          <p:nvPr/>
        </p:nvSpPr>
        <p:spPr>
          <a:xfrm>
            <a:off x="2620849" y="5390552"/>
            <a:ext cx="2341949" cy="577081"/>
          </a:xfrm>
          <a:prstGeom prst="rect">
            <a:avLst/>
          </a:prstGeom>
        </p:spPr>
        <p:txBody>
          <a:bodyPr wrap="square" lIns="0" tIns="0" rIns="0" bIns="0">
            <a:spAutoFit/>
          </a:bodyPr>
          <a:lstStyle/>
          <a:p>
            <a:pPr lvl="0">
              <a:spcAft>
                <a:spcPts val="600"/>
              </a:spcAft>
            </a:pPr>
            <a:r>
              <a:rPr lang="en-US" sz="1050" b="1" dirty="0">
                <a:solidFill>
                  <a:srgbClr val="86BC25"/>
                </a:solidFill>
              </a:rPr>
              <a:t>Lorem ipsum </a:t>
            </a:r>
            <a:br>
              <a:rPr lang="en-US" sz="1050" b="1" dirty="0">
                <a:solidFill>
                  <a:srgbClr val="D0D0CE"/>
                </a:solidFill>
              </a:rPr>
            </a:br>
            <a:r>
              <a:rPr lang="en-US" sz="900" dirty="0">
                <a:solidFill>
                  <a:srgbClr val="53565A"/>
                </a:solidFill>
              </a:rPr>
              <a:t>This is dummy text it is not here to be read. The is just text to show where you could insert text. This is dummy text. </a:t>
            </a:r>
          </a:p>
        </p:txBody>
      </p:sp>
      <p:sp>
        <p:nvSpPr>
          <p:cNvPr id="45" name="Rectangle 44">
            <a:extLst>
              <a:ext uri="{FF2B5EF4-FFF2-40B4-BE49-F238E27FC236}">
                <a16:creationId xmlns:a16="http://schemas.microsoft.com/office/drawing/2014/main" id="{29181E04-C659-4C88-8658-C14EB7AAE569}"/>
              </a:ext>
            </a:extLst>
          </p:cNvPr>
          <p:cNvSpPr/>
          <p:nvPr/>
        </p:nvSpPr>
        <p:spPr>
          <a:xfrm>
            <a:off x="3574596" y="4670087"/>
            <a:ext cx="2468130" cy="577081"/>
          </a:xfrm>
          <a:prstGeom prst="rect">
            <a:avLst/>
          </a:prstGeom>
        </p:spPr>
        <p:txBody>
          <a:bodyPr wrap="square" lIns="0" tIns="0" rIns="0" bIns="0">
            <a:spAutoFit/>
          </a:bodyPr>
          <a:lstStyle/>
          <a:p>
            <a:pPr lvl="0">
              <a:spcAft>
                <a:spcPts val="600"/>
              </a:spcAft>
            </a:pPr>
            <a:r>
              <a:rPr lang="en-US" sz="1050" b="1" dirty="0">
                <a:solidFill>
                  <a:srgbClr val="007CB0"/>
                </a:solidFill>
              </a:rPr>
              <a:t>Lorem ipsum </a:t>
            </a:r>
            <a:br>
              <a:rPr lang="en-US" sz="1050" b="1" dirty="0">
                <a:solidFill>
                  <a:srgbClr val="D0D0CE"/>
                </a:solidFill>
              </a:rPr>
            </a:br>
            <a:r>
              <a:rPr lang="en-US" sz="900" dirty="0">
                <a:solidFill>
                  <a:srgbClr val="53565A"/>
                </a:solidFill>
              </a:rPr>
              <a:t>This is dummy text it is not here to be read. The is just text to show where you could insert text. This is dummy text.</a:t>
            </a:r>
          </a:p>
        </p:txBody>
      </p:sp>
      <p:sp>
        <p:nvSpPr>
          <p:cNvPr id="46" name="Rectangle 45">
            <a:extLst>
              <a:ext uri="{FF2B5EF4-FFF2-40B4-BE49-F238E27FC236}">
                <a16:creationId xmlns:a16="http://schemas.microsoft.com/office/drawing/2014/main" id="{8BCB3103-175C-4A3D-AEB0-198EB6F0794E}"/>
              </a:ext>
            </a:extLst>
          </p:cNvPr>
          <p:cNvSpPr/>
          <p:nvPr/>
        </p:nvSpPr>
        <p:spPr>
          <a:xfrm>
            <a:off x="4536042" y="4025338"/>
            <a:ext cx="2525990" cy="577081"/>
          </a:xfrm>
          <a:prstGeom prst="rect">
            <a:avLst/>
          </a:prstGeom>
        </p:spPr>
        <p:txBody>
          <a:bodyPr wrap="square" lIns="0" tIns="0" rIns="0" bIns="0">
            <a:spAutoFit/>
          </a:bodyPr>
          <a:lstStyle/>
          <a:p>
            <a:pPr lvl="0">
              <a:spcAft>
                <a:spcPts val="600"/>
              </a:spcAft>
            </a:pPr>
            <a:r>
              <a:rPr lang="en-US" sz="1050" b="1" dirty="0">
                <a:solidFill>
                  <a:srgbClr val="26890D"/>
                </a:solidFill>
              </a:rPr>
              <a:t>Lorem ipsum </a:t>
            </a:r>
            <a:br>
              <a:rPr lang="en-US" sz="1050" b="1" dirty="0">
                <a:solidFill>
                  <a:srgbClr val="D0D0CE"/>
                </a:solidFill>
              </a:rPr>
            </a:br>
            <a:r>
              <a:rPr lang="en-US" sz="900" dirty="0">
                <a:solidFill>
                  <a:srgbClr val="53565A"/>
                </a:solidFill>
              </a:rPr>
              <a:t>This is dummy text it is not here to be read. The is just text to show where you could insert text. This is dummy text.</a:t>
            </a:r>
          </a:p>
        </p:txBody>
      </p:sp>
      <p:sp>
        <p:nvSpPr>
          <p:cNvPr id="47" name="Rectangle 46">
            <a:extLst>
              <a:ext uri="{FF2B5EF4-FFF2-40B4-BE49-F238E27FC236}">
                <a16:creationId xmlns:a16="http://schemas.microsoft.com/office/drawing/2014/main" id="{7D4E2A79-78C0-4573-A1AD-77F9BB125419}"/>
              </a:ext>
            </a:extLst>
          </p:cNvPr>
          <p:cNvSpPr/>
          <p:nvPr/>
        </p:nvSpPr>
        <p:spPr>
          <a:xfrm>
            <a:off x="5505733" y="3213321"/>
            <a:ext cx="2568892" cy="577081"/>
          </a:xfrm>
          <a:prstGeom prst="rect">
            <a:avLst/>
          </a:prstGeom>
        </p:spPr>
        <p:txBody>
          <a:bodyPr wrap="square" lIns="0" tIns="0" rIns="0" bIns="0">
            <a:spAutoFit/>
          </a:bodyPr>
          <a:lstStyle/>
          <a:p>
            <a:pPr lvl="0">
              <a:spcAft>
                <a:spcPts val="600"/>
              </a:spcAft>
            </a:pPr>
            <a:r>
              <a:rPr lang="en-US" sz="1050" b="1" dirty="0">
                <a:solidFill>
                  <a:srgbClr val="0D8390"/>
                </a:solidFill>
              </a:rPr>
              <a:t>Lorem ipsum </a:t>
            </a:r>
            <a:br>
              <a:rPr lang="en-US" sz="1050" b="1" dirty="0">
                <a:solidFill>
                  <a:srgbClr val="D0D0CE"/>
                </a:solidFill>
              </a:rPr>
            </a:br>
            <a:r>
              <a:rPr lang="en-US" sz="900" dirty="0">
                <a:solidFill>
                  <a:srgbClr val="53565A"/>
                </a:solidFill>
              </a:rPr>
              <a:t>This is dummy text it is not here to be read. The is just text to show where you could insert text. This is dummy text.</a:t>
            </a:r>
          </a:p>
        </p:txBody>
      </p:sp>
      <p:grpSp>
        <p:nvGrpSpPr>
          <p:cNvPr id="48" name="Group 47">
            <a:extLst>
              <a:ext uri="{FF2B5EF4-FFF2-40B4-BE49-F238E27FC236}">
                <a16:creationId xmlns:a16="http://schemas.microsoft.com/office/drawing/2014/main" id="{246B5974-DD60-470E-A783-90E5BC010780}"/>
              </a:ext>
            </a:extLst>
          </p:cNvPr>
          <p:cNvGrpSpPr/>
          <p:nvPr/>
        </p:nvGrpSpPr>
        <p:grpSpPr>
          <a:xfrm>
            <a:off x="4712236" y="3069940"/>
            <a:ext cx="706551" cy="365760"/>
            <a:chOff x="4953973" y="3370420"/>
            <a:chExt cx="706551" cy="365760"/>
          </a:xfrm>
        </p:grpSpPr>
        <p:sp>
          <p:nvSpPr>
            <p:cNvPr id="49" name="Right Arrow 1">
              <a:extLst>
                <a:ext uri="{FF2B5EF4-FFF2-40B4-BE49-F238E27FC236}">
                  <a16:creationId xmlns:a16="http://schemas.microsoft.com/office/drawing/2014/main" id="{95321334-6E80-4823-A791-8855DC24FAD2}"/>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5">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Right Arrow 1">
              <a:extLst>
                <a:ext uri="{FF2B5EF4-FFF2-40B4-BE49-F238E27FC236}">
                  <a16:creationId xmlns:a16="http://schemas.microsoft.com/office/drawing/2014/main" id="{83CEEAD5-3C04-4C16-ABE8-9CB0E3AFA864}"/>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51" name="TextBox 50">
            <a:extLst>
              <a:ext uri="{FF2B5EF4-FFF2-40B4-BE49-F238E27FC236}">
                <a16:creationId xmlns:a16="http://schemas.microsoft.com/office/drawing/2014/main" id="{4DB54AB3-FC0F-4641-8CD6-35B4A05455B3}"/>
              </a:ext>
            </a:extLst>
          </p:cNvPr>
          <p:cNvSpPr txBox="1"/>
          <p:nvPr/>
        </p:nvSpPr>
        <p:spPr>
          <a:xfrm>
            <a:off x="1388589" y="3298060"/>
            <a:ext cx="691028" cy="811367"/>
          </a:xfrm>
          <a:prstGeom prst="rect">
            <a:avLst/>
          </a:prstGeom>
          <a:noFill/>
        </p:spPr>
        <p:txBody>
          <a:bodyPr wrap="square" lIns="36000" tIns="36000" rIns="36000" bIns="36000" rtlCol="0">
            <a:spAutoFit/>
          </a:bodyPr>
          <a:lstStyle/>
          <a:p>
            <a:pPr algn="ctr"/>
            <a:r>
              <a:rPr lang="en-US" sz="4800" b="1" dirty="0">
                <a:solidFill>
                  <a:schemeClr val="accent1"/>
                </a:solidFill>
              </a:rPr>
              <a:t>1</a:t>
            </a:r>
          </a:p>
        </p:txBody>
      </p:sp>
      <p:sp>
        <p:nvSpPr>
          <p:cNvPr id="52" name="TextBox 51">
            <a:extLst>
              <a:ext uri="{FF2B5EF4-FFF2-40B4-BE49-F238E27FC236}">
                <a16:creationId xmlns:a16="http://schemas.microsoft.com/office/drawing/2014/main" id="{1E56640A-8E18-4237-9E76-819E99B20E18}"/>
              </a:ext>
            </a:extLst>
          </p:cNvPr>
          <p:cNvSpPr txBox="1"/>
          <p:nvPr/>
        </p:nvSpPr>
        <p:spPr>
          <a:xfrm>
            <a:off x="2349418" y="2650696"/>
            <a:ext cx="691028" cy="811367"/>
          </a:xfrm>
          <a:prstGeom prst="rect">
            <a:avLst/>
          </a:prstGeom>
          <a:noFill/>
        </p:spPr>
        <p:txBody>
          <a:bodyPr wrap="square" lIns="36000" tIns="36000" rIns="36000" bIns="36000" rtlCol="0">
            <a:spAutoFit/>
          </a:bodyPr>
          <a:lstStyle/>
          <a:p>
            <a:pPr algn="ctr"/>
            <a:r>
              <a:rPr lang="en-US" sz="4800" b="1" dirty="0">
                <a:solidFill>
                  <a:schemeClr val="accent6">
                    <a:lumMod val="40000"/>
                    <a:lumOff val="60000"/>
                  </a:schemeClr>
                </a:solidFill>
              </a:rPr>
              <a:t>2</a:t>
            </a:r>
          </a:p>
        </p:txBody>
      </p:sp>
      <p:sp>
        <p:nvSpPr>
          <p:cNvPr id="53" name="TextBox 52">
            <a:extLst>
              <a:ext uri="{FF2B5EF4-FFF2-40B4-BE49-F238E27FC236}">
                <a16:creationId xmlns:a16="http://schemas.microsoft.com/office/drawing/2014/main" id="{68928982-4EA8-457E-977B-C77F321D86E6}"/>
              </a:ext>
            </a:extLst>
          </p:cNvPr>
          <p:cNvSpPr txBox="1"/>
          <p:nvPr/>
        </p:nvSpPr>
        <p:spPr>
          <a:xfrm>
            <a:off x="3288351" y="2001805"/>
            <a:ext cx="691028" cy="811367"/>
          </a:xfrm>
          <a:prstGeom prst="rect">
            <a:avLst/>
          </a:prstGeom>
          <a:noFill/>
        </p:spPr>
        <p:txBody>
          <a:bodyPr wrap="square" lIns="36000" tIns="36000" rIns="36000" bIns="36000" rtlCol="0">
            <a:spAutoFit/>
          </a:bodyPr>
          <a:lstStyle/>
          <a:p>
            <a:pPr algn="ctr"/>
            <a:r>
              <a:rPr lang="en-US" sz="4800" b="1" dirty="0">
                <a:solidFill>
                  <a:schemeClr val="accent3"/>
                </a:solidFill>
              </a:rPr>
              <a:t>3</a:t>
            </a:r>
          </a:p>
        </p:txBody>
      </p:sp>
      <p:grpSp>
        <p:nvGrpSpPr>
          <p:cNvPr id="54" name="Group 53">
            <a:extLst>
              <a:ext uri="{FF2B5EF4-FFF2-40B4-BE49-F238E27FC236}">
                <a16:creationId xmlns:a16="http://schemas.microsoft.com/office/drawing/2014/main" id="{AA03AF0B-3854-4DC6-AD56-8D7AE23DEE50}"/>
              </a:ext>
            </a:extLst>
          </p:cNvPr>
          <p:cNvGrpSpPr/>
          <p:nvPr/>
        </p:nvGrpSpPr>
        <p:grpSpPr>
          <a:xfrm>
            <a:off x="3693333" y="3971277"/>
            <a:ext cx="706551" cy="365760"/>
            <a:chOff x="4953973" y="3370420"/>
            <a:chExt cx="706551" cy="365760"/>
          </a:xfrm>
        </p:grpSpPr>
        <p:sp>
          <p:nvSpPr>
            <p:cNvPr id="55" name="Right Arrow 1">
              <a:extLst>
                <a:ext uri="{FF2B5EF4-FFF2-40B4-BE49-F238E27FC236}">
                  <a16:creationId xmlns:a16="http://schemas.microsoft.com/office/drawing/2014/main" id="{9AE51BD1-22E0-410D-A01B-A8514A774965}"/>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6" name="Right Arrow 1">
              <a:extLst>
                <a:ext uri="{FF2B5EF4-FFF2-40B4-BE49-F238E27FC236}">
                  <a16:creationId xmlns:a16="http://schemas.microsoft.com/office/drawing/2014/main" id="{05AE4772-2C7F-4DCC-A9AF-C5C7506AF52D}"/>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57" name="Group 56">
            <a:extLst>
              <a:ext uri="{FF2B5EF4-FFF2-40B4-BE49-F238E27FC236}">
                <a16:creationId xmlns:a16="http://schemas.microsoft.com/office/drawing/2014/main" id="{9C48EDC6-FEEE-4E98-8898-6D3AE25D9051}"/>
              </a:ext>
            </a:extLst>
          </p:cNvPr>
          <p:cNvGrpSpPr/>
          <p:nvPr/>
        </p:nvGrpSpPr>
        <p:grpSpPr>
          <a:xfrm>
            <a:off x="2818121" y="4650545"/>
            <a:ext cx="706551" cy="365760"/>
            <a:chOff x="4953973" y="3370420"/>
            <a:chExt cx="706551" cy="365760"/>
          </a:xfrm>
        </p:grpSpPr>
        <p:sp>
          <p:nvSpPr>
            <p:cNvPr id="58" name="Right Arrow 1">
              <a:extLst>
                <a:ext uri="{FF2B5EF4-FFF2-40B4-BE49-F238E27FC236}">
                  <a16:creationId xmlns:a16="http://schemas.microsoft.com/office/drawing/2014/main" id="{A2A1809A-D3B9-48BC-92B2-A262ED07EA80}"/>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9" name="Right Arrow 1">
              <a:extLst>
                <a:ext uri="{FF2B5EF4-FFF2-40B4-BE49-F238E27FC236}">
                  <a16:creationId xmlns:a16="http://schemas.microsoft.com/office/drawing/2014/main" id="{4EB7FC14-8AD1-4197-875A-389DC65E2713}"/>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60" name="Group 59">
            <a:extLst>
              <a:ext uri="{FF2B5EF4-FFF2-40B4-BE49-F238E27FC236}">
                <a16:creationId xmlns:a16="http://schemas.microsoft.com/office/drawing/2014/main" id="{39ABB55B-BE66-4627-9D7E-0D64BC38E815}"/>
              </a:ext>
            </a:extLst>
          </p:cNvPr>
          <p:cNvGrpSpPr/>
          <p:nvPr/>
        </p:nvGrpSpPr>
        <p:grpSpPr>
          <a:xfrm>
            <a:off x="1838407" y="5355939"/>
            <a:ext cx="706551" cy="365760"/>
            <a:chOff x="4953973" y="3370420"/>
            <a:chExt cx="706551" cy="365760"/>
          </a:xfrm>
        </p:grpSpPr>
        <p:sp>
          <p:nvSpPr>
            <p:cNvPr id="68" name="Right Arrow 1">
              <a:extLst>
                <a:ext uri="{FF2B5EF4-FFF2-40B4-BE49-F238E27FC236}">
                  <a16:creationId xmlns:a16="http://schemas.microsoft.com/office/drawing/2014/main" id="{A2A24A88-2DAB-4717-AA1E-414817E20C56}"/>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chemeClr val="accent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9" name="Right Arrow 1">
              <a:extLst>
                <a:ext uri="{FF2B5EF4-FFF2-40B4-BE49-F238E27FC236}">
                  <a16:creationId xmlns:a16="http://schemas.microsoft.com/office/drawing/2014/main" id="{A2402837-3270-407A-B3A9-961E60987DEE}"/>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124" name="Freeform 26"/>
          <p:cNvSpPr>
            <a:spLocks noEditPoints="1"/>
          </p:cNvSpPr>
          <p:nvPr/>
        </p:nvSpPr>
        <p:spPr bwMode="auto">
          <a:xfrm>
            <a:off x="4210848" y="2342281"/>
            <a:ext cx="368300" cy="371475"/>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25" name="Freeform 23"/>
          <p:cNvSpPr>
            <a:spLocks noChangeAspect="1" noEditPoints="1"/>
          </p:cNvSpPr>
          <p:nvPr/>
        </p:nvSpPr>
        <p:spPr bwMode="auto">
          <a:xfrm>
            <a:off x="3306523" y="3017085"/>
            <a:ext cx="370106" cy="369021"/>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26" name="Freeform 346"/>
          <p:cNvSpPr>
            <a:spLocks noChangeAspect="1" noEditPoints="1"/>
          </p:cNvSpPr>
          <p:nvPr/>
        </p:nvSpPr>
        <p:spPr bwMode="auto">
          <a:xfrm>
            <a:off x="2318162" y="3704865"/>
            <a:ext cx="367041" cy="367041"/>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27" name="Group 447"/>
          <p:cNvGrpSpPr>
            <a:grpSpLocks noChangeAspect="1"/>
          </p:cNvGrpSpPr>
          <p:nvPr/>
        </p:nvGrpSpPr>
        <p:grpSpPr bwMode="auto">
          <a:xfrm>
            <a:off x="1401592" y="4390665"/>
            <a:ext cx="367041" cy="367041"/>
            <a:chOff x="5601" y="1820"/>
            <a:chExt cx="340" cy="340"/>
          </a:xfrm>
          <a:solidFill>
            <a:schemeClr val="bg1"/>
          </a:solidFill>
        </p:grpSpPr>
        <p:sp>
          <p:nvSpPr>
            <p:cNvPr id="128" name="Freeform 448"/>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449"/>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4" name="TextBox 93">
            <a:extLst>
              <a:ext uri="{FF2B5EF4-FFF2-40B4-BE49-F238E27FC236}">
                <a16:creationId xmlns:a16="http://schemas.microsoft.com/office/drawing/2014/main" id="{3FEADFF0-4A90-4AD0-9A09-0B044D3B3E5E}"/>
              </a:ext>
            </a:extLst>
          </p:cNvPr>
          <p:cNvSpPr txBox="1"/>
          <p:nvPr/>
        </p:nvSpPr>
        <p:spPr>
          <a:xfrm>
            <a:off x="4199344" y="1350102"/>
            <a:ext cx="691028" cy="811367"/>
          </a:xfrm>
          <a:prstGeom prst="rect">
            <a:avLst/>
          </a:prstGeom>
          <a:noFill/>
        </p:spPr>
        <p:txBody>
          <a:bodyPr wrap="square" lIns="36000" tIns="36000" rIns="36000" bIns="36000" rtlCol="0">
            <a:spAutoFit/>
          </a:bodyPr>
          <a:lstStyle/>
          <a:p>
            <a:pPr algn="ctr"/>
            <a:r>
              <a:rPr lang="en-US" sz="4800" b="1" dirty="0">
                <a:solidFill>
                  <a:schemeClr val="accent5"/>
                </a:solidFill>
              </a:rPr>
              <a:t>4</a:t>
            </a:r>
          </a:p>
        </p:txBody>
      </p:sp>
    </p:spTree>
    <p:extLst>
      <p:ext uri="{BB962C8B-B14F-4D97-AF65-F5344CB8AC3E}">
        <p14:creationId xmlns:p14="http://schemas.microsoft.com/office/powerpoint/2010/main" val="3102267625"/>
      </p:ext>
    </p:extLst>
  </p:cSld>
  <p:clrMapOvr>
    <a:masterClrMapping/>
  </p:clrMapOvr>
  <p:transition>
    <p:fade/>
  </p:transition>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Arrows with icons</a:t>
            </a:r>
            <a:endParaRPr lang="en-US" dirty="0"/>
          </a:p>
        </p:txBody>
      </p:sp>
      <p:sp>
        <p:nvSpPr>
          <p:cNvPr id="371719" name="Title 1"/>
          <p:cNvSpPr>
            <a:spLocks noGrp="1"/>
          </p:cNvSpPr>
          <p:nvPr>
            <p:ph type="title"/>
          </p:nvPr>
        </p:nvSpPr>
        <p:spPr/>
        <p:txBody>
          <a:bodyPr/>
          <a:lstStyle/>
          <a:p>
            <a:r>
              <a:rPr lang="en-US" altLang="ja-JP"/>
              <a:t>Bends</a:t>
            </a:r>
            <a:endParaRPr lang="en-US" dirty="0"/>
          </a:p>
        </p:txBody>
      </p:sp>
      <p:sp>
        <p:nvSpPr>
          <p:cNvPr id="39" name="Pentagon 38"/>
          <p:cNvSpPr/>
          <p:nvPr/>
        </p:nvSpPr>
        <p:spPr>
          <a:xfrm flipH="1">
            <a:off x="735540" y="2375318"/>
            <a:ext cx="2366433" cy="1018645"/>
          </a:xfrm>
          <a:prstGeom prst="homePlate">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0" name="Pentagon 39"/>
          <p:cNvSpPr/>
          <p:nvPr/>
        </p:nvSpPr>
        <p:spPr>
          <a:xfrm flipH="1">
            <a:off x="735540" y="3393963"/>
            <a:ext cx="2366433" cy="1018645"/>
          </a:xfrm>
          <a:prstGeom prst="homePlat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1" name="Pentagon 40"/>
          <p:cNvSpPr/>
          <p:nvPr/>
        </p:nvSpPr>
        <p:spPr>
          <a:xfrm flipH="1">
            <a:off x="735540" y="4412608"/>
            <a:ext cx="2366433" cy="1018645"/>
          </a:xfrm>
          <a:prstGeom prst="homePlat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2" name="Rectangle 8"/>
          <p:cNvSpPr/>
          <p:nvPr/>
        </p:nvSpPr>
        <p:spPr>
          <a:xfrm>
            <a:off x="3101974" y="3228862"/>
            <a:ext cx="660400" cy="135202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165100 h 1183745"/>
              <a:gd name="connsiteX1" fmla="*/ 1696507 w 1696507"/>
              <a:gd name="connsiteY1" fmla="*/ 0 h 1183745"/>
              <a:gd name="connsiteX2" fmla="*/ 1696507 w 1696507"/>
              <a:gd name="connsiteY2" fmla="*/ 1183745 h 1183745"/>
              <a:gd name="connsiteX3" fmla="*/ 0 w 1696507"/>
              <a:gd name="connsiteY3" fmla="*/ 1183745 h 1183745"/>
              <a:gd name="connsiteX4" fmla="*/ 0 w 1696507"/>
              <a:gd name="connsiteY4" fmla="*/ 165100 h 1183745"/>
              <a:gd name="connsiteX0" fmla="*/ 0 w 1696507"/>
              <a:gd name="connsiteY0" fmla="*/ 165100 h 1352020"/>
              <a:gd name="connsiteX1" fmla="*/ 1696507 w 1696507"/>
              <a:gd name="connsiteY1" fmla="*/ 0 h 1352020"/>
              <a:gd name="connsiteX2" fmla="*/ 1696507 w 1696507"/>
              <a:gd name="connsiteY2" fmla="*/ 1352020 h 1352020"/>
              <a:gd name="connsiteX3" fmla="*/ 0 w 1696507"/>
              <a:gd name="connsiteY3" fmla="*/ 1183745 h 1352020"/>
              <a:gd name="connsiteX4" fmla="*/ 0 w 1696507"/>
              <a:gd name="connsiteY4" fmla="*/ 165100 h 1352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352020">
                <a:moveTo>
                  <a:pt x="0" y="165100"/>
                </a:moveTo>
                <a:lnTo>
                  <a:pt x="1696507" y="0"/>
                </a:lnTo>
                <a:lnTo>
                  <a:pt x="1696507" y="1352020"/>
                </a:lnTo>
                <a:lnTo>
                  <a:pt x="0" y="1183745"/>
                </a:lnTo>
                <a:lnTo>
                  <a:pt x="0" y="165100"/>
                </a:lnTo>
                <a:close/>
              </a:path>
            </a:pathLst>
          </a:cu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3" name="Rectangle 9"/>
          <p:cNvSpPr/>
          <p:nvPr/>
        </p:nvSpPr>
        <p:spPr>
          <a:xfrm>
            <a:off x="3101974" y="1883192"/>
            <a:ext cx="660400" cy="151077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482600 h 1501245"/>
              <a:gd name="connsiteX1" fmla="*/ 1696507 w 1696507"/>
              <a:gd name="connsiteY1" fmla="*/ 0 h 1501245"/>
              <a:gd name="connsiteX2" fmla="*/ 1696507 w 1696507"/>
              <a:gd name="connsiteY2" fmla="*/ 1501245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92125 h 1510770"/>
              <a:gd name="connsiteX1" fmla="*/ 1693332 w 1696507"/>
              <a:gd name="connsiteY1" fmla="*/ 0 h 1510770"/>
              <a:gd name="connsiteX2" fmla="*/ 1696507 w 1696507"/>
              <a:gd name="connsiteY2" fmla="*/ 1342495 h 1510770"/>
              <a:gd name="connsiteX3" fmla="*/ 0 w 1696507"/>
              <a:gd name="connsiteY3" fmla="*/ 1510770 h 1510770"/>
              <a:gd name="connsiteX4" fmla="*/ 0 w 1696507"/>
              <a:gd name="connsiteY4" fmla="*/ 492125 h 1510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10770">
                <a:moveTo>
                  <a:pt x="0" y="492125"/>
                </a:moveTo>
                <a:lnTo>
                  <a:pt x="1693332" y="0"/>
                </a:lnTo>
                <a:cubicBezTo>
                  <a:pt x="1694390" y="447498"/>
                  <a:pt x="1695449" y="894997"/>
                  <a:pt x="1696507" y="1342495"/>
                </a:cubicBezTo>
                <a:lnTo>
                  <a:pt x="0" y="1510770"/>
                </a:lnTo>
                <a:lnTo>
                  <a:pt x="0" y="492125"/>
                </a:lnTo>
                <a:close/>
              </a:path>
            </a:pathLst>
          </a:cu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4" name="Rectangle 10"/>
          <p:cNvSpPr/>
          <p:nvPr/>
        </p:nvSpPr>
        <p:spPr>
          <a:xfrm>
            <a:off x="3101974" y="4412607"/>
            <a:ext cx="660400" cy="1501245"/>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018645"/>
              <a:gd name="connsiteX1" fmla="*/ 1696507 w 1696507"/>
              <a:gd name="connsiteY1" fmla="*/ 168275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501245"/>
              <a:gd name="connsiteX1" fmla="*/ 1696507 w 1696507"/>
              <a:gd name="connsiteY1" fmla="*/ 168275 h 1501245"/>
              <a:gd name="connsiteX2" fmla="*/ 1696507 w 1696507"/>
              <a:gd name="connsiteY2" fmla="*/ 1501245 h 1501245"/>
              <a:gd name="connsiteX3" fmla="*/ 0 w 1696507"/>
              <a:gd name="connsiteY3" fmla="*/ 1018645 h 1501245"/>
              <a:gd name="connsiteX4" fmla="*/ 0 w 1696507"/>
              <a:gd name="connsiteY4" fmla="*/ 0 h 1501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01245">
                <a:moveTo>
                  <a:pt x="0" y="0"/>
                </a:moveTo>
                <a:lnTo>
                  <a:pt x="1696507" y="168275"/>
                </a:lnTo>
                <a:lnTo>
                  <a:pt x="1696507" y="1501245"/>
                </a:lnTo>
                <a:lnTo>
                  <a:pt x="0" y="1018645"/>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5" name="Rectangle 44"/>
          <p:cNvSpPr/>
          <p:nvPr/>
        </p:nvSpPr>
        <p:spPr>
          <a:xfrm>
            <a:off x="1519565" y="2535613"/>
            <a:ext cx="1533182" cy="769441"/>
          </a:xfrm>
          <a:prstGeom prst="rect">
            <a:avLst/>
          </a:prstGeom>
          <a:ln>
            <a:noFill/>
          </a:ln>
        </p:spPr>
        <p:txBody>
          <a:bodyPr wrap="square" lIns="0" tIns="0" rIns="0" bIns="0">
            <a:spAutoFit/>
          </a:bodyPr>
          <a:lstStyle/>
          <a:p>
            <a:pP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e is just text to show where you could insert text.</a:t>
            </a:r>
          </a:p>
        </p:txBody>
      </p:sp>
      <p:sp>
        <p:nvSpPr>
          <p:cNvPr id="46" name="Rectangle 45"/>
          <p:cNvSpPr/>
          <p:nvPr/>
        </p:nvSpPr>
        <p:spPr>
          <a:xfrm>
            <a:off x="1519566" y="3515069"/>
            <a:ext cx="1493993" cy="769441"/>
          </a:xfrm>
          <a:prstGeom prst="rect">
            <a:avLst/>
          </a:prstGeom>
          <a:ln>
            <a:noFill/>
          </a:ln>
        </p:spPr>
        <p:txBody>
          <a:bodyPr wrap="square" lIns="0" tIns="0" rIns="0" bIns="0">
            <a:spAutoFit/>
          </a:bodyPr>
          <a:lstStyle/>
          <a:p>
            <a:pPr>
              <a:spcAft>
                <a:spcPts val="600"/>
              </a:spcAft>
            </a:pP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e is just text to show where you could insert text. </a:t>
            </a:r>
          </a:p>
        </p:txBody>
      </p:sp>
      <p:sp>
        <p:nvSpPr>
          <p:cNvPr id="47" name="Rectangle 46"/>
          <p:cNvSpPr/>
          <p:nvPr/>
        </p:nvSpPr>
        <p:spPr>
          <a:xfrm>
            <a:off x="1519566" y="4533714"/>
            <a:ext cx="1454805" cy="769441"/>
          </a:xfrm>
          <a:prstGeom prst="rect">
            <a:avLst/>
          </a:prstGeom>
          <a:ln>
            <a:noFill/>
          </a:ln>
        </p:spPr>
        <p:txBody>
          <a:bodyPr wrap="square" lIns="0" tIns="0" rIns="0" bIns="0">
            <a:spAutoFit/>
          </a:bodyPr>
          <a:lstStyle/>
          <a:p>
            <a:pPr>
              <a:spcAft>
                <a:spcPts val="600"/>
              </a:spcAft>
            </a:pPr>
            <a:r>
              <a:rPr lang="en-US" sz="1000" b="1" dirty="0" err="1"/>
              <a:t>Lorem</a:t>
            </a:r>
            <a:r>
              <a:rPr lang="en-US" sz="1000" b="1" dirty="0"/>
              <a:t> </a:t>
            </a:r>
            <a:r>
              <a:rPr lang="en-US" sz="1000" b="1" dirty="0" err="1"/>
              <a:t>ipsum</a:t>
            </a:r>
            <a:r>
              <a:rPr lang="en-US" sz="1000" b="1" dirty="0"/>
              <a:t> </a:t>
            </a:r>
            <a:br>
              <a:rPr lang="en-US" sz="1000" b="1" dirty="0"/>
            </a:br>
            <a:r>
              <a:rPr lang="en-US" sz="1000" dirty="0"/>
              <a:t>This is dummy text it is not here to be read. The is just text to show where you could insert text. </a:t>
            </a:r>
          </a:p>
        </p:txBody>
      </p:sp>
      <p:sp>
        <p:nvSpPr>
          <p:cNvPr id="48" name="Round Same Side Corner Rectangle 47"/>
          <p:cNvSpPr/>
          <p:nvPr/>
        </p:nvSpPr>
        <p:spPr>
          <a:xfrm rot="5400000">
            <a:off x="6862654" y="-1216294"/>
            <a:ext cx="1346199" cy="7546757"/>
          </a:xfrm>
          <a:prstGeom prst="round2Same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49" name="Round Same Side Corner Rectangle 48"/>
          <p:cNvSpPr/>
          <p:nvPr/>
        </p:nvSpPr>
        <p:spPr>
          <a:xfrm rot="5400000">
            <a:off x="6862654" y="129906"/>
            <a:ext cx="1346199" cy="7546757"/>
          </a:xfrm>
          <a:prstGeom prst="round2Same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50" name="Round Same Side Corner Rectangle 49"/>
          <p:cNvSpPr/>
          <p:nvPr/>
        </p:nvSpPr>
        <p:spPr>
          <a:xfrm rot="5400000">
            <a:off x="6862653" y="1476107"/>
            <a:ext cx="1346199" cy="7546755"/>
          </a:xfrm>
          <a:prstGeom prst="round2Same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err="1"/>
          </a:p>
        </p:txBody>
      </p:sp>
      <p:sp>
        <p:nvSpPr>
          <p:cNvPr id="51" name="Rectangle 50"/>
          <p:cNvSpPr/>
          <p:nvPr/>
        </p:nvSpPr>
        <p:spPr>
          <a:xfrm>
            <a:off x="3904454" y="2093987"/>
            <a:ext cx="6767980" cy="615553"/>
          </a:xfrm>
          <a:prstGeom prst="rect">
            <a:avLst/>
          </a:prstGeom>
          <a:ln>
            <a:noFill/>
          </a:ln>
        </p:spPr>
        <p:txBody>
          <a:bodyPr wrap="square" lIns="0" tIns="0" rIns="0" bIns="0">
            <a:spAutoFit/>
          </a:bodyPr>
          <a:lstStyle/>
          <a:p>
            <a:r>
              <a:rPr lang="en-US" sz="1000" b="1" dirty="0" err="1"/>
              <a:t>Lorem</a:t>
            </a:r>
            <a:r>
              <a:rPr lang="en-US" sz="1000" b="1" dirty="0"/>
              <a:t> </a:t>
            </a:r>
            <a:r>
              <a:rPr lang="en-US" sz="1000" b="1" dirty="0" err="1"/>
              <a:t>ipsum</a:t>
            </a:r>
            <a:r>
              <a:rPr lang="en-US" sz="1000" b="1" dirty="0"/>
              <a:t> dolor </a:t>
            </a:r>
          </a:p>
          <a:p>
            <a:pPr>
              <a:spcAft>
                <a:spcPts val="600"/>
              </a:spcAft>
            </a:pPr>
            <a:r>
              <a:rPr lang="en-US" sz="1000" dirty="0"/>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52" name="Rectangle 51"/>
          <p:cNvSpPr/>
          <p:nvPr/>
        </p:nvSpPr>
        <p:spPr>
          <a:xfrm>
            <a:off x="3904454" y="3453250"/>
            <a:ext cx="6767980" cy="615553"/>
          </a:xfrm>
          <a:prstGeom prst="rect">
            <a:avLst/>
          </a:prstGeom>
          <a:ln>
            <a:noFill/>
          </a:ln>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pPr>
              <a:spcAft>
                <a:spcPts val="600"/>
              </a:spcAft>
            </a:pP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53" name="Rectangle 52"/>
          <p:cNvSpPr/>
          <p:nvPr/>
        </p:nvSpPr>
        <p:spPr>
          <a:xfrm>
            <a:off x="3904454" y="4799450"/>
            <a:ext cx="6767980" cy="615553"/>
          </a:xfrm>
          <a:prstGeom prst="rect">
            <a:avLst/>
          </a:prstGeom>
          <a:ln>
            <a:noFill/>
          </a:ln>
        </p:spPr>
        <p:txBody>
          <a:bodyPr wrap="square" lIns="0" tIns="0" rIns="0" bIns="0">
            <a:spAutoFit/>
          </a:bodyPr>
          <a:lstStyle/>
          <a:p>
            <a:r>
              <a:rPr lang="en-US" sz="1000" b="1" dirty="0" err="1"/>
              <a:t>Lorem</a:t>
            </a:r>
            <a:r>
              <a:rPr lang="en-US" sz="1000" b="1" dirty="0"/>
              <a:t> </a:t>
            </a:r>
            <a:r>
              <a:rPr lang="en-US" sz="1000" b="1" dirty="0" err="1"/>
              <a:t>ipsum</a:t>
            </a:r>
            <a:r>
              <a:rPr lang="en-US" sz="1000" b="1" dirty="0"/>
              <a:t> dolor </a:t>
            </a:r>
          </a:p>
          <a:p>
            <a:pPr>
              <a:spcAft>
                <a:spcPts val="600"/>
              </a:spcAft>
            </a:pPr>
            <a:r>
              <a:rPr lang="en-US" sz="1000" dirty="0"/>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57" name="Freeform 26"/>
          <p:cNvSpPr>
            <a:spLocks noEditPoints="1"/>
          </p:cNvSpPr>
          <p:nvPr/>
        </p:nvSpPr>
        <p:spPr bwMode="auto">
          <a:xfrm>
            <a:off x="1039805" y="2689182"/>
            <a:ext cx="368300" cy="371475"/>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23"/>
          <p:cNvSpPr>
            <a:spLocks noChangeAspect="1" noEditPoints="1"/>
          </p:cNvSpPr>
          <p:nvPr/>
        </p:nvSpPr>
        <p:spPr bwMode="auto">
          <a:xfrm>
            <a:off x="1049880" y="3690558"/>
            <a:ext cx="370106" cy="369021"/>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59" name="Group 447"/>
          <p:cNvGrpSpPr>
            <a:grpSpLocks noChangeAspect="1"/>
          </p:cNvGrpSpPr>
          <p:nvPr/>
        </p:nvGrpSpPr>
        <p:grpSpPr bwMode="auto">
          <a:xfrm>
            <a:off x="1052126" y="4750629"/>
            <a:ext cx="367041" cy="367041"/>
            <a:chOff x="5601" y="1820"/>
            <a:chExt cx="340" cy="340"/>
          </a:xfrm>
          <a:solidFill>
            <a:schemeClr val="bg1"/>
          </a:solidFill>
        </p:grpSpPr>
        <p:sp>
          <p:nvSpPr>
            <p:cNvPr id="60" name="Freeform 448"/>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49"/>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7417102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Page subtitle</a:t>
            </a:r>
          </a:p>
        </p:txBody>
      </p:sp>
      <p:sp>
        <p:nvSpPr>
          <p:cNvPr id="3" name="Title 2"/>
          <p:cNvSpPr>
            <a:spLocks noGrp="1"/>
          </p:cNvSpPr>
          <p:nvPr>
            <p:ph type="title"/>
          </p:nvPr>
        </p:nvSpPr>
        <p:spPr/>
        <p:txBody>
          <a:bodyPr/>
          <a:lstStyle/>
          <a:p>
            <a:r>
              <a:rPr lang="en-US"/>
              <a:t>Text boxes with arrows</a:t>
            </a:r>
            <a:endParaRPr lang="en-US" dirty="0"/>
          </a:p>
        </p:txBody>
      </p:sp>
      <p:sp>
        <p:nvSpPr>
          <p:cNvPr id="16" name="Pentagon 23">
            <a:extLst>
              <a:ext uri="{FF2B5EF4-FFF2-40B4-BE49-F238E27FC236}">
                <a16:creationId xmlns:a16="http://schemas.microsoft.com/office/drawing/2014/main" id="{3BD204F7-A057-422A-99CB-BE6A85C02AEF}"/>
              </a:ext>
            </a:extLst>
          </p:cNvPr>
          <p:cNvSpPr/>
          <p:nvPr/>
        </p:nvSpPr>
        <p:spPr bwMode="gray">
          <a:xfrm>
            <a:off x="487593" y="1713276"/>
            <a:ext cx="367824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t>Text runs here</a:t>
            </a:r>
          </a:p>
        </p:txBody>
      </p:sp>
      <p:sp>
        <p:nvSpPr>
          <p:cNvPr id="17" name="Text Placeholder 3">
            <a:extLst>
              <a:ext uri="{FF2B5EF4-FFF2-40B4-BE49-F238E27FC236}">
                <a16:creationId xmlns:a16="http://schemas.microsoft.com/office/drawing/2014/main" id="{274EB2A9-26D3-432B-B111-CBC15BD58832}"/>
              </a:ext>
            </a:extLst>
          </p:cNvPr>
          <p:cNvSpPr txBox="1">
            <a:spLocks/>
          </p:cNvSpPr>
          <p:nvPr/>
        </p:nvSpPr>
        <p:spPr bwMode="gray">
          <a:xfrm>
            <a:off x="4581938" y="3961897"/>
            <a:ext cx="5760720" cy="8229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p:txBody>
      </p:sp>
      <p:sp>
        <p:nvSpPr>
          <p:cNvPr id="18" name="Pentagon 25">
            <a:extLst>
              <a:ext uri="{FF2B5EF4-FFF2-40B4-BE49-F238E27FC236}">
                <a16:creationId xmlns:a16="http://schemas.microsoft.com/office/drawing/2014/main" id="{CE7621EA-909F-4C47-9E0C-646515D9B00C}"/>
              </a:ext>
            </a:extLst>
          </p:cNvPr>
          <p:cNvSpPr/>
          <p:nvPr/>
        </p:nvSpPr>
        <p:spPr bwMode="gray">
          <a:xfrm>
            <a:off x="487593" y="4001792"/>
            <a:ext cx="367824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t>Text runs here</a:t>
            </a:r>
          </a:p>
        </p:txBody>
      </p:sp>
      <p:sp>
        <p:nvSpPr>
          <p:cNvPr id="19" name="Text Placeholder 3">
            <a:extLst>
              <a:ext uri="{FF2B5EF4-FFF2-40B4-BE49-F238E27FC236}">
                <a16:creationId xmlns:a16="http://schemas.microsoft.com/office/drawing/2014/main" id="{6B188465-2509-4C1F-8CF3-7A2A51E39ECC}"/>
              </a:ext>
            </a:extLst>
          </p:cNvPr>
          <p:cNvSpPr txBox="1">
            <a:spLocks/>
          </p:cNvSpPr>
          <p:nvPr/>
        </p:nvSpPr>
        <p:spPr bwMode="gray">
          <a:xfrm>
            <a:off x="4581938" y="5105832"/>
            <a:ext cx="5760720" cy="8229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p:txBody>
      </p:sp>
      <p:sp>
        <p:nvSpPr>
          <p:cNvPr id="20" name="Pentagon 27">
            <a:extLst>
              <a:ext uri="{FF2B5EF4-FFF2-40B4-BE49-F238E27FC236}">
                <a16:creationId xmlns:a16="http://schemas.microsoft.com/office/drawing/2014/main" id="{C29703C2-C8EF-4BB2-9A50-03D06F294381}"/>
              </a:ext>
            </a:extLst>
          </p:cNvPr>
          <p:cNvSpPr/>
          <p:nvPr/>
        </p:nvSpPr>
        <p:spPr bwMode="gray">
          <a:xfrm>
            <a:off x="487593" y="5145727"/>
            <a:ext cx="367824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t>Text runs here</a:t>
            </a:r>
          </a:p>
        </p:txBody>
      </p:sp>
      <p:sp>
        <p:nvSpPr>
          <p:cNvPr id="21" name="Text Placeholder 3">
            <a:extLst>
              <a:ext uri="{FF2B5EF4-FFF2-40B4-BE49-F238E27FC236}">
                <a16:creationId xmlns:a16="http://schemas.microsoft.com/office/drawing/2014/main" id="{F7A5D9A4-6467-4D5B-BDB1-5FDC96831CAA}"/>
              </a:ext>
            </a:extLst>
          </p:cNvPr>
          <p:cNvSpPr txBox="1">
            <a:spLocks/>
          </p:cNvSpPr>
          <p:nvPr/>
        </p:nvSpPr>
        <p:spPr bwMode="gray">
          <a:xfrm>
            <a:off x="4581938" y="1673381"/>
            <a:ext cx="5760720" cy="8356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p:txBody>
      </p:sp>
      <p:sp>
        <p:nvSpPr>
          <p:cNvPr id="22" name="Pentagon 29">
            <a:extLst>
              <a:ext uri="{FF2B5EF4-FFF2-40B4-BE49-F238E27FC236}">
                <a16:creationId xmlns:a16="http://schemas.microsoft.com/office/drawing/2014/main" id="{14710C37-F80E-48AA-AD08-9E0A6E5B9DAB}"/>
              </a:ext>
            </a:extLst>
          </p:cNvPr>
          <p:cNvSpPr/>
          <p:nvPr/>
        </p:nvSpPr>
        <p:spPr bwMode="gray">
          <a:xfrm>
            <a:off x="487593" y="2857534"/>
            <a:ext cx="367824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300" dirty="0"/>
              <a:t>Text runs here</a:t>
            </a:r>
          </a:p>
        </p:txBody>
      </p:sp>
      <p:sp>
        <p:nvSpPr>
          <p:cNvPr id="23" name="Text Placeholder 3">
            <a:extLst>
              <a:ext uri="{FF2B5EF4-FFF2-40B4-BE49-F238E27FC236}">
                <a16:creationId xmlns:a16="http://schemas.microsoft.com/office/drawing/2014/main" id="{BD8EC21B-DF11-4F04-95D2-2141AF7F7E51}"/>
              </a:ext>
            </a:extLst>
          </p:cNvPr>
          <p:cNvSpPr txBox="1">
            <a:spLocks/>
          </p:cNvSpPr>
          <p:nvPr/>
        </p:nvSpPr>
        <p:spPr bwMode="gray">
          <a:xfrm>
            <a:off x="4581938" y="2817639"/>
            <a:ext cx="5760720" cy="822960"/>
          </a:xfrm>
          <a:prstGeom prst="rect">
            <a:avLst/>
          </a:prstGeom>
        </p:spPr>
        <p:txBody>
          <a:bodyPr vert="horz" lIns="0" tIns="0" rIns="0" bIns="0" rtlCol="0">
            <a:noAutofit/>
          </a:bodyPr>
          <a:lstStyle/>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a:p>
            <a:pPr marL="114300" lvl="1" indent="-114300">
              <a:spcBef>
                <a:spcPts val="600"/>
              </a:spcBef>
              <a:buSzPct val="100000"/>
              <a:buFont typeface="Arial"/>
              <a:buChar char="•"/>
              <a:defRPr/>
            </a:pPr>
            <a:r>
              <a:rPr lang="en-US" sz="1300" dirty="0"/>
              <a:t>This is dummy text it is not here to be read</a:t>
            </a:r>
          </a:p>
        </p:txBody>
      </p:sp>
    </p:spTree>
    <p:extLst>
      <p:ext uri="{BB962C8B-B14F-4D97-AF65-F5344CB8AC3E}">
        <p14:creationId xmlns:p14="http://schemas.microsoft.com/office/powerpoint/2010/main" val="27439779"/>
      </p:ext>
    </p:extLst>
  </p:cSld>
  <p:clrMapOvr>
    <a:masterClrMapping/>
  </p:clrMapOvr>
  <p:transition>
    <p:fade/>
  </p:transition>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Ribbons with icons</a:t>
            </a:r>
            <a:endParaRPr lang="en-US" dirty="0"/>
          </a:p>
        </p:txBody>
      </p:sp>
      <p:sp>
        <p:nvSpPr>
          <p:cNvPr id="371719" name="Title 1"/>
          <p:cNvSpPr>
            <a:spLocks noGrp="1"/>
          </p:cNvSpPr>
          <p:nvPr>
            <p:ph type="title"/>
          </p:nvPr>
        </p:nvSpPr>
        <p:spPr/>
        <p:txBody>
          <a:bodyPr/>
          <a:lstStyle/>
          <a:p>
            <a:r>
              <a:rPr lang="en-US" altLang="ja-JP"/>
              <a:t>Bends</a:t>
            </a:r>
            <a:endParaRPr lang="en-US" dirty="0"/>
          </a:p>
        </p:txBody>
      </p:sp>
      <p:grpSp>
        <p:nvGrpSpPr>
          <p:cNvPr id="5" name="Group 4">
            <a:extLst>
              <a:ext uri="{FF2B5EF4-FFF2-40B4-BE49-F238E27FC236}">
                <a16:creationId xmlns:a16="http://schemas.microsoft.com/office/drawing/2014/main" id="{32DC7955-A63F-504E-A26A-7B94EC6AC2FB}"/>
              </a:ext>
            </a:extLst>
          </p:cNvPr>
          <p:cNvGrpSpPr/>
          <p:nvPr/>
        </p:nvGrpSpPr>
        <p:grpSpPr>
          <a:xfrm>
            <a:off x="1377861" y="1016001"/>
            <a:ext cx="9597693" cy="5317877"/>
            <a:chOff x="1377861" y="1016001"/>
            <a:chExt cx="9597693" cy="5317877"/>
          </a:xfrm>
        </p:grpSpPr>
        <p:sp>
          <p:nvSpPr>
            <p:cNvPr id="24" name="Freeform 6"/>
            <p:cNvSpPr>
              <a:spLocks/>
            </p:cNvSpPr>
            <p:nvPr/>
          </p:nvSpPr>
          <p:spPr bwMode="auto">
            <a:xfrm>
              <a:off x="1378810" y="4649924"/>
              <a:ext cx="8982635" cy="1683954"/>
            </a:xfrm>
            <a:custGeom>
              <a:avLst/>
              <a:gdLst>
                <a:gd name="T0" fmla="*/ 4422 w 4637"/>
                <a:gd name="T1" fmla="*/ 0 h 1380"/>
                <a:gd name="T2" fmla="*/ 588 w 4637"/>
                <a:gd name="T3" fmla="*/ 0 h 1380"/>
                <a:gd name="T4" fmla="*/ 0 w 4637"/>
                <a:gd name="T5" fmla="*/ 156 h 1380"/>
                <a:gd name="T6" fmla="*/ 0 w 4637"/>
                <a:gd name="T7" fmla="*/ 1380 h 1380"/>
                <a:gd name="T8" fmla="*/ 588 w 4637"/>
                <a:gd name="T9" fmla="*/ 553 h 1380"/>
                <a:gd name="T10" fmla="*/ 4417 w 4637"/>
                <a:gd name="T11" fmla="*/ 553 h 1380"/>
                <a:gd name="T12" fmla="*/ 4637 w 4637"/>
                <a:gd name="T13" fmla="*/ 0 h 1380"/>
                <a:gd name="T14" fmla="*/ 4422 w 4637"/>
                <a:gd name="T15" fmla="*/ 0 h 1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1380">
                  <a:moveTo>
                    <a:pt x="4422" y="0"/>
                  </a:moveTo>
                  <a:lnTo>
                    <a:pt x="588" y="0"/>
                  </a:lnTo>
                  <a:lnTo>
                    <a:pt x="0" y="156"/>
                  </a:lnTo>
                  <a:lnTo>
                    <a:pt x="0" y="1380"/>
                  </a:lnTo>
                  <a:lnTo>
                    <a:pt x="588" y="553"/>
                  </a:lnTo>
                  <a:lnTo>
                    <a:pt x="4417" y="553"/>
                  </a:lnTo>
                  <a:lnTo>
                    <a:pt x="4637" y="0"/>
                  </a:lnTo>
                  <a:lnTo>
                    <a:pt x="4422" y="0"/>
                  </a:lnTo>
                </a:path>
              </a:pathLst>
            </a:custGeom>
            <a:solidFill>
              <a:schemeClr val="accent6"/>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5" name="Freeform 7"/>
            <p:cNvSpPr>
              <a:spLocks/>
            </p:cNvSpPr>
            <p:nvPr/>
          </p:nvSpPr>
          <p:spPr bwMode="auto">
            <a:xfrm>
              <a:off x="1377861" y="1016001"/>
              <a:ext cx="8986510" cy="1665650"/>
            </a:xfrm>
            <a:custGeom>
              <a:avLst/>
              <a:gdLst>
                <a:gd name="T0" fmla="*/ 4420 w 4639"/>
                <a:gd name="T1" fmla="*/ 1365 h 1365"/>
                <a:gd name="T2" fmla="*/ 4639 w 4639"/>
                <a:gd name="T3" fmla="*/ 819 h 1365"/>
                <a:gd name="T4" fmla="*/ 588 w 4639"/>
                <a:gd name="T5" fmla="*/ 819 h 1365"/>
                <a:gd name="T6" fmla="*/ 0 w 4639"/>
                <a:gd name="T7" fmla="*/ 0 h 1365"/>
                <a:gd name="T8" fmla="*/ 0 w 4639"/>
                <a:gd name="T9" fmla="*/ 982 h 1365"/>
                <a:gd name="T10" fmla="*/ 588 w 4639"/>
                <a:gd name="T11" fmla="*/ 1365 h 1365"/>
                <a:gd name="T12" fmla="*/ 4420 w 4639"/>
                <a:gd name="T13" fmla="*/ 1365 h 1365"/>
              </a:gdLst>
              <a:ahLst/>
              <a:cxnLst>
                <a:cxn ang="0">
                  <a:pos x="T0" y="T1"/>
                </a:cxn>
                <a:cxn ang="0">
                  <a:pos x="T2" y="T3"/>
                </a:cxn>
                <a:cxn ang="0">
                  <a:pos x="T4" y="T5"/>
                </a:cxn>
                <a:cxn ang="0">
                  <a:pos x="T6" y="T7"/>
                </a:cxn>
                <a:cxn ang="0">
                  <a:pos x="T8" y="T9"/>
                </a:cxn>
                <a:cxn ang="0">
                  <a:pos x="T10" y="T11"/>
                </a:cxn>
                <a:cxn ang="0">
                  <a:pos x="T12" y="T13"/>
                </a:cxn>
              </a:cxnLst>
              <a:rect l="0" t="0" r="r" b="b"/>
              <a:pathLst>
                <a:path w="4639" h="1365">
                  <a:moveTo>
                    <a:pt x="4420" y="1365"/>
                  </a:moveTo>
                  <a:lnTo>
                    <a:pt x="4639" y="819"/>
                  </a:lnTo>
                  <a:lnTo>
                    <a:pt x="588" y="819"/>
                  </a:lnTo>
                  <a:lnTo>
                    <a:pt x="0" y="0"/>
                  </a:lnTo>
                  <a:lnTo>
                    <a:pt x="0" y="982"/>
                  </a:lnTo>
                  <a:lnTo>
                    <a:pt x="588" y="1365"/>
                  </a:lnTo>
                  <a:lnTo>
                    <a:pt x="4420" y="1365"/>
                  </a:lnTo>
                  <a:close/>
                </a:path>
              </a:pathLst>
            </a:custGeom>
            <a:solidFill>
              <a:schemeClr val="accent1"/>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6" name="Freeform 8"/>
            <p:cNvSpPr>
              <a:spLocks/>
            </p:cNvSpPr>
            <p:nvPr/>
          </p:nvSpPr>
          <p:spPr bwMode="auto">
            <a:xfrm>
              <a:off x="1377861" y="2214293"/>
              <a:ext cx="8986510" cy="1125077"/>
            </a:xfrm>
            <a:custGeom>
              <a:avLst/>
              <a:gdLst>
                <a:gd name="T0" fmla="*/ 4420 w 4639"/>
                <a:gd name="T1" fmla="*/ 383 h 922"/>
                <a:gd name="T2" fmla="*/ 588 w 4639"/>
                <a:gd name="T3" fmla="*/ 383 h 922"/>
                <a:gd name="T4" fmla="*/ 0 w 4639"/>
                <a:gd name="T5" fmla="*/ 0 h 922"/>
                <a:gd name="T6" fmla="*/ 0 w 4639"/>
                <a:gd name="T7" fmla="*/ 678 h 922"/>
                <a:gd name="T8" fmla="*/ 588 w 4639"/>
                <a:gd name="T9" fmla="*/ 922 h 922"/>
                <a:gd name="T10" fmla="*/ 4424 w 4639"/>
                <a:gd name="T11" fmla="*/ 922 h 922"/>
                <a:gd name="T12" fmla="*/ 4639 w 4639"/>
                <a:gd name="T13" fmla="*/ 383 h 922"/>
                <a:gd name="T14" fmla="*/ 4420 w 4639"/>
                <a:gd name="T15" fmla="*/ 383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9" h="922">
                  <a:moveTo>
                    <a:pt x="4420" y="383"/>
                  </a:moveTo>
                  <a:lnTo>
                    <a:pt x="588" y="383"/>
                  </a:lnTo>
                  <a:lnTo>
                    <a:pt x="0" y="0"/>
                  </a:lnTo>
                  <a:lnTo>
                    <a:pt x="0" y="678"/>
                  </a:lnTo>
                  <a:lnTo>
                    <a:pt x="588" y="922"/>
                  </a:lnTo>
                  <a:lnTo>
                    <a:pt x="4424" y="922"/>
                  </a:lnTo>
                  <a:lnTo>
                    <a:pt x="4639" y="383"/>
                  </a:lnTo>
                  <a:lnTo>
                    <a:pt x="4420" y="383"/>
                  </a:lnTo>
                </a:path>
              </a:pathLst>
            </a:custGeom>
            <a:solidFill>
              <a:schemeClr val="accent3"/>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7" name="Freeform 9"/>
            <p:cNvSpPr>
              <a:spLocks/>
            </p:cNvSpPr>
            <p:nvPr/>
          </p:nvSpPr>
          <p:spPr bwMode="auto">
            <a:xfrm>
              <a:off x="1378810" y="3864079"/>
              <a:ext cx="8982635" cy="976206"/>
            </a:xfrm>
            <a:custGeom>
              <a:avLst/>
              <a:gdLst>
                <a:gd name="T0" fmla="*/ 4420 w 4637"/>
                <a:gd name="T1" fmla="*/ 106 h 800"/>
                <a:gd name="T2" fmla="*/ 590 w 4637"/>
                <a:gd name="T3" fmla="*/ 106 h 800"/>
                <a:gd name="T4" fmla="*/ 0 w 4637"/>
                <a:gd name="T5" fmla="*/ 0 h 800"/>
                <a:gd name="T6" fmla="*/ 0 w 4637"/>
                <a:gd name="T7" fmla="*/ 800 h 800"/>
                <a:gd name="T8" fmla="*/ 588 w 4637"/>
                <a:gd name="T9" fmla="*/ 644 h 800"/>
                <a:gd name="T10" fmla="*/ 4422 w 4637"/>
                <a:gd name="T11" fmla="*/ 644 h 800"/>
                <a:gd name="T12" fmla="*/ 4637 w 4637"/>
                <a:gd name="T13" fmla="*/ 106 h 800"/>
                <a:gd name="T14" fmla="*/ 4420 w 4637"/>
                <a:gd name="T15" fmla="*/ 106 h 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800">
                  <a:moveTo>
                    <a:pt x="4420" y="106"/>
                  </a:moveTo>
                  <a:lnTo>
                    <a:pt x="590" y="106"/>
                  </a:lnTo>
                  <a:lnTo>
                    <a:pt x="0" y="0"/>
                  </a:lnTo>
                  <a:lnTo>
                    <a:pt x="0" y="800"/>
                  </a:lnTo>
                  <a:lnTo>
                    <a:pt x="588" y="644"/>
                  </a:lnTo>
                  <a:lnTo>
                    <a:pt x="4422" y="644"/>
                  </a:lnTo>
                  <a:lnTo>
                    <a:pt x="4637" y="106"/>
                  </a:lnTo>
                  <a:lnTo>
                    <a:pt x="4420" y="106"/>
                  </a:lnTo>
                </a:path>
              </a:pathLst>
            </a:custGeom>
            <a:solidFill>
              <a:schemeClr val="accent5"/>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8" name="Freeform 10"/>
            <p:cNvSpPr>
              <a:spLocks/>
            </p:cNvSpPr>
            <p:nvPr/>
          </p:nvSpPr>
          <p:spPr bwMode="auto">
            <a:xfrm>
              <a:off x="1379761" y="3041626"/>
              <a:ext cx="8978762" cy="951800"/>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chemeClr val="accent2"/>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29" name="Rectangle 28"/>
            <p:cNvSpPr/>
            <p:nvPr/>
          </p:nvSpPr>
          <p:spPr>
            <a:xfrm>
              <a:off x="3070138" y="2136281"/>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0" name="Rectangle 29"/>
            <p:cNvSpPr/>
            <p:nvPr/>
          </p:nvSpPr>
          <p:spPr>
            <a:xfrm>
              <a:off x="3070138" y="2798559"/>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1" name="Rectangle 30"/>
            <p:cNvSpPr/>
            <p:nvPr/>
          </p:nvSpPr>
          <p:spPr>
            <a:xfrm>
              <a:off x="3070138" y="3460836"/>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2" name="Rectangle 31"/>
            <p:cNvSpPr/>
            <p:nvPr/>
          </p:nvSpPr>
          <p:spPr>
            <a:xfrm>
              <a:off x="3070138" y="4123114"/>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sp>
          <p:nvSpPr>
            <p:cNvPr id="33" name="Rectangle 32"/>
            <p:cNvSpPr/>
            <p:nvPr/>
          </p:nvSpPr>
          <p:spPr>
            <a:xfrm>
              <a:off x="3070138" y="4785391"/>
              <a:ext cx="6250488" cy="307777"/>
            </a:xfrm>
            <a:prstGeom prst="rect">
              <a:avLst/>
            </a:prstGeom>
            <a:ln>
              <a:noFill/>
            </a:ln>
          </p:spPr>
          <p:txBody>
            <a:bodyPr wrap="square" lIns="0" tIns="0" rIns="0" bIns="0">
              <a:spAutoFit/>
            </a:bodyPr>
            <a:lstStyle/>
            <a:p>
              <a:r>
                <a:rPr lang="en-US" sz="1000" dirty="0" err="1">
                  <a:solidFill>
                    <a:schemeClr val="bg1"/>
                  </a:solidFill>
                </a:rPr>
                <a:t>Lorem</a:t>
              </a:r>
              <a:r>
                <a:rPr lang="en-US" sz="1000" dirty="0">
                  <a:solidFill>
                    <a:schemeClr val="bg1"/>
                  </a:solidFill>
                </a:rPr>
                <a:t> </a:t>
              </a:r>
              <a:r>
                <a:rPr lang="en-US" sz="1000" dirty="0" err="1">
                  <a:solidFill>
                    <a:schemeClr val="bg1"/>
                  </a:solidFill>
                </a:rPr>
                <a:t>ips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Maecenas </a:t>
              </a:r>
              <a:r>
                <a:rPr lang="en-US" sz="1000" dirty="0" err="1">
                  <a:solidFill>
                    <a:schemeClr val="bg1"/>
                  </a:solidFill>
                </a:rPr>
                <a:t>tincidunt</a:t>
              </a:r>
              <a:r>
                <a:rPr lang="en-US" sz="1000" dirty="0">
                  <a:solidFill>
                    <a:schemeClr val="bg1"/>
                  </a:solidFill>
                </a:rPr>
                <a:t> </a:t>
              </a:r>
              <a:r>
                <a:rPr lang="en-US" sz="1000" dirty="0" err="1">
                  <a:solidFill>
                    <a:schemeClr val="bg1"/>
                  </a:solidFill>
                </a:rPr>
                <a:t>fringilla</a:t>
              </a:r>
              <a:r>
                <a:rPr lang="en-US" sz="1000" dirty="0">
                  <a:solidFill>
                    <a:schemeClr val="bg1"/>
                  </a:solidFill>
                </a:rPr>
                <a:t> </a:t>
              </a:r>
              <a:r>
                <a:rPr lang="en-US" sz="1000" dirty="0" err="1">
                  <a:solidFill>
                    <a:schemeClr val="bg1"/>
                  </a:solidFill>
                </a:rPr>
                <a:t>felis</a:t>
              </a:r>
              <a:r>
                <a:rPr lang="en-US" sz="1000" dirty="0">
                  <a:solidFill>
                    <a:schemeClr val="bg1"/>
                  </a:solidFill>
                </a:rPr>
                <a:t> </a:t>
              </a:r>
              <a:r>
                <a:rPr lang="en-US" sz="1000" dirty="0" err="1">
                  <a:solidFill>
                    <a:schemeClr val="bg1"/>
                  </a:solidFill>
                </a:rPr>
                <a:t>vel</a:t>
              </a:r>
              <a:r>
                <a:rPr lang="en-US" sz="1000" dirty="0">
                  <a:solidFill>
                    <a:schemeClr val="bg1"/>
                  </a:solidFill>
                </a:rPr>
                <a:t> </a:t>
              </a:r>
              <a:r>
                <a:rPr lang="en-US" sz="1000" dirty="0" err="1">
                  <a:solidFill>
                    <a:schemeClr val="bg1"/>
                  </a:solidFill>
                </a:rPr>
                <a:t>bibendum</a:t>
              </a:r>
              <a:r>
                <a:rPr lang="en-US" sz="1000" dirty="0">
                  <a:solidFill>
                    <a:schemeClr val="bg1"/>
                  </a:solidFill>
                </a:rPr>
                <a:t>.</a:t>
              </a:r>
            </a:p>
          </p:txBody>
        </p:sp>
        <p:grpSp>
          <p:nvGrpSpPr>
            <p:cNvPr id="71" name="Group 501"/>
            <p:cNvGrpSpPr>
              <a:grpSpLocks noChangeAspect="1"/>
            </p:cNvGrpSpPr>
            <p:nvPr/>
          </p:nvGrpSpPr>
          <p:grpSpPr bwMode="auto">
            <a:xfrm>
              <a:off x="10470765" y="4859357"/>
              <a:ext cx="501003" cy="501003"/>
              <a:chOff x="3419" y="2995"/>
              <a:chExt cx="340" cy="340"/>
            </a:xfrm>
            <a:solidFill>
              <a:schemeClr val="accent6"/>
            </a:solidFill>
          </p:grpSpPr>
          <p:sp>
            <p:nvSpPr>
              <p:cNvPr id="72" name="Freeform 502"/>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503"/>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4" name="Group 853"/>
            <p:cNvGrpSpPr>
              <a:grpSpLocks noChangeAspect="1"/>
            </p:cNvGrpSpPr>
            <p:nvPr/>
          </p:nvGrpSpPr>
          <p:grpSpPr bwMode="auto">
            <a:xfrm>
              <a:off x="10470765" y="3485042"/>
              <a:ext cx="501003" cy="501003"/>
              <a:chOff x="5046" y="4010"/>
              <a:chExt cx="340" cy="340"/>
            </a:xfrm>
            <a:solidFill>
              <a:schemeClr val="accent2"/>
            </a:solidFill>
          </p:grpSpPr>
          <p:sp>
            <p:nvSpPr>
              <p:cNvPr id="75" name="Freeform 854"/>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855"/>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309"/>
            <p:cNvGrpSpPr>
              <a:grpSpLocks noChangeAspect="1"/>
            </p:cNvGrpSpPr>
            <p:nvPr/>
          </p:nvGrpSpPr>
          <p:grpSpPr bwMode="auto">
            <a:xfrm>
              <a:off x="10470765" y="4171493"/>
              <a:ext cx="503894" cy="502417"/>
              <a:chOff x="6585" y="1193"/>
              <a:chExt cx="341" cy="340"/>
            </a:xfrm>
            <a:solidFill>
              <a:schemeClr val="accent5"/>
            </a:solidFill>
          </p:grpSpPr>
          <p:sp>
            <p:nvSpPr>
              <p:cNvPr id="7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786"/>
            <p:cNvGrpSpPr>
              <a:grpSpLocks noChangeAspect="1"/>
            </p:cNvGrpSpPr>
            <p:nvPr/>
          </p:nvGrpSpPr>
          <p:grpSpPr bwMode="auto">
            <a:xfrm>
              <a:off x="10470765" y="2797174"/>
              <a:ext cx="502418" cy="502418"/>
              <a:chOff x="5071" y="3066"/>
              <a:chExt cx="340" cy="340"/>
            </a:xfrm>
            <a:solidFill>
              <a:schemeClr val="accent3"/>
            </a:solidFill>
          </p:grpSpPr>
          <p:sp>
            <p:nvSpPr>
              <p:cNvPr id="81" name="Freeform 787"/>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788"/>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3" name="Group 657"/>
            <p:cNvGrpSpPr>
              <a:grpSpLocks noChangeAspect="1"/>
            </p:cNvGrpSpPr>
            <p:nvPr/>
          </p:nvGrpSpPr>
          <p:grpSpPr bwMode="auto">
            <a:xfrm>
              <a:off x="10470765" y="2108417"/>
              <a:ext cx="504789" cy="503309"/>
              <a:chOff x="2738" y="2314"/>
              <a:chExt cx="341" cy="340"/>
            </a:xfrm>
            <a:solidFill>
              <a:schemeClr val="accent1"/>
            </a:solidFill>
          </p:grpSpPr>
          <p:sp>
            <p:nvSpPr>
              <p:cNvPr id="84" name="Freeform 658"/>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59"/>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1992671131"/>
      </p:ext>
    </p:extLst>
  </p:cSld>
  <p:clrMapOvr>
    <a:masterClrMapping/>
  </p:clrMapOvr>
  <p:transition>
    <p:fade/>
  </p:transition>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Ribbons with icons</a:t>
            </a:r>
            <a:endParaRPr lang="en-GB" dirty="0"/>
          </a:p>
        </p:txBody>
      </p:sp>
      <p:sp>
        <p:nvSpPr>
          <p:cNvPr id="3" name="Title 2"/>
          <p:cNvSpPr>
            <a:spLocks noGrp="1"/>
          </p:cNvSpPr>
          <p:nvPr>
            <p:ph type="title"/>
          </p:nvPr>
        </p:nvSpPr>
        <p:spPr/>
        <p:txBody>
          <a:bodyPr/>
          <a:lstStyle/>
          <a:p>
            <a:r>
              <a:rPr lang="en-US" altLang="ja-JP"/>
              <a:t>Bends</a:t>
            </a:r>
            <a:endParaRPr lang="en-GB" dirty="0"/>
          </a:p>
        </p:txBody>
      </p:sp>
      <p:grpSp>
        <p:nvGrpSpPr>
          <p:cNvPr id="30" name="Group 29">
            <a:extLst>
              <a:ext uri="{FF2B5EF4-FFF2-40B4-BE49-F238E27FC236}">
                <a16:creationId xmlns:a16="http://schemas.microsoft.com/office/drawing/2014/main" id="{07F294C1-537D-3149-9556-DE9A0B31F73F}"/>
              </a:ext>
            </a:extLst>
          </p:cNvPr>
          <p:cNvGrpSpPr/>
          <p:nvPr/>
        </p:nvGrpSpPr>
        <p:grpSpPr>
          <a:xfrm>
            <a:off x="1377861" y="1016001"/>
            <a:ext cx="9597693" cy="5317877"/>
            <a:chOff x="1377861" y="1016001"/>
            <a:chExt cx="9597693" cy="5317877"/>
          </a:xfrm>
        </p:grpSpPr>
        <p:sp>
          <p:nvSpPr>
            <p:cNvPr id="31" name="Freeform 6">
              <a:extLst>
                <a:ext uri="{FF2B5EF4-FFF2-40B4-BE49-F238E27FC236}">
                  <a16:creationId xmlns:a16="http://schemas.microsoft.com/office/drawing/2014/main" id="{C25C6431-B5F0-4E4C-A7C2-1650A831F6F9}"/>
                </a:ext>
              </a:extLst>
            </p:cNvPr>
            <p:cNvSpPr>
              <a:spLocks/>
            </p:cNvSpPr>
            <p:nvPr/>
          </p:nvSpPr>
          <p:spPr bwMode="auto">
            <a:xfrm>
              <a:off x="1378810" y="4649924"/>
              <a:ext cx="8982635" cy="1683954"/>
            </a:xfrm>
            <a:custGeom>
              <a:avLst/>
              <a:gdLst>
                <a:gd name="T0" fmla="*/ 4422 w 4637"/>
                <a:gd name="T1" fmla="*/ 0 h 1380"/>
                <a:gd name="T2" fmla="*/ 588 w 4637"/>
                <a:gd name="T3" fmla="*/ 0 h 1380"/>
                <a:gd name="T4" fmla="*/ 0 w 4637"/>
                <a:gd name="T5" fmla="*/ 156 h 1380"/>
                <a:gd name="T6" fmla="*/ 0 w 4637"/>
                <a:gd name="T7" fmla="*/ 1380 h 1380"/>
                <a:gd name="T8" fmla="*/ 588 w 4637"/>
                <a:gd name="T9" fmla="*/ 553 h 1380"/>
                <a:gd name="T10" fmla="*/ 4417 w 4637"/>
                <a:gd name="T11" fmla="*/ 553 h 1380"/>
                <a:gd name="T12" fmla="*/ 4637 w 4637"/>
                <a:gd name="T13" fmla="*/ 0 h 1380"/>
                <a:gd name="T14" fmla="*/ 4422 w 4637"/>
                <a:gd name="T15" fmla="*/ 0 h 1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1380">
                  <a:moveTo>
                    <a:pt x="4422" y="0"/>
                  </a:moveTo>
                  <a:lnTo>
                    <a:pt x="588" y="0"/>
                  </a:lnTo>
                  <a:lnTo>
                    <a:pt x="0" y="156"/>
                  </a:lnTo>
                  <a:lnTo>
                    <a:pt x="0" y="1380"/>
                  </a:lnTo>
                  <a:lnTo>
                    <a:pt x="588" y="553"/>
                  </a:lnTo>
                  <a:lnTo>
                    <a:pt x="4417" y="553"/>
                  </a:lnTo>
                  <a:lnTo>
                    <a:pt x="4637" y="0"/>
                  </a:lnTo>
                  <a:lnTo>
                    <a:pt x="4422" y="0"/>
                  </a:lnTo>
                </a:path>
              </a:pathLst>
            </a:custGeom>
            <a:solidFill>
              <a:schemeClr val="accent6"/>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2" name="Freeform 7">
              <a:extLst>
                <a:ext uri="{FF2B5EF4-FFF2-40B4-BE49-F238E27FC236}">
                  <a16:creationId xmlns:a16="http://schemas.microsoft.com/office/drawing/2014/main" id="{D752BBBC-483F-5346-87AE-B491BEC7861B}"/>
                </a:ext>
              </a:extLst>
            </p:cNvPr>
            <p:cNvSpPr>
              <a:spLocks/>
            </p:cNvSpPr>
            <p:nvPr/>
          </p:nvSpPr>
          <p:spPr bwMode="auto">
            <a:xfrm>
              <a:off x="1377861" y="1016001"/>
              <a:ext cx="8986510" cy="1665650"/>
            </a:xfrm>
            <a:custGeom>
              <a:avLst/>
              <a:gdLst>
                <a:gd name="T0" fmla="*/ 4420 w 4639"/>
                <a:gd name="T1" fmla="*/ 1365 h 1365"/>
                <a:gd name="T2" fmla="*/ 4639 w 4639"/>
                <a:gd name="T3" fmla="*/ 819 h 1365"/>
                <a:gd name="T4" fmla="*/ 588 w 4639"/>
                <a:gd name="T5" fmla="*/ 819 h 1365"/>
                <a:gd name="T6" fmla="*/ 0 w 4639"/>
                <a:gd name="T7" fmla="*/ 0 h 1365"/>
                <a:gd name="T8" fmla="*/ 0 w 4639"/>
                <a:gd name="T9" fmla="*/ 982 h 1365"/>
                <a:gd name="T10" fmla="*/ 588 w 4639"/>
                <a:gd name="T11" fmla="*/ 1365 h 1365"/>
                <a:gd name="T12" fmla="*/ 4420 w 4639"/>
                <a:gd name="T13" fmla="*/ 1365 h 1365"/>
              </a:gdLst>
              <a:ahLst/>
              <a:cxnLst>
                <a:cxn ang="0">
                  <a:pos x="T0" y="T1"/>
                </a:cxn>
                <a:cxn ang="0">
                  <a:pos x="T2" y="T3"/>
                </a:cxn>
                <a:cxn ang="0">
                  <a:pos x="T4" y="T5"/>
                </a:cxn>
                <a:cxn ang="0">
                  <a:pos x="T6" y="T7"/>
                </a:cxn>
                <a:cxn ang="0">
                  <a:pos x="T8" y="T9"/>
                </a:cxn>
                <a:cxn ang="0">
                  <a:pos x="T10" y="T11"/>
                </a:cxn>
                <a:cxn ang="0">
                  <a:pos x="T12" y="T13"/>
                </a:cxn>
              </a:cxnLst>
              <a:rect l="0" t="0" r="r" b="b"/>
              <a:pathLst>
                <a:path w="4639" h="1365">
                  <a:moveTo>
                    <a:pt x="4420" y="1365"/>
                  </a:moveTo>
                  <a:lnTo>
                    <a:pt x="4639" y="819"/>
                  </a:lnTo>
                  <a:lnTo>
                    <a:pt x="588" y="819"/>
                  </a:lnTo>
                  <a:lnTo>
                    <a:pt x="0" y="0"/>
                  </a:lnTo>
                  <a:lnTo>
                    <a:pt x="0" y="982"/>
                  </a:lnTo>
                  <a:lnTo>
                    <a:pt x="588" y="1365"/>
                  </a:lnTo>
                  <a:lnTo>
                    <a:pt x="4420" y="1365"/>
                  </a:lnTo>
                  <a:close/>
                </a:path>
              </a:pathLst>
            </a:custGeom>
            <a:solidFill>
              <a:schemeClr val="accent1"/>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3" name="Freeform 8">
              <a:extLst>
                <a:ext uri="{FF2B5EF4-FFF2-40B4-BE49-F238E27FC236}">
                  <a16:creationId xmlns:a16="http://schemas.microsoft.com/office/drawing/2014/main" id="{8D301824-1C2D-1946-B008-840E2CE1C296}"/>
                </a:ext>
              </a:extLst>
            </p:cNvPr>
            <p:cNvSpPr>
              <a:spLocks/>
            </p:cNvSpPr>
            <p:nvPr/>
          </p:nvSpPr>
          <p:spPr bwMode="auto">
            <a:xfrm>
              <a:off x="1377861" y="2214293"/>
              <a:ext cx="8986510" cy="1125077"/>
            </a:xfrm>
            <a:custGeom>
              <a:avLst/>
              <a:gdLst>
                <a:gd name="T0" fmla="*/ 4420 w 4639"/>
                <a:gd name="T1" fmla="*/ 383 h 922"/>
                <a:gd name="T2" fmla="*/ 588 w 4639"/>
                <a:gd name="T3" fmla="*/ 383 h 922"/>
                <a:gd name="T4" fmla="*/ 0 w 4639"/>
                <a:gd name="T5" fmla="*/ 0 h 922"/>
                <a:gd name="T6" fmla="*/ 0 w 4639"/>
                <a:gd name="T7" fmla="*/ 678 h 922"/>
                <a:gd name="T8" fmla="*/ 588 w 4639"/>
                <a:gd name="T9" fmla="*/ 922 h 922"/>
                <a:gd name="T10" fmla="*/ 4424 w 4639"/>
                <a:gd name="T11" fmla="*/ 922 h 922"/>
                <a:gd name="T12" fmla="*/ 4639 w 4639"/>
                <a:gd name="T13" fmla="*/ 383 h 922"/>
                <a:gd name="T14" fmla="*/ 4420 w 4639"/>
                <a:gd name="T15" fmla="*/ 383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9" h="922">
                  <a:moveTo>
                    <a:pt x="4420" y="383"/>
                  </a:moveTo>
                  <a:lnTo>
                    <a:pt x="588" y="383"/>
                  </a:lnTo>
                  <a:lnTo>
                    <a:pt x="0" y="0"/>
                  </a:lnTo>
                  <a:lnTo>
                    <a:pt x="0" y="678"/>
                  </a:lnTo>
                  <a:lnTo>
                    <a:pt x="588" y="922"/>
                  </a:lnTo>
                  <a:lnTo>
                    <a:pt x="4424" y="922"/>
                  </a:lnTo>
                  <a:lnTo>
                    <a:pt x="4639" y="383"/>
                  </a:lnTo>
                  <a:lnTo>
                    <a:pt x="4420" y="383"/>
                  </a:lnTo>
                </a:path>
              </a:pathLst>
            </a:custGeom>
            <a:solidFill>
              <a:schemeClr val="accent3"/>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4" name="Freeform 9">
              <a:extLst>
                <a:ext uri="{FF2B5EF4-FFF2-40B4-BE49-F238E27FC236}">
                  <a16:creationId xmlns:a16="http://schemas.microsoft.com/office/drawing/2014/main" id="{C030210D-106A-174C-8F19-4CD73FBD299B}"/>
                </a:ext>
              </a:extLst>
            </p:cNvPr>
            <p:cNvSpPr>
              <a:spLocks/>
            </p:cNvSpPr>
            <p:nvPr/>
          </p:nvSpPr>
          <p:spPr bwMode="auto">
            <a:xfrm>
              <a:off x="1378810" y="3864079"/>
              <a:ext cx="8982635" cy="976206"/>
            </a:xfrm>
            <a:custGeom>
              <a:avLst/>
              <a:gdLst>
                <a:gd name="T0" fmla="*/ 4420 w 4637"/>
                <a:gd name="T1" fmla="*/ 106 h 800"/>
                <a:gd name="T2" fmla="*/ 590 w 4637"/>
                <a:gd name="T3" fmla="*/ 106 h 800"/>
                <a:gd name="T4" fmla="*/ 0 w 4637"/>
                <a:gd name="T5" fmla="*/ 0 h 800"/>
                <a:gd name="T6" fmla="*/ 0 w 4637"/>
                <a:gd name="T7" fmla="*/ 800 h 800"/>
                <a:gd name="T8" fmla="*/ 588 w 4637"/>
                <a:gd name="T9" fmla="*/ 644 h 800"/>
                <a:gd name="T10" fmla="*/ 4422 w 4637"/>
                <a:gd name="T11" fmla="*/ 644 h 800"/>
                <a:gd name="T12" fmla="*/ 4637 w 4637"/>
                <a:gd name="T13" fmla="*/ 106 h 800"/>
                <a:gd name="T14" fmla="*/ 4420 w 4637"/>
                <a:gd name="T15" fmla="*/ 106 h 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800">
                  <a:moveTo>
                    <a:pt x="4420" y="106"/>
                  </a:moveTo>
                  <a:lnTo>
                    <a:pt x="590" y="106"/>
                  </a:lnTo>
                  <a:lnTo>
                    <a:pt x="0" y="0"/>
                  </a:lnTo>
                  <a:lnTo>
                    <a:pt x="0" y="800"/>
                  </a:lnTo>
                  <a:lnTo>
                    <a:pt x="588" y="644"/>
                  </a:lnTo>
                  <a:lnTo>
                    <a:pt x="4422" y="644"/>
                  </a:lnTo>
                  <a:lnTo>
                    <a:pt x="4637" y="106"/>
                  </a:lnTo>
                  <a:lnTo>
                    <a:pt x="4420" y="106"/>
                  </a:lnTo>
                </a:path>
              </a:pathLst>
            </a:custGeom>
            <a:solidFill>
              <a:schemeClr val="accent5"/>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5" name="Freeform 10">
              <a:extLst>
                <a:ext uri="{FF2B5EF4-FFF2-40B4-BE49-F238E27FC236}">
                  <a16:creationId xmlns:a16="http://schemas.microsoft.com/office/drawing/2014/main" id="{C682BE24-EC16-5644-8EBE-5DD479BDAB7A}"/>
                </a:ext>
              </a:extLst>
            </p:cNvPr>
            <p:cNvSpPr>
              <a:spLocks/>
            </p:cNvSpPr>
            <p:nvPr/>
          </p:nvSpPr>
          <p:spPr bwMode="auto">
            <a:xfrm>
              <a:off x="1379761" y="3041626"/>
              <a:ext cx="8978762" cy="951800"/>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chemeClr val="accent2"/>
            </a:solidFill>
            <a:ln w="9525" cap="flat">
              <a:noFill/>
              <a:prstDash val="solid"/>
              <a:miter lim="800000"/>
              <a:headEnd/>
              <a:tailEnd/>
            </a:ln>
          </p:spPr>
          <p:txBody>
            <a:bodyPr vert="horz" wrap="square" lIns="91440" tIns="91440" rIns="91440" bIns="91440" numCol="1" anchor="t" anchorCtr="0" compatLnSpc="1">
              <a:prstTxWarp prst="textNoShape">
                <a:avLst/>
              </a:prstTxWarp>
            </a:bodyPr>
            <a:lstStyle/>
            <a:p>
              <a:endParaRPr lang="en-US"/>
            </a:p>
          </p:txBody>
        </p:sp>
        <p:sp>
          <p:nvSpPr>
            <p:cNvPr id="36" name="Rectangle 35">
              <a:extLst>
                <a:ext uri="{FF2B5EF4-FFF2-40B4-BE49-F238E27FC236}">
                  <a16:creationId xmlns:a16="http://schemas.microsoft.com/office/drawing/2014/main" id="{1537931E-22BF-0A46-85EB-4B0D4DF03787}"/>
                </a:ext>
              </a:extLst>
            </p:cNvPr>
            <p:cNvSpPr/>
            <p:nvPr/>
          </p:nvSpPr>
          <p:spPr>
            <a:xfrm>
              <a:off x="3070138" y="2136281"/>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37" name="Rectangle 36">
              <a:extLst>
                <a:ext uri="{FF2B5EF4-FFF2-40B4-BE49-F238E27FC236}">
                  <a16:creationId xmlns:a16="http://schemas.microsoft.com/office/drawing/2014/main" id="{F692A268-8BD9-4B41-9E38-A843D37F028A}"/>
                </a:ext>
              </a:extLst>
            </p:cNvPr>
            <p:cNvSpPr/>
            <p:nvPr/>
          </p:nvSpPr>
          <p:spPr>
            <a:xfrm>
              <a:off x="3070138" y="2798559"/>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38" name="Rectangle 37">
              <a:extLst>
                <a:ext uri="{FF2B5EF4-FFF2-40B4-BE49-F238E27FC236}">
                  <a16:creationId xmlns:a16="http://schemas.microsoft.com/office/drawing/2014/main" id="{FF30E81D-4C2F-C448-B740-9416500F31FB}"/>
                </a:ext>
              </a:extLst>
            </p:cNvPr>
            <p:cNvSpPr/>
            <p:nvPr/>
          </p:nvSpPr>
          <p:spPr>
            <a:xfrm>
              <a:off x="3070138" y="3460836"/>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39" name="Rectangle 38">
              <a:extLst>
                <a:ext uri="{FF2B5EF4-FFF2-40B4-BE49-F238E27FC236}">
                  <a16:creationId xmlns:a16="http://schemas.microsoft.com/office/drawing/2014/main" id="{A4E238DB-14A8-CF42-88BF-329F0C9241CC}"/>
                </a:ext>
              </a:extLst>
            </p:cNvPr>
            <p:cNvSpPr/>
            <p:nvPr/>
          </p:nvSpPr>
          <p:spPr>
            <a:xfrm>
              <a:off x="3070138" y="4123114"/>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sp>
          <p:nvSpPr>
            <p:cNvPr id="40" name="Rectangle 39">
              <a:extLst>
                <a:ext uri="{FF2B5EF4-FFF2-40B4-BE49-F238E27FC236}">
                  <a16:creationId xmlns:a16="http://schemas.microsoft.com/office/drawing/2014/main" id="{CD907ABC-B5A3-6B43-9F99-5291E8F37D39}"/>
                </a:ext>
              </a:extLst>
            </p:cNvPr>
            <p:cNvSpPr/>
            <p:nvPr/>
          </p:nvSpPr>
          <p:spPr>
            <a:xfrm>
              <a:off x="3070138" y="4785391"/>
              <a:ext cx="6250488" cy="307777"/>
            </a:xfrm>
            <a:prstGeom prst="rect">
              <a:avLst/>
            </a:prstGeom>
            <a:ln>
              <a:noFill/>
            </a:ln>
          </p:spPr>
          <p:txBody>
            <a:bodyPr wrap="square" lIns="0" tIns="0" rIns="0" bIns="0">
              <a:spAutoFit/>
            </a:bodyPr>
            <a:lstStyle/>
            <a:p>
              <a:r>
                <a:rPr lang="en-US" sz="1000" dirty="0" err="1"/>
                <a:t>Lorem</a:t>
              </a:r>
              <a:r>
                <a:rPr lang="en-US" sz="1000" dirty="0"/>
                <a:t> </a:t>
              </a:r>
              <a:r>
                <a:rPr lang="en-US" sz="1000" dirty="0" err="1"/>
                <a:t>ips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Maecenas </a:t>
              </a:r>
              <a:r>
                <a:rPr lang="en-US" sz="1000" dirty="0" err="1"/>
                <a:t>tincidunt</a:t>
              </a:r>
              <a:r>
                <a:rPr lang="en-US" sz="1000" dirty="0"/>
                <a:t> </a:t>
              </a:r>
              <a:r>
                <a:rPr lang="en-US" sz="1000" dirty="0" err="1"/>
                <a:t>fringilla</a:t>
              </a:r>
              <a:r>
                <a:rPr lang="en-US" sz="1000" dirty="0"/>
                <a:t> </a:t>
              </a:r>
              <a:r>
                <a:rPr lang="en-US" sz="1000" dirty="0" err="1"/>
                <a:t>felis</a:t>
              </a:r>
              <a:r>
                <a:rPr lang="en-US" sz="1000" dirty="0"/>
                <a:t> </a:t>
              </a:r>
              <a:r>
                <a:rPr lang="en-US" sz="1000" dirty="0" err="1"/>
                <a:t>vel</a:t>
              </a:r>
              <a:r>
                <a:rPr lang="en-US" sz="1000" dirty="0"/>
                <a:t> </a:t>
              </a:r>
              <a:r>
                <a:rPr lang="en-US" sz="1000" dirty="0" err="1"/>
                <a:t>bibendum</a:t>
              </a:r>
              <a:r>
                <a:rPr lang="en-US" sz="1000" dirty="0"/>
                <a:t>.</a:t>
              </a:r>
            </a:p>
          </p:txBody>
        </p:sp>
        <p:grpSp>
          <p:nvGrpSpPr>
            <p:cNvPr id="41" name="Group 501">
              <a:extLst>
                <a:ext uri="{FF2B5EF4-FFF2-40B4-BE49-F238E27FC236}">
                  <a16:creationId xmlns:a16="http://schemas.microsoft.com/office/drawing/2014/main" id="{1F7145EF-4BD3-394F-B57E-34C176573D00}"/>
                </a:ext>
              </a:extLst>
            </p:cNvPr>
            <p:cNvGrpSpPr>
              <a:grpSpLocks noChangeAspect="1"/>
            </p:cNvGrpSpPr>
            <p:nvPr/>
          </p:nvGrpSpPr>
          <p:grpSpPr bwMode="auto">
            <a:xfrm>
              <a:off x="10470765" y="4859357"/>
              <a:ext cx="501003" cy="501003"/>
              <a:chOff x="3419" y="2995"/>
              <a:chExt cx="340" cy="340"/>
            </a:xfrm>
            <a:solidFill>
              <a:schemeClr val="accent6"/>
            </a:solidFill>
          </p:grpSpPr>
          <p:sp>
            <p:nvSpPr>
              <p:cNvPr id="54" name="Freeform 502">
                <a:extLst>
                  <a:ext uri="{FF2B5EF4-FFF2-40B4-BE49-F238E27FC236}">
                    <a16:creationId xmlns:a16="http://schemas.microsoft.com/office/drawing/2014/main" id="{CFC678DE-1E36-694D-85B4-C7A4F3DE97E6}"/>
                  </a:ext>
                </a:extLst>
              </p:cNvPr>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503">
                <a:extLst>
                  <a:ext uri="{FF2B5EF4-FFF2-40B4-BE49-F238E27FC236}">
                    <a16:creationId xmlns:a16="http://schemas.microsoft.com/office/drawing/2014/main" id="{F1B55A40-2A8C-0344-921A-C751275AAF44}"/>
                  </a:ext>
                </a:extLst>
              </p:cNvPr>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2" name="Group 853">
              <a:extLst>
                <a:ext uri="{FF2B5EF4-FFF2-40B4-BE49-F238E27FC236}">
                  <a16:creationId xmlns:a16="http://schemas.microsoft.com/office/drawing/2014/main" id="{919B6DD8-3192-2642-897A-42E6680A626A}"/>
                </a:ext>
              </a:extLst>
            </p:cNvPr>
            <p:cNvGrpSpPr>
              <a:grpSpLocks noChangeAspect="1"/>
            </p:cNvGrpSpPr>
            <p:nvPr/>
          </p:nvGrpSpPr>
          <p:grpSpPr bwMode="auto">
            <a:xfrm>
              <a:off x="10470765" y="3485042"/>
              <a:ext cx="501003" cy="501003"/>
              <a:chOff x="5046" y="4010"/>
              <a:chExt cx="340" cy="340"/>
            </a:xfrm>
            <a:solidFill>
              <a:schemeClr val="accent2"/>
            </a:solidFill>
          </p:grpSpPr>
          <p:sp>
            <p:nvSpPr>
              <p:cNvPr id="52" name="Freeform 854">
                <a:extLst>
                  <a:ext uri="{FF2B5EF4-FFF2-40B4-BE49-F238E27FC236}">
                    <a16:creationId xmlns:a16="http://schemas.microsoft.com/office/drawing/2014/main" id="{205EDFC2-BC25-EA44-8D16-4426F8EEE287}"/>
                  </a:ext>
                </a:extLst>
              </p:cNvPr>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855">
                <a:extLst>
                  <a:ext uri="{FF2B5EF4-FFF2-40B4-BE49-F238E27FC236}">
                    <a16:creationId xmlns:a16="http://schemas.microsoft.com/office/drawing/2014/main" id="{53D0136B-AAE9-C844-9A13-599E05849352}"/>
                  </a:ext>
                </a:extLst>
              </p:cNvPr>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3" name="Group 309">
              <a:extLst>
                <a:ext uri="{FF2B5EF4-FFF2-40B4-BE49-F238E27FC236}">
                  <a16:creationId xmlns:a16="http://schemas.microsoft.com/office/drawing/2014/main" id="{F43D89A2-E04E-504F-974E-8C4656A28308}"/>
                </a:ext>
              </a:extLst>
            </p:cNvPr>
            <p:cNvGrpSpPr>
              <a:grpSpLocks noChangeAspect="1"/>
            </p:cNvGrpSpPr>
            <p:nvPr/>
          </p:nvGrpSpPr>
          <p:grpSpPr bwMode="auto">
            <a:xfrm>
              <a:off x="10470765" y="4171493"/>
              <a:ext cx="503894" cy="502417"/>
              <a:chOff x="6585" y="1193"/>
              <a:chExt cx="341" cy="340"/>
            </a:xfrm>
            <a:solidFill>
              <a:schemeClr val="accent5"/>
            </a:solidFill>
          </p:grpSpPr>
          <p:sp>
            <p:nvSpPr>
              <p:cNvPr id="50" name="Freeform 310">
                <a:extLst>
                  <a:ext uri="{FF2B5EF4-FFF2-40B4-BE49-F238E27FC236}">
                    <a16:creationId xmlns:a16="http://schemas.microsoft.com/office/drawing/2014/main" id="{422B0FF3-2ACC-014A-BFEA-9ABCC6288458}"/>
                  </a:ext>
                </a:extLst>
              </p:cNvPr>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311">
                <a:extLst>
                  <a:ext uri="{FF2B5EF4-FFF2-40B4-BE49-F238E27FC236}">
                    <a16:creationId xmlns:a16="http://schemas.microsoft.com/office/drawing/2014/main" id="{554E5842-737F-684E-9905-73B1489A3072}"/>
                  </a:ext>
                </a:extLst>
              </p:cNvPr>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4" name="Group 786">
              <a:extLst>
                <a:ext uri="{FF2B5EF4-FFF2-40B4-BE49-F238E27FC236}">
                  <a16:creationId xmlns:a16="http://schemas.microsoft.com/office/drawing/2014/main" id="{8EDEF7F3-3468-7949-9F57-4BADB7DECAA1}"/>
                </a:ext>
              </a:extLst>
            </p:cNvPr>
            <p:cNvGrpSpPr>
              <a:grpSpLocks noChangeAspect="1"/>
            </p:cNvGrpSpPr>
            <p:nvPr/>
          </p:nvGrpSpPr>
          <p:grpSpPr bwMode="auto">
            <a:xfrm>
              <a:off x="10470765" y="2797174"/>
              <a:ext cx="502418" cy="502418"/>
              <a:chOff x="5071" y="3066"/>
              <a:chExt cx="340" cy="340"/>
            </a:xfrm>
            <a:solidFill>
              <a:schemeClr val="accent3"/>
            </a:solidFill>
          </p:grpSpPr>
          <p:sp>
            <p:nvSpPr>
              <p:cNvPr id="48" name="Freeform 787">
                <a:extLst>
                  <a:ext uri="{FF2B5EF4-FFF2-40B4-BE49-F238E27FC236}">
                    <a16:creationId xmlns:a16="http://schemas.microsoft.com/office/drawing/2014/main" id="{F44C16CA-2845-6540-941B-24C6E98E273B}"/>
                  </a:ext>
                </a:extLst>
              </p:cNvPr>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788">
                <a:extLst>
                  <a:ext uri="{FF2B5EF4-FFF2-40B4-BE49-F238E27FC236}">
                    <a16:creationId xmlns:a16="http://schemas.microsoft.com/office/drawing/2014/main" id="{738C4B03-C26A-D54D-8552-9419B57320B0}"/>
                  </a:ext>
                </a:extLst>
              </p:cNvPr>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5" name="Group 657">
              <a:extLst>
                <a:ext uri="{FF2B5EF4-FFF2-40B4-BE49-F238E27FC236}">
                  <a16:creationId xmlns:a16="http://schemas.microsoft.com/office/drawing/2014/main" id="{C402C5F2-CEFB-584D-98F8-9464684B9002}"/>
                </a:ext>
              </a:extLst>
            </p:cNvPr>
            <p:cNvGrpSpPr>
              <a:grpSpLocks noChangeAspect="1"/>
            </p:cNvGrpSpPr>
            <p:nvPr/>
          </p:nvGrpSpPr>
          <p:grpSpPr bwMode="auto">
            <a:xfrm>
              <a:off x="10470765" y="2108417"/>
              <a:ext cx="504789" cy="503309"/>
              <a:chOff x="2738" y="2314"/>
              <a:chExt cx="341" cy="340"/>
            </a:xfrm>
            <a:solidFill>
              <a:schemeClr val="accent1"/>
            </a:solidFill>
          </p:grpSpPr>
          <p:sp>
            <p:nvSpPr>
              <p:cNvPr id="46" name="Freeform 658">
                <a:extLst>
                  <a:ext uri="{FF2B5EF4-FFF2-40B4-BE49-F238E27FC236}">
                    <a16:creationId xmlns:a16="http://schemas.microsoft.com/office/drawing/2014/main" id="{53F7C4DA-D4B1-464A-838E-3CD953B0FDD3}"/>
                  </a:ext>
                </a:extLst>
              </p:cNvPr>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659">
                <a:extLst>
                  <a:ext uri="{FF2B5EF4-FFF2-40B4-BE49-F238E27FC236}">
                    <a16:creationId xmlns:a16="http://schemas.microsoft.com/office/drawing/2014/main" id="{B87D1A0F-4AC1-0644-B5EA-EC3AB63A03BA}"/>
                  </a:ext>
                </a:extLst>
              </p:cNvPr>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2512406231"/>
      </p:ext>
    </p:extLst>
  </p:cSld>
  <p:clrMapOvr>
    <a:masterClrMapping/>
  </p:clrMapOvr>
  <p:transition>
    <p:fade/>
  </p:transition>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Wreath</a:t>
            </a:r>
            <a:endParaRPr lang="en-US" dirty="0"/>
          </a:p>
        </p:txBody>
      </p:sp>
      <p:sp>
        <p:nvSpPr>
          <p:cNvPr id="34" name="Rectangle 33"/>
          <p:cNvSpPr/>
          <p:nvPr/>
        </p:nvSpPr>
        <p:spPr>
          <a:xfrm rot="18900000">
            <a:off x="4012963" y="2112757"/>
            <a:ext cx="2031619" cy="1059954"/>
          </a:xfrm>
          <a:prstGeom prst="rect">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5" name="Rectangle 34"/>
          <p:cNvSpPr/>
          <p:nvPr/>
        </p:nvSpPr>
        <p:spPr>
          <a:xfrm rot="2700000" flipH="1">
            <a:off x="6199035" y="2112756"/>
            <a:ext cx="2031619" cy="1059954"/>
          </a:xfrm>
          <a:prstGeom prst="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000" err="1">
              <a:solidFill>
                <a:schemeClr val="tx2"/>
              </a:solidFill>
            </a:endParaRPr>
          </a:p>
        </p:txBody>
      </p:sp>
      <p:sp>
        <p:nvSpPr>
          <p:cNvPr id="36" name="Rectangle 35"/>
          <p:cNvSpPr/>
          <p:nvPr/>
        </p:nvSpPr>
        <p:spPr>
          <a:xfrm rot="2700000" flipV="1">
            <a:off x="4012964" y="4307318"/>
            <a:ext cx="2031619" cy="1059954"/>
          </a:xfrm>
          <a:prstGeom prst="rect">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7" name="Rectangle 36"/>
          <p:cNvSpPr/>
          <p:nvPr/>
        </p:nvSpPr>
        <p:spPr>
          <a:xfrm rot="18900000" flipH="1" flipV="1">
            <a:off x="6199036" y="4307318"/>
            <a:ext cx="2031619" cy="1059954"/>
          </a:xfrm>
          <a:prstGeom prst="rect">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8" name="Isosceles Triangle 7"/>
          <p:cNvSpPr/>
          <p:nvPr/>
        </p:nvSpPr>
        <p:spPr>
          <a:xfrm rot="5400000">
            <a:off x="3554543" y="3364771"/>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9" name="Isosceles Triangle 7"/>
          <p:cNvSpPr/>
          <p:nvPr/>
        </p:nvSpPr>
        <p:spPr>
          <a:xfrm rot="16200000" flipH="1">
            <a:off x="7194867" y="3364770"/>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0" name="Isosceles Triangle 7"/>
          <p:cNvSpPr/>
          <p:nvPr/>
        </p:nvSpPr>
        <p:spPr>
          <a:xfrm flipH="1">
            <a:off x="5376851" y="5198511"/>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1" name="Isosceles Triangle 7"/>
          <p:cNvSpPr/>
          <p:nvPr/>
        </p:nvSpPr>
        <p:spPr>
          <a:xfrm flipH="1" flipV="1">
            <a:off x="5376851" y="1540643"/>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2" name="Rectangle 41"/>
          <p:cNvSpPr/>
          <p:nvPr/>
        </p:nvSpPr>
        <p:spPr>
          <a:xfrm rot="18886336">
            <a:off x="4123257" y="2334959"/>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3" name="Rectangle 42"/>
          <p:cNvSpPr/>
          <p:nvPr/>
        </p:nvSpPr>
        <p:spPr>
          <a:xfrm rot="2703714">
            <a:off x="6345667" y="2383699"/>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4" name="Rectangle 43"/>
          <p:cNvSpPr/>
          <p:nvPr/>
        </p:nvSpPr>
        <p:spPr>
          <a:xfrm rot="18886336">
            <a:off x="6326953" y="4529519"/>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5" name="Rectangle 44"/>
          <p:cNvSpPr/>
          <p:nvPr/>
        </p:nvSpPr>
        <p:spPr>
          <a:xfrm rot="2703714">
            <a:off x="4140884" y="4528448"/>
            <a:ext cx="1775778"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p>
          <a:p>
            <a:r>
              <a:rPr lang="en-US" sz="1000" dirty="0">
                <a:solidFill>
                  <a:schemeClr val="bg1"/>
                </a:solidFill>
              </a:rPr>
              <a:t>This is dummy text it is not here to be read. This is dummy text it is not here to be read.</a:t>
            </a:r>
          </a:p>
        </p:txBody>
      </p:sp>
      <p:sp>
        <p:nvSpPr>
          <p:cNvPr id="46" name="Rectangle 45"/>
          <p:cNvSpPr/>
          <p:nvPr/>
        </p:nvSpPr>
        <p:spPr>
          <a:xfrm>
            <a:off x="5163709" y="3433206"/>
            <a:ext cx="1951653" cy="646331"/>
          </a:xfrm>
          <a:prstGeom prst="rect">
            <a:avLst/>
          </a:prstGeom>
          <a:noFill/>
        </p:spPr>
        <p:txBody>
          <a:bodyPr wrap="square" lIns="0" tIns="0" rIns="0" bIns="0">
            <a:spAutoFit/>
          </a:bodyPr>
          <a:lstStyle/>
          <a:p>
            <a:pPr algn="ctr">
              <a:spcAft>
                <a:spcPts val="600"/>
              </a:spcAft>
            </a:pPr>
            <a:r>
              <a:rPr lang="en-US" sz="1400" b="1" dirty="0"/>
              <a:t>Insert text here</a:t>
            </a:r>
            <a:br>
              <a:rPr lang="en-US" sz="1400" dirty="0"/>
            </a:br>
            <a:r>
              <a:rPr lang="en-US" sz="1400" dirty="0"/>
              <a:t>This is dummy text it is not here to be read. </a:t>
            </a:r>
            <a:endParaRPr lang="en-US" sz="1400" dirty="0">
              <a:latin typeface="Times New Roman" pitchFamily="18" charset="0"/>
              <a:cs typeface="Times New Roman" pitchFamily="18" charset="0"/>
            </a:endParaRPr>
          </a:p>
        </p:txBody>
      </p:sp>
      <p:grpSp>
        <p:nvGrpSpPr>
          <p:cNvPr id="51" name="Group 501"/>
          <p:cNvGrpSpPr>
            <a:grpSpLocks noChangeAspect="1"/>
          </p:cNvGrpSpPr>
          <p:nvPr/>
        </p:nvGrpSpPr>
        <p:grpSpPr bwMode="auto">
          <a:xfrm>
            <a:off x="5851830" y="1598913"/>
            <a:ext cx="498644" cy="498644"/>
            <a:chOff x="3419" y="2995"/>
            <a:chExt cx="340" cy="340"/>
          </a:xfrm>
          <a:solidFill>
            <a:schemeClr val="bg1"/>
          </a:solidFill>
        </p:grpSpPr>
        <p:sp>
          <p:nvSpPr>
            <p:cNvPr id="52" name="Freeform 502"/>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503"/>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7" name="Group 309"/>
          <p:cNvGrpSpPr>
            <a:grpSpLocks noChangeAspect="1"/>
          </p:cNvGrpSpPr>
          <p:nvPr/>
        </p:nvGrpSpPr>
        <p:grpSpPr bwMode="auto">
          <a:xfrm>
            <a:off x="3975561" y="3499153"/>
            <a:ext cx="501522" cy="500054"/>
            <a:chOff x="6585" y="1193"/>
            <a:chExt cx="341" cy="340"/>
          </a:xfrm>
          <a:solidFill>
            <a:schemeClr val="bg1"/>
          </a:solidFill>
        </p:grpSpPr>
        <p:sp>
          <p:nvSpPr>
            <p:cNvPr id="5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3" name="Group 657"/>
          <p:cNvGrpSpPr>
            <a:grpSpLocks noChangeAspect="1"/>
          </p:cNvGrpSpPr>
          <p:nvPr/>
        </p:nvGrpSpPr>
        <p:grpSpPr bwMode="auto">
          <a:xfrm>
            <a:off x="5889801" y="5392815"/>
            <a:ext cx="502414" cy="500940"/>
            <a:chOff x="2738" y="2314"/>
            <a:chExt cx="341" cy="340"/>
          </a:xfrm>
          <a:solidFill>
            <a:schemeClr val="bg1"/>
          </a:solidFill>
        </p:grpSpPr>
        <p:sp>
          <p:nvSpPr>
            <p:cNvPr id="64" name="Freeform 658"/>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659"/>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786"/>
          <p:cNvGrpSpPr>
            <a:grpSpLocks noChangeAspect="1"/>
          </p:cNvGrpSpPr>
          <p:nvPr/>
        </p:nvGrpSpPr>
        <p:grpSpPr bwMode="auto">
          <a:xfrm>
            <a:off x="7750669" y="3486444"/>
            <a:ext cx="502920" cy="502920"/>
            <a:chOff x="5071" y="3066"/>
            <a:chExt cx="340" cy="340"/>
          </a:xfrm>
          <a:solidFill>
            <a:schemeClr val="bg1"/>
          </a:solidFill>
        </p:grpSpPr>
        <p:sp>
          <p:nvSpPr>
            <p:cNvPr id="81" name="Freeform 787"/>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788"/>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183016823"/>
      </p:ext>
    </p:extLst>
  </p:cSld>
  <p:clrMapOvr>
    <a:masterClrMapping/>
  </p:clrMapOvr>
  <p:transition>
    <p:fade/>
  </p:transition>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Integrated beach ball with textboxes</a:t>
            </a:r>
            <a:endParaRPr lang="en-US" dirty="0"/>
          </a:p>
        </p:txBody>
      </p:sp>
      <p:sp>
        <p:nvSpPr>
          <p:cNvPr id="73" name="Oval 72"/>
          <p:cNvSpPr/>
          <p:nvPr/>
        </p:nvSpPr>
        <p:spPr>
          <a:xfrm>
            <a:off x="4027231" y="1595904"/>
            <a:ext cx="4140460" cy="4140460"/>
          </a:xfrm>
          <a:prstGeom prst="ellipse">
            <a:avLst/>
          </a:prstGeom>
          <a:solidFill>
            <a:schemeClr val="bg2">
              <a:lumMod val="60000"/>
              <a:lumOff val="40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4" name="Freeform 73"/>
          <p:cNvSpPr/>
          <p:nvPr/>
        </p:nvSpPr>
        <p:spPr>
          <a:xfrm>
            <a:off x="3454605" y="2847327"/>
            <a:ext cx="2474594" cy="3542172"/>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28103 w 1834570"/>
              <a:gd name="connsiteY0" fmla="*/ 0 h 2626034"/>
              <a:gd name="connsiteX1" fmla="*/ 1008 w 1834570"/>
              <a:gd name="connsiteY1" fmla="*/ 1044884 h 2626034"/>
              <a:gd name="connsiteX2" fmla="*/ 1834570 w 1834570"/>
              <a:gd name="connsiteY2" fmla="*/ 2626034 h 2626034"/>
              <a:gd name="connsiteX3" fmla="*/ 1123370 w 1834570"/>
              <a:gd name="connsiteY3" fmla="*/ 1516900 h 2626034"/>
              <a:gd name="connsiteX4" fmla="*/ 1148241 w 1834570"/>
              <a:gd name="connsiteY4" fmla="*/ 861792 h 2626034"/>
              <a:gd name="connsiteX5" fmla="*/ 1128103 w 1834570"/>
              <a:gd name="connsiteY5" fmla="*/ 0 h 262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70" h="2626034">
                <a:moveTo>
                  <a:pt x="1128103" y="0"/>
                </a:moveTo>
                <a:cubicBezTo>
                  <a:pt x="311774" y="11995"/>
                  <a:pt x="-20864" y="499489"/>
                  <a:pt x="1008" y="1044884"/>
                </a:cubicBezTo>
                <a:cubicBezTo>
                  <a:pt x="-2167" y="1171884"/>
                  <a:pt x="342320" y="2403783"/>
                  <a:pt x="1834570" y="2626034"/>
                </a:cubicBezTo>
                <a:cubicBezTo>
                  <a:pt x="1059340" y="2294423"/>
                  <a:pt x="1084212" y="1705636"/>
                  <a:pt x="1123370" y="1516900"/>
                </a:cubicBezTo>
                <a:cubicBezTo>
                  <a:pt x="1131660" y="1298531"/>
                  <a:pt x="1206627" y="1170648"/>
                  <a:pt x="1148241" y="861792"/>
                </a:cubicBezTo>
                <a:cubicBezTo>
                  <a:pt x="993195" y="432990"/>
                  <a:pt x="63948" y="85902"/>
                  <a:pt x="1128103" y="0"/>
                </a:cubicBezTo>
                <a:close/>
              </a:path>
            </a:pathLst>
          </a:cu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5" name="Freeform 74"/>
          <p:cNvSpPr/>
          <p:nvPr/>
        </p:nvSpPr>
        <p:spPr>
          <a:xfrm rot="4341267">
            <a:off x="3549561" y="775642"/>
            <a:ext cx="2474543" cy="3582372"/>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1852 w 1834534"/>
              <a:gd name="connsiteY0" fmla="*/ 0 h 2612705"/>
              <a:gd name="connsiteX1" fmla="*/ 972 w 1834534"/>
              <a:gd name="connsiteY1" fmla="*/ 1031555 h 2612705"/>
              <a:gd name="connsiteX2" fmla="*/ 1834534 w 1834534"/>
              <a:gd name="connsiteY2" fmla="*/ 2612705 h 2612705"/>
              <a:gd name="connsiteX3" fmla="*/ 1123334 w 1834534"/>
              <a:gd name="connsiteY3" fmla="*/ 1503571 h 2612705"/>
              <a:gd name="connsiteX4" fmla="*/ 1148205 w 1834534"/>
              <a:gd name="connsiteY4" fmla="*/ 848463 h 2612705"/>
              <a:gd name="connsiteX5" fmla="*/ 1141852 w 1834534"/>
              <a:gd name="connsiteY5" fmla="*/ 0 h 261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4" h="2612705">
                <a:moveTo>
                  <a:pt x="1141852" y="0"/>
                </a:moveTo>
                <a:cubicBezTo>
                  <a:pt x="325523" y="11995"/>
                  <a:pt x="-20900" y="486160"/>
                  <a:pt x="972" y="1031555"/>
                </a:cubicBezTo>
                <a:cubicBezTo>
                  <a:pt x="-2203" y="1158555"/>
                  <a:pt x="342284" y="2390454"/>
                  <a:pt x="1834534" y="2612705"/>
                </a:cubicBezTo>
                <a:cubicBezTo>
                  <a:pt x="1059304" y="2281094"/>
                  <a:pt x="1084176" y="1692307"/>
                  <a:pt x="1123334" y="1503571"/>
                </a:cubicBezTo>
                <a:cubicBezTo>
                  <a:pt x="1131624" y="1285202"/>
                  <a:pt x="1206591" y="1157319"/>
                  <a:pt x="1148205" y="848463"/>
                </a:cubicBezTo>
                <a:cubicBezTo>
                  <a:pt x="993159" y="419661"/>
                  <a:pt x="77697" y="85902"/>
                  <a:pt x="1141852" y="0"/>
                </a:cubicBezTo>
                <a:close/>
              </a:path>
            </a:pathLst>
          </a:cu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6" name="Freeform 75"/>
          <p:cNvSpPr/>
          <p:nvPr/>
        </p:nvSpPr>
        <p:spPr>
          <a:xfrm rot="8659183">
            <a:off x="5533674" y="233798"/>
            <a:ext cx="2474550" cy="3537971"/>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08 w 1834537"/>
              <a:gd name="connsiteY0" fmla="*/ 0 h 2622920"/>
              <a:gd name="connsiteX1" fmla="*/ 975 w 1834537"/>
              <a:gd name="connsiteY1" fmla="*/ 1041770 h 2622920"/>
              <a:gd name="connsiteX2" fmla="*/ 1834537 w 1834537"/>
              <a:gd name="connsiteY2" fmla="*/ 2622920 h 2622920"/>
              <a:gd name="connsiteX3" fmla="*/ 1123337 w 1834537"/>
              <a:gd name="connsiteY3" fmla="*/ 1513786 h 2622920"/>
              <a:gd name="connsiteX4" fmla="*/ 1148208 w 1834537"/>
              <a:gd name="connsiteY4" fmla="*/ 858678 h 2622920"/>
              <a:gd name="connsiteX5" fmla="*/ 1140208 w 1834537"/>
              <a:gd name="connsiteY5" fmla="*/ 0 h 26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22920">
                <a:moveTo>
                  <a:pt x="1140208" y="0"/>
                </a:moveTo>
                <a:cubicBezTo>
                  <a:pt x="323879" y="11995"/>
                  <a:pt x="-20897" y="496375"/>
                  <a:pt x="975" y="1041770"/>
                </a:cubicBezTo>
                <a:cubicBezTo>
                  <a:pt x="-2200" y="1168770"/>
                  <a:pt x="342287" y="2400669"/>
                  <a:pt x="1834537" y="2622920"/>
                </a:cubicBezTo>
                <a:cubicBezTo>
                  <a:pt x="1059307" y="2291309"/>
                  <a:pt x="1084179" y="1702522"/>
                  <a:pt x="1123337" y="1513786"/>
                </a:cubicBezTo>
                <a:cubicBezTo>
                  <a:pt x="1131627" y="1295417"/>
                  <a:pt x="1206594" y="1167534"/>
                  <a:pt x="1148208" y="858678"/>
                </a:cubicBezTo>
                <a:cubicBezTo>
                  <a:pt x="993162" y="429876"/>
                  <a:pt x="76053" y="85902"/>
                  <a:pt x="1140208" y="0"/>
                </a:cubicBezTo>
                <a:close/>
              </a:path>
            </a:pathLst>
          </a:cu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7" name="Freeform 76"/>
          <p:cNvSpPr/>
          <p:nvPr/>
        </p:nvSpPr>
        <p:spPr>
          <a:xfrm rot="13082864">
            <a:off x="6635111" y="1973929"/>
            <a:ext cx="2474550" cy="3532734"/>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391 w 1834537"/>
              <a:gd name="connsiteY0" fmla="*/ 0 h 2619037"/>
              <a:gd name="connsiteX1" fmla="*/ 975 w 1834537"/>
              <a:gd name="connsiteY1" fmla="*/ 1037887 h 2619037"/>
              <a:gd name="connsiteX2" fmla="*/ 1834537 w 1834537"/>
              <a:gd name="connsiteY2" fmla="*/ 2619037 h 2619037"/>
              <a:gd name="connsiteX3" fmla="*/ 1123337 w 1834537"/>
              <a:gd name="connsiteY3" fmla="*/ 1509903 h 2619037"/>
              <a:gd name="connsiteX4" fmla="*/ 1148208 w 1834537"/>
              <a:gd name="connsiteY4" fmla="*/ 854795 h 2619037"/>
              <a:gd name="connsiteX5" fmla="*/ 1140391 w 1834537"/>
              <a:gd name="connsiteY5" fmla="*/ 0 h 261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19037">
                <a:moveTo>
                  <a:pt x="1140391" y="0"/>
                </a:moveTo>
                <a:cubicBezTo>
                  <a:pt x="324062" y="11995"/>
                  <a:pt x="-20897" y="492492"/>
                  <a:pt x="975" y="1037887"/>
                </a:cubicBezTo>
                <a:cubicBezTo>
                  <a:pt x="-2200" y="1164887"/>
                  <a:pt x="342287" y="2396786"/>
                  <a:pt x="1834537" y="2619037"/>
                </a:cubicBezTo>
                <a:cubicBezTo>
                  <a:pt x="1059307" y="2287426"/>
                  <a:pt x="1084179" y="1698639"/>
                  <a:pt x="1123337" y="1509903"/>
                </a:cubicBezTo>
                <a:cubicBezTo>
                  <a:pt x="1131627" y="1291534"/>
                  <a:pt x="1206594" y="1163651"/>
                  <a:pt x="1148208" y="854795"/>
                </a:cubicBezTo>
                <a:cubicBezTo>
                  <a:pt x="993162" y="425993"/>
                  <a:pt x="76236" y="85902"/>
                  <a:pt x="1140391" y="0"/>
                </a:cubicBezTo>
                <a:close/>
              </a:path>
            </a:pathLst>
          </a:cu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8" name="Freeform 77"/>
          <p:cNvSpPr/>
          <p:nvPr/>
        </p:nvSpPr>
        <p:spPr>
          <a:xfrm rot="17264471">
            <a:off x="5382939" y="3544414"/>
            <a:ext cx="2474570" cy="3533736"/>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38256 w 1834542"/>
              <a:gd name="connsiteY0" fmla="*/ 0 h 2620053"/>
              <a:gd name="connsiteX1" fmla="*/ 980 w 1834542"/>
              <a:gd name="connsiteY1" fmla="*/ 1038903 h 2620053"/>
              <a:gd name="connsiteX2" fmla="*/ 1834542 w 1834542"/>
              <a:gd name="connsiteY2" fmla="*/ 2620053 h 2620053"/>
              <a:gd name="connsiteX3" fmla="*/ 1123342 w 1834542"/>
              <a:gd name="connsiteY3" fmla="*/ 1510919 h 2620053"/>
              <a:gd name="connsiteX4" fmla="*/ 1148213 w 1834542"/>
              <a:gd name="connsiteY4" fmla="*/ 855811 h 2620053"/>
              <a:gd name="connsiteX5" fmla="*/ 1138256 w 1834542"/>
              <a:gd name="connsiteY5" fmla="*/ 0 h 2620053"/>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51 w 1834554"/>
              <a:gd name="connsiteY0" fmla="*/ 0 h 2639350"/>
              <a:gd name="connsiteX1" fmla="*/ 992 w 1834554"/>
              <a:gd name="connsiteY1" fmla="*/ 1058200 h 2639350"/>
              <a:gd name="connsiteX2" fmla="*/ 1834554 w 1834554"/>
              <a:gd name="connsiteY2" fmla="*/ 2639350 h 2639350"/>
              <a:gd name="connsiteX3" fmla="*/ 1123354 w 1834554"/>
              <a:gd name="connsiteY3" fmla="*/ 1530216 h 2639350"/>
              <a:gd name="connsiteX4" fmla="*/ 1148225 w 1834554"/>
              <a:gd name="connsiteY4" fmla="*/ 875108 h 2639350"/>
              <a:gd name="connsiteX5" fmla="*/ 1128551 w 1834554"/>
              <a:gd name="connsiteY5" fmla="*/ 0 h 26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54" h="2639350">
                <a:moveTo>
                  <a:pt x="1128551" y="0"/>
                </a:moveTo>
                <a:cubicBezTo>
                  <a:pt x="318180" y="54851"/>
                  <a:pt x="-20880" y="512805"/>
                  <a:pt x="992" y="1058200"/>
                </a:cubicBezTo>
                <a:cubicBezTo>
                  <a:pt x="-2183" y="1185200"/>
                  <a:pt x="342304" y="2417099"/>
                  <a:pt x="1834554" y="2639350"/>
                </a:cubicBezTo>
                <a:cubicBezTo>
                  <a:pt x="1059324" y="2307739"/>
                  <a:pt x="1084196" y="1718952"/>
                  <a:pt x="1123354" y="1530216"/>
                </a:cubicBezTo>
                <a:cubicBezTo>
                  <a:pt x="1131644" y="1311847"/>
                  <a:pt x="1206611" y="1183964"/>
                  <a:pt x="1148225" y="875108"/>
                </a:cubicBezTo>
                <a:cubicBezTo>
                  <a:pt x="993179" y="446306"/>
                  <a:pt x="85945" y="131282"/>
                  <a:pt x="1128551" y="0"/>
                </a:cubicBezTo>
                <a:close/>
              </a:path>
            </a:pathLst>
          </a:cu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9" name="Rectangle 78"/>
          <p:cNvSpPr/>
          <p:nvPr/>
        </p:nvSpPr>
        <p:spPr>
          <a:xfrm>
            <a:off x="4124863" y="1928199"/>
            <a:ext cx="1109747" cy="769441"/>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83" name="Rectangle 82"/>
          <p:cNvSpPr/>
          <p:nvPr/>
        </p:nvSpPr>
        <p:spPr>
          <a:xfrm>
            <a:off x="6852613" y="1733749"/>
            <a:ext cx="1204710"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84" name="Rectangle 83"/>
          <p:cNvSpPr/>
          <p:nvPr/>
        </p:nvSpPr>
        <p:spPr>
          <a:xfrm>
            <a:off x="7479778" y="3800267"/>
            <a:ext cx="1158842" cy="923330"/>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a:t>
            </a:r>
            <a:br>
              <a:rPr lang="en-US" sz="1000" dirty="0">
                <a:solidFill>
                  <a:schemeClr val="bg1"/>
                </a:solidFill>
              </a:rPr>
            </a:br>
            <a:r>
              <a:rPr lang="en-US" sz="1000" dirty="0">
                <a:solidFill>
                  <a:schemeClr val="bg1"/>
                </a:solidFill>
              </a:rPr>
              <a:t>be read. </a:t>
            </a:r>
          </a:p>
        </p:txBody>
      </p:sp>
      <p:sp>
        <p:nvSpPr>
          <p:cNvPr id="85" name="Rectangle 84"/>
          <p:cNvSpPr/>
          <p:nvPr/>
        </p:nvSpPr>
        <p:spPr>
          <a:xfrm>
            <a:off x="5641860" y="5553636"/>
            <a:ext cx="1501062" cy="615553"/>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a:t>
            </a:r>
          </a:p>
        </p:txBody>
      </p:sp>
      <p:sp>
        <p:nvSpPr>
          <p:cNvPr id="86" name="Rectangle 85"/>
          <p:cNvSpPr/>
          <p:nvPr/>
        </p:nvSpPr>
        <p:spPr>
          <a:xfrm>
            <a:off x="3818249" y="3988613"/>
            <a:ext cx="1045299" cy="923330"/>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a:t>
            </a:r>
          </a:p>
        </p:txBody>
      </p:sp>
      <p:sp>
        <p:nvSpPr>
          <p:cNvPr id="87" name="Rectangle 86"/>
          <p:cNvSpPr/>
          <p:nvPr/>
        </p:nvSpPr>
        <p:spPr>
          <a:xfrm>
            <a:off x="5116652" y="3107406"/>
            <a:ext cx="2025942" cy="1077218"/>
          </a:xfrm>
          <a:prstGeom prst="rect">
            <a:avLst/>
          </a:prstGeom>
          <a:noFill/>
        </p:spPr>
        <p:txBody>
          <a:bodyPr wrap="square" lIns="0" tIns="0" rIns="0" bIns="0">
            <a:spAutoFit/>
          </a:bodyPr>
          <a:lstStyle/>
          <a:p>
            <a:pPr algn="ctr"/>
            <a:r>
              <a:rPr lang="en-US" sz="1400" b="1" dirty="0">
                <a:latin typeface="+mj-lt"/>
                <a:cs typeface="Times New Roman" pitchFamily="18" charset="0"/>
              </a:rPr>
              <a:t>Insert text here</a:t>
            </a:r>
          </a:p>
          <a:p>
            <a:pPr algn="ctr"/>
            <a:r>
              <a:rPr lang="en-US" sz="1400" dirty="0"/>
              <a:t>This is dummy text it is not here to be read. This is dummy text it is not here to be read.</a:t>
            </a:r>
          </a:p>
        </p:txBody>
      </p:sp>
      <p:sp>
        <p:nvSpPr>
          <p:cNvPr id="97" name="Freeform 865"/>
          <p:cNvSpPr>
            <a:spLocks noChangeAspect="1" noEditPoints="1"/>
          </p:cNvSpPr>
          <p:nvPr/>
        </p:nvSpPr>
        <p:spPr bwMode="auto">
          <a:xfrm>
            <a:off x="6420672" y="1099179"/>
            <a:ext cx="603272" cy="60327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23 w 512"/>
              <a:gd name="T21" fmla="*/ 149 h 512"/>
              <a:gd name="T22" fmla="*/ 330 w 512"/>
              <a:gd name="T23" fmla="*/ 192 h 512"/>
              <a:gd name="T24" fmla="*/ 256 w 512"/>
              <a:gd name="T25" fmla="*/ 266 h 512"/>
              <a:gd name="T26" fmla="*/ 181 w 512"/>
              <a:gd name="T27" fmla="*/ 192 h 512"/>
              <a:gd name="T28" fmla="*/ 188 w 512"/>
              <a:gd name="T29" fmla="*/ 149 h 512"/>
              <a:gd name="T30" fmla="*/ 323 w 512"/>
              <a:gd name="T31" fmla="*/ 149 h 512"/>
              <a:gd name="T32" fmla="*/ 181 w 512"/>
              <a:gd name="T33" fmla="*/ 128 h 512"/>
              <a:gd name="T34" fmla="*/ 171 w 512"/>
              <a:gd name="T35" fmla="*/ 134 h 512"/>
              <a:gd name="T36" fmla="*/ 160 w 512"/>
              <a:gd name="T37" fmla="*/ 192 h 512"/>
              <a:gd name="T38" fmla="*/ 245 w 512"/>
              <a:gd name="T39" fmla="*/ 287 h 512"/>
              <a:gd name="T40" fmla="*/ 245 w 512"/>
              <a:gd name="T41" fmla="*/ 394 h 512"/>
              <a:gd name="T42" fmla="*/ 213 w 512"/>
              <a:gd name="T43" fmla="*/ 394 h 512"/>
              <a:gd name="T44" fmla="*/ 202 w 512"/>
              <a:gd name="T45" fmla="*/ 405 h 512"/>
              <a:gd name="T46" fmla="*/ 213 w 512"/>
              <a:gd name="T47" fmla="*/ 416 h 512"/>
              <a:gd name="T48" fmla="*/ 298 w 512"/>
              <a:gd name="T49" fmla="*/ 416 h 512"/>
              <a:gd name="T50" fmla="*/ 309 w 512"/>
              <a:gd name="T51" fmla="*/ 405 h 512"/>
              <a:gd name="T52" fmla="*/ 298 w 512"/>
              <a:gd name="T53" fmla="*/ 394 h 512"/>
              <a:gd name="T54" fmla="*/ 266 w 512"/>
              <a:gd name="T55" fmla="*/ 394 h 512"/>
              <a:gd name="T56" fmla="*/ 266 w 512"/>
              <a:gd name="T57" fmla="*/ 287 h 512"/>
              <a:gd name="T58" fmla="*/ 352 w 512"/>
              <a:gd name="T59" fmla="*/ 192 h 512"/>
              <a:gd name="T60" fmla="*/ 340 w 512"/>
              <a:gd name="T61" fmla="*/ 134 h 512"/>
              <a:gd name="T62" fmla="*/ 331 w 512"/>
              <a:gd name="T63" fmla="*/ 128 h 512"/>
              <a:gd name="T64" fmla="*/ 181 w 512"/>
              <a:gd name="T6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3" y="149"/>
                </a:moveTo>
                <a:cubicBezTo>
                  <a:pt x="328" y="160"/>
                  <a:pt x="330" y="178"/>
                  <a:pt x="330" y="192"/>
                </a:cubicBezTo>
                <a:cubicBezTo>
                  <a:pt x="330" y="233"/>
                  <a:pt x="297" y="266"/>
                  <a:pt x="256" y="266"/>
                </a:cubicBezTo>
                <a:cubicBezTo>
                  <a:pt x="214" y="266"/>
                  <a:pt x="181" y="233"/>
                  <a:pt x="181" y="192"/>
                </a:cubicBezTo>
                <a:cubicBezTo>
                  <a:pt x="181" y="178"/>
                  <a:pt x="184" y="160"/>
                  <a:pt x="188" y="149"/>
                </a:cubicBezTo>
                <a:lnTo>
                  <a:pt x="323" y="149"/>
                </a:lnTo>
                <a:close/>
                <a:moveTo>
                  <a:pt x="181" y="128"/>
                </a:moveTo>
                <a:cubicBezTo>
                  <a:pt x="177" y="128"/>
                  <a:pt x="173" y="130"/>
                  <a:pt x="171" y="134"/>
                </a:cubicBezTo>
                <a:cubicBezTo>
                  <a:pt x="164" y="150"/>
                  <a:pt x="160" y="173"/>
                  <a:pt x="160" y="192"/>
                </a:cubicBezTo>
                <a:cubicBezTo>
                  <a:pt x="160" y="241"/>
                  <a:pt x="197" y="282"/>
                  <a:pt x="245" y="287"/>
                </a:cubicBezTo>
                <a:cubicBezTo>
                  <a:pt x="245" y="394"/>
                  <a:pt x="245" y="394"/>
                  <a:pt x="245" y="394"/>
                </a:cubicBezTo>
                <a:cubicBezTo>
                  <a:pt x="213" y="394"/>
                  <a:pt x="213" y="394"/>
                  <a:pt x="213" y="394"/>
                </a:cubicBezTo>
                <a:cubicBezTo>
                  <a:pt x="207" y="394"/>
                  <a:pt x="202" y="399"/>
                  <a:pt x="202" y="405"/>
                </a:cubicBezTo>
                <a:cubicBezTo>
                  <a:pt x="202" y="411"/>
                  <a:pt x="207" y="416"/>
                  <a:pt x="213" y="416"/>
                </a:cubicBezTo>
                <a:cubicBezTo>
                  <a:pt x="298" y="416"/>
                  <a:pt x="298" y="416"/>
                  <a:pt x="298" y="416"/>
                </a:cubicBezTo>
                <a:cubicBezTo>
                  <a:pt x="304" y="416"/>
                  <a:pt x="309" y="411"/>
                  <a:pt x="309" y="405"/>
                </a:cubicBezTo>
                <a:cubicBezTo>
                  <a:pt x="309" y="399"/>
                  <a:pt x="304" y="394"/>
                  <a:pt x="298" y="394"/>
                </a:cubicBezTo>
                <a:cubicBezTo>
                  <a:pt x="266" y="394"/>
                  <a:pt x="266" y="394"/>
                  <a:pt x="266" y="394"/>
                </a:cubicBezTo>
                <a:cubicBezTo>
                  <a:pt x="266" y="287"/>
                  <a:pt x="266" y="287"/>
                  <a:pt x="266" y="287"/>
                </a:cubicBezTo>
                <a:cubicBezTo>
                  <a:pt x="314" y="282"/>
                  <a:pt x="352" y="241"/>
                  <a:pt x="352" y="192"/>
                </a:cubicBezTo>
                <a:cubicBezTo>
                  <a:pt x="352" y="173"/>
                  <a:pt x="347" y="151"/>
                  <a:pt x="340" y="134"/>
                </a:cubicBezTo>
                <a:cubicBezTo>
                  <a:pt x="338" y="130"/>
                  <a:pt x="335" y="128"/>
                  <a:pt x="331" y="128"/>
                </a:cubicBezTo>
                <a:lnTo>
                  <a:pt x="181" y="12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98" name="Group 789"/>
          <p:cNvGrpSpPr>
            <a:grpSpLocks noChangeAspect="1"/>
          </p:cNvGrpSpPr>
          <p:nvPr/>
        </p:nvGrpSpPr>
        <p:grpSpPr bwMode="auto">
          <a:xfrm>
            <a:off x="3854455" y="3361918"/>
            <a:ext cx="600734" cy="598972"/>
            <a:chOff x="3185" y="3485"/>
            <a:chExt cx="341" cy="340"/>
          </a:xfrm>
          <a:solidFill>
            <a:schemeClr val="bg1"/>
          </a:solidFill>
        </p:grpSpPr>
        <p:sp>
          <p:nvSpPr>
            <p:cNvPr id="99" name="Freeform 790"/>
            <p:cNvSpPr>
              <a:spLocks noEditPoints="1"/>
            </p:cNvSpPr>
            <p:nvPr/>
          </p:nvSpPr>
          <p:spPr bwMode="auto">
            <a:xfrm>
              <a:off x="3185" y="3485"/>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791"/>
            <p:cNvSpPr>
              <a:spLocks noEditPoints="1"/>
            </p:cNvSpPr>
            <p:nvPr/>
          </p:nvSpPr>
          <p:spPr bwMode="auto">
            <a:xfrm>
              <a:off x="3277" y="3577"/>
              <a:ext cx="157" cy="170"/>
            </a:xfrm>
            <a:custGeom>
              <a:avLst/>
              <a:gdLst>
                <a:gd name="T0" fmla="*/ 232 w 236"/>
                <a:gd name="T1" fmla="*/ 18 h 256"/>
                <a:gd name="T2" fmla="*/ 235 w 236"/>
                <a:gd name="T3" fmla="*/ 7 h 256"/>
                <a:gd name="T4" fmla="*/ 225 w 236"/>
                <a:gd name="T5" fmla="*/ 0 h 256"/>
                <a:gd name="T6" fmla="*/ 11 w 236"/>
                <a:gd name="T7" fmla="*/ 0 h 256"/>
                <a:gd name="T8" fmla="*/ 1 w 236"/>
                <a:gd name="T9" fmla="*/ 7 h 256"/>
                <a:gd name="T10" fmla="*/ 4 w 236"/>
                <a:gd name="T11" fmla="*/ 18 h 256"/>
                <a:gd name="T12" fmla="*/ 107 w 236"/>
                <a:gd name="T13" fmla="*/ 122 h 256"/>
                <a:gd name="T14" fmla="*/ 107 w 236"/>
                <a:gd name="T15" fmla="*/ 235 h 256"/>
                <a:gd name="T16" fmla="*/ 54 w 236"/>
                <a:gd name="T17" fmla="*/ 235 h 256"/>
                <a:gd name="T18" fmla="*/ 43 w 236"/>
                <a:gd name="T19" fmla="*/ 245 h 256"/>
                <a:gd name="T20" fmla="*/ 54 w 236"/>
                <a:gd name="T21" fmla="*/ 256 h 256"/>
                <a:gd name="T22" fmla="*/ 182 w 236"/>
                <a:gd name="T23" fmla="*/ 256 h 256"/>
                <a:gd name="T24" fmla="*/ 193 w 236"/>
                <a:gd name="T25" fmla="*/ 245 h 256"/>
                <a:gd name="T26" fmla="*/ 182 w 236"/>
                <a:gd name="T27" fmla="*/ 235 h 256"/>
                <a:gd name="T28" fmla="*/ 129 w 236"/>
                <a:gd name="T29" fmla="*/ 235 h 256"/>
                <a:gd name="T30" fmla="*/ 129 w 236"/>
                <a:gd name="T31" fmla="*/ 122 h 256"/>
                <a:gd name="T32" fmla="*/ 232 w 236"/>
                <a:gd name="T33" fmla="*/ 18 h 256"/>
                <a:gd name="T34" fmla="*/ 199 w 236"/>
                <a:gd name="T35" fmla="*/ 21 h 256"/>
                <a:gd name="T36" fmla="*/ 118 w 236"/>
                <a:gd name="T37" fmla="*/ 102 h 256"/>
                <a:gd name="T38" fmla="*/ 37 w 236"/>
                <a:gd name="T39" fmla="*/ 21 h 256"/>
                <a:gd name="T40" fmla="*/ 199 w 236"/>
                <a:gd name="T41" fmla="*/ 2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6" h="256">
                  <a:moveTo>
                    <a:pt x="232" y="18"/>
                  </a:moveTo>
                  <a:cubicBezTo>
                    <a:pt x="235" y="15"/>
                    <a:pt x="236" y="11"/>
                    <a:pt x="235" y="7"/>
                  </a:cubicBezTo>
                  <a:cubicBezTo>
                    <a:pt x="233" y="3"/>
                    <a:pt x="229" y="0"/>
                    <a:pt x="225" y="0"/>
                  </a:cubicBezTo>
                  <a:cubicBezTo>
                    <a:pt x="11" y="0"/>
                    <a:pt x="11" y="0"/>
                    <a:pt x="11" y="0"/>
                  </a:cubicBezTo>
                  <a:cubicBezTo>
                    <a:pt x="7" y="0"/>
                    <a:pt x="3" y="3"/>
                    <a:pt x="1" y="7"/>
                  </a:cubicBezTo>
                  <a:cubicBezTo>
                    <a:pt x="0" y="11"/>
                    <a:pt x="1" y="15"/>
                    <a:pt x="4" y="18"/>
                  </a:cubicBezTo>
                  <a:cubicBezTo>
                    <a:pt x="107" y="122"/>
                    <a:pt x="107" y="122"/>
                    <a:pt x="107" y="122"/>
                  </a:cubicBezTo>
                  <a:cubicBezTo>
                    <a:pt x="107" y="235"/>
                    <a:pt x="107" y="235"/>
                    <a:pt x="107" y="235"/>
                  </a:cubicBezTo>
                  <a:cubicBezTo>
                    <a:pt x="54" y="235"/>
                    <a:pt x="54" y="235"/>
                    <a:pt x="54" y="235"/>
                  </a:cubicBezTo>
                  <a:cubicBezTo>
                    <a:pt x="48" y="235"/>
                    <a:pt x="43" y="239"/>
                    <a:pt x="43" y="245"/>
                  </a:cubicBezTo>
                  <a:cubicBezTo>
                    <a:pt x="43" y="251"/>
                    <a:pt x="48" y="256"/>
                    <a:pt x="54" y="256"/>
                  </a:cubicBezTo>
                  <a:cubicBezTo>
                    <a:pt x="182" y="256"/>
                    <a:pt x="182" y="256"/>
                    <a:pt x="182" y="256"/>
                  </a:cubicBezTo>
                  <a:cubicBezTo>
                    <a:pt x="188" y="256"/>
                    <a:pt x="193" y="251"/>
                    <a:pt x="193" y="245"/>
                  </a:cubicBezTo>
                  <a:cubicBezTo>
                    <a:pt x="193" y="239"/>
                    <a:pt x="188" y="235"/>
                    <a:pt x="182" y="235"/>
                  </a:cubicBezTo>
                  <a:cubicBezTo>
                    <a:pt x="129" y="235"/>
                    <a:pt x="129" y="235"/>
                    <a:pt x="129" y="235"/>
                  </a:cubicBezTo>
                  <a:cubicBezTo>
                    <a:pt x="129" y="122"/>
                    <a:pt x="129" y="122"/>
                    <a:pt x="129" y="122"/>
                  </a:cubicBezTo>
                  <a:lnTo>
                    <a:pt x="232" y="18"/>
                  </a:lnTo>
                  <a:close/>
                  <a:moveTo>
                    <a:pt x="199" y="21"/>
                  </a:moveTo>
                  <a:cubicBezTo>
                    <a:pt x="118" y="102"/>
                    <a:pt x="118" y="102"/>
                    <a:pt x="118" y="102"/>
                  </a:cubicBezTo>
                  <a:cubicBezTo>
                    <a:pt x="37" y="21"/>
                    <a:pt x="37" y="21"/>
                    <a:pt x="37" y="21"/>
                  </a:cubicBezTo>
                  <a:lnTo>
                    <a:pt x="199"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1" name="Group 17"/>
          <p:cNvGrpSpPr>
            <a:grpSpLocks noChangeAspect="1"/>
          </p:cNvGrpSpPr>
          <p:nvPr/>
        </p:nvGrpSpPr>
        <p:grpSpPr bwMode="auto">
          <a:xfrm>
            <a:off x="5029949" y="1387159"/>
            <a:ext cx="599936" cy="599932"/>
            <a:chOff x="2387" y="1141"/>
            <a:chExt cx="340" cy="340"/>
          </a:xfrm>
          <a:solidFill>
            <a:schemeClr val="bg1"/>
          </a:solidFill>
        </p:grpSpPr>
        <p:sp>
          <p:nvSpPr>
            <p:cNvPr id="102"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7" name="Group 106"/>
          <p:cNvGrpSpPr>
            <a:grpSpLocks noChangeAspect="1"/>
          </p:cNvGrpSpPr>
          <p:nvPr/>
        </p:nvGrpSpPr>
        <p:grpSpPr bwMode="auto">
          <a:xfrm>
            <a:off x="5866554" y="4898691"/>
            <a:ext cx="600508" cy="600508"/>
            <a:chOff x="4112" y="2773"/>
            <a:chExt cx="340" cy="340"/>
          </a:xfrm>
          <a:solidFill>
            <a:schemeClr val="bg1"/>
          </a:solidFill>
        </p:grpSpPr>
        <p:sp>
          <p:nvSpPr>
            <p:cNvPr id="108" name="Freeform 475"/>
            <p:cNvSpPr>
              <a:spLocks noEditPoints="1"/>
            </p:cNvSpPr>
            <p:nvPr/>
          </p:nvSpPr>
          <p:spPr bwMode="auto">
            <a:xfrm>
              <a:off x="4112" y="27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476"/>
            <p:cNvSpPr>
              <a:spLocks noEditPoints="1"/>
            </p:cNvSpPr>
            <p:nvPr/>
          </p:nvSpPr>
          <p:spPr bwMode="auto">
            <a:xfrm>
              <a:off x="4217" y="2851"/>
              <a:ext cx="129" cy="184"/>
            </a:xfrm>
            <a:custGeom>
              <a:avLst/>
              <a:gdLst>
                <a:gd name="T0" fmla="*/ 185 w 195"/>
                <a:gd name="T1" fmla="*/ 39 h 277"/>
                <a:gd name="T2" fmla="*/ 187 w 195"/>
                <a:gd name="T3" fmla="*/ 11 h 277"/>
                <a:gd name="T4" fmla="*/ 184 w 195"/>
                <a:gd name="T5" fmla="*/ 3 h 277"/>
                <a:gd name="T6" fmla="*/ 176 w 195"/>
                <a:gd name="T7" fmla="*/ 0 h 277"/>
                <a:gd name="T8" fmla="*/ 19 w 195"/>
                <a:gd name="T9" fmla="*/ 0 h 277"/>
                <a:gd name="T10" fmla="*/ 11 w 195"/>
                <a:gd name="T11" fmla="*/ 3 h 277"/>
                <a:gd name="T12" fmla="*/ 9 w 195"/>
                <a:gd name="T13" fmla="*/ 11 h 277"/>
                <a:gd name="T14" fmla="*/ 11 w 195"/>
                <a:gd name="T15" fmla="*/ 39 h 277"/>
                <a:gd name="T16" fmla="*/ 3 w 195"/>
                <a:gd name="T17" fmla="*/ 80 h 277"/>
                <a:gd name="T18" fmla="*/ 16 w 195"/>
                <a:gd name="T19" fmla="*/ 107 h 277"/>
                <a:gd name="T20" fmla="*/ 28 w 195"/>
                <a:gd name="T21" fmla="*/ 267 h 277"/>
                <a:gd name="T22" fmla="*/ 38 w 195"/>
                <a:gd name="T23" fmla="*/ 277 h 277"/>
                <a:gd name="T24" fmla="*/ 157 w 195"/>
                <a:gd name="T25" fmla="*/ 277 h 277"/>
                <a:gd name="T26" fmla="*/ 168 w 195"/>
                <a:gd name="T27" fmla="*/ 267 h 277"/>
                <a:gd name="T28" fmla="*/ 180 w 195"/>
                <a:gd name="T29" fmla="*/ 107 h 277"/>
                <a:gd name="T30" fmla="*/ 193 w 195"/>
                <a:gd name="T31" fmla="*/ 80 h 277"/>
                <a:gd name="T32" fmla="*/ 185 w 195"/>
                <a:gd name="T33" fmla="*/ 39 h 277"/>
                <a:gd name="T34" fmla="*/ 31 w 195"/>
                <a:gd name="T35" fmla="*/ 21 h 277"/>
                <a:gd name="T36" fmla="*/ 165 w 195"/>
                <a:gd name="T37" fmla="*/ 21 h 277"/>
                <a:gd name="T38" fmla="*/ 163 w 195"/>
                <a:gd name="T39" fmla="*/ 42 h 277"/>
                <a:gd name="T40" fmla="*/ 166 w 195"/>
                <a:gd name="T41" fmla="*/ 50 h 277"/>
                <a:gd name="T42" fmla="*/ 172 w 195"/>
                <a:gd name="T43" fmla="*/ 64 h 277"/>
                <a:gd name="T44" fmla="*/ 24 w 195"/>
                <a:gd name="T45" fmla="*/ 64 h 277"/>
                <a:gd name="T46" fmla="*/ 30 w 195"/>
                <a:gd name="T47" fmla="*/ 50 h 277"/>
                <a:gd name="T48" fmla="*/ 32 w 195"/>
                <a:gd name="T49" fmla="*/ 42 h 277"/>
                <a:gd name="T50" fmla="*/ 31 w 195"/>
                <a:gd name="T51" fmla="*/ 21 h 277"/>
                <a:gd name="T52" fmla="*/ 162 w 195"/>
                <a:gd name="T53" fmla="*/ 94 h 277"/>
                <a:gd name="T54" fmla="*/ 159 w 195"/>
                <a:gd name="T55" fmla="*/ 101 h 277"/>
                <a:gd name="T56" fmla="*/ 147 w 195"/>
                <a:gd name="T57" fmla="*/ 256 h 277"/>
                <a:gd name="T58" fmla="*/ 48 w 195"/>
                <a:gd name="T59" fmla="*/ 256 h 277"/>
                <a:gd name="T60" fmla="*/ 37 w 195"/>
                <a:gd name="T61" fmla="*/ 101 h 277"/>
                <a:gd name="T62" fmla="*/ 33 w 195"/>
                <a:gd name="T63" fmla="*/ 94 h 277"/>
                <a:gd name="T64" fmla="*/ 27 w 195"/>
                <a:gd name="T65" fmla="*/ 85 h 277"/>
                <a:gd name="T66" fmla="*/ 169 w 195"/>
                <a:gd name="T67" fmla="*/ 85 h 277"/>
                <a:gd name="T68" fmla="*/ 162 w 195"/>
                <a:gd name="T69" fmla="*/ 9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5" h="277">
                  <a:moveTo>
                    <a:pt x="185" y="39"/>
                  </a:moveTo>
                  <a:cubicBezTo>
                    <a:pt x="187" y="11"/>
                    <a:pt x="187" y="11"/>
                    <a:pt x="187" y="11"/>
                  </a:cubicBezTo>
                  <a:cubicBezTo>
                    <a:pt x="187" y="9"/>
                    <a:pt x="186" y="6"/>
                    <a:pt x="184" y="3"/>
                  </a:cubicBezTo>
                  <a:cubicBezTo>
                    <a:pt x="182" y="1"/>
                    <a:pt x="179" y="0"/>
                    <a:pt x="176" y="0"/>
                  </a:cubicBezTo>
                  <a:cubicBezTo>
                    <a:pt x="19" y="0"/>
                    <a:pt x="19" y="0"/>
                    <a:pt x="19" y="0"/>
                  </a:cubicBezTo>
                  <a:cubicBezTo>
                    <a:pt x="16" y="0"/>
                    <a:pt x="13" y="1"/>
                    <a:pt x="11" y="3"/>
                  </a:cubicBezTo>
                  <a:cubicBezTo>
                    <a:pt x="9" y="6"/>
                    <a:pt x="8" y="9"/>
                    <a:pt x="9" y="11"/>
                  </a:cubicBezTo>
                  <a:cubicBezTo>
                    <a:pt x="11" y="39"/>
                    <a:pt x="11" y="39"/>
                    <a:pt x="11" y="39"/>
                  </a:cubicBezTo>
                  <a:cubicBezTo>
                    <a:pt x="3" y="50"/>
                    <a:pt x="0" y="65"/>
                    <a:pt x="3" y="80"/>
                  </a:cubicBezTo>
                  <a:cubicBezTo>
                    <a:pt x="5" y="90"/>
                    <a:pt x="9" y="100"/>
                    <a:pt x="16" y="107"/>
                  </a:cubicBezTo>
                  <a:cubicBezTo>
                    <a:pt x="28" y="267"/>
                    <a:pt x="28" y="267"/>
                    <a:pt x="28" y="267"/>
                  </a:cubicBezTo>
                  <a:cubicBezTo>
                    <a:pt x="28" y="273"/>
                    <a:pt x="33" y="277"/>
                    <a:pt x="38" y="277"/>
                  </a:cubicBezTo>
                  <a:cubicBezTo>
                    <a:pt x="157" y="277"/>
                    <a:pt x="157" y="277"/>
                    <a:pt x="157" y="277"/>
                  </a:cubicBezTo>
                  <a:cubicBezTo>
                    <a:pt x="162" y="277"/>
                    <a:pt x="167" y="273"/>
                    <a:pt x="168" y="267"/>
                  </a:cubicBezTo>
                  <a:cubicBezTo>
                    <a:pt x="180" y="107"/>
                    <a:pt x="180" y="107"/>
                    <a:pt x="180" y="107"/>
                  </a:cubicBezTo>
                  <a:cubicBezTo>
                    <a:pt x="186" y="100"/>
                    <a:pt x="191" y="90"/>
                    <a:pt x="193" y="80"/>
                  </a:cubicBezTo>
                  <a:cubicBezTo>
                    <a:pt x="195" y="65"/>
                    <a:pt x="192" y="50"/>
                    <a:pt x="185" y="39"/>
                  </a:cubicBezTo>
                  <a:close/>
                  <a:moveTo>
                    <a:pt x="31" y="21"/>
                  </a:moveTo>
                  <a:cubicBezTo>
                    <a:pt x="165" y="21"/>
                    <a:pt x="165" y="21"/>
                    <a:pt x="165" y="21"/>
                  </a:cubicBezTo>
                  <a:cubicBezTo>
                    <a:pt x="163" y="42"/>
                    <a:pt x="163" y="42"/>
                    <a:pt x="163" y="42"/>
                  </a:cubicBezTo>
                  <a:cubicBezTo>
                    <a:pt x="163" y="45"/>
                    <a:pt x="164" y="48"/>
                    <a:pt x="166" y="50"/>
                  </a:cubicBezTo>
                  <a:cubicBezTo>
                    <a:pt x="169" y="53"/>
                    <a:pt x="171" y="58"/>
                    <a:pt x="172" y="64"/>
                  </a:cubicBezTo>
                  <a:cubicBezTo>
                    <a:pt x="24" y="64"/>
                    <a:pt x="24" y="64"/>
                    <a:pt x="24" y="64"/>
                  </a:cubicBezTo>
                  <a:cubicBezTo>
                    <a:pt x="24" y="58"/>
                    <a:pt x="26" y="53"/>
                    <a:pt x="30" y="50"/>
                  </a:cubicBezTo>
                  <a:cubicBezTo>
                    <a:pt x="31" y="48"/>
                    <a:pt x="32" y="45"/>
                    <a:pt x="32" y="42"/>
                  </a:cubicBezTo>
                  <a:lnTo>
                    <a:pt x="31" y="21"/>
                  </a:lnTo>
                  <a:close/>
                  <a:moveTo>
                    <a:pt x="162" y="94"/>
                  </a:moveTo>
                  <a:cubicBezTo>
                    <a:pt x="160" y="96"/>
                    <a:pt x="159" y="98"/>
                    <a:pt x="159" y="101"/>
                  </a:cubicBezTo>
                  <a:cubicBezTo>
                    <a:pt x="147" y="256"/>
                    <a:pt x="147" y="256"/>
                    <a:pt x="147" y="256"/>
                  </a:cubicBezTo>
                  <a:cubicBezTo>
                    <a:pt x="48" y="256"/>
                    <a:pt x="48" y="256"/>
                    <a:pt x="48" y="256"/>
                  </a:cubicBezTo>
                  <a:cubicBezTo>
                    <a:pt x="37" y="101"/>
                    <a:pt x="37" y="101"/>
                    <a:pt x="37" y="101"/>
                  </a:cubicBezTo>
                  <a:cubicBezTo>
                    <a:pt x="36" y="98"/>
                    <a:pt x="35" y="96"/>
                    <a:pt x="33" y="94"/>
                  </a:cubicBezTo>
                  <a:cubicBezTo>
                    <a:pt x="31" y="92"/>
                    <a:pt x="28" y="89"/>
                    <a:pt x="27" y="85"/>
                  </a:cubicBezTo>
                  <a:cubicBezTo>
                    <a:pt x="169" y="85"/>
                    <a:pt x="169" y="85"/>
                    <a:pt x="169" y="85"/>
                  </a:cubicBezTo>
                  <a:cubicBezTo>
                    <a:pt x="167" y="89"/>
                    <a:pt x="165" y="92"/>
                    <a:pt x="162" y="9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0" name="Group 893"/>
          <p:cNvGrpSpPr>
            <a:grpSpLocks noChangeAspect="1"/>
          </p:cNvGrpSpPr>
          <p:nvPr/>
        </p:nvGrpSpPr>
        <p:grpSpPr bwMode="auto">
          <a:xfrm>
            <a:off x="8114330" y="3018453"/>
            <a:ext cx="600508" cy="600508"/>
            <a:chOff x="4449" y="4136"/>
            <a:chExt cx="340" cy="340"/>
          </a:xfrm>
          <a:solidFill>
            <a:schemeClr val="bg1"/>
          </a:solidFill>
        </p:grpSpPr>
        <p:sp>
          <p:nvSpPr>
            <p:cNvPr id="111" name="Freeform 894"/>
            <p:cNvSpPr>
              <a:spLocks noEditPoints="1"/>
            </p:cNvSpPr>
            <p:nvPr/>
          </p:nvSpPr>
          <p:spPr bwMode="auto">
            <a:xfrm>
              <a:off x="4449" y="41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895"/>
            <p:cNvSpPr>
              <a:spLocks noEditPoints="1"/>
            </p:cNvSpPr>
            <p:nvPr/>
          </p:nvSpPr>
          <p:spPr bwMode="auto">
            <a:xfrm>
              <a:off x="4576" y="4200"/>
              <a:ext cx="85" cy="212"/>
            </a:xfrm>
            <a:custGeom>
              <a:avLst/>
              <a:gdLst>
                <a:gd name="T0" fmla="*/ 111 w 128"/>
                <a:gd name="T1" fmla="*/ 135 h 320"/>
                <a:gd name="T2" fmla="*/ 96 w 128"/>
                <a:gd name="T3" fmla="*/ 85 h 320"/>
                <a:gd name="T4" fmla="*/ 96 w 128"/>
                <a:gd name="T5" fmla="*/ 21 h 320"/>
                <a:gd name="T6" fmla="*/ 64 w 128"/>
                <a:gd name="T7" fmla="*/ 0 h 320"/>
                <a:gd name="T8" fmla="*/ 32 w 128"/>
                <a:gd name="T9" fmla="*/ 21 h 320"/>
                <a:gd name="T10" fmla="*/ 32 w 128"/>
                <a:gd name="T11" fmla="*/ 53 h 320"/>
                <a:gd name="T12" fmla="*/ 32 w 128"/>
                <a:gd name="T13" fmla="*/ 85 h 320"/>
                <a:gd name="T14" fmla="*/ 16 w 128"/>
                <a:gd name="T15" fmla="*/ 135 h 320"/>
                <a:gd name="T16" fmla="*/ 0 w 128"/>
                <a:gd name="T17" fmla="*/ 192 h 320"/>
                <a:gd name="T18" fmla="*/ 0 w 128"/>
                <a:gd name="T19" fmla="*/ 298 h 320"/>
                <a:gd name="T20" fmla="*/ 5 w 128"/>
                <a:gd name="T21" fmla="*/ 308 h 320"/>
                <a:gd name="T22" fmla="*/ 64 w 128"/>
                <a:gd name="T23" fmla="*/ 320 h 320"/>
                <a:gd name="T24" fmla="*/ 122 w 128"/>
                <a:gd name="T25" fmla="*/ 308 h 320"/>
                <a:gd name="T26" fmla="*/ 128 w 128"/>
                <a:gd name="T27" fmla="*/ 298 h 320"/>
                <a:gd name="T28" fmla="*/ 128 w 128"/>
                <a:gd name="T29" fmla="*/ 192 h 320"/>
                <a:gd name="T30" fmla="*/ 111 w 128"/>
                <a:gd name="T31" fmla="*/ 135 h 320"/>
                <a:gd name="T32" fmla="*/ 106 w 128"/>
                <a:gd name="T33" fmla="*/ 256 h 320"/>
                <a:gd name="T34" fmla="*/ 64 w 128"/>
                <a:gd name="T35" fmla="*/ 256 h 320"/>
                <a:gd name="T36" fmla="*/ 64 w 128"/>
                <a:gd name="T37" fmla="*/ 213 h 320"/>
                <a:gd name="T38" fmla="*/ 106 w 128"/>
                <a:gd name="T39" fmla="*/ 213 h 320"/>
                <a:gd name="T40" fmla="*/ 106 w 128"/>
                <a:gd name="T41" fmla="*/ 256 h 320"/>
                <a:gd name="T42" fmla="*/ 64 w 128"/>
                <a:gd name="T43" fmla="*/ 21 h 320"/>
                <a:gd name="T44" fmla="*/ 74 w 128"/>
                <a:gd name="T45" fmla="*/ 23 h 320"/>
                <a:gd name="T46" fmla="*/ 74 w 128"/>
                <a:gd name="T47" fmla="*/ 42 h 320"/>
                <a:gd name="T48" fmla="*/ 53 w 128"/>
                <a:gd name="T49" fmla="*/ 42 h 320"/>
                <a:gd name="T50" fmla="*/ 53 w 128"/>
                <a:gd name="T51" fmla="*/ 22 h 320"/>
                <a:gd name="T52" fmla="*/ 64 w 128"/>
                <a:gd name="T53" fmla="*/ 21 h 320"/>
                <a:gd name="T54" fmla="*/ 64 w 128"/>
                <a:gd name="T55" fmla="*/ 298 h 320"/>
                <a:gd name="T56" fmla="*/ 21 w 128"/>
                <a:gd name="T57" fmla="*/ 291 h 320"/>
                <a:gd name="T58" fmla="*/ 21 w 128"/>
                <a:gd name="T59" fmla="*/ 192 h 320"/>
                <a:gd name="T60" fmla="*/ 36 w 128"/>
                <a:gd name="T61" fmla="*/ 144 h 320"/>
                <a:gd name="T62" fmla="*/ 53 w 128"/>
                <a:gd name="T63" fmla="*/ 85 h 320"/>
                <a:gd name="T64" fmla="*/ 53 w 128"/>
                <a:gd name="T65" fmla="*/ 64 h 320"/>
                <a:gd name="T66" fmla="*/ 74 w 128"/>
                <a:gd name="T67" fmla="*/ 64 h 320"/>
                <a:gd name="T68" fmla="*/ 74 w 128"/>
                <a:gd name="T69" fmla="*/ 85 h 320"/>
                <a:gd name="T70" fmla="*/ 91 w 128"/>
                <a:gd name="T71" fmla="*/ 144 h 320"/>
                <a:gd name="T72" fmla="*/ 106 w 128"/>
                <a:gd name="T73" fmla="*/ 192 h 320"/>
                <a:gd name="T74" fmla="*/ 53 w 128"/>
                <a:gd name="T75" fmla="*/ 192 h 320"/>
                <a:gd name="T76" fmla="*/ 42 w 128"/>
                <a:gd name="T77" fmla="*/ 202 h 320"/>
                <a:gd name="T78" fmla="*/ 42 w 128"/>
                <a:gd name="T79" fmla="*/ 266 h 320"/>
                <a:gd name="T80" fmla="*/ 53 w 128"/>
                <a:gd name="T81" fmla="*/ 277 h 320"/>
                <a:gd name="T82" fmla="*/ 106 w 128"/>
                <a:gd name="T83" fmla="*/ 277 h 320"/>
                <a:gd name="T84" fmla="*/ 106 w 128"/>
                <a:gd name="T85" fmla="*/ 291 h 320"/>
                <a:gd name="T86" fmla="*/ 64 w 128"/>
                <a:gd name="T8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320">
                  <a:moveTo>
                    <a:pt x="111" y="135"/>
                  </a:moveTo>
                  <a:cubicBezTo>
                    <a:pt x="103" y="118"/>
                    <a:pt x="96" y="99"/>
                    <a:pt x="96" y="85"/>
                  </a:cubicBezTo>
                  <a:cubicBezTo>
                    <a:pt x="96" y="21"/>
                    <a:pt x="96" y="21"/>
                    <a:pt x="96" y="21"/>
                  </a:cubicBezTo>
                  <a:cubicBezTo>
                    <a:pt x="96" y="11"/>
                    <a:pt x="87" y="0"/>
                    <a:pt x="64" y="0"/>
                  </a:cubicBezTo>
                  <a:cubicBezTo>
                    <a:pt x="36" y="0"/>
                    <a:pt x="32" y="13"/>
                    <a:pt x="32" y="21"/>
                  </a:cubicBezTo>
                  <a:cubicBezTo>
                    <a:pt x="32" y="53"/>
                    <a:pt x="32" y="53"/>
                    <a:pt x="32" y="53"/>
                  </a:cubicBezTo>
                  <a:cubicBezTo>
                    <a:pt x="32" y="85"/>
                    <a:pt x="32" y="85"/>
                    <a:pt x="32" y="85"/>
                  </a:cubicBezTo>
                  <a:cubicBezTo>
                    <a:pt x="32" y="99"/>
                    <a:pt x="24" y="118"/>
                    <a:pt x="16" y="135"/>
                  </a:cubicBezTo>
                  <a:cubicBezTo>
                    <a:pt x="8" y="154"/>
                    <a:pt x="0" y="174"/>
                    <a:pt x="0" y="192"/>
                  </a:cubicBezTo>
                  <a:cubicBezTo>
                    <a:pt x="0" y="298"/>
                    <a:pt x="0" y="298"/>
                    <a:pt x="0" y="298"/>
                  </a:cubicBezTo>
                  <a:cubicBezTo>
                    <a:pt x="0" y="302"/>
                    <a:pt x="2" y="306"/>
                    <a:pt x="5" y="308"/>
                  </a:cubicBezTo>
                  <a:cubicBezTo>
                    <a:pt x="6" y="308"/>
                    <a:pt x="27" y="320"/>
                    <a:pt x="64" y="320"/>
                  </a:cubicBezTo>
                  <a:cubicBezTo>
                    <a:pt x="101" y="320"/>
                    <a:pt x="121" y="308"/>
                    <a:pt x="122" y="308"/>
                  </a:cubicBezTo>
                  <a:cubicBezTo>
                    <a:pt x="126" y="306"/>
                    <a:pt x="128" y="302"/>
                    <a:pt x="128" y="298"/>
                  </a:cubicBezTo>
                  <a:cubicBezTo>
                    <a:pt x="128" y="192"/>
                    <a:pt x="128" y="192"/>
                    <a:pt x="128" y="192"/>
                  </a:cubicBezTo>
                  <a:cubicBezTo>
                    <a:pt x="128" y="174"/>
                    <a:pt x="119" y="154"/>
                    <a:pt x="111" y="135"/>
                  </a:cubicBezTo>
                  <a:close/>
                  <a:moveTo>
                    <a:pt x="106" y="256"/>
                  </a:moveTo>
                  <a:cubicBezTo>
                    <a:pt x="64" y="256"/>
                    <a:pt x="64" y="256"/>
                    <a:pt x="64" y="256"/>
                  </a:cubicBezTo>
                  <a:cubicBezTo>
                    <a:pt x="64" y="213"/>
                    <a:pt x="64" y="213"/>
                    <a:pt x="64" y="213"/>
                  </a:cubicBezTo>
                  <a:cubicBezTo>
                    <a:pt x="106" y="213"/>
                    <a:pt x="106" y="213"/>
                    <a:pt x="106" y="213"/>
                  </a:cubicBezTo>
                  <a:lnTo>
                    <a:pt x="106" y="256"/>
                  </a:lnTo>
                  <a:close/>
                  <a:moveTo>
                    <a:pt x="64" y="21"/>
                  </a:moveTo>
                  <a:cubicBezTo>
                    <a:pt x="69" y="21"/>
                    <a:pt x="73" y="22"/>
                    <a:pt x="74" y="23"/>
                  </a:cubicBezTo>
                  <a:cubicBezTo>
                    <a:pt x="74" y="42"/>
                    <a:pt x="74" y="42"/>
                    <a:pt x="74" y="42"/>
                  </a:cubicBezTo>
                  <a:cubicBezTo>
                    <a:pt x="53" y="42"/>
                    <a:pt x="53" y="42"/>
                    <a:pt x="53" y="42"/>
                  </a:cubicBezTo>
                  <a:cubicBezTo>
                    <a:pt x="53" y="22"/>
                    <a:pt x="53" y="22"/>
                    <a:pt x="53" y="22"/>
                  </a:cubicBezTo>
                  <a:cubicBezTo>
                    <a:pt x="54" y="22"/>
                    <a:pt x="57" y="21"/>
                    <a:pt x="64" y="21"/>
                  </a:cubicBezTo>
                  <a:close/>
                  <a:moveTo>
                    <a:pt x="64" y="298"/>
                  </a:moveTo>
                  <a:cubicBezTo>
                    <a:pt x="43" y="298"/>
                    <a:pt x="28" y="294"/>
                    <a:pt x="21" y="291"/>
                  </a:cubicBezTo>
                  <a:cubicBezTo>
                    <a:pt x="21" y="192"/>
                    <a:pt x="21" y="192"/>
                    <a:pt x="21" y="192"/>
                  </a:cubicBezTo>
                  <a:cubicBezTo>
                    <a:pt x="21" y="178"/>
                    <a:pt x="29" y="161"/>
                    <a:pt x="36" y="144"/>
                  </a:cubicBezTo>
                  <a:cubicBezTo>
                    <a:pt x="44" y="124"/>
                    <a:pt x="53" y="104"/>
                    <a:pt x="53" y="85"/>
                  </a:cubicBezTo>
                  <a:cubicBezTo>
                    <a:pt x="53" y="64"/>
                    <a:pt x="53" y="64"/>
                    <a:pt x="53" y="64"/>
                  </a:cubicBezTo>
                  <a:cubicBezTo>
                    <a:pt x="74" y="64"/>
                    <a:pt x="74" y="64"/>
                    <a:pt x="74" y="64"/>
                  </a:cubicBezTo>
                  <a:cubicBezTo>
                    <a:pt x="74" y="85"/>
                    <a:pt x="74" y="85"/>
                    <a:pt x="74" y="85"/>
                  </a:cubicBezTo>
                  <a:cubicBezTo>
                    <a:pt x="74" y="104"/>
                    <a:pt x="83" y="124"/>
                    <a:pt x="91" y="144"/>
                  </a:cubicBezTo>
                  <a:cubicBezTo>
                    <a:pt x="99" y="161"/>
                    <a:pt x="106" y="178"/>
                    <a:pt x="106" y="192"/>
                  </a:cubicBezTo>
                  <a:cubicBezTo>
                    <a:pt x="53" y="192"/>
                    <a:pt x="53" y="192"/>
                    <a:pt x="53" y="192"/>
                  </a:cubicBezTo>
                  <a:cubicBezTo>
                    <a:pt x="47" y="192"/>
                    <a:pt x="42" y="196"/>
                    <a:pt x="42" y="202"/>
                  </a:cubicBezTo>
                  <a:cubicBezTo>
                    <a:pt x="42" y="266"/>
                    <a:pt x="42" y="266"/>
                    <a:pt x="42" y="266"/>
                  </a:cubicBezTo>
                  <a:cubicBezTo>
                    <a:pt x="42" y="272"/>
                    <a:pt x="47" y="277"/>
                    <a:pt x="53" y="277"/>
                  </a:cubicBezTo>
                  <a:cubicBezTo>
                    <a:pt x="106" y="277"/>
                    <a:pt x="106" y="277"/>
                    <a:pt x="106" y="277"/>
                  </a:cubicBezTo>
                  <a:cubicBezTo>
                    <a:pt x="106" y="291"/>
                    <a:pt x="106" y="291"/>
                    <a:pt x="106" y="291"/>
                  </a:cubicBezTo>
                  <a:cubicBezTo>
                    <a:pt x="99" y="294"/>
                    <a:pt x="85" y="298"/>
                    <a:pt x="64"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09255117"/>
      </p:ext>
    </p:extLst>
  </p:cSld>
  <p:clrMapOvr>
    <a:masterClrMapping/>
  </p:clrMapOvr>
  <p:transition>
    <p:fade/>
  </p:transition>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Combined ring and pinpoint icons</a:t>
            </a:r>
            <a:endParaRPr lang="en-US" dirty="0"/>
          </a:p>
        </p:txBody>
      </p:sp>
      <p:graphicFrame>
        <p:nvGraphicFramePr>
          <p:cNvPr id="113" name="Chart 112"/>
          <p:cNvGraphicFramePr/>
          <p:nvPr/>
        </p:nvGraphicFramePr>
        <p:xfrm>
          <a:off x="4313167" y="2761620"/>
          <a:ext cx="3512024" cy="2640989"/>
        </p:xfrm>
        <a:graphic>
          <a:graphicData uri="http://schemas.openxmlformats.org/drawingml/2006/chart">
            <c:chart xmlns:c="http://schemas.openxmlformats.org/drawingml/2006/chart" xmlns:r="http://schemas.openxmlformats.org/officeDocument/2006/relationships" r:id="rId3"/>
          </a:graphicData>
        </a:graphic>
      </p:graphicFrame>
      <p:grpSp>
        <p:nvGrpSpPr>
          <p:cNvPr id="114" name="Group 113"/>
          <p:cNvGrpSpPr>
            <a:grpSpLocks noChangeAspect="1"/>
          </p:cNvGrpSpPr>
          <p:nvPr/>
        </p:nvGrpSpPr>
        <p:grpSpPr>
          <a:xfrm rot="18900000">
            <a:off x="5657699" y="2354061"/>
            <a:ext cx="822960" cy="822960"/>
            <a:chOff x="7606853" y="246063"/>
            <a:chExt cx="896937" cy="896937"/>
          </a:xfrm>
          <a:solidFill>
            <a:srgbClr val="DCDCDC"/>
          </a:solidFill>
        </p:grpSpPr>
        <p:sp>
          <p:nvSpPr>
            <p:cNvPr id="115" name="Teardrop 114"/>
            <p:cNvSpPr/>
            <p:nvPr/>
          </p:nvSpPr>
          <p:spPr>
            <a:xfrm>
              <a:off x="7606853" y="246063"/>
              <a:ext cx="896937" cy="896937"/>
            </a:xfrm>
            <a:prstGeom prst="teardrop">
              <a:avLst/>
            </a:prstGeom>
            <a:solidFill>
              <a:schemeClr val="accent6">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116" name="Oval 115"/>
            <p:cNvSpPr/>
            <p:nvPr/>
          </p:nvSpPr>
          <p:spPr>
            <a:xfrm>
              <a:off x="7647296" y="280457"/>
              <a:ext cx="822602" cy="822602"/>
            </a:xfrm>
            <a:prstGeom prst="ellipse">
              <a:avLst/>
            </a:prstGeom>
            <a:solidFill>
              <a:schemeClr val="accent6"/>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sp>
        <p:nvSpPr>
          <p:cNvPr id="117" name="Teardrop 116"/>
          <p:cNvSpPr/>
          <p:nvPr/>
        </p:nvSpPr>
        <p:spPr>
          <a:xfrm rot="11700000">
            <a:off x="4571820" y="4320021"/>
            <a:ext cx="822960" cy="822960"/>
          </a:xfrm>
          <a:prstGeom prst="teardrop">
            <a:avLst/>
          </a:prstGeom>
          <a:solidFill>
            <a:schemeClr val="accent5">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118" name="Oval 117"/>
          <p:cNvSpPr/>
          <p:nvPr/>
        </p:nvSpPr>
        <p:spPr>
          <a:xfrm rot="11700000">
            <a:off x="4602364" y="4355803"/>
            <a:ext cx="754756" cy="754756"/>
          </a:xfrm>
          <a:prstGeom prst="ellipse">
            <a:avLst/>
          </a:prstGeom>
          <a:solidFill>
            <a:schemeClr val="accent5"/>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nvGrpSpPr>
          <p:cNvPr id="119" name="Group 118"/>
          <p:cNvGrpSpPr>
            <a:grpSpLocks noChangeAspect="1"/>
          </p:cNvGrpSpPr>
          <p:nvPr/>
        </p:nvGrpSpPr>
        <p:grpSpPr>
          <a:xfrm rot="4776862">
            <a:off x="6703548" y="4372413"/>
            <a:ext cx="822960" cy="822960"/>
            <a:chOff x="7606853" y="246063"/>
            <a:chExt cx="896937" cy="896937"/>
          </a:xfrm>
          <a:solidFill>
            <a:srgbClr val="72C7E7"/>
          </a:solidFill>
        </p:grpSpPr>
        <p:sp>
          <p:nvSpPr>
            <p:cNvPr id="120" name="Teardrop 119"/>
            <p:cNvSpPr/>
            <p:nvPr/>
          </p:nvSpPr>
          <p:spPr>
            <a:xfrm>
              <a:off x="7606853" y="246063"/>
              <a:ext cx="896937" cy="896937"/>
            </a:xfrm>
            <a:prstGeom prst="teardrop">
              <a:avLst/>
            </a:prstGeom>
            <a:solidFill>
              <a:schemeClr val="accent3">
                <a:lumMod val="40000"/>
                <a:lumOff val="6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121" name="Oval 120"/>
            <p:cNvSpPr/>
            <p:nvPr/>
          </p:nvSpPr>
          <p:spPr>
            <a:xfrm>
              <a:off x="7647293" y="280458"/>
              <a:ext cx="822602" cy="822602"/>
            </a:xfrm>
            <a:prstGeom prst="ellipse">
              <a:avLst/>
            </a:prstGeom>
            <a:solidFill>
              <a:schemeClr val="accent3"/>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sp>
        <p:nvSpPr>
          <p:cNvPr id="122" name="Rounded Rectangle 121"/>
          <p:cNvSpPr/>
          <p:nvPr/>
        </p:nvSpPr>
        <p:spPr>
          <a:xfrm>
            <a:off x="4479342" y="1103087"/>
            <a:ext cx="3362325" cy="1097280"/>
          </a:xfrm>
          <a:prstGeom prst="roundRect">
            <a:avLst>
              <a:gd name="adj" fmla="val 10178"/>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sp>
        <p:nvSpPr>
          <p:cNvPr id="123" name="Rounded Rectangle 122"/>
          <p:cNvSpPr/>
          <p:nvPr/>
        </p:nvSpPr>
        <p:spPr>
          <a:xfrm>
            <a:off x="1915327" y="4473270"/>
            <a:ext cx="2571539" cy="1371600"/>
          </a:xfrm>
          <a:prstGeom prst="roundRect">
            <a:avLst>
              <a:gd name="adj" fmla="val 10178"/>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sp>
        <p:nvSpPr>
          <p:cNvPr id="124" name="Rounded Rectangle 123"/>
          <p:cNvSpPr/>
          <p:nvPr/>
        </p:nvSpPr>
        <p:spPr>
          <a:xfrm>
            <a:off x="7586327" y="4473270"/>
            <a:ext cx="2650674" cy="1371600"/>
          </a:xfrm>
          <a:prstGeom prst="roundRect">
            <a:avLst>
              <a:gd name="adj" fmla="val 10178"/>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a:t>
            </a:r>
            <a:br>
              <a:rPr lang="en-US" sz="1000" b="1" dirty="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p>
        </p:txBody>
      </p:sp>
      <p:grpSp>
        <p:nvGrpSpPr>
          <p:cNvPr id="131" name="Group 818"/>
          <p:cNvGrpSpPr>
            <a:grpSpLocks noChangeAspect="1"/>
          </p:cNvGrpSpPr>
          <p:nvPr/>
        </p:nvGrpSpPr>
        <p:grpSpPr bwMode="auto">
          <a:xfrm>
            <a:off x="5796175" y="2492538"/>
            <a:ext cx="546010" cy="546008"/>
            <a:chOff x="5841" y="3004"/>
            <a:chExt cx="340" cy="340"/>
          </a:xfrm>
          <a:solidFill>
            <a:schemeClr val="bg1"/>
          </a:solidFill>
        </p:grpSpPr>
        <p:sp>
          <p:nvSpPr>
            <p:cNvPr id="132" name="Freeform 819"/>
            <p:cNvSpPr>
              <a:spLocks noEditPoints="1"/>
            </p:cNvSpPr>
            <p:nvPr/>
          </p:nvSpPr>
          <p:spPr bwMode="auto">
            <a:xfrm>
              <a:off x="5975" y="3124"/>
              <a:ext cx="71" cy="156"/>
            </a:xfrm>
            <a:custGeom>
              <a:avLst/>
              <a:gdLst>
                <a:gd name="T0" fmla="*/ 75 w 107"/>
                <a:gd name="T1" fmla="*/ 8 h 235"/>
                <a:gd name="T2" fmla="*/ 64 w 107"/>
                <a:gd name="T3" fmla="*/ 0 h 235"/>
                <a:gd name="T4" fmla="*/ 43 w 107"/>
                <a:gd name="T5" fmla="*/ 0 h 235"/>
                <a:gd name="T6" fmla="*/ 33 w 107"/>
                <a:gd name="T7" fmla="*/ 8 h 235"/>
                <a:gd name="T8" fmla="*/ 1 w 107"/>
                <a:gd name="T9" fmla="*/ 136 h 235"/>
                <a:gd name="T10" fmla="*/ 3 w 107"/>
                <a:gd name="T11" fmla="*/ 145 h 235"/>
                <a:gd name="T12" fmla="*/ 11 w 107"/>
                <a:gd name="T13" fmla="*/ 149 h 235"/>
                <a:gd name="T14" fmla="*/ 22 w 107"/>
                <a:gd name="T15" fmla="*/ 149 h 235"/>
                <a:gd name="T16" fmla="*/ 22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6 w 107"/>
                <a:gd name="T31" fmla="*/ 224 h 235"/>
                <a:gd name="T32" fmla="*/ 86 w 107"/>
                <a:gd name="T33" fmla="*/ 149 h 235"/>
                <a:gd name="T34" fmla="*/ 96 w 107"/>
                <a:gd name="T35" fmla="*/ 149 h 235"/>
                <a:gd name="T36" fmla="*/ 105 w 107"/>
                <a:gd name="T37" fmla="*/ 145 h 235"/>
                <a:gd name="T38" fmla="*/ 107 w 107"/>
                <a:gd name="T39" fmla="*/ 136 h 235"/>
                <a:gd name="T40" fmla="*/ 75 w 107"/>
                <a:gd name="T41" fmla="*/ 8 h 235"/>
                <a:gd name="T42" fmla="*/ 51 w 107"/>
                <a:gd name="T43" fmla="*/ 21 h 235"/>
                <a:gd name="T44" fmla="*/ 56 w 107"/>
                <a:gd name="T45" fmla="*/ 21 h 235"/>
                <a:gd name="T46" fmla="*/ 83 w 107"/>
                <a:gd name="T47" fmla="*/ 128 h 235"/>
                <a:gd name="T48" fmla="*/ 25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5" y="8"/>
                  </a:moveTo>
                  <a:cubicBezTo>
                    <a:pt x="73" y="3"/>
                    <a:pt x="69" y="0"/>
                    <a:pt x="64" y="0"/>
                  </a:cubicBezTo>
                  <a:cubicBezTo>
                    <a:pt x="43" y="0"/>
                    <a:pt x="43" y="0"/>
                    <a:pt x="43" y="0"/>
                  </a:cubicBezTo>
                  <a:cubicBezTo>
                    <a:pt x="38" y="0"/>
                    <a:pt x="34" y="3"/>
                    <a:pt x="33" y="8"/>
                  </a:cubicBezTo>
                  <a:cubicBezTo>
                    <a:pt x="1" y="136"/>
                    <a:pt x="1" y="136"/>
                    <a:pt x="1" y="136"/>
                  </a:cubicBezTo>
                  <a:cubicBezTo>
                    <a:pt x="0" y="139"/>
                    <a:pt x="1" y="143"/>
                    <a:pt x="3" y="145"/>
                  </a:cubicBezTo>
                  <a:cubicBezTo>
                    <a:pt x="5" y="148"/>
                    <a:pt x="8" y="149"/>
                    <a:pt x="11" y="149"/>
                  </a:cubicBezTo>
                  <a:cubicBezTo>
                    <a:pt x="22" y="149"/>
                    <a:pt x="22" y="149"/>
                    <a:pt x="22" y="149"/>
                  </a:cubicBezTo>
                  <a:cubicBezTo>
                    <a:pt x="22" y="224"/>
                    <a:pt x="22" y="224"/>
                    <a:pt x="22" y="224"/>
                  </a:cubicBezTo>
                  <a:cubicBezTo>
                    <a:pt x="22"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6" y="230"/>
                    <a:pt x="86" y="224"/>
                  </a:cubicBezTo>
                  <a:cubicBezTo>
                    <a:pt x="86" y="149"/>
                    <a:pt x="86" y="149"/>
                    <a:pt x="86" y="149"/>
                  </a:cubicBezTo>
                  <a:cubicBezTo>
                    <a:pt x="96" y="149"/>
                    <a:pt x="96" y="149"/>
                    <a:pt x="96" y="149"/>
                  </a:cubicBezTo>
                  <a:cubicBezTo>
                    <a:pt x="100" y="149"/>
                    <a:pt x="103" y="148"/>
                    <a:pt x="105" y="145"/>
                  </a:cubicBezTo>
                  <a:cubicBezTo>
                    <a:pt x="107" y="143"/>
                    <a:pt x="107" y="139"/>
                    <a:pt x="107" y="136"/>
                  </a:cubicBezTo>
                  <a:lnTo>
                    <a:pt x="75" y="8"/>
                  </a:lnTo>
                  <a:close/>
                  <a:moveTo>
                    <a:pt x="51" y="21"/>
                  </a:moveTo>
                  <a:cubicBezTo>
                    <a:pt x="56" y="21"/>
                    <a:pt x="56" y="21"/>
                    <a:pt x="56" y="21"/>
                  </a:cubicBezTo>
                  <a:cubicBezTo>
                    <a:pt x="83" y="128"/>
                    <a:pt x="83" y="128"/>
                    <a:pt x="83" y="128"/>
                  </a:cubicBezTo>
                  <a:cubicBezTo>
                    <a:pt x="25" y="128"/>
                    <a:pt x="25" y="128"/>
                    <a:pt x="25"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820"/>
            <p:cNvSpPr>
              <a:spLocks noEditPoints="1"/>
            </p:cNvSpPr>
            <p:nvPr/>
          </p:nvSpPr>
          <p:spPr bwMode="auto">
            <a:xfrm>
              <a:off x="5990" y="3068"/>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821"/>
            <p:cNvSpPr>
              <a:spLocks noEditPoints="1"/>
            </p:cNvSpPr>
            <p:nvPr/>
          </p:nvSpPr>
          <p:spPr bwMode="auto">
            <a:xfrm>
              <a:off x="5841" y="300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5" name="Group 828"/>
          <p:cNvGrpSpPr>
            <a:grpSpLocks noChangeAspect="1"/>
          </p:cNvGrpSpPr>
          <p:nvPr/>
        </p:nvGrpSpPr>
        <p:grpSpPr bwMode="auto">
          <a:xfrm>
            <a:off x="6840463" y="4520444"/>
            <a:ext cx="552622" cy="551000"/>
            <a:chOff x="5042" y="3019"/>
            <a:chExt cx="341" cy="340"/>
          </a:xfrm>
          <a:solidFill>
            <a:schemeClr val="bg1"/>
          </a:solidFill>
        </p:grpSpPr>
        <p:sp>
          <p:nvSpPr>
            <p:cNvPr id="136"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1" name="Group 844"/>
          <p:cNvGrpSpPr>
            <a:grpSpLocks noChangeAspect="1"/>
          </p:cNvGrpSpPr>
          <p:nvPr/>
        </p:nvGrpSpPr>
        <p:grpSpPr bwMode="auto">
          <a:xfrm>
            <a:off x="4709739" y="4461124"/>
            <a:ext cx="551000" cy="551000"/>
            <a:chOff x="4301" y="3046"/>
            <a:chExt cx="340" cy="340"/>
          </a:xfrm>
          <a:solidFill>
            <a:schemeClr val="bg1"/>
          </a:solidFill>
        </p:grpSpPr>
        <p:sp>
          <p:nvSpPr>
            <p:cNvPr id="142" name="Freeform 845"/>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846"/>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847"/>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848"/>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849"/>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850"/>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851"/>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84877869"/>
      </p:ext>
    </p:extLst>
  </p:cSld>
  <p:clrMapOvr>
    <a:masterClrMapping/>
  </p:clrMapOvr>
  <p:transition>
    <p:fade/>
  </p:transition>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Pinwheel with text</a:t>
            </a:r>
            <a:endParaRPr lang="en-US" dirty="0"/>
          </a:p>
        </p:txBody>
      </p:sp>
      <p:grpSp>
        <p:nvGrpSpPr>
          <p:cNvPr id="34" name="Group 33"/>
          <p:cNvGrpSpPr/>
          <p:nvPr/>
        </p:nvGrpSpPr>
        <p:grpSpPr>
          <a:xfrm>
            <a:off x="6212744" y="3405456"/>
            <a:ext cx="2880360" cy="1136332"/>
            <a:chOff x="3206750" y="2892744"/>
            <a:chExt cx="3095625" cy="1136332"/>
          </a:xfrm>
        </p:grpSpPr>
        <p:sp>
          <p:nvSpPr>
            <p:cNvPr id="35"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Pentagon 33"/>
            <p:cNvSpPr/>
            <p:nvPr/>
          </p:nvSpPr>
          <p:spPr>
            <a:xfrm>
              <a:off x="3206750" y="2892744"/>
              <a:ext cx="3088904" cy="560069"/>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a:solidFill>
                  <a:schemeClr val="tx2"/>
                </a:solidFill>
              </a:endParaRPr>
            </a:p>
          </p:txBody>
        </p:sp>
      </p:grpSp>
      <p:grpSp>
        <p:nvGrpSpPr>
          <p:cNvPr id="37" name="Group 36"/>
          <p:cNvGrpSpPr/>
          <p:nvPr/>
        </p:nvGrpSpPr>
        <p:grpSpPr>
          <a:xfrm rot="16200000">
            <a:off x="5469933" y="1296616"/>
            <a:ext cx="2880360" cy="1152526"/>
            <a:chOff x="3206750" y="2876550"/>
            <a:chExt cx="3095625" cy="1152526"/>
          </a:xfrm>
        </p:grpSpPr>
        <p:sp>
          <p:nvSpPr>
            <p:cNvPr id="38"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1">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40" name="Group 39"/>
          <p:cNvGrpSpPr/>
          <p:nvPr/>
        </p:nvGrpSpPr>
        <p:grpSpPr>
          <a:xfrm flipH="1">
            <a:off x="3213009" y="1890979"/>
            <a:ext cx="2880360" cy="1152526"/>
            <a:chOff x="3206750" y="2876550"/>
            <a:chExt cx="3095625" cy="1152526"/>
          </a:xfrm>
        </p:grpSpPr>
        <p:sp>
          <p:nvSpPr>
            <p:cNvPr id="41"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2"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43" name="Group 42"/>
          <p:cNvGrpSpPr/>
          <p:nvPr/>
        </p:nvGrpSpPr>
        <p:grpSpPr>
          <a:xfrm rot="5400000" flipV="1">
            <a:off x="4130481" y="4151264"/>
            <a:ext cx="2880360" cy="1152526"/>
            <a:chOff x="3206750" y="2876550"/>
            <a:chExt cx="3095625" cy="1152526"/>
          </a:xfrm>
        </p:grpSpPr>
        <p:sp>
          <p:nvSpPr>
            <p:cNvPr id="44"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4">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5"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46" name="Freeform 45"/>
          <p:cNvSpPr/>
          <p:nvPr/>
        </p:nvSpPr>
        <p:spPr>
          <a:xfrm>
            <a:off x="6243541" y="1420601"/>
            <a:ext cx="1965960" cy="197358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882140"/>
              <a:gd name="connsiteY0" fmla="*/ 0 h 1973580"/>
              <a:gd name="connsiteX1" fmla="*/ 0 w 1882140"/>
              <a:gd name="connsiteY1" fmla="*/ 1874520 h 1973580"/>
              <a:gd name="connsiteX2" fmla="*/ 1882140 w 1882140"/>
              <a:gd name="connsiteY2" fmla="*/ 1973580 h 1973580"/>
              <a:gd name="connsiteX3" fmla="*/ 1866900 w 1882140"/>
              <a:gd name="connsiteY3" fmla="*/ 0 h 1973580"/>
              <a:gd name="connsiteX0" fmla="*/ 1950720 w 1965960"/>
              <a:gd name="connsiteY0" fmla="*/ 0 h 1973580"/>
              <a:gd name="connsiteX1" fmla="*/ 0 w 1965960"/>
              <a:gd name="connsiteY1" fmla="*/ 1965960 h 1973580"/>
              <a:gd name="connsiteX2" fmla="*/ 1965960 w 1965960"/>
              <a:gd name="connsiteY2" fmla="*/ 1973580 h 1973580"/>
              <a:gd name="connsiteX3" fmla="*/ 1950720 w 1965960"/>
              <a:gd name="connsiteY3" fmla="*/ 0 h 1973580"/>
            </a:gdLst>
            <a:ahLst/>
            <a:cxnLst>
              <a:cxn ang="0">
                <a:pos x="connsiteX0" y="connsiteY0"/>
              </a:cxn>
              <a:cxn ang="0">
                <a:pos x="connsiteX1" y="connsiteY1"/>
              </a:cxn>
              <a:cxn ang="0">
                <a:pos x="connsiteX2" y="connsiteY2"/>
              </a:cxn>
              <a:cxn ang="0">
                <a:pos x="connsiteX3" y="connsiteY3"/>
              </a:cxn>
            </a:cxnLst>
            <a:rect l="l" t="t" r="r" b="b"/>
            <a:pathLst>
              <a:path w="1965960" h="1973580">
                <a:moveTo>
                  <a:pt x="1950720" y="0"/>
                </a:moveTo>
                <a:lnTo>
                  <a:pt x="0" y="1965960"/>
                </a:lnTo>
                <a:lnTo>
                  <a:pt x="1965960" y="1973580"/>
                </a:lnTo>
                <a:lnTo>
                  <a:pt x="195072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7" name="Freeform 46"/>
          <p:cNvSpPr/>
          <p:nvPr/>
        </p:nvSpPr>
        <p:spPr>
          <a:xfrm flipH="1">
            <a:off x="4446386" y="3264641"/>
            <a:ext cx="1866900" cy="188976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51660 w 1866900"/>
              <a:gd name="connsiteY0" fmla="*/ 0 h 2087880"/>
              <a:gd name="connsiteX1" fmla="*/ 0 w 1866900"/>
              <a:gd name="connsiteY1" fmla="*/ 213360 h 2087880"/>
              <a:gd name="connsiteX2" fmla="*/ 1866900 w 1866900"/>
              <a:gd name="connsiteY2" fmla="*/ 2087880 h 2087880"/>
              <a:gd name="connsiteX3" fmla="*/ 1851660 w 1866900"/>
              <a:gd name="connsiteY3" fmla="*/ 0 h 2087880"/>
              <a:gd name="connsiteX0" fmla="*/ 1844040 w 1866900"/>
              <a:gd name="connsiteY0" fmla="*/ 0 h 1889760"/>
              <a:gd name="connsiteX1" fmla="*/ 0 w 1866900"/>
              <a:gd name="connsiteY1" fmla="*/ 15240 h 1889760"/>
              <a:gd name="connsiteX2" fmla="*/ 1866900 w 1866900"/>
              <a:gd name="connsiteY2" fmla="*/ 1889760 h 1889760"/>
              <a:gd name="connsiteX3" fmla="*/ 1844040 w 1866900"/>
              <a:gd name="connsiteY3" fmla="*/ 0 h 1889760"/>
            </a:gdLst>
            <a:ahLst/>
            <a:cxnLst>
              <a:cxn ang="0">
                <a:pos x="connsiteX0" y="connsiteY0"/>
              </a:cxn>
              <a:cxn ang="0">
                <a:pos x="connsiteX1" y="connsiteY1"/>
              </a:cxn>
              <a:cxn ang="0">
                <a:pos x="connsiteX2" y="connsiteY2"/>
              </a:cxn>
              <a:cxn ang="0">
                <a:pos x="connsiteX3" y="connsiteY3"/>
              </a:cxn>
            </a:cxnLst>
            <a:rect l="l" t="t" r="r" b="b"/>
            <a:pathLst>
              <a:path w="1866900" h="1889760">
                <a:moveTo>
                  <a:pt x="1844040" y="0"/>
                </a:moveTo>
                <a:lnTo>
                  <a:pt x="0" y="15240"/>
                </a:lnTo>
                <a:lnTo>
                  <a:pt x="1866900" y="1889760"/>
                </a:lnTo>
                <a:lnTo>
                  <a:pt x="184404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8" name="Freeform 47"/>
          <p:cNvSpPr/>
          <p:nvPr/>
        </p:nvSpPr>
        <p:spPr>
          <a:xfrm rot="5400000">
            <a:off x="6151513" y="3153995"/>
            <a:ext cx="2065020" cy="202692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920240"/>
              <a:gd name="connsiteY0" fmla="*/ 0 h 1874520"/>
              <a:gd name="connsiteX1" fmla="*/ 0 w 1920240"/>
              <a:gd name="connsiteY1" fmla="*/ 1874520 h 1874520"/>
              <a:gd name="connsiteX2" fmla="*/ 1920240 w 1920240"/>
              <a:gd name="connsiteY2" fmla="*/ 1844040 h 1874520"/>
              <a:gd name="connsiteX3" fmla="*/ 1866900 w 1920240"/>
              <a:gd name="connsiteY3" fmla="*/ 0 h 1874520"/>
              <a:gd name="connsiteX0" fmla="*/ 1866900 w 1912620"/>
              <a:gd name="connsiteY0" fmla="*/ 0 h 2026920"/>
              <a:gd name="connsiteX1" fmla="*/ 0 w 1912620"/>
              <a:gd name="connsiteY1" fmla="*/ 1874520 h 2026920"/>
              <a:gd name="connsiteX2" fmla="*/ 1912620 w 1912620"/>
              <a:gd name="connsiteY2" fmla="*/ 2026920 h 2026920"/>
              <a:gd name="connsiteX3" fmla="*/ 1866900 w 1912620"/>
              <a:gd name="connsiteY3" fmla="*/ 0 h 2026920"/>
              <a:gd name="connsiteX0" fmla="*/ 2019300 w 2065020"/>
              <a:gd name="connsiteY0" fmla="*/ 0 h 2026920"/>
              <a:gd name="connsiteX1" fmla="*/ 0 w 2065020"/>
              <a:gd name="connsiteY1" fmla="*/ 2011680 h 2026920"/>
              <a:gd name="connsiteX2" fmla="*/ 2065020 w 2065020"/>
              <a:gd name="connsiteY2" fmla="*/ 2026920 h 2026920"/>
              <a:gd name="connsiteX3" fmla="*/ 2019300 w 2065020"/>
              <a:gd name="connsiteY3" fmla="*/ 0 h 2026920"/>
            </a:gdLst>
            <a:ahLst/>
            <a:cxnLst>
              <a:cxn ang="0">
                <a:pos x="connsiteX0" y="connsiteY0"/>
              </a:cxn>
              <a:cxn ang="0">
                <a:pos x="connsiteX1" y="connsiteY1"/>
              </a:cxn>
              <a:cxn ang="0">
                <a:pos x="connsiteX2" y="connsiteY2"/>
              </a:cxn>
              <a:cxn ang="0">
                <a:pos x="connsiteX3" y="connsiteY3"/>
              </a:cxn>
            </a:cxnLst>
            <a:rect l="l" t="t" r="r" b="b"/>
            <a:pathLst>
              <a:path w="2065020" h="2026920">
                <a:moveTo>
                  <a:pt x="2019300" y="0"/>
                </a:moveTo>
                <a:lnTo>
                  <a:pt x="0" y="2011680"/>
                </a:lnTo>
                <a:lnTo>
                  <a:pt x="2065020" y="2026920"/>
                </a:lnTo>
                <a:lnTo>
                  <a:pt x="201930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9" name="Freeform 48"/>
          <p:cNvSpPr/>
          <p:nvPr/>
        </p:nvSpPr>
        <p:spPr>
          <a:xfrm rot="16200000" flipV="1">
            <a:off x="4434328" y="1432031"/>
            <a:ext cx="1866900" cy="187452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74520 w 1874520"/>
              <a:gd name="connsiteY0" fmla="*/ 22860 h 1874520"/>
              <a:gd name="connsiteX1" fmla="*/ 0 w 1874520"/>
              <a:gd name="connsiteY1" fmla="*/ 0 h 1874520"/>
              <a:gd name="connsiteX2" fmla="*/ 1866900 w 1874520"/>
              <a:gd name="connsiteY2" fmla="*/ 1874520 h 1874520"/>
              <a:gd name="connsiteX3" fmla="*/ 1874520 w 1874520"/>
              <a:gd name="connsiteY3" fmla="*/ 22860 h 1874520"/>
              <a:gd name="connsiteX0" fmla="*/ 1859280 w 1866900"/>
              <a:gd name="connsiteY0" fmla="*/ 0 h 1874520"/>
              <a:gd name="connsiteX1" fmla="*/ 0 w 1866900"/>
              <a:gd name="connsiteY1" fmla="*/ 0 h 1874520"/>
              <a:gd name="connsiteX2" fmla="*/ 1866900 w 1866900"/>
              <a:gd name="connsiteY2" fmla="*/ 1874520 h 1874520"/>
              <a:gd name="connsiteX3" fmla="*/ 1859280 w 1866900"/>
              <a:gd name="connsiteY3" fmla="*/ 0 h 1874520"/>
            </a:gdLst>
            <a:ahLst/>
            <a:cxnLst>
              <a:cxn ang="0">
                <a:pos x="connsiteX0" y="connsiteY0"/>
              </a:cxn>
              <a:cxn ang="0">
                <a:pos x="connsiteX1" y="connsiteY1"/>
              </a:cxn>
              <a:cxn ang="0">
                <a:pos x="connsiteX2" y="connsiteY2"/>
              </a:cxn>
              <a:cxn ang="0">
                <a:pos x="connsiteX3" y="connsiteY3"/>
              </a:cxn>
            </a:cxnLst>
            <a:rect l="l" t="t" r="r" b="b"/>
            <a:pathLst>
              <a:path w="1866900" h="1874520">
                <a:moveTo>
                  <a:pt x="1859280" y="0"/>
                </a:moveTo>
                <a:lnTo>
                  <a:pt x="0" y="0"/>
                </a:lnTo>
                <a:lnTo>
                  <a:pt x="1866900" y="1874520"/>
                </a:lnTo>
                <a:lnTo>
                  <a:pt x="185928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0" name="Rectangle 49"/>
          <p:cNvSpPr/>
          <p:nvPr/>
        </p:nvSpPr>
        <p:spPr>
          <a:xfrm>
            <a:off x="5035567" y="1165429"/>
            <a:ext cx="1163464" cy="461665"/>
          </a:xfrm>
          <a:prstGeom prst="rect">
            <a:avLst/>
          </a:prstGeom>
        </p:spPr>
        <p:txBody>
          <a:bodyPr wrap="square" lIns="0" tIns="0" rIns="0" bIns="0">
            <a:spAutoFit/>
          </a:bodyPr>
          <a:lstStyle/>
          <a:p>
            <a:r>
              <a:rPr lang="en-US" sz="1000" dirty="0">
                <a:solidFill>
                  <a:srgbClr val="53565A"/>
                </a:solidFill>
              </a:rPr>
              <a:t>This is dummy text it is not here to be read. This is dummy text.</a:t>
            </a:r>
          </a:p>
        </p:txBody>
      </p:sp>
      <p:sp>
        <p:nvSpPr>
          <p:cNvPr id="51" name="Rectangle 50"/>
          <p:cNvSpPr/>
          <p:nvPr/>
        </p:nvSpPr>
        <p:spPr>
          <a:xfrm>
            <a:off x="5046998" y="950040"/>
            <a:ext cx="1219424" cy="184666"/>
          </a:xfrm>
          <a:prstGeom prst="rect">
            <a:avLst/>
          </a:prstGeom>
        </p:spPr>
        <p:txBody>
          <a:bodyPr wrap="square" lIns="0" tIns="0" rIns="0" bIns="0">
            <a:spAutoFit/>
          </a:bodyPr>
          <a:lstStyle/>
          <a:p>
            <a:pPr>
              <a:spcAft>
                <a:spcPts val="600"/>
              </a:spcAft>
            </a:pPr>
            <a:r>
              <a:rPr lang="en-US" sz="1200" b="1" dirty="0" err="1">
                <a:solidFill>
                  <a:schemeClr val="accent1"/>
                </a:solidFill>
              </a:rPr>
              <a:t>Lorem</a:t>
            </a:r>
            <a:r>
              <a:rPr lang="en-US" sz="1200" b="1" dirty="0">
                <a:solidFill>
                  <a:schemeClr val="accent1"/>
                </a:solidFill>
              </a:rPr>
              <a:t> </a:t>
            </a:r>
            <a:r>
              <a:rPr lang="en-US" sz="1200" b="1" dirty="0" err="1">
                <a:solidFill>
                  <a:schemeClr val="accent1"/>
                </a:solidFill>
              </a:rPr>
              <a:t>ipsum</a:t>
            </a:r>
            <a:r>
              <a:rPr lang="en-US" sz="1200" b="1" dirty="0">
                <a:solidFill>
                  <a:schemeClr val="accent1"/>
                </a:solidFill>
              </a:rPr>
              <a:t> </a:t>
            </a:r>
            <a:endParaRPr lang="en-US" sz="1200" dirty="0">
              <a:solidFill>
                <a:schemeClr val="accent1"/>
              </a:solidFill>
            </a:endParaRPr>
          </a:p>
        </p:txBody>
      </p:sp>
      <p:sp>
        <p:nvSpPr>
          <p:cNvPr id="52" name="Rectangle 51"/>
          <p:cNvSpPr/>
          <p:nvPr/>
        </p:nvSpPr>
        <p:spPr>
          <a:xfrm>
            <a:off x="7407544" y="2724002"/>
            <a:ext cx="1826626" cy="461665"/>
          </a:xfrm>
          <a:prstGeom prst="rect">
            <a:avLst/>
          </a:prstGeom>
        </p:spPr>
        <p:txBody>
          <a:bodyPr wrap="square" lIns="0" tIns="0" rIns="0" bIns="0">
            <a:spAutoFit/>
          </a:bodyPr>
          <a:lstStyle/>
          <a:p>
            <a:r>
              <a:rPr lang="en-US" sz="1000" dirty="0">
                <a:solidFill>
                  <a:srgbClr val="53565A"/>
                </a:solidFill>
              </a:rPr>
              <a:t>This is dummy text it is not here to be read. This is dummy text it is not here to be read. </a:t>
            </a:r>
          </a:p>
        </p:txBody>
      </p:sp>
      <p:sp>
        <p:nvSpPr>
          <p:cNvPr id="53" name="Rectangle 52"/>
          <p:cNvSpPr/>
          <p:nvPr/>
        </p:nvSpPr>
        <p:spPr>
          <a:xfrm>
            <a:off x="7407543" y="2515603"/>
            <a:ext cx="1329936" cy="184666"/>
          </a:xfrm>
          <a:prstGeom prst="rect">
            <a:avLst/>
          </a:prstGeom>
        </p:spPr>
        <p:txBody>
          <a:bodyPr wrap="square" lIns="0" tIns="0" rIns="0" bIns="0">
            <a:spAutoFit/>
          </a:bodyPr>
          <a:lstStyle/>
          <a:p>
            <a:pPr>
              <a:spcAft>
                <a:spcPts val="600"/>
              </a:spcAft>
            </a:pPr>
            <a:r>
              <a:rPr lang="en-US" sz="1200" b="1" dirty="0" err="1">
                <a:solidFill>
                  <a:schemeClr val="accent3"/>
                </a:solidFill>
              </a:rPr>
              <a:t>Lorem</a:t>
            </a:r>
            <a:r>
              <a:rPr lang="en-US" sz="1200" b="1" dirty="0">
                <a:solidFill>
                  <a:schemeClr val="accent3"/>
                </a:solidFill>
              </a:rPr>
              <a:t> </a:t>
            </a:r>
            <a:r>
              <a:rPr lang="en-US" sz="1200" b="1" dirty="0" err="1">
                <a:solidFill>
                  <a:schemeClr val="accent3"/>
                </a:solidFill>
              </a:rPr>
              <a:t>ipsum</a:t>
            </a:r>
            <a:r>
              <a:rPr lang="en-US" sz="1200" b="1" dirty="0">
                <a:solidFill>
                  <a:schemeClr val="accent3"/>
                </a:solidFill>
              </a:rPr>
              <a:t> </a:t>
            </a:r>
            <a:endParaRPr lang="en-US" sz="1200" dirty="0">
              <a:solidFill>
                <a:schemeClr val="accent3"/>
              </a:solidFill>
            </a:endParaRPr>
          </a:p>
        </p:txBody>
      </p:sp>
      <p:sp>
        <p:nvSpPr>
          <p:cNvPr id="54" name="Rectangle 53"/>
          <p:cNvSpPr/>
          <p:nvPr/>
        </p:nvSpPr>
        <p:spPr>
          <a:xfrm>
            <a:off x="6216650" y="4530165"/>
            <a:ext cx="1154358" cy="184666"/>
          </a:xfrm>
          <a:prstGeom prst="rect">
            <a:avLst/>
          </a:prstGeom>
        </p:spPr>
        <p:txBody>
          <a:bodyPr wrap="square" lIns="0" tIns="0" rIns="0" bIns="0">
            <a:spAutoFit/>
          </a:bodyPr>
          <a:lstStyle/>
          <a:p>
            <a:pPr>
              <a:spcAft>
                <a:spcPts val="600"/>
              </a:spcAft>
            </a:pPr>
            <a:r>
              <a:rPr lang="en-US" sz="1200" b="1" dirty="0" err="1">
                <a:solidFill>
                  <a:schemeClr val="accent4"/>
                </a:solidFill>
              </a:rPr>
              <a:t>Lorem</a:t>
            </a:r>
            <a:r>
              <a:rPr lang="en-US" sz="1200" b="1" dirty="0">
                <a:solidFill>
                  <a:schemeClr val="accent4"/>
                </a:solidFill>
              </a:rPr>
              <a:t> </a:t>
            </a:r>
            <a:r>
              <a:rPr lang="en-US" sz="1200" b="1" dirty="0" err="1">
                <a:solidFill>
                  <a:schemeClr val="accent4"/>
                </a:solidFill>
              </a:rPr>
              <a:t>ipsum</a:t>
            </a:r>
            <a:r>
              <a:rPr lang="en-US" sz="1200" b="1" dirty="0">
                <a:solidFill>
                  <a:schemeClr val="accent4"/>
                </a:solidFill>
              </a:rPr>
              <a:t> </a:t>
            </a:r>
            <a:endParaRPr lang="en-US" sz="1200" dirty="0">
              <a:solidFill>
                <a:schemeClr val="accent4"/>
              </a:solidFill>
            </a:endParaRPr>
          </a:p>
        </p:txBody>
      </p:sp>
      <p:sp>
        <p:nvSpPr>
          <p:cNvPr id="55" name="Rectangle 54"/>
          <p:cNvSpPr/>
          <p:nvPr/>
        </p:nvSpPr>
        <p:spPr>
          <a:xfrm>
            <a:off x="6216650" y="4733544"/>
            <a:ext cx="1258842" cy="615553"/>
          </a:xfrm>
          <a:prstGeom prst="rect">
            <a:avLst/>
          </a:prstGeom>
        </p:spPr>
        <p:txBody>
          <a:bodyPr wrap="square" lIns="0" tIns="0" rIns="0" bIns="0">
            <a:spAutoFit/>
          </a:bodyPr>
          <a:lstStyle/>
          <a:p>
            <a:r>
              <a:rPr lang="en-US" sz="1000" dirty="0">
                <a:solidFill>
                  <a:srgbClr val="53565A"/>
                </a:solidFill>
              </a:rPr>
              <a:t>This is dummy text it is not here to be read. This is dummy text it is not here to be read.</a:t>
            </a:r>
          </a:p>
        </p:txBody>
      </p:sp>
      <p:sp>
        <p:nvSpPr>
          <p:cNvPr id="56" name="Rectangle 55"/>
          <p:cNvSpPr/>
          <p:nvPr/>
        </p:nvSpPr>
        <p:spPr>
          <a:xfrm>
            <a:off x="3777015" y="3116788"/>
            <a:ext cx="1369719" cy="184666"/>
          </a:xfrm>
          <a:prstGeom prst="rect">
            <a:avLst/>
          </a:prstGeom>
        </p:spPr>
        <p:txBody>
          <a:bodyPr wrap="square" lIns="0" tIns="0" rIns="0" bIns="0">
            <a:spAutoFit/>
          </a:bodyPr>
          <a:lstStyle/>
          <a:p>
            <a:pPr>
              <a:spcAft>
                <a:spcPts val="600"/>
              </a:spcAft>
            </a:pPr>
            <a:r>
              <a:rPr lang="en-US" sz="1200" b="1" dirty="0" err="1">
                <a:solidFill>
                  <a:schemeClr val="accent2"/>
                </a:solidFill>
              </a:rPr>
              <a:t>Lorem</a:t>
            </a:r>
            <a:r>
              <a:rPr lang="en-US" sz="1200" b="1" dirty="0">
                <a:solidFill>
                  <a:schemeClr val="accent2"/>
                </a:solidFill>
              </a:rPr>
              <a:t> </a:t>
            </a:r>
            <a:r>
              <a:rPr lang="en-US" sz="1200" b="1" dirty="0" err="1">
                <a:solidFill>
                  <a:schemeClr val="accent2"/>
                </a:solidFill>
              </a:rPr>
              <a:t>ipsum</a:t>
            </a:r>
            <a:r>
              <a:rPr lang="en-US" sz="1200" b="1" dirty="0">
                <a:solidFill>
                  <a:schemeClr val="accent2"/>
                </a:solidFill>
              </a:rPr>
              <a:t> </a:t>
            </a:r>
            <a:endParaRPr lang="en-US" sz="1200" dirty="0">
              <a:solidFill>
                <a:schemeClr val="accent2"/>
              </a:solidFill>
            </a:endParaRPr>
          </a:p>
        </p:txBody>
      </p:sp>
      <p:sp>
        <p:nvSpPr>
          <p:cNvPr id="57" name="Rectangle 56"/>
          <p:cNvSpPr/>
          <p:nvPr/>
        </p:nvSpPr>
        <p:spPr>
          <a:xfrm>
            <a:off x="3765584" y="3334494"/>
            <a:ext cx="1377951" cy="615553"/>
          </a:xfrm>
          <a:prstGeom prst="rect">
            <a:avLst/>
          </a:prstGeom>
        </p:spPr>
        <p:txBody>
          <a:bodyPr wrap="square" lIns="0" tIns="0" rIns="0" bIns="0">
            <a:spAutoFit/>
          </a:bodyPr>
          <a:lstStyle/>
          <a:p>
            <a:r>
              <a:rPr lang="en-US" sz="1000" dirty="0">
                <a:solidFill>
                  <a:srgbClr val="53565A"/>
                </a:solidFill>
              </a:rPr>
              <a:t>This is dummy text it is not here to be read. This is dummy text it is not here to be read. </a:t>
            </a:r>
          </a:p>
        </p:txBody>
      </p:sp>
      <p:sp>
        <p:nvSpPr>
          <p:cNvPr id="62" name="Freeform 62"/>
          <p:cNvSpPr>
            <a:spLocks noChangeAspect="1" noEditPoints="1"/>
          </p:cNvSpPr>
          <p:nvPr/>
        </p:nvSpPr>
        <p:spPr bwMode="auto">
          <a:xfrm>
            <a:off x="5815778" y="2296606"/>
            <a:ext cx="352214" cy="325584"/>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31"/>
          <p:cNvSpPr>
            <a:spLocks noChangeAspect="1" noEditPoints="1"/>
          </p:cNvSpPr>
          <p:nvPr/>
        </p:nvSpPr>
        <p:spPr bwMode="auto">
          <a:xfrm>
            <a:off x="6907812" y="2868251"/>
            <a:ext cx="286656" cy="369383"/>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4" name="Group 63"/>
          <p:cNvGrpSpPr/>
          <p:nvPr/>
        </p:nvGrpSpPr>
        <p:grpSpPr>
          <a:xfrm>
            <a:off x="5480356" y="3183734"/>
            <a:ext cx="412796" cy="398123"/>
            <a:chOff x="2185477" y="5525527"/>
            <a:chExt cx="523177" cy="504582"/>
          </a:xfrm>
        </p:grpSpPr>
        <p:sp>
          <p:nvSpPr>
            <p:cNvPr id="65"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9" name="Freeform 30"/>
          <p:cNvSpPr>
            <a:spLocks noChangeAspect="1" noEditPoints="1"/>
          </p:cNvSpPr>
          <p:nvPr/>
        </p:nvSpPr>
        <p:spPr bwMode="auto">
          <a:xfrm>
            <a:off x="6320833" y="3735769"/>
            <a:ext cx="319878" cy="336811"/>
          </a:xfrm>
          <a:custGeom>
            <a:avLst/>
            <a:gdLst/>
            <a:ahLst/>
            <a:cxnLst>
              <a:cxn ang="0">
                <a:pos x="87" y="5"/>
              </a:cxn>
              <a:cxn ang="0">
                <a:pos x="66" y="3"/>
              </a:cxn>
              <a:cxn ang="0">
                <a:pos x="62" y="7"/>
              </a:cxn>
              <a:cxn ang="0">
                <a:pos x="38" y="29"/>
              </a:cxn>
              <a:cxn ang="0">
                <a:pos x="36" y="55"/>
              </a:cxn>
              <a:cxn ang="0">
                <a:pos x="44" y="60"/>
              </a:cxn>
              <a:cxn ang="0">
                <a:pos x="47" y="50"/>
              </a:cxn>
              <a:cxn ang="0">
                <a:pos x="47" y="50"/>
              </a:cxn>
              <a:cxn ang="0">
                <a:pos x="45" y="47"/>
              </a:cxn>
              <a:cxn ang="0">
                <a:pos x="46" y="37"/>
              </a:cxn>
              <a:cxn ang="0">
                <a:pos x="72" y="13"/>
              </a:cxn>
              <a:cxn ang="0">
                <a:pos x="79" y="14"/>
              </a:cxn>
              <a:cxn ang="0">
                <a:pos x="79" y="14"/>
              </a:cxn>
              <a:cxn ang="0">
                <a:pos x="84" y="21"/>
              </a:cxn>
              <a:cxn ang="0">
                <a:pos x="69" y="38"/>
              </a:cxn>
              <a:cxn ang="0">
                <a:pos x="77" y="46"/>
              </a:cxn>
              <a:cxn ang="0">
                <a:pos x="93" y="30"/>
              </a:cxn>
              <a:cxn ang="0">
                <a:pos x="91" y="9"/>
              </a:cxn>
              <a:cxn ang="0">
                <a:pos x="51" y="37"/>
              </a:cxn>
              <a:cxn ang="0">
                <a:pos x="54" y="49"/>
              </a:cxn>
              <a:cxn ang="0">
                <a:pos x="53" y="62"/>
              </a:cxn>
              <a:cxn ang="0">
                <a:pos x="24" y="87"/>
              </a:cxn>
              <a:cxn ang="0">
                <a:pos x="16" y="86"/>
              </a:cxn>
              <a:cxn ang="0">
                <a:pos x="16" y="85"/>
              </a:cxn>
              <a:cxn ang="0">
                <a:pos x="13" y="82"/>
              </a:cxn>
              <a:cxn ang="0">
                <a:pos x="12" y="75"/>
              </a:cxn>
              <a:cxn ang="0">
                <a:pos x="29" y="52"/>
              </a:cxn>
              <a:cxn ang="0">
                <a:pos x="3" y="67"/>
              </a:cxn>
              <a:cxn ang="0">
                <a:pos x="0" y="77"/>
              </a:cxn>
              <a:cxn ang="0">
                <a:pos x="9" y="94"/>
              </a:cxn>
              <a:cxn ang="0">
                <a:pos x="21" y="100"/>
              </a:cxn>
              <a:cxn ang="0">
                <a:pos x="35" y="93"/>
              </a:cxn>
              <a:cxn ang="0">
                <a:pos x="61" y="70"/>
              </a:cxn>
              <a:cxn ang="0">
                <a:pos x="68" y="56"/>
              </a:cxn>
              <a:cxn ang="0">
                <a:pos x="59" y="37"/>
              </a:cxn>
            </a:cxnLst>
            <a:rect l="0" t="0" r="r" b="b"/>
            <a:pathLst>
              <a:path w="95" h="100">
                <a:moveTo>
                  <a:pt x="91" y="9"/>
                </a:moveTo>
                <a:cubicBezTo>
                  <a:pt x="89" y="7"/>
                  <a:pt x="87" y="6"/>
                  <a:pt x="87" y="5"/>
                </a:cubicBezTo>
                <a:cubicBezTo>
                  <a:pt x="83" y="2"/>
                  <a:pt x="79" y="0"/>
                  <a:pt x="75" y="0"/>
                </a:cubicBezTo>
                <a:cubicBezTo>
                  <a:pt x="71" y="0"/>
                  <a:pt x="68" y="2"/>
                  <a:pt x="66" y="3"/>
                </a:cubicBezTo>
                <a:cubicBezTo>
                  <a:pt x="64" y="5"/>
                  <a:pt x="62" y="7"/>
                  <a:pt x="62" y="7"/>
                </a:cubicBezTo>
                <a:cubicBezTo>
                  <a:pt x="62" y="7"/>
                  <a:pt x="62" y="7"/>
                  <a:pt x="62" y="7"/>
                </a:cubicBezTo>
                <a:cubicBezTo>
                  <a:pt x="38" y="29"/>
                  <a:pt x="38" y="29"/>
                  <a:pt x="38" y="29"/>
                </a:cubicBezTo>
                <a:cubicBezTo>
                  <a:pt x="38" y="29"/>
                  <a:pt x="38" y="29"/>
                  <a:pt x="38" y="29"/>
                </a:cubicBezTo>
                <a:cubicBezTo>
                  <a:pt x="34" y="33"/>
                  <a:pt x="32" y="38"/>
                  <a:pt x="32" y="43"/>
                </a:cubicBezTo>
                <a:cubicBezTo>
                  <a:pt x="32" y="48"/>
                  <a:pt x="34" y="52"/>
                  <a:pt x="36" y="55"/>
                </a:cubicBezTo>
                <a:cubicBezTo>
                  <a:pt x="38" y="57"/>
                  <a:pt x="40" y="59"/>
                  <a:pt x="40" y="59"/>
                </a:cubicBezTo>
                <a:cubicBezTo>
                  <a:pt x="41" y="60"/>
                  <a:pt x="43" y="60"/>
                  <a:pt x="44" y="60"/>
                </a:cubicBezTo>
                <a:cubicBezTo>
                  <a:pt x="45" y="60"/>
                  <a:pt x="47" y="59"/>
                  <a:pt x="48" y="58"/>
                </a:cubicBezTo>
                <a:cubicBezTo>
                  <a:pt x="50" y="55"/>
                  <a:pt x="50" y="52"/>
                  <a:pt x="47" y="50"/>
                </a:cubicBezTo>
                <a:cubicBezTo>
                  <a:pt x="47" y="50"/>
                  <a:pt x="47" y="50"/>
                  <a:pt x="47" y="50"/>
                </a:cubicBezTo>
                <a:cubicBezTo>
                  <a:pt x="47" y="50"/>
                  <a:pt x="47" y="50"/>
                  <a:pt x="47" y="50"/>
                </a:cubicBezTo>
                <a:cubicBezTo>
                  <a:pt x="47" y="50"/>
                  <a:pt x="47" y="50"/>
                  <a:pt x="47" y="50"/>
                </a:cubicBezTo>
                <a:cubicBezTo>
                  <a:pt x="47" y="49"/>
                  <a:pt x="46" y="49"/>
                  <a:pt x="45" y="47"/>
                </a:cubicBezTo>
                <a:cubicBezTo>
                  <a:pt x="44" y="46"/>
                  <a:pt x="43" y="44"/>
                  <a:pt x="43" y="43"/>
                </a:cubicBezTo>
                <a:cubicBezTo>
                  <a:pt x="43" y="41"/>
                  <a:pt x="44" y="40"/>
                  <a:pt x="46" y="37"/>
                </a:cubicBezTo>
                <a:cubicBezTo>
                  <a:pt x="69" y="15"/>
                  <a:pt x="69" y="15"/>
                  <a:pt x="69" y="15"/>
                </a:cubicBezTo>
                <a:cubicBezTo>
                  <a:pt x="70" y="14"/>
                  <a:pt x="71" y="13"/>
                  <a:pt x="72" y="13"/>
                </a:cubicBezTo>
                <a:cubicBezTo>
                  <a:pt x="73" y="12"/>
                  <a:pt x="74" y="12"/>
                  <a:pt x="75" y="12"/>
                </a:cubicBezTo>
                <a:cubicBezTo>
                  <a:pt x="76" y="12"/>
                  <a:pt x="77" y="12"/>
                  <a:pt x="79" y="14"/>
                </a:cubicBezTo>
                <a:cubicBezTo>
                  <a:pt x="79" y="14"/>
                  <a:pt x="79" y="14"/>
                  <a:pt x="79" y="14"/>
                </a:cubicBezTo>
                <a:cubicBezTo>
                  <a:pt x="79" y="14"/>
                  <a:pt x="79" y="14"/>
                  <a:pt x="79" y="14"/>
                </a:cubicBezTo>
                <a:cubicBezTo>
                  <a:pt x="80" y="14"/>
                  <a:pt x="81" y="15"/>
                  <a:pt x="82" y="17"/>
                </a:cubicBezTo>
                <a:cubicBezTo>
                  <a:pt x="83" y="18"/>
                  <a:pt x="84" y="20"/>
                  <a:pt x="84" y="21"/>
                </a:cubicBezTo>
                <a:cubicBezTo>
                  <a:pt x="84" y="22"/>
                  <a:pt x="84" y="22"/>
                  <a:pt x="84" y="23"/>
                </a:cubicBezTo>
                <a:cubicBezTo>
                  <a:pt x="69" y="38"/>
                  <a:pt x="69" y="38"/>
                  <a:pt x="69" y="38"/>
                </a:cubicBezTo>
                <a:cubicBezTo>
                  <a:pt x="66" y="40"/>
                  <a:pt x="66" y="43"/>
                  <a:pt x="69" y="46"/>
                </a:cubicBezTo>
                <a:cubicBezTo>
                  <a:pt x="71" y="48"/>
                  <a:pt x="74" y="48"/>
                  <a:pt x="77" y="46"/>
                </a:cubicBezTo>
                <a:cubicBezTo>
                  <a:pt x="92" y="30"/>
                  <a:pt x="92" y="30"/>
                  <a:pt x="92" y="30"/>
                </a:cubicBezTo>
                <a:cubicBezTo>
                  <a:pt x="93" y="30"/>
                  <a:pt x="93" y="30"/>
                  <a:pt x="93" y="30"/>
                </a:cubicBezTo>
                <a:cubicBezTo>
                  <a:pt x="94" y="27"/>
                  <a:pt x="95" y="24"/>
                  <a:pt x="95" y="21"/>
                </a:cubicBezTo>
                <a:cubicBezTo>
                  <a:pt x="95" y="16"/>
                  <a:pt x="93" y="12"/>
                  <a:pt x="91" y="9"/>
                </a:cubicBezTo>
                <a:close/>
                <a:moveTo>
                  <a:pt x="59" y="37"/>
                </a:moveTo>
                <a:cubicBezTo>
                  <a:pt x="57" y="35"/>
                  <a:pt x="53" y="35"/>
                  <a:pt x="51" y="37"/>
                </a:cubicBezTo>
                <a:cubicBezTo>
                  <a:pt x="49" y="40"/>
                  <a:pt x="49" y="43"/>
                  <a:pt x="51" y="45"/>
                </a:cubicBezTo>
                <a:cubicBezTo>
                  <a:pt x="51" y="46"/>
                  <a:pt x="53" y="47"/>
                  <a:pt x="54" y="49"/>
                </a:cubicBezTo>
                <a:cubicBezTo>
                  <a:pt x="55" y="51"/>
                  <a:pt x="56" y="54"/>
                  <a:pt x="56" y="56"/>
                </a:cubicBezTo>
                <a:cubicBezTo>
                  <a:pt x="56" y="58"/>
                  <a:pt x="56" y="60"/>
                  <a:pt x="53" y="62"/>
                </a:cubicBezTo>
                <a:cubicBezTo>
                  <a:pt x="28" y="84"/>
                  <a:pt x="28" y="84"/>
                  <a:pt x="28" y="84"/>
                </a:cubicBezTo>
                <a:cubicBezTo>
                  <a:pt x="27" y="85"/>
                  <a:pt x="26" y="86"/>
                  <a:pt x="24" y="87"/>
                </a:cubicBezTo>
                <a:cubicBezTo>
                  <a:pt x="23" y="88"/>
                  <a:pt x="22" y="88"/>
                  <a:pt x="21" y="88"/>
                </a:cubicBezTo>
                <a:cubicBezTo>
                  <a:pt x="20" y="88"/>
                  <a:pt x="19" y="88"/>
                  <a:pt x="16" y="86"/>
                </a:cubicBezTo>
                <a:cubicBezTo>
                  <a:pt x="16" y="85"/>
                  <a:pt x="16" y="85"/>
                  <a:pt x="16" y="85"/>
                </a:cubicBezTo>
                <a:cubicBezTo>
                  <a:pt x="16" y="85"/>
                  <a:pt x="16" y="85"/>
                  <a:pt x="16" y="85"/>
                </a:cubicBezTo>
                <a:cubicBezTo>
                  <a:pt x="16" y="85"/>
                  <a:pt x="16" y="85"/>
                  <a:pt x="16" y="85"/>
                </a:cubicBezTo>
                <a:cubicBezTo>
                  <a:pt x="16" y="85"/>
                  <a:pt x="14" y="84"/>
                  <a:pt x="13" y="82"/>
                </a:cubicBezTo>
                <a:cubicBezTo>
                  <a:pt x="12" y="81"/>
                  <a:pt x="11" y="79"/>
                  <a:pt x="11" y="77"/>
                </a:cubicBezTo>
                <a:cubicBezTo>
                  <a:pt x="11" y="77"/>
                  <a:pt x="11" y="76"/>
                  <a:pt x="12" y="75"/>
                </a:cubicBezTo>
                <a:cubicBezTo>
                  <a:pt x="28" y="60"/>
                  <a:pt x="28" y="60"/>
                  <a:pt x="28" y="60"/>
                </a:cubicBezTo>
                <a:cubicBezTo>
                  <a:pt x="31" y="58"/>
                  <a:pt x="31" y="54"/>
                  <a:pt x="29" y="52"/>
                </a:cubicBezTo>
                <a:cubicBezTo>
                  <a:pt x="27" y="49"/>
                  <a:pt x="23" y="49"/>
                  <a:pt x="21" y="51"/>
                </a:cubicBezTo>
                <a:cubicBezTo>
                  <a:pt x="3" y="67"/>
                  <a:pt x="3" y="67"/>
                  <a:pt x="3" y="67"/>
                </a:cubicBezTo>
                <a:cubicBezTo>
                  <a:pt x="3" y="68"/>
                  <a:pt x="3" y="68"/>
                  <a:pt x="3" y="68"/>
                </a:cubicBezTo>
                <a:cubicBezTo>
                  <a:pt x="1" y="71"/>
                  <a:pt x="0" y="74"/>
                  <a:pt x="0" y="77"/>
                </a:cubicBezTo>
                <a:cubicBezTo>
                  <a:pt x="0" y="83"/>
                  <a:pt x="2" y="87"/>
                  <a:pt x="4" y="90"/>
                </a:cubicBezTo>
                <a:cubicBezTo>
                  <a:pt x="6" y="92"/>
                  <a:pt x="8" y="93"/>
                  <a:pt x="9" y="94"/>
                </a:cubicBezTo>
                <a:cubicBezTo>
                  <a:pt x="12" y="98"/>
                  <a:pt x="17" y="100"/>
                  <a:pt x="21" y="100"/>
                </a:cubicBezTo>
                <a:cubicBezTo>
                  <a:pt x="21" y="100"/>
                  <a:pt x="21" y="100"/>
                  <a:pt x="21" y="100"/>
                </a:cubicBezTo>
                <a:cubicBezTo>
                  <a:pt x="25" y="100"/>
                  <a:pt x="28" y="98"/>
                  <a:pt x="31" y="97"/>
                </a:cubicBezTo>
                <a:cubicBezTo>
                  <a:pt x="33" y="95"/>
                  <a:pt x="35" y="93"/>
                  <a:pt x="35" y="93"/>
                </a:cubicBezTo>
                <a:cubicBezTo>
                  <a:pt x="35" y="93"/>
                  <a:pt x="35" y="93"/>
                  <a:pt x="35" y="93"/>
                </a:cubicBezTo>
                <a:cubicBezTo>
                  <a:pt x="61" y="70"/>
                  <a:pt x="61" y="70"/>
                  <a:pt x="61" y="70"/>
                </a:cubicBezTo>
                <a:cubicBezTo>
                  <a:pt x="61" y="70"/>
                  <a:pt x="61" y="70"/>
                  <a:pt x="61" y="70"/>
                </a:cubicBezTo>
                <a:cubicBezTo>
                  <a:pt x="66" y="66"/>
                  <a:pt x="68" y="61"/>
                  <a:pt x="68" y="56"/>
                </a:cubicBezTo>
                <a:cubicBezTo>
                  <a:pt x="68" y="50"/>
                  <a:pt x="65" y="46"/>
                  <a:pt x="63" y="43"/>
                </a:cubicBezTo>
                <a:cubicBezTo>
                  <a:pt x="61" y="39"/>
                  <a:pt x="59" y="38"/>
                  <a:pt x="59" y="3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0" name="Freeform 498"/>
          <p:cNvSpPr>
            <a:spLocks noChangeAspect="1" noEditPoints="1"/>
          </p:cNvSpPr>
          <p:nvPr/>
        </p:nvSpPr>
        <p:spPr bwMode="auto">
          <a:xfrm>
            <a:off x="5646446" y="2069034"/>
            <a:ext cx="448238" cy="448238"/>
          </a:xfrm>
          <a:custGeom>
            <a:avLst/>
            <a:gdLst>
              <a:gd name="T0" fmla="*/ 289 w 512"/>
              <a:gd name="T1" fmla="*/ 288 h 512"/>
              <a:gd name="T2" fmla="*/ 298 w 512"/>
              <a:gd name="T3" fmla="*/ 224 h 512"/>
              <a:gd name="T4" fmla="*/ 212 w 512"/>
              <a:gd name="T5" fmla="*/ 213 h 512"/>
              <a:gd name="T6" fmla="*/ 280 w 512"/>
              <a:gd name="T7" fmla="*/ 213 h 512"/>
              <a:gd name="T8" fmla="*/ 334 w 512"/>
              <a:gd name="T9" fmla="*/ 288 h 512"/>
              <a:gd name="T10" fmla="*/ 311 w 512"/>
              <a:gd name="T11" fmla="*/ 288 h 512"/>
              <a:gd name="T12" fmla="*/ 170 w 512"/>
              <a:gd name="T13" fmla="*/ 301 h 512"/>
              <a:gd name="T14" fmla="*/ 157 w 512"/>
              <a:gd name="T15" fmla="*/ 309 h 512"/>
              <a:gd name="T16" fmla="*/ 162 w 512"/>
              <a:gd name="T17" fmla="*/ 256 h 512"/>
              <a:gd name="T18" fmla="*/ 117 w 512"/>
              <a:gd name="T19" fmla="*/ 298 h 512"/>
              <a:gd name="T20" fmla="*/ 202 w 512"/>
              <a:gd name="T21" fmla="*/ 298 h 512"/>
              <a:gd name="T22" fmla="*/ 170 w 512"/>
              <a:gd name="T23" fmla="*/ 301 h 512"/>
              <a:gd name="T24" fmla="*/ 256 w 512"/>
              <a:gd name="T25" fmla="*/ 512 h 512"/>
              <a:gd name="T26" fmla="*/ 256 w 512"/>
              <a:gd name="T27" fmla="*/ 0 h 512"/>
              <a:gd name="T28" fmla="*/ 416 w 512"/>
              <a:gd name="T29" fmla="*/ 298 h 512"/>
              <a:gd name="T30" fmla="*/ 330 w 512"/>
              <a:gd name="T31" fmla="*/ 238 h 512"/>
              <a:gd name="T32" fmla="*/ 316 w 512"/>
              <a:gd name="T33" fmla="*/ 181 h 512"/>
              <a:gd name="T34" fmla="*/ 341 w 512"/>
              <a:gd name="T35" fmla="*/ 170 h 512"/>
              <a:gd name="T36" fmla="*/ 288 w 512"/>
              <a:gd name="T37" fmla="*/ 160 h 512"/>
              <a:gd name="T38" fmla="*/ 288 w 512"/>
              <a:gd name="T39" fmla="*/ 181 h 512"/>
              <a:gd name="T40" fmla="*/ 289 w 512"/>
              <a:gd name="T41" fmla="*/ 192 h 512"/>
              <a:gd name="T42" fmla="*/ 210 w 512"/>
              <a:gd name="T43" fmla="*/ 170 h 512"/>
              <a:gd name="T44" fmla="*/ 234 w 512"/>
              <a:gd name="T45" fmla="*/ 160 h 512"/>
              <a:gd name="T46" fmla="*/ 202 w 512"/>
              <a:gd name="T47" fmla="*/ 149 h 512"/>
              <a:gd name="T48" fmla="*/ 168 w 512"/>
              <a:gd name="T49" fmla="*/ 235 h 512"/>
              <a:gd name="T50" fmla="*/ 96 w 512"/>
              <a:gd name="T51" fmla="*/ 298 h 512"/>
              <a:gd name="T52" fmla="*/ 224 w 512"/>
              <a:gd name="T53" fmla="*/ 298 h 512"/>
              <a:gd name="T54" fmla="*/ 194 w 512"/>
              <a:gd name="T55" fmla="*/ 224 h 512"/>
              <a:gd name="T56" fmla="*/ 256 w 512"/>
              <a:gd name="T57" fmla="*/ 309 h 512"/>
              <a:gd name="T58" fmla="*/ 289 w 512"/>
              <a:gd name="T59" fmla="*/ 309 h 512"/>
              <a:gd name="T60" fmla="*/ 416 w 512"/>
              <a:gd name="T61" fmla="*/ 298 h 512"/>
              <a:gd name="T62" fmla="*/ 341 w 512"/>
              <a:gd name="T63" fmla="*/ 257 h 512"/>
              <a:gd name="T64" fmla="*/ 361 w 512"/>
              <a:gd name="T65" fmla="*/ 304 h 512"/>
              <a:gd name="T66" fmla="*/ 311 w 512"/>
              <a:gd name="T67" fmla="*/ 309 h 512"/>
              <a:gd name="T68" fmla="*/ 394 w 512"/>
              <a:gd name="T69"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12" y="248"/>
                </a:moveTo>
                <a:cubicBezTo>
                  <a:pt x="300" y="258"/>
                  <a:pt x="291" y="272"/>
                  <a:pt x="289" y="288"/>
                </a:cubicBezTo>
                <a:cubicBezTo>
                  <a:pt x="272" y="288"/>
                  <a:pt x="272" y="288"/>
                  <a:pt x="272" y="288"/>
                </a:cubicBezTo>
                <a:cubicBezTo>
                  <a:pt x="298" y="224"/>
                  <a:pt x="298" y="224"/>
                  <a:pt x="298" y="224"/>
                </a:cubicBezTo>
                <a:lnTo>
                  <a:pt x="312" y="248"/>
                </a:lnTo>
                <a:close/>
                <a:moveTo>
                  <a:pt x="212" y="213"/>
                </a:moveTo>
                <a:cubicBezTo>
                  <a:pt x="253" y="276"/>
                  <a:pt x="253" y="276"/>
                  <a:pt x="253" y="276"/>
                </a:cubicBezTo>
                <a:cubicBezTo>
                  <a:pt x="280" y="213"/>
                  <a:pt x="280" y="213"/>
                  <a:pt x="280" y="213"/>
                </a:cubicBezTo>
                <a:lnTo>
                  <a:pt x="212" y="213"/>
                </a:lnTo>
                <a:close/>
                <a:moveTo>
                  <a:pt x="334" y="288"/>
                </a:moveTo>
                <a:cubicBezTo>
                  <a:pt x="322" y="267"/>
                  <a:pt x="322" y="267"/>
                  <a:pt x="322" y="267"/>
                </a:cubicBezTo>
                <a:cubicBezTo>
                  <a:pt x="317" y="273"/>
                  <a:pt x="313" y="280"/>
                  <a:pt x="311" y="288"/>
                </a:cubicBezTo>
                <a:lnTo>
                  <a:pt x="334" y="288"/>
                </a:lnTo>
                <a:close/>
                <a:moveTo>
                  <a:pt x="170" y="301"/>
                </a:moveTo>
                <a:cubicBezTo>
                  <a:pt x="168" y="306"/>
                  <a:pt x="164" y="309"/>
                  <a:pt x="160" y="309"/>
                </a:cubicBezTo>
                <a:cubicBezTo>
                  <a:pt x="159" y="309"/>
                  <a:pt x="158" y="309"/>
                  <a:pt x="157" y="309"/>
                </a:cubicBezTo>
                <a:cubicBezTo>
                  <a:pt x="151" y="307"/>
                  <a:pt x="148" y="301"/>
                  <a:pt x="149" y="295"/>
                </a:cubicBezTo>
                <a:cubicBezTo>
                  <a:pt x="162" y="256"/>
                  <a:pt x="162" y="256"/>
                  <a:pt x="162" y="256"/>
                </a:cubicBezTo>
                <a:cubicBezTo>
                  <a:pt x="161" y="256"/>
                  <a:pt x="160" y="256"/>
                  <a:pt x="160" y="256"/>
                </a:cubicBezTo>
                <a:cubicBezTo>
                  <a:pt x="136" y="256"/>
                  <a:pt x="117" y="275"/>
                  <a:pt x="117" y="298"/>
                </a:cubicBezTo>
                <a:cubicBezTo>
                  <a:pt x="117" y="322"/>
                  <a:pt x="136" y="341"/>
                  <a:pt x="160" y="341"/>
                </a:cubicBezTo>
                <a:cubicBezTo>
                  <a:pt x="183" y="341"/>
                  <a:pt x="202" y="322"/>
                  <a:pt x="202" y="298"/>
                </a:cubicBezTo>
                <a:cubicBezTo>
                  <a:pt x="202" y="283"/>
                  <a:pt x="194" y="270"/>
                  <a:pt x="182" y="262"/>
                </a:cubicBezTo>
                <a:lnTo>
                  <a:pt x="170" y="30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8"/>
                </a:moveTo>
                <a:cubicBezTo>
                  <a:pt x="416" y="263"/>
                  <a:pt x="387" y="234"/>
                  <a:pt x="352" y="234"/>
                </a:cubicBezTo>
                <a:cubicBezTo>
                  <a:pt x="344" y="234"/>
                  <a:pt x="337" y="236"/>
                  <a:pt x="330" y="238"/>
                </a:cubicBezTo>
                <a:cubicBezTo>
                  <a:pt x="309" y="199"/>
                  <a:pt x="309" y="199"/>
                  <a:pt x="309" y="199"/>
                </a:cubicBezTo>
                <a:cubicBezTo>
                  <a:pt x="316" y="181"/>
                  <a:pt x="316" y="181"/>
                  <a:pt x="316" y="181"/>
                </a:cubicBezTo>
                <a:cubicBezTo>
                  <a:pt x="330" y="181"/>
                  <a:pt x="330" y="181"/>
                  <a:pt x="330" y="181"/>
                </a:cubicBezTo>
                <a:cubicBezTo>
                  <a:pt x="336" y="181"/>
                  <a:pt x="341" y="176"/>
                  <a:pt x="341" y="170"/>
                </a:cubicBezTo>
                <a:cubicBezTo>
                  <a:pt x="341" y="164"/>
                  <a:pt x="336" y="160"/>
                  <a:pt x="330" y="160"/>
                </a:cubicBezTo>
                <a:cubicBezTo>
                  <a:pt x="288" y="160"/>
                  <a:pt x="288" y="160"/>
                  <a:pt x="288" y="160"/>
                </a:cubicBezTo>
                <a:cubicBezTo>
                  <a:pt x="282" y="160"/>
                  <a:pt x="277" y="164"/>
                  <a:pt x="277" y="170"/>
                </a:cubicBezTo>
                <a:cubicBezTo>
                  <a:pt x="277" y="176"/>
                  <a:pt x="282" y="181"/>
                  <a:pt x="288" y="181"/>
                </a:cubicBezTo>
                <a:cubicBezTo>
                  <a:pt x="293" y="181"/>
                  <a:pt x="293" y="181"/>
                  <a:pt x="293" y="181"/>
                </a:cubicBezTo>
                <a:cubicBezTo>
                  <a:pt x="289" y="192"/>
                  <a:pt x="289" y="192"/>
                  <a:pt x="289" y="192"/>
                </a:cubicBezTo>
                <a:cubicBezTo>
                  <a:pt x="204" y="192"/>
                  <a:pt x="204" y="192"/>
                  <a:pt x="204" y="192"/>
                </a:cubicBezTo>
                <a:cubicBezTo>
                  <a:pt x="210" y="170"/>
                  <a:pt x="210" y="170"/>
                  <a:pt x="210" y="170"/>
                </a:cubicBezTo>
                <a:cubicBezTo>
                  <a:pt x="224" y="170"/>
                  <a:pt x="224" y="170"/>
                  <a:pt x="224" y="170"/>
                </a:cubicBezTo>
                <a:cubicBezTo>
                  <a:pt x="230" y="170"/>
                  <a:pt x="234" y="166"/>
                  <a:pt x="234" y="160"/>
                </a:cubicBezTo>
                <a:cubicBezTo>
                  <a:pt x="234" y="154"/>
                  <a:pt x="230" y="149"/>
                  <a:pt x="224" y="149"/>
                </a:cubicBezTo>
                <a:cubicBezTo>
                  <a:pt x="202" y="149"/>
                  <a:pt x="202" y="149"/>
                  <a:pt x="202" y="149"/>
                </a:cubicBezTo>
                <a:cubicBezTo>
                  <a:pt x="198" y="149"/>
                  <a:pt x="194" y="152"/>
                  <a:pt x="192" y="157"/>
                </a:cubicBezTo>
                <a:cubicBezTo>
                  <a:pt x="168" y="235"/>
                  <a:pt x="168" y="235"/>
                  <a:pt x="168" y="235"/>
                </a:cubicBezTo>
                <a:cubicBezTo>
                  <a:pt x="165" y="235"/>
                  <a:pt x="163" y="234"/>
                  <a:pt x="160" y="234"/>
                </a:cubicBezTo>
                <a:cubicBezTo>
                  <a:pt x="124" y="234"/>
                  <a:pt x="96" y="263"/>
                  <a:pt x="96" y="298"/>
                </a:cubicBezTo>
                <a:cubicBezTo>
                  <a:pt x="96" y="334"/>
                  <a:pt x="124" y="362"/>
                  <a:pt x="160" y="362"/>
                </a:cubicBezTo>
                <a:cubicBezTo>
                  <a:pt x="195" y="362"/>
                  <a:pt x="224" y="334"/>
                  <a:pt x="224" y="298"/>
                </a:cubicBezTo>
                <a:cubicBezTo>
                  <a:pt x="224" y="273"/>
                  <a:pt x="209" y="252"/>
                  <a:pt x="188" y="241"/>
                </a:cubicBezTo>
                <a:cubicBezTo>
                  <a:pt x="194" y="224"/>
                  <a:pt x="194" y="224"/>
                  <a:pt x="194" y="224"/>
                </a:cubicBezTo>
                <a:cubicBezTo>
                  <a:pt x="247" y="304"/>
                  <a:pt x="247" y="304"/>
                  <a:pt x="247" y="304"/>
                </a:cubicBezTo>
                <a:cubicBezTo>
                  <a:pt x="249" y="307"/>
                  <a:pt x="252" y="309"/>
                  <a:pt x="256" y="309"/>
                </a:cubicBezTo>
                <a:cubicBezTo>
                  <a:pt x="256" y="309"/>
                  <a:pt x="256" y="309"/>
                  <a:pt x="256" y="309"/>
                </a:cubicBezTo>
                <a:cubicBezTo>
                  <a:pt x="289" y="309"/>
                  <a:pt x="289" y="309"/>
                  <a:pt x="289" y="309"/>
                </a:cubicBezTo>
                <a:cubicBezTo>
                  <a:pt x="294" y="339"/>
                  <a:pt x="320" y="362"/>
                  <a:pt x="352" y="362"/>
                </a:cubicBezTo>
                <a:cubicBezTo>
                  <a:pt x="387" y="362"/>
                  <a:pt x="416" y="334"/>
                  <a:pt x="416" y="298"/>
                </a:cubicBezTo>
                <a:close/>
                <a:moveTo>
                  <a:pt x="352" y="256"/>
                </a:moveTo>
                <a:cubicBezTo>
                  <a:pt x="348" y="256"/>
                  <a:pt x="344" y="256"/>
                  <a:pt x="341" y="257"/>
                </a:cubicBezTo>
                <a:cubicBezTo>
                  <a:pt x="361" y="293"/>
                  <a:pt x="361" y="293"/>
                  <a:pt x="361" y="293"/>
                </a:cubicBezTo>
                <a:cubicBezTo>
                  <a:pt x="363" y="296"/>
                  <a:pt x="363" y="300"/>
                  <a:pt x="361" y="304"/>
                </a:cubicBezTo>
                <a:cubicBezTo>
                  <a:pt x="359" y="307"/>
                  <a:pt x="355" y="309"/>
                  <a:pt x="352" y="309"/>
                </a:cubicBezTo>
                <a:cubicBezTo>
                  <a:pt x="311" y="309"/>
                  <a:pt x="311" y="309"/>
                  <a:pt x="311" y="309"/>
                </a:cubicBezTo>
                <a:cubicBezTo>
                  <a:pt x="315" y="327"/>
                  <a:pt x="332" y="341"/>
                  <a:pt x="352" y="341"/>
                </a:cubicBezTo>
                <a:cubicBezTo>
                  <a:pt x="375" y="341"/>
                  <a:pt x="394" y="322"/>
                  <a:pt x="394" y="298"/>
                </a:cubicBezTo>
                <a:cubicBezTo>
                  <a:pt x="394" y="275"/>
                  <a:pt x="375" y="256"/>
                  <a:pt x="352" y="25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841"/>
          <p:cNvSpPr>
            <a:spLocks noChangeAspect="1" noEditPoints="1"/>
          </p:cNvSpPr>
          <p:nvPr/>
        </p:nvSpPr>
        <p:spPr bwMode="auto">
          <a:xfrm>
            <a:off x="6300023" y="3918205"/>
            <a:ext cx="448238" cy="448238"/>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315"/>
          <p:cNvSpPr>
            <a:spLocks noChangeAspect="1" noEditPoints="1"/>
          </p:cNvSpPr>
          <p:nvPr/>
        </p:nvSpPr>
        <p:spPr bwMode="auto">
          <a:xfrm>
            <a:off x="5273010" y="3303161"/>
            <a:ext cx="449504" cy="449502"/>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792"/>
          <p:cNvSpPr>
            <a:spLocks noChangeAspect="1" noEditPoints="1"/>
          </p:cNvSpPr>
          <p:nvPr/>
        </p:nvSpPr>
        <p:spPr bwMode="auto">
          <a:xfrm>
            <a:off x="6858783" y="2804786"/>
            <a:ext cx="449504" cy="449502"/>
          </a:xfrm>
          <a:custGeom>
            <a:avLst/>
            <a:gdLst>
              <a:gd name="T0" fmla="*/ 344 w 512"/>
              <a:gd name="T1" fmla="*/ 288 h 512"/>
              <a:gd name="T2" fmla="*/ 266 w 512"/>
              <a:gd name="T3" fmla="*/ 288 h 512"/>
              <a:gd name="T4" fmla="*/ 266 w 512"/>
              <a:gd name="T5" fmla="*/ 149 h 512"/>
              <a:gd name="T6" fmla="*/ 266 w 512"/>
              <a:gd name="T7" fmla="*/ 147 h 512"/>
              <a:gd name="T8" fmla="*/ 344 w 512"/>
              <a:gd name="T9" fmla="*/ 288 h 512"/>
              <a:gd name="T10" fmla="*/ 245 w 512"/>
              <a:gd name="T11" fmla="*/ 182 h 512"/>
              <a:gd name="T12" fmla="*/ 170 w 512"/>
              <a:gd name="T13" fmla="*/ 288 h 512"/>
              <a:gd name="T14" fmla="*/ 245 w 512"/>
              <a:gd name="T15" fmla="*/ 288 h 512"/>
              <a:gd name="T16" fmla="*/ 245 w 512"/>
              <a:gd name="T17" fmla="*/ 182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414 w 512"/>
              <a:gd name="T29" fmla="*/ 293 h 512"/>
              <a:gd name="T30" fmla="*/ 405 w 512"/>
              <a:gd name="T31" fmla="*/ 288 h 512"/>
              <a:gd name="T32" fmla="*/ 369 w 512"/>
              <a:gd name="T33" fmla="*/ 288 h 512"/>
              <a:gd name="T34" fmla="*/ 265 w 512"/>
              <a:gd name="T35" fmla="*/ 101 h 512"/>
              <a:gd name="T36" fmla="*/ 253 w 512"/>
              <a:gd name="T37" fmla="*/ 96 h 512"/>
              <a:gd name="T38" fmla="*/ 245 w 512"/>
              <a:gd name="T39" fmla="*/ 106 h 512"/>
              <a:gd name="T40" fmla="*/ 245 w 512"/>
              <a:gd name="T41" fmla="*/ 146 h 512"/>
              <a:gd name="T42" fmla="*/ 144 w 512"/>
              <a:gd name="T43" fmla="*/ 288 h 512"/>
              <a:gd name="T44" fmla="*/ 106 w 512"/>
              <a:gd name="T45" fmla="*/ 288 h 512"/>
              <a:gd name="T46" fmla="*/ 97 w 512"/>
              <a:gd name="T47" fmla="*/ 293 h 512"/>
              <a:gd name="T48" fmla="*/ 97 w 512"/>
              <a:gd name="T49" fmla="*/ 304 h 512"/>
              <a:gd name="T50" fmla="*/ 140 w 512"/>
              <a:gd name="T51" fmla="*/ 368 h 512"/>
              <a:gd name="T52" fmla="*/ 149 w 512"/>
              <a:gd name="T53" fmla="*/ 373 h 512"/>
              <a:gd name="T54" fmla="*/ 362 w 512"/>
              <a:gd name="T55" fmla="*/ 373 h 512"/>
              <a:gd name="T56" fmla="*/ 371 w 512"/>
              <a:gd name="T57" fmla="*/ 368 h 512"/>
              <a:gd name="T58" fmla="*/ 414 w 512"/>
              <a:gd name="T59" fmla="*/ 304 h 512"/>
              <a:gd name="T60" fmla="*/ 414 w 512"/>
              <a:gd name="T61" fmla="*/ 293 h 512"/>
              <a:gd name="T62" fmla="*/ 256 w 512"/>
              <a:gd name="T63" fmla="*/ 309 h 512"/>
              <a:gd name="T64" fmla="*/ 149 w 512"/>
              <a:gd name="T65" fmla="*/ 309 h 512"/>
              <a:gd name="T66" fmla="*/ 126 w 512"/>
              <a:gd name="T67" fmla="*/ 309 h 512"/>
              <a:gd name="T68" fmla="*/ 155 w 512"/>
              <a:gd name="T69" fmla="*/ 352 h 512"/>
              <a:gd name="T70" fmla="*/ 357 w 512"/>
              <a:gd name="T71" fmla="*/ 352 h 512"/>
              <a:gd name="T72" fmla="*/ 385 w 512"/>
              <a:gd name="T73" fmla="*/ 309 h 512"/>
              <a:gd name="T74" fmla="*/ 362 w 512"/>
              <a:gd name="T75" fmla="*/ 309 h 512"/>
              <a:gd name="T76" fmla="*/ 256 w 512"/>
              <a:gd name="T7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44" y="288"/>
                </a:moveTo>
                <a:cubicBezTo>
                  <a:pt x="266" y="288"/>
                  <a:pt x="266" y="288"/>
                  <a:pt x="266" y="288"/>
                </a:cubicBezTo>
                <a:cubicBezTo>
                  <a:pt x="266" y="149"/>
                  <a:pt x="266" y="149"/>
                  <a:pt x="266" y="149"/>
                </a:cubicBezTo>
                <a:cubicBezTo>
                  <a:pt x="266" y="147"/>
                  <a:pt x="266" y="147"/>
                  <a:pt x="266" y="147"/>
                </a:cubicBezTo>
                <a:lnTo>
                  <a:pt x="344" y="288"/>
                </a:lnTo>
                <a:close/>
                <a:moveTo>
                  <a:pt x="245" y="182"/>
                </a:moveTo>
                <a:cubicBezTo>
                  <a:pt x="170" y="288"/>
                  <a:pt x="170" y="288"/>
                  <a:pt x="170" y="288"/>
                </a:cubicBezTo>
                <a:cubicBezTo>
                  <a:pt x="245" y="288"/>
                  <a:pt x="245" y="288"/>
                  <a:pt x="245" y="288"/>
                </a:cubicBezTo>
                <a:lnTo>
                  <a:pt x="245"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93"/>
                </a:moveTo>
                <a:cubicBezTo>
                  <a:pt x="413" y="290"/>
                  <a:pt x="409" y="288"/>
                  <a:pt x="405" y="288"/>
                </a:cubicBezTo>
                <a:cubicBezTo>
                  <a:pt x="369" y="288"/>
                  <a:pt x="369" y="288"/>
                  <a:pt x="369" y="288"/>
                </a:cubicBezTo>
                <a:cubicBezTo>
                  <a:pt x="265" y="101"/>
                  <a:pt x="265" y="101"/>
                  <a:pt x="265" y="101"/>
                </a:cubicBezTo>
                <a:cubicBezTo>
                  <a:pt x="263" y="97"/>
                  <a:pt x="258" y="95"/>
                  <a:pt x="253" y="96"/>
                </a:cubicBezTo>
                <a:cubicBezTo>
                  <a:pt x="248" y="97"/>
                  <a:pt x="245" y="101"/>
                  <a:pt x="245" y="106"/>
                </a:cubicBezTo>
                <a:cubicBezTo>
                  <a:pt x="245" y="146"/>
                  <a:pt x="245" y="146"/>
                  <a:pt x="245" y="146"/>
                </a:cubicBezTo>
                <a:cubicBezTo>
                  <a:pt x="144" y="288"/>
                  <a:pt x="144" y="288"/>
                  <a:pt x="144" y="288"/>
                </a:cubicBezTo>
                <a:cubicBezTo>
                  <a:pt x="106" y="288"/>
                  <a:pt x="106" y="288"/>
                  <a:pt x="106" y="288"/>
                </a:cubicBezTo>
                <a:cubicBezTo>
                  <a:pt x="102" y="288"/>
                  <a:pt x="99" y="290"/>
                  <a:pt x="97" y="293"/>
                </a:cubicBezTo>
                <a:cubicBezTo>
                  <a:pt x="95" y="297"/>
                  <a:pt x="95" y="301"/>
                  <a:pt x="97" y="304"/>
                </a:cubicBezTo>
                <a:cubicBezTo>
                  <a:pt x="140" y="368"/>
                  <a:pt x="140" y="368"/>
                  <a:pt x="140" y="368"/>
                </a:cubicBezTo>
                <a:cubicBezTo>
                  <a:pt x="142" y="371"/>
                  <a:pt x="145" y="373"/>
                  <a:pt x="149" y="373"/>
                </a:cubicBezTo>
                <a:cubicBezTo>
                  <a:pt x="362" y="373"/>
                  <a:pt x="362" y="373"/>
                  <a:pt x="362" y="373"/>
                </a:cubicBezTo>
                <a:cubicBezTo>
                  <a:pt x="366" y="373"/>
                  <a:pt x="369" y="371"/>
                  <a:pt x="371" y="368"/>
                </a:cubicBezTo>
                <a:cubicBezTo>
                  <a:pt x="414" y="304"/>
                  <a:pt x="414" y="304"/>
                  <a:pt x="414" y="304"/>
                </a:cubicBezTo>
                <a:cubicBezTo>
                  <a:pt x="416" y="301"/>
                  <a:pt x="416" y="297"/>
                  <a:pt x="414" y="293"/>
                </a:cubicBezTo>
                <a:close/>
                <a:moveTo>
                  <a:pt x="256" y="309"/>
                </a:moveTo>
                <a:cubicBezTo>
                  <a:pt x="149" y="309"/>
                  <a:pt x="149" y="309"/>
                  <a:pt x="149" y="309"/>
                </a:cubicBezTo>
                <a:cubicBezTo>
                  <a:pt x="126" y="309"/>
                  <a:pt x="126" y="309"/>
                  <a:pt x="126" y="309"/>
                </a:cubicBezTo>
                <a:cubicBezTo>
                  <a:pt x="155" y="352"/>
                  <a:pt x="155" y="352"/>
                  <a:pt x="155" y="352"/>
                </a:cubicBezTo>
                <a:cubicBezTo>
                  <a:pt x="357" y="352"/>
                  <a:pt x="357" y="352"/>
                  <a:pt x="357" y="352"/>
                </a:cubicBezTo>
                <a:cubicBezTo>
                  <a:pt x="385" y="309"/>
                  <a:pt x="385" y="309"/>
                  <a:pt x="385" y="309"/>
                </a:cubicBezTo>
                <a:cubicBezTo>
                  <a:pt x="362" y="309"/>
                  <a:pt x="362" y="309"/>
                  <a:pt x="362" y="309"/>
                </a:cubicBezTo>
                <a:lnTo>
                  <a:pt x="256" y="30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072890516"/>
      </p:ext>
    </p:extLst>
  </p:cSld>
  <p:clrMapOvr>
    <a:masterClrMapping/>
  </p:clrMapOvr>
  <p:transition>
    <p:fade/>
  </p:transition>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Golf clubs with text boxes</a:t>
            </a:r>
            <a:endParaRPr lang="en-US" dirty="0"/>
          </a:p>
        </p:txBody>
      </p:sp>
      <p:sp>
        <p:nvSpPr>
          <p:cNvPr id="58" name="Freeform 7"/>
          <p:cNvSpPr>
            <a:spLocks/>
          </p:cNvSpPr>
          <p:nvPr/>
        </p:nvSpPr>
        <p:spPr bwMode="auto">
          <a:xfrm>
            <a:off x="3268663" y="3896073"/>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4"/>
          </a:solidFill>
          <a:ln>
            <a:noFill/>
          </a:ln>
        </p:spPr>
        <p:txBody>
          <a:bodyPr vert="horz" wrap="square" lIns="91440" tIns="91440" rIns="91440" bIns="91440" numCol="1" anchor="t" anchorCtr="0" compatLnSpc="1">
            <a:prstTxWarp prst="textNoShape">
              <a:avLst/>
            </a:prstTxWarp>
          </a:bodyPr>
          <a:lstStyle/>
          <a:p>
            <a:endParaRPr lang="en-US"/>
          </a:p>
        </p:txBody>
      </p:sp>
      <p:sp>
        <p:nvSpPr>
          <p:cNvPr id="59" name="Freeform 7"/>
          <p:cNvSpPr>
            <a:spLocks/>
          </p:cNvSpPr>
          <p:nvPr/>
        </p:nvSpPr>
        <p:spPr bwMode="auto">
          <a:xfrm>
            <a:off x="3268663" y="2584859"/>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1"/>
          </a:solidFill>
          <a:ln>
            <a:noFill/>
          </a:ln>
        </p:spPr>
        <p:txBody>
          <a:bodyPr vert="horz" wrap="square" lIns="91440" tIns="91440" rIns="91440" bIns="91440" numCol="1" anchor="t" anchorCtr="0" compatLnSpc="1">
            <a:prstTxWarp prst="textNoShape">
              <a:avLst/>
            </a:prstTxWarp>
          </a:bodyPr>
          <a:lstStyle/>
          <a:p>
            <a:endParaRPr lang="en-US"/>
          </a:p>
        </p:txBody>
      </p:sp>
      <p:sp>
        <p:nvSpPr>
          <p:cNvPr id="60" name="Freeform 7"/>
          <p:cNvSpPr>
            <a:spLocks/>
          </p:cNvSpPr>
          <p:nvPr/>
        </p:nvSpPr>
        <p:spPr bwMode="auto">
          <a:xfrm flipH="1">
            <a:off x="6135338" y="3896073"/>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6"/>
          </a:solidFill>
          <a:ln>
            <a:noFill/>
          </a:ln>
        </p:spPr>
        <p:txBody>
          <a:bodyPr vert="horz" wrap="square" lIns="91440" tIns="91440" rIns="91440" bIns="91440" numCol="1" anchor="t" anchorCtr="0" compatLnSpc="1">
            <a:prstTxWarp prst="textNoShape">
              <a:avLst/>
            </a:prstTxWarp>
          </a:bodyPr>
          <a:lstStyle/>
          <a:p>
            <a:endParaRPr lang="en-US"/>
          </a:p>
        </p:txBody>
      </p:sp>
      <p:sp>
        <p:nvSpPr>
          <p:cNvPr id="61" name="Freeform 7"/>
          <p:cNvSpPr>
            <a:spLocks/>
          </p:cNvSpPr>
          <p:nvPr/>
        </p:nvSpPr>
        <p:spPr bwMode="auto">
          <a:xfrm flipH="1">
            <a:off x="6135338" y="2584859"/>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3"/>
          </a:solidFill>
          <a:ln>
            <a:noFill/>
          </a:ln>
        </p:spPr>
        <p:txBody>
          <a:bodyPr vert="horz" wrap="square" lIns="91440" tIns="91440" rIns="91440" bIns="91440" numCol="1" anchor="t" anchorCtr="0" compatLnSpc="1">
            <a:prstTxWarp prst="textNoShape">
              <a:avLst/>
            </a:prstTxWarp>
          </a:bodyPr>
          <a:lstStyle/>
          <a:p>
            <a:endParaRPr lang="en-US"/>
          </a:p>
        </p:txBody>
      </p:sp>
      <p:sp>
        <p:nvSpPr>
          <p:cNvPr id="74" name="Rectangle 73"/>
          <p:cNvSpPr/>
          <p:nvPr/>
        </p:nvSpPr>
        <p:spPr>
          <a:xfrm>
            <a:off x="4241738" y="4236964"/>
            <a:ext cx="1554480" cy="600164"/>
          </a:xfrm>
          <a:prstGeom prst="rect">
            <a:avLst/>
          </a:prstGeom>
        </p:spPr>
        <p:txBody>
          <a:bodyPr wrap="square" lIns="0" tIns="0" rIns="0" bIns="0" anchor="ctr" anchorCtr="0">
            <a:noAutofit/>
          </a:bodyPr>
          <a:lstStyle/>
          <a:p>
            <a:r>
              <a:rPr lang="en-US" sz="1100" dirty="0">
                <a:solidFill>
                  <a:schemeClr val="bg1"/>
                </a:solidFill>
              </a:rPr>
              <a:t>This is dummy text it is not here to be read. This is dummy text.</a:t>
            </a:r>
          </a:p>
        </p:txBody>
      </p:sp>
      <p:sp>
        <p:nvSpPr>
          <p:cNvPr id="76" name="Rectangle 75"/>
          <p:cNvSpPr/>
          <p:nvPr/>
        </p:nvSpPr>
        <p:spPr>
          <a:xfrm>
            <a:off x="4241738" y="2932782"/>
            <a:ext cx="1554480" cy="600164"/>
          </a:xfrm>
          <a:prstGeom prst="rect">
            <a:avLst/>
          </a:prstGeom>
        </p:spPr>
        <p:txBody>
          <a:bodyPr wrap="square" lIns="0" tIns="0" rIns="0" bIns="0" anchor="ctr" anchorCtr="0">
            <a:noAutofit/>
          </a:bodyPr>
          <a:lstStyle/>
          <a:p>
            <a:r>
              <a:rPr lang="en-US" sz="1100" dirty="0">
                <a:solidFill>
                  <a:schemeClr val="bg1"/>
                </a:solidFill>
              </a:rPr>
              <a:t>This is dummy text it is not here to be read. This is dummy text.</a:t>
            </a:r>
          </a:p>
        </p:txBody>
      </p:sp>
      <p:sp>
        <p:nvSpPr>
          <p:cNvPr id="78" name="Freeform 7"/>
          <p:cNvSpPr>
            <a:spLocks/>
          </p:cNvSpPr>
          <p:nvPr/>
        </p:nvSpPr>
        <p:spPr bwMode="auto">
          <a:xfrm>
            <a:off x="3268663" y="1273644"/>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5"/>
          </a:solidFill>
          <a:ln>
            <a:noFill/>
          </a:ln>
        </p:spPr>
        <p:txBody>
          <a:bodyPr vert="horz" wrap="square" lIns="91440" tIns="91440" rIns="91440" bIns="91440" numCol="1" anchor="t" anchorCtr="0" compatLnSpc="1">
            <a:prstTxWarp prst="textNoShape">
              <a:avLst/>
            </a:prstTxWarp>
          </a:bodyPr>
          <a:lstStyle/>
          <a:p>
            <a:endParaRPr lang="en-US"/>
          </a:p>
        </p:txBody>
      </p:sp>
      <p:sp>
        <p:nvSpPr>
          <p:cNvPr id="79" name="Rectangle 78"/>
          <p:cNvSpPr/>
          <p:nvPr/>
        </p:nvSpPr>
        <p:spPr>
          <a:xfrm>
            <a:off x="6424707" y="2932782"/>
            <a:ext cx="1554480" cy="600164"/>
          </a:xfrm>
          <a:prstGeom prst="rect">
            <a:avLst/>
          </a:prstGeom>
        </p:spPr>
        <p:txBody>
          <a:bodyPr wrap="square" lIns="0" tIns="0" rIns="0" bIns="0" anchor="ctr" anchorCtr="0">
            <a:noAutofit/>
          </a:bodyPr>
          <a:lstStyle/>
          <a:p>
            <a:pPr algn="r"/>
            <a:r>
              <a:rPr lang="en-US" sz="1100" dirty="0">
                <a:solidFill>
                  <a:schemeClr val="bg1"/>
                </a:solidFill>
              </a:rPr>
              <a:t>This is dummy text it is not here to be read. This is dummy text.</a:t>
            </a:r>
          </a:p>
        </p:txBody>
      </p:sp>
      <p:sp>
        <p:nvSpPr>
          <p:cNvPr id="80" name="Rectangle 79"/>
          <p:cNvSpPr/>
          <p:nvPr/>
        </p:nvSpPr>
        <p:spPr>
          <a:xfrm>
            <a:off x="6424707" y="4236964"/>
            <a:ext cx="1554480" cy="600164"/>
          </a:xfrm>
          <a:prstGeom prst="rect">
            <a:avLst/>
          </a:prstGeom>
        </p:spPr>
        <p:txBody>
          <a:bodyPr wrap="square" lIns="0" tIns="0" rIns="0" bIns="0" anchor="ctr" anchorCtr="0">
            <a:noAutofit/>
          </a:bodyPr>
          <a:lstStyle/>
          <a:p>
            <a:pPr algn="r"/>
            <a:r>
              <a:rPr lang="en-US" sz="1100" dirty="0">
                <a:solidFill>
                  <a:schemeClr val="bg1"/>
                </a:solidFill>
              </a:rPr>
              <a:t>This is dummy text it is not here to be read. This is dummy text.</a:t>
            </a:r>
          </a:p>
        </p:txBody>
      </p:sp>
      <p:sp>
        <p:nvSpPr>
          <p:cNvPr id="87" name="Rectangle 86"/>
          <p:cNvSpPr/>
          <p:nvPr/>
        </p:nvSpPr>
        <p:spPr>
          <a:xfrm>
            <a:off x="4241738" y="1626129"/>
            <a:ext cx="1554480" cy="600164"/>
          </a:xfrm>
          <a:prstGeom prst="rect">
            <a:avLst/>
          </a:prstGeom>
        </p:spPr>
        <p:txBody>
          <a:bodyPr wrap="square" lIns="0" tIns="0" rIns="0" bIns="0" anchor="ctr" anchorCtr="0">
            <a:noAutofit/>
          </a:bodyPr>
          <a:lstStyle/>
          <a:p>
            <a:r>
              <a:rPr lang="en-US" sz="1100" dirty="0">
                <a:solidFill>
                  <a:schemeClr val="bg1"/>
                </a:solidFill>
              </a:rPr>
              <a:t>This is dummy text it is not here to be read. This is dummy text.</a:t>
            </a:r>
          </a:p>
        </p:txBody>
      </p:sp>
      <p:grpSp>
        <p:nvGrpSpPr>
          <p:cNvPr id="89" name="Group 512"/>
          <p:cNvGrpSpPr>
            <a:grpSpLocks noChangeAspect="1"/>
          </p:cNvGrpSpPr>
          <p:nvPr/>
        </p:nvGrpSpPr>
        <p:grpSpPr bwMode="auto">
          <a:xfrm>
            <a:off x="8182365" y="4185815"/>
            <a:ext cx="609150" cy="609146"/>
            <a:chOff x="2728" y="2016"/>
            <a:chExt cx="340" cy="340"/>
          </a:xfrm>
          <a:solidFill>
            <a:schemeClr val="bg1"/>
          </a:solidFill>
        </p:grpSpPr>
        <p:sp>
          <p:nvSpPr>
            <p:cNvPr id="90" name="Freeform 513"/>
            <p:cNvSpPr>
              <a:spLocks/>
            </p:cNvSpPr>
            <p:nvPr/>
          </p:nvSpPr>
          <p:spPr bwMode="auto">
            <a:xfrm>
              <a:off x="2792" y="2080"/>
              <a:ext cx="163" cy="212"/>
            </a:xfrm>
            <a:custGeom>
              <a:avLst/>
              <a:gdLst>
                <a:gd name="T0" fmla="*/ 228 w 246"/>
                <a:gd name="T1" fmla="*/ 280 h 320"/>
                <a:gd name="T2" fmla="*/ 170 w 246"/>
                <a:gd name="T3" fmla="*/ 298 h 320"/>
                <a:gd name="T4" fmla="*/ 56 w 246"/>
                <a:gd name="T5" fmla="*/ 192 h 320"/>
                <a:gd name="T6" fmla="*/ 192 w 246"/>
                <a:gd name="T7" fmla="*/ 192 h 320"/>
                <a:gd name="T8" fmla="*/ 202 w 246"/>
                <a:gd name="T9" fmla="*/ 181 h 320"/>
                <a:gd name="T10" fmla="*/ 192 w 246"/>
                <a:gd name="T11" fmla="*/ 170 h 320"/>
                <a:gd name="T12" fmla="*/ 53 w 246"/>
                <a:gd name="T13" fmla="*/ 170 h 320"/>
                <a:gd name="T14" fmla="*/ 53 w 246"/>
                <a:gd name="T15" fmla="*/ 160 h 320"/>
                <a:gd name="T16" fmla="*/ 53 w 246"/>
                <a:gd name="T17" fmla="*/ 149 h 320"/>
                <a:gd name="T18" fmla="*/ 192 w 246"/>
                <a:gd name="T19" fmla="*/ 149 h 320"/>
                <a:gd name="T20" fmla="*/ 202 w 246"/>
                <a:gd name="T21" fmla="*/ 138 h 320"/>
                <a:gd name="T22" fmla="*/ 192 w 246"/>
                <a:gd name="T23" fmla="*/ 128 h 320"/>
                <a:gd name="T24" fmla="*/ 56 w 246"/>
                <a:gd name="T25" fmla="*/ 128 h 320"/>
                <a:gd name="T26" fmla="*/ 170 w 246"/>
                <a:gd name="T27" fmla="*/ 21 h 320"/>
                <a:gd name="T28" fmla="*/ 228 w 246"/>
                <a:gd name="T29" fmla="*/ 39 h 320"/>
                <a:gd name="T30" fmla="*/ 243 w 246"/>
                <a:gd name="T31" fmla="*/ 36 h 320"/>
                <a:gd name="T32" fmla="*/ 240 w 246"/>
                <a:gd name="T33" fmla="*/ 21 h 320"/>
                <a:gd name="T34" fmla="*/ 170 w 246"/>
                <a:gd name="T35" fmla="*/ 0 h 320"/>
                <a:gd name="T36" fmla="*/ 34 w 246"/>
                <a:gd name="T37" fmla="*/ 128 h 320"/>
                <a:gd name="T38" fmla="*/ 10 w 246"/>
                <a:gd name="T39" fmla="*/ 128 h 320"/>
                <a:gd name="T40" fmla="*/ 0 w 246"/>
                <a:gd name="T41" fmla="*/ 138 h 320"/>
                <a:gd name="T42" fmla="*/ 10 w 246"/>
                <a:gd name="T43" fmla="*/ 149 h 320"/>
                <a:gd name="T44" fmla="*/ 32 w 246"/>
                <a:gd name="T45" fmla="*/ 149 h 320"/>
                <a:gd name="T46" fmla="*/ 32 w 246"/>
                <a:gd name="T47" fmla="*/ 160 h 320"/>
                <a:gd name="T48" fmla="*/ 32 w 246"/>
                <a:gd name="T49" fmla="*/ 170 h 320"/>
                <a:gd name="T50" fmla="*/ 10 w 246"/>
                <a:gd name="T51" fmla="*/ 170 h 320"/>
                <a:gd name="T52" fmla="*/ 0 w 246"/>
                <a:gd name="T53" fmla="*/ 181 h 320"/>
                <a:gd name="T54" fmla="*/ 10 w 246"/>
                <a:gd name="T55" fmla="*/ 192 h 320"/>
                <a:gd name="T56" fmla="*/ 34 w 246"/>
                <a:gd name="T57" fmla="*/ 192 h 320"/>
                <a:gd name="T58" fmla="*/ 170 w 246"/>
                <a:gd name="T59" fmla="*/ 320 h 320"/>
                <a:gd name="T60" fmla="*/ 240 w 246"/>
                <a:gd name="T61" fmla="*/ 298 h 320"/>
                <a:gd name="T62" fmla="*/ 243 w 246"/>
                <a:gd name="T63" fmla="*/ 283 h 320"/>
                <a:gd name="T64" fmla="*/ 228 w 246"/>
                <a:gd name="T65" fmla="*/ 2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6" h="320">
                  <a:moveTo>
                    <a:pt x="228" y="280"/>
                  </a:moveTo>
                  <a:cubicBezTo>
                    <a:pt x="211" y="292"/>
                    <a:pt x="191" y="298"/>
                    <a:pt x="170" y="298"/>
                  </a:cubicBezTo>
                  <a:cubicBezTo>
                    <a:pt x="115" y="298"/>
                    <a:pt x="69" y="253"/>
                    <a:pt x="56" y="192"/>
                  </a:cubicBezTo>
                  <a:cubicBezTo>
                    <a:pt x="192" y="192"/>
                    <a:pt x="192" y="192"/>
                    <a:pt x="192" y="192"/>
                  </a:cubicBezTo>
                  <a:cubicBezTo>
                    <a:pt x="198" y="192"/>
                    <a:pt x="202" y="187"/>
                    <a:pt x="202" y="181"/>
                  </a:cubicBezTo>
                  <a:cubicBezTo>
                    <a:pt x="202" y="175"/>
                    <a:pt x="198" y="170"/>
                    <a:pt x="192" y="170"/>
                  </a:cubicBezTo>
                  <a:cubicBezTo>
                    <a:pt x="53" y="170"/>
                    <a:pt x="53" y="170"/>
                    <a:pt x="53" y="170"/>
                  </a:cubicBezTo>
                  <a:cubicBezTo>
                    <a:pt x="53" y="167"/>
                    <a:pt x="53" y="163"/>
                    <a:pt x="53" y="160"/>
                  </a:cubicBezTo>
                  <a:cubicBezTo>
                    <a:pt x="53" y="156"/>
                    <a:pt x="53" y="153"/>
                    <a:pt x="53" y="149"/>
                  </a:cubicBezTo>
                  <a:cubicBezTo>
                    <a:pt x="192" y="149"/>
                    <a:pt x="192" y="149"/>
                    <a:pt x="192" y="149"/>
                  </a:cubicBezTo>
                  <a:cubicBezTo>
                    <a:pt x="198" y="149"/>
                    <a:pt x="202" y="144"/>
                    <a:pt x="202" y="138"/>
                  </a:cubicBezTo>
                  <a:cubicBezTo>
                    <a:pt x="202" y="132"/>
                    <a:pt x="198" y="128"/>
                    <a:pt x="192" y="128"/>
                  </a:cubicBezTo>
                  <a:cubicBezTo>
                    <a:pt x="56" y="128"/>
                    <a:pt x="56" y="128"/>
                    <a:pt x="56" y="128"/>
                  </a:cubicBezTo>
                  <a:cubicBezTo>
                    <a:pt x="69" y="67"/>
                    <a:pt x="115" y="21"/>
                    <a:pt x="170" y="21"/>
                  </a:cubicBezTo>
                  <a:cubicBezTo>
                    <a:pt x="191" y="21"/>
                    <a:pt x="211" y="27"/>
                    <a:pt x="228" y="39"/>
                  </a:cubicBezTo>
                  <a:cubicBezTo>
                    <a:pt x="233" y="42"/>
                    <a:pt x="240" y="41"/>
                    <a:pt x="243" y="36"/>
                  </a:cubicBezTo>
                  <a:cubicBezTo>
                    <a:pt x="246" y="31"/>
                    <a:pt x="245" y="25"/>
                    <a:pt x="240" y="21"/>
                  </a:cubicBezTo>
                  <a:cubicBezTo>
                    <a:pt x="219" y="7"/>
                    <a:pt x="195" y="0"/>
                    <a:pt x="170" y="0"/>
                  </a:cubicBezTo>
                  <a:cubicBezTo>
                    <a:pt x="103" y="0"/>
                    <a:pt x="47" y="55"/>
                    <a:pt x="34" y="128"/>
                  </a:cubicBezTo>
                  <a:cubicBezTo>
                    <a:pt x="10" y="128"/>
                    <a:pt x="10" y="128"/>
                    <a:pt x="10" y="128"/>
                  </a:cubicBezTo>
                  <a:cubicBezTo>
                    <a:pt x="4" y="128"/>
                    <a:pt x="0" y="132"/>
                    <a:pt x="0" y="138"/>
                  </a:cubicBezTo>
                  <a:cubicBezTo>
                    <a:pt x="0" y="144"/>
                    <a:pt x="4" y="149"/>
                    <a:pt x="10" y="149"/>
                  </a:cubicBezTo>
                  <a:cubicBezTo>
                    <a:pt x="32" y="149"/>
                    <a:pt x="32" y="149"/>
                    <a:pt x="32" y="149"/>
                  </a:cubicBezTo>
                  <a:cubicBezTo>
                    <a:pt x="32" y="153"/>
                    <a:pt x="32" y="156"/>
                    <a:pt x="32" y="160"/>
                  </a:cubicBezTo>
                  <a:cubicBezTo>
                    <a:pt x="32" y="163"/>
                    <a:pt x="32" y="167"/>
                    <a:pt x="32" y="170"/>
                  </a:cubicBezTo>
                  <a:cubicBezTo>
                    <a:pt x="10" y="170"/>
                    <a:pt x="10" y="170"/>
                    <a:pt x="10" y="170"/>
                  </a:cubicBezTo>
                  <a:cubicBezTo>
                    <a:pt x="4" y="170"/>
                    <a:pt x="0" y="175"/>
                    <a:pt x="0" y="181"/>
                  </a:cubicBezTo>
                  <a:cubicBezTo>
                    <a:pt x="0" y="187"/>
                    <a:pt x="4" y="192"/>
                    <a:pt x="10" y="192"/>
                  </a:cubicBezTo>
                  <a:cubicBezTo>
                    <a:pt x="34" y="192"/>
                    <a:pt x="34" y="192"/>
                    <a:pt x="34" y="192"/>
                  </a:cubicBezTo>
                  <a:cubicBezTo>
                    <a:pt x="47" y="265"/>
                    <a:pt x="103" y="320"/>
                    <a:pt x="170" y="320"/>
                  </a:cubicBezTo>
                  <a:cubicBezTo>
                    <a:pt x="195" y="320"/>
                    <a:pt x="219" y="312"/>
                    <a:pt x="240" y="298"/>
                  </a:cubicBezTo>
                  <a:cubicBezTo>
                    <a:pt x="245" y="295"/>
                    <a:pt x="246" y="288"/>
                    <a:pt x="243" y="283"/>
                  </a:cubicBezTo>
                  <a:cubicBezTo>
                    <a:pt x="240" y="278"/>
                    <a:pt x="233" y="277"/>
                    <a:pt x="228" y="2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514"/>
            <p:cNvSpPr>
              <a:spLocks noEditPoints="1"/>
            </p:cNvSpPr>
            <p:nvPr/>
          </p:nvSpPr>
          <p:spPr bwMode="auto">
            <a:xfrm>
              <a:off x="2728"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423"/>
          <p:cNvGrpSpPr>
            <a:grpSpLocks noChangeAspect="1"/>
          </p:cNvGrpSpPr>
          <p:nvPr/>
        </p:nvGrpSpPr>
        <p:grpSpPr bwMode="auto">
          <a:xfrm>
            <a:off x="3503092" y="2951326"/>
            <a:ext cx="611454" cy="611450"/>
            <a:chOff x="4263" y="1567"/>
            <a:chExt cx="340" cy="340"/>
          </a:xfrm>
          <a:solidFill>
            <a:schemeClr val="bg1"/>
          </a:solidFill>
        </p:grpSpPr>
        <p:sp>
          <p:nvSpPr>
            <p:cNvPr id="93" name="Freeform 424"/>
            <p:cNvSpPr>
              <a:spLocks/>
            </p:cNvSpPr>
            <p:nvPr/>
          </p:nvSpPr>
          <p:spPr bwMode="auto">
            <a:xfrm>
              <a:off x="4355" y="1631"/>
              <a:ext cx="142" cy="212"/>
            </a:xfrm>
            <a:custGeom>
              <a:avLst/>
              <a:gdLst>
                <a:gd name="T0" fmla="*/ 203 w 214"/>
                <a:gd name="T1" fmla="*/ 298 h 320"/>
                <a:gd name="T2" fmla="*/ 43 w 214"/>
                <a:gd name="T3" fmla="*/ 298 h 320"/>
                <a:gd name="T4" fmla="*/ 82 w 214"/>
                <a:gd name="T5" fmla="*/ 170 h 320"/>
                <a:gd name="T6" fmla="*/ 139 w 214"/>
                <a:gd name="T7" fmla="*/ 170 h 320"/>
                <a:gd name="T8" fmla="*/ 150 w 214"/>
                <a:gd name="T9" fmla="*/ 160 h 320"/>
                <a:gd name="T10" fmla="*/ 139 w 214"/>
                <a:gd name="T11" fmla="*/ 149 h 320"/>
                <a:gd name="T12" fmla="*/ 69 w 214"/>
                <a:gd name="T13" fmla="*/ 149 h 320"/>
                <a:gd name="T14" fmla="*/ 43 w 214"/>
                <a:gd name="T15" fmla="*/ 96 h 320"/>
                <a:gd name="T16" fmla="*/ 118 w 214"/>
                <a:gd name="T17" fmla="*/ 21 h 320"/>
                <a:gd name="T18" fmla="*/ 192 w 214"/>
                <a:gd name="T19" fmla="*/ 96 h 320"/>
                <a:gd name="T20" fmla="*/ 203 w 214"/>
                <a:gd name="T21" fmla="*/ 106 h 320"/>
                <a:gd name="T22" fmla="*/ 214 w 214"/>
                <a:gd name="T23" fmla="*/ 96 h 320"/>
                <a:gd name="T24" fmla="*/ 118 w 214"/>
                <a:gd name="T25" fmla="*/ 0 h 320"/>
                <a:gd name="T26" fmla="*/ 22 w 214"/>
                <a:gd name="T27" fmla="*/ 96 h 320"/>
                <a:gd name="T28" fmla="*/ 40 w 214"/>
                <a:gd name="T29" fmla="*/ 149 h 320"/>
                <a:gd name="T30" fmla="*/ 11 w 214"/>
                <a:gd name="T31" fmla="*/ 149 h 320"/>
                <a:gd name="T32" fmla="*/ 0 w 214"/>
                <a:gd name="T33" fmla="*/ 160 h 320"/>
                <a:gd name="T34" fmla="*/ 11 w 214"/>
                <a:gd name="T35" fmla="*/ 170 h 320"/>
                <a:gd name="T36" fmla="*/ 59 w 214"/>
                <a:gd name="T37" fmla="*/ 170 h 320"/>
                <a:gd name="T38" fmla="*/ 18 w 214"/>
                <a:gd name="T39" fmla="*/ 296 h 320"/>
                <a:gd name="T40" fmla="*/ 13 w 214"/>
                <a:gd name="T41" fmla="*/ 303 h 320"/>
                <a:gd name="T42" fmla="*/ 12 w 214"/>
                <a:gd name="T43" fmla="*/ 314 h 320"/>
                <a:gd name="T44" fmla="*/ 22 w 214"/>
                <a:gd name="T45" fmla="*/ 320 h 320"/>
                <a:gd name="T46" fmla="*/ 203 w 214"/>
                <a:gd name="T47" fmla="*/ 320 h 320"/>
                <a:gd name="T48" fmla="*/ 214 w 214"/>
                <a:gd name="T49" fmla="*/ 309 h 320"/>
                <a:gd name="T50" fmla="*/ 203 w 214"/>
                <a:gd name="T5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4" h="320">
                  <a:moveTo>
                    <a:pt x="203" y="298"/>
                  </a:moveTo>
                  <a:cubicBezTo>
                    <a:pt x="43" y="298"/>
                    <a:pt x="43" y="298"/>
                    <a:pt x="43" y="298"/>
                  </a:cubicBezTo>
                  <a:cubicBezTo>
                    <a:pt x="65" y="270"/>
                    <a:pt x="100" y="216"/>
                    <a:pt x="82" y="170"/>
                  </a:cubicBezTo>
                  <a:cubicBezTo>
                    <a:pt x="139" y="170"/>
                    <a:pt x="139" y="170"/>
                    <a:pt x="139" y="170"/>
                  </a:cubicBezTo>
                  <a:cubicBezTo>
                    <a:pt x="145" y="170"/>
                    <a:pt x="150" y="166"/>
                    <a:pt x="150" y="160"/>
                  </a:cubicBezTo>
                  <a:cubicBezTo>
                    <a:pt x="150" y="154"/>
                    <a:pt x="145" y="149"/>
                    <a:pt x="139" y="149"/>
                  </a:cubicBezTo>
                  <a:cubicBezTo>
                    <a:pt x="69" y="149"/>
                    <a:pt x="69" y="149"/>
                    <a:pt x="69" y="149"/>
                  </a:cubicBezTo>
                  <a:cubicBezTo>
                    <a:pt x="52" y="134"/>
                    <a:pt x="43" y="114"/>
                    <a:pt x="43" y="96"/>
                  </a:cubicBezTo>
                  <a:cubicBezTo>
                    <a:pt x="43" y="54"/>
                    <a:pt x="76" y="21"/>
                    <a:pt x="118" y="21"/>
                  </a:cubicBezTo>
                  <a:cubicBezTo>
                    <a:pt x="159" y="21"/>
                    <a:pt x="192" y="54"/>
                    <a:pt x="192" y="96"/>
                  </a:cubicBezTo>
                  <a:cubicBezTo>
                    <a:pt x="192" y="102"/>
                    <a:pt x="197" y="106"/>
                    <a:pt x="203" y="106"/>
                  </a:cubicBezTo>
                  <a:cubicBezTo>
                    <a:pt x="209" y="106"/>
                    <a:pt x="214" y="102"/>
                    <a:pt x="214" y="96"/>
                  </a:cubicBezTo>
                  <a:cubicBezTo>
                    <a:pt x="214" y="43"/>
                    <a:pt x="171" y="0"/>
                    <a:pt x="118" y="0"/>
                  </a:cubicBezTo>
                  <a:cubicBezTo>
                    <a:pt x="65" y="0"/>
                    <a:pt x="22" y="43"/>
                    <a:pt x="22" y="96"/>
                  </a:cubicBezTo>
                  <a:cubicBezTo>
                    <a:pt x="22" y="114"/>
                    <a:pt x="28" y="133"/>
                    <a:pt x="40" y="149"/>
                  </a:cubicBezTo>
                  <a:cubicBezTo>
                    <a:pt x="11" y="149"/>
                    <a:pt x="11" y="149"/>
                    <a:pt x="11" y="149"/>
                  </a:cubicBezTo>
                  <a:cubicBezTo>
                    <a:pt x="5" y="149"/>
                    <a:pt x="0" y="154"/>
                    <a:pt x="0" y="160"/>
                  </a:cubicBezTo>
                  <a:cubicBezTo>
                    <a:pt x="0" y="166"/>
                    <a:pt x="5" y="170"/>
                    <a:pt x="11" y="170"/>
                  </a:cubicBezTo>
                  <a:cubicBezTo>
                    <a:pt x="59" y="170"/>
                    <a:pt x="59" y="170"/>
                    <a:pt x="59" y="170"/>
                  </a:cubicBezTo>
                  <a:cubicBezTo>
                    <a:pt x="76" y="198"/>
                    <a:pt x="62" y="241"/>
                    <a:pt x="18" y="296"/>
                  </a:cubicBezTo>
                  <a:cubicBezTo>
                    <a:pt x="15" y="300"/>
                    <a:pt x="14" y="302"/>
                    <a:pt x="13" y="303"/>
                  </a:cubicBezTo>
                  <a:cubicBezTo>
                    <a:pt x="11" y="306"/>
                    <a:pt x="10" y="311"/>
                    <a:pt x="12" y="314"/>
                  </a:cubicBezTo>
                  <a:cubicBezTo>
                    <a:pt x="14" y="318"/>
                    <a:pt x="18" y="320"/>
                    <a:pt x="22" y="320"/>
                  </a:cubicBezTo>
                  <a:cubicBezTo>
                    <a:pt x="203" y="320"/>
                    <a:pt x="203" y="320"/>
                    <a:pt x="203" y="320"/>
                  </a:cubicBezTo>
                  <a:cubicBezTo>
                    <a:pt x="209" y="320"/>
                    <a:pt x="214" y="315"/>
                    <a:pt x="214" y="309"/>
                  </a:cubicBezTo>
                  <a:cubicBezTo>
                    <a:pt x="214" y="303"/>
                    <a:pt x="209" y="298"/>
                    <a:pt x="203"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425"/>
            <p:cNvSpPr>
              <a:spLocks noEditPoints="1"/>
            </p:cNvSpPr>
            <p:nvPr/>
          </p:nvSpPr>
          <p:spPr bwMode="auto">
            <a:xfrm>
              <a:off x="4263" y="15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5" name="Group 935"/>
          <p:cNvGrpSpPr>
            <a:grpSpLocks noChangeAspect="1"/>
          </p:cNvGrpSpPr>
          <p:nvPr/>
        </p:nvGrpSpPr>
        <p:grpSpPr bwMode="auto">
          <a:xfrm>
            <a:off x="8178977" y="2828956"/>
            <a:ext cx="612538" cy="612538"/>
            <a:chOff x="418" y="3436"/>
            <a:chExt cx="340" cy="340"/>
          </a:xfrm>
          <a:solidFill>
            <a:schemeClr val="bg1"/>
          </a:solidFill>
        </p:grpSpPr>
        <p:sp>
          <p:nvSpPr>
            <p:cNvPr id="96" name="Freeform 95"/>
            <p:cNvSpPr>
              <a:spLocks/>
            </p:cNvSpPr>
            <p:nvPr/>
          </p:nvSpPr>
          <p:spPr bwMode="auto">
            <a:xfrm>
              <a:off x="509" y="3513"/>
              <a:ext cx="157" cy="199"/>
            </a:xfrm>
            <a:custGeom>
              <a:avLst/>
              <a:gdLst>
                <a:gd name="T0" fmla="*/ 225 w 237"/>
                <a:gd name="T1" fmla="*/ 140 h 300"/>
                <a:gd name="T2" fmla="*/ 133 w 237"/>
                <a:gd name="T3" fmla="*/ 140 h 300"/>
                <a:gd name="T4" fmla="*/ 234 w 237"/>
                <a:gd name="T5" fmla="*/ 18 h 300"/>
                <a:gd name="T6" fmla="*/ 232 w 237"/>
                <a:gd name="T7" fmla="*/ 3 h 300"/>
                <a:gd name="T8" fmla="*/ 217 w 237"/>
                <a:gd name="T9" fmla="*/ 5 h 300"/>
                <a:gd name="T10" fmla="*/ 119 w 237"/>
                <a:gd name="T11" fmla="*/ 123 h 300"/>
                <a:gd name="T12" fmla="*/ 20 w 237"/>
                <a:gd name="T13" fmla="*/ 5 h 300"/>
                <a:gd name="T14" fmla="*/ 5 w 237"/>
                <a:gd name="T15" fmla="*/ 3 h 300"/>
                <a:gd name="T16" fmla="*/ 4 w 237"/>
                <a:gd name="T17" fmla="*/ 18 h 300"/>
                <a:gd name="T18" fmla="*/ 105 w 237"/>
                <a:gd name="T19" fmla="*/ 140 h 300"/>
                <a:gd name="T20" fmla="*/ 12 w 237"/>
                <a:gd name="T21" fmla="*/ 140 h 300"/>
                <a:gd name="T22" fmla="*/ 1 w 237"/>
                <a:gd name="T23" fmla="*/ 150 h 300"/>
                <a:gd name="T24" fmla="*/ 12 w 237"/>
                <a:gd name="T25" fmla="*/ 161 h 300"/>
                <a:gd name="T26" fmla="*/ 108 w 237"/>
                <a:gd name="T27" fmla="*/ 161 h 300"/>
                <a:gd name="T28" fmla="*/ 108 w 237"/>
                <a:gd name="T29" fmla="*/ 289 h 300"/>
                <a:gd name="T30" fmla="*/ 119 w 237"/>
                <a:gd name="T31" fmla="*/ 300 h 300"/>
                <a:gd name="T32" fmla="*/ 129 w 237"/>
                <a:gd name="T33" fmla="*/ 289 h 300"/>
                <a:gd name="T34" fmla="*/ 129 w 237"/>
                <a:gd name="T35" fmla="*/ 161 h 300"/>
                <a:gd name="T36" fmla="*/ 225 w 237"/>
                <a:gd name="T37" fmla="*/ 161 h 300"/>
                <a:gd name="T38" fmla="*/ 236 w 237"/>
                <a:gd name="T39" fmla="*/ 150 h 300"/>
                <a:gd name="T40" fmla="*/ 225 w 237"/>
                <a:gd name="T41" fmla="*/ 14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 h="300">
                  <a:moveTo>
                    <a:pt x="225" y="140"/>
                  </a:moveTo>
                  <a:cubicBezTo>
                    <a:pt x="133" y="140"/>
                    <a:pt x="133" y="140"/>
                    <a:pt x="133" y="140"/>
                  </a:cubicBezTo>
                  <a:cubicBezTo>
                    <a:pt x="234" y="18"/>
                    <a:pt x="234" y="18"/>
                    <a:pt x="234" y="18"/>
                  </a:cubicBezTo>
                  <a:cubicBezTo>
                    <a:pt x="237" y="14"/>
                    <a:pt x="237" y="7"/>
                    <a:pt x="232" y="3"/>
                  </a:cubicBezTo>
                  <a:cubicBezTo>
                    <a:pt x="228" y="0"/>
                    <a:pt x="221" y="0"/>
                    <a:pt x="217" y="5"/>
                  </a:cubicBezTo>
                  <a:cubicBezTo>
                    <a:pt x="119" y="123"/>
                    <a:pt x="119" y="123"/>
                    <a:pt x="119" y="123"/>
                  </a:cubicBezTo>
                  <a:cubicBezTo>
                    <a:pt x="20" y="5"/>
                    <a:pt x="20" y="5"/>
                    <a:pt x="20" y="5"/>
                  </a:cubicBezTo>
                  <a:cubicBezTo>
                    <a:pt x="16" y="0"/>
                    <a:pt x="10" y="0"/>
                    <a:pt x="5" y="3"/>
                  </a:cubicBezTo>
                  <a:cubicBezTo>
                    <a:pt x="1" y="7"/>
                    <a:pt x="0" y="14"/>
                    <a:pt x="4" y="18"/>
                  </a:cubicBezTo>
                  <a:cubicBezTo>
                    <a:pt x="105" y="140"/>
                    <a:pt x="105" y="140"/>
                    <a:pt x="105" y="140"/>
                  </a:cubicBezTo>
                  <a:cubicBezTo>
                    <a:pt x="12" y="140"/>
                    <a:pt x="12" y="140"/>
                    <a:pt x="12" y="140"/>
                  </a:cubicBezTo>
                  <a:cubicBezTo>
                    <a:pt x="6" y="140"/>
                    <a:pt x="1" y="144"/>
                    <a:pt x="1" y="150"/>
                  </a:cubicBezTo>
                  <a:cubicBezTo>
                    <a:pt x="1" y="156"/>
                    <a:pt x="6" y="161"/>
                    <a:pt x="12" y="161"/>
                  </a:cubicBezTo>
                  <a:cubicBezTo>
                    <a:pt x="108" y="161"/>
                    <a:pt x="108" y="161"/>
                    <a:pt x="108" y="161"/>
                  </a:cubicBezTo>
                  <a:cubicBezTo>
                    <a:pt x="108" y="289"/>
                    <a:pt x="108" y="289"/>
                    <a:pt x="108" y="289"/>
                  </a:cubicBezTo>
                  <a:cubicBezTo>
                    <a:pt x="108" y="295"/>
                    <a:pt x="113" y="300"/>
                    <a:pt x="119" y="300"/>
                  </a:cubicBezTo>
                  <a:cubicBezTo>
                    <a:pt x="125" y="300"/>
                    <a:pt x="129" y="295"/>
                    <a:pt x="129" y="289"/>
                  </a:cubicBezTo>
                  <a:cubicBezTo>
                    <a:pt x="129" y="161"/>
                    <a:pt x="129" y="161"/>
                    <a:pt x="129" y="161"/>
                  </a:cubicBezTo>
                  <a:cubicBezTo>
                    <a:pt x="225" y="161"/>
                    <a:pt x="225" y="161"/>
                    <a:pt x="225" y="161"/>
                  </a:cubicBezTo>
                  <a:cubicBezTo>
                    <a:pt x="231" y="161"/>
                    <a:pt x="236" y="156"/>
                    <a:pt x="236" y="150"/>
                  </a:cubicBezTo>
                  <a:cubicBezTo>
                    <a:pt x="236" y="144"/>
                    <a:pt x="231" y="140"/>
                    <a:pt x="22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96"/>
            <p:cNvSpPr>
              <a:spLocks noEditPoints="1"/>
            </p:cNvSpPr>
            <p:nvPr/>
          </p:nvSpPr>
          <p:spPr bwMode="auto">
            <a:xfrm>
              <a:off x="418" y="343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8" name="Group 345"/>
          <p:cNvGrpSpPr>
            <a:grpSpLocks noChangeAspect="1"/>
          </p:cNvGrpSpPr>
          <p:nvPr/>
        </p:nvGrpSpPr>
        <p:grpSpPr bwMode="auto">
          <a:xfrm>
            <a:off x="3503092" y="1567822"/>
            <a:ext cx="611454" cy="611450"/>
            <a:chOff x="3451" y="1171"/>
            <a:chExt cx="340" cy="340"/>
          </a:xfrm>
          <a:solidFill>
            <a:schemeClr val="bg1"/>
          </a:solidFill>
        </p:grpSpPr>
        <p:sp>
          <p:nvSpPr>
            <p:cNvPr id="99"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1" name="Group 380"/>
          <p:cNvGrpSpPr>
            <a:grpSpLocks noChangeAspect="1"/>
          </p:cNvGrpSpPr>
          <p:nvPr/>
        </p:nvGrpSpPr>
        <p:grpSpPr bwMode="auto">
          <a:xfrm>
            <a:off x="3503092" y="4212546"/>
            <a:ext cx="609150" cy="609146"/>
            <a:chOff x="7362" y="1207"/>
            <a:chExt cx="340" cy="340"/>
          </a:xfrm>
          <a:solidFill>
            <a:schemeClr val="bg1"/>
          </a:solidFill>
        </p:grpSpPr>
        <p:sp>
          <p:nvSpPr>
            <p:cNvPr id="102" name="Freeform 381"/>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382"/>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35231624"/>
      </p:ext>
    </p:extLst>
  </p:cSld>
  <p:clrMapOvr>
    <a:masterClrMapping/>
  </p:clrMapOvr>
  <p:transition>
    <p:fade/>
  </p:transition>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Integrated triangles and supportive text</a:t>
            </a:r>
            <a:endParaRPr lang="en-US" dirty="0"/>
          </a:p>
        </p:txBody>
      </p:sp>
      <p:grpSp>
        <p:nvGrpSpPr>
          <p:cNvPr id="104" name="Group 103"/>
          <p:cNvGrpSpPr/>
          <p:nvPr/>
        </p:nvGrpSpPr>
        <p:grpSpPr>
          <a:xfrm>
            <a:off x="3565486" y="1343910"/>
            <a:ext cx="3405787" cy="3092192"/>
            <a:chOff x="2545080" y="892802"/>
            <a:chExt cx="3405787" cy="3092192"/>
          </a:xfrm>
        </p:grpSpPr>
        <p:sp>
          <p:nvSpPr>
            <p:cNvPr id="105" name="Rectangle 7"/>
            <p:cNvSpPr/>
            <p:nvPr/>
          </p:nvSpPr>
          <p:spPr>
            <a:xfrm rot="3173193">
              <a:off x="3380815" y="211200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06" name="Rectangle 9"/>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07" name="Rectangle 5"/>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08" name="Rectangle 7"/>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109" name="Rectangle 7"/>
          <p:cNvSpPr/>
          <p:nvPr/>
        </p:nvSpPr>
        <p:spPr>
          <a:xfrm rot="18426807" flipV="1">
            <a:off x="5673501" y="4434831"/>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0" name="Rectangle 9"/>
          <p:cNvSpPr/>
          <p:nvPr/>
        </p:nvSpPr>
        <p:spPr>
          <a:xfrm rot="3610536" flipV="1">
            <a:off x="4490488" y="4411064"/>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1" name="Rectangle 5"/>
          <p:cNvSpPr/>
          <p:nvPr/>
        </p:nvSpPr>
        <p:spPr>
          <a:xfrm flipV="1">
            <a:off x="4837768" y="320451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2" name="Rectangle 7"/>
          <p:cNvSpPr/>
          <p:nvPr/>
        </p:nvSpPr>
        <p:spPr>
          <a:xfrm rot="18426807" flipV="1">
            <a:off x="7583136" y="3215057"/>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3" name="Rectangle 5"/>
          <p:cNvSpPr/>
          <p:nvPr/>
        </p:nvSpPr>
        <p:spPr>
          <a:xfrm>
            <a:off x="4117446" y="3788670"/>
            <a:ext cx="1828800"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4" name="Half Frame 113"/>
          <p:cNvSpPr/>
          <p:nvPr/>
        </p:nvSpPr>
        <p:spPr>
          <a:xfrm rot="8142470">
            <a:off x="6462885" y="2372448"/>
            <a:ext cx="234950"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115" name="TextBox 114"/>
          <p:cNvSpPr txBox="1"/>
          <p:nvPr/>
        </p:nvSpPr>
        <p:spPr>
          <a:xfrm>
            <a:off x="5997804" y="2233948"/>
            <a:ext cx="631825" cy="565146"/>
          </a:xfrm>
          <a:prstGeom prst="rect">
            <a:avLst/>
          </a:prstGeom>
          <a:noFill/>
        </p:spPr>
        <p:txBody>
          <a:bodyPr wrap="square" lIns="36000" tIns="36000" rIns="36000" bIns="36000" rtlCol="0">
            <a:spAutoFit/>
          </a:bodyPr>
          <a:lstStyle/>
          <a:p>
            <a:r>
              <a:rPr lang="en-US" sz="3200">
                <a:solidFill>
                  <a:schemeClr val="accent3"/>
                </a:solidFill>
              </a:rPr>
              <a:t>01</a:t>
            </a:r>
          </a:p>
        </p:txBody>
      </p:sp>
      <p:sp>
        <p:nvSpPr>
          <p:cNvPr id="116" name="TextBox 115"/>
          <p:cNvSpPr txBox="1"/>
          <p:nvPr/>
        </p:nvSpPr>
        <p:spPr>
          <a:xfrm>
            <a:off x="6011758" y="2057858"/>
            <a:ext cx="901700" cy="257369"/>
          </a:xfrm>
          <a:prstGeom prst="rect">
            <a:avLst/>
          </a:prstGeom>
          <a:noFill/>
        </p:spPr>
        <p:txBody>
          <a:bodyPr wrap="square" lIns="36000" tIns="36000" rIns="36000" bIns="36000" rtlCol="0">
            <a:spAutoFit/>
          </a:bodyPr>
          <a:lstStyle/>
          <a:p>
            <a:r>
              <a:rPr lang="en-US" sz="1200" b="1" dirty="0">
                <a:solidFill>
                  <a:schemeClr val="accent3"/>
                </a:solidFill>
              </a:rPr>
              <a:t>Options</a:t>
            </a:r>
          </a:p>
        </p:txBody>
      </p:sp>
      <p:sp>
        <p:nvSpPr>
          <p:cNvPr id="117" name="Rectangle 116"/>
          <p:cNvSpPr/>
          <p:nvPr/>
        </p:nvSpPr>
        <p:spPr>
          <a:xfrm>
            <a:off x="6928957" y="2287379"/>
            <a:ext cx="2283731" cy="615553"/>
          </a:xfrm>
          <a:prstGeom prst="rect">
            <a:avLst/>
          </a:prstGeom>
        </p:spPr>
        <p:txBody>
          <a:bodyPr wrap="square" lIns="0" tIns="0" rIns="0" bIns="0">
            <a:spAutoFit/>
          </a:bodyPr>
          <a:lstStyle/>
          <a:p>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dolor </a:t>
            </a:r>
            <a:br>
              <a:rPr lang="en-US" sz="1000" dirty="0">
                <a:solidFill>
                  <a:schemeClr val="accent3"/>
                </a:solidFill>
              </a:rPr>
            </a:br>
            <a:r>
              <a:rPr lang="en-US" sz="1000" dirty="0">
                <a:solidFill>
                  <a:schemeClr val="accent3"/>
                </a:solidFill>
              </a:rPr>
              <a:t>This is dummy text it is not here to be read. This is dummy text it is not here to be read. This is dummy text it is not here to be read. </a:t>
            </a:r>
          </a:p>
        </p:txBody>
      </p:sp>
      <p:sp>
        <p:nvSpPr>
          <p:cNvPr id="118" name="Half Frame 117"/>
          <p:cNvSpPr/>
          <p:nvPr/>
        </p:nvSpPr>
        <p:spPr>
          <a:xfrm rot="8142470">
            <a:off x="4332608" y="4575855"/>
            <a:ext cx="234950" cy="288147"/>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accent2"/>
              </a:solidFill>
            </a:endParaRPr>
          </a:p>
        </p:txBody>
      </p:sp>
      <p:sp>
        <p:nvSpPr>
          <p:cNvPr id="119" name="TextBox 118"/>
          <p:cNvSpPr txBox="1"/>
          <p:nvPr/>
        </p:nvSpPr>
        <p:spPr>
          <a:xfrm>
            <a:off x="3867527" y="4437355"/>
            <a:ext cx="631825" cy="565146"/>
          </a:xfrm>
          <a:prstGeom prst="rect">
            <a:avLst/>
          </a:prstGeom>
          <a:noFill/>
        </p:spPr>
        <p:txBody>
          <a:bodyPr wrap="square" lIns="36000" tIns="36000" rIns="36000" bIns="36000" rtlCol="0">
            <a:spAutoFit/>
          </a:bodyPr>
          <a:lstStyle/>
          <a:p>
            <a:r>
              <a:rPr lang="en-US" sz="3200" dirty="0">
                <a:solidFill>
                  <a:schemeClr val="accent2"/>
                </a:solidFill>
              </a:rPr>
              <a:t>01</a:t>
            </a:r>
          </a:p>
        </p:txBody>
      </p:sp>
      <p:sp>
        <p:nvSpPr>
          <p:cNvPr id="120" name="TextBox 119"/>
          <p:cNvSpPr txBox="1"/>
          <p:nvPr/>
        </p:nvSpPr>
        <p:spPr>
          <a:xfrm>
            <a:off x="3910997" y="4260036"/>
            <a:ext cx="901700" cy="257369"/>
          </a:xfrm>
          <a:prstGeom prst="rect">
            <a:avLst/>
          </a:prstGeom>
          <a:noFill/>
        </p:spPr>
        <p:txBody>
          <a:bodyPr wrap="square" lIns="36000" tIns="36000" rIns="36000" bIns="36000" rtlCol="0">
            <a:spAutoFit/>
          </a:bodyPr>
          <a:lstStyle/>
          <a:p>
            <a:r>
              <a:rPr lang="en-US" sz="1200" b="1" dirty="0">
                <a:solidFill>
                  <a:schemeClr val="accent2"/>
                </a:solidFill>
              </a:rPr>
              <a:t>Options</a:t>
            </a:r>
          </a:p>
        </p:txBody>
      </p:sp>
      <p:sp>
        <p:nvSpPr>
          <p:cNvPr id="121" name="Rectangle 120"/>
          <p:cNvSpPr/>
          <p:nvPr/>
        </p:nvSpPr>
        <p:spPr>
          <a:xfrm>
            <a:off x="4061139" y="5007500"/>
            <a:ext cx="1764406" cy="615553"/>
          </a:xfrm>
          <a:prstGeom prst="rect">
            <a:avLst/>
          </a:prstGeom>
        </p:spPr>
        <p:txBody>
          <a:bodyPr wrap="square" lIns="0" tIns="0" rIns="0" bIns="0">
            <a:spAutoFit/>
          </a:bodyPr>
          <a:lstStyle/>
          <a:p>
            <a:r>
              <a:rPr lang="en-US" sz="1000" b="1" dirty="0" err="1">
                <a:solidFill>
                  <a:schemeClr val="accent2"/>
                </a:solidFill>
              </a:rPr>
              <a:t>Lorem</a:t>
            </a:r>
            <a:r>
              <a:rPr lang="en-US" sz="1000" b="1" dirty="0">
                <a:solidFill>
                  <a:schemeClr val="accent2"/>
                </a:solidFill>
              </a:rPr>
              <a:t> </a:t>
            </a:r>
            <a:r>
              <a:rPr lang="en-US" sz="1000" b="1" dirty="0" err="1">
                <a:solidFill>
                  <a:schemeClr val="accent2"/>
                </a:solidFill>
              </a:rPr>
              <a:t>ipsum</a:t>
            </a:r>
            <a:r>
              <a:rPr lang="en-US" sz="1000" b="1" dirty="0">
                <a:solidFill>
                  <a:schemeClr val="accent2"/>
                </a:solidFill>
              </a:rPr>
              <a:t> dolor</a:t>
            </a:r>
            <a:br>
              <a:rPr lang="en-US" sz="1000" dirty="0">
                <a:solidFill>
                  <a:schemeClr val="accent2"/>
                </a:solidFill>
              </a:rPr>
            </a:br>
            <a:r>
              <a:rPr lang="en-US" sz="1000" dirty="0">
                <a:solidFill>
                  <a:schemeClr val="accent2"/>
                </a:solidFill>
              </a:rPr>
              <a:t>This is dummy text it is not here to be read. This is dummy text it is not here to be read. </a:t>
            </a:r>
          </a:p>
        </p:txBody>
      </p:sp>
      <p:sp>
        <p:nvSpPr>
          <p:cNvPr id="122" name="Rectangle 121"/>
          <p:cNvSpPr/>
          <p:nvPr/>
        </p:nvSpPr>
        <p:spPr>
          <a:xfrm rot="18000619">
            <a:off x="3526169" y="2572229"/>
            <a:ext cx="2251858" cy="307777"/>
          </a:xfrm>
          <a:prstGeom prst="rect">
            <a:avLst/>
          </a:prstGeom>
        </p:spPr>
        <p:txBody>
          <a:bodyPr wrap="square" lIns="0" tIns="0" rIns="0" bIns="0">
            <a:spAutoFit/>
          </a:bodyPr>
          <a:lstStyle/>
          <a:p>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r>
              <a:rPr lang="en-US" sz="1000" b="1" dirty="0">
                <a:solidFill>
                  <a:schemeClr val="bg1"/>
                </a:solidFill>
              </a:rPr>
              <a:t> dolor </a:t>
            </a:r>
            <a:br>
              <a:rPr lang="en-US" sz="1000" dirty="0">
                <a:solidFill>
                  <a:schemeClr val="bg1"/>
                </a:solidFill>
              </a:rPr>
            </a:br>
            <a:r>
              <a:rPr lang="en-US" sz="1000" dirty="0">
                <a:solidFill>
                  <a:schemeClr val="bg1"/>
                </a:solidFill>
              </a:rPr>
              <a:t>This is dummy text not to be read</a:t>
            </a:r>
          </a:p>
        </p:txBody>
      </p:sp>
      <p:sp>
        <p:nvSpPr>
          <p:cNvPr id="123" name="Rectangle 122"/>
          <p:cNvSpPr/>
          <p:nvPr/>
        </p:nvSpPr>
        <p:spPr>
          <a:xfrm>
            <a:off x="5189950" y="3255994"/>
            <a:ext cx="2452161" cy="307777"/>
          </a:xfrm>
          <a:prstGeom prst="rect">
            <a:avLst/>
          </a:prstGeom>
        </p:spPr>
        <p:txBody>
          <a:bodyPr wrap="square" lIns="0" tIns="0" rIns="0" bIns="0">
            <a:spAutoFit/>
          </a:bodyPr>
          <a:lstStyle/>
          <a:p>
            <a:r>
              <a:rPr lang="en-US" sz="1000" b="1" dirty="0">
                <a:solidFill>
                  <a:schemeClr val="bg1"/>
                </a:solidFill>
              </a:rPr>
              <a:t>Lorem ipsum dolor </a:t>
            </a:r>
            <a:br>
              <a:rPr lang="en-US" sz="1000" dirty="0">
                <a:solidFill>
                  <a:schemeClr val="bg1"/>
                </a:solidFill>
              </a:rPr>
            </a:br>
            <a:r>
              <a:rPr lang="en-US" sz="1000" dirty="0">
                <a:solidFill>
                  <a:schemeClr val="bg1"/>
                </a:solidFill>
              </a:rPr>
              <a:t>This is dummy text</a:t>
            </a:r>
          </a:p>
        </p:txBody>
      </p:sp>
      <p:grpSp>
        <p:nvGrpSpPr>
          <p:cNvPr id="126" name="Group 351"/>
          <p:cNvGrpSpPr>
            <a:grpSpLocks noChangeAspect="1"/>
          </p:cNvGrpSpPr>
          <p:nvPr/>
        </p:nvGrpSpPr>
        <p:grpSpPr bwMode="auto">
          <a:xfrm>
            <a:off x="4789909" y="4334308"/>
            <a:ext cx="612486" cy="614286"/>
            <a:chOff x="2717" y="1172"/>
            <a:chExt cx="340" cy="341"/>
          </a:xfrm>
          <a:solidFill>
            <a:schemeClr val="accent2"/>
          </a:solidFill>
        </p:grpSpPr>
        <p:sp>
          <p:nvSpPr>
            <p:cNvPr id="127" name="Freeform 352"/>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353"/>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9" name="Group 336"/>
          <p:cNvGrpSpPr>
            <a:grpSpLocks noChangeAspect="1"/>
          </p:cNvGrpSpPr>
          <p:nvPr/>
        </p:nvGrpSpPr>
        <p:grpSpPr bwMode="auto">
          <a:xfrm>
            <a:off x="6938116" y="1642220"/>
            <a:ext cx="613198" cy="611398"/>
            <a:chOff x="4262" y="1204"/>
            <a:chExt cx="341" cy="340"/>
          </a:xfrm>
          <a:solidFill>
            <a:schemeClr val="accent3"/>
          </a:solidFill>
        </p:grpSpPr>
        <p:sp>
          <p:nvSpPr>
            <p:cNvPr id="130" name="Freeform 337"/>
            <p:cNvSpPr>
              <a:spLocks noEditPoints="1"/>
            </p:cNvSpPr>
            <p:nvPr/>
          </p:nvSpPr>
          <p:spPr bwMode="auto">
            <a:xfrm>
              <a:off x="4262" y="12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338"/>
            <p:cNvSpPr>
              <a:spLocks noEditPoints="1"/>
            </p:cNvSpPr>
            <p:nvPr/>
          </p:nvSpPr>
          <p:spPr bwMode="auto">
            <a:xfrm>
              <a:off x="4354" y="1268"/>
              <a:ext cx="156" cy="212"/>
            </a:xfrm>
            <a:custGeom>
              <a:avLst/>
              <a:gdLst>
                <a:gd name="T0" fmla="*/ 182 w 235"/>
                <a:gd name="T1" fmla="*/ 85 h 320"/>
                <a:gd name="T2" fmla="*/ 203 w 235"/>
                <a:gd name="T3" fmla="*/ 64 h 320"/>
                <a:gd name="T4" fmla="*/ 214 w 235"/>
                <a:gd name="T5" fmla="*/ 32 h 320"/>
                <a:gd name="T6" fmla="*/ 43 w 235"/>
                <a:gd name="T7" fmla="*/ 0 h 320"/>
                <a:gd name="T8" fmla="*/ 22 w 235"/>
                <a:gd name="T9" fmla="*/ 53 h 320"/>
                <a:gd name="T10" fmla="*/ 54 w 235"/>
                <a:gd name="T11" fmla="*/ 64 h 320"/>
                <a:gd name="T12" fmla="*/ 32 w 235"/>
                <a:gd name="T13" fmla="*/ 85 h 320"/>
                <a:gd name="T14" fmla="*/ 0 w 235"/>
                <a:gd name="T15" fmla="*/ 288 h 320"/>
                <a:gd name="T16" fmla="*/ 203 w 235"/>
                <a:gd name="T17" fmla="*/ 320 h 320"/>
                <a:gd name="T18" fmla="*/ 235 w 235"/>
                <a:gd name="T19" fmla="*/ 117 h 320"/>
                <a:gd name="T20" fmla="*/ 191 w 235"/>
                <a:gd name="T21" fmla="*/ 21 h 320"/>
                <a:gd name="T22" fmla="*/ 192 w 235"/>
                <a:gd name="T23" fmla="*/ 42 h 320"/>
                <a:gd name="T24" fmla="*/ 171 w 235"/>
                <a:gd name="T25" fmla="*/ 21 h 320"/>
                <a:gd name="T26" fmla="*/ 150 w 235"/>
                <a:gd name="T27" fmla="*/ 21 h 320"/>
                <a:gd name="T28" fmla="*/ 128 w 235"/>
                <a:gd name="T29" fmla="*/ 42 h 320"/>
                <a:gd name="T30" fmla="*/ 150 w 235"/>
                <a:gd name="T31" fmla="*/ 21 h 320"/>
                <a:gd name="T32" fmla="*/ 107 w 235"/>
                <a:gd name="T33" fmla="*/ 42 h 320"/>
                <a:gd name="T34" fmla="*/ 86 w 235"/>
                <a:gd name="T35" fmla="*/ 21 h 320"/>
                <a:gd name="T36" fmla="*/ 43 w 235"/>
                <a:gd name="T37" fmla="*/ 42 h 320"/>
                <a:gd name="T38" fmla="*/ 44 w 235"/>
                <a:gd name="T39" fmla="*/ 21 h 320"/>
                <a:gd name="T40" fmla="*/ 64 w 235"/>
                <a:gd name="T41" fmla="*/ 42 h 320"/>
                <a:gd name="T42" fmla="*/ 75 w 235"/>
                <a:gd name="T43" fmla="*/ 64 h 320"/>
                <a:gd name="T44" fmla="*/ 160 w 235"/>
                <a:gd name="T45" fmla="*/ 85 h 320"/>
                <a:gd name="T46" fmla="*/ 75 w 235"/>
                <a:gd name="T47" fmla="*/ 64 h 320"/>
                <a:gd name="T48" fmla="*/ 203 w 235"/>
                <a:gd name="T49" fmla="*/ 298 h 320"/>
                <a:gd name="T50" fmla="*/ 22 w 235"/>
                <a:gd name="T51" fmla="*/ 288 h 320"/>
                <a:gd name="T52" fmla="*/ 32 w 235"/>
                <a:gd name="T53" fmla="*/ 106 h 320"/>
                <a:gd name="T54" fmla="*/ 214 w 235"/>
                <a:gd name="T55" fmla="*/ 117 h 320"/>
                <a:gd name="T56" fmla="*/ 182 w 235"/>
                <a:gd name="T57" fmla="*/ 202 h 320"/>
                <a:gd name="T58" fmla="*/ 128 w 235"/>
                <a:gd name="T59" fmla="*/ 213 h 320"/>
                <a:gd name="T60" fmla="*/ 118 w 235"/>
                <a:gd name="T61" fmla="*/ 266 h 320"/>
                <a:gd name="T62" fmla="*/ 107 w 235"/>
                <a:gd name="T63" fmla="*/ 213 h 320"/>
                <a:gd name="T64" fmla="*/ 54 w 235"/>
                <a:gd name="T65" fmla="*/ 202 h 320"/>
                <a:gd name="T66" fmla="*/ 107 w 235"/>
                <a:gd name="T67" fmla="*/ 192 h 320"/>
                <a:gd name="T68" fmla="*/ 118 w 235"/>
                <a:gd name="T69" fmla="*/ 138 h 320"/>
                <a:gd name="T70" fmla="*/ 128 w 235"/>
                <a:gd name="T71" fmla="*/ 192 h 320"/>
                <a:gd name="T72" fmla="*/ 182 w 235"/>
                <a:gd name="T73" fmla="*/ 2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320">
                  <a:moveTo>
                    <a:pt x="203" y="85"/>
                  </a:moveTo>
                  <a:cubicBezTo>
                    <a:pt x="182" y="85"/>
                    <a:pt x="182" y="85"/>
                    <a:pt x="182" y="85"/>
                  </a:cubicBezTo>
                  <a:cubicBezTo>
                    <a:pt x="182" y="64"/>
                    <a:pt x="182" y="64"/>
                    <a:pt x="182" y="64"/>
                  </a:cubicBezTo>
                  <a:cubicBezTo>
                    <a:pt x="203" y="64"/>
                    <a:pt x="203" y="64"/>
                    <a:pt x="203" y="64"/>
                  </a:cubicBezTo>
                  <a:cubicBezTo>
                    <a:pt x="209" y="64"/>
                    <a:pt x="214" y="59"/>
                    <a:pt x="214" y="53"/>
                  </a:cubicBezTo>
                  <a:cubicBezTo>
                    <a:pt x="214" y="32"/>
                    <a:pt x="214" y="32"/>
                    <a:pt x="214" y="32"/>
                  </a:cubicBezTo>
                  <a:cubicBezTo>
                    <a:pt x="214" y="10"/>
                    <a:pt x="206" y="0"/>
                    <a:pt x="192" y="0"/>
                  </a:cubicBezTo>
                  <a:cubicBezTo>
                    <a:pt x="43" y="0"/>
                    <a:pt x="43" y="0"/>
                    <a:pt x="43" y="0"/>
                  </a:cubicBezTo>
                  <a:cubicBezTo>
                    <a:pt x="29" y="0"/>
                    <a:pt x="22" y="10"/>
                    <a:pt x="22" y="32"/>
                  </a:cubicBezTo>
                  <a:cubicBezTo>
                    <a:pt x="22" y="53"/>
                    <a:pt x="22" y="53"/>
                    <a:pt x="22" y="53"/>
                  </a:cubicBezTo>
                  <a:cubicBezTo>
                    <a:pt x="22" y="59"/>
                    <a:pt x="26" y="64"/>
                    <a:pt x="32" y="64"/>
                  </a:cubicBezTo>
                  <a:cubicBezTo>
                    <a:pt x="54" y="64"/>
                    <a:pt x="54" y="64"/>
                    <a:pt x="54" y="64"/>
                  </a:cubicBezTo>
                  <a:cubicBezTo>
                    <a:pt x="54" y="85"/>
                    <a:pt x="54" y="85"/>
                    <a:pt x="54" y="85"/>
                  </a:cubicBezTo>
                  <a:cubicBezTo>
                    <a:pt x="32" y="85"/>
                    <a:pt x="32" y="85"/>
                    <a:pt x="32" y="85"/>
                  </a:cubicBezTo>
                  <a:cubicBezTo>
                    <a:pt x="15" y="85"/>
                    <a:pt x="0" y="99"/>
                    <a:pt x="0" y="117"/>
                  </a:cubicBezTo>
                  <a:cubicBezTo>
                    <a:pt x="0" y="288"/>
                    <a:pt x="0" y="288"/>
                    <a:pt x="0" y="288"/>
                  </a:cubicBezTo>
                  <a:cubicBezTo>
                    <a:pt x="0" y="305"/>
                    <a:pt x="15" y="320"/>
                    <a:pt x="32" y="320"/>
                  </a:cubicBezTo>
                  <a:cubicBezTo>
                    <a:pt x="203" y="320"/>
                    <a:pt x="203" y="320"/>
                    <a:pt x="203" y="320"/>
                  </a:cubicBezTo>
                  <a:cubicBezTo>
                    <a:pt x="221" y="320"/>
                    <a:pt x="235" y="305"/>
                    <a:pt x="235" y="288"/>
                  </a:cubicBezTo>
                  <a:cubicBezTo>
                    <a:pt x="235" y="117"/>
                    <a:pt x="235" y="117"/>
                    <a:pt x="235" y="117"/>
                  </a:cubicBezTo>
                  <a:cubicBezTo>
                    <a:pt x="235" y="99"/>
                    <a:pt x="221" y="85"/>
                    <a:pt x="203" y="85"/>
                  </a:cubicBezTo>
                  <a:close/>
                  <a:moveTo>
                    <a:pt x="191" y="21"/>
                  </a:moveTo>
                  <a:cubicBezTo>
                    <a:pt x="192" y="22"/>
                    <a:pt x="192" y="25"/>
                    <a:pt x="192" y="32"/>
                  </a:cubicBezTo>
                  <a:cubicBezTo>
                    <a:pt x="192" y="42"/>
                    <a:pt x="192" y="42"/>
                    <a:pt x="192" y="42"/>
                  </a:cubicBezTo>
                  <a:cubicBezTo>
                    <a:pt x="171" y="42"/>
                    <a:pt x="171" y="42"/>
                    <a:pt x="171" y="42"/>
                  </a:cubicBezTo>
                  <a:cubicBezTo>
                    <a:pt x="171" y="21"/>
                    <a:pt x="171" y="21"/>
                    <a:pt x="171" y="21"/>
                  </a:cubicBezTo>
                  <a:lnTo>
                    <a:pt x="191" y="21"/>
                  </a:lnTo>
                  <a:close/>
                  <a:moveTo>
                    <a:pt x="150" y="21"/>
                  </a:moveTo>
                  <a:cubicBezTo>
                    <a:pt x="150" y="42"/>
                    <a:pt x="150" y="42"/>
                    <a:pt x="150" y="42"/>
                  </a:cubicBezTo>
                  <a:cubicBezTo>
                    <a:pt x="128" y="42"/>
                    <a:pt x="128" y="42"/>
                    <a:pt x="128" y="42"/>
                  </a:cubicBezTo>
                  <a:cubicBezTo>
                    <a:pt x="128" y="21"/>
                    <a:pt x="128" y="21"/>
                    <a:pt x="128" y="21"/>
                  </a:cubicBezTo>
                  <a:lnTo>
                    <a:pt x="150" y="21"/>
                  </a:lnTo>
                  <a:close/>
                  <a:moveTo>
                    <a:pt x="107" y="21"/>
                  </a:moveTo>
                  <a:cubicBezTo>
                    <a:pt x="107" y="42"/>
                    <a:pt x="107" y="42"/>
                    <a:pt x="107" y="42"/>
                  </a:cubicBezTo>
                  <a:cubicBezTo>
                    <a:pt x="86" y="42"/>
                    <a:pt x="86" y="42"/>
                    <a:pt x="86" y="42"/>
                  </a:cubicBezTo>
                  <a:cubicBezTo>
                    <a:pt x="86" y="21"/>
                    <a:pt x="86" y="21"/>
                    <a:pt x="86" y="21"/>
                  </a:cubicBezTo>
                  <a:lnTo>
                    <a:pt x="107" y="21"/>
                  </a:lnTo>
                  <a:close/>
                  <a:moveTo>
                    <a:pt x="43" y="42"/>
                  </a:moveTo>
                  <a:cubicBezTo>
                    <a:pt x="43" y="32"/>
                    <a:pt x="43" y="32"/>
                    <a:pt x="43" y="32"/>
                  </a:cubicBezTo>
                  <a:cubicBezTo>
                    <a:pt x="43" y="25"/>
                    <a:pt x="44" y="22"/>
                    <a:pt x="44" y="21"/>
                  </a:cubicBezTo>
                  <a:cubicBezTo>
                    <a:pt x="64" y="21"/>
                    <a:pt x="64" y="21"/>
                    <a:pt x="64" y="21"/>
                  </a:cubicBezTo>
                  <a:cubicBezTo>
                    <a:pt x="64" y="42"/>
                    <a:pt x="64" y="42"/>
                    <a:pt x="64" y="42"/>
                  </a:cubicBezTo>
                  <a:lnTo>
                    <a:pt x="43" y="42"/>
                  </a:lnTo>
                  <a:close/>
                  <a:moveTo>
                    <a:pt x="75" y="64"/>
                  </a:moveTo>
                  <a:cubicBezTo>
                    <a:pt x="160" y="64"/>
                    <a:pt x="160" y="64"/>
                    <a:pt x="160" y="64"/>
                  </a:cubicBezTo>
                  <a:cubicBezTo>
                    <a:pt x="160" y="85"/>
                    <a:pt x="160" y="85"/>
                    <a:pt x="160" y="85"/>
                  </a:cubicBezTo>
                  <a:cubicBezTo>
                    <a:pt x="75" y="85"/>
                    <a:pt x="75" y="85"/>
                    <a:pt x="75" y="85"/>
                  </a:cubicBezTo>
                  <a:lnTo>
                    <a:pt x="75" y="64"/>
                  </a:lnTo>
                  <a:close/>
                  <a:moveTo>
                    <a:pt x="214" y="288"/>
                  </a:moveTo>
                  <a:cubicBezTo>
                    <a:pt x="214" y="294"/>
                    <a:pt x="209" y="298"/>
                    <a:pt x="203" y="298"/>
                  </a:cubicBezTo>
                  <a:cubicBezTo>
                    <a:pt x="32" y="298"/>
                    <a:pt x="32" y="298"/>
                    <a:pt x="32" y="298"/>
                  </a:cubicBezTo>
                  <a:cubicBezTo>
                    <a:pt x="26" y="298"/>
                    <a:pt x="22" y="294"/>
                    <a:pt x="22" y="288"/>
                  </a:cubicBezTo>
                  <a:cubicBezTo>
                    <a:pt x="22" y="117"/>
                    <a:pt x="22" y="117"/>
                    <a:pt x="22" y="117"/>
                  </a:cubicBezTo>
                  <a:cubicBezTo>
                    <a:pt x="22" y="111"/>
                    <a:pt x="26" y="106"/>
                    <a:pt x="32" y="106"/>
                  </a:cubicBezTo>
                  <a:cubicBezTo>
                    <a:pt x="203" y="106"/>
                    <a:pt x="203" y="106"/>
                    <a:pt x="203" y="106"/>
                  </a:cubicBezTo>
                  <a:cubicBezTo>
                    <a:pt x="209" y="106"/>
                    <a:pt x="214" y="111"/>
                    <a:pt x="214" y="117"/>
                  </a:cubicBezTo>
                  <a:lnTo>
                    <a:pt x="214" y="288"/>
                  </a:lnTo>
                  <a:close/>
                  <a:moveTo>
                    <a:pt x="182" y="202"/>
                  </a:moveTo>
                  <a:cubicBezTo>
                    <a:pt x="182" y="208"/>
                    <a:pt x="177" y="213"/>
                    <a:pt x="171" y="213"/>
                  </a:cubicBezTo>
                  <a:cubicBezTo>
                    <a:pt x="128" y="213"/>
                    <a:pt x="128" y="213"/>
                    <a:pt x="128" y="213"/>
                  </a:cubicBezTo>
                  <a:cubicBezTo>
                    <a:pt x="128" y="256"/>
                    <a:pt x="128" y="256"/>
                    <a:pt x="128" y="256"/>
                  </a:cubicBezTo>
                  <a:cubicBezTo>
                    <a:pt x="128" y="262"/>
                    <a:pt x="124" y="266"/>
                    <a:pt x="118" y="266"/>
                  </a:cubicBezTo>
                  <a:cubicBezTo>
                    <a:pt x="112" y="266"/>
                    <a:pt x="107" y="262"/>
                    <a:pt x="107" y="256"/>
                  </a:cubicBezTo>
                  <a:cubicBezTo>
                    <a:pt x="107" y="213"/>
                    <a:pt x="107" y="213"/>
                    <a:pt x="107" y="213"/>
                  </a:cubicBezTo>
                  <a:cubicBezTo>
                    <a:pt x="64" y="213"/>
                    <a:pt x="64" y="213"/>
                    <a:pt x="64" y="213"/>
                  </a:cubicBezTo>
                  <a:cubicBezTo>
                    <a:pt x="58" y="213"/>
                    <a:pt x="54" y="208"/>
                    <a:pt x="54" y="202"/>
                  </a:cubicBezTo>
                  <a:cubicBezTo>
                    <a:pt x="54" y="196"/>
                    <a:pt x="58" y="192"/>
                    <a:pt x="64" y="192"/>
                  </a:cubicBezTo>
                  <a:cubicBezTo>
                    <a:pt x="107" y="192"/>
                    <a:pt x="107" y="192"/>
                    <a:pt x="107" y="192"/>
                  </a:cubicBezTo>
                  <a:cubicBezTo>
                    <a:pt x="107" y="149"/>
                    <a:pt x="107" y="149"/>
                    <a:pt x="107" y="149"/>
                  </a:cubicBezTo>
                  <a:cubicBezTo>
                    <a:pt x="107" y="143"/>
                    <a:pt x="112" y="138"/>
                    <a:pt x="118" y="138"/>
                  </a:cubicBezTo>
                  <a:cubicBezTo>
                    <a:pt x="124" y="138"/>
                    <a:pt x="128" y="143"/>
                    <a:pt x="128" y="149"/>
                  </a:cubicBezTo>
                  <a:cubicBezTo>
                    <a:pt x="128" y="192"/>
                    <a:pt x="128" y="192"/>
                    <a:pt x="128" y="192"/>
                  </a:cubicBezTo>
                  <a:cubicBezTo>
                    <a:pt x="171" y="192"/>
                    <a:pt x="171" y="192"/>
                    <a:pt x="171" y="192"/>
                  </a:cubicBezTo>
                  <a:cubicBezTo>
                    <a:pt x="177" y="192"/>
                    <a:pt x="182" y="196"/>
                    <a:pt x="182"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03674379"/>
      </p:ext>
    </p:extLst>
  </p:cSld>
  <p:clrMapOvr>
    <a:masterClrMapping/>
  </p:clrMapOvr>
  <p:transition>
    <p:fade/>
  </p:transition>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a:t>Subtitle runs here</a:t>
            </a:r>
            <a:endParaRPr lang="en-US" dirty="0"/>
          </a:p>
        </p:txBody>
      </p:sp>
      <p:sp>
        <p:nvSpPr>
          <p:cNvPr id="371719" name="Title 1"/>
          <p:cNvSpPr>
            <a:spLocks noGrp="1"/>
          </p:cNvSpPr>
          <p:nvPr>
            <p:ph type="title"/>
          </p:nvPr>
        </p:nvSpPr>
        <p:spPr/>
        <p:txBody>
          <a:bodyPr/>
          <a:lstStyle/>
          <a:p>
            <a:r>
              <a:rPr lang="en-US" altLang="ja-JP"/>
              <a:t>Elevated hoops</a:t>
            </a:r>
            <a:endParaRPr lang="en-US" dirty="0"/>
          </a:p>
        </p:txBody>
      </p:sp>
      <p:sp>
        <p:nvSpPr>
          <p:cNvPr id="30" name="Oval 29"/>
          <p:cNvSpPr/>
          <p:nvPr/>
        </p:nvSpPr>
        <p:spPr>
          <a:xfrm>
            <a:off x="5579052" y="1048882"/>
            <a:ext cx="1260140" cy="12601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1" name="Donut 30"/>
          <p:cNvSpPr/>
          <p:nvPr/>
        </p:nvSpPr>
        <p:spPr>
          <a:xfrm>
            <a:off x="5347855" y="814856"/>
            <a:ext cx="1728192" cy="1728192"/>
          </a:xfrm>
          <a:prstGeom prst="donut">
            <a:avLst>
              <a:gd name="adj" fmla="val 1086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2" name="Rectangle 31"/>
          <p:cNvSpPr/>
          <p:nvPr/>
        </p:nvSpPr>
        <p:spPr>
          <a:xfrm>
            <a:off x="5680074" y="1371177"/>
            <a:ext cx="1058096" cy="615553"/>
          </a:xfrm>
          <a:prstGeom prst="rect">
            <a:avLst/>
          </a:prstGeom>
        </p:spPr>
        <p:txBody>
          <a:bodyPr wrap="square" lIns="0" tIns="0" rIns="0" bIns="0">
            <a:spAutoFit/>
          </a:bodyPr>
          <a:lstStyle/>
          <a:p>
            <a:pPr algn="ctr"/>
            <a:r>
              <a:rPr lang="en-US" sz="1000" b="1" dirty="0" err="1">
                <a:solidFill>
                  <a:schemeClr val="accent1"/>
                </a:solidFill>
              </a:rPr>
              <a:t>Lorem</a:t>
            </a:r>
            <a:r>
              <a:rPr lang="en-US" sz="1000" b="1" dirty="0">
                <a:solidFill>
                  <a:schemeClr val="accent1"/>
                </a:solidFill>
              </a:rPr>
              <a:t> </a:t>
            </a:r>
            <a:r>
              <a:rPr lang="en-US" sz="1000" b="1" dirty="0" err="1">
                <a:solidFill>
                  <a:schemeClr val="accent1"/>
                </a:solidFill>
              </a:rPr>
              <a:t>ipsum</a:t>
            </a:r>
            <a:r>
              <a:rPr lang="en-US" sz="1000" b="1" dirty="0">
                <a:solidFill>
                  <a:schemeClr val="accent1"/>
                </a:solidFill>
              </a:rPr>
              <a:t> </a:t>
            </a:r>
          </a:p>
          <a:p>
            <a:pPr algn="ctr"/>
            <a:r>
              <a:rPr lang="en-US" sz="1000" dirty="0">
                <a:solidFill>
                  <a:schemeClr val="accent1"/>
                </a:solidFill>
              </a:rPr>
              <a:t>This is dummy text it is not here to be read. </a:t>
            </a:r>
          </a:p>
        </p:txBody>
      </p:sp>
      <p:sp>
        <p:nvSpPr>
          <p:cNvPr id="33" name="Flowchart: Process 32"/>
          <p:cNvSpPr/>
          <p:nvPr/>
        </p:nvSpPr>
        <p:spPr>
          <a:xfrm>
            <a:off x="6133350" y="2456967"/>
            <a:ext cx="173736" cy="3539635"/>
          </a:xfrm>
          <a:prstGeom prst="flowChartProcess">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4" name="Oval 33"/>
          <p:cNvSpPr/>
          <p:nvPr/>
        </p:nvSpPr>
        <p:spPr>
          <a:xfrm>
            <a:off x="6857092" y="2626868"/>
            <a:ext cx="1260140" cy="1260140"/>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Donut 34"/>
          <p:cNvSpPr/>
          <p:nvPr/>
        </p:nvSpPr>
        <p:spPr>
          <a:xfrm>
            <a:off x="6625895" y="2392842"/>
            <a:ext cx="1728192" cy="1728192"/>
          </a:xfrm>
          <a:prstGeom prst="donut">
            <a:avLst>
              <a:gd name="adj" fmla="val 1086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Rectangle 35"/>
          <p:cNvSpPr/>
          <p:nvPr/>
        </p:nvSpPr>
        <p:spPr>
          <a:xfrm>
            <a:off x="6958114" y="2949163"/>
            <a:ext cx="1058096" cy="461665"/>
          </a:xfrm>
          <a:prstGeom prst="rect">
            <a:avLst/>
          </a:prstGeom>
        </p:spPr>
        <p:txBody>
          <a:bodyPr wrap="square" lIns="0" tIns="0" rIns="0" bIns="0">
            <a:spAutoFit/>
          </a:bodyPr>
          <a:lstStyle/>
          <a:p>
            <a:pPr algn="ctr"/>
            <a:r>
              <a:rPr lang="en-US" sz="1000" b="1" dirty="0" err="1">
                <a:solidFill>
                  <a:schemeClr val="accent3"/>
                </a:solidFill>
              </a:rPr>
              <a:t>Lorem</a:t>
            </a:r>
            <a:r>
              <a:rPr lang="en-US" sz="1000" b="1" dirty="0">
                <a:solidFill>
                  <a:schemeClr val="accent3"/>
                </a:solidFill>
              </a:rPr>
              <a:t> </a:t>
            </a:r>
            <a:r>
              <a:rPr lang="en-US" sz="1000" b="1" dirty="0" err="1">
                <a:solidFill>
                  <a:schemeClr val="accent3"/>
                </a:solidFill>
              </a:rPr>
              <a:t>ipsum</a:t>
            </a:r>
            <a:r>
              <a:rPr lang="en-US" sz="1000" b="1" dirty="0">
                <a:solidFill>
                  <a:schemeClr val="accent3"/>
                </a:solidFill>
              </a:rPr>
              <a:t> </a:t>
            </a:r>
            <a:r>
              <a:rPr lang="en-US" sz="1000" dirty="0">
                <a:solidFill>
                  <a:schemeClr val="accent3"/>
                </a:solidFill>
              </a:rPr>
              <a:t>This is dummy text it is not here to be read. </a:t>
            </a:r>
          </a:p>
        </p:txBody>
      </p:sp>
      <p:sp>
        <p:nvSpPr>
          <p:cNvPr id="37" name="Flowchart: Process 36"/>
          <p:cNvSpPr/>
          <p:nvPr/>
        </p:nvSpPr>
        <p:spPr>
          <a:xfrm>
            <a:off x="6627165" y="3287691"/>
            <a:ext cx="176721" cy="2708910"/>
          </a:xfrm>
          <a:prstGeom prst="flowChartProcess">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Oval 37"/>
          <p:cNvSpPr/>
          <p:nvPr/>
        </p:nvSpPr>
        <p:spPr>
          <a:xfrm>
            <a:off x="4301011" y="2626868"/>
            <a:ext cx="1260140" cy="126014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Donut 38"/>
          <p:cNvSpPr/>
          <p:nvPr/>
        </p:nvSpPr>
        <p:spPr>
          <a:xfrm>
            <a:off x="4069814" y="2392842"/>
            <a:ext cx="1728192" cy="1728192"/>
          </a:xfrm>
          <a:prstGeom prst="donut">
            <a:avLst>
              <a:gd name="adj" fmla="val 10860"/>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Rectangle 39"/>
          <p:cNvSpPr/>
          <p:nvPr/>
        </p:nvSpPr>
        <p:spPr>
          <a:xfrm>
            <a:off x="4402033" y="2949163"/>
            <a:ext cx="1058096" cy="461665"/>
          </a:xfrm>
          <a:prstGeom prst="rect">
            <a:avLst/>
          </a:prstGeom>
        </p:spPr>
        <p:txBody>
          <a:bodyPr wrap="square" lIns="0" tIns="0" rIns="0" bIns="0">
            <a:spAutoFit/>
          </a:bodyPr>
          <a:lstStyle/>
          <a:p>
            <a:pPr algn="ctr"/>
            <a:r>
              <a:rPr lang="en-US" sz="1000" b="1" dirty="0" err="1">
                <a:solidFill>
                  <a:schemeClr val="accent6"/>
                </a:solidFill>
              </a:rPr>
              <a:t>Lorem</a:t>
            </a:r>
            <a:r>
              <a:rPr lang="en-US" sz="1000" b="1" dirty="0">
                <a:solidFill>
                  <a:schemeClr val="accent6"/>
                </a:solidFill>
              </a:rPr>
              <a:t> </a:t>
            </a:r>
            <a:r>
              <a:rPr lang="en-US" sz="1000" b="1" dirty="0" err="1">
                <a:solidFill>
                  <a:schemeClr val="accent6"/>
                </a:solidFill>
              </a:rPr>
              <a:t>Ipsum</a:t>
            </a:r>
            <a:r>
              <a:rPr lang="en-US" sz="1000" b="1" dirty="0">
                <a:solidFill>
                  <a:schemeClr val="accent6"/>
                </a:solidFill>
              </a:rPr>
              <a:t> </a:t>
            </a:r>
            <a:r>
              <a:rPr lang="en-US" sz="1000" dirty="0">
                <a:solidFill>
                  <a:schemeClr val="accent6"/>
                </a:solidFill>
              </a:rPr>
              <a:t>This is dummy text it is not here to be read.. </a:t>
            </a:r>
          </a:p>
        </p:txBody>
      </p:sp>
      <p:sp>
        <p:nvSpPr>
          <p:cNvPr id="41" name="Flowchart: Process 40"/>
          <p:cNvSpPr/>
          <p:nvPr/>
        </p:nvSpPr>
        <p:spPr>
          <a:xfrm>
            <a:off x="5621286" y="3287691"/>
            <a:ext cx="176721" cy="2708910"/>
          </a:xfrm>
          <a:prstGeom prst="flowChartProcess">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2" name="Oval 41"/>
          <p:cNvSpPr/>
          <p:nvPr/>
        </p:nvSpPr>
        <p:spPr>
          <a:xfrm>
            <a:off x="3710982" y="4505465"/>
            <a:ext cx="1260140" cy="12601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3" name="Donut 42"/>
          <p:cNvSpPr/>
          <p:nvPr/>
        </p:nvSpPr>
        <p:spPr>
          <a:xfrm>
            <a:off x="3479785" y="4271439"/>
            <a:ext cx="1728192" cy="1728192"/>
          </a:xfrm>
          <a:prstGeom prst="donut">
            <a:avLst>
              <a:gd name="adj" fmla="val 1086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Rectangle 43"/>
          <p:cNvSpPr/>
          <p:nvPr/>
        </p:nvSpPr>
        <p:spPr>
          <a:xfrm>
            <a:off x="3812004" y="4827760"/>
            <a:ext cx="1058096" cy="615553"/>
          </a:xfrm>
          <a:prstGeom prst="rect">
            <a:avLst/>
          </a:prstGeom>
        </p:spPr>
        <p:txBody>
          <a:bodyPr wrap="square" lIns="0" tIns="0" rIns="0" bIns="0">
            <a:spAutoFit/>
          </a:bodyPr>
          <a:lstStyle/>
          <a:p>
            <a:pPr algn="ctr"/>
            <a:r>
              <a:rPr lang="en-US" sz="1000" b="1" dirty="0" err="1">
                <a:solidFill>
                  <a:schemeClr val="accent5"/>
                </a:solidFill>
              </a:rPr>
              <a:t>Lorem</a:t>
            </a:r>
            <a:r>
              <a:rPr lang="en-US" sz="1000" b="1" dirty="0">
                <a:solidFill>
                  <a:schemeClr val="accent5"/>
                </a:solidFill>
              </a:rPr>
              <a:t> </a:t>
            </a:r>
            <a:r>
              <a:rPr lang="en-US" sz="1000" b="1" dirty="0" err="1">
                <a:solidFill>
                  <a:schemeClr val="accent5"/>
                </a:solidFill>
              </a:rPr>
              <a:t>ipsum</a:t>
            </a:r>
            <a:endParaRPr lang="en-US" sz="1000" b="1" dirty="0">
              <a:solidFill>
                <a:schemeClr val="accent5"/>
              </a:solidFill>
            </a:endParaRPr>
          </a:p>
          <a:p>
            <a:pPr algn="ctr"/>
            <a:r>
              <a:rPr lang="en-US" sz="1000" dirty="0">
                <a:solidFill>
                  <a:schemeClr val="accent5"/>
                </a:solidFill>
              </a:rPr>
              <a:t>This is dummy text it is not here to be read. </a:t>
            </a:r>
          </a:p>
        </p:txBody>
      </p:sp>
      <p:sp>
        <p:nvSpPr>
          <p:cNvPr id="45" name="Flowchart: Process 44"/>
          <p:cNvSpPr/>
          <p:nvPr/>
        </p:nvSpPr>
        <p:spPr>
          <a:xfrm>
            <a:off x="5031257" y="5111995"/>
            <a:ext cx="176721" cy="884606"/>
          </a:xfrm>
          <a:prstGeom prst="flowChartProcess">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6" name="Oval 45"/>
          <p:cNvSpPr/>
          <p:nvPr/>
        </p:nvSpPr>
        <p:spPr>
          <a:xfrm>
            <a:off x="7447757" y="4502435"/>
            <a:ext cx="1260140" cy="126014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7" name="Donut 46"/>
          <p:cNvSpPr/>
          <p:nvPr/>
        </p:nvSpPr>
        <p:spPr>
          <a:xfrm>
            <a:off x="7216560" y="4268409"/>
            <a:ext cx="1728192" cy="1728192"/>
          </a:xfrm>
          <a:prstGeom prst="donut">
            <a:avLst>
              <a:gd name="adj" fmla="val 1086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8" name="Rectangle 47"/>
          <p:cNvSpPr/>
          <p:nvPr/>
        </p:nvSpPr>
        <p:spPr>
          <a:xfrm>
            <a:off x="7548779" y="4824730"/>
            <a:ext cx="1058096" cy="461665"/>
          </a:xfrm>
          <a:prstGeom prst="rect">
            <a:avLst/>
          </a:prstGeom>
        </p:spPr>
        <p:txBody>
          <a:bodyPr wrap="square" lIns="0" tIns="0" rIns="0" bIns="0">
            <a:spAutoFit/>
          </a:bodyPr>
          <a:lstStyle/>
          <a:p>
            <a:pPr algn="ctr"/>
            <a:r>
              <a:rPr lang="en-US" sz="1000" b="1" dirty="0">
                <a:solidFill>
                  <a:schemeClr val="accent2"/>
                </a:solidFill>
              </a:rPr>
              <a:t>Lorem ipsum </a:t>
            </a:r>
            <a:r>
              <a:rPr lang="en-US" sz="1000" dirty="0">
                <a:solidFill>
                  <a:schemeClr val="accent2"/>
                </a:solidFill>
              </a:rPr>
              <a:t>This is dummy text it is not here to be read.</a:t>
            </a:r>
          </a:p>
        </p:txBody>
      </p:sp>
      <p:sp>
        <p:nvSpPr>
          <p:cNvPr id="49" name="Flowchart: Process 48"/>
          <p:cNvSpPr/>
          <p:nvPr/>
        </p:nvSpPr>
        <p:spPr>
          <a:xfrm>
            <a:off x="7216561" y="5111995"/>
            <a:ext cx="176721" cy="884606"/>
          </a:xfrm>
          <a:prstGeom prst="flowChartProcess">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Tree>
    <p:extLst>
      <p:ext uri="{BB962C8B-B14F-4D97-AF65-F5344CB8AC3E}">
        <p14:creationId xmlns:p14="http://schemas.microsoft.com/office/powerpoint/2010/main" val="1722022133"/>
      </p:ext>
    </p:extLst>
  </p:cSld>
  <p:clrMapOvr>
    <a:masterClrMapping/>
  </p:clrMapOvr>
  <p:transition>
    <p:fade/>
  </p:transition>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a:t>Subtitle runs here</a:t>
            </a:r>
            <a:endParaRPr lang="en-GB" dirty="0"/>
          </a:p>
        </p:txBody>
      </p:sp>
      <p:sp>
        <p:nvSpPr>
          <p:cNvPr id="3" name="Title 2"/>
          <p:cNvSpPr>
            <a:spLocks noGrp="1"/>
          </p:cNvSpPr>
          <p:nvPr>
            <p:ph type="title"/>
          </p:nvPr>
        </p:nvSpPr>
        <p:spPr/>
        <p:txBody>
          <a:bodyPr/>
          <a:lstStyle/>
          <a:p>
            <a:r>
              <a:rPr lang="en-US" altLang="ja-JP"/>
              <a:t>Elevated hoops</a:t>
            </a:r>
            <a:endParaRPr lang="en-GB" dirty="0"/>
          </a:p>
        </p:txBody>
      </p:sp>
      <p:sp>
        <p:nvSpPr>
          <p:cNvPr id="29" name="Oval 28"/>
          <p:cNvSpPr/>
          <p:nvPr/>
        </p:nvSpPr>
        <p:spPr>
          <a:xfrm>
            <a:off x="5579052" y="1048882"/>
            <a:ext cx="1260140" cy="126014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0" name="Donut 29"/>
          <p:cNvSpPr/>
          <p:nvPr/>
        </p:nvSpPr>
        <p:spPr>
          <a:xfrm>
            <a:off x="5347855" y="814856"/>
            <a:ext cx="1728192" cy="1728192"/>
          </a:xfrm>
          <a:prstGeom prst="donut">
            <a:avLst>
              <a:gd name="adj" fmla="val 1086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1" name="Rectangle 30"/>
          <p:cNvSpPr/>
          <p:nvPr/>
        </p:nvSpPr>
        <p:spPr>
          <a:xfrm>
            <a:off x="5680074" y="1371177"/>
            <a:ext cx="1058096" cy="615553"/>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r>
              <a:rPr lang="en-US" sz="1000" b="1" dirty="0"/>
              <a:t> </a:t>
            </a:r>
          </a:p>
          <a:p>
            <a:pPr algn="ctr"/>
            <a:r>
              <a:rPr lang="en-US" sz="1000" dirty="0"/>
              <a:t>This is dummy text it is not here to be read. </a:t>
            </a:r>
          </a:p>
        </p:txBody>
      </p:sp>
      <p:sp>
        <p:nvSpPr>
          <p:cNvPr id="32" name="Flowchart: Process 31"/>
          <p:cNvSpPr/>
          <p:nvPr/>
        </p:nvSpPr>
        <p:spPr>
          <a:xfrm>
            <a:off x="6133350" y="2456967"/>
            <a:ext cx="173736" cy="3539635"/>
          </a:xfrm>
          <a:prstGeom prst="flowChartProcess">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3" name="Oval 32"/>
          <p:cNvSpPr/>
          <p:nvPr/>
        </p:nvSpPr>
        <p:spPr>
          <a:xfrm>
            <a:off x="6857092" y="2626868"/>
            <a:ext cx="1260140" cy="1260140"/>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accent2"/>
              </a:solidFill>
            </a:endParaRPr>
          </a:p>
        </p:txBody>
      </p:sp>
      <p:sp>
        <p:nvSpPr>
          <p:cNvPr id="34" name="Donut 33"/>
          <p:cNvSpPr/>
          <p:nvPr/>
        </p:nvSpPr>
        <p:spPr>
          <a:xfrm>
            <a:off x="6625895" y="2392842"/>
            <a:ext cx="1728192" cy="1728192"/>
          </a:xfrm>
          <a:prstGeom prst="donut">
            <a:avLst>
              <a:gd name="adj" fmla="val 1086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Rectangle 34"/>
          <p:cNvSpPr/>
          <p:nvPr/>
        </p:nvSpPr>
        <p:spPr>
          <a:xfrm>
            <a:off x="6958114" y="2949163"/>
            <a:ext cx="1058096" cy="461665"/>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r>
              <a:rPr lang="en-US" sz="1000" b="1" dirty="0"/>
              <a:t> </a:t>
            </a:r>
            <a:r>
              <a:rPr lang="en-US" sz="1000" dirty="0"/>
              <a:t>This is dummy text it is not here to be read. </a:t>
            </a:r>
          </a:p>
        </p:txBody>
      </p:sp>
      <p:sp>
        <p:nvSpPr>
          <p:cNvPr id="61" name="Flowchart: Process 60"/>
          <p:cNvSpPr/>
          <p:nvPr/>
        </p:nvSpPr>
        <p:spPr>
          <a:xfrm>
            <a:off x="6627165" y="3287691"/>
            <a:ext cx="176721" cy="2708910"/>
          </a:xfrm>
          <a:prstGeom prst="flowChartProcess">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2" name="Oval 61"/>
          <p:cNvSpPr/>
          <p:nvPr/>
        </p:nvSpPr>
        <p:spPr>
          <a:xfrm>
            <a:off x="4301011" y="2626868"/>
            <a:ext cx="1260140" cy="126014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3" name="Donut 62"/>
          <p:cNvSpPr/>
          <p:nvPr/>
        </p:nvSpPr>
        <p:spPr>
          <a:xfrm>
            <a:off x="4069814" y="2392842"/>
            <a:ext cx="1728192" cy="1728192"/>
          </a:xfrm>
          <a:prstGeom prst="donut">
            <a:avLst>
              <a:gd name="adj" fmla="val 10860"/>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4" name="Rectangle 63"/>
          <p:cNvSpPr/>
          <p:nvPr/>
        </p:nvSpPr>
        <p:spPr>
          <a:xfrm>
            <a:off x="4402033" y="2949163"/>
            <a:ext cx="1058096" cy="461665"/>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r>
              <a:rPr lang="en-US" sz="1000" b="1" dirty="0"/>
              <a:t> </a:t>
            </a:r>
            <a:r>
              <a:rPr lang="en-US" sz="1000" dirty="0"/>
              <a:t>This is dummy text it is not here to be read.. </a:t>
            </a:r>
          </a:p>
        </p:txBody>
      </p:sp>
      <p:sp>
        <p:nvSpPr>
          <p:cNvPr id="65" name="Flowchart: Process 64"/>
          <p:cNvSpPr/>
          <p:nvPr/>
        </p:nvSpPr>
        <p:spPr>
          <a:xfrm>
            <a:off x="5621286" y="3287691"/>
            <a:ext cx="176721" cy="2708910"/>
          </a:xfrm>
          <a:prstGeom prst="flowChartProcess">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6" name="Oval 65"/>
          <p:cNvSpPr/>
          <p:nvPr/>
        </p:nvSpPr>
        <p:spPr>
          <a:xfrm>
            <a:off x="3710982" y="4505465"/>
            <a:ext cx="1260140" cy="1260140"/>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7" name="Donut 66"/>
          <p:cNvSpPr/>
          <p:nvPr/>
        </p:nvSpPr>
        <p:spPr>
          <a:xfrm>
            <a:off x="3479785" y="4271439"/>
            <a:ext cx="1728192" cy="1728192"/>
          </a:xfrm>
          <a:prstGeom prst="donut">
            <a:avLst>
              <a:gd name="adj" fmla="val 1086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8" name="Rectangle 67"/>
          <p:cNvSpPr/>
          <p:nvPr/>
        </p:nvSpPr>
        <p:spPr>
          <a:xfrm>
            <a:off x="3812004" y="4827760"/>
            <a:ext cx="1058096" cy="615553"/>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1000" b="1" dirty="0"/>
          </a:p>
          <a:p>
            <a:pPr algn="ctr"/>
            <a:r>
              <a:rPr lang="en-US" sz="1000" dirty="0"/>
              <a:t>This is dummy text it is not here to be read. </a:t>
            </a:r>
          </a:p>
        </p:txBody>
      </p:sp>
      <p:sp>
        <p:nvSpPr>
          <p:cNvPr id="69" name="Flowchart: Process 68"/>
          <p:cNvSpPr/>
          <p:nvPr/>
        </p:nvSpPr>
        <p:spPr>
          <a:xfrm>
            <a:off x="5031257" y="5111995"/>
            <a:ext cx="176721" cy="884606"/>
          </a:xfrm>
          <a:prstGeom prst="flowChartProcess">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0" name="Oval 69"/>
          <p:cNvSpPr/>
          <p:nvPr/>
        </p:nvSpPr>
        <p:spPr>
          <a:xfrm>
            <a:off x="7447757" y="4502435"/>
            <a:ext cx="1260140" cy="1260140"/>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1" name="Donut 70"/>
          <p:cNvSpPr/>
          <p:nvPr/>
        </p:nvSpPr>
        <p:spPr>
          <a:xfrm>
            <a:off x="7216560" y="4268409"/>
            <a:ext cx="1728192" cy="1728192"/>
          </a:xfrm>
          <a:prstGeom prst="donut">
            <a:avLst>
              <a:gd name="adj" fmla="val 1086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2" name="Rectangle 71"/>
          <p:cNvSpPr/>
          <p:nvPr/>
        </p:nvSpPr>
        <p:spPr>
          <a:xfrm>
            <a:off x="7548779" y="4824730"/>
            <a:ext cx="1058096" cy="461665"/>
          </a:xfrm>
          <a:prstGeom prst="rect">
            <a:avLst/>
          </a:prstGeom>
        </p:spPr>
        <p:txBody>
          <a:bodyPr wrap="square" lIns="0" tIns="0" rIns="0" bIns="0">
            <a:spAutoFit/>
          </a:bodyPr>
          <a:lstStyle/>
          <a:p>
            <a:pPr algn="ctr"/>
            <a:r>
              <a:rPr lang="en-US" sz="1000" b="1" dirty="0"/>
              <a:t>Lorem ipsum </a:t>
            </a:r>
            <a:r>
              <a:rPr lang="en-US" sz="1000" dirty="0"/>
              <a:t>This is dummy text it is not here to be read.</a:t>
            </a:r>
          </a:p>
        </p:txBody>
      </p:sp>
      <p:sp>
        <p:nvSpPr>
          <p:cNvPr id="73" name="Flowchart: Process 72"/>
          <p:cNvSpPr/>
          <p:nvPr/>
        </p:nvSpPr>
        <p:spPr>
          <a:xfrm>
            <a:off x="7216561" y="5111995"/>
            <a:ext cx="176721" cy="884606"/>
          </a:xfrm>
          <a:prstGeom prst="flowChartProcess">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Tree>
    <p:extLst>
      <p:ext uri="{BB962C8B-B14F-4D97-AF65-F5344CB8AC3E}">
        <p14:creationId xmlns:p14="http://schemas.microsoft.com/office/powerpoint/2010/main" val="371601742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Chevrons with text boxes</a:t>
            </a:r>
            <a:endParaRPr lang="en-US" dirty="0"/>
          </a:p>
        </p:txBody>
      </p:sp>
      <p:sp>
        <p:nvSpPr>
          <p:cNvPr id="3" name="Title 2"/>
          <p:cNvSpPr>
            <a:spLocks noGrp="1"/>
          </p:cNvSpPr>
          <p:nvPr>
            <p:ph type="title"/>
          </p:nvPr>
        </p:nvSpPr>
        <p:spPr/>
        <p:txBody>
          <a:bodyPr/>
          <a:lstStyle/>
          <a:p>
            <a:r>
              <a:rPr lang="en-US"/>
              <a:t>Text boxes </a:t>
            </a:r>
            <a:endParaRPr lang="en-US" dirty="0"/>
          </a:p>
        </p:txBody>
      </p:sp>
      <p:sp>
        <p:nvSpPr>
          <p:cNvPr id="6" name="AutoShape 3"/>
          <p:cNvSpPr>
            <a:spLocks noChangeArrowheads="1"/>
          </p:cNvSpPr>
          <p:nvPr/>
        </p:nvSpPr>
        <p:spPr bwMode="gray">
          <a:xfrm>
            <a:off x="501651" y="1611785"/>
            <a:ext cx="2888152" cy="548640"/>
          </a:xfrm>
          <a:prstGeom prst="chevron">
            <a:avLst>
              <a:gd name="adj" fmla="val 34952"/>
            </a:avLst>
          </a:prstGeom>
          <a:solidFill>
            <a:schemeClr val="accent1"/>
          </a:solidFill>
          <a:ln w="12700" cap="rnd" algn="ctr">
            <a:noFill/>
            <a:miter lim="800000"/>
            <a:headEnd/>
            <a:tailEnd/>
          </a:ln>
        </p:spPr>
        <p:txBody>
          <a:bodyPr lIns="88900" tIns="88900" rIns="88900" bIns="88900" anchor="ctr" anchorCtr="0"/>
          <a:lstStyle/>
          <a:p>
            <a:pPr>
              <a:lnSpc>
                <a:spcPct val="106000"/>
              </a:lnSpc>
              <a:defRPr/>
            </a:pPr>
            <a:r>
              <a:rPr lang="en-US" sz="1200" dirty="0">
                <a:solidFill>
                  <a:schemeClr val="bg1"/>
                </a:solidFill>
              </a:rPr>
              <a:t>Text</a:t>
            </a:r>
          </a:p>
        </p:txBody>
      </p:sp>
      <p:sp>
        <p:nvSpPr>
          <p:cNvPr id="7" name="AutoShape 4"/>
          <p:cNvSpPr>
            <a:spLocks noChangeArrowheads="1"/>
          </p:cNvSpPr>
          <p:nvPr/>
        </p:nvSpPr>
        <p:spPr bwMode="gray">
          <a:xfrm>
            <a:off x="3231375" y="1611785"/>
            <a:ext cx="2888152" cy="548640"/>
          </a:xfrm>
          <a:prstGeom prst="chevron">
            <a:avLst>
              <a:gd name="adj" fmla="val 34975"/>
            </a:avLst>
          </a:prstGeom>
          <a:solidFill>
            <a:schemeClr val="tx1"/>
          </a:solidFill>
          <a:ln w="12700" cap="rnd" algn="ctr">
            <a:noFill/>
            <a:miter lim="800000"/>
            <a:headEnd/>
            <a:tailEnd/>
          </a:ln>
        </p:spPr>
        <p:txBody>
          <a:bodyPr lIns="88900" tIns="88900" rIns="88900" bIns="88900" anchor="ctr" anchorCtr="0"/>
          <a:lstStyle/>
          <a:p>
            <a:pPr>
              <a:lnSpc>
                <a:spcPct val="106000"/>
              </a:lnSpc>
              <a:defRPr/>
            </a:pPr>
            <a:r>
              <a:rPr lang="en-US" sz="1200" dirty="0">
                <a:solidFill>
                  <a:schemeClr val="bg1"/>
                </a:solidFill>
              </a:rPr>
              <a:t>Text</a:t>
            </a:r>
          </a:p>
        </p:txBody>
      </p:sp>
      <p:sp>
        <p:nvSpPr>
          <p:cNvPr id="8" name="AutoShape 5"/>
          <p:cNvSpPr>
            <a:spLocks noChangeArrowheads="1"/>
          </p:cNvSpPr>
          <p:nvPr/>
        </p:nvSpPr>
        <p:spPr bwMode="gray">
          <a:xfrm>
            <a:off x="5961099" y="1611785"/>
            <a:ext cx="2888152" cy="548640"/>
          </a:xfrm>
          <a:prstGeom prst="chevron">
            <a:avLst>
              <a:gd name="adj" fmla="val 34975"/>
            </a:avLst>
          </a:prstGeom>
          <a:solidFill>
            <a:schemeClr val="tx1"/>
          </a:solidFill>
          <a:ln w="12700" cap="rnd" algn="ctr">
            <a:noFill/>
            <a:miter lim="800000"/>
            <a:headEnd/>
            <a:tailEnd/>
          </a:ln>
        </p:spPr>
        <p:txBody>
          <a:bodyPr lIns="88900" tIns="88900" rIns="88900" bIns="88900" anchor="ctr" anchorCtr="0"/>
          <a:lstStyle/>
          <a:p>
            <a:pPr>
              <a:lnSpc>
                <a:spcPct val="106000"/>
              </a:lnSpc>
              <a:defRPr/>
            </a:pPr>
            <a:r>
              <a:rPr lang="en-US" sz="1200" dirty="0">
                <a:solidFill>
                  <a:schemeClr val="bg1"/>
                </a:solidFill>
              </a:rPr>
              <a:t>Text</a:t>
            </a:r>
          </a:p>
        </p:txBody>
      </p:sp>
      <p:sp>
        <p:nvSpPr>
          <p:cNvPr id="9" name="AutoShape 6"/>
          <p:cNvSpPr>
            <a:spLocks noChangeArrowheads="1"/>
          </p:cNvSpPr>
          <p:nvPr/>
        </p:nvSpPr>
        <p:spPr bwMode="gray">
          <a:xfrm>
            <a:off x="8690823" y="1611785"/>
            <a:ext cx="2888152" cy="548640"/>
          </a:xfrm>
          <a:prstGeom prst="chevron">
            <a:avLst>
              <a:gd name="adj" fmla="val 34975"/>
            </a:avLst>
          </a:prstGeom>
          <a:solidFill>
            <a:schemeClr val="tx1"/>
          </a:solidFill>
          <a:ln w="12700" cap="rnd" algn="ctr">
            <a:noFill/>
            <a:miter lim="800000"/>
            <a:headEnd/>
            <a:tailEnd/>
          </a:ln>
        </p:spPr>
        <p:txBody>
          <a:bodyPr lIns="88900" tIns="88900" rIns="88900" bIns="88900" anchor="ctr" anchorCtr="0"/>
          <a:lstStyle/>
          <a:p>
            <a:pPr>
              <a:lnSpc>
                <a:spcPct val="106000"/>
              </a:lnSpc>
              <a:defRPr/>
            </a:pPr>
            <a:r>
              <a:rPr lang="en-US" sz="1200" dirty="0">
                <a:solidFill>
                  <a:schemeClr val="bg1"/>
                </a:solidFill>
              </a:rPr>
              <a:t>Text</a:t>
            </a:r>
          </a:p>
        </p:txBody>
      </p:sp>
      <p:sp>
        <p:nvSpPr>
          <p:cNvPr id="10" name="Text Placeholder 5"/>
          <p:cNvSpPr txBox="1">
            <a:spLocks/>
          </p:cNvSpPr>
          <p:nvPr/>
        </p:nvSpPr>
        <p:spPr>
          <a:xfrm>
            <a:off x="501651" y="2231403"/>
            <a:ext cx="2527133"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300" dirty="0">
                <a:solidFill>
                  <a:schemeClr val="tx1"/>
                </a:solidFill>
              </a:rPr>
              <a:t>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11" name="Text Placeholder 5"/>
          <p:cNvSpPr txBox="1">
            <a:spLocks/>
          </p:cNvSpPr>
          <p:nvPr/>
        </p:nvSpPr>
        <p:spPr>
          <a:xfrm>
            <a:off x="3231375" y="2231403"/>
            <a:ext cx="2527133"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300" dirty="0">
                <a:solidFill>
                  <a:schemeClr val="tx1"/>
                </a:solidFill>
              </a:rPr>
              <a:t>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12" name="Text Placeholder 5"/>
          <p:cNvSpPr txBox="1">
            <a:spLocks/>
          </p:cNvSpPr>
          <p:nvPr/>
        </p:nvSpPr>
        <p:spPr>
          <a:xfrm>
            <a:off x="5961099" y="2231403"/>
            <a:ext cx="2527133"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300" dirty="0">
                <a:solidFill>
                  <a:schemeClr val="tx1"/>
                </a:solidFill>
              </a:rPr>
              <a:t>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
        <p:nvSpPr>
          <p:cNvPr id="13" name="Text Placeholder 5"/>
          <p:cNvSpPr txBox="1">
            <a:spLocks/>
          </p:cNvSpPr>
          <p:nvPr/>
        </p:nvSpPr>
        <p:spPr>
          <a:xfrm>
            <a:off x="8690823" y="2231403"/>
            <a:ext cx="2527133"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dirty="0">
                <a:solidFill>
                  <a:schemeClr val="tx1"/>
                </a:solidFill>
              </a:rPr>
              <a:t>This is dummy text it is not here to be read</a:t>
            </a:r>
          </a:p>
          <a:p>
            <a:pPr marL="114300" lvl="1" indent="-114300">
              <a:spcBef>
                <a:spcPts val="600"/>
              </a:spcBef>
              <a:buSzPct val="100000"/>
              <a:buFont typeface="Arial"/>
              <a:buChar char="•"/>
              <a:tabLst>
                <a:tab pos="176213" algn="l"/>
              </a:tabLst>
            </a:pPr>
            <a:r>
              <a:rPr lang="en-GB" sz="1300" dirty="0">
                <a:solidFill>
                  <a:schemeClr val="tx1"/>
                </a:solidFill>
              </a:rPr>
              <a:t>This is dummy text it is not here to be read</a:t>
            </a:r>
          </a:p>
          <a:p>
            <a:pPr marL="254000" lvl="2" indent="-114300">
              <a:spcBef>
                <a:spcPts val="600"/>
              </a:spcBef>
              <a:buSzPct val="100000"/>
              <a:buFont typeface="Arial"/>
              <a:buChar char="−"/>
            </a:pPr>
            <a:r>
              <a:rPr lang="en-US" sz="1300" dirty="0">
                <a:solidFill>
                  <a:schemeClr val="tx1"/>
                </a:solidFill>
              </a:rPr>
              <a:t>This is dummy text it is not here to be read</a:t>
            </a:r>
          </a:p>
        </p:txBody>
      </p:sp>
    </p:spTree>
    <p:extLst>
      <p:ext uri="{BB962C8B-B14F-4D97-AF65-F5344CB8AC3E}">
        <p14:creationId xmlns:p14="http://schemas.microsoft.com/office/powerpoint/2010/main" val="3406970536"/>
      </p:ext>
    </p:extLst>
  </p:cSld>
  <p:clrMapOvr>
    <a:masterClrMapping/>
  </p:clrMapOvr>
  <p:transition>
    <p:fade/>
  </p:transition>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prstGeom prst="rect">
            <a:avLst/>
          </a:prstGeom>
        </p:spPr>
        <p:txBody>
          <a:bodyPr/>
          <a:lstStyle/>
          <a:p>
            <a:r>
              <a:rPr lang="en-US" dirty="0"/>
              <a:t>Subtitle runs here</a:t>
            </a:r>
          </a:p>
        </p:txBody>
      </p:sp>
      <p:sp>
        <p:nvSpPr>
          <p:cNvPr id="371719" name="Title 1"/>
          <p:cNvSpPr>
            <a:spLocks noGrp="1"/>
          </p:cNvSpPr>
          <p:nvPr>
            <p:ph type="title"/>
          </p:nvPr>
        </p:nvSpPr>
        <p:spPr/>
        <p:txBody>
          <a:bodyPr/>
          <a:lstStyle/>
          <a:p>
            <a:r>
              <a:rPr lang="en-US" altLang="ja-JP" dirty="0"/>
              <a:t>Process circle</a:t>
            </a:r>
            <a:endParaRPr lang="en-US" dirty="0"/>
          </a:p>
        </p:txBody>
      </p:sp>
      <p:sp>
        <p:nvSpPr>
          <p:cNvPr id="24" name="Freeform 23"/>
          <p:cNvSpPr/>
          <p:nvPr/>
        </p:nvSpPr>
        <p:spPr>
          <a:xfrm>
            <a:off x="6416640" y="881614"/>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5" name="Freeform 24"/>
          <p:cNvSpPr/>
          <p:nvPr/>
        </p:nvSpPr>
        <p:spPr>
          <a:xfrm>
            <a:off x="7553222" y="1764263"/>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6" name="Freeform 25"/>
          <p:cNvSpPr/>
          <p:nvPr/>
        </p:nvSpPr>
        <p:spPr>
          <a:xfrm>
            <a:off x="7546939" y="3656564"/>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7" name="Freeform 26"/>
          <p:cNvSpPr/>
          <p:nvPr/>
        </p:nvSpPr>
        <p:spPr>
          <a:xfrm>
            <a:off x="6422989" y="4770988"/>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8" name="Freeform 27"/>
          <p:cNvSpPr/>
          <p:nvPr/>
        </p:nvSpPr>
        <p:spPr>
          <a:xfrm flipH="1">
            <a:off x="4476715" y="881614"/>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9" name="Freeform 28"/>
          <p:cNvSpPr/>
          <p:nvPr/>
        </p:nvSpPr>
        <p:spPr>
          <a:xfrm flipH="1">
            <a:off x="3625815" y="1764263"/>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Freeform 49"/>
          <p:cNvSpPr/>
          <p:nvPr/>
        </p:nvSpPr>
        <p:spPr>
          <a:xfrm flipH="1">
            <a:off x="3622639" y="3656564"/>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Freeform 50"/>
          <p:cNvSpPr/>
          <p:nvPr/>
        </p:nvSpPr>
        <p:spPr>
          <a:xfrm flipH="1">
            <a:off x="4486202" y="4770988"/>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2" name="Isosceles Triangle 51"/>
          <p:cNvSpPr/>
          <p:nvPr/>
        </p:nvSpPr>
        <p:spPr>
          <a:xfrm rot="12077977">
            <a:off x="6715088" y="1856874"/>
            <a:ext cx="333748" cy="572392"/>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3" name="Isosceles Triangle 52"/>
          <p:cNvSpPr/>
          <p:nvPr/>
        </p:nvSpPr>
        <p:spPr>
          <a:xfrm rot="14801312">
            <a:off x="7515188" y="2656973"/>
            <a:ext cx="333748" cy="572392"/>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4" name="Isosceles Triangle 53"/>
          <p:cNvSpPr/>
          <p:nvPr/>
        </p:nvSpPr>
        <p:spPr>
          <a:xfrm rot="17659912">
            <a:off x="7525320" y="3806324"/>
            <a:ext cx="333748" cy="572392"/>
          </a:xfrm>
          <a:prstGeom prst="triangl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5" name="Isosceles Triangle 54"/>
          <p:cNvSpPr/>
          <p:nvPr/>
        </p:nvSpPr>
        <p:spPr>
          <a:xfrm rot="20258485">
            <a:off x="6694716" y="4638964"/>
            <a:ext cx="333748" cy="572392"/>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6" name="Isosceles Triangle 55"/>
          <p:cNvSpPr/>
          <p:nvPr/>
        </p:nvSpPr>
        <p:spPr>
          <a:xfrm rot="1358864">
            <a:off x="5526014" y="4638464"/>
            <a:ext cx="333748" cy="572392"/>
          </a:xfrm>
          <a:prstGeom prst="triangle">
            <a:avLst/>
          </a:pr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7" name="Isosceles Triangle 56"/>
          <p:cNvSpPr/>
          <p:nvPr/>
        </p:nvSpPr>
        <p:spPr>
          <a:xfrm rot="3981004">
            <a:off x="4713283" y="3804723"/>
            <a:ext cx="333748" cy="572392"/>
          </a:xfrm>
          <a:prstGeom prst="triangl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8" name="Isosceles Triangle 57"/>
          <p:cNvSpPr/>
          <p:nvPr/>
        </p:nvSpPr>
        <p:spPr>
          <a:xfrm rot="6619441">
            <a:off x="4716032" y="2675636"/>
            <a:ext cx="333748" cy="572392"/>
          </a:xfrm>
          <a:prstGeom prst="triangl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9" name="Isosceles Triangle 58"/>
          <p:cNvSpPr/>
          <p:nvPr/>
        </p:nvSpPr>
        <p:spPr>
          <a:xfrm rot="9321448">
            <a:off x="5517994" y="1854681"/>
            <a:ext cx="333748" cy="572392"/>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60" name="Rectangle 59"/>
          <p:cNvSpPr/>
          <p:nvPr/>
        </p:nvSpPr>
        <p:spPr>
          <a:xfrm>
            <a:off x="5271199" y="2973188"/>
            <a:ext cx="2025942" cy="1077218"/>
          </a:xfrm>
          <a:prstGeom prst="rect">
            <a:avLst/>
          </a:prstGeom>
          <a:noFill/>
        </p:spPr>
        <p:txBody>
          <a:bodyPr wrap="square" lIns="0" tIns="0" rIns="0" bIns="0">
            <a:spAutoFit/>
          </a:bodyPr>
          <a:lstStyle/>
          <a:p>
            <a:pPr algn="ctr"/>
            <a:r>
              <a:rPr lang="en-US" sz="1400" b="1" dirty="0">
                <a:latin typeface="+mj-lt"/>
                <a:cs typeface="Times New Roman" pitchFamily="18" charset="0"/>
              </a:rPr>
              <a:t>Insert text here</a:t>
            </a:r>
          </a:p>
          <a:p>
            <a:pPr algn="ctr"/>
            <a:r>
              <a:rPr lang="en-US" sz="1400" dirty="0"/>
              <a:t>This is dummy text it is not here to be read. This is dummy text it is not here to be read.</a:t>
            </a:r>
          </a:p>
        </p:txBody>
      </p:sp>
      <p:sp>
        <p:nvSpPr>
          <p:cNvPr id="61" name="Rectangle 60"/>
          <p:cNvSpPr/>
          <p:nvPr/>
        </p:nvSpPr>
        <p:spPr>
          <a:xfrm>
            <a:off x="5024669" y="1744192"/>
            <a:ext cx="1090615"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sp>
        <p:nvSpPr>
          <p:cNvPr id="62" name="Rectangle 61"/>
          <p:cNvSpPr/>
          <p:nvPr/>
        </p:nvSpPr>
        <p:spPr>
          <a:xfrm>
            <a:off x="6541026" y="1744192"/>
            <a:ext cx="1090615"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3" name="Rectangle 62"/>
          <p:cNvSpPr/>
          <p:nvPr/>
        </p:nvSpPr>
        <p:spPr>
          <a:xfrm>
            <a:off x="7888155" y="2839069"/>
            <a:ext cx="825579"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sp>
        <p:nvSpPr>
          <p:cNvPr id="64" name="Rectangle 63"/>
          <p:cNvSpPr/>
          <p:nvPr/>
        </p:nvSpPr>
        <p:spPr>
          <a:xfrm>
            <a:off x="7888654" y="4481619"/>
            <a:ext cx="824581"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5" name="Rectangle 64"/>
          <p:cNvSpPr/>
          <p:nvPr/>
        </p:nvSpPr>
        <p:spPr>
          <a:xfrm>
            <a:off x="6541026" y="5676879"/>
            <a:ext cx="1090615"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6" name="Rectangle 65"/>
          <p:cNvSpPr/>
          <p:nvPr/>
        </p:nvSpPr>
        <p:spPr>
          <a:xfrm>
            <a:off x="5024669" y="5676879"/>
            <a:ext cx="1090615" cy="153888"/>
          </a:xfrm>
          <a:prstGeom prst="rect">
            <a:avLst/>
          </a:prstGeom>
        </p:spPr>
        <p:txBody>
          <a:bodyPr wrap="square" lIns="0" tIns="0" rIns="0" bIns="0">
            <a:spAutoFit/>
          </a:bodyPr>
          <a:lstStyle/>
          <a:p>
            <a:pPr algn="ctr"/>
            <a:r>
              <a:rPr lang="en-US" sz="1000" b="1" dirty="0" err="1"/>
              <a:t>Lorem</a:t>
            </a:r>
            <a:r>
              <a:rPr lang="en-US" sz="1000" b="1" dirty="0"/>
              <a:t> </a:t>
            </a:r>
            <a:r>
              <a:rPr lang="en-US" sz="1000" b="1" dirty="0" err="1"/>
              <a:t>ipsum</a:t>
            </a:r>
            <a:endParaRPr lang="en-US" sz="800" dirty="0"/>
          </a:p>
        </p:txBody>
      </p:sp>
      <p:sp>
        <p:nvSpPr>
          <p:cNvPr id="67" name="Rectangle 66"/>
          <p:cNvSpPr/>
          <p:nvPr/>
        </p:nvSpPr>
        <p:spPr>
          <a:xfrm>
            <a:off x="3911701" y="4505110"/>
            <a:ext cx="860714"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sp>
        <p:nvSpPr>
          <p:cNvPr id="68" name="Rectangle 67"/>
          <p:cNvSpPr/>
          <p:nvPr/>
        </p:nvSpPr>
        <p:spPr>
          <a:xfrm>
            <a:off x="3920816" y="2839069"/>
            <a:ext cx="842484" cy="153888"/>
          </a:xfrm>
          <a:prstGeom prst="rect">
            <a:avLst/>
          </a:prstGeom>
        </p:spPr>
        <p:txBody>
          <a:bodyPr wrap="square" lIns="0" tIns="0" rIns="0" bIns="0">
            <a:spAutoFit/>
          </a:bodyPr>
          <a:lstStyle/>
          <a:p>
            <a:pPr algn="ctr"/>
            <a:r>
              <a:rPr lang="en-US" sz="1000" b="1" dirty="0" err="1">
                <a:solidFill>
                  <a:schemeClr val="bg1"/>
                </a:solidFill>
              </a:rPr>
              <a:t>Lorem</a:t>
            </a:r>
            <a:r>
              <a:rPr lang="en-US" sz="1000" b="1" dirty="0">
                <a:solidFill>
                  <a:schemeClr val="bg1"/>
                </a:solidFill>
              </a:rPr>
              <a:t> </a:t>
            </a:r>
            <a:r>
              <a:rPr lang="en-US" sz="1000" b="1" dirty="0" err="1">
                <a:solidFill>
                  <a:schemeClr val="bg1"/>
                </a:solidFill>
              </a:rPr>
              <a:t>ipsum</a:t>
            </a:r>
            <a:endParaRPr lang="en-US" sz="800" dirty="0">
              <a:solidFill>
                <a:schemeClr val="bg1"/>
              </a:solidFill>
            </a:endParaRPr>
          </a:p>
        </p:txBody>
      </p:sp>
      <p:grpSp>
        <p:nvGrpSpPr>
          <p:cNvPr id="81" name="Group 80"/>
          <p:cNvGrpSpPr>
            <a:grpSpLocks noChangeAspect="1"/>
          </p:cNvGrpSpPr>
          <p:nvPr/>
        </p:nvGrpSpPr>
        <p:grpSpPr bwMode="auto">
          <a:xfrm>
            <a:off x="5313415" y="1177565"/>
            <a:ext cx="513122" cy="513122"/>
            <a:chOff x="6579" y="3604"/>
            <a:chExt cx="340" cy="340"/>
          </a:xfrm>
          <a:solidFill>
            <a:schemeClr val="bg1"/>
          </a:solidFill>
        </p:grpSpPr>
        <p:sp>
          <p:nvSpPr>
            <p:cNvPr id="82" name="Freeform 823"/>
            <p:cNvSpPr>
              <a:spLocks noEditPoints="1"/>
            </p:cNvSpPr>
            <p:nvPr/>
          </p:nvSpPr>
          <p:spPr bwMode="auto">
            <a:xfrm>
              <a:off x="6579" y="36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824"/>
            <p:cNvSpPr>
              <a:spLocks noEditPoints="1"/>
            </p:cNvSpPr>
            <p:nvPr/>
          </p:nvSpPr>
          <p:spPr bwMode="auto">
            <a:xfrm>
              <a:off x="6663" y="3668"/>
              <a:ext cx="172" cy="212"/>
            </a:xfrm>
            <a:custGeom>
              <a:avLst/>
              <a:gdLst>
                <a:gd name="T0" fmla="*/ 246 w 258"/>
                <a:gd name="T1" fmla="*/ 256 h 320"/>
                <a:gd name="T2" fmla="*/ 182 w 258"/>
                <a:gd name="T3" fmla="*/ 117 h 320"/>
                <a:gd name="T4" fmla="*/ 86 w 258"/>
                <a:gd name="T5" fmla="*/ 106 h 320"/>
                <a:gd name="T6" fmla="*/ 75 w 258"/>
                <a:gd name="T7" fmla="*/ 256 h 320"/>
                <a:gd name="T8" fmla="*/ 1 w 258"/>
                <a:gd name="T9" fmla="*/ 262 h 320"/>
                <a:gd name="T10" fmla="*/ 46 w 258"/>
                <a:gd name="T11" fmla="*/ 317 h 320"/>
                <a:gd name="T12" fmla="*/ 203 w 258"/>
                <a:gd name="T13" fmla="*/ 320 h 320"/>
                <a:gd name="T14" fmla="*/ 254 w 258"/>
                <a:gd name="T15" fmla="*/ 274 h 320"/>
                <a:gd name="T16" fmla="*/ 97 w 258"/>
                <a:gd name="T17" fmla="*/ 128 h 320"/>
                <a:gd name="T18" fmla="*/ 161 w 258"/>
                <a:gd name="T19" fmla="*/ 256 h 320"/>
                <a:gd name="T20" fmla="*/ 139 w 258"/>
                <a:gd name="T21" fmla="*/ 213 h 320"/>
                <a:gd name="T22" fmla="*/ 118 w 258"/>
                <a:gd name="T23" fmla="*/ 213 h 320"/>
                <a:gd name="T24" fmla="*/ 97 w 258"/>
                <a:gd name="T25" fmla="*/ 256 h 320"/>
                <a:gd name="T26" fmla="*/ 199 w 258"/>
                <a:gd name="T27" fmla="*/ 298 h 320"/>
                <a:gd name="T28" fmla="*/ 37 w 258"/>
                <a:gd name="T29" fmla="*/ 277 h 320"/>
                <a:gd name="T30" fmla="*/ 199 w 258"/>
                <a:gd name="T31" fmla="*/ 298 h 320"/>
                <a:gd name="T32" fmla="*/ 127 w 258"/>
                <a:gd name="T33" fmla="*/ 85 h 320"/>
                <a:gd name="T34" fmla="*/ 130 w 258"/>
                <a:gd name="T35" fmla="*/ 85 h 320"/>
                <a:gd name="T36" fmla="*/ 134 w 258"/>
                <a:gd name="T37" fmla="*/ 85 h 320"/>
                <a:gd name="T38" fmla="*/ 160 w 258"/>
                <a:gd name="T39" fmla="*/ 41 h 320"/>
                <a:gd name="T40" fmla="*/ 157 w 258"/>
                <a:gd name="T41" fmla="*/ 35 h 320"/>
                <a:gd name="T42" fmla="*/ 148 w 258"/>
                <a:gd name="T43" fmla="*/ 24 h 320"/>
                <a:gd name="T44" fmla="*/ 130 w 258"/>
                <a:gd name="T45" fmla="*/ 0 h 320"/>
                <a:gd name="T46" fmla="*/ 125 w 258"/>
                <a:gd name="T47" fmla="*/ 0 h 320"/>
                <a:gd name="T48" fmla="*/ 112 w 258"/>
                <a:gd name="T49" fmla="*/ 23 h 320"/>
                <a:gd name="T50" fmla="*/ 103 w 258"/>
                <a:gd name="T51" fmla="*/ 35 h 320"/>
                <a:gd name="T52" fmla="*/ 101 w 258"/>
                <a:gd name="T53" fmla="*/ 41 h 320"/>
                <a:gd name="T54" fmla="*/ 126 w 258"/>
                <a:gd name="T55" fmla="*/ 85 h 320"/>
                <a:gd name="T56" fmla="*/ 131 w 258"/>
                <a:gd name="T57" fmla="*/ 64 h 320"/>
                <a:gd name="T58" fmla="*/ 130 w 258"/>
                <a:gd name="T59" fmla="*/ 64 h 320"/>
                <a:gd name="T60" fmla="*/ 129 w 258"/>
                <a:gd name="T61" fmla="*/ 64 h 320"/>
                <a:gd name="T62" fmla="*/ 119 w 258"/>
                <a:gd name="T63" fmla="*/ 53 h 320"/>
                <a:gd name="T64" fmla="*/ 122 w 258"/>
                <a:gd name="T65" fmla="*/ 47 h 320"/>
                <a:gd name="T66" fmla="*/ 130 w 258"/>
                <a:gd name="T67" fmla="*/ 36 h 320"/>
                <a:gd name="T68" fmla="*/ 141 w 258"/>
                <a:gd name="T69" fmla="*/ 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8" h="320">
                  <a:moveTo>
                    <a:pt x="256" y="262"/>
                  </a:moveTo>
                  <a:cubicBezTo>
                    <a:pt x="254" y="258"/>
                    <a:pt x="250" y="256"/>
                    <a:pt x="246" y="256"/>
                  </a:cubicBezTo>
                  <a:cubicBezTo>
                    <a:pt x="182" y="256"/>
                    <a:pt x="182" y="256"/>
                    <a:pt x="182" y="256"/>
                  </a:cubicBezTo>
                  <a:cubicBezTo>
                    <a:pt x="182" y="117"/>
                    <a:pt x="182" y="117"/>
                    <a:pt x="182" y="117"/>
                  </a:cubicBezTo>
                  <a:cubicBezTo>
                    <a:pt x="182" y="111"/>
                    <a:pt x="177" y="106"/>
                    <a:pt x="171" y="106"/>
                  </a:cubicBezTo>
                  <a:cubicBezTo>
                    <a:pt x="86" y="106"/>
                    <a:pt x="86" y="106"/>
                    <a:pt x="86" y="106"/>
                  </a:cubicBezTo>
                  <a:cubicBezTo>
                    <a:pt x="80" y="106"/>
                    <a:pt x="75" y="111"/>
                    <a:pt x="75" y="117"/>
                  </a:cubicBezTo>
                  <a:cubicBezTo>
                    <a:pt x="75" y="256"/>
                    <a:pt x="75" y="256"/>
                    <a:pt x="75" y="256"/>
                  </a:cubicBezTo>
                  <a:cubicBezTo>
                    <a:pt x="11" y="256"/>
                    <a:pt x="11" y="256"/>
                    <a:pt x="11" y="256"/>
                  </a:cubicBezTo>
                  <a:cubicBezTo>
                    <a:pt x="7" y="256"/>
                    <a:pt x="3" y="258"/>
                    <a:pt x="1" y="262"/>
                  </a:cubicBezTo>
                  <a:cubicBezTo>
                    <a:pt x="0" y="266"/>
                    <a:pt x="1" y="271"/>
                    <a:pt x="4" y="274"/>
                  </a:cubicBezTo>
                  <a:cubicBezTo>
                    <a:pt x="46" y="317"/>
                    <a:pt x="46" y="317"/>
                    <a:pt x="46" y="317"/>
                  </a:cubicBezTo>
                  <a:cubicBezTo>
                    <a:pt x="48" y="319"/>
                    <a:pt x="51" y="320"/>
                    <a:pt x="54" y="320"/>
                  </a:cubicBezTo>
                  <a:cubicBezTo>
                    <a:pt x="203" y="320"/>
                    <a:pt x="203" y="320"/>
                    <a:pt x="203" y="320"/>
                  </a:cubicBezTo>
                  <a:cubicBezTo>
                    <a:pt x="206" y="320"/>
                    <a:pt x="209" y="319"/>
                    <a:pt x="211" y="317"/>
                  </a:cubicBezTo>
                  <a:cubicBezTo>
                    <a:pt x="254" y="274"/>
                    <a:pt x="254" y="274"/>
                    <a:pt x="254" y="274"/>
                  </a:cubicBezTo>
                  <a:cubicBezTo>
                    <a:pt x="257" y="271"/>
                    <a:pt x="258" y="266"/>
                    <a:pt x="256" y="262"/>
                  </a:cubicBezTo>
                  <a:close/>
                  <a:moveTo>
                    <a:pt x="97" y="128"/>
                  </a:moveTo>
                  <a:cubicBezTo>
                    <a:pt x="161" y="128"/>
                    <a:pt x="161" y="128"/>
                    <a:pt x="161" y="128"/>
                  </a:cubicBezTo>
                  <a:cubicBezTo>
                    <a:pt x="161" y="256"/>
                    <a:pt x="161" y="256"/>
                    <a:pt x="161" y="256"/>
                  </a:cubicBezTo>
                  <a:cubicBezTo>
                    <a:pt x="139" y="256"/>
                    <a:pt x="139" y="256"/>
                    <a:pt x="139" y="256"/>
                  </a:cubicBezTo>
                  <a:cubicBezTo>
                    <a:pt x="139" y="213"/>
                    <a:pt x="139" y="213"/>
                    <a:pt x="139" y="213"/>
                  </a:cubicBezTo>
                  <a:cubicBezTo>
                    <a:pt x="139" y="207"/>
                    <a:pt x="135" y="202"/>
                    <a:pt x="129" y="202"/>
                  </a:cubicBezTo>
                  <a:cubicBezTo>
                    <a:pt x="123" y="202"/>
                    <a:pt x="118" y="207"/>
                    <a:pt x="118" y="213"/>
                  </a:cubicBezTo>
                  <a:cubicBezTo>
                    <a:pt x="118" y="256"/>
                    <a:pt x="118" y="256"/>
                    <a:pt x="118" y="256"/>
                  </a:cubicBezTo>
                  <a:cubicBezTo>
                    <a:pt x="97" y="256"/>
                    <a:pt x="97" y="256"/>
                    <a:pt x="97" y="256"/>
                  </a:cubicBezTo>
                  <a:lnTo>
                    <a:pt x="97" y="128"/>
                  </a:lnTo>
                  <a:close/>
                  <a:moveTo>
                    <a:pt x="199" y="298"/>
                  </a:moveTo>
                  <a:cubicBezTo>
                    <a:pt x="58" y="298"/>
                    <a:pt x="58" y="298"/>
                    <a:pt x="58" y="298"/>
                  </a:cubicBezTo>
                  <a:cubicBezTo>
                    <a:pt x="37" y="277"/>
                    <a:pt x="37" y="277"/>
                    <a:pt x="37" y="277"/>
                  </a:cubicBezTo>
                  <a:cubicBezTo>
                    <a:pt x="220" y="277"/>
                    <a:pt x="220" y="277"/>
                    <a:pt x="220" y="277"/>
                  </a:cubicBezTo>
                  <a:lnTo>
                    <a:pt x="199" y="298"/>
                  </a:lnTo>
                  <a:close/>
                  <a:moveTo>
                    <a:pt x="126" y="85"/>
                  </a:moveTo>
                  <a:cubicBezTo>
                    <a:pt x="127" y="85"/>
                    <a:pt x="127" y="85"/>
                    <a:pt x="127" y="85"/>
                  </a:cubicBezTo>
                  <a:cubicBezTo>
                    <a:pt x="128" y="85"/>
                    <a:pt x="128" y="85"/>
                    <a:pt x="129" y="85"/>
                  </a:cubicBezTo>
                  <a:cubicBezTo>
                    <a:pt x="130" y="85"/>
                    <a:pt x="130" y="85"/>
                    <a:pt x="130" y="85"/>
                  </a:cubicBezTo>
                  <a:cubicBezTo>
                    <a:pt x="130" y="85"/>
                    <a:pt x="130" y="85"/>
                    <a:pt x="130" y="85"/>
                  </a:cubicBezTo>
                  <a:cubicBezTo>
                    <a:pt x="132" y="85"/>
                    <a:pt x="133" y="85"/>
                    <a:pt x="134" y="85"/>
                  </a:cubicBezTo>
                  <a:cubicBezTo>
                    <a:pt x="150" y="83"/>
                    <a:pt x="163" y="69"/>
                    <a:pt x="163" y="53"/>
                  </a:cubicBezTo>
                  <a:cubicBezTo>
                    <a:pt x="163" y="49"/>
                    <a:pt x="162" y="45"/>
                    <a:pt x="160" y="41"/>
                  </a:cubicBezTo>
                  <a:cubicBezTo>
                    <a:pt x="160" y="40"/>
                    <a:pt x="160" y="40"/>
                    <a:pt x="160" y="39"/>
                  </a:cubicBezTo>
                  <a:cubicBezTo>
                    <a:pt x="157" y="35"/>
                    <a:pt x="157" y="35"/>
                    <a:pt x="157" y="35"/>
                  </a:cubicBezTo>
                  <a:cubicBezTo>
                    <a:pt x="157" y="35"/>
                    <a:pt x="157" y="34"/>
                    <a:pt x="156" y="34"/>
                  </a:cubicBezTo>
                  <a:cubicBezTo>
                    <a:pt x="156" y="34"/>
                    <a:pt x="151" y="28"/>
                    <a:pt x="148" y="24"/>
                  </a:cubicBezTo>
                  <a:cubicBezTo>
                    <a:pt x="145" y="19"/>
                    <a:pt x="143" y="15"/>
                    <a:pt x="143" y="12"/>
                  </a:cubicBezTo>
                  <a:cubicBezTo>
                    <a:pt x="142" y="5"/>
                    <a:pt x="137" y="0"/>
                    <a:pt x="130" y="0"/>
                  </a:cubicBezTo>
                  <a:cubicBezTo>
                    <a:pt x="130" y="0"/>
                    <a:pt x="130" y="0"/>
                    <a:pt x="129" y="0"/>
                  </a:cubicBezTo>
                  <a:cubicBezTo>
                    <a:pt x="128" y="0"/>
                    <a:pt x="127" y="0"/>
                    <a:pt x="125" y="0"/>
                  </a:cubicBezTo>
                  <a:cubicBezTo>
                    <a:pt x="121" y="2"/>
                    <a:pt x="117" y="6"/>
                    <a:pt x="117" y="12"/>
                  </a:cubicBezTo>
                  <a:cubicBezTo>
                    <a:pt x="117" y="15"/>
                    <a:pt x="115" y="19"/>
                    <a:pt x="112" y="23"/>
                  </a:cubicBezTo>
                  <a:cubicBezTo>
                    <a:pt x="109" y="28"/>
                    <a:pt x="104" y="34"/>
                    <a:pt x="104" y="34"/>
                  </a:cubicBezTo>
                  <a:cubicBezTo>
                    <a:pt x="104" y="34"/>
                    <a:pt x="104" y="35"/>
                    <a:pt x="103" y="35"/>
                  </a:cubicBezTo>
                  <a:cubicBezTo>
                    <a:pt x="101" y="40"/>
                    <a:pt x="101" y="40"/>
                    <a:pt x="101" y="40"/>
                  </a:cubicBezTo>
                  <a:cubicBezTo>
                    <a:pt x="101" y="40"/>
                    <a:pt x="101" y="40"/>
                    <a:pt x="101" y="41"/>
                  </a:cubicBezTo>
                  <a:cubicBezTo>
                    <a:pt x="99" y="45"/>
                    <a:pt x="98" y="49"/>
                    <a:pt x="98" y="53"/>
                  </a:cubicBezTo>
                  <a:cubicBezTo>
                    <a:pt x="98" y="69"/>
                    <a:pt x="110" y="83"/>
                    <a:pt x="126" y="85"/>
                  </a:cubicBezTo>
                  <a:close/>
                  <a:moveTo>
                    <a:pt x="141" y="53"/>
                  </a:moveTo>
                  <a:cubicBezTo>
                    <a:pt x="141" y="58"/>
                    <a:pt x="137" y="63"/>
                    <a:pt x="131" y="64"/>
                  </a:cubicBezTo>
                  <a:cubicBezTo>
                    <a:pt x="131" y="64"/>
                    <a:pt x="131" y="64"/>
                    <a:pt x="130" y="64"/>
                  </a:cubicBezTo>
                  <a:cubicBezTo>
                    <a:pt x="130" y="64"/>
                    <a:pt x="130" y="64"/>
                    <a:pt x="130" y="64"/>
                  </a:cubicBezTo>
                  <a:cubicBezTo>
                    <a:pt x="130" y="64"/>
                    <a:pt x="130" y="64"/>
                    <a:pt x="130" y="64"/>
                  </a:cubicBezTo>
                  <a:cubicBezTo>
                    <a:pt x="130" y="64"/>
                    <a:pt x="129" y="64"/>
                    <a:pt x="129" y="64"/>
                  </a:cubicBezTo>
                  <a:cubicBezTo>
                    <a:pt x="129" y="64"/>
                    <a:pt x="129" y="64"/>
                    <a:pt x="129" y="64"/>
                  </a:cubicBezTo>
                  <a:cubicBezTo>
                    <a:pt x="124" y="63"/>
                    <a:pt x="119" y="58"/>
                    <a:pt x="119" y="53"/>
                  </a:cubicBezTo>
                  <a:cubicBezTo>
                    <a:pt x="119" y="52"/>
                    <a:pt x="120" y="51"/>
                    <a:pt x="120" y="49"/>
                  </a:cubicBezTo>
                  <a:cubicBezTo>
                    <a:pt x="122" y="47"/>
                    <a:pt x="122" y="47"/>
                    <a:pt x="122" y="47"/>
                  </a:cubicBezTo>
                  <a:cubicBezTo>
                    <a:pt x="123" y="45"/>
                    <a:pt x="127" y="40"/>
                    <a:pt x="130" y="35"/>
                  </a:cubicBezTo>
                  <a:cubicBezTo>
                    <a:pt x="130" y="35"/>
                    <a:pt x="130" y="35"/>
                    <a:pt x="130" y="36"/>
                  </a:cubicBezTo>
                  <a:cubicBezTo>
                    <a:pt x="134" y="40"/>
                    <a:pt x="138" y="45"/>
                    <a:pt x="139" y="47"/>
                  </a:cubicBezTo>
                  <a:cubicBezTo>
                    <a:pt x="141" y="50"/>
                    <a:pt x="141" y="50"/>
                    <a:pt x="141" y="50"/>
                  </a:cubicBezTo>
                  <a:cubicBezTo>
                    <a:pt x="141" y="51"/>
                    <a:pt x="141" y="52"/>
                    <a:pt x="141"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4" name="Group 920"/>
          <p:cNvGrpSpPr>
            <a:grpSpLocks noChangeAspect="1"/>
          </p:cNvGrpSpPr>
          <p:nvPr/>
        </p:nvGrpSpPr>
        <p:grpSpPr bwMode="auto">
          <a:xfrm>
            <a:off x="8044383" y="3926366"/>
            <a:ext cx="513122" cy="513122"/>
            <a:chOff x="5645" y="4510"/>
            <a:chExt cx="340" cy="340"/>
          </a:xfrm>
          <a:solidFill>
            <a:schemeClr val="tx1"/>
          </a:solidFill>
        </p:grpSpPr>
        <p:sp>
          <p:nvSpPr>
            <p:cNvPr id="85"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7" name="Group 929"/>
          <p:cNvGrpSpPr>
            <a:grpSpLocks noChangeAspect="1"/>
          </p:cNvGrpSpPr>
          <p:nvPr/>
        </p:nvGrpSpPr>
        <p:grpSpPr bwMode="auto">
          <a:xfrm>
            <a:off x="4085497" y="2295443"/>
            <a:ext cx="513122" cy="513122"/>
            <a:chOff x="5834" y="4699"/>
            <a:chExt cx="340" cy="340"/>
          </a:xfrm>
          <a:solidFill>
            <a:schemeClr val="bg1"/>
          </a:solidFill>
        </p:grpSpPr>
        <p:sp>
          <p:nvSpPr>
            <p:cNvPr id="88" name="Freeform 87"/>
            <p:cNvSpPr>
              <a:spLocks noEditPoints="1"/>
            </p:cNvSpPr>
            <p:nvPr/>
          </p:nvSpPr>
          <p:spPr bwMode="auto">
            <a:xfrm>
              <a:off x="5953" y="4761"/>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88"/>
            <p:cNvSpPr>
              <a:spLocks noEditPoints="1"/>
            </p:cNvSpPr>
            <p:nvPr/>
          </p:nvSpPr>
          <p:spPr bwMode="auto">
            <a:xfrm>
              <a:off x="5834" y="46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0" name="Group 938"/>
          <p:cNvGrpSpPr>
            <a:grpSpLocks noChangeAspect="1"/>
          </p:cNvGrpSpPr>
          <p:nvPr/>
        </p:nvGrpSpPr>
        <p:grpSpPr bwMode="auto">
          <a:xfrm>
            <a:off x="6829772" y="1177565"/>
            <a:ext cx="513122" cy="513122"/>
            <a:chOff x="942" y="3861"/>
            <a:chExt cx="340" cy="340"/>
          </a:xfrm>
          <a:solidFill>
            <a:schemeClr val="tx1"/>
          </a:solidFill>
        </p:grpSpPr>
        <p:sp>
          <p:nvSpPr>
            <p:cNvPr id="91" name="Freeform 939"/>
            <p:cNvSpPr>
              <a:spLocks noEditPoints="1"/>
            </p:cNvSpPr>
            <p:nvPr/>
          </p:nvSpPr>
          <p:spPr bwMode="auto">
            <a:xfrm>
              <a:off x="1062" y="3925"/>
              <a:ext cx="99" cy="212"/>
            </a:xfrm>
            <a:custGeom>
              <a:avLst/>
              <a:gdLst>
                <a:gd name="T0" fmla="*/ 139 w 149"/>
                <a:gd name="T1" fmla="*/ 256 h 320"/>
                <a:gd name="T2" fmla="*/ 126 w 149"/>
                <a:gd name="T3" fmla="*/ 256 h 320"/>
                <a:gd name="T4" fmla="*/ 107 w 149"/>
                <a:gd name="T5" fmla="*/ 160 h 320"/>
                <a:gd name="T6" fmla="*/ 128 w 149"/>
                <a:gd name="T7" fmla="*/ 77 h 320"/>
                <a:gd name="T8" fmla="*/ 126 w 149"/>
                <a:gd name="T9" fmla="*/ 68 h 320"/>
                <a:gd name="T10" fmla="*/ 117 w 149"/>
                <a:gd name="T11" fmla="*/ 64 h 320"/>
                <a:gd name="T12" fmla="*/ 85 w 149"/>
                <a:gd name="T13" fmla="*/ 64 h 320"/>
                <a:gd name="T14" fmla="*/ 85 w 149"/>
                <a:gd name="T15" fmla="*/ 42 h 320"/>
                <a:gd name="T16" fmla="*/ 96 w 149"/>
                <a:gd name="T17" fmla="*/ 42 h 320"/>
                <a:gd name="T18" fmla="*/ 107 w 149"/>
                <a:gd name="T19" fmla="*/ 32 h 320"/>
                <a:gd name="T20" fmla="*/ 96 w 149"/>
                <a:gd name="T21" fmla="*/ 21 h 320"/>
                <a:gd name="T22" fmla="*/ 85 w 149"/>
                <a:gd name="T23" fmla="*/ 21 h 320"/>
                <a:gd name="T24" fmla="*/ 85 w 149"/>
                <a:gd name="T25" fmla="*/ 10 h 320"/>
                <a:gd name="T26" fmla="*/ 75 w 149"/>
                <a:gd name="T27" fmla="*/ 0 h 320"/>
                <a:gd name="T28" fmla="*/ 64 w 149"/>
                <a:gd name="T29" fmla="*/ 10 h 320"/>
                <a:gd name="T30" fmla="*/ 64 w 149"/>
                <a:gd name="T31" fmla="*/ 21 h 320"/>
                <a:gd name="T32" fmla="*/ 53 w 149"/>
                <a:gd name="T33" fmla="*/ 21 h 320"/>
                <a:gd name="T34" fmla="*/ 43 w 149"/>
                <a:gd name="T35" fmla="*/ 32 h 320"/>
                <a:gd name="T36" fmla="*/ 53 w 149"/>
                <a:gd name="T37" fmla="*/ 42 h 320"/>
                <a:gd name="T38" fmla="*/ 64 w 149"/>
                <a:gd name="T39" fmla="*/ 42 h 320"/>
                <a:gd name="T40" fmla="*/ 64 w 149"/>
                <a:gd name="T41" fmla="*/ 64 h 320"/>
                <a:gd name="T42" fmla="*/ 32 w 149"/>
                <a:gd name="T43" fmla="*/ 64 h 320"/>
                <a:gd name="T44" fmla="*/ 24 w 149"/>
                <a:gd name="T45" fmla="*/ 68 h 320"/>
                <a:gd name="T46" fmla="*/ 22 w 149"/>
                <a:gd name="T47" fmla="*/ 77 h 320"/>
                <a:gd name="T48" fmla="*/ 42 w 149"/>
                <a:gd name="T49" fmla="*/ 160 h 320"/>
                <a:gd name="T50" fmla="*/ 23 w 149"/>
                <a:gd name="T51" fmla="*/ 256 h 320"/>
                <a:gd name="T52" fmla="*/ 11 w 149"/>
                <a:gd name="T53" fmla="*/ 256 h 320"/>
                <a:gd name="T54" fmla="*/ 0 w 149"/>
                <a:gd name="T55" fmla="*/ 266 h 320"/>
                <a:gd name="T56" fmla="*/ 0 w 149"/>
                <a:gd name="T57" fmla="*/ 309 h 320"/>
                <a:gd name="T58" fmla="*/ 11 w 149"/>
                <a:gd name="T59" fmla="*/ 320 h 320"/>
                <a:gd name="T60" fmla="*/ 139 w 149"/>
                <a:gd name="T61" fmla="*/ 320 h 320"/>
                <a:gd name="T62" fmla="*/ 149 w 149"/>
                <a:gd name="T63" fmla="*/ 309 h 320"/>
                <a:gd name="T64" fmla="*/ 149 w 149"/>
                <a:gd name="T65" fmla="*/ 266 h 320"/>
                <a:gd name="T66" fmla="*/ 139 w 149"/>
                <a:gd name="T67" fmla="*/ 256 h 320"/>
                <a:gd name="T68" fmla="*/ 104 w 149"/>
                <a:gd name="T69" fmla="*/ 85 h 320"/>
                <a:gd name="T70" fmla="*/ 88 w 149"/>
                <a:gd name="T71" fmla="*/ 149 h 320"/>
                <a:gd name="T72" fmla="*/ 62 w 149"/>
                <a:gd name="T73" fmla="*/ 149 h 320"/>
                <a:gd name="T74" fmla="*/ 46 w 149"/>
                <a:gd name="T75" fmla="*/ 85 h 320"/>
                <a:gd name="T76" fmla="*/ 104 w 149"/>
                <a:gd name="T77" fmla="*/ 85 h 320"/>
                <a:gd name="T78" fmla="*/ 62 w 149"/>
                <a:gd name="T79" fmla="*/ 170 h 320"/>
                <a:gd name="T80" fmla="*/ 87 w 149"/>
                <a:gd name="T81" fmla="*/ 170 h 320"/>
                <a:gd name="T82" fmla="*/ 104 w 149"/>
                <a:gd name="T83" fmla="*/ 256 h 320"/>
                <a:gd name="T84" fmla="*/ 45 w 149"/>
                <a:gd name="T85" fmla="*/ 256 h 320"/>
                <a:gd name="T86" fmla="*/ 62 w 149"/>
                <a:gd name="T87" fmla="*/ 170 h 320"/>
                <a:gd name="T88" fmla="*/ 128 w 149"/>
                <a:gd name="T89" fmla="*/ 298 h 320"/>
                <a:gd name="T90" fmla="*/ 21 w 149"/>
                <a:gd name="T91" fmla="*/ 298 h 320"/>
                <a:gd name="T92" fmla="*/ 21 w 149"/>
                <a:gd name="T93" fmla="*/ 277 h 320"/>
                <a:gd name="T94" fmla="*/ 128 w 149"/>
                <a:gd name="T95" fmla="*/ 277 h 320"/>
                <a:gd name="T96" fmla="*/ 128 w 149"/>
                <a:gd name="T9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320">
                  <a:moveTo>
                    <a:pt x="139" y="256"/>
                  </a:moveTo>
                  <a:cubicBezTo>
                    <a:pt x="126" y="256"/>
                    <a:pt x="126" y="256"/>
                    <a:pt x="126" y="256"/>
                  </a:cubicBezTo>
                  <a:cubicBezTo>
                    <a:pt x="107" y="160"/>
                    <a:pt x="107" y="160"/>
                    <a:pt x="107" y="160"/>
                  </a:cubicBezTo>
                  <a:cubicBezTo>
                    <a:pt x="128" y="77"/>
                    <a:pt x="128" y="77"/>
                    <a:pt x="128" y="77"/>
                  </a:cubicBezTo>
                  <a:cubicBezTo>
                    <a:pt x="128" y="74"/>
                    <a:pt x="128" y="70"/>
                    <a:pt x="126" y="68"/>
                  </a:cubicBezTo>
                  <a:cubicBezTo>
                    <a:pt x="124" y="65"/>
                    <a:pt x="121" y="64"/>
                    <a:pt x="117" y="64"/>
                  </a:cubicBezTo>
                  <a:cubicBezTo>
                    <a:pt x="85" y="64"/>
                    <a:pt x="85" y="64"/>
                    <a:pt x="85" y="64"/>
                  </a:cubicBezTo>
                  <a:cubicBezTo>
                    <a:pt x="85" y="42"/>
                    <a:pt x="85" y="42"/>
                    <a:pt x="85" y="42"/>
                  </a:cubicBezTo>
                  <a:cubicBezTo>
                    <a:pt x="96" y="42"/>
                    <a:pt x="96" y="42"/>
                    <a:pt x="96" y="42"/>
                  </a:cubicBezTo>
                  <a:cubicBezTo>
                    <a:pt x="102" y="42"/>
                    <a:pt x="107" y="38"/>
                    <a:pt x="107" y="32"/>
                  </a:cubicBezTo>
                  <a:cubicBezTo>
                    <a:pt x="107" y="26"/>
                    <a:pt x="102" y="21"/>
                    <a:pt x="96"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53" y="21"/>
                    <a:pt x="53" y="21"/>
                    <a:pt x="53" y="21"/>
                  </a:cubicBezTo>
                  <a:cubicBezTo>
                    <a:pt x="47" y="21"/>
                    <a:pt x="43" y="26"/>
                    <a:pt x="43" y="32"/>
                  </a:cubicBezTo>
                  <a:cubicBezTo>
                    <a:pt x="43" y="38"/>
                    <a:pt x="47" y="42"/>
                    <a:pt x="53" y="42"/>
                  </a:cubicBezTo>
                  <a:cubicBezTo>
                    <a:pt x="64" y="42"/>
                    <a:pt x="64" y="42"/>
                    <a:pt x="64" y="42"/>
                  </a:cubicBezTo>
                  <a:cubicBezTo>
                    <a:pt x="64" y="64"/>
                    <a:pt x="64" y="64"/>
                    <a:pt x="64" y="64"/>
                  </a:cubicBezTo>
                  <a:cubicBezTo>
                    <a:pt x="32" y="64"/>
                    <a:pt x="32" y="64"/>
                    <a:pt x="32" y="64"/>
                  </a:cubicBezTo>
                  <a:cubicBezTo>
                    <a:pt x="29" y="64"/>
                    <a:pt x="26" y="65"/>
                    <a:pt x="24" y="68"/>
                  </a:cubicBezTo>
                  <a:cubicBezTo>
                    <a:pt x="22" y="70"/>
                    <a:pt x="21" y="74"/>
                    <a:pt x="22" y="77"/>
                  </a:cubicBezTo>
                  <a:cubicBezTo>
                    <a:pt x="42" y="160"/>
                    <a:pt x="42" y="160"/>
                    <a:pt x="42" y="160"/>
                  </a:cubicBezTo>
                  <a:cubicBezTo>
                    <a:pt x="23" y="256"/>
                    <a:pt x="23" y="256"/>
                    <a:pt x="2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104" y="85"/>
                  </a:moveTo>
                  <a:cubicBezTo>
                    <a:pt x="88" y="149"/>
                    <a:pt x="88" y="149"/>
                    <a:pt x="88" y="149"/>
                  </a:cubicBezTo>
                  <a:cubicBezTo>
                    <a:pt x="62" y="149"/>
                    <a:pt x="62" y="149"/>
                    <a:pt x="62" y="149"/>
                  </a:cubicBezTo>
                  <a:cubicBezTo>
                    <a:pt x="46" y="85"/>
                    <a:pt x="46" y="85"/>
                    <a:pt x="46" y="85"/>
                  </a:cubicBezTo>
                  <a:lnTo>
                    <a:pt x="104" y="85"/>
                  </a:lnTo>
                  <a:close/>
                  <a:moveTo>
                    <a:pt x="62" y="170"/>
                  </a:moveTo>
                  <a:cubicBezTo>
                    <a:pt x="87" y="170"/>
                    <a:pt x="87" y="170"/>
                    <a:pt x="87" y="170"/>
                  </a:cubicBezTo>
                  <a:cubicBezTo>
                    <a:pt x="104" y="256"/>
                    <a:pt x="104" y="256"/>
                    <a:pt x="104" y="256"/>
                  </a:cubicBezTo>
                  <a:cubicBezTo>
                    <a:pt x="45" y="256"/>
                    <a:pt x="45" y="256"/>
                    <a:pt x="45" y="256"/>
                  </a:cubicBezTo>
                  <a:lnTo>
                    <a:pt x="62" y="170"/>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940"/>
            <p:cNvSpPr>
              <a:spLocks noEditPoints="1"/>
            </p:cNvSpPr>
            <p:nvPr/>
          </p:nvSpPr>
          <p:spPr bwMode="auto">
            <a:xfrm>
              <a:off x="942" y="38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3" name="Group 947"/>
          <p:cNvGrpSpPr>
            <a:grpSpLocks noChangeAspect="1"/>
          </p:cNvGrpSpPr>
          <p:nvPr/>
        </p:nvGrpSpPr>
        <p:grpSpPr bwMode="auto">
          <a:xfrm>
            <a:off x="8044383" y="2295443"/>
            <a:ext cx="513122" cy="513122"/>
            <a:chOff x="1851" y="3960"/>
            <a:chExt cx="340" cy="340"/>
          </a:xfrm>
          <a:solidFill>
            <a:schemeClr val="bg1"/>
          </a:solidFill>
        </p:grpSpPr>
        <p:sp>
          <p:nvSpPr>
            <p:cNvPr id="94" name="Freeform 948"/>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949"/>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Group 956"/>
          <p:cNvGrpSpPr>
            <a:grpSpLocks noChangeAspect="1"/>
          </p:cNvGrpSpPr>
          <p:nvPr/>
        </p:nvGrpSpPr>
        <p:grpSpPr bwMode="auto">
          <a:xfrm>
            <a:off x="4085497" y="3930396"/>
            <a:ext cx="513122" cy="513122"/>
            <a:chOff x="2474" y="4027"/>
            <a:chExt cx="340" cy="340"/>
          </a:xfrm>
          <a:solidFill>
            <a:schemeClr val="bg1"/>
          </a:solidFill>
        </p:grpSpPr>
        <p:sp>
          <p:nvSpPr>
            <p:cNvPr id="97" name="Freeform 957"/>
            <p:cNvSpPr>
              <a:spLocks noEditPoints="1"/>
            </p:cNvSpPr>
            <p:nvPr/>
          </p:nvSpPr>
          <p:spPr bwMode="auto">
            <a:xfrm>
              <a:off x="2594" y="4105"/>
              <a:ext cx="99" cy="170"/>
            </a:xfrm>
            <a:custGeom>
              <a:avLst/>
              <a:gdLst>
                <a:gd name="T0" fmla="*/ 139 w 149"/>
                <a:gd name="T1" fmla="*/ 192 h 256"/>
                <a:gd name="T2" fmla="*/ 133 w 149"/>
                <a:gd name="T3" fmla="*/ 192 h 256"/>
                <a:gd name="T4" fmla="*/ 107 w 149"/>
                <a:gd name="T5" fmla="*/ 96 h 256"/>
                <a:gd name="T6" fmla="*/ 117 w 149"/>
                <a:gd name="T7" fmla="*/ 96 h 256"/>
                <a:gd name="T8" fmla="*/ 128 w 149"/>
                <a:gd name="T9" fmla="*/ 85 h 256"/>
                <a:gd name="T10" fmla="*/ 117 w 149"/>
                <a:gd name="T11" fmla="*/ 75 h 256"/>
                <a:gd name="T12" fmla="*/ 103 w 149"/>
                <a:gd name="T13" fmla="*/ 75 h 256"/>
                <a:gd name="T14" fmla="*/ 117 w 149"/>
                <a:gd name="T15" fmla="*/ 43 h 256"/>
                <a:gd name="T16" fmla="*/ 75 w 149"/>
                <a:gd name="T17" fmla="*/ 0 h 256"/>
                <a:gd name="T18" fmla="*/ 32 w 149"/>
                <a:gd name="T19" fmla="*/ 43 h 256"/>
                <a:gd name="T20" fmla="*/ 47 w 149"/>
                <a:gd name="T21" fmla="*/ 75 h 256"/>
                <a:gd name="T22" fmla="*/ 32 w 149"/>
                <a:gd name="T23" fmla="*/ 75 h 256"/>
                <a:gd name="T24" fmla="*/ 21 w 149"/>
                <a:gd name="T25" fmla="*/ 85 h 256"/>
                <a:gd name="T26" fmla="*/ 32 w 149"/>
                <a:gd name="T27" fmla="*/ 96 h 256"/>
                <a:gd name="T28" fmla="*/ 42 w 149"/>
                <a:gd name="T29" fmla="*/ 96 h 256"/>
                <a:gd name="T30" fmla="*/ 16 w 149"/>
                <a:gd name="T31" fmla="*/ 192 h 256"/>
                <a:gd name="T32" fmla="*/ 11 w 149"/>
                <a:gd name="T33" fmla="*/ 192 h 256"/>
                <a:gd name="T34" fmla="*/ 0 w 149"/>
                <a:gd name="T35" fmla="*/ 203 h 256"/>
                <a:gd name="T36" fmla="*/ 0 w 149"/>
                <a:gd name="T37" fmla="*/ 245 h 256"/>
                <a:gd name="T38" fmla="*/ 11 w 149"/>
                <a:gd name="T39" fmla="*/ 256 h 256"/>
                <a:gd name="T40" fmla="*/ 139 w 149"/>
                <a:gd name="T41" fmla="*/ 256 h 256"/>
                <a:gd name="T42" fmla="*/ 149 w 149"/>
                <a:gd name="T43" fmla="*/ 245 h 256"/>
                <a:gd name="T44" fmla="*/ 149 w 149"/>
                <a:gd name="T45" fmla="*/ 203 h 256"/>
                <a:gd name="T46" fmla="*/ 139 w 149"/>
                <a:gd name="T47" fmla="*/ 192 h 256"/>
                <a:gd name="T48" fmla="*/ 75 w 149"/>
                <a:gd name="T49" fmla="*/ 21 h 256"/>
                <a:gd name="T50" fmla="*/ 96 w 149"/>
                <a:gd name="T51" fmla="*/ 43 h 256"/>
                <a:gd name="T52" fmla="*/ 75 w 149"/>
                <a:gd name="T53" fmla="*/ 64 h 256"/>
                <a:gd name="T54" fmla="*/ 53 w 149"/>
                <a:gd name="T55" fmla="*/ 43 h 256"/>
                <a:gd name="T56" fmla="*/ 75 w 149"/>
                <a:gd name="T57" fmla="*/ 21 h 256"/>
                <a:gd name="T58" fmla="*/ 64 w 149"/>
                <a:gd name="T59" fmla="*/ 96 h 256"/>
                <a:gd name="T60" fmla="*/ 86 w 149"/>
                <a:gd name="T61" fmla="*/ 96 h 256"/>
                <a:gd name="T62" fmla="*/ 108 w 149"/>
                <a:gd name="T63" fmla="*/ 192 h 256"/>
                <a:gd name="T64" fmla="*/ 41 w 149"/>
                <a:gd name="T65" fmla="*/ 192 h 256"/>
                <a:gd name="T66" fmla="*/ 64 w 149"/>
                <a:gd name="T67" fmla="*/ 96 h 256"/>
                <a:gd name="T68" fmla="*/ 128 w 149"/>
                <a:gd name="T69" fmla="*/ 235 h 256"/>
                <a:gd name="T70" fmla="*/ 21 w 149"/>
                <a:gd name="T71" fmla="*/ 235 h 256"/>
                <a:gd name="T72" fmla="*/ 21 w 149"/>
                <a:gd name="T73" fmla="*/ 213 h 256"/>
                <a:gd name="T74" fmla="*/ 128 w 149"/>
                <a:gd name="T75" fmla="*/ 213 h 256"/>
                <a:gd name="T76" fmla="*/ 128 w 149"/>
                <a:gd name="T7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56">
                  <a:moveTo>
                    <a:pt x="139" y="192"/>
                  </a:moveTo>
                  <a:cubicBezTo>
                    <a:pt x="133" y="192"/>
                    <a:pt x="133" y="192"/>
                    <a:pt x="133" y="192"/>
                  </a:cubicBezTo>
                  <a:cubicBezTo>
                    <a:pt x="126" y="183"/>
                    <a:pt x="109" y="153"/>
                    <a:pt x="107" y="96"/>
                  </a:cubicBezTo>
                  <a:cubicBezTo>
                    <a:pt x="117" y="96"/>
                    <a:pt x="117" y="96"/>
                    <a:pt x="117" y="96"/>
                  </a:cubicBezTo>
                  <a:cubicBezTo>
                    <a:pt x="123" y="96"/>
                    <a:pt x="128" y="91"/>
                    <a:pt x="128" y="85"/>
                  </a:cubicBezTo>
                  <a:cubicBezTo>
                    <a:pt x="128" y="79"/>
                    <a:pt x="123" y="75"/>
                    <a:pt x="117" y="75"/>
                  </a:cubicBezTo>
                  <a:cubicBezTo>
                    <a:pt x="103" y="75"/>
                    <a:pt x="103" y="75"/>
                    <a:pt x="103" y="75"/>
                  </a:cubicBezTo>
                  <a:cubicBezTo>
                    <a:pt x="112" y="67"/>
                    <a:pt x="117" y="55"/>
                    <a:pt x="117" y="43"/>
                  </a:cubicBezTo>
                  <a:cubicBezTo>
                    <a:pt x="117" y="19"/>
                    <a:pt x="98" y="0"/>
                    <a:pt x="75" y="0"/>
                  </a:cubicBezTo>
                  <a:cubicBezTo>
                    <a:pt x="51" y="0"/>
                    <a:pt x="32" y="19"/>
                    <a:pt x="32" y="43"/>
                  </a:cubicBezTo>
                  <a:cubicBezTo>
                    <a:pt x="32" y="55"/>
                    <a:pt x="38" y="67"/>
                    <a:pt x="47" y="75"/>
                  </a:cubicBezTo>
                  <a:cubicBezTo>
                    <a:pt x="32" y="75"/>
                    <a:pt x="32" y="75"/>
                    <a:pt x="32" y="75"/>
                  </a:cubicBezTo>
                  <a:cubicBezTo>
                    <a:pt x="26" y="75"/>
                    <a:pt x="21" y="79"/>
                    <a:pt x="21" y="85"/>
                  </a:cubicBezTo>
                  <a:cubicBezTo>
                    <a:pt x="21" y="91"/>
                    <a:pt x="26" y="96"/>
                    <a:pt x="32" y="96"/>
                  </a:cubicBezTo>
                  <a:cubicBezTo>
                    <a:pt x="42" y="96"/>
                    <a:pt x="42" y="96"/>
                    <a:pt x="42" y="96"/>
                  </a:cubicBezTo>
                  <a:cubicBezTo>
                    <a:pt x="40" y="153"/>
                    <a:pt x="23" y="183"/>
                    <a:pt x="16" y="192"/>
                  </a:cubicBezTo>
                  <a:cubicBezTo>
                    <a:pt x="11" y="192"/>
                    <a:pt x="11" y="192"/>
                    <a:pt x="11" y="192"/>
                  </a:cubicBezTo>
                  <a:cubicBezTo>
                    <a:pt x="5" y="192"/>
                    <a:pt x="0" y="197"/>
                    <a:pt x="0" y="203"/>
                  </a:cubicBezTo>
                  <a:cubicBezTo>
                    <a:pt x="0" y="245"/>
                    <a:pt x="0" y="245"/>
                    <a:pt x="0" y="245"/>
                  </a:cubicBezTo>
                  <a:cubicBezTo>
                    <a:pt x="0" y="251"/>
                    <a:pt x="5" y="256"/>
                    <a:pt x="11" y="256"/>
                  </a:cubicBezTo>
                  <a:cubicBezTo>
                    <a:pt x="139" y="256"/>
                    <a:pt x="139" y="256"/>
                    <a:pt x="139" y="256"/>
                  </a:cubicBezTo>
                  <a:cubicBezTo>
                    <a:pt x="145" y="256"/>
                    <a:pt x="149" y="251"/>
                    <a:pt x="149" y="245"/>
                  </a:cubicBezTo>
                  <a:cubicBezTo>
                    <a:pt x="149" y="203"/>
                    <a:pt x="149" y="203"/>
                    <a:pt x="149" y="203"/>
                  </a:cubicBezTo>
                  <a:cubicBezTo>
                    <a:pt x="149" y="197"/>
                    <a:pt x="145" y="192"/>
                    <a:pt x="139" y="192"/>
                  </a:cubicBezTo>
                  <a:close/>
                  <a:moveTo>
                    <a:pt x="75" y="21"/>
                  </a:moveTo>
                  <a:cubicBezTo>
                    <a:pt x="86" y="21"/>
                    <a:pt x="96" y="31"/>
                    <a:pt x="96" y="43"/>
                  </a:cubicBezTo>
                  <a:cubicBezTo>
                    <a:pt x="96" y="54"/>
                    <a:pt x="86" y="64"/>
                    <a:pt x="75" y="64"/>
                  </a:cubicBezTo>
                  <a:cubicBezTo>
                    <a:pt x="63" y="64"/>
                    <a:pt x="53" y="54"/>
                    <a:pt x="53" y="43"/>
                  </a:cubicBezTo>
                  <a:cubicBezTo>
                    <a:pt x="53" y="31"/>
                    <a:pt x="63" y="21"/>
                    <a:pt x="75" y="21"/>
                  </a:cubicBezTo>
                  <a:close/>
                  <a:moveTo>
                    <a:pt x="64" y="96"/>
                  </a:moveTo>
                  <a:cubicBezTo>
                    <a:pt x="86" y="96"/>
                    <a:pt x="86" y="96"/>
                    <a:pt x="86" y="96"/>
                  </a:cubicBezTo>
                  <a:cubicBezTo>
                    <a:pt x="87" y="143"/>
                    <a:pt x="99" y="174"/>
                    <a:pt x="108" y="192"/>
                  </a:cubicBezTo>
                  <a:cubicBezTo>
                    <a:pt x="41" y="192"/>
                    <a:pt x="41" y="192"/>
                    <a:pt x="41" y="192"/>
                  </a:cubicBezTo>
                  <a:cubicBezTo>
                    <a:pt x="51" y="174"/>
                    <a:pt x="62" y="143"/>
                    <a:pt x="64" y="96"/>
                  </a:cubicBezTo>
                  <a:close/>
                  <a:moveTo>
                    <a:pt x="128" y="235"/>
                  </a:moveTo>
                  <a:cubicBezTo>
                    <a:pt x="21" y="235"/>
                    <a:pt x="21" y="235"/>
                    <a:pt x="21" y="235"/>
                  </a:cubicBezTo>
                  <a:cubicBezTo>
                    <a:pt x="21" y="213"/>
                    <a:pt x="21" y="213"/>
                    <a:pt x="21" y="213"/>
                  </a:cubicBezTo>
                  <a:cubicBezTo>
                    <a:pt x="128" y="213"/>
                    <a:pt x="128" y="213"/>
                    <a:pt x="128" y="213"/>
                  </a:cubicBezTo>
                  <a:lnTo>
                    <a:pt x="128" y="2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958"/>
            <p:cNvSpPr>
              <a:spLocks noEditPoints="1"/>
            </p:cNvSpPr>
            <p:nvPr/>
          </p:nvSpPr>
          <p:spPr bwMode="auto">
            <a:xfrm>
              <a:off x="2474" y="4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9" name="Group 965"/>
          <p:cNvGrpSpPr>
            <a:grpSpLocks noChangeAspect="1"/>
          </p:cNvGrpSpPr>
          <p:nvPr/>
        </p:nvGrpSpPr>
        <p:grpSpPr bwMode="auto">
          <a:xfrm>
            <a:off x="6829772" y="5150509"/>
            <a:ext cx="513122" cy="514632"/>
            <a:chOff x="3319" y="4077"/>
            <a:chExt cx="340" cy="341"/>
          </a:xfrm>
          <a:solidFill>
            <a:schemeClr val="tx1"/>
          </a:solidFill>
        </p:grpSpPr>
        <p:sp>
          <p:nvSpPr>
            <p:cNvPr id="100" name="Freeform 966"/>
            <p:cNvSpPr>
              <a:spLocks noEditPoints="1"/>
            </p:cNvSpPr>
            <p:nvPr/>
          </p:nvSpPr>
          <p:spPr bwMode="auto">
            <a:xfrm>
              <a:off x="3439" y="4141"/>
              <a:ext cx="99" cy="206"/>
            </a:xfrm>
            <a:custGeom>
              <a:avLst/>
              <a:gdLst>
                <a:gd name="T0" fmla="*/ 139 w 149"/>
                <a:gd name="T1" fmla="*/ 245 h 309"/>
                <a:gd name="T2" fmla="*/ 125 w 149"/>
                <a:gd name="T3" fmla="*/ 245 h 309"/>
                <a:gd name="T4" fmla="*/ 113 w 149"/>
                <a:gd name="T5" fmla="*/ 117 h 309"/>
                <a:gd name="T6" fmla="*/ 128 w 149"/>
                <a:gd name="T7" fmla="*/ 117 h 309"/>
                <a:gd name="T8" fmla="*/ 139 w 149"/>
                <a:gd name="T9" fmla="*/ 106 h 309"/>
                <a:gd name="T10" fmla="*/ 128 w 149"/>
                <a:gd name="T11" fmla="*/ 96 h 309"/>
                <a:gd name="T12" fmla="*/ 118 w 149"/>
                <a:gd name="T13" fmla="*/ 96 h 309"/>
                <a:gd name="T14" fmla="*/ 127 w 149"/>
                <a:gd name="T15" fmla="*/ 68 h 309"/>
                <a:gd name="T16" fmla="*/ 126 w 149"/>
                <a:gd name="T17" fmla="*/ 58 h 309"/>
                <a:gd name="T18" fmla="*/ 117 w 149"/>
                <a:gd name="T19" fmla="*/ 53 h 309"/>
                <a:gd name="T20" fmla="*/ 98 w 149"/>
                <a:gd name="T21" fmla="*/ 53 h 309"/>
                <a:gd name="T22" fmla="*/ 107 w 149"/>
                <a:gd name="T23" fmla="*/ 32 h 309"/>
                <a:gd name="T24" fmla="*/ 75 w 149"/>
                <a:gd name="T25" fmla="*/ 0 h 309"/>
                <a:gd name="T26" fmla="*/ 43 w 149"/>
                <a:gd name="T27" fmla="*/ 32 h 309"/>
                <a:gd name="T28" fmla="*/ 51 w 149"/>
                <a:gd name="T29" fmla="*/ 53 h 309"/>
                <a:gd name="T30" fmla="*/ 32 w 149"/>
                <a:gd name="T31" fmla="*/ 53 h 309"/>
                <a:gd name="T32" fmla="*/ 23 w 149"/>
                <a:gd name="T33" fmla="*/ 58 h 309"/>
                <a:gd name="T34" fmla="*/ 22 w 149"/>
                <a:gd name="T35" fmla="*/ 68 h 309"/>
                <a:gd name="T36" fmla="*/ 31 w 149"/>
                <a:gd name="T37" fmla="*/ 96 h 309"/>
                <a:gd name="T38" fmla="*/ 21 w 149"/>
                <a:gd name="T39" fmla="*/ 96 h 309"/>
                <a:gd name="T40" fmla="*/ 11 w 149"/>
                <a:gd name="T41" fmla="*/ 106 h 309"/>
                <a:gd name="T42" fmla="*/ 21 w 149"/>
                <a:gd name="T43" fmla="*/ 117 h 309"/>
                <a:gd name="T44" fmla="*/ 36 w 149"/>
                <a:gd name="T45" fmla="*/ 117 h 309"/>
                <a:gd name="T46" fmla="*/ 25 w 149"/>
                <a:gd name="T47" fmla="*/ 245 h 309"/>
                <a:gd name="T48" fmla="*/ 11 w 149"/>
                <a:gd name="T49" fmla="*/ 245 h 309"/>
                <a:gd name="T50" fmla="*/ 0 w 149"/>
                <a:gd name="T51" fmla="*/ 256 h 309"/>
                <a:gd name="T52" fmla="*/ 0 w 149"/>
                <a:gd name="T53" fmla="*/ 298 h 309"/>
                <a:gd name="T54" fmla="*/ 11 w 149"/>
                <a:gd name="T55" fmla="*/ 309 h 309"/>
                <a:gd name="T56" fmla="*/ 139 w 149"/>
                <a:gd name="T57" fmla="*/ 309 h 309"/>
                <a:gd name="T58" fmla="*/ 149 w 149"/>
                <a:gd name="T59" fmla="*/ 298 h 309"/>
                <a:gd name="T60" fmla="*/ 149 w 149"/>
                <a:gd name="T61" fmla="*/ 256 h 309"/>
                <a:gd name="T62" fmla="*/ 139 w 149"/>
                <a:gd name="T63" fmla="*/ 245 h 309"/>
                <a:gd name="T64" fmla="*/ 75 w 149"/>
                <a:gd name="T65" fmla="*/ 21 h 309"/>
                <a:gd name="T66" fmla="*/ 85 w 149"/>
                <a:gd name="T67" fmla="*/ 32 h 309"/>
                <a:gd name="T68" fmla="*/ 75 w 149"/>
                <a:gd name="T69" fmla="*/ 42 h 309"/>
                <a:gd name="T70" fmla="*/ 64 w 149"/>
                <a:gd name="T71" fmla="*/ 32 h 309"/>
                <a:gd name="T72" fmla="*/ 75 w 149"/>
                <a:gd name="T73" fmla="*/ 21 h 309"/>
                <a:gd name="T74" fmla="*/ 47 w 149"/>
                <a:gd name="T75" fmla="*/ 74 h 309"/>
                <a:gd name="T76" fmla="*/ 102 w 149"/>
                <a:gd name="T77" fmla="*/ 74 h 309"/>
                <a:gd name="T78" fmla="*/ 95 w 149"/>
                <a:gd name="T79" fmla="*/ 96 h 309"/>
                <a:gd name="T80" fmla="*/ 53 w 149"/>
                <a:gd name="T81" fmla="*/ 96 h 309"/>
                <a:gd name="T82" fmla="*/ 47 w 149"/>
                <a:gd name="T83" fmla="*/ 74 h 309"/>
                <a:gd name="T84" fmla="*/ 57 w 149"/>
                <a:gd name="T85" fmla="*/ 117 h 309"/>
                <a:gd name="T86" fmla="*/ 91 w 149"/>
                <a:gd name="T87" fmla="*/ 117 h 309"/>
                <a:gd name="T88" fmla="*/ 102 w 149"/>
                <a:gd name="T89" fmla="*/ 245 h 309"/>
                <a:gd name="T90" fmla="*/ 48 w 149"/>
                <a:gd name="T91" fmla="*/ 245 h 309"/>
                <a:gd name="T92" fmla="*/ 57 w 149"/>
                <a:gd name="T93" fmla="*/ 117 h 309"/>
                <a:gd name="T94" fmla="*/ 128 w 149"/>
                <a:gd name="T95" fmla="*/ 288 h 309"/>
                <a:gd name="T96" fmla="*/ 21 w 149"/>
                <a:gd name="T97" fmla="*/ 288 h 309"/>
                <a:gd name="T98" fmla="*/ 21 w 149"/>
                <a:gd name="T99" fmla="*/ 266 h 309"/>
                <a:gd name="T100" fmla="*/ 128 w 149"/>
                <a:gd name="T101" fmla="*/ 266 h 309"/>
                <a:gd name="T102" fmla="*/ 128 w 149"/>
                <a:gd name="T103"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309">
                  <a:moveTo>
                    <a:pt x="139" y="245"/>
                  </a:moveTo>
                  <a:cubicBezTo>
                    <a:pt x="125" y="245"/>
                    <a:pt x="125" y="245"/>
                    <a:pt x="125" y="245"/>
                  </a:cubicBezTo>
                  <a:cubicBezTo>
                    <a:pt x="106" y="195"/>
                    <a:pt x="107" y="149"/>
                    <a:pt x="113" y="117"/>
                  </a:cubicBezTo>
                  <a:cubicBezTo>
                    <a:pt x="128" y="117"/>
                    <a:pt x="128" y="117"/>
                    <a:pt x="128" y="117"/>
                  </a:cubicBezTo>
                  <a:cubicBezTo>
                    <a:pt x="134" y="117"/>
                    <a:pt x="139" y="112"/>
                    <a:pt x="139" y="106"/>
                  </a:cubicBezTo>
                  <a:cubicBezTo>
                    <a:pt x="139" y="100"/>
                    <a:pt x="134" y="96"/>
                    <a:pt x="128" y="96"/>
                  </a:cubicBezTo>
                  <a:cubicBezTo>
                    <a:pt x="118" y="96"/>
                    <a:pt x="118" y="96"/>
                    <a:pt x="118" y="96"/>
                  </a:cubicBezTo>
                  <a:cubicBezTo>
                    <a:pt x="122" y="79"/>
                    <a:pt x="127" y="69"/>
                    <a:pt x="127" y="68"/>
                  </a:cubicBezTo>
                  <a:cubicBezTo>
                    <a:pt x="129" y="65"/>
                    <a:pt x="128" y="61"/>
                    <a:pt x="126" y="58"/>
                  </a:cubicBezTo>
                  <a:cubicBezTo>
                    <a:pt x="124" y="55"/>
                    <a:pt x="121" y="53"/>
                    <a:pt x="117" y="53"/>
                  </a:cubicBezTo>
                  <a:cubicBezTo>
                    <a:pt x="98" y="53"/>
                    <a:pt x="98" y="53"/>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2" y="53"/>
                    <a:pt x="32" y="53"/>
                    <a:pt x="32" y="53"/>
                  </a:cubicBezTo>
                  <a:cubicBezTo>
                    <a:pt x="28" y="53"/>
                    <a:pt x="25" y="55"/>
                    <a:pt x="23" y="58"/>
                  </a:cubicBezTo>
                  <a:cubicBezTo>
                    <a:pt x="21" y="61"/>
                    <a:pt x="21" y="64"/>
                    <a:pt x="22" y="68"/>
                  </a:cubicBezTo>
                  <a:cubicBezTo>
                    <a:pt x="22" y="68"/>
                    <a:pt x="26" y="79"/>
                    <a:pt x="31" y="96"/>
                  </a:cubicBezTo>
                  <a:cubicBezTo>
                    <a:pt x="21" y="96"/>
                    <a:pt x="21" y="96"/>
                    <a:pt x="21" y="96"/>
                  </a:cubicBezTo>
                  <a:cubicBezTo>
                    <a:pt x="15" y="96"/>
                    <a:pt x="11" y="100"/>
                    <a:pt x="11" y="106"/>
                  </a:cubicBezTo>
                  <a:cubicBezTo>
                    <a:pt x="11" y="112"/>
                    <a:pt x="15" y="117"/>
                    <a:pt x="21" y="117"/>
                  </a:cubicBezTo>
                  <a:cubicBezTo>
                    <a:pt x="36" y="117"/>
                    <a:pt x="36" y="117"/>
                    <a:pt x="36" y="117"/>
                  </a:cubicBezTo>
                  <a:cubicBezTo>
                    <a:pt x="42" y="153"/>
                    <a:pt x="45" y="202"/>
                    <a:pt x="25" y="245"/>
                  </a:cubicBezTo>
                  <a:cubicBezTo>
                    <a:pt x="11" y="245"/>
                    <a:pt x="11" y="245"/>
                    <a:pt x="11" y="245"/>
                  </a:cubicBezTo>
                  <a:cubicBezTo>
                    <a:pt x="5" y="245"/>
                    <a:pt x="0" y="250"/>
                    <a:pt x="0" y="256"/>
                  </a:cubicBezTo>
                  <a:cubicBezTo>
                    <a:pt x="0" y="298"/>
                    <a:pt x="0" y="298"/>
                    <a:pt x="0" y="298"/>
                  </a:cubicBezTo>
                  <a:cubicBezTo>
                    <a:pt x="0" y="304"/>
                    <a:pt x="5" y="309"/>
                    <a:pt x="11" y="309"/>
                  </a:cubicBezTo>
                  <a:cubicBezTo>
                    <a:pt x="139" y="309"/>
                    <a:pt x="139" y="309"/>
                    <a:pt x="139" y="309"/>
                  </a:cubicBezTo>
                  <a:cubicBezTo>
                    <a:pt x="145" y="309"/>
                    <a:pt x="149" y="304"/>
                    <a:pt x="149" y="298"/>
                  </a:cubicBezTo>
                  <a:cubicBezTo>
                    <a:pt x="149" y="256"/>
                    <a:pt x="149" y="256"/>
                    <a:pt x="149" y="256"/>
                  </a:cubicBezTo>
                  <a:cubicBezTo>
                    <a:pt x="149" y="250"/>
                    <a:pt x="145" y="245"/>
                    <a:pt x="139" y="245"/>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47" y="74"/>
                  </a:moveTo>
                  <a:cubicBezTo>
                    <a:pt x="102" y="74"/>
                    <a:pt x="102" y="74"/>
                    <a:pt x="102" y="74"/>
                  </a:cubicBezTo>
                  <a:cubicBezTo>
                    <a:pt x="100" y="80"/>
                    <a:pt x="97" y="87"/>
                    <a:pt x="95" y="96"/>
                  </a:cubicBezTo>
                  <a:cubicBezTo>
                    <a:pt x="53" y="96"/>
                    <a:pt x="53" y="96"/>
                    <a:pt x="53" y="96"/>
                  </a:cubicBezTo>
                  <a:cubicBezTo>
                    <a:pt x="51" y="87"/>
                    <a:pt x="49" y="80"/>
                    <a:pt x="47" y="74"/>
                  </a:cubicBezTo>
                  <a:close/>
                  <a:moveTo>
                    <a:pt x="57" y="117"/>
                  </a:moveTo>
                  <a:cubicBezTo>
                    <a:pt x="91" y="117"/>
                    <a:pt x="91" y="117"/>
                    <a:pt x="91" y="117"/>
                  </a:cubicBezTo>
                  <a:cubicBezTo>
                    <a:pt x="86" y="150"/>
                    <a:pt x="85" y="195"/>
                    <a:pt x="102" y="245"/>
                  </a:cubicBezTo>
                  <a:cubicBezTo>
                    <a:pt x="48" y="245"/>
                    <a:pt x="48" y="245"/>
                    <a:pt x="48" y="245"/>
                  </a:cubicBezTo>
                  <a:cubicBezTo>
                    <a:pt x="66" y="201"/>
                    <a:pt x="64" y="153"/>
                    <a:pt x="57" y="117"/>
                  </a:cubicBezTo>
                  <a:close/>
                  <a:moveTo>
                    <a:pt x="128" y="288"/>
                  </a:moveTo>
                  <a:cubicBezTo>
                    <a:pt x="21" y="288"/>
                    <a:pt x="21" y="288"/>
                    <a:pt x="21" y="288"/>
                  </a:cubicBezTo>
                  <a:cubicBezTo>
                    <a:pt x="21" y="266"/>
                    <a:pt x="21" y="266"/>
                    <a:pt x="21" y="266"/>
                  </a:cubicBezTo>
                  <a:cubicBezTo>
                    <a:pt x="128" y="266"/>
                    <a:pt x="128" y="266"/>
                    <a:pt x="128" y="266"/>
                  </a:cubicBezTo>
                  <a:lnTo>
                    <a:pt x="128" y="2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967"/>
            <p:cNvSpPr>
              <a:spLocks noEditPoints="1"/>
            </p:cNvSpPr>
            <p:nvPr/>
          </p:nvSpPr>
          <p:spPr bwMode="auto">
            <a:xfrm>
              <a:off x="3319" y="40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2" name="Group 433"/>
          <p:cNvGrpSpPr>
            <a:grpSpLocks noChangeAspect="1"/>
          </p:cNvGrpSpPr>
          <p:nvPr/>
        </p:nvGrpSpPr>
        <p:grpSpPr bwMode="auto">
          <a:xfrm>
            <a:off x="5314070" y="5151921"/>
            <a:ext cx="511812" cy="511808"/>
            <a:chOff x="4725" y="1820"/>
            <a:chExt cx="340" cy="340"/>
          </a:xfrm>
          <a:solidFill>
            <a:schemeClr val="tx1"/>
          </a:solidFill>
        </p:grpSpPr>
        <p:sp>
          <p:nvSpPr>
            <p:cNvPr id="103" name="Freeform 434"/>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435"/>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2088969"/>
      </p:ext>
    </p:extLst>
  </p:cSld>
  <p:clrMapOvr>
    <a:masterClrMapping/>
  </p:clrMapOvr>
  <p:transition>
    <p:fade/>
  </p:transition>
</p:sld>
</file>

<file path=ppt/slides/slide291.xml><?xml version="1.0" encoding="utf-8"?>
<p:sld xmlns:a="http://schemas.openxmlformats.org/drawingml/2006/main" xmlns:r="http://schemas.openxmlformats.org/officeDocument/2006/relationships" xmlns:p="http://schemas.openxmlformats.org/presentationml/2006/main">
  <p:cSld>
    <p:bg>
      <p:bgPr>
        <a:solidFill>
          <a:srgbClr val="00A3E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nimations</a:t>
            </a:r>
            <a:endParaRPr lang="en-GB" dirty="0">
              <a:solidFill>
                <a:schemeClr val="tx1"/>
              </a:solidFill>
            </a:endParaRPr>
          </a:p>
        </p:txBody>
      </p:sp>
      <p:sp>
        <p:nvSpPr>
          <p:cNvPr id="3" name="Rectangle 2">
            <a:extLst>
              <a:ext uri="{FF2B5EF4-FFF2-40B4-BE49-F238E27FC236}">
                <a16:creationId xmlns:a16="http://schemas.microsoft.com/office/drawing/2014/main" id="{7B315626-C976-4C69-B784-13BDD4C2DD4E}"/>
              </a:ext>
            </a:extLst>
          </p:cNvPr>
          <p:cNvSpPr>
            <a:spLocks noChangeArrowheads="1"/>
          </p:cNvSpPr>
          <p:nvPr/>
        </p:nvSpPr>
        <p:spPr bwMode="auto">
          <a:xfrm>
            <a:off x="8935616" y="0"/>
            <a:ext cx="3256384" cy="990600"/>
          </a:xfrm>
          <a:prstGeom prst="rect">
            <a:avLst/>
          </a:prstGeom>
          <a:solidFill>
            <a:srgbClr val="FFCD00"/>
          </a:solidFill>
          <a:ln w="6350" algn="ctr">
            <a:noFill/>
            <a:miter lim="800000"/>
            <a:headEnd/>
            <a:tailEnd/>
          </a:ln>
        </p:spPr>
        <p:txBody>
          <a:bodyPr tIns="91440" bIns="91440">
            <a:noAutofit/>
          </a:bodyPr>
          <a:lstStyle/>
          <a:p>
            <a:r>
              <a:rPr lang="en-US" sz="1000" b="1" dirty="0">
                <a:ea typeface="ＭＳ Ｐゴシック" charset="-128"/>
              </a:rPr>
              <a:t>Note: </a:t>
            </a:r>
          </a:p>
          <a:p>
            <a:r>
              <a:rPr lang="en-US" sz="1000" dirty="0"/>
              <a:t>Animations can be viewed in Slide Show mode and edited in the Animation Pane under the Animations tab. </a:t>
            </a:r>
            <a:br>
              <a:rPr lang="en-US" sz="1000" dirty="0"/>
            </a:br>
            <a:r>
              <a:rPr lang="en-US" altLang="ja-JP" sz="1000" dirty="0">
                <a:solidFill>
                  <a:sysClr val="windowText" lastClr="000000"/>
                </a:solidFill>
                <a:ea typeface="ＭＳ Ｐゴシック" pitchFamily="50" charset="-128"/>
              </a:rPr>
              <a:t>If you need animation assistance, please contact </a:t>
            </a:r>
            <a:r>
              <a:rPr lang="en-US" altLang="ja-JP" sz="1000" dirty="0">
                <a:solidFill>
                  <a:sysClr val="windowText" lastClr="000000"/>
                </a:solidFill>
                <a:ea typeface="ＭＳ Ｐゴシック" pitchFamily="50" charset="-128"/>
                <a:hlinkClick r:id="rId2"/>
              </a:rPr>
              <a:t>CoRe Creative Services</a:t>
            </a:r>
            <a:r>
              <a:rPr lang="en-US" altLang="ja-JP" sz="1000" dirty="0">
                <a:solidFill>
                  <a:sysClr val="windowText" lastClr="000000"/>
                </a:solidFill>
                <a:ea typeface="ＭＳ Ｐゴシック" pitchFamily="50" charset="-128"/>
              </a:rPr>
              <a:t>.</a:t>
            </a:r>
            <a:endParaRPr lang="en-US" sz="1000" dirty="0"/>
          </a:p>
          <a:p>
            <a:endParaRPr lang="en-US" sz="1000" dirty="0">
              <a:ea typeface="ＭＳ Ｐゴシック" charset="-128"/>
            </a:endParaRPr>
          </a:p>
        </p:txBody>
      </p:sp>
    </p:spTree>
    <p:extLst>
      <p:ext uri="{BB962C8B-B14F-4D97-AF65-F5344CB8AC3E}">
        <p14:creationId xmlns:p14="http://schemas.microsoft.com/office/powerpoint/2010/main" val="3484516751"/>
      </p:ext>
    </p:extLst>
  </p:cSld>
  <p:clrMapOvr>
    <a:masterClrMapping/>
  </p:clrMapOvr>
  <p:transition>
    <p:fade/>
  </p:transition>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3B27D4D6-F06F-4941-9B1D-99559099373C}"/>
              </a:ext>
            </a:extLst>
          </p:cNvPr>
          <p:cNvSpPr/>
          <p:nvPr/>
        </p:nvSpPr>
        <p:spPr>
          <a:xfrm flipH="1">
            <a:off x="4335506" y="2364174"/>
            <a:ext cx="3447510" cy="3447510"/>
          </a:xfrm>
          <a:prstGeom prst="arc">
            <a:avLst>
              <a:gd name="adj1" fmla="val 16812435"/>
              <a:gd name="adj2" fmla="val 12607217"/>
            </a:avLst>
          </a:prstGeom>
          <a:ln w="25400"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 name="Group 4">
            <a:extLst>
              <a:ext uri="{FF2B5EF4-FFF2-40B4-BE49-F238E27FC236}">
                <a16:creationId xmlns:a16="http://schemas.microsoft.com/office/drawing/2014/main" id="{85053A7D-0893-4FA0-83D5-284935C240D8}"/>
              </a:ext>
            </a:extLst>
          </p:cNvPr>
          <p:cNvGrpSpPr/>
          <p:nvPr/>
        </p:nvGrpSpPr>
        <p:grpSpPr>
          <a:xfrm>
            <a:off x="4389660" y="2426146"/>
            <a:ext cx="3340395" cy="3340395"/>
            <a:chOff x="-2633284" y="955170"/>
            <a:chExt cx="3674434" cy="3674434"/>
          </a:xfrm>
        </p:grpSpPr>
        <p:sp>
          <p:nvSpPr>
            <p:cNvPr id="14" name="Oval 13">
              <a:extLst>
                <a:ext uri="{FF2B5EF4-FFF2-40B4-BE49-F238E27FC236}">
                  <a16:creationId xmlns:a16="http://schemas.microsoft.com/office/drawing/2014/main" id="{0CE2C832-D59F-44DD-BDE0-C7857C106B53}"/>
                </a:ext>
              </a:extLst>
            </p:cNvPr>
            <p:cNvSpPr/>
            <p:nvPr/>
          </p:nvSpPr>
          <p:spPr bwMode="gray">
            <a:xfrm>
              <a:off x="-2633284" y="955170"/>
              <a:ext cx="3674434" cy="3674434"/>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2471749" y="1112934"/>
              <a:ext cx="3340395" cy="3340395"/>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2314428" y="1244202"/>
              <a:ext cx="3036722" cy="3036722"/>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2176395" y="1412059"/>
              <a:ext cx="2760657" cy="2760657"/>
            </a:xfrm>
            <a:prstGeom prst="ellipse">
              <a:avLst/>
            </a:prstGeom>
            <a:solidFill>
              <a:schemeClr val="tx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84" name="Oval 83">
            <a:extLst>
              <a:ext uri="{FF2B5EF4-FFF2-40B4-BE49-F238E27FC236}">
                <a16:creationId xmlns:a16="http://schemas.microsoft.com/office/drawing/2014/main" id="{E9A7CF7B-1B48-4E88-AE48-37D5C1BF3114}"/>
              </a:ext>
            </a:extLst>
          </p:cNvPr>
          <p:cNvSpPr/>
          <p:nvPr/>
        </p:nvSpPr>
        <p:spPr>
          <a:xfrm>
            <a:off x="4920263" y="2932050"/>
            <a:ext cx="2289000" cy="228929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sp>
        <p:nvSpPr>
          <p:cNvPr id="88" name="Partial Circle 87">
            <a:extLst>
              <a:ext uri="{FF2B5EF4-FFF2-40B4-BE49-F238E27FC236}">
                <a16:creationId xmlns:a16="http://schemas.microsoft.com/office/drawing/2014/main" id="{5BF78556-A3D6-4BD8-9881-C0F309B0C7E9}"/>
              </a:ext>
            </a:extLst>
          </p:cNvPr>
          <p:cNvSpPr>
            <a:spLocks noChangeAspect="1"/>
          </p:cNvSpPr>
          <p:nvPr/>
        </p:nvSpPr>
        <p:spPr>
          <a:xfrm>
            <a:off x="4036452" y="2048124"/>
            <a:ext cx="4056623" cy="4057152"/>
          </a:xfrm>
          <a:prstGeom prst="pie">
            <a:avLst>
              <a:gd name="adj1" fmla="val 1779985"/>
              <a:gd name="adj2" fmla="val 5352857"/>
            </a:avLst>
          </a:prstGeom>
          <a:solidFill>
            <a:srgbClr val="62B5E5">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3" name="Partial Circle 92">
            <a:extLst>
              <a:ext uri="{FF2B5EF4-FFF2-40B4-BE49-F238E27FC236}">
                <a16:creationId xmlns:a16="http://schemas.microsoft.com/office/drawing/2014/main" id="{3FC62EA9-8AA2-47D6-B995-559CCF3F6063}"/>
              </a:ext>
            </a:extLst>
          </p:cNvPr>
          <p:cNvSpPr>
            <a:spLocks noChangeAspect="1"/>
          </p:cNvSpPr>
          <p:nvPr/>
        </p:nvSpPr>
        <p:spPr>
          <a:xfrm>
            <a:off x="4220844" y="2232540"/>
            <a:ext cx="3687839" cy="3688320"/>
          </a:xfrm>
          <a:prstGeom prst="pie">
            <a:avLst>
              <a:gd name="adj1" fmla="val 19763735"/>
              <a:gd name="adj2" fmla="val 1782084"/>
            </a:avLst>
          </a:prstGeom>
          <a:solidFill>
            <a:srgbClr val="62B5E5">
              <a:alpha val="30000"/>
            </a:srgbClr>
          </a:solidFill>
          <a:ln w="12700">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6" name="Partial Circle 95">
            <a:extLst>
              <a:ext uri="{FF2B5EF4-FFF2-40B4-BE49-F238E27FC236}">
                <a16:creationId xmlns:a16="http://schemas.microsoft.com/office/drawing/2014/main" id="{3AACEA72-030A-4E2C-B217-1F47A9918647}"/>
              </a:ext>
            </a:extLst>
          </p:cNvPr>
          <p:cNvSpPr>
            <a:spLocks noChangeAspect="1"/>
          </p:cNvSpPr>
          <p:nvPr/>
        </p:nvSpPr>
        <p:spPr>
          <a:xfrm>
            <a:off x="3833621" y="1845267"/>
            <a:ext cx="4462285" cy="4462867"/>
          </a:xfrm>
          <a:prstGeom prst="pie">
            <a:avLst>
              <a:gd name="adj1" fmla="val 5348895"/>
              <a:gd name="adj2" fmla="val 8995523"/>
            </a:avLst>
          </a:prstGeom>
          <a:solidFill>
            <a:srgbClr val="00A3E0">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0" name="Partial Circle 99">
            <a:extLst>
              <a:ext uri="{FF2B5EF4-FFF2-40B4-BE49-F238E27FC236}">
                <a16:creationId xmlns:a16="http://schemas.microsoft.com/office/drawing/2014/main" id="{E0B578E5-E062-4B79-9777-B8401C67BB61}"/>
              </a:ext>
            </a:extLst>
          </p:cNvPr>
          <p:cNvSpPr>
            <a:spLocks noChangeAspect="1"/>
          </p:cNvSpPr>
          <p:nvPr/>
        </p:nvSpPr>
        <p:spPr>
          <a:xfrm>
            <a:off x="3620174" y="1622123"/>
            <a:ext cx="4908514" cy="4909154"/>
          </a:xfrm>
          <a:prstGeom prst="pie">
            <a:avLst>
              <a:gd name="adj1" fmla="val 9010219"/>
              <a:gd name="adj2" fmla="val 12565274"/>
            </a:avLst>
          </a:prstGeom>
          <a:solidFill>
            <a:srgbClr val="0076A8">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6" name="Partial Circle 105">
            <a:extLst>
              <a:ext uri="{FF2B5EF4-FFF2-40B4-BE49-F238E27FC236}">
                <a16:creationId xmlns:a16="http://schemas.microsoft.com/office/drawing/2014/main" id="{12E5E32B-6A3C-4C97-AE4F-456875F37A73}"/>
              </a:ext>
            </a:extLst>
          </p:cNvPr>
          <p:cNvSpPr>
            <a:spLocks noChangeAspect="1"/>
          </p:cNvSpPr>
          <p:nvPr/>
        </p:nvSpPr>
        <p:spPr>
          <a:xfrm>
            <a:off x="3423510" y="1435100"/>
            <a:ext cx="5282506" cy="5283196"/>
          </a:xfrm>
          <a:prstGeom prst="pie">
            <a:avLst>
              <a:gd name="adj1" fmla="val 12576914"/>
              <a:gd name="adj2" fmla="val 16200000"/>
            </a:avLst>
          </a:prstGeom>
          <a:solidFill>
            <a:srgbClr val="005587">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Partial Circle 116">
            <a:extLst>
              <a:ext uri="{FF2B5EF4-FFF2-40B4-BE49-F238E27FC236}">
                <a16:creationId xmlns:a16="http://schemas.microsoft.com/office/drawing/2014/main" id="{81CDBBE3-60B1-4271-BEFF-BF5CD6C15C21}"/>
              </a:ext>
            </a:extLst>
          </p:cNvPr>
          <p:cNvSpPr>
            <a:spLocks noChangeAspect="1"/>
          </p:cNvSpPr>
          <p:nvPr/>
        </p:nvSpPr>
        <p:spPr>
          <a:xfrm>
            <a:off x="4388473" y="2400191"/>
            <a:ext cx="3352581" cy="3353018"/>
          </a:xfrm>
          <a:prstGeom prst="pie">
            <a:avLst>
              <a:gd name="adj1" fmla="val 16194588"/>
              <a:gd name="adj2" fmla="val 19760967"/>
            </a:avLst>
          </a:prstGeom>
          <a:solidFill>
            <a:srgbClr val="A0DCFF">
              <a:alpha val="30000"/>
            </a:srgbClr>
          </a:solidFill>
          <a:ln w="12700">
            <a:solidFill>
              <a:srgbClr val="A0D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0" name="Group 139">
            <a:extLst>
              <a:ext uri="{FF2B5EF4-FFF2-40B4-BE49-F238E27FC236}">
                <a16:creationId xmlns:a16="http://schemas.microsoft.com/office/drawing/2014/main" id="{3F69D5F2-CB14-4FFF-BD17-05EDC1037410}"/>
              </a:ext>
            </a:extLst>
          </p:cNvPr>
          <p:cNvGrpSpPr/>
          <p:nvPr/>
        </p:nvGrpSpPr>
        <p:grpSpPr>
          <a:xfrm>
            <a:off x="4920263" y="2932050"/>
            <a:ext cx="2289000" cy="2289299"/>
            <a:chOff x="9675359" y="4339772"/>
            <a:chExt cx="5036457" cy="5036457"/>
          </a:xfrm>
        </p:grpSpPr>
        <p:sp>
          <p:nvSpPr>
            <p:cNvPr id="141" name="Oval 140">
              <a:extLst>
                <a:ext uri="{FF2B5EF4-FFF2-40B4-BE49-F238E27FC236}">
                  <a16:creationId xmlns:a16="http://schemas.microsoft.com/office/drawing/2014/main" id="{7BF00263-0B63-41FB-BA5D-66BBA49DD577}"/>
                </a:ext>
              </a:extLst>
            </p:cNvPr>
            <p:cNvSpPr/>
            <p:nvPr/>
          </p:nvSpPr>
          <p:spPr>
            <a:xfrm>
              <a:off x="9675359" y="4339772"/>
              <a:ext cx="5036457" cy="503645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Isosceles Triangle 142">
              <a:extLst>
                <a:ext uri="{FF2B5EF4-FFF2-40B4-BE49-F238E27FC236}">
                  <a16:creationId xmlns:a16="http://schemas.microsoft.com/office/drawing/2014/main" id="{4035D548-93C3-417C-936F-1759702B38D8}"/>
                </a:ext>
              </a:extLst>
            </p:cNvPr>
            <p:cNvSpPr/>
            <p:nvPr/>
          </p:nvSpPr>
          <p:spPr>
            <a:xfrm rot="5400000">
              <a:off x="13198954" y="5759606"/>
              <a:ext cx="228600" cy="219678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a:extLst>
              <a:ext uri="{FF2B5EF4-FFF2-40B4-BE49-F238E27FC236}">
                <a16:creationId xmlns:a16="http://schemas.microsoft.com/office/drawing/2014/main" id="{97C68F89-0A9E-41CC-A9FF-14AA36D273B7}"/>
              </a:ext>
            </a:extLst>
          </p:cNvPr>
          <p:cNvGrpSpPr/>
          <p:nvPr/>
        </p:nvGrpSpPr>
        <p:grpSpPr>
          <a:xfrm>
            <a:off x="4920263" y="2932050"/>
            <a:ext cx="2289000" cy="2289299"/>
            <a:chOff x="9675359" y="4339772"/>
            <a:chExt cx="5036457" cy="5036457"/>
          </a:xfrm>
        </p:grpSpPr>
        <p:sp>
          <p:nvSpPr>
            <p:cNvPr id="158" name="Oval 157">
              <a:extLst>
                <a:ext uri="{FF2B5EF4-FFF2-40B4-BE49-F238E27FC236}">
                  <a16:creationId xmlns:a16="http://schemas.microsoft.com/office/drawing/2014/main" id="{F62B2B34-FFA3-4D31-8878-284FD1A6FFB0}"/>
                </a:ext>
              </a:extLst>
            </p:cNvPr>
            <p:cNvSpPr/>
            <p:nvPr/>
          </p:nvSpPr>
          <p:spPr>
            <a:xfrm>
              <a:off x="9675359" y="4339772"/>
              <a:ext cx="5036457" cy="5036457"/>
            </a:xfrm>
            <a:prstGeom prst="ellipse">
              <a:avLst/>
            </a:prstGeom>
            <a:noFill/>
            <a:ln w="111125">
              <a:solidFill>
                <a:schemeClr val="bg1">
                  <a:alpha val="1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Isosceles Triangle 159">
              <a:extLst>
                <a:ext uri="{FF2B5EF4-FFF2-40B4-BE49-F238E27FC236}">
                  <a16:creationId xmlns:a16="http://schemas.microsoft.com/office/drawing/2014/main" id="{B1AE520E-B431-4956-B67E-3B749F0B6283}"/>
                </a:ext>
              </a:extLst>
            </p:cNvPr>
            <p:cNvSpPr/>
            <p:nvPr/>
          </p:nvSpPr>
          <p:spPr>
            <a:xfrm>
              <a:off x="12079287" y="5402432"/>
              <a:ext cx="228600" cy="129046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1" name="Freeform 5">
            <a:extLst>
              <a:ext uri="{FF2B5EF4-FFF2-40B4-BE49-F238E27FC236}">
                <a16:creationId xmlns:a16="http://schemas.microsoft.com/office/drawing/2014/main" id="{67C701EF-80BC-4C73-9CD2-CC0DD0AFE68C}"/>
              </a:ext>
            </a:extLst>
          </p:cNvPr>
          <p:cNvSpPr>
            <a:spLocks noEditPoints="1"/>
          </p:cNvSpPr>
          <p:nvPr/>
        </p:nvSpPr>
        <p:spPr bwMode="auto">
          <a:xfrm>
            <a:off x="4723501" y="2734540"/>
            <a:ext cx="2682525" cy="2684318"/>
          </a:xfrm>
          <a:custGeom>
            <a:avLst/>
            <a:gdLst>
              <a:gd name="T0" fmla="*/ 293 w 585"/>
              <a:gd name="T1" fmla="*/ 0 h 585"/>
              <a:gd name="T2" fmla="*/ 0 w 585"/>
              <a:gd name="T3" fmla="*/ 292 h 585"/>
              <a:gd name="T4" fmla="*/ 293 w 585"/>
              <a:gd name="T5" fmla="*/ 585 h 585"/>
              <a:gd name="T6" fmla="*/ 585 w 585"/>
              <a:gd name="T7" fmla="*/ 292 h 585"/>
              <a:gd name="T8" fmla="*/ 293 w 585"/>
              <a:gd name="T9" fmla="*/ 0 h 585"/>
              <a:gd name="T10" fmla="*/ 429 w 585"/>
              <a:gd name="T11" fmla="*/ 519 h 585"/>
              <a:gd name="T12" fmla="*/ 411 w 585"/>
              <a:gd name="T13" fmla="*/ 498 h 585"/>
              <a:gd name="T14" fmla="*/ 421 w 585"/>
              <a:gd name="T15" fmla="*/ 524 h 585"/>
              <a:gd name="T16" fmla="*/ 297 w 585"/>
              <a:gd name="T17" fmla="*/ 557 h 585"/>
              <a:gd name="T18" fmla="*/ 293 w 585"/>
              <a:gd name="T19" fmla="*/ 529 h 585"/>
              <a:gd name="T20" fmla="*/ 288 w 585"/>
              <a:gd name="T21" fmla="*/ 557 h 585"/>
              <a:gd name="T22" fmla="*/ 164 w 585"/>
              <a:gd name="T23" fmla="*/ 524 h 585"/>
              <a:gd name="T24" fmla="*/ 174 w 585"/>
              <a:gd name="T25" fmla="*/ 498 h 585"/>
              <a:gd name="T26" fmla="*/ 156 w 585"/>
              <a:gd name="T27" fmla="*/ 519 h 585"/>
              <a:gd name="T28" fmla="*/ 66 w 585"/>
              <a:gd name="T29" fmla="*/ 429 h 585"/>
              <a:gd name="T30" fmla="*/ 88 w 585"/>
              <a:gd name="T31" fmla="*/ 411 h 585"/>
              <a:gd name="T32" fmla="*/ 61 w 585"/>
              <a:gd name="T33" fmla="*/ 421 h 585"/>
              <a:gd name="T34" fmla="*/ 28 w 585"/>
              <a:gd name="T35" fmla="*/ 297 h 585"/>
              <a:gd name="T36" fmla="*/ 56 w 585"/>
              <a:gd name="T37" fmla="*/ 292 h 585"/>
              <a:gd name="T38" fmla="*/ 28 w 585"/>
              <a:gd name="T39" fmla="*/ 288 h 585"/>
              <a:gd name="T40" fmla="*/ 61 w 585"/>
              <a:gd name="T41" fmla="*/ 164 h 585"/>
              <a:gd name="T42" fmla="*/ 88 w 585"/>
              <a:gd name="T43" fmla="*/ 174 h 585"/>
              <a:gd name="T44" fmla="*/ 66 w 585"/>
              <a:gd name="T45" fmla="*/ 156 h 585"/>
              <a:gd name="T46" fmla="*/ 156 w 585"/>
              <a:gd name="T47" fmla="*/ 66 h 585"/>
              <a:gd name="T48" fmla="*/ 174 w 585"/>
              <a:gd name="T49" fmla="*/ 87 h 585"/>
              <a:gd name="T50" fmla="*/ 164 w 585"/>
              <a:gd name="T51" fmla="*/ 61 h 585"/>
              <a:gd name="T52" fmla="*/ 288 w 585"/>
              <a:gd name="T53" fmla="*/ 28 h 585"/>
              <a:gd name="T54" fmla="*/ 293 w 585"/>
              <a:gd name="T55" fmla="*/ 56 h 585"/>
              <a:gd name="T56" fmla="*/ 297 w 585"/>
              <a:gd name="T57" fmla="*/ 28 h 585"/>
              <a:gd name="T58" fmla="*/ 421 w 585"/>
              <a:gd name="T59" fmla="*/ 61 h 585"/>
              <a:gd name="T60" fmla="*/ 411 w 585"/>
              <a:gd name="T61" fmla="*/ 87 h 585"/>
              <a:gd name="T62" fmla="*/ 429 w 585"/>
              <a:gd name="T63" fmla="*/ 66 h 585"/>
              <a:gd name="T64" fmla="*/ 520 w 585"/>
              <a:gd name="T65" fmla="*/ 156 h 585"/>
              <a:gd name="T66" fmla="*/ 498 w 585"/>
              <a:gd name="T67" fmla="*/ 174 h 585"/>
              <a:gd name="T68" fmla="*/ 524 w 585"/>
              <a:gd name="T69" fmla="*/ 164 h 585"/>
              <a:gd name="T70" fmla="*/ 557 w 585"/>
              <a:gd name="T71" fmla="*/ 288 h 585"/>
              <a:gd name="T72" fmla="*/ 530 w 585"/>
              <a:gd name="T73" fmla="*/ 292 h 585"/>
              <a:gd name="T74" fmla="*/ 557 w 585"/>
              <a:gd name="T75" fmla="*/ 297 h 585"/>
              <a:gd name="T76" fmla="*/ 524 w 585"/>
              <a:gd name="T77" fmla="*/ 421 h 585"/>
              <a:gd name="T78" fmla="*/ 498 w 585"/>
              <a:gd name="T79" fmla="*/ 411 h 585"/>
              <a:gd name="T80" fmla="*/ 520 w 585"/>
              <a:gd name="T81" fmla="*/ 429 h 585"/>
              <a:gd name="T82" fmla="*/ 429 w 585"/>
              <a:gd name="T83" fmla="*/ 519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5" h="585">
                <a:moveTo>
                  <a:pt x="293" y="0"/>
                </a:moveTo>
                <a:cubicBezTo>
                  <a:pt x="131" y="0"/>
                  <a:pt x="0" y="131"/>
                  <a:pt x="0" y="292"/>
                </a:cubicBezTo>
                <a:cubicBezTo>
                  <a:pt x="0" y="454"/>
                  <a:pt x="131" y="585"/>
                  <a:pt x="293" y="585"/>
                </a:cubicBezTo>
                <a:cubicBezTo>
                  <a:pt x="454" y="585"/>
                  <a:pt x="585" y="454"/>
                  <a:pt x="585" y="292"/>
                </a:cubicBezTo>
                <a:cubicBezTo>
                  <a:pt x="585" y="131"/>
                  <a:pt x="454" y="0"/>
                  <a:pt x="293" y="0"/>
                </a:cubicBezTo>
                <a:close/>
                <a:moveTo>
                  <a:pt x="429" y="519"/>
                </a:moveTo>
                <a:cubicBezTo>
                  <a:pt x="411" y="498"/>
                  <a:pt x="411" y="498"/>
                  <a:pt x="411" y="498"/>
                </a:cubicBezTo>
                <a:cubicBezTo>
                  <a:pt x="421" y="524"/>
                  <a:pt x="421" y="524"/>
                  <a:pt x="421" y="524"/>
                </a:cubicBezTo>
                <a:cubicBezTo>
                  <a:pt x="384" y="544"/>
                  <a:pt x="342" y="556"/>
                  <a:pt x="297" y="557"/>
                </a:cubicBezTo>
                <a:cubicBezTo>
                  <a:pt x="293" y="529"/>
                  <a:pt x="293" y="529"/>
                  <a:pt x="293" y="529"/>
                </a:cubicBezTo>
                <a:cubicBezTo>
                  <a:pt x="288" y="557"/>
                  <a:pt x="288" y="557"/>
                  <a:pt x="288" y="557"/>
                </a:cubicBezTo>
                <a:cubicBezTo>
                  <a:pt x="243" y="556"/>
                  <a:pt x="201" y="544"/>
                  <a:pt x="164" y="524"/>
                </a:cubicBezTo>
                <a:cubicBezTo>
                  <a:pt x="174" y="498"/>
                  <a:pt x="174" y="498"/>
                  <a:pt x="174" y="498"/>
                </a:cubicBezTo>
                <a:cubicBezTo>
                  <a:pt x="156" y="519"/>
                  <a:pt x="156" y="519"/>
                  <a:pt x="156" y="519"/>
                </a:cubicBezTo>
                <a:cubicBezTo>
                  <a:pt x="119" y="497"/>
                  <a:pt x="88" y="466"/>
                  <a:pt x="66" y="429"/>
                </a:cubicBezTo>
                <a:cubicBezTo>
                  <a:pt x="88" y="411"/>
                  <a:pt x="88" y="411"/>
                  <a:pt x="88" y="411"/>
                </a:cubicBezTo>
                <a:cubicBezTo>
                  <a:pt x="61" y="421"/>
                  <a:pt x="61" y="421"/>
                  <a:pt x="61" y="421"/>
                </a:cubicBezTo>
                <a:cubicBezTo>
                  <a:pt x="41" y="384"/>
                  <a:pt x="29" y="342"/>
                  <a:pt x="28" y="297"/>
                </a:cubicBezTo>
                <a:cubicBezTo>
                  <a:pt x="56" y="292"/>
                  <a:pt x="56" y="292"/>
                  <a:pt x="56" y="292"/>
                </a:cubicBezTo>
                <a:cubicBezTo>
                  <a:pt x="28" y="288"/>
                  <a:pt x="28" y="288"/>
                  <a:pt x="28" y="288"/>
                </a:cubicBezTo>
                <a:cubicBezTo>
                  <a:pt x="29" y="243"/>
                  <a:pt x="41" y="201"/>
                  <a:pt x="61" y="164"/>
                </a:cubicBezTo>
                <a:cubicBezTo>
                  <a:pt x="88" y="174"/>
                  <a:pt x="88" y="174"/>
                  <a:pt x="88" y="174"/>
                </a:cubicBezTo>
                <a:cubicBezTo>
                  <a:pt x="66" y="156"/>
                  <a:pt x="66" y="156"/>
                  <a:pt x="66" y="156"/>
                </a:cubicBezTo>
                <a:cubicBezTo>
                  <a:pt x="88" y="119"/>
                  <a:pt x="119" y="88"/>
                  <a:pt x="156" y="66"/>
                </a:cubicBezTo>
                <a:cubicBezTo>
                  <a:pt x="174" y="87"/>
                  <a:pt x="174" y="87"/>
                  <a:pt x="174" y="87"/>
                </a:cubicBezTo>
                <a:cubicBezTo>
                  <a:pt x="164" y="61"/>
                  <a:pt x="164" y="61"/>
                  <a:pt x="164" y="61"/>
                </a:cubicBezTo>
                <a:cubicBezTo>
                  <a:pt x="201" y="40"/>
                  <a:pt x="243" y="29"/>
                  <a:pt x="288" y="28"/>
                </a:cubicBezTo>
                <a:cubicBezTo>
                  <a:pt x="293" y="56"/>
                  <a:pt x="293" y="56"/>
                  <a:pt x="293" y="56"/>
                </a:cubicBezTo>
                <a:cubicBezTo>
                  <a:pt x="297" y="28"/>
                  <a:pt x="297" y="28"/>
                  <a:pt x="297" y="28"/>
                </a:cubicBezTo>
                <a:cubicBezTo>
                  <a:pt x="342" y="29"/>
                  <a:pt x="384" y="40"/>
                  <a:pt x="421" y="61"/>
                </a:cubicBezTo>
                <a:cubicBezTo>
                  <a:pt x="411" y="87"/>
                  <a:pt x="411" y="87"/>
                  <a:pt x="411" y="87"/>
                </a:cubicBezTo>
                <a:cubicBezTo>
                  <a:pt x="429" y="66"/>
                  <a:pt x="429" y="66"/>
                  <a:pt x="429" y="66"/>
                </a:cubicBezTo>
                <a:cubicBezTo>
                  <a:pt x="466" y="88"/>
                  <a:pt x="497" y="119"/>
                  <a:pt x="520" y="156"/>
                </a:cubicBezTo>
                <a:cubicBezTo>
                  <a:pt x="498" y="174"/>
                  <a:pt x="498" y="174"/>
                  <a:pt x="498" y="174"/>
                </a:cubicBezTo>
                <a:cubicBezTo>
                  <a:pt x="524" y="164"/>
                  <a:pt x="524" y="164"/>
                  <a:pt x="524" y="164"/>
                </a:cubicBezTo>
                <a:cubicBezTo>
                  <a:pt x="545" y="201"/>
                  <a:pt x="557" y="243"/>
                  <a:pt x="557" y="288"/>
                </a:cubicBezTo>
                <a:cubicBezTo>
                  <a:pt x="530" y="292"/>
                  <a:pt x="530" y="292"/>
                  <a:pt x="530" y="292"/>
                </a:cubicBezTo>
                <a:cubicBezTo>
                  <a:pt x="557" y="297"/>
                  <a:pt x="557" y="297"/>
                  <a:pt x="557" y="297"/>
                </a:cubicBezTo>
                <a:cubicBezTo>
                  <a:pt x="557" y="342"/>
                  <a:pt x="545" y="384"/>
                  <a:pt x="524" y="421"/>
                </a:cubicBezTo>
                <a:cubicBezTo>
                  <a:pt x="498" y="411"/>
                  <a:pt x="498" y="411"/>
                  <a:pt x="498" y="411"/>
                </a:cubicBezTo>
                <a:cubicBezTo>
                  <a:pt x="520" y="429"/>
                  <a:pt x="520" y="429"/>
                  <a:pt x="520" y="429"/>
                </a:cubicBezTo>
                <a:cubicBezTo>
                  <a:pt x="497" y="466"/>
                  <a:pt x="466" y="497"/>
                  <a:pt x="429" y="519"/>
                </a:cubicBezTo>
                <a:close/>
              </a:path>
            </a:pathLst>
          </a:custGeom>
          <a:solidFill>
            <a:schemeClr val="accent1"/>
          </a:solidFill>
          <a:ln>
            <a:noFill/>
          </a:ln>
          <a:effectLst>
            <a:outerShdw blurRad="1092200" sx="102000" sy="102000" algn="ctr" rotWithShape="0">
              <a:prstClr val="black">
                <a:alpha val="40000"/>
              </a:prstClr>
            </a:outerShdw>
          </a:effectLst>
        </p:spPr>
        <p:txBody>
          <a:bodyPr vert="horz" wrap="square" lIns="45711" tIns="22855" rIns="45711" bIns="22855" numCol="1" anchor="t" anchorCtr="0" compatLnSpc="1">
            <a:prstTxWarp prst="textNoShape">
              <a:avLst/>
            </a:prstTxWarp>
          </a:bodyPr>
          <a:lstStyle/>
          <a:p>
            <a:endParaRPr lang="en-US"/>
          </a:p>
        </p:txBody>
      </p:sp>
      <p:sp>
        <p:nvSpPr>
          <p:cNvPr id="164" name="Oval 163">
            <a:extLst>
              <a:ext uri="{FF2B5EF4-FFF2-40B4-BE49-F238E27FC236}">
                <a16:creationId xmlns:a16="http://schemas.microsoft.com/office/drawing/2014/main" id="{82C740A5-554D-4542-8107-2191AED5CF42}"/>
              </a:ext>
            </a:extLst>
          </p:cNvPr>
          <p:cNvSpPr/>
          <p:nvPr/>
        </p:nvSpPr>
        <p:spPr>
          <a:xfrm>
            <a:off x="5952358" y="3964280"/>
            <a:ext cx="224811" cy="224841"/>
          </a:xfrm>
          <a:prstGeom prst="ellipse">
            <a:avLst/>
          </a:prstGeom>
          <a:solidFill>
            <a:schemeClr val="bg1"/>
          </a:solidFill>
          <a:ln w="92075">
            <a:noFill/>
          </a:ln>
          <a:effectLst>
            <a:outerShdw blurRad="241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cxnSp>
        <p:nvCxnSpPr>
          <p:cNvPr id="55" name="Straight Connector 54">
            <a:extLst>
              <a:ext uri="{FF2B5EF4-FFF2-40B4-BE49-F238E27FC236}">
                <a16:creationId xmlns:a16="http://schemas.microsoft.com/office/drawing/2014/main" id="{ECA588F2-1467-41BC-BCBB-980CDF1C4264}"/>
              </a:ext>
            </a:extLst>
          </p:cNvPr>
          <p:cNvCxnSpPr>
            <a:cxnSpLocks/>
            <a:endCxn id="56" idx="1"/>
          </p:cNvCxnSpPr>
          <p:nvPr/>
        </p:nvCxnSpPr>
        <p:spPr>
          <a:xfrm flipV="1">
            <a:off x="6813085" y="1171568"/>
            <a:ext cx="2055281" cy="1419291"/>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16BAB7D-8CF0-4958-B853-3BBBF39F2993}"/>
              </a:ext>
            </a:extLst>
          </p:cNvPr>
          <p:cNvSpPr txBox="1"/>
          <p:nvPr/>
        </p:nvSpPr>
        <p:spPr>
          <a:xfrm>
            <a:off x="8868366" y="798394"/>
            <a:ext cx="2695182" cy="746348"/>
          </a:xfrm>
          <a:prstGeom prst="rect">
            <a:avLst/>
          </a:prstGeom>
          <a:noFill/>
        </p:spPr>
        <p:txBody>
          <a:bodyPr wrap="square" lIns="182880" tIns="22855" rIns="45711" bIns="22855"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57" name="TextBox 56">
            <a:extLst>
              <a:ext uri="{FF2B5EF4-FFF2-40B4-BE49-F238E27FC236}">
                <a16:creationId xmlns:a16="http://schemas.microsoft.com/office/drawing/2014/main" id="{9B9F4C6E-BDA3-48BB-9C55-A9875CB08913}"/>
              </a:ext>
            </a:extLst>
          </p:cNvPr>
          <p:cNvSpPr txBox="1"/>
          <p:nvPr/>
        </p:nvSpPr>
        <p:spPr>
          <a:xfrm>
            <a:off x="8868366" y="2559536"/>
            <a:ext cx="2857710" cy="746348"/>
          </a:xfrm>
          <a:prstGeom prst="rect">
            <a:avLst/>
          </a:prstGeom>
          <a:noFill/>
        </p:spPr>
        <p:txBody>
          <a:bodyPr wrap="square" lIns="182880" tIns="22855" rIns="45711" bIns="22855"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58" name="TextBox 57">
            <a:extLst>
              <a:ext uri="{FF2B5EF4-FFF2-40B4-BE49-F238E27FC236}">
                <a16:creationId xmlns:a16="http://schemas.microsoft.com/office/drawing/2014/main" id="{56F36C14-09EB-4848-88F3-795816C1804E}"/>
              </a:ext>
            </a:extLst>
          </p:cNvPr>
          <p:cNvSpPr txBox="1"/>
          <p:nvPr/>
        </p:nvSpPr>
        <p:spPr>
          <a:xfrm>
            <a:off x="8763349" y="5145356"/>
            <a:ext cx="2962727" cy="746348"/>
          </a:xfrm>
          <a:prstGeom prst="rect">
            <a:avLst/>
          </a:prstGeom>
          <a:noFill/>
        </p:spPr>
        <p:txBody>
          <a:bodyPr wrap="square" lIns="182880" tIns="22855" rIns="45711" bIns="22855"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59" name="TextBox 58">
            <a:extLst>
              <a:ext uri="{FF2B5EF4-FFF2-40B4-BE49-F238E27FC236}">
                <a16:creationId xmlns:a16="http://schemas.microsoft.com/office/drawing/2014/main" id="{500C1451-A3AF-4B5C-9066-06646ABD8BFB}"/>
              </a:ext>
            </a:extLst>
          </p:cNvPr>
          <p:cNvSpPr txBox="1"/>
          <p:nvPr/>
        </p:nvSpPr>
        <p:spPr>
          <a:xfrm>
            <a:off x="406346" y="5145356"/>
            <a:ext cx="2818956" cy="746348"/>
          </a:xfrm>
          <a:prstGeom prst="rect">
            <a:avLst/>
          </a:prstGeom>
          <a:noFill/>
        </p:spPr>
        <p:txBody>
          <a:bodyPr wrap="square" lIns="45720" tIns="22855" rIns="182880" bIns="22855" rtlCol="0">
            <a:spAutoFit/>
          </a:bodyPr>
          <a:lstStyle/>
          <a:p>
            <a:pPr lvl="0" algn="r">
              <a:spcAft>
                <a:spcPts val="300"/>
              </a:spcAft>
            </a:pPr>
            <a:r>
              <a:rPr lang="en-US" sz="1400" b="1" dirty="0">
                <a:solidFill>
                  <a:srgbClr val="00A3E0"/>
                </a:solidFill>
              </a:rPr>
              <a:t>Title</a:t>
            </a:r>
          </a:p>
          <a:p>
            <a:pPr lvl="0" algn="r"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60" name="TextBox 59">
            <a:extLst>
              <a:ext uri="{FF2B5EF4-FFF2-40B4-BE49-F238E27FC236}">
                <a16:creationId xmlns:a16="http://schemas.microsoft.com/office/drawing/2014/main" id="{94D5BAF8-6119-4C9E-BFD5-DD6728FE3494}"/>
              </a:ext>
            </a:extLst>
          </p:cNvPr>
          <p:cNvSpPr txBox="1"/>
          <p:nvPr/>
        </p:nvSpPr>
        <p:spPr>
          <a:xfrm>
            <a:off x="406346" y="2898086"/>
            <a:ext cx="2695182" cy="746348"/>
          </a:xfrm>
          <a:prstGeom prst="rect">
            <a:avLst/>
          </a:prstGeom>
          <a:noFill/>
        </p:spPr>
        <p:txBody>
          <a:bodyPr wrap="square" lIns="45720" tIns="22855" rIns="182880" bIns="22855" rtlCol="0">
            <a:spAutoFit/>
          </a:bodyPr>
          <a:lstStyle/>
          <a:p>
            <a:pPr lvl="0" algn="r">
              <a:spcAft>
                <a:spcPts val="300"/>
              </a:spcAft>
            </a:pPr>
            <a:r>
              <a:rPr lang="en-US" sz="1400" b="1" dirty="0">
                <a:solidFill>
                  <a:srgbClr val="00A3E0"/>
                </a:solidFill>
              </a:rPr>
              <a:t>Title</a:t>
            </a:r>
          </a:p>
          <a:p>
            <a:pPr lvl="0" algn="r"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61" name="TextBox 60">
            <a:extLst>
              <a:ext uri="{FF2B5EF4-FFF2-40B4-BE49-F238E27FC236}">
                <a16:creationId xmlns:a16="http://schemas.microsoft.com/office/drawing/2014/main" id="{BB3C572F-A3F2-4C53-B4D6-F35D9633688C}"/>
              </a:ext>
            </a:extLst>
          </p:cNvPr>
          <p:cNvSpPr txBox="1"/>
          <p:nvPr/>
        </p:nvSpPr>
        <p:spPr>
          <a:xfrm>
            <a:off x="406346" y="653321"/>
            <a:ext cx="2695182" cy="746348"/>
          </a:xfrm>
          <a:prstGeom prst="rect">
            <a:avLst/>
          </a:prstGeom>
          <a:noFill/>
        </p:spPr>
        <p:txBody>
          <a:bodyPr wrap="square" lIns="45720" tIns="22855" rIns="182880" bIns="22855" rtlCol="0">
            <a:spAutoFit/>
          </a:bodyPr>
          <a:lstStyle/>
          <a:p>
            <a:pPr algn="r">
              <a:spcAft>
                <a:spcPts val="300"/>
              </a:spcAft>
            </a:pPr>
            <a:r>
              <a:rPr lang="en-US" sz="1400" b="1" dirty="0">
                <a:solidFill>
                  <a:srgbClr val="00A3E0"/>
                </a:solidFill>
              </a:rPr>
              <a:t>Title</a:t>
            </a:r>
          </a:p>
          <a:p>
            <a:pPr lvl="0" algn="r" defTabSz="1142609">
              <a:spcBef>
                <a:spcPts val="562"/>
              </a:spcBef>
              <a:buSzPct val="100000"/>
              <a:defRPr/>
            </a:pPr>
            <a:r>
              <a:rPr lang="en-US" sz="1200" kern="0" dirty="0">
                <a:solidFill>
                  <a:schemeClr val="bg1"/>
                </a:solidFill>
                <a:ea typeface="ヒラギノ角ゴ ProN W3" charset="0"/>
                <a:sym typeface="Gotham Book" charset="0"/>
              </a:rPr>
              <a:t>This is dummy text it is not here to be read. The is just text to show.</a:t>
            </a:r>
          </a:p>
        </p:txBody>
      </p:sp>
      <p:cxnSp>
        <p:nvCxnSpPr>
          <p:cNvPr id="72" name="Straight Connector 54">
            <a:extLst>
              <a:ext uri="{FF2B5EF4-FFF2-40B4-BE49-F238E27FC236}">
                <a16:creationId xmlns:a16="http://schemas.microsoft.com/office/drawing/2014/main" id="{8412345D-6C93-4723-80B3-6C72DB800E16}"/>
              </a:ext>
            </a:extLst>
          </p:cNvPr>
          <p:cNvCxnSpPr>
            <a:cxnSpLocks/>
            <a:endCxn id="57" idx="1"/>
          </p:cNvCxnSpPr>
          <p:nvPr/>
        </p:nvCxnSpPr>
        <p:spPr>
          <a:xfrm flipV="1">
            <a:off x="7555435" y="2932710"/>
            <a:ext cx="1312931" cy="819164"/>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54">
            <a:extLst>
              <a:ext uri="{FF2B5EF4-FFF2-40B4-BE49-F238E27FC236}">
                <a16:creationId xmlns:a16="http://schemas.microsoft.com/office/drawing/2014/main" id="{F72CFFDB-5C80-44B0-B832-D0F40895A074}"/>
              </a:ext>
            </a:extLst>
          </p:cNvPr>
          <p:cNvCxnSpPr>
            <a:cxnSpLocks/>
            <a:endCxn id="58" idx="1"/>
          </p:cNvCxnSpPr>
          <p:nvPr/>
        </p:nvCxnSpPr>
        <p:spPr>
          <a:xfrm>
            <a:off x="7230157" y="5428384"/>
            <a:ext cx="1533192" cy="90146"/>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54">
            <a:extLst>
              <a:ext uri="{FF2B5EF4-FFF2-40B4-BE49-F238E27FC236}">
                <a16:creationId xmlns:a16="http://schemas.microsoft.com/office/drawing/2014/main" id="{5FE9F2E8-564D-41BA-8536-9689F0C979FB}"/>
              </a:ext>
            </a:extLst>
          </p:cNvPr>
          <p:cNvCxnSpPr>
            <a:cxnSpLocks/>
            <a:endCxn id="59" idx="3"/>
          </p:cNvCxnSpPr>
          <p:nvPr/>
        </p:nvCxnSpPr>
        <p:spPr>
          <a:xfrm rot="10800000">
            <a:off x="3225302" y="5518531"/>
            <a:ext cx="1873748" cy="146197"/>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Connector 54">
            <a:extLst>
              <a:ext uri="{FF2B5EF4-FFF2-40B4-BE49-F238E27FC236}">
                <a16:creationId xmlns:a16="http://schemas.microsoft.com/office/drawing/2014/main" id="{F96095BB-B714-4E3C-AFEC-BB3DCF3B5D5E}"/>
              </a:ext>
            </a:extLst>
          </p:cNvPr>
          <p:cNvCxnSpPr>
            <a:cxnSpLocks/>
            <a:endCxn id="60" idx="3"/>
          </p:cNvCxnSpPr>
          <p:nvPr/>
        </p:nvCxnSpPr>
        <p:spPr>
          <a:xfrm rot="10800000">
            <a:off x="3101529" y="3271260"/>
            <a:ext cx="851363" cy="805442"/>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8" name="Straight Connector 54">
            <a:extLst>
              <a:ext uri="{FF2B5EF4-FFF2-40B4-BE49-F238E27FC236}">
                <a16:creationId xmlns:a16="http://schemas.microsoft.com/office/drawing/2014/main" id="{68AD9995-7140-4337-8391-87E46C2EAB70}"/>
              </a:ext>
            </a:extLst>
          </p:cNvPr>
          <p:cNvCxnSpPr>
            <a:cxnSpLocks/>
          </p:cNvCxnSpPr>
          <p:nvPr/>
        </p:nvCxnSpPr>
        <p:spPr>
          <a:xfrm rot="10800000">
            <a:off x="3149766" y="1090808"/>
            <a:ext cx="1655249" cy="913091"/>
          </a:xfrm>
          <a:prstGeom prst="bentConnector3">
            <a:avLst>
              <a:gd name="adj1" fmla="val -42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577460"/>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14:presetBounceEnd="81000">
                                      <p:stCondLst>
                                        <p:cond delay="0"/>
                                      </p:stCondLst>
                                      <p:childTnLst>
                                        <p:animRot by="16200000" p14:bounceEnd="81000">
                                          <p:cBhvr>
                                            <p:cTn id="38" dur="1000" fill="hold"/>
                                            <p:tgtEl>
                                              <p:spTgt spid="140"/>
                                            </p:tgtEl>
                                            <p:attrNameLst>
                                              <p:attrName>r</p:attrName>
                                            </p:attrNameLst>
                                          </p:cBhvr>
                                        </p:animRot>
                                      </p:childTnLst>
                                    </p:cTn>
                                  </p:par>
                                  <p:par>
                                    <p:cTn id="39" presetID="8" presetClass="emph" presetSubtype="0" fill="hold" nodeType="withEffect" p14:presetBounceEnd="81000">
                                      <p:stCondLst>
                                        <p:cond delay="0"/>
                                      </p:stCondLst>
                                      <p:childTnLst>
                                        <p:animRot by="1800000" p14:bounceEnd="81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14:presetBounceEnd="81000">
                                      <p:stCondLst>
                                        <p:cond delay="0"/>
                                      </p:stCondLst>
                                      <p:childTnLst>
                                        <p:animRot by="21600000" p14:bounceEnd="81000">
                                          <p:cBhvr>
                                            <p:cTn id="58" dur="1000" fill="hold"/>
                                            <p:tgtEl>
                                              <p:spTgt spid="140"/>
                                            </p:tgtEl>
                                            <p:attrNameLst>
                                              <p:attrName>r</p:attrName>
                                            </p:attrNameLst>
                                          </p:cBhvr>
                                        </p:animRot>
                                      </p:childTnLst>
                                    </p:cTn>
                                  </p:par>
                                  <p:par>
                                    <p:cTn id="59" presetID="8" presetClass="emph" presetSubtype="0" fill="hold" nodeType="withEffect" p14:presetBounceEnd="81000">
                                      <p:stCondLst>
                                        <p:cond delay="0"/>
                                      </p:stCondLst>
                                      <p:childTnLst>
                                        <p:animRot by="3600000" p14:bounceEnd="81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14:presetBounceEnd="81000">
                                      <p:stCondLst>
                                        <p:cond delay="0"/>
                                      </p:stCondLst>
                                      <p:childTnLst>
                                        <p:animRot by="21600000" p14:bounceEnd="81000">
                                          <p:cBhvr>
                                            <p:cTn id="78" dur="1000" fill="hold"/>
                                            <p:tgtEl>
                                              <p:spTgt spid="140"/>
                                            </p:tgtEl>
                                            <p:attrNameLst>
                                              <p:attrName>r</p:attrName>
                                            </p:attrNameLst>
                                          </p:cBhvr>
                                        </p:animRot>
                                      </p:childTnLst>
                                    </p:cTn>
                                  </p:par>
                                  <p:par>
                                    <p:cTn id="79" presetID="8" presetClass="emph" presetSubtype="0" fill="hold" nodeType="withEffect" p14:presetBounceEnd="81000">
                                      <p:stCondLst>
                                        <p:cond delay="0"/>
                                      </p:stCondLst>
                                      <p:childTnLst>
                                        <p:animRot by="3600000" p14:bounceEnd="81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14:presetBounceEnd="81000">
                                      <p:stCondLst>
                                        <p:cond delay="0"/>
                                      </p:stCondLst>
                                      <p:childTnLst>
                                        <p:animRot by="21600000" p14:bounceEnd="81000">
                                          <p:cBhvr>
                                            <p:cTn id="98" dur="1000" fill="hold"/>
                                            <p:tgtEl>
                                              <p:spTgt spid="140"/>
                                            </p:tgtEl>
                                            <p:attrNameLst>
                                              <p:attrName>r</p:attrName>
                                            </p:attrNameLst>
                                          </p:cBhvr>
                                        </p:animRot>
                                      </p:childTnLst>
                                    </p:cTn>
                                  </p:par>
                                  <p:par>
                                    <p:cTn id="99" presetID="8" presetClass="emph" presetSubtype="0" fill="hold" nodeType="withEffect" p14:presetBounceEnd="81000">
                                      <p:stCondLst>
                                        <p:cond delay="0"/>
                                      </p:stCondLst>
                                      <p:childTnLst>
                                        <p:animRot by="3600000" p14:bounceEnd="81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14:presetBounceEnd="81000">
                                      <p:stCondLst>
                                        <p:cond delay="0"/>
                                      </p:stCondLst>
                                      <p:childTnLst>
                                        <p:animRot by="21600000" p14:bounceEnd="81000">
                                          <p:cBhvr>
                                            <p:cTn id="118" dur="1000" fill="hold"/>
                                            <p:tgtEl>
                                              <p:spTgt spid="140"/>
                                            </p:tgtEl>
                                            <p:attrNameLst>
                                              <p:attrName>r</p:attrName>
                                            </p:attrNameLst>
                                          </p:cBhvr>
                                        </p:animRot>
                                      </p:childTnLst>
                                    </p:cTn>
                                  </p:par>
                                  <p:par>
                                    <p:cTn id="119" presetID="8" presetClass="emph" presetSubtype="0" fill="hold" nodeType="withEffect" p14:presetBounceEnd="81000">
                                      <p:stCondLst>
                                        <p:cond delay="0"/>
                                      </p:stCondLst>
                                      <p:childTnLst>
                                        <p:animRot by="3600000" p14:bounceEnd="81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14:presetBounceEnd="81000">
                                      <p:stCondLst>
                                        <p:cond delay="0"/>
                                      </p:stCondLst>
                                      <p:childTnLst>
                                        <p:animRot by="21600000" p14:bounceEnd="81000">
                                          <p:cBhvr>
                                            <p:cTn id="138" dur="1000" fill="hold"/>
                                            <p:tgtEl>
                                              <p:spTgt spid="140"/>
                                            </p:tgtEl>
                                            <p:attrNameLst>
                                              <p:attrName>r</p:attrName>
                                            </p:attrNameLst>
                                          </p:cBhvr>
                                        </p:animRot>
                                      </p:childTnLst>
                                    </p:cTn>
                                  </p:par>
                                  <p:par>
                                    <p:cTn id="139" presetID="8" presetClass="emph" presetSubtype="0" fill="hold" nodeType="withEffect" p14:presetBounceEnd="81000">
                                      <p:stCondLst>
                                        <p:cond delay="0"/>
                                      </p:stCondLst>
                                      <p:childTnLst>
                                        <p:animRot by="3600000" p14:bounceEnd="81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stCondLst>
                                        <p:cond delay="0"/>
                                      </p:stCondLst>
                                      <p:childTnLst>
                                        <p:animRot by="16200000">
                                          <p:cBhvr>
                                            <p:cTn id="38" dur="1000" fill="hold"/>
                                            <p:tgtEl>
                                              <p:spTgt spid="140"/>
                                            </p:tgtEl>
                                            <p:attrNameLst>
                                              <p:attrName>r</p:attrName>
                                            </p:attrNameLst>
                                          </p:cBhvr>
                                        </p:animRot>
                                      </p:childTnLst>
                                    </p:cTn>
                                  </p:par>
                                  <p:par>
                                    <p:cTn id="39" presetID="8" presetClass="emph" presetSubtype="0" fill="hold" nodeType="withEffect">
                                      <p:stCondLst>
                                        <p:cond delay="0"/>
                                      </p:stCondLst>
                                      <p:childTnLst>
                                        <p:animRot by="1800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stCondLst>
                                        <p:cond delay="0"/>
                                      </p:stCondLst>
                                      <p:childTnLst>
                                        <p:animRot by="21600000">
                                          <p:cBhvr>
                                            <p:cTn id="58" dur="1000" fill="hold"/>
                                            <p:tgtEl>
                                              <p:spTgt spid="140"/>
                                            </p:tgtEl>
                                            <p:attrNameLst>
                                              <p:attrName>r</p:attrName>
                                            </p:attrNameLst>
                                          </p:cBhvr>
                                        </p:animRot>
                                      </p:childTnLst>
                                    </p:cTn>
                                  </p:par>
                                  <p:par>
                                    <p:cTn id="59" presetID="8" presetClass="emph" presetSubtype="0" fill="hold" nodeType="withEffect">
                                      <p:stCondLst>
                                        <p:cond delay="0"/>
                                      </p:stCondLst>
                                      <p:childTnLst>
                                        <p:animRot by="3600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stCondLst>
                                        <p:cond delay="0"/>
                                      </p:stCondLst>
                                      <p:childTnLst>
                                        <p:animRot by="21600000">
                                          <p:cBhvr>
                                            <p:cTn id="78" dur="1000" fill="hold"/>
                                            <p:tgtEl>
                                              <p:spTgt spid="140"/>
                                            </p:tgtEl>
                                            <p:attrNameLst>
                                              <p:attrName>r</p:attrName>
                                            </p:attrNameLst>
                                          </p:cBhvr>
                                        </p:animRot>
                                      </p:childTnLst>
                                    </p:cTn>
                                  </p:par>
                                  <p:par>
                                    <p:cTn id="79" presetID="8" presetClass="emph" presetSubtype="0" fill="hold" nodeType="withEffect">
                                      <p:stCondLst>
                                        <p:cond delay="0"/>
                                      </p:stCondLst>
                                      <p:childTnLst>
                                        <p:animRot by="3600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stCondLst>
                                        <p:cond delay="0"/>
                                      </p:stCondLst>
                                      <p:childTnLst>
                                        <p:animRot by="21600000">
                                          <p:cBhvr>
                                            <p:cTn id="98" dur="1000" fill="hold"/>
                                            <p:tgtEl>
                                              <p:spTgt spid="140"/>
                                            </p:tgtEl>
                                            <p:attrNameLst>
                                              <p:attrName>r</p:attrName>
                                            </p:attrNameLst>
                                          </p:cBhvr>
                                        </p:animRot>
                                      </p:childTnLst>
                                    </p:cTn>
                                  </p:par>
                                  <p:par>
                                    <p:cTn id="99" presetID="8" presetClass="emph" presetSubtype="0" fill="hold" nodeType="withEffect">
                                      <p:stCondLst>
                                        <p:cond delay="0"/>
                                      </p:stCondLst>
                                      <p:childTnLst>
                                        <p:animRot by="3600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stCondLst>
                                        <p:cond delay="0"/>
                                      </p:stCondLst>
                                      <p:childTnLst>
                                        <p:animRot by="21600000">
                                          <p:cBhvr>
                                            <p:cTn id="118" dur="1000" fill="hold"/>
                                            <p:tgtEl>
                                              <p:spTgt spid="140"/>
                                            </p:tgtEl>
                                            <p:attrNameLst>
                                              <p:attrName>r</p:attrName>
                                            </p:attrNameLst>
                                          </p:cBhvr>
                                        </p:animRot>
                                      </p:childTnLst>
                                    </p:cTn>
                                  </p:par>
                                  <p:par>
                                    <p:cTn id="119" presetID="8" presetClass="emph" presetSubtype="0" fill="hold" nodeType="withEffect">
                                      <p:stCondLst>
                                        <p:cond delay="0"/>
                                      </p:stCondLst>
                                      <p:childTnLst>
                                        <p:animRot by="3600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stCondLst>
                                        <p:cond delay="0"/>
                                      </p:stCondLst>
                                      <p:childTnLst>
                                        <p:animRot by="21600000">
                                          <p:cBhvr>
                                            <p:cTn id="138" dur="1000" fill="hold"/>
                                            <p:tgtEl>
                                              <p:spTgt spid="140"/>
                                            </p:tgtEl>
                                            <p:attrNameLst>
                                              <p:attrName>r</p:attrName>
                                            </p:attrNameLst>
                                          </p:cBhvr>
                                        </p:animRot>
                                      </p:childTnLst>
                                    </p:cTn>
                                  </p:par>
                                  <p:par>
                                    <p:cTn id="139" presetID="8" presetClass="emph" presetSubtype="0" fill="hold" nodeType="withEffect">
                                      <p:stCondLst>
                                        <p:cond delay="0"/>
                                      </p:stCondLst>
                                      <p:childTnLst>
                                        <p:animRot by="3600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Fallback>
  </mc:AlternateContent>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Arc 35">
            <a:extLst>
              <a:ext uri="{FF2B5EF4-FFF2-40B4-BE49-F238E27FC236}">
                <a16:creationId xmlns:a16="http://schemas.microsoft.com/office/drawing/2014/main" id="{C5E8A21A-C674-476C-A0E9-41947BB38F18}"/>
              </a:ext>
            </a:extLst>
          </p:cNvPr>
          <p:cNvSpPr/>
          <p:nvPr/>
        </p:nvSpPr>
        <p:spPr>
          <a:xfrm>
            <a:off x="491380" y="1973110"/>
            <a:ext cx="4088045" cy="4088045"/>
          </a:xfrm>
          <a:prstGeom prst="arc">
            <a:avLst>
              <a:gd name="adj1" fmla="val 16812435"/>
              <a:gd name="adj2" fmla="val 4781030"/>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Arc 36">
            <a:extLst>
              <a:ext uri="{FF2B5EF4-FFF2-40B4-BE49-F238E27FC236}">
                <a16:creationId xmlns:a16="http://schemas.microsoft.com/office/drawing/2014/main" id="{3B27D4D6-F06F-4941-9B1D-99559099373C}"/>
              </a:ext>
            </a:extLst>
          </p:cNvPr>
          <p:cNvSpPr/>
          <p:nvPr/>
        </p:nvSpPr>
        <p:spPr>
          <a:xfrm flipH="1">
            <a:off x="516797" y="1973110"/>
            <a:ext cx="4088045" cy="4088045"/>
          </a:xfrm>
          <a:prstGeom prst="arc">
            <a:avLst>
              <a:gd name="adj1" fmla="val 16812435"/>
              <a:gd name="adj2" fmla="val 4781841"/>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Oval 13">
            <a:extLst>
              <a:ext uri="{FF2B5EF4-FFF2-40B4-BE49-F238E27FC236}">
                <a16:creationId xmlns:a16="http://schemas.microsoft.com/office/drawing/2014/main" id="{0CE2C832-D59F-44DD-BDE0-C7857C106B53}"/>
              </a:ext>
            </a:extLst>
          </p:cNvPr>
          <p:cNvSpPr/>
          <p:nvPr/>
        </p:nvSpPr>
        <p:spPr bwMode="gray">
          <a:xfrm>
            <a:off x="729088" y="2179916"/>
            <a:ext cx="3674434" cy="3674434"/>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890623" y="2337680"/>
            <a:ext cx="3340395" cy="3340395"/>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1047944" y="2468948"/>
            <a:ext cx="3036722" cy="3036722"/>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1185977" y="2636805"/>
            <a:ext cx="2760657" cy="2760657"/>
          </a:xfrm>
          <a:prstGeom prst="ellipse">
            <a:avLst/>
          </a:prstGeom>
          <a:solidFill>
            <a:schemeClr val="tx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4" name="Group 43">
            <a:extLst>
              <a:ext uri="{FF2B5EF4-FFF2-40B4-BE49-F238E27FC236}">
                <a16:creationId xmlns:a16="http://schemas.microsoft.com/office/drawing/2014/main" id="{FD4822F1-D35A-4529-B33C-5058B2AB54C4}"/>
              </a:ext>
            </a:extLst>
          </p:cNvPr>
          <p:cNvGrpSpPr/>
          <p:nvPr/>
        </p:nvGrpSpPr>
        <p:grpSpPr>
          <a:xfrm>
            <a:off x="1750729" y="3228644"/>
            <a:ext cx="1631154" cy="1406167"/>
            <a:chOff x="1669172" y="3314575"/>
            <a:chExt cx="1794269" cy="1546784"/>
          </a:xfrm>
        </p:grpSpPr>
        <p:sp>
          <p:nvSpPr>
            <p:cNvPr id="8" name="Isosceles Triangle 7">
              <a:extLst>
                <a:ext uri="{FF2B5EF4-FFF2-40B4-BE49-F238E27FC236}">
                  <a16:creationId xmlns:a16="http://schemas.microsoft.com/office/drawing/2014/main" id="{C3A8CFA0-6085-4DD3-A77E-2D5168F1AA48}"/>
                </a:ext>
              </a:extLst>
            </p:cNvPr>
            <p:cNvSpPr/>
            <p:nvPr/>
          </p:nvSpPr>
          <p:spPr bwMode="gray">
            <a:xfrm>
              <a:off x="1669172" y="3314575"/>
              <a:ext cx="1794269" cy="1546784"/>
            </a:xfrm>
            <a:prstGeom prst="triangle">
              <a:avLst/>
            </a:prstGeom>
            <a:noFill/>
            <a:ln w="25400" algn="ctr">
              <a:solidFill>
                <a:schemeClr val="accent3">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1" name="Group 10">
              <a:extLst>
                <a:ext uri="{FF2B5EF4-FFF2-40B4-BE49-F238E27FC236}">
                  <a16:creationId xmlns:a16="http://schemas.microsoft.com/office/drawing/2014/main" id="{507358F6-4FF9-48E9-9ED0-8491AA14F01D}"/>
                </a:ext>
              </a:extLst>
            </p:cNvPr>
            <p:cNvGrpSpPr/>
            <p:nvPr/>
          </p:nvGrpSpPr>
          <p:grpSpPr>
            <a:xfrm>
              <a:off x="2498918" y="3740398"/>
              <a:ext cx="134776" cy="907079"/>
              <a:chOff x="6005513" y="2852709"/>
              <a:chExt cx="179387" cy="1207323"/>
            </a:xfrm>
          </p:grpSpPr>
          <p:sp>
            <p:nvSpPr>
              <p:cNvPr id="9" name="Trapezoid 8">
                <a:extLst>
                  <a:ext uri="{FF2B5EF4-FFF2-40B4-BE49-F238E27FC236}">
                    <a16:creationId xmlns:a16="http://schemas.microsoft.com/office/drawing/2014/main" id="{5536512C-43CB-40CD-94B3-085713923BE7}"/>
                  </a:ext>
                </a:extLst>
              </p:cNvPr>
              <p:cNvSpPr/>
              <p:nvPr/>
            </p:nvSpPr>
            <p:spPr bwMode="gray">
              <a:xfrm flipV="1">
                <a:off x="6005513" y="2852709"/>
                <a:ext cx="179387" cy="1007483"/>
              </a:xfrm>
              <a:prstGeom prst="trapezoid">
                <a:avLst/>
              </a:prstGeom>
              <a:noFill/>
              <a:ln w="25400" algn="ctr">
                <a:solidFill>
                  <a:schemeClr val="accent3">
                    <a:lumMod val="60000"/>
                    <a:lumOff val="4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dirty="0">
                  <a:solidFill>
                    <a:schemeClr val="bg1"/>
                  </a:solidFill>
                </a:endParaRPr>
              </a:p>
            </p:txBody>
          </p:sp>
          <p:sp>
            <p:nvSpPr>
              <p:cNvPr id="10" name="Rectangle 9">
                <a:extLst>
                  <a:ext uri="{FF2B5EF4-FFF2-40B4-BE49-F238E27FC236}">
                    <a16:creationId xmlns:a16="http://schemas.microsoft.com/office/drawing/2014/main" id="{B4FFEFF4-0F7D-4EA5-BB18-9E5FFF5774D2}"/>
                  </a:ext>
                </a:extLst>
              </p:cNvPr>
              <p:cNvSpPr/>
              <p:nvPr/>
            </p:nvSpPr>
            <p:spPr bwMode="gray">
              <a:xfrm>
                <a:off x="6049962" y="3960019"/>
                <a:ext cx="90488" cy="100013"/>
              </a:xfrm>
              <a:prstGeom prst="rect">
                <a:avLst/>
              </a:prstGeom>
              <a:noFill/>
              <a:ln w="25400" algn="ctr">
                <a:solidFill>
                  <a:schemeClr val="accent3">
                    <a:lumMod val="60000"/>
                    <a:lumOff val="4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dirty="0">
                  <a:solidFill>
                    <a:schemeClr val="bg1"/>
                  </a:solidFill>
                </a:endParaRPr>
              </a:p>
            </p:txBody>
          </p:sp>
        </p:grpSp>
      </p:grpSp>
      <p:sp>
        <p:nvSpPr>
          <p:cNvPr id="19" name="Rectangle 18">
            <a:extLst>
              <a:ext uri="{FF2B5EF4-FFF2-40B4-BE49-F238E27FC236}">
                <a16:creationId xmlns:a16="http://schemas.microsoft.com/office/drawing/2014/main" id="{6F4B5722-2CDC-4CC6-B138-D8EDB141AE62}"/>
              </a:ext>
            </a:extLst>
          </p:cNvPr>
          <p:cNvSpPr/>
          <p:nvPr/>
        </p:nvSpPr>
        <p:spPr>
          <a:xfrm>
            <a:off x="6616452" y="1704462"/>
            <a:ext cx="4869644" cy="607859"/>
          </a:xfrm>
          <a:prstGeom prst="rect">
            <a:avLst/>
          </a:prstGeom>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23" name="TextBox 22">
            <a:extLst>
              <a:ext uri="{FF2B5EF4-FFF2-40B4-BE49-F238E27FC236}">
                <a16:creationId xmlns:a16="http://schemas.microsoft.com/office/drawing/2014/main" id="{BB417DA9-D89D-4B3F-A131-0462D93B4E68}"/>
              </a:ext>
            </a:extLst>
          </p:cNvPr>
          <p:cNvSpPr txBox="1"/>
          <p:nvPr/>
        </p:nvSpPr>
        <p:spPr>
          <a:xfrm>
            <a:off x="6624736" y="5622068"/>
            <a:ext cx="4869645" cy="607859"/>
          </a:xfrm>
          <a:prstGeom prst="rect">
            <a:avLst/>
          </a:prstGeom>
          <a:noFill/>
        </p:spPr>
        <p:txBody>
          <a:bodyPr wrap="square"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27" name="TextBox 26">
            <a:extLst>
              <a:ext uri="{FF2B5EF4-FFF2-40B4-BE49-F238E27FC236}">
                <a16:creationId xmlns:a16="http://schemas.microsoft.com/office/drawing/2014/main" id="{071F6CF4-79C8-4CC2-8527-96D8F97ED4DA}"/>
              </a:ext>
            </a:extLst>
          </p:cNvPr>
          <p:cNvSpPr txBox="1"/>
          <p:nvPr/>
        </p:nvSpPr>
        <p:spPr>
          <a:xfrm>
            <a:off x="6616452" y="4696526"/>
            <a:ext cx="4869645" cy="607859"/>
          </a:xfrm>
          <a:prstGeom prst="rect">
            <a:avLst/>
          </a:prstGeom>
          <a:noFill/>
        </p:spPr>
        <p:txBody>
          <a:bodyPr wrap="square"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31" name="TextBox 30">
            <a:extLst>
              <a:ext uri="{FF2B5EF4-FFF2-40B4-BE49-F238E27FC236}">
                <a16:creationId xmlns:a16="http://schemas.microsoft.com/office/drawing/2014/main" id="{5C61A11C-C01A-4F64-9A2B-A7776ABA120C}"/>
              </a:ext>
            </a:extLst>
          </p:cNvPr>
          <p:cNvSpPr txBox="1"/>
          <p:nvPr/>
        </p:nvSpPr>
        <p:spPr>
          <a:xfrm>
            <a:off x="6616452" y="2845446"/>
            <a:ext cx="4869644" cy="607859"/>
          </a:xfrm>
          <a:prstGeom prst="rect">
            <a:avLst/>
          </a:prstGeom>
          <a:noFill/>
        </p:spPr>
        <p:txBody>
          <a:bodyPr wrap="square"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35" name="TextBox 34">
            <a:extLst>
              <a:ext uri="{FF2B5EF4-FFF2-40B4-BE49-F238E27FC236}">
                <a16:creationId xmlns:a16="http://schemas.microsoft.com/office/drawing/2014/main" id="{6CF5C9AA-2CAE-430A-9770-0A854565AACD}"/>
              </a:ext>
            </a:extLst>
          </p:cNvPr>
          <p:cNvSpPr txBox="1"/>
          <p:nvPr/>
        </p:nvSpPr>
        <p:spPr>
          <a:xfrm>
            <a:off x="6616452" y="3770986"/>
            <a:ext cx="4869645" cy="607859"/>
          </a:xfrm>
          <a:prstGeom prst="rect">
            <a:avLst/>
          </a:prstGeom>
          <a:noFill/>
        </p:spPr>
        <p:txBody>
          <a:bodyPr wrap="square" rtlCol="0">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cxnSp>
        <p:nvCxnSpPr>
          <p:cNvPr id="39" name="Straight Connector 38">
            <a:extLst>
              <a:ext uri="{FF2B5EF4-FFF2-40B4-BE49-F238E27FC236}">
                <a16:creationId xmlns:a16="http://schemas.microsoft.com/office/drawing/2014/main" id="{C0B86FC4-2DE4-4A25-87BC-F32109C3457F}"/>
              </a:ext>
            </a:extLst>
          </p:cNvPr>
          <p:cNvCxnSpPr>
            <a:cxnSpLocks/>
          </p:cNvCxnSpPr>
          <p:nvPr/>
        </p:nvCxnSpPr>
        <p:spPr>
          <a:xfrm>
            <a:off x="6706909" y="2510626"/>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cxnSp>
        <p:nvCxnSpPr>
          <p:cNvPr id="41" name="Straight Connector 40">
            <a:extLst>
              <a:ext uri="{FF2B5EF4-FFF2-40B4-BE49-F238E27FC236}">
                <a16:creationId xmlns:a16="http://schemas.microsoft.com/office/drawing/2014/main" id="{E8228A18-081A-4834-BEC0-ADB2CF894D6E}"/>
              </a:ext>
            </a:extLst>
          </p:cNvPr>
          <p:cNvCxnSpPr>
            <a:cxnSpLocks/>
          </p:cNvCxnSpPr>
          <p:nvPr/>
        </p:nvCxnSpPr>
        <p:spPr>
          <a:xfrm>
            <a:off x="6706909" y="3436166"/>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cxnSp>
        <p:nvCxnSpPr>
          <p:cNvPr id="42" name="Straight Connector 41">
            <a:extLst>
              <a:ext uri="{FF2B5EF4-FFF2-40B4-BE49-F238E27FC236}">
                <a16:creationId xmlns:a16="http://schemas.microsoft.com/office/drawing/2014/main" id="{0AC8A759-E312-45DB-8B8F-7A5AE70F0F1A}"/>
              </a:ext>
            </a:extLst>
          </p:cNvPr>
          <p:cNvCxnSpPr>
            <a:cxnSpLocks/>
          </p:cNvCxnSpPr>
          <p:nvPr/>
        </p:nvCxnSpPr>
        <p:spPr>
          <a:xfrm>
            <a:off x="6706909" y="4361706"/>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cxnSp>
        <p:nvCxnSpPr>
          <p:cNvPr id="43" name="Straight Connector 42">
            <a:extLst>
              <a:ext uri="{FF2B5EF4-FFF2-40B4-BE49-F238E27FC236}">
                <a16:creationId xmlns:a16="http://schemas.microsoft.com/office/drawing/2014/main" id="{1DB27507-FF8D-4DEE-B972-E5BD9DB82664}"/>
              </a:ext>
            </a:extLst>
          </p:cNvPr>
          <p:cNvCxnSpPr>
            <a:cxnSpLocks/>
          </p:cNvCxnSpPr>
          <p:nvPr/>
        </p:nvCxnSpPr>
        <p:spPr>
          <a:xfrm>
            <a:off x="6706909" y="5287246"/>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grpSp>
        <p:nvGrpSpPr>
          <p:cNvPr id="142" name="Group 74">
            <a:extLst>
              <a:ext uri="{FF2B5EF4-FFF2-40B4-BE49-F238E27FC236}">
                <a16:creationId xmlns:a16="http://schemas.microsoft.com/office/drawing/2014/main" id="{7847FEF3-EC51-48C0-984F-0A3935FD0361}"/>
              </a:ext>
            </a:extLst>
          </p:cNvPr>
          <p:cNvGrpSpPr>
            <a:grpSpLocks noChangeAspect="1"/>
          </p:cNvGrpSpPr>
          <p:nvPr/>
        </p:nvGrpSpPr>
        <p:grpSpPr bwMode="auto">
          <a:xfrm>
            <a:off x="5839759" y="2876597"/>
            <a:ext cx="578159" cy="559950"/>
            <a:chOff x="2417" y="4694"/>
            <a:chExt cx="1143" cy="1107"/>
          </a:xfrm>
          <a:solidFill>
            <a:srgbClr val="00A3E0"/>
          </a:solidFill>
        </p:grpSpPr>
        <p:sp>
          <p:nvSpPr>
            <p:cNvPr id="144" name="Freeform 75">
              <a:extLst>
                <a:ext uri="{FF2B5EF4-FFF2-40B4-BE49-F238E27FC236}">
                  <a16:creationId xmlns:a16="http://schemas.microsoft.com/office/drawing/2014/main" id="{F70F5629-21BD-4FE4-BC7D-F3E73A74FABD}"/>
                </a:ext>
              </a:extLst>
            </p:cNvPr>
            <p:cNvSpPr>
              <a:spLocks noEditPoints="1"/>
            </p:cNvSpPr>
            <p:nvPr/>
          </p:nvSpPr>
          <p:spPr bwMode="auto">
            <a:xfrm>
              <a:off x="2855" y="5044"/>
              <a:ext cx="113"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1" y="0"/>
                    <a:pt x="0" y="11"/>
                    <a:pt x="0" y="25"/>
                  </a:cubicBezTo>
                  <a:cubicBezTo>
                    <a:pt x="17" y="25"/>
                    <a:pt x="17" y="25"/>
                    <a:pt x="17" y="25"/>
                  </a:cubicBezTo>
                  <a:cubicBezTo>
                    <a:pt x="17" y="21"/>
                    <a:pt x="21" y="17"/>
                    <a:pt x="26" y="17"/>
                  </a:cubicBezTo>
                  <a:cubicBezTo>
                    <a:pt x="30"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76">
              <a:extLst>
                <a:ext uri="{FF2B5EF4-FFF2-40B4-BE49-F238E27FC236}">
                  <a16:creationId xmlns:a16="http://schemas.microsoft.com/office/drawing/2014/main" id="{09A91123-6DCB-47D3-895B-1B52B034CCD3}"/>
                </a:ext>
              </a:extLst>
            </p:cNvPr>
            <p:cNvSpPr>
              <a:spLocks noEditPoints="1"/>
            </p:cNvSpPr>
            <p:nvPr/>
          </p:nvSpPr>
          <p:spPr bwMode="auto">
            <a:xfrm>
              <a:off x="3006" y="5044"/>
              <a:ext cx="114"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2" y="0"/>
                    <a:pt x="0" y="11"/>
                    <a:pt x="0" y="25"/>
                  </a:cubicBezTo>
                  <a:cubicBezTo>
                    <a:pt x="17" y="25"/>
                    <a:pt x="17" y="25"/>
                    <a:pt x="17" y="25"/>
                  </a:cubicBezTo>
                  <a:cubicBezTo>
                    <a:pt x="17" y="21"/>
                    <a:pt x="21" y="17"/>
                    <a:pt x="26" y="17"/>
                  </a:cubicBezTo>
                  <a:cubicBezTo>
                    <a:pt x="31"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77">
              <a:extLst>
                <a:ext uri="{FF2B5EF4-FFF2-40B4-BE49-F238E27FC236}">
                  <a16:creationId xmlns:a16="http://schemas.microsoft.com/office/drawing/2014/main" id="{58A17C57-0F33-4F72-946D-ED4EC9BC1A02}"/>
                </a:ext>
              </a:extLst>
            </p:cNvPr>
            <p:cNvSpPr>
              <a:spLocks noEditPoints="1"/>
            </p:cNvSpPr>
            <p:nvPr/>
          </p:nvSpPr>
          <p:spPr bwMode="auto">
            <a:xfrm>
              <a:off x="2913" y="5542"/>
              <a:ext cx="151" cy="147"/>
            </a:xfrm>
            <a:custGeom>
              <a:avLst/>
              <a:gdLst>
                <a:gd name="T0" fmla="*/ 34 w 68"/>
                <a:gd name="T1" fmla="*/ 0 h 68"/>
                <a:gd name="T2" fmla="*/ 0 w 68"/>
                <a:gd name="T3" fmla="*/ 34 h 68"/>
                <a:gd name="T4" fmla="*/ 34 w 68"/>
                <a:gd name="T5" fmla="*/ 68 h 68"/>
                <a:gd name="T6" fmla="*/ 68 w 68"/>
                <a:gd name="T7" fmla="*/ 34 h 68"/>
                <a:gd name="T8" fmla="*/ 34 w 68"/>
                <a:gd name="T9" fmla="*/ 0 h 68"/>
                <a:gd name="T10" fmla="*/ 34 w 68"/>
                <a:gd name="T11" fmla="*/ 51 h 68"/>
                <a:gd name="T12" fmla="*/ 17 w 68"/>
                <a:gd name="T13" fmla="*/ 34 h 68"/>
                <a:gd name="T14" fmla="*/ 34 w 68"/>
                <a:gd name="T15" fmla="*/ 17 h 68"/>
                <a:gd name="T16" fmla="*/ 51 w 68"/>
                <a:gd name="T17" fmla="*/ 34 h 68"/>
                <a:gd name="T18" fmla="*/ 34 w 68"/>
                <a:gd name="T19" fmla="*/ 51 h 68"/>
                <a:gd name="T20" fmla="*/ 34 w 68"/>
                <a:gd name="T21" fmla="*/ 51 h 68"/>
                <a:gd name="T22" fmla="*/ 34 w 68"/>
                <a:gd name="T23"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68">
                  <a:moveTo>
                    <a:pt x="34" y="0"/>
                  </a:moveTo>
                  <a:cubicBezTo>
                    <a:pt x="15" y="0"/>
                    <a:pt x="0" y="16"/>
                    <a:pt x="0" y="34"/>
                  </a:cubicBezTo>
                  <a:cubicBezTo>
                    <a:pt x="0" y="53"/>
                    <a:pt x="15" y="68"/>
                    <a:pt x="34" y="68"/>
                  </a:cubicBezTo>
                  <a:cubicBezTo>
                    <a:pt x="52" y="68"/>
                    <a:pt x="68" y="53"/>
                    <a:pt x="68" y="34"/>
                  </a:cubicBezTo>
                  <a:cubicBezTo>
                    <a:pt x="68" y="16"/>
                    <a:pt x="52" y="0"/>
                    <a:pt x="34" y="0"/>
                  </a:cubicBezTo>
                  <a:close/>
                  <a:moveTo>
                    <a:pt x="34" y="51"/>
                  </a:moveTo>
                  <a:cubicBezTo>
                    <a:pt x="24" y="51"/>
                    <a:pt x="17" y="44"/>
                    <a:pt x="17" y="34"/>
                  </a:cubicBezTo>
                  <a:cubicBezTo>
                    <a:pt x="17" y="25"/>
                    <a:pt x="24" y="17"/>
                    <a:pt x="34" y="17"/>
                  </a:cubicBezTo>
                  <a:cubicBezTo>
                    <a:pt x="43" y="17"/>
                    <a:pt x="51" y="25"/>
                    <a:pt x="51" y="34"/>
                  </a:cubicBezTo>
                  <a:cubicBezTo>
                    <a:pt x="51" y="44"/>
                    <a:pt x="43" y="51"/>
                    <a:pt x="34" y="51"/>
                  </a:cubicBezTo>
                  <a:close/>
                  <a:moveTo>
                    <a:pt x="34" y="51"/>
                  </a:moveTo>
                  <a:cubicBezTo>
                    <a:pt x="34" y="51"/>
                    <a:pt x="34" y="51"/>
                    <a:pt x="34"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78">
              <a:extLst>
                <a:ext uri="{FF2B5EF4-FFF2-40B4-BE49-F238E27FC236}">
                  <a16:creationId xmlns:a16="http://schemas.microsoft.com/office/drawing/2014/main" id="{DFE9CEE0-1091-4142-8736-3D86E0B81938}"/>
                </a:ext>
              </a:extLst>
            </p:cNvPr>
            <p:cNvSpPr>
              <a:spLocks noEditPoints="1"/>
            </p:cNvSpPr>
            <p:nvPr/>
          </p:nvSpPr>
          <p:spPr bwMode="auto">
            <a:xfrm>
              <a:off x="2417" y="4694"/>
              <a:ext cx="1143" cy="1107"/>
            </a:xfrm>
            <a:custGeom>
              <a:avLst/>
              <a:gdLst>
                <a:gd name="T0" fmla="*/ 460 w 512"/>
                <a:gd name="T1" fmla="*/ 384 h 512"/>
                <a:gd name="T2" fmla="*/ 323 w 512"/>
                <a:gd name="T3" fmla="*/ 256 h 512"/>
                <a:gd name="T4" fmla="*/ 341 w 512"/>
                <a:gd name="T5" fmla="*/ 247 h 512"/>
                <a:gd name="T6" fmla="*/ 384 w 512"/>
                <a:gd name="T7" fmla="*/ 189 h 512"/>
                <a:gd name="T8" fmla="*/ 384 w 512"/>
                <a:gd name="T9" fmla="*/ 126 h 512"/>
                <a:gd name="T10" fmla="*/ 128 w 512"/>
                <a:gd name="T11" fmla="*/ 126 h 512"/>
                <a:gd name="T12" fmla="*/ 149 w 512"/>
                <a:gd name="T13" fmla="*/ 196 h 512"/>
                <a:gd name="T14" fmla="*/ 188 w 512"/>
                <a:gd name="T15" fmla="*/ 256 h 512"/>
                <a:gd name="T16" fmla="*/ 51 w 512"/>
                <a:gd name="T17" fmla="*/ 384 h 512"/>
                <a:gd name="T18" fmla="*/ 0 w 512"/>
                <a:gd name="T19" fmla="*/ 495 h 512"/>
                <a:gd name="T20" fmla="*/ 512 w 512"/>
                <a:gd name="T21" fmla="*/ 512 h 512"/>
                <a:gd name="T22" fmla="*/ 460 w 512"/>
                <a:gd name="T23" fmla="*/ 495 h 512"/>
                <a:gd name="T24" fmla="*/ 344 w 512"/>
                <a:gd name="T25" fmla="*/ 230 h 512"/>
                <a:gd name="T26" fmla="*/ 362 w 512"/>
                <a:gd name="T27" fmla="*/ 196 h 512"/>
                <a:gd name="T28" fmla="*/ 367 w 512"/>
                <a:gd name="T29" fmla="*/ 204 h 512"/>
                <a:gd name="T30" fmla="*/ 362 w 512"/>
                <a:gd name="T31" fmla="*/ 179 h 512"/>
                <a:gd name="T32" fmla="*/ 358 w 512"/>
                <a:gd name="T33" fmla="*/ 136 h 512"/>
                <a:gd name="T34" fmla="*/ 384 w 512"/>
                <a:gd name="T35" fmla="*/ 158 h 512"/>
                <a:gd name="T36" fmla="*/ 149 w 512"/>
                <a:gd name="T37" fmla="*/ 179 h 512"/>
                <a:gd name="T38" fmla="*/ 149 w 512"/>
                <a:gd name="T39" fmla="*/ 136 h 512"/>
                <a:gd name="T40" fmla="*/ 153 w 512"/>
                <a:gd name="T41" fmla="*/ 179 h 512"/>
                <a:gd name="T42" fmla="*/ 145 w 512"/>
                <a:gd name="T43" fmla="*/ 120 h 512"/>
                <a:gd name="T44" fmla="*/ 366 w 512"/>
                <a:gd name="T45" fmla="*/ 120 h 512"/>
                <a:gd name="T46" fmla="*/ 357 w 512"/>
                <a:gd name="T47" fmla="*/ 119 h 512"/>
                <a:gd name="T48" fmla="*/ 155 w 512"/>
                <a:gd name="T49" fmla="*/ 119 h 512"/>
                <a:gd name="T50" fmla="*/ 341 w 512"/>
                <a:gd name="T51" fmla="*/ 136 h 512"/>
                <a:gd name="T52" fmla="*/ 230 w 512"/>
                <a:gd name="T53" fmla="*/ 76 h 512"/>
                <a:gd name="T54" fmla="*/ 171 w 512"/>
                <a:gd name="T55" fmla="*/ 127 h 512"/>
                <a:gd name="T56" fmla="*/ 341 w 512"/>
                <a:gd name="T57" fmla="*/ 136 h 512"/>
                <a:gd name="T58" fmla="*/ 170 w 512"/>
                <a:gd name="T59" fmla="*/ 144 h 512"/>
                <a:gd name="T60" fmla="*/ 341 w 512"/>
                <a:gd name="T61" fmla="*/ 153 h 512"/>
                <a:gd name="T62" fmla="*/ 324 w 512"/>
                <a:gd name="T63" fmla="*/ 230 h 512"/>
                <a:gd name="T64" fmla="*/ 256 w 512"/>
                <a:gd name="T65" fmla="*/ 247 h 512"/>
                <a:gd name="T66" fmla="*/ 291 w 512"/>
                <a:gd name="T67" fmla="*/ 257 h 512"/>
                <a:gd name="T68" fmla="*/ 170 w 512"/>
                <a:gd name="T69" fmla="*/ 179 h 512"/>
                <a:gd name="T70" fmla="*/ 256 w 512"/>
                <a:gd name="T71" fmla="*/ 281 h 512"/>
                <a:gd name="T72" fmla="*/ 256 w 512"/>
                <a:gd name="T73" fmla="*/ 330 h 512"/>
                <a:gd name="T74" fmla="*/ 242 w 512"/>
                <a:gd name="T75" fmla="*/ 341 h 512"/>
                <a:gd name="T76" fmla="*/ 193 w 512"/>
                <a:gd name="T77" fmla="*/ 273 h 512"/>
                <a:gd name="T78" fmla="*/ 242 w 512"/>
                <a:gd name="T79" fmla="*/ 341 h 512"/>
                <a:gd name="T80" fmla="*/ 319 w 512"/>
                <a:gd name="T81" fmla="*/ 273 h 512"/>
                <a:gd name="T82" fmla="*/ 269 w 512"/>
                <a:gd name="T83" fmla="*/ 341 h 512"/>
                <a:gd name="T84" fmla="*/ 94 w 512"/>
                <a:gd name="T85" fmla="*/ 384 h 512"/>
                <a:gd name="T86" fmla="*/ 68 w 512"/>
                <a:gd name="T87" fmla="*/ 495 h 512"/>
                <a:gd name="T88" fmla="*/ 174 w 512"/>
                <a:gd name="T89" fmla="*/ 273 h 512"/>
                <a:gd name="T90" fmla="*/ 136 w 512"/>
                <a:gd name="T91" fmla="*/ 341 h 512"/>
                <a:gd name="T92" fmla="*/ 401 w 512"/>
                <a:gd name="T93" fmla="*/ 495 h 512"/>
                <a:gd name="T94" fmla="*/ 111 w 512"/>
                <a:gd name="T95" fmla="*/ 384 h 512"/>
                <a:gd name="T96" fmla="*/ 375 w 512"/>
                <a:gd name="T97" fmla="*/ 358 h 512"/>
                <a:gd name="T98" fmla="*/ 401 w 512"/>
                <a:gd name="T99" fmla="*/ 495 h 512"/>
                <a:gd name="T100" fmla="*/ 418 w 512"/>
                <a:gd name="T101" fmla="*/ 495 h 512"/>
                <a:gd name="T102" fmla="*/ 375 w 512"/>
                <a:gd name="T103" fmla="*/ 341 h 512"/>
                <a:gd name="T104" fmla="*/ 338 w 512"/>
                <a:gd name="T105" fmla="*/ 273 h 512"/>
                <a:gd name="T106" fmla="*/ 443 w 512"/>
                <a:gd name="T107" fmla="*/ 495 h 512"/>
                <a:gd name="T108" fmla="*/ 443 w 512"/>
                <a:gd name="T109" fmla="*/ 4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460" y="495"/>
                  </a:moveTo>
                  <a:cubicBezTo>
                    <a:pt x="460" y="384"/>
                    <a:pt x="460" y="384"/>
                    <a:pt x="460" y="384"/>
                  </a:cubicBezTo>
                  <a:cubicBezTo>
                    <a:pt x="460" y="313"/>
                    <a:pt x="403" y="256"/>
                    <a:pt x="332" y="256"/>
                  </a:cubicBezTo>
                  <a:cubicBezTo>
                    <a:pt x="323" y="256"/>
                    <a:pt x="323" y="256"/>
                    <a:pt x="323" y="256"/>
                  </a:cubicBezTo>
                  <a:cubicBezTo>
                    <a:pt x="326" y="253"/>
                    <a:pt x="329" y="250"/>
                    <a:pt x="332" y="247"/>
                  </a:cubicBezTo>
                  <a:cubicBezTo>
                    <a:pt x="341" y="247"/>
                    <a:pt x="341" y="247"/>
                    <a:pt x="341" y="247"/>
                  </a:cubicBezTo>
                  <a:cubicBezTo>
                    <a:pt x="365" y="247"/>
                    <a:pt x="384" y="228"/>
                    <a:pt x="384" y="204"/>
                  </a:cubicBezTo>
                  <a:cubicBezTo>
                    <a:pt x="384" y="189"/>
                    <a:pt x="384" y="189"/>
                    <a:pt x="384" y="189"/>
                  </a:cubicBezTo>
                  <a:cubicBezTo>
                    <a:pt x="394" y="183"/>
                    <a:pt x="401" y="171"/>
                    <a:pt x="401" y="158"/>
                  </a:cubicBezTo>
                  <a:cubicBezTo>
                    <a:pt x="401" y="144"/>
                    <a:pt x="394" y="132"/>
                    <a:pt x="384" y="126"/>
                  </a:cubicBezTo>
                  <a:cubicBezTo>
                    <a:pt x="382" y="56"/>
                    <a:pt x="326" y="0"/>
                    <a:pt x="256" y="0"/>
                  </a:cubicBezTo>
                  <a:cubicBezTo>
                    <a:pt x="186" y="0"/>
                    <a:pt x="129" y="56"/>
                    <a:pt x="128" y="126"/>
                  </a:cubicBezTo>
                  <a:cubicBezTo>
                    <a:pt x="117" y="132"/>
                    <a:pt x="111" y="144"/>
                    <a:pt x="111" y="158"/>
                  </a:cubicBezTo>
                  <a:cubicBezTo>
                    <a:pt x="111" y="179"/>
                    <a:pt x="128" y="196"/>
                    <a:pt x="149" y="196"/>
                  </a:cubicBezTo>
                  <a:cubicBezTo>
                    <a:pt x="155" y="196"/>
                    <a:pt x="155" y="196"/>
                    <a:pt x="155" y="196"/>
                  </a:cubicBezTo>
                  <a:cubicBezTo>
                    <a:pt x="159" y="220"/>
                    <a:pt x="171" y="240"/>
                    <a:pt x="188" y="256"/>
                  </a:cubicBezTo>
                  <a:cubicBezTo>
                    <a:pt x="179" y="256"/>
                    <a:pt x="179" y="256"/>
                    <a:pt x="179" y="256"/>
                  </a:cubicBezTo>
                  <a:cubicBezTo>
                    <a:pt x="108" y="256"/>
                    <a:pt x="51" y="313"/>
                    <a:pt x="51" y="384"/>
                  </a:cubicBezTo>
                  <a:cubicBezTo>
                    <a:pt x="51" y="495"/>
                    <a:pt x="51" y="495"/>
                    <a:pt x="51" y="495"/>
                  </a:cubicBezTo>
                  <a:cubicBezTo>
                    <a:pt x="0" y="495"/>
                    <a:pt x="0" y="495"/>
                    <a:pt x="0" y="495"/>
                  </a:cubicBezTo>
                  <a:cubicBezTo>
                    <a:pt x="0" y="512"/>
                    <a:pt x="0" y="512"/>
                    <a:pt x="0" y="512"/>
                  </a:cubicBezTo>
                  <a:cubicBezTo>
                    <a:pt x="512" y="512"/>
                    <a:pt x="512" y="512"/>
                    <a:pt x="512" y="512"/>
                  </a:cubicBezTo>
                  <a:cubicBezTo>
                    <a:pt x="512" y="495"/>
                    <a:pt x="512" y="495"/>
                    <a:pt x="512" y="495"/>
                  </a:cubicBezTo>
                  <a:lnTo>
                    <a:pt x="460" y="495"/>
                  </a:lnTo>
                  <a:close/>
                  <a:moveTo>
                    <a:pt x="367" y="204"/>
                  </a:moveTo>
                  <a:cubicBezTo>
                    <a:pt x="367" y="217"/>
                    <a:pt x="357" y="228"/>
                    <a:pt x="344" y="230"/>
                  </a:cubicBezTo>
                  <a:cubicBezTo>
                    <a:pt x="350" y="219"/>
                    <a:pt x="354" y="208"/>
                    <a:pt x="357" y="196"/>
                  </a:cubicBezTo>
                  <a:cubicBezTo>
                    <a:pt x="362" y="196"/>
                    <a:pt x="362" y="196"/>
                    <a:pt x="362" y="196"/>
                  </a:cubicBezTo>
                  <a:cubicBezTo>
                    <a:pt x="364" y="196"/>
                    <a:pt x="365" y="196"/>
                    <a:pt x="367" y="196"/>
                  </a:cubicBezTo>
                  <a:lnTo>
                    <a:pt x="367" y="204"/>
                  </a:lnTo>
                  <a:close/>
                  <a:moveTo>
                    <a:pt x="384" y="158"/>
                  </a:moveTo>
                  <a:cubicBezTo>
                    <a:pt x="384" y="169"/>
                    <a:pt x="374" y="179"/>
                    <a:pt x="362" y="179"/>
                  </a:cubicBezTo>
                  <a:cubicBezTo>
                    <a:pt x="358" y="179"/>
                    <a:pt x="358" y="179"/>
                    <a:pt x="358" y="179"/>
                  </a:cubicBezTo>
                  <a:cubicBezTo>
                    <a:pt x="358" y="136"/>
                    <a:pt x="358" y="136"/>
                    <a:pt x="358" y="136"/>
                  </a:cubicBezTo>
                  <a:cubicBezTo>
                    <a:pt x="362" y="136"/>
                    <a:pt x="362" y="136"/>
                    <a:pt x="362" y="136"/>
                  </a:cubicBezTo>
                  <a:cubicBezTo>
                    <a:pt x="374" y="136"/>
                    <a:pt x="384" y="146"/>
                    <a:pt x="384" y="158"/>
                  </a:cubicBezTo>
                  <a:close/>
                  <a:moveTo>
                    <a:pt x="153" y="179"/>
                  </a:moveTo>
                  <a:cubicBezTo>
                    <a:pt x="149" y="179"/>
                    <a:pt x="149" y="179"/>
                    <a:pt x="149" y="179"/>
                  </a:cubicBezTo>
                  <a:cubicBezTo>
                    <a:pt x="137" y="179"/>
                    <a:pt x="128" y="169"/>
                    <a:pt x="128" y="158"/>
                  </a:cubicBezTo>
                  <a:cubicBezTo>
                    <a:pt x="128" y="146"/>
                    <a:pt x="137" y="136"/>
                    <a:pt x="149" y="136"/>
                  </a:cubicBezTo>
                  <a:cubicBezTo>
                    <a:pt x="153" y="136"/>
                    <a:pt x="153" y="136"/>
                    <a:pt x="153" y="136"/>
                  </a:cubicBezTo>
                  <a:lnTo>
                    <a:pt x="153" y="179"/>
                  </a:lnTo>
                  <a:close/>
                  <a:moveTo>
                    <a:pt x="149" y="119"/>
                  </a:moveTo>
                  <a:cubicBezTo>
                    <a:pt x="148" y="119"/>
                    <a:pt x="146" y="119"/>
                    <a:pt x="145" y="120"/>
                  </a:cubicBezTo>
                  <a:cubicBezTo>
                    <a:pt x="149" y="62"/>
                    <a:pt x="197" y="17"/>
                    <a:pt x="256" y="17"/>
                  </a:cubicBezTo>
                  <a:cubicBezTo>
                    <a:pt x="314" y="17"/>
                    <a:pt x="362" y="62"/>
                    <a:pt x="366" y="120"/>
                  </a:cubicBezTo>
                  <a:cubicBezTo>
                    <a:pt x="365" y="119"/>
                    <a:pt x="364" y="119"/>
                    <a:pt x="362" y="119"/>
                  </a:cubicBezTo>
                  <a:cubicBezTo>
                    <a:pt x="357" y="119"/>
                    <a:pt x="357" y="119"/>
                    <a:pt x="357" y="119"/>
                  </a:cubicBezTo>
                  <a:cubicBezTo>
                    <a:pt x="348" y="71"/>
                    <a:pt x="306" y="34"/>
                    <a:pt x="256" y="34"/>
                  </a:cubicBezTo>
                  <a:cubicBezTo>
                    <a:pt x="205" y="34"/>
                    <a:pt x="163" y="71"/>
                    <a:pt x="155" y="119"/>
                  </a:cubicBezTo>
                  <a:lnTo>
                    <a:pt x="149" y="119"/>
                  </a:lnTo>
                  <a:close/>
                  <a:moveTo>
                    <a:pt x="341" y="136"/>
                  </a:moveTo>
                  <a:cubicBezTo>
                    <a:pt x="279" y="134"/>
                    <a:pt x="239" y="109"/>
                    <a:pt x="239" y="85"/>
                  </a:cubicBezTo>
                  <a:cubicBezTo>
                    <a:pt x="239" y="80"/>
                    <a:pt x="235" y="76"/>
                    <a:pt x="230" y="76"/>
                  </a:cubicBezTo>
                  <a:cubicBezTo>
                    <a:pt x="225" y="76"/>
                    <a:pt x="222" y="80"/>
                    <a:pt x="222" y="85"/>
                  </a:cubicBezTo>
                  <a:cubicBezTo>
                    <a:pt x="222" y="106"/>
                    <a:pt x="199" y="124"/>
                    <a:pt x="171" y="127"/>
                  </a:cubicBezTo>
                  <a:cubicBezTo>
                    <a:pt x="175" y="84"/>
                    <a:pt x="212" y="51"/>
                    <a:pt x="256" y="51"/>
                  </a:cubicBezTo>
                  <a:cubicBezTo>
                    <a:pt x="303" y="51"/>
                    <a:pt x="341" y="89"/>
                    <a:pt x="341" y="136"/>
                  </a:cubicBezTo>
                  <a:close/>
                  <a:moveTo>
                    <a:pt x="170" y="179"/>
                  </a:moveTo>
                  <a:cubicBezTo>
                    <a:pt x="170" y="144"/>
                    <a:pt x="170" y="144"/>
                    <a:pt x="170" y="144"/>
                  </a:cubicBezTo>
                  <a:cubicBezTo>
                    <a:pt x="197" y="142"/>
                    <a:pt x="220" y="129"/>
                    <a:pt x="231" y="111"/>
                  </a:cubicBezTo>
                  <a:cubicBezTo>
                    <a:pt x="249" y="135"/>
                    <a:pt x="290" y="151"/>
                    <a:pt x="341" y="153"/>
                  </a:cubicBezTo>
                  <a:cubicBezTo>
                    <a:pt x="341" y="179"/>
                    <a:pt x="341" y="179"/>
                    <a:pt x="341" y="179"/>
                  </a:cubicBezTo>
                  <a:cubicBezTo>
                    <a:pt x="341" y="198"/>
                    <a:pt x="335" y="216"/>
                    <a:pt x="324" y="230"/>
                  </a:cubicBezTo>
                  <a:cubicBezTo>
                    <a:pt x="256" y="230"/>
                    <a:pt x="256" y="230"/>
                    <a:pt x="256" y="230"/>
                  </a:cubicBezTo>
                  <a:cubicBezTo>
                    <a:pt x="256" y="247"/>
                    <a:pt x="256" y="247"/>
                    <a:pt x="256" y="247"/>
                  </a:cubicBezTo>
                  <a:cubicBezTo>
                    <a:pt x="307" y="247"/>
                    <a:pt x="307" y="247"/>
                    <a:pt x="307" y="247"/>
                  </a:cubicBezTo>
                  <a:cubicBezTo>
                    <a:pt x="302" y="251"/>
                    <a:pt x="296" y="254"/>
                    <a:pt x="291" y="257"/>
                  </a:cubicBezTo>
                  <a:cubicBezTo>
                    <a:pt x="268" y="267"/>
                    <a:pt x="243" y="267"/>
                    <a:pt x="220" y="257"/>
                  </a:cubicBezTo>
                  <a:cubicBezTo>
                    <a:pt x="191" y="243"/>
                    <a:pt x="170" y="213"/>
                    <a:pt x="170" y="179"/>
                  </a:cubicBezTo>
                  <a:close/>
                  <a:moveTo>
                    <a:pt x="229" y="278"/>
                  </a:moveTo>
                  <a:cubicBezTo>
                    <a:pt x="238" y="280"/>
                    <a:pt x="247" y="281"/>
                    <a:pt x="256" y="281"/>
                  </a:cubicBezTo>
                  <a:cubicBezTo>
                    <a:pt x="265" y="281"/>
                    <a:pt x="274" y="280"/>
                    <a:pt x="282" y="278"/>
                  </a:cubicBezTo>
                  <a:cubicBezTo>
                    <a:pt x="256" y="330"/>
                    <a:pt x="256" y="330"/>
                    <a:pt x="256" y="330"/>
                  </a:cubicBezTo>
                  <a:lnTo>
                    <a:pt x="229" y="278"/>
                  </a:lnTo>
                  <a:close/>
                  <a:moveTo>
                    <a:pt x="242" y="341"/>
                  </a:moveTo>
                  <a:cubicBezTo>
                    <a:pt x="227" y="341"/>
                    <a:pt x="227" y="341"/>
                    <a:pt x="227" y="341"/>
                  </a:cubicBezTo>
                  <a:cubicBezTo>
                    <a:pt x="193" y="273"/>
                    <a:pt x="193" y="273"/>
                    <a:pt x="193" y="273"/>
                  </a:cubicBezTo>
                  <a:cubicBezTo>
                    <a:pt x="208" y="273"/>
                    <a:pt x="208" y="273"/>
                    <a:pt x="208" y="273"/>
                  </a:cubicBezTo>
                  <a:lnTo>
                    <a:pt x="242" y="341"/>
                  </a:lnTo>
                  <a:close/>
                  <a:moveTo>
                    <a:pt x="304" y="273"/>
                  </a:moveTo>
                  <a:cubicBezTo>
                    <a:pt x="319" y="273"/>
                    <a:pt x="319" y="273"/>
                    <a:pt x="319" y="273"/>
                  </a:cubicBezTo>
                  <a:cubicBezTo>
                    <a:pt x="285" y="341"/>
                    <a:pt x="285" y="341"/>
                    <a:pt x="285" y="341"/>
                  </a:cubicBezTo>
                  <a:cubicBezTo>
                    <a:pt x="269" y="341"/>
                    <a:pt x="269" y="341"/>
                    <a:pt x="269" y="341"/>
                  </a:cubicBezTo>
                  <a:lnTo>
                    <a:pt x="304" y="273"/>
                  </a:lnTo>
                  <a:close/>
                  <a:moveTo>
                    <a:pt x="94" y="384"/>
                  </a:moveTo>
                  <a:cubicBezTo>
                    <a:pt x="94" y="495"/>
                    <a:pt x="94" y="495"/>
                    <a:pt x="94" y="495"/>
                  </a:cubicBezTo>
                  <a:cubicBezTo>
                    <a:pt x="68" y="495"/>
                    <a:pt x="68" y="495"/>
                    <a:pt x="68" y="495"/>
                  </a:cubicBezTo>
                  <a:cubicBezTo>
                    <a:pt x="68" y="384"/>
                    <a:pt x="68" y="384"/>
                    <a:pt x="68" y="384"/>
                  </a:cubicBezTo>
                  <a:cubicBezTo>
                    <a:pt x="68" y="324"/>
                    <a:pt x="115" y="276"/>
                    <a:pt x="174" y="273"/>
                  </a:cubicBezTo>
                  <a:cubicBezTo>
                    <a:pt x="208" y="341"/>
                    <a:pt x="208" y="341"/>
                    <a:pt x="208" y="341"/>
                  </a:cubicBezTo>
                  <a:cubicBezTo>
                    <a:pt x="136" y="341"/>
                    <a:pt x="136" y="341"/>
                    <a:pt x="136" y="341"/>
                  </a:cubicBezTo>
                  <a:cubicBezTo>
                    <a:pt x="113" y="341"/>
                    <a:pt x="94" y="360"/>
                    <a:pt x="94" y="384"/>
                  </a:cubicBezTo>
                  <a:close/>
                  <a:moveTo>
                    <a:pt x="401" y="495"/>
                  </a:moveTo>
                  <a:cubicBezTo>
                    <a:pt x="111" y="495"/>
                    <a:pt x="111" y="495"/>
                    <a:pt x="111" y="495"/>
                  </a:cubicBezTo>
                  <a:cubicBezTo>
                    <a:pt x="111" y="384"/>
                    <a:pt x="111" y="384"/>
                    <a:pt x="111" y="384"/>
                  </a:cubicBezTo>
                  <a:cubicBezTo>
                    <a:pt x="111" y="370"/>
                    <a:pt x="122" y="358"/>
                    <a:pt x="136" y="358"/>
                  </a:cubicBezTo>
                  <a:cubicBezTo>
                    <a:pt x="375" y="358"/>
                    <a:pt x="375" y="358"/>
                    <a:pt x="375" y="358"/>
                  </a:cubicBezTo>
                  <a:cubicBezTo>
                    <a:pt x="389" y="358"/>
                    <a:pt x="401" y="370"/>
                    <a:pt x="401" y="384"/>
                  </a:cubicBezTo>
                  <a:lnTo>
                    <a:pt x="401" y="495"/>
                  </a:lnTo>
                  <a:close/>
                  <a:moveTo>
                    <a:pt x="443" y="495"/>
                  </a:moveTo>
                  <a:cubicBezTo>
                    <a:pt x="418" y="495"/>
                    <a:pt x="418" y="495"/>
                    <a:pt x="418" y="495"/>
                  </a:cubicBezTo>
                  <a:cubicBezTo>
                    <a:pt x="418" y="384"/>
                    <a:pt x="418" y="384"/>
                    <a:pt x="418" y="384"/>
                  </a:cubicBezTo>
                  <a:cubicBezTo>
                    <a:pt x="418" y="360"/>
                    <a:pt x="399" y="341"/>
                    <a:pt x="375" y="341"/>
                  </a:cubicBezTo>
                  <a:cubicBezTo>
                    <a:pt x="304" y="341"/>
                    <a:pt x="304" y="341"/>
                    <a:pt x="304" y="341"/>
                  </a:cubicBezTo>
                  <a:cubicBezTo>
                    <a:pt x="338" y="273"/>
                    <a:pt x="338" y="273"/>
                    <a:pt x="338" y="273"/>
                  </a:cubicBezTo>
                  <a:cubicBezTo>
                    <a:pt x="396" y="276"/>
                    <a:pt x="443" y="324"/>
                    <a:pt x="443" y="384"/>
                  </a:cubicBezTo>
                  <a:lnTo>
                    <a:pt x="443" y="495"/>
                  </a:lnTo>
                  <a:close/>
                  <a:moveTo>
                    <a:pt x="443" y="495"/>
                  </a:moveTo>
                  <a:cubicBezTo>
                    <a:pt x="443" y="495"/>
                    <a:pt x="443" y="495"/>
                    <a:pt x="443" y="49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79">
              <a:extLst>
                <a:ext uri="{FF2B5EF4-FFF2-40B4-BE49-F238E27FC236}">
                  <a16:creationId xmlns:a16="http://schemas.microsoft.com/office/drawing/2014/main" id="{FB3BC415-6923-47CB-A92F-BAB7FDCBF272}"/>
                </a:ext>
              </a:extLst>
            </p:cNvPr>
            <p:cNvSpPr>
              <a:spLocks noChangeArrowheads="1"/>
            </p:cNvSpPr>
            <p:nvPr/>
          </p:nvSpPr>
          <p:spPr bwMode="auto">
            <a:xfrm>
              <a:off x="3236" y="5598"/>
              <a:ext cx="38" cy="1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80">
              <a:extLst>
                <a:ext uri="{FF2B5EF4-FFF2-40B4-BE49-F238E27FC236}">
                  <a16:creationId xmlns:a16="http://schemas.microsoft.com/office/drawing/2014/main" id="{D7D88654-7716-487A-81AA-5D203078038A}"/>
                </a:ext>
              </a:extLst>
            </p:cNvPr>
            <p:cNvSpPr>
              <a:spLocks noChangeArrowheads="1"/>
            </p:cNvSpPr>
            <p:nvPr/>
          </p:nvSpPr>
          <p:spPr bwMode="auto">
            <a:xfrm>
              <a:off x="3236" y="552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81">
              <a:extLst>
                <a:ext uri="{FF2B5EF4-FFF2-40B4-BE49-F238E27FC236}">
                  <a16:creationId xmlns:a16="http://schemas.microsoft.com/office/drawing/2014/main" id="{3AE879D5-8173-4E0D-9474-C07E424B0D70}"/>
                </a:ext>
              </a:extLst>
            </p:cNvPr>
            <p:cNvSpPr>
              <a:spLocks noChangeArrowheads="1"/>
            </p:cNvSpPr>
            <p:nvPr/>
          </p:nvSpPr>
          <p:spPr bwMode="auto">
            <a:xfrm>
              <a:off x="3406" y="4858"/>
              <a:ext cx="38" cy="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Rectangle 82">
              <a:extLst>
                <a:ext uri="{FF2B5EF4-FFF2-40B4-BE49-F238E27FC236}">
                  <a16:creationId xmlns:a16="http://schemas.microsoft.com/office/drawing/2014/main" id="{62809CE3-16C4-4613-AF2B-D59BCA66443F}"/>
                </a:ext>
              </a:extLst>
            </p:cNvPr>
            <p:cNvSpPr>
              <a:spLocks noChangeArrowheads="1"/>
            </p:cNvSpPr>
            <p:nvPr/>
          </p:nvSpPr>
          <p:spPr bwMode="auto">
            <a:xfrm>
              <a:off x="3406" y="493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Rectangle 83">
              <a:extLst>
                <a:ext uri="{FF2B5EF4-FFF2-40B4-BE49-F238E27FC236}">
                  <a16:creationId xmlns:a16="http://schemas.microsoft.com/office/drawing/2014/main" id="{31625862-846D-4832-A5A1-ED8CE3D8DD89}"/>
                </a:ext>
              </a:extLst>
            </p:cNvPr>
            <p:cNvSpPr>
              <a:spLocks noChangeArrowheads="1"/>
            </p:cNvSpPr>
            <p:nvPr/>
          </p:nvSpPr>
          <p:spPr bwMode="auto">
            <a:xfrm>
              <a:off x="3406" y="5008"/>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84">
              <a:extLst>
                <a:ext uri="{FF2B5EF4-FFF2-40B4-BE49-F238E27FC236}">
                  <a16:creationId xmlns:a16="http://schemas.microsoft.com/office/drawing/2014/main" id="{E98DEBD4-DF16-4987-94D7-3BB915716A9C}"/>
                </a:ext>
              </a:extLst>
            </p:cNvPr>
            <p:cNvSpPr>
              <a:spLocks noChangeArrowheads="1"/>
            </p:cNvSpPr>
            <p:nvPr/>
          </p:nvSpPr>
          <p:spPr bwMode="auto">
            <a:xfrm>
              <a:off x="2531" y="5081"/>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85">
              <a:extLst>
                <a:ext uri="{FF2B5EF4-FFF2-40B4-BE49-F238E27FC236}">
                  <a16:creationId xmlns:a16="http://schemas.microsoft.com/office/drawing/2014/main" id="{62DDE55A-9FD7-4F57-8E62-E1439213FFDC}"/>
                </a:ext>
              </a:extLst>
            </p:cNvPr>
            <p:cNvSpPr>
              <a:spLocks noChangeArrowheads="1"/>
            </p:cNvSpPr>
            <p:nvPr/>
          </p:nvSpPr>
          <p:spPr bwMode="auto">
            <a:xfrm>
              <a:off x="2531" y="5155"/>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86">
              <a:extLst>
                <a:ext uri="{FF2B5EF4-FFF2-40B4-BE49-F238E27FC236}">
                  <a16:creationId xmlns:a16="http://schemas.microsoft.com/office/drawing/2014/main" id="{99A9F315-9363-480B-A0FF-CB03372861A2}"/>
                </a:ext>
              </a:extLst>
            </p:cNvPr>
            <p:cNvSpPr>
              <a:spLocks noChangeArrowheads="1"/>
            </p:cNvSpPr>
            <p:nvPr/>
          </p:nvSpPr>
          <p:spPr bwMode="auto">
            <a:xfrm>
              <a:off x="2531" y="5228"/>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1" name="Group 210">
            <a:extLst>
              <a:ext uri="{FF2B5EF4-FFF2-40B4-BE49-F238E27FC236}">
                <a16:creationId xmlns:a16="http://schemas.microsoft.com/office/drawing/2014/main" id="{95DB733D-4977-4D52-B56D-3F4B549E0100}"/>
              </a:ext>
            </a:extLst>
          </p:cNvPr>
          <p:cNvGrpSpPr/>
          <p:nvPr/>
        </p:nvGrpSpPr>
        <p:grpSpPr>
          <a:xfrm rot="5400000">
            <a:off x="5836792" y="5658567"/>
            <a:ext cx="584092" cy="584092"/>
            <a:chOff x="5125249" y="5746282"/>
            <a:chExt cx="398943" cy="398943"/>
          </a:xfrm>
        </p:grpSpPr>
        <p:cxnSp>
          <p:nvCxnSpPr>
            <p:cNvPr id="157" name="Straight Connector 156">
              <a:extLst>
                <a:ext uri="{FF2B5EF4-FFF2-40B4-BE49-F238E27FC236}">
                  <a16:creationId xmlns:a16="http://schemas.microsoft.com/office/drawing/2014/main" id="{332A49EC-9ADD-43E9-9428-80DEEBC26266}"/>
                </a:ext>
              </a:extLst>
            </p:cNvPr>
            <p:cNvCxnSpPr>
              <a:cxnSpLocks/>
            </p:cNvCxnSpPr>
            <p:nvPr/>
          </p:nvCxnSpPr>
          <p:spPr>
            <a:xfrm>
              <a:off x="5324720" y="5746282"/>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AB81BF5E-331C-4878-8D3B-F45ECD892BF8}"/>
                </a:ext>
              </a:extLst>
            </p:cNvPr>
            <p:cNvCxnSpPr>
              <a:cxnSpLocks/>
            </p:cNvCxnSpPr>
            <p:nvPr/>
          </p:nvCxnSpPr>
          <p:spPr>
            <a:xfrm>
              <a:off x="5324720" y="604790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954147BF-096A-4672-974C-926590BBDC3F}"/>
                </a:ext>
              </a:extLst>
            </p:cNvPr>
            <p:cNvCxnSpPr>
              <a:cxnSpLocks/>
            </p:cNvCxnSpPr>
            <p:nvPr/>
          </p:nvCxnSpPr>
          <p:spPr>
            <a:xfrm rot="5400000">
              <a:off x="5475533"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687A2E01-C053-4E1C-BD8A-3B2725227120}"/>
                </a:ext>
              </a:extLst>
            </p:cNvPr>
            <p:cNvCxnSpPr>
              <a:cxnSpLocks/>
            </p:cNvCxnSpPr>
            <p:nvPr/>
          </p:nvCxnSpPr>
          <p:spPr>
            <a:xfrm rot="5400000">
              <a:off x="5173908"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C7B7D694-1F19-405E-914E-9CA3569B47AD}"/>
                </a:ext>
              </a:extLst>
            </p:cNvPr>
            <p:cNvCxnSpPr>
              <a:cxnSpLocks/>
            </p:cNvCxnSpPr>
            <p:nvPr/>
          </p:nvCxnSpPr>
          <p:spPr>
            <a:xfrm rot="2733160">
              <a:off x="5436868" y="578587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1DF5D175-D2A9-44FF-8F8D-FF46E35C5C1F}"/>
                </a:ext>
              </a:extLst>
            </p:cNvPr>
            <p:cNvCxnSpPr>
              <a:cxnSpLocks/>
            </p:cNvCxnSpPr>
            <p:nvPr/>
          </p:nvCxnSpPr>
          <p:spPr>
            <a:xfrm rot="8133160">
              <a:off x="5424443" y="6008301"/>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518C1BE0-F999-4DB2-A325-D818B85B0ED5}"/>
                </a:ext>
              </a:extLst>
            </p:cNvPr>
            <p:cNvCxnSpPr>
              <a:cxnSpLocks/>
            </p:cNvCxnSpPr>
            <p:nvPr/>
          </p:nvCxnSpPr>
          <p:spPr>
            <a:xfrm rot="8133160">
              <a:off x="5213230" y="5792973"/>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86" name="Straight Connector 85">
            <a:extLst>
              <a:ext uri="{FF2B5EF4-FFF2-40B4-BE49-F238E27FC236}">
                <a16:creationId xmlns:a16="http://schemas.microsoft.com/office/drawing/2014/main" id="{1E8CFD2D-8AB4-4AD3-959F-9DB5264F40AA}"/>
              </a:ext>
            </a:extLst>
          </p:cNvPr>
          <p:cNvCxnSpPr>
            <a:cxnSpLocks/>
          </p:cNvCxnSpPr>
          <p:nvPr/>
        </p:nvCxnSpPr>
        <p:spPr>
          <a:xfrm>
            <a:off x="6706909" y="6216160"/>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0A3E0"/>
                </a:gs>
              </a:gsLst>
              <a:lin ang="0" scaled="1"/>
              <a:tileRect/>
            </a:gradFill>
            <a:miter lim="800000"/>
            <a:headEnd/>
            <a:tailEnd type="none" w="lg" len="lg"/>
          </a:ln>
        </p:spPr>
      </p:cxnSp>
      <p:grpSp>
        <p:nvGrpSpPr>
          <p:cNvPr id="4" name="Group 4">
            <a:extLst>
              <a:ext uri="{FF2B5EF4-FFF2-40B4-BE49-F238E27FC236}">
                <a16:creationId xmlns:a16="http://schemas.microsoft.com/office/drawing/2014/main" id="{C217140D-72AA-4321-8210-1F681B4DA127}"/>
              </a:ext>
            </a:extLst>
          </p:cNvPr>
          <p:cNvGrpSpPr>
            <a:grpSpLocks noChangeAspect="1"/>
          </p:cNvGrpSpPr>
          <p:nvPr/>
        </p:nvGrpSpPr>
        <p:grpSpPr bwMode="auto">
          <a:xfrm>
            <a:off x="5811811" y="1824589"/>
            <a:ext cx="634055" cy="559950"/>
            <a:chOff x="2686" y="4998"/>
            <a:chExt cx="1523" cy="1345"/>
          </a:xfrm>
          <a:solidFill>
            <a:srgbClr val="00A3E0"/>
          </a:solidFill>
        </p:grpSpPr>
        <p:sp>
          <p:nvSpPr>
            <p:cNvPr id="13" name="Freeform 5">
              <a:extLst>
                <a:ext uri="{FF2B5EF4-FFF2-40B4-BE49-F238E27FC236}">
                  <a16:creationId xmlns:a16="http://schemas.microsoft.com/office/drawing/2014/main" id="{372B270B-6C61-4773-B8A0-DC50A87532CD}"/>
                </a:ext>
              </a:extLst>
            </p:cNvPr>
            <p:cNvSpPr>
              <a:spLocks noEditPoints="1"/>
            </p:cNvSpPr>
            <p:nvPr/>
          </p:nvSpPr>
          <p:spPr bwMode="auto">
            <a:xfrm>
              <a:off x="2686" y="4998"/>
              <a:ext cx="1523" cy="1345"/>
            </a:xfrm>
            <a:custGeom>
              <a:avLst/>
              <a:gdLst>
                <a:gd name="T0" fmla="*/ 640 w 683"/>
                <a:gd name="T1" fmla="*/ 156 h 622"/>
                <a:gd name="T2" fmla="*/ 407 w 683"/>
                <a:gd name="T3" fmla="*/ 86 h 622"/>
                <a:gd name="T4" fmla="*/ 342 w 683"/>
                <a:gd name="T5" fmla="*/ 34 h 622"/>
                <a:gd name="T6" fmla="*/ 276 w 683"/>
                <a:gd name="T7" fmla="*/ 86 h 622"/>
                <a:gd name="T8" fmla="*/ 107 w 683"/>
                <a:gd name="T9" fmla="*/ 92 h 622"/>
                <a:gd name="T10" fmla="*/ 54 w 683"/>
                <a:gd name="T11" fmla="*/ 413 h 622"/>
                <a:gd name="T12" fmla="*/ 107 w 683"/>
                <a:gd name="T13" fmla="*/ 112 h 622"/>
                <a:gd name="T14" fmla="*/ 259 w 683"/>
                <a:gd name="T15" fmla="*/ 132 h 622"/>
                <a:gd name="T16" fmla="*/ 84 w 683"/>
                <a:gd name="T17" fmla="*/ 156 h 622"/>
                <a:gd name="T18" fmla="*/ 181 w 683"/>
                <a:gd name="T19" fmla="*/ 495 h 622"/>
                <a:gd name="T20" fmla="*/ 64 w 683"/>
                <a:gd name="T21" fmla="*/ 516 h 622"/>
                <a:gd name="T22" fmla="*/ 44 w 683"/>
                <a:gd name="T23" fmla="*/ 437 h 622"/>
                <a:gd name="T24" fmla="*/ 0 w 683"/>
                <a:gd name="T25" fmla="*/ 526 h 622"/>
                <a:gd name="T26" fmla="*/ 601 w 683"/>
                <a:gd name="T27" fmla="*/ 622 h 622"/>
                <a:gd name="T28" fmla="*/ 673 w 683"/>
                <a:gd name="T29" fmla="*/ 516 h 622"/>
                <a:gd name="T30" fmla="*/ 472 w 683"/>
                <a:gd name="T31" fmla="*/ 516 h 622"/>
                <a:gd name="T32" fmla="*/ 589 w 683"/>
                <a:gd name="T33" fmla="*/ 495 h 622"/>
                <a:gd name="T34" fmla="*/ 576 w 683"/>
                <a:gd name="T35" fmla="*/ 133 h 622"/>
                <a:gd name="T36" fmla="*/ 432 w 683"/>
                <a:gd name="T37" fmla="*/ 114 h 622"/>
                <a:gd name="T38" fmla="*/ 619 w 683"/>
                <a:gd name="T39" fmla="*/ 156 h 622"/>
                <a:gd name="T40" fmla="*/ 303 w 683"/>
                <a:gd name="T41" fmla="*/ 556 h 622"/>
                <a:gd name="T42" fmla="*/ 286 w 683"/>
                <a:gd name="T43" fmla="*/ 24 h 622"/>
                <a:gd name="T44" fmla="*/ 342 w 683"/>
                <a:gd name="T45" fmla="*/ 61 h 622"/>
                <a:gd name="T46" fmla="*/ 391 w 683"/>
                <a:gd name="T47" fmla="*/ 21 h 622"/>
                <a:gd name="T48" fmla="*/ 299 w 683"/>
                <a:gd name="T49" fmla="*/ 86 h 622"/>
                <a:gd name="T50" fmla="*/ 404 w 683"/>
                <a:gd name="T51" fmla="*/ 107 h 622"/>
                <a:gd name="T52" fmla="*/ 279 w 683"/>
                <a:gd name="T53" fmla="*/ 121 h 622"/>
                <a:gd name="T54" fmla="*/ 104 w 683"/>
                <a:gd name="T55" fmla="*/ 156 h 622"/>
                <a:gd name="T56" fmla="*/ 180 w 683"/>
                <a:gd name="T57" fmla="*/ 217 h 622"/>
                <a:gd name="T58" fmla="*/ 104 w 683"/>
                <a:gd name="T59" fmla="*/ 475 h 622"/>
                <a:gd name="T60" fmla="*/ 198 w 683"/>
                <a:gd name="T61" fmla="*/ 226 h 622"/>
                <a:gd name="T62" fmla="*/ 461 w 683"/>
                <a:gd name="T63" fmla="*/ 191 h 622"/>
                <a:gd name="T64" fmla="*/ 477 w 683"/>
                <a:gd name="T65" fmla="*/ 178 h 622"/>
                <a:gd name="T66" fmla="*/ 579 w 683"/>
                <a:gd name="T67" fmla="*/ 156 h 622"/>
                <a:gd name="T68" fmla="*/ 543 w 683"/>
                <a:gd name="T69" fmla="*/ 374 h 622"/>
                <a:gd name="T70" fmla="*/ 479 w 683"/>
                <a:gd name="T71" fmla="*/ 216 h 622"/>
                <a:gd name="T72" fmla="*/ 342 w 683"/>
                <a:gd name="T73" fmla="*/ 515 h 622"/>
                <a:gd name="T74" fmla="*/ 663 w 683"/>
                <a:gd name="T75" fmla="*/ 540 h 622"/>
                <a:gd name="T76" fmla="*/ 21 w 683"/>
                <a:gd name="T77" fmla="*/ 540 h 622"/>
                <a:gd name="T78" fmla="*/ 303 w 683"/>
                <a:gd name="T79" fmla="*/ 577 h 622"/>
                <a:gd name="T80" fmla="*/ 630 w 683"/>
                <a:gd name="T81" fmla="*/ 536 h 622"/>
                <a:gd name="T82" fmla="*/ 663 w 683"/>
                <a:gd name="T83" fmla="*/ 54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3" h="622">
                  <a:moveTo>
                    <a:pt x="673" y="516"/>
                  </a:moveTo>
                  <a:cubicBezTo>
                    <a:pt x="640" y="516"/>
                    <a:pt x="640" y="516"/>
                    <a:pt x="640" y="516"/>
                  </a:cubicBezTo>
                  <a:cubicBezTo>
                    <a:pt x="640" y="156"/>
                    <a:pt x="640" y="156"/>
                    <a:pt x="640" y="156"/>
                  </a:cubicBezTo>
                  <a:cubicBezTo>
                    <a:pt x="640" y="120"/>
                    <a:pt x="611" y="92"/>
                    <a:pt x="576" y="92"/>
                  </a:cubicBezTo>
                  <a:cubicBezTo>
                    <a:pt x="421" y="92"/>
                    <a:pt x="421" y="92"/>
                    <a:pt x="421" y="92"/>
                  </a:cubicBezTo>
                  <a:cubicBezTo>
                    <a:pt x="417" y="89"/>
                    <a:pt x="412" y="87"/>
                    <a:pt x="407" y="86"/>
                  </a:cubicBezTo>
                  <a:cubicBezTo>
                    <a:pt x="424" y="49"/>
                    <a:pt x="425" y="23"/>
                    <a:pt x="412" y="9"/>
                  </a:cubicBezTo>
                  <a:cubicBezTo>
                    <a:pt x="406" y="3"/>
                    <a:pt x="398" y="0"/>
                    <a:pt x="390" y="1"/>
                  </a:cubicBezTo>
                  <a:cubicBezTo>
                    <a:pt x="371" y="3"/>
                    <a:pt x="352" y="22"/>
                    <a:pt x="342" y="34"/>
                  </a:cubicBezTo>
                  <a:cubicBezTo>
                    <a:pt x="331" y="22"/>
                    <a:pt x="312" y="3"/>
                    <a:pt x="294" y="1"/>
                  </a:cubicBezTo>
                  <a:cubicBezTo>
                    <a:pt x="285" y="0"/>
                    <a:pt x="278" y="3"/>
                    <a:pt x="272" y="9"/>
                  </a:cubicBezTo>
                  <a:cubicBezTo>
                    <a:pt x="258" y="23"/>
                    <a:pt x="260" y="49"/>
                    <a:pt x="276" y="86"/>
                  </a:cubicBezTo>
                  <a:cubicBezTo>
                    <a:pt x="271" y="87"/>
                    <a:pt x="266" y="89"/>
                    <a:pt x="262" y="92"/>
                  </a:cubicBezTo>
                  <a:cubicBezTo>
                    <a:pt x="262" y="92"/>
                    <a:pt x="262" y="92"/>
                    <a:pt x="262" y="92"/>
                  </a:cubicBezTo>
                  <a:cubicBezTo>
                    <a:pt x="107" y="92"/>
                    <a:pt x="107" y="92"/>
                    <a:pt x="107" y="92"/>
                  </a:cubicBezTo>
                  <a:cubicBezTo>
                    <a:pt x="72" y="92"/>
                    <a:pt x="44" y="120"/>
                    <a:pt x="44" y="156"/>
                  </a:cubicBezTo>
                  <a:cubicBezTo>
                    <a:pt x="44" y="403"/>
                    <a:pt x="44" y="403"/>
                    <a:pt x="44" y="403"/>
                  </a:cubicBezTo>
                  <a:cubicBezTo>
                    <a:pt x="44" y="409"/>
                    <a:pt x="48" y="413"/>
                    <a:pt x="54" y="413"/>
                  </a:cubicBezTo>
                  <a:cubicBezTo>
                    <a:pt x="59" y="413"/>
                    <a:pt x="64" y="409"/>
                    <a:pt x="64" y="403"/>
                  </a:cubicBezTo>
                  <a:cubicBezTo>
                    <a:pt x="64" y="156"/>
                    <a:pt x="64" y="156"/>
                    <a:pt x="64" y="156"/>
                  </a:cubicBezTo>
                  <a:cubicBezTo>
                    <a:pt x="64" y="132"/>
                    <a:pt x="83" y="112"/>
                    <a:pt x="107" y="112"/>
                  </a:cubicBezTo>
                  <a:cubicBezTo>
                    <a:pt x="252" y="112"/>
                    <a:pt x="252" y="112"/>
                    <a:pt x="252" y="112"/>
                  </a:cubicBezTo>
                  <a:cubicBezTo>
                    <a:pt x="252" y="113"/>
                    <a:pt x="252" y="113"/>
                    <a:pt x="252" y="114"/>
                  </a:cubicBezTo>
                  <a:cubicBezTo>
                    <a:pt x="252" y="121"/>
                    <a:pt x="255" y="127"/>
                    <a:pt x="259" y="132"/>
                  </a:cubicBezTo>
                  <a:cubicBezTo>
                    <a:pt x="259" y="132"/>
                    <a:pt x="259" y="132"/>
                    <a:pt x="258" y="133"/>
                  </a:cubicBezTo>
                  <a:cubicBezTo>
                    <a:pt x="107" y="133"/>
                    <a:pt x="107" y="133"/>
                    <a:pt x="107" y="133"/>
                  </a:cubicBezTo>
                  <a:cubicBezTo>
                    <a:pt x="94" y="133"/>
                    <a:pt x="84" y="143"/>
                    <a:pt x="84" y="156"/>
                  </a:cubicBezTo>
                  <a:cubicBezTo>
                    <a:pt x="84" y="485"/>
                    <a:pt x="84" y="485"/>
                    <a:pt x="84" y="485"/>
                  </a:cubicBezTo>
                  <a:cubicBezTo>
                    <a:pt x="84" y="491"/>
                    <a:pt x="89" y="495"/>
                    <a:pt x="94" y="495"/>
                  </a:cubicBezTo>
                  <a:cubicBezTo>
                    <a:pt x="181" y="495"/>
                    <a:pt x="181" y="495"/>
                    <a:pt x="181" y="495"/>
                  </a:cubicBezTo>
                  <a:cubicBezTo>
                    <a:pt x="187" y="501"/>
                    <a:pt x="194" y="506"/>
                    <a:pt x="202" y="511"/>
                  </a:cubicBezTo>
                  <a:cubicBezTo>
                    <a:pt x="205" y="513"/>
                    <a:pt x="208" y="514"/>
                    <a:pt x="211" y="516"/>
                  </a:cubicBezTo>
                  <a:cubicBezTo>
                    <a:pt x="64" y="516"/>
                    <a:pt x="64" y="516"/>
                    <a:pt x="64" y="516"/>
                  </a:cubicBezTo>
                  <a:cubicBezTo>
                    <a:pt x="64" y="437"/>
                    <a:pt x="64" y="437"/>
                    <a:pt x="64" y="437"/>
                  </a:cubicBezTo>
                  <a:cubicBezTo>
                    <a:pt x="64" y="431"/>
                    <a:pt x="59" y="427"/>
                    <a:pt x="54" y="427"/>
                  </a:cubicBezTo>
                  <a:cubicBezTo>
                    <a:pt x="48" y="427"/>
                    <a:pt x="44" y="431"/>
                    <a:pt x="44" y="437"/>
                  </a:cubicBezTo>
                  <a:cubicBezTo>
                    <a:pt x="44" y="516"/>
                    <a:pt x="44" y="516"/>
                    <a:pt x="44" y="516"/>
                  </a:cubicBezTo>
                  <a:cubicBezTo>
                    <a:pt x="10" y="516"/>
                    <a:pt x="10" y="516"/>
                    <a:pt x="10" y="516"/>
                  </a:cubicBezTo>
                  <a:cubicBezTo>
                    <a:pt x="5" y="516"/>
                    <a:pt x="0" y="520"/>
                    <a:pt x="0" y="526"/>
                  </a:cubicBezTo>
                  <a:cubicBezTo>
                    <a:pt x="0" y="540"/>
                    <a:pt x="0" y="540"/>
                    <a:pt x="0" y="540"/>
                  </a:cubicBezTo>
                  <a:cubicBezTo>
                    <a:pt x="0" y="585"/>
                    <a:pt x="37" y="622"/>
                    <a:pt x="82" y="622"/>
                  </a:cubicBezTo>
                  <a:cubicBezTo>
                    <a:pt x="601" y="622"/>
                    <a:pt x="601" y="622"/>
                    <a:pt x="601" y="622"/>
                  </a:cubicBezTo>
                  <a:cubicBezTo>
                    <a:pt x="646" y="622"/>
                    <a:pt x="683" y="585"/>
                    <a:pt x="683" y="540"/>
                  </a:cubicBezTo>
                  <a:cubicBezTo>
                    <a:pt x="683" y="526"/>
                    <a:pt x="683" y="526"/>
                    <a:pt x="683" y="526"/>
                  </a:cubicBezTo>
                  <a:cubicBezTo>
                    <a:pt x="683" y="520"/>
                    <a:pt x="678" y="516"/>
                    <a:pt x="673" y="516"/>
                  </a:cubicBezTo>
                  <a:close/>
                  <a:moveTo>
                    <a:pt x="619" y="156"/>
                  </a:moveTo>
                  <a:cubicBezTo>
                    <a:pt x="619" y="516"/>
                    <a:pt x="619" y="516"/>
                    <a:pt x="619" y="516"/>
                  </a:cubicBezTo>
                  <a:cubicBezTo>
                    <a:pt x="472" y="516"/>
                    <a:pt x="472" y="516"/>
                    <a:pt x="472" y="516"/>
                  </a:cubicBezTo>
                  <a:cubicBezTo>
                    <a:pt x="476" y="514"/>
                    <a:pt x="479" y="513"/>
                    <a:pt x="482" y="511"/>
                  </a:cubicBezTo>
                  <a:cubicBezTo>
                    <a:pt x="489" y="506"/>
                    <a:pt x="496" y="501"/>
                    <a:pt x="502" y="495"/>
                  </a:cubicBezTo>
                  <a:cubicBezTo>
                    <a:pt x="589" y="495"/>
                    <a:pt x="589" y="495"/>
                    <a:pt x="589" y="495"/>
                  </a:cubicBezTo>
                  <a:cubicBezTo>
                    <a:pt x="595" y="495"/>
                    <a:pt x="599" y="491"/>
                    <a:pt x="599" y="485"/>
                  </a:cubicBezTo>
                  <a:cubicBezTo>
                    <a:pt x="599" y="156"/>
                    <a:pt x="599" y="156"/>
                    <a:pt x="599" y="156"/>
                  </a:cubicBezTo>
                  <a:cubicBezTo>
                    <a:pt x="599" y="143"/>
                    <a:pt x="589" y="133"/>
                    <a:pt x="576" y="133"/>
                  </a:cubicBezTo>
                  <a:cubicBezTo>
                    <a:pt x="425" y="133"/>
                    <a:pt x="425" y="133"/>
                    <a:pt x="425" y="133"/>
                  </a:cubicBezTo>
                  <a:cubicBezTo>
                    <a:pt x="425" y="132"/>
                    <a:pt x="424" y="132"/>
                    <a:pt x="424" y="132"/>
                  </a:cubicBezTo>
                  <a:cubicBezTo>
                    <a:pt x="429" y="127"/>
                    <a:pt x="432" y="121"/>
                    <a:pt x="432" y="114"/>
                  </a:cubicBezTo>
                  <a:cubicBezTo>
                    <a:pt x="432" y="113"/>
                    <a:pt x="431" y="113"/>
                    <a:pt x="431" y="112"/>
                  </a:cubicBezTo>
                  <a:cubicBezTo>
                    <a:pt x="576" y="112"/>
                    <a:pt x="576" y="112"/>
                    <a:pt x="576" y="112"/>
                  </a:cubicBezTo>
                  <a:cubicBezTo>
                    <a:pt x="600" y="112"/>
                    <a:pt x="619" y="132"/>
                    <a:pt x="619" y="156"/>
                  </a:cubicBezTo>
                  <a:close/>
                  <a:moveTo>
                    <a:pt x="403" y="536"/>
                  </a:moveTo>
                  <a:cubicBezTo>
                    <a:pt x="402" y="547"/>
                    <a:pt x="392" y="556"/>
                    <a:pt x="380" y="556"/>
                  </a:cubicBezTo>
                  <a:cubicBezTo>
                    <a:pt x="303" y="556"/>
                    <a:pt x="303" y="556"/>
                    <a:pt x="303" y="556"/>
                  </a:cubicBezTo>
                  <a:cubicBezTo>
                    <a:pt x="292" y="556"/>
                    <a:pt x="282" y="547"/>
                    <a:pt x="280" y="536"/>
                  </a:cubicBezTo>
                  <a:lnTo>
                    <a:pt x="403" y="536"/>
                  </a:lnTo>
                  <a:close/>
                  <a:moveTo>
                    <a:pt x="286" y="24"/>
                  </a:moveTo>
                  <a:cubicBezTo>
                    <a:pt x="288" y="22"/>
                    <a:pt x="290" y="21"/>
                    <a:pt x="292" y="21"/>
                  </a:cubicBezTo>
                  <a:cubicBezTo>
                    <a:pt x="304" y="22"/>
                    <a:pt x="323" y="43"/>
                    <a:pt x="333" y="57"/>
                  </a:cubicBezTo>
                  <a:cubicBezTo>
                    <a:pt x="335" y="59"/>
                    <a:pt x="338" y="61"/>
                    <a:pt x="342" y="61"/>
                  </a:cubicBezTo>
                  <a:cubicBezTo>
                    <a:pt x="342" y="61"/>
                    <a:pt x="342" y="61"/>
                    <a:pt x="342" y="61"/>
                  </a:cubicBezTo>
                  <a:cubicBezTo>
                    <a:pt x="345" y="61"/>
                    <a:pt x="348" y="59"/>
                    <a:pt x="350" y="57"/>
                  </a:cubicBezTo>
                  <a:cubicBezTo>
                    <a:pt x="360" y="43"/>
                    <a:pt x="379" y="22"/>
                    <a:pt x="391" y="21"/>
                  </a:cubicBezTo>
                  <a:cubicBezTo>
                    <a:pt x="394" y="21"/>
                    <a:pt x="395" y="22"/>
                    <a:pt x="397" y="24"/>
                  </a:cubicBezTo>
                  <a:cubicBezTo>
                    <a:pt x="403" y="29"/>
                    <a:pt x="403" y="49"/>
                    <a:pt x="385" y="86"/>
                  </a:cubicBezTo>
                  <a:cubicBezTo>
                    <a:pt x="299" y="86"/>
                    <a:pt x="299" y="86"/>
                    <a:pt x="299" y="86"/>
                  </a:cubicBezTo>
                  <a:cubicBezTo>
                    <a:pt x="281" y="49"/>
                    <a:pt x="280" y="29"/>
                    <a:pt x="286" y="24"/>
                  </a:cubicBezTo>
                  <a:close/>
                  <a:moveTo>
                    <a:pt x="279" y="107"/>
                  </a:moveTo>
                  <a:cubicBezTo>
                    <a:pt x="404" y="107"/>
                    <a:pt x="404" y="107"/>
                    <a:pt x="404" y="107"/>
                  </a:cubicBezTo>
                  <a:cubicBezTo>
                    <a:pt x="408" y="107"/>
                    <a:pt x="411" y="110"/>
                    <a:pt x="411" y="114"/>
                  </a:cubicBezTo>
                  <a:cubicBezTo>
                    <a:pt x="411" y="117"/>
                    <a:pt x="408" y="121"/>
                    <a:pt x="404" y="121"/>
                  </a:cubicBezTo>
                  <a:cubicBezTo>
                    <a:pt x="279" y="121"/>
                    <a:pt x="279" y="121"/>
                    <a:pt x="279" y="121"/>
                  </a:cubicBezTo>
                  <a:cubicBezTo>
                    <a:pt x="275" y="121"/>
                    <a:pt x="272" y="117"/>
                    <a:pt x="272" y="114"/>
                  </a:cubicBezTo>
                  <a:cubicBezTo>
                    <a:pt x="272" y="110"/>
                    <a:pt x="275" y="107"/>
                    <a:pt x="279" y="107"/>
                  </a:cubicBezTo>
                  <a:close/>
                  <a:moveTo>
                    <a:pt x="104" y="156"/>
                  </a:moveTo>
                  <a:cubicBezTo>
                    <a:pt x="104" y="154"/>
                    <a:pt x="106" y="153"/>
                    <a:pt x="107" y="153"/>
                  </a:cubicBezTo>
                  <a:cubicBezTo>
                    <a:pt x="231" y="153"/>
                    <a:pt x="231" y="153"/>
                    <a:pt x="231" y="153"/>
                  </a:cubicBezTo>
                  <a:cubicBezTo>
                    <a:pt x="211" y="170"/>
                    <a:pt x="194" y="191"/>
                    <a:pt x="180" y="217"/>
                  </a:cubicBezTo>
                  <a:cubicBezTo>
                    <a:pt x="154" y="262"/>
                    <a:pt x="141" y="317"/>
                    <a:pt x="141" y="374"/>
                  </a:cubicBezTo>
                  <a:cubicBezTo>
                    <a:pt x="141" y="416"/>
                    <a:pt x="149" y="450"/>
                    <a:pt x="165" y="475"/>
                  </a:cubicBezTo>
                  <a:cubicBezTo>
                    <a:pt x="104" y="475"/>
                    <a:pt x="104" y="475"/>
                    <a:pt x="104" y="475"/>
                  </a:cubicBezTo>
                  <a:lnTo>
                    <a:pt x="104" y="156"/>
                  </a:lnTo>
                  <a:close/>
                  <a:moveTo>
                    <a:pt x="161" y="374"/>
                  </a:moveTo>
                  <a:cubicBezTo>
                    <a:pt x="161" y="320"/>
                    <a:pt x="174" y="269"/>
                    <a:pt x="198" y="226"/>
                  </a:cubicBezTo>
                  <a:cubicBezTo>
                    <a:pt x="220" y="186"/>
                    <a:pt x="251" y="156"/>
                    <a:pt x="287" y="141"/>
                  </a:cubicBezTo>
                  <a:cubicBezTo>
                    <a:pt x="397" y="141"/>
                    <a:pt x="397" y="141"/>
                    <a:pt x="397" y="141"/>
                  </a:cubicBezTo>
                  <a:cubicBezTo>
                    <a:pt x="421" y="151"/>
                    <a:pt x="442" y="168"/>
                    <a:pt x="461" y="191"/>
                  </a:cubicBezTo>
                  <a:cubicBezTo>
                    <a:pt x="463" y="193"/>
                    <a:pt x="466" y="194"/>
                    <a:pt x="469" y="194"/>
                  </a:cubicBezTo>
                  <a:cubicBezTo>
                    <a:pt x="471" y="194"/>
                    <a:pt x="474" y="194"/>
                    <a:pt x="476" y="192"/>
                  </a:cubicBezTo>
                  <a:cubicBezTo>
                    <a:pt x="480" y="188"/>
                    <a:pt x="481" y="182"/>
                    <a:pt x="477" y="178"/>
                  </a:cubicBezTo>
                  <a:cubicBezTo>
                    <a:pt x="469" y="169"/>
                    <a:pt x="461" y="160"/>
                    <a:pt x="453" y="153"/>
                  </a:cubicBezTo>
                  <a:cubicBezTo>
                    <a:pt x="576" y="153"/>
                    <a:pt x="576" y="153"/>
                    <a:pt x="576" y="153"/>
                  </a:cubicBezTo>
                  <a:cubicBezTo>
                    <a:pt x="578" y="153"/>
                    <a:pt x="579" y="154"/>
                    <a:pt x="579" y="156"/>
                  </a:cubicBezTo>
                  <a:cubicBezTo>
                    <a:pt x="579" y="475"/>
                    <a:pt x="579" y="475"/>
                    <a:pt x="579" y="475"/>
                  </a:cubicBezTo>
                  <a:cubicBezTo>
                    <a:pt x="519" y="475"/>
                    <a:pt x="519" y="475"/>
                    <a:pt x="519" y="475"/>
                  </a:cubicBezTo>
                  <a:cubicBezTo>
                    <a:pt x="535" y="450"/>
                    <a:pt x="543" y="416"/>
                    <a:pt x="543" y="374"/>
                  </a:cubicBezTo>
                  <a:cubicBezTo>
                    <a:pt x="543" y="312"/>
                    <a:pt x="526" y="252"/>
                    <a:pt x="496" y="205"/>
                  </a:cubicBezTo>
                  <a:cubicBezTo>
                    <a:pt x="493" y="200"/>
                    <a:pt x="487" y="199"/>
                    <a:pt x="482" y="202"/>
                  </a:cubicBezTo>
                  <a:cubicBezTo>
                    <a:pt x="478" y="205"/>
                    <a:pt x="476" y="211"/>
                    <a:pt x="479" y="216"/>
                  </a:cubicBezTo>
                  <a:cubicBezTo>
                    <a:pt x="507" y="260"/>
                    <a:pt x="522" y="316"/>
                    <a:pt x="522" y="374"/>
                  </a:cubicBezTo>
                  <a:cubicBezTo>
                    <a:pt x="522" y="435"/>
                    <a:pt x="506" y="473"/>
                    <a:pt x="471" y="493"/>
                  </a:cubicBezTo>
                  <a:cubicBezTo>
                    <a:pt x="449" y="506"/>
                    <a:pt x="419" y="515"/>
                    <a:pt x="342" y="515"/>
                  </a:cubicBezTo>
                  <a:cubicBezTo>
                    <a:pt x="286" y="515"/>
                    <a:pt x="243" y="511"/>
                    <a:pt x="212" y="493"/>
                  </a:cubicBezTo>
                  <a:cubicBezTo>
                    <a:pt x="177" y="473"/>
                    <a:pt x="161" y="435"/>
                    <a:pt x="161" y="374"/>
                  </a:cubicBezTo>
                  <a:close/>
                  <a:moveTo>
                    <a:pt x="663" y="540"/>
                  </a:moveTo>
                  <a:cubicBezTo>
                    <a:pt x="663" y="574"/>
                    <a:pt x="635" y="602"/>
                    <a:pt x="601" y="602"/>
                  </a:cubicBezTo>
                  <a:cubicBezTo>
                    <a:pt x="82" y="602"/>
                    <a:pt x="82" y="602"/>
                    <a:pt x="82" y="602"/>
                  </a:cubicBezTo>
                  <a:cubicBezTo>
                    <a:pt x="48" y="602"/>
                    <a:pt x="21" y="574"/>
                    <a:pt x="21" y="540"/>
                  </a:cubicBezTo>
                  <a:cubicBezTo>
                    <a:pt x="21" y="536"/>
                    <a:pt x="21" y="536"/>
                    <a:pt x="21" y="536"/>
                  </a:cubicBezTo>
                  <a:cubicBezTo>
                    <a:pt x="260" y="536"/>
                    <a:pt x="260" y="536"/>
                    <a:pt x="260" y="536"/>
                  </a:cubicBezTo>
                  <a:cubicBezTo>
                    <a:pt x="261" y="559"/>
                    <a:pt x="280" y="577"/>
                    <a:pt x="303" y="577"/>
                  </a:cubicBezTo>
                  <a:cubicBezTo>
                    <a:pt x="380" y="577"/>
                    <a:pt x="380" y="577"/>
                    <a:pt x="380" y="577"/>
                  </a:cubicBezTo>
                  <a:cubicBezTo>
                    <a:pt x="403" y="577"/>
                    <a:pt x="422" y="559"/>
                    <a:pt x="424" y="536"/>
                  </a:cubicBezTo>
                  <a:cubicBezTo>
                    <a:pt x="630" y="536"/>
                    <a:pt x="630" y="536"/>
                    <a:pt x="630" y="536"/>
                  </a:cubicBezTo>
                  <a:cubicBezTo>
                    <a:pt x="630" y="536"/>
                    <a:pt x="630" y="536"/>
                    <a:pt x="630" y="536"/>
                  </a:cubicBezTo>
                  <a:cubicBezTo>
                    <a:pt x="663" y="536"/>
                    <a:pt x="663" y="536"/>
                    <a:pt x="663" y="536"/>
                  </a:cubicBezTo>
                  <a:lnTo>
                    <a:pt x="663" y="540"/>
                  </a:lnTo>
                  <a:close/>
                  <a:moveTo>
                    <a:pt x="663" y="540"/>
                  </a:moveTo>
                  <a:cubicBezTo>
                    <a:pt x="663" y="540"/>
                    <a:pt x="663" y="540"/>
                    <a:pt x="663" y="5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C44373D8-518A-4CAD-A641-30353E471717}"/>
                </a:ext>
              </a:extLst>
            </p:cNvPr>
            <p:cNvSpPr>
              <a:spLocks noEditPoints="1"/>
            </p:cNvSpPr>
            <p:nvPr/>
          </p:nvSpPr>
          <p:spPr bwMode="auto">
            <a:xfrm>
              <a:off x="3322" y="5467"/>
              <a:ext cx="252" cy="504"/>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9">
            <a:extLst>
              <a:ext uri="{FF2B5EF4-FFF2-40B4-BE49-F238E27FC236}">
                <a16:creationId xmlns:a16="http://schemas.microsoft.com/office/drawing/2014/main" id="{10A99B64-595D-4263-B729-30D7965642AA}"/>
              </a:ext>
            </a:extLst>
          </p:cNvPr>
          <p:cNvGrpSpPr>
            <a:grpSpLocks noChangeAspect="1"/>
          </p:cNvGrpSpPr>
          <p:nvPr/>
        </p:nvGrpSpPr>
        <p:grpSpPr bwMode="auto">
          <a:xfrm>
            <a:off x="5833829" y="4739164"/>
            <a:ext cx="590019" cy="573659"/>
            <a:chOff x="4224" y="4480"/>
            <a:chExt cx="1118" cy="1087"/>
          </a:xfrm>
          <a:solidFill>
            <a:srgbClr val="00A3E0"/>
          </a:solidFill>
        </p:grpSpPr>
        <p:sp>
          <p:nvSpPr>
            <p:cNvPr id="24" name="Freeform 10">
              <a:extLst>
                <a:ext uri="{FF2B5EF4-FFF2-40B4-BE49-F238E27FC236}">
                  <a16:creationId xmlns:a16="http://schemas.microsoft.com/office/drawing/2014/main" id="{D617EC80-D0CA-46B1-B9E5-19C968C06E52}"/>
                </a:ext>
              </a:extLst>
            </p:cNvPr>
            <p:cNvSpPr>
              <a:spLocks noEditPoints="1"/>
            </p:cNvSpPr>
            <p:nvPr/>
          </p:nvSpPr>
          <p:spPr bwMode="auto">
            <a:xfrm>
              <a:off x="4224" y="4480"/>
              <a:ext cx="937" cy="849"/>
            </a:xfrm>
            <a:custGeom>
              <a:avLst/>
              <a:gdLst>
                <a:gd name="T0" fmla="*/ 270 w 420"/>
                <a:gd name="T1" fmla="*/ 327 h 392"/>
                <a:gd name="T2" fmla="*/ 278 w 420"/>
                <a:gd name="T3" fmla="*/ 319 h 392"/>
                <a:gd name="T4" fmla="*/ 270 w 420"/>
                <a:gd name="T5" fmla="*/ 311 h 392"/>
                <a:gd name="T6" fmla="*/ 17 w 420"/>
                <a:gd name="T7" fmla="*/ 311 h 392"/>
                <a:gd name="T8" fmla="*/ 16 w 420"/>
                <a:gd name="T9" fmla="*/ 310 h 392"/>
                <a:gd name="T10" fmla="*/ 16 w 420"/>
                <a:gd name="T11" fmla="*/ 18 h 392"/>
                <a:gd name="T12" fmla="*/ 17 w 420"/>
                <a:gd name="T13" fmla="*/ 16 h 392"/>
                <a:gd name="T14" fmla="*/ 403 w 420"/>
                <a:gd name="T15" fmla="*/ 16 h 392"/>
                <a:gd name="T16" fmla="*/ 404 w 420"/>
                <a:gd name="T17" fmla="*/ 18 h 392"/>
                <a:gd name="T18" fmla="*/ 404 w 420"/>
                <a:gd name="T19" fmla="*/ 158 h 392"/>
                <a:gd name="T20" fmla="*/ 412 w 420"/>
                <a:gd name="T21" fmla="*/ 166 h 392"/>
                <a:gd name="T22" fmla="*/ 420 w 420"/>
                <a:gd name="T23" fmla="*/ 158 h 392"/>
                <a:gd name="T24" fmla="*/ 420 w 420"/>
                <a:gd name="T25" fmla="*/ 18 h 392"/>
                <a:gd name="T26" fmla="*/ 403 w 420"/>
                <a:gd name="T27" fmla="*/ 0 h 392"/>
                <a:gd name="T28" fmla="*/ 17 w 420"/>
                <a:gd name="T29" fmla="*/ 0 h 392"/>
                <a:gd name="T30" fmla="*/ 0 w 420"/>
                <a:gd name="T31" fmla="*/ 18 h 392"/>
                <a:gd name="T32" fmla="*/ 0 w 420"/>
                <a:gd name="T33" fmla="*/ 310 h 392"/>
                <a:gd name="T34" fmla="*/ 17 w 420"/>
                <a:gd name="T35" fmla="*/ 327 h 392"/>
                <a:gd name="T36" fmla="*/ 161 w 420"/>
                <a:gd name="T37" fmla="*/ 327 h 392"/>
                <a:gd name="T38" fmla="*/ 161 w 420"/>
                <a:gd name="T39" fmla="*/ 376 h 392"/>
                <a:gd name="T40" fmla="*/ 100 w 420"/>
                <a:gd name="T41" fmla="*/ 376 h 392"/>
                <a:gd name="T42" fmla="*/ 92 w 420"/>
                <a:gd name="T43" fmla="*/ 384 h 392"/>
                <a:gd name="T44" fmla="*/ 100 w 420"/>
                <a:gd name="T45" fmla="*/ 392 h 392"/>
                <a:gd name="T46" fmla="*/ 270 w 420"/>
                <a:gd name="T47" fmla="*/ 392 h 392"/>
                <a:gd name="T48" fmla="*/ 278 w 420"/>
                <a:gd name="T49" fmla="*/ 384 h 392"/>
                <a:gd name="T50" fmla="*/ 270 w 420"/>
                <a:gd name="T51" fmla="*/ 376 h 392"/>
                <a:gd name="T52" fmla="*/ 259 w 420"/>
                <a:gd name="T53" fmla="*/ 376 h 392"/>
                <a:gd name="T54" fmla="*/ 259 w 420"/>
                <a:gd name="T55" fmla="*/ 327 h 392"/>
                <a:gd name="T56" fmla="*/ 270 w 420"/>
                <a:gd name="T57" fmla="*/ 327 h 392"/>
                <a:gd name="T58" fmla="*/ 243 w 420"/>
                <a:gd name="T59" fmla="*/ 376 h 392"/>
                <a:gd name="T60" fmla="*/ 177 w 420"/>
                <a:gd name="T61" fmla="*/ 376 h 392"/>
                <a:gd name="T62" fmla="*/ 177 w 420"/>
                <a:gd name="T63" fmla="*/ 327 h 392"/>
                <a:gd name="T64" fmla="*/ 243 w 420"/>
                <a:gd name="T65" fmla="*/ 327 h 392"/>
                <a:gd name="T66" fmla="*/ 243 w 420"/>
                <a:gd name="T67" fmla="*/ 376 h 392"/>
                <a:gd name="T68" fmla="*/ 243 w 420"/>
                <a:gd name="T69" fmla="*/ 376 h 392"/>
                <a:gd name="T70" fmla="*/ 243 w 420"/>
                <a:gd name="T71" fmla="*/ 37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392">
                  <a:moveTo>
                    <a:pt x="270" y="327"/>
                  </a:moveTo>
                  <a:cubicBezTo>
                    <a:pt x="275" y="327"/>
                    <a:pt x="278" y="324"/>
                    <a:pt x="278" y="319"/>
                  </a:cubicBezTo>
                  <a:cubicBezTo>
                    <a:pt x="278" y="315"/>
                    <a:pt x="275" y="311"/>
                    <a:pt x="270" y="311"/>
                  </a:cubicBezTo>
                  <a:cubicBezTo>
                    <a:pt x="17" y="311"/>
                    <a:pt x="17" y="311"/>
                    <a:pt x="17" y="311"/>
                  </a:cubicBezTo>
                  <a:cubicBezTo>
                    <a:pt x="17" y="311"/>
                    <a:pt x="16" y="311"/>
                    <a:pt x="16" y="310"/>
                  </a:cubicBezTo>
                  <a:cubicBezTo>
                    <a:pt x="16" y="18"/>
                    <a:pt x="16" y="18"/>
                    <a:pt x="16" y="18"/>
                  </a:cubicBezTo>
                  <a:cubicBezTo>
                    <a:pt x="16" y="17"/>
                    <a:pt x="17" y="16"/>
                    <a:pt x="17" y="16"/>
                  </a:cubicBezTo>
                  <a:cubicBezTo>
                    <a:pt x="403" y="16"/>
                    <a:pt x="403" y="16"/>
                    <a:pt x="403" y="16"/>
                  </a:cubicBezTo>
                  <a:cubicBezTo>
                    <a:pt x="404" y="16"/>
                    <a:pt x="404" y="17"/>
                    <a:pt x="404" y="18"/>
                  </a:cubicBezTo>
                  <a:cubicBezTo>
                    <a:pt x="404" y="158"/>
                    <a:pt x="404" y="158"/>
                    <a:pt x="404" y="158"/>
                  </a:cubicBezTo>
                  <a:cubicBezTo>
                    <a:pt x="404" y="163"/>
                    <a:pt x="408" y="166"/>
                    <a:pt x="412" y="166"/>
                  </a:cubicBezTo>
                  <a:cubicBezTo>
                    <a:pt x="417" y="166"/>
                    <a:pt x="420" y="163"/>
                    <a:pt x="420" y="158"/>
                  </a:cubicBezTo>
                  <a:cubicBezTo>
                    <a:pt x="420" y="18"/>
                    <a:pt x="420" y="18"/>
                    <a:pt x="420" y="18"/>
                  </a:cubicBezTo>
                  <a:cubicBezTo>
                    <a:pt x="420" y="8"/>
                    <a:pt x="413" y="0"/>
                    <a:pt x="403" y="0"/>
                  </a:cubicBezTo>
                  <a:cubicBezTo>
                    <a:pt x="17" y="0"/>
                    <a:pt x="17" y="0"/>
                    <a:pt x="17" y="0"/>
                  </a:cubicBezTo>
                  <a:cubicBezTo>
                    <a:pt x="8" y="0"/>
                    <a:pt x="0" y="8"/>
                    <a:pt x="0" y="18"/>
                  </a:cubicBezTo>
                  <a:cubicBezTo>
                    <a:pt x="0" y="310"/>
                    <a:pt x="0" y="310"/>
                    <a:pt x="0" y="310"/>
                  </a:cubicBezTo>
                  <a:cubicBezTo>
                    <a:pt x="0" y="319"/>
                    <a:pt x="8" y="327"/>
                    <a:pt x="17" y="327"/>
                  </a:cubicBezTo>
                  <a:cubicBezTo>
                    <a:pt x="161" y="327"/>
                    <a:pt x="161" y="327"/>
                    <a:pt x="161" y="327"/>
                  </a:cubicBezTo>
                  <a:cubicBezTo>
                    <a:pt x="161" y="376"/>
                    <a:pt x="161" y="376"/>
                    <a:pt x="161" y="376"/>
                  </a:cubicBezTo>
                  <a:cubicBezTo>
                    <a:pt x="100" y="376"/>
                    <a:pt x="100" y="376"/>
                    <a:pt x="100" y="376"/>
                  </a:cubicBezTo>
                  <a:cubicBezTo>
                    <a:pt x="95" y="376"/>
                    <a:pt x="92" y="379"/>
                    <a:pt x="92" y="384"/>
                  </a:cubicBezTo>
                  <a:cubicBezTo>
                    <a:pt x="92" y="388"/>
                    <a:pt x="95" y="392"/>
                    <a:pt x="100" y="392"/>
                  </a:cubicBezTo>
                  <a:cubicBezTo>
                    <a:pt x="270" y="392"/>
                    <a:pt x="270" y="392"/>
                    <a:pt x="270" y="392"/>
                  </a:cubicBezTo>
                  <a:cubicBezTo>
                    <a:pt x="275" y="392"/>
                    <a:pt x="278" y="388"/>
                    <a:pt x="278" y="384"/>
                  </a:cubicBezTo>
                  <a:cubicBezTo>
                    <a:pt x="278" y="379"/>
                    <a:pt x="275" y="376"/>
                    <a:pt x="270" y="376"/>
                  </a:cubicBezTo>
                  <a:cubicBezTo>
                    <a:pt x="259" y="376"/>
                    <a:pt x="259" y="376"/>
                    <a:pt x="259" y="376"/>
                  </a:cubicBezTo>
                  <a:cubicBezTo>
                    <a:pt x="259" y="327"/>
                    <a:pt x="259" y="327"/>
                    <a:pt x="259" y="327"/>
                  </a:cubicBezTo>
                  <a:lnTo>
                    <a:pt x="270" y="327"/>
                  </a:lnTo>
                  <a:close/>
                  <a:moveTo>
                    <a:pt x="243" y="376"/>
                  </a:moveTo>
                  <a:cubicBezTo>
                    <a:pt x="177" y="376"/>
                    <a:pt x="177" y="376"/>
                    <a:pt x="177" y="376"/>
                  </a:cubicBezTo>
                  <a:cubicBezTo>
                    <a:pt x="177" y="327"/>
                    <a:pt x="177" y="327"/>
                    <a:pt x="177" y="327"/>
                  </a:cubicBezTo>
                  <a:cubicBezTo>
                    <a:pt x="243" y="327"/>
                    <a:pt x="243" y="327"/>
                    <a:pt x="243" y="327"/>
                  </a:cubicBezTo>
                  <a:lnTo>
                    <a:pt x="243" y="376"/>
                  </a:lnTo>
                  <a:close/>
                  <a:moveTo>
                    <a:pt x="243" y="376"/>
                  </a:moveTo>
                  <a:cubicBezTo>
                    <a:pt x="243" y="376"/>
                    <a:pt x="243" y="376"/>
                    <a:pt x="243"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
              <a:extLst>
                <a:ext uri="{FF2B5EF4-FFF2-40B4-BE49-F238E27FC236}">
                  <a16:creationId xmlns:a16="http://schemas.microsoft.com/office/drawing/2014/main" id="{6FD3876F-5CC5-4BE3-8BB1-3BFB4B01B817}"/>
                </a:ext>
              </a:extLst>
            </p:cNvPr>
            <p:cNvSpPr>
              <a:spLocks noEditPoints="1"/>
            </p:cNvSpPr>
            <p:nvPr/>
          </p:nvSpPr>
          <p:spPr bwMode="auto">
            <a:xfrm>
              <a:off x="4295" y="5037"/>
              <a:ext cx="549" cy="34"/>
            </a:xfrm>
            <a:custGeom>
              <a:avLst/>
              <a:gdLst>
                <a:gd name="T0" fmla="*/ 238 w 246"/>
                <a:gd name="T1" fmla="*/ 0 h 16"/>
                <a:gd name="T2" fmla="*/ 8 w 246"/>
                <a:gd name="T3" fmla="*/ 0 h 16"/>
                <a:gd name="T4" fmla="*/ 0 w 246"/>
                <a:gd name="T5" fmla="*/ 8 h 16"/>
                <a:gd name="T6" fmla="*/ 8 w 246"/>
                <a:gd name="T7" fmla="*/ 16 h 16"/>
                <a:gd name="T8" fmla="*/ 238 w 246"/>
                <a:gd name="T9" fmla="*/ 16 h 16"/>
                <a:gd name="T10" fmla="*/ 246 w 246"/>
                <a:gd name="T11" fmla="*/ 8 h 16"/>
                <a:gd name="T12" fmla="*/ 238 w 246"/>
                <a:gd name="T13" fmla="*/ 0 h 16"/>
                <a:gd name="T14" fmla="*/ 238 w 246"/>
                <a:gd name="T15" fmla="*/ 0 h 16"/>
                <a:gd name="T16" fmla="*/ 238 w 24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16">
                  <a:moveTo>
                    <a:pt x="238" y="0"/>
                  </a:moveTo>
                  <a:cubicBezTo>
                    <a:pt x="8" y="0"/>
                    <a:pt x="8" y="0"/>
                    <a:pt x="8" y="0"/>
                  </a:cubicBezTo>
                  <a:cubicBezTo>
                    <a:pt x="4" y="0"/>
                    <a:pt x="0" y="4"/>
                    <a:pt x="0" y="8"/>
                  </a:cubicBezTo>
                  <a:cubicBezTo>
                    <a:pt x="0" y="12"/>
                    <a:pt x="4" y="16"/>
                    <a:pt x="8" y="16"/>
                  </a:cubicBezTo>
                  <a:cubicBezTo>
                    <a:pt x="238" y="16"/>
                    <a:pt x="238" y="16"/>
                    <a:pt x="238" y="16"/>
                  </a:cubicBezTo>
                  <a:cubicBezTo>
                    <a:pt x="243" y="16"/>
                    <a:pt x="246" y="12"/>
                    <a:pt x="246" y="8"/>
                  </a:cubicBezTo>
                  <a:cubicBezTo>
                    <a:pt x="246" y="4"/>
                    <a:pt x="243" y="0"/>
                    <a:pt x="238" y="0"/>
                  </a:cubicBezTo>
                  <a:close/>
                  <a:moveTo>
                    <a:pt x="238" y="0"/>
                  </a:moveTo>
                  <a:cubicBezTo>
                    <a:pt x="238" y="0"/>
                    <a:pt x="238" y="0"/>
                    <a:pt x="2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2">
              <a:extLst>
                <a:ext uri="{FF2B5EF4-FFF2-40B4-BE49-F238E27FC236}">
                  <a16:creationId xmlns:a16="http://schemas.microsoft.com/office/drawing/2014/main" id="{621DC3F7-3208-4F08-9AA4-322D9F9AE2E4}"/>
                </a:ext>
              </a:extLst>
            </p:cNvPr>
            <p:cNvSpPr>
              <a:spLocks noEditPoints="1"/>
            </p:cNvSpPr>
            <p:nvPr/>
          </p:nvSpPr>
          <p:spPr bwMode="auto">
            <a:xfrm>
              <a:off x="4880" y="4874"/>
              <a:ext cx="462" cy="693"/>
            </a:xfrm>
            <a:custGeom>
              <a:avLst/>
              <a:gdLst>
                <a:gd name="T0" fmla="*/ 190 w 207"/>
                <a:gd name="T1" fmla="*/ 0 h 320"/>
                <a:gd name="T2" fmla="*/ 18 w 207"/>
                <a:gd name="T3" fmla="*/ 0 h 320"/>
                <a:gd name="T4" fmla="*/ 0 w 207"/>
                <a:gd name="T5" fmla="*/ 18 h 320"/>
                <a:gd name="T6" fmla="*/ 0 w 207"/>
                <a:gd name="T7" fmla="*/ 302 h 320"/>
                <a:gd name="T8" fmla="*/ 18 w 207"/>
                <a:gd name="T9" fmla="*/ 320 h 320"/>
                <a:gd name="T10" fmla="*/ 190 w 207"/>
                <a:gd name="T11" fmla="*/ 320 h 320"/>
                <a:gd name="T12" fmla="*/ 207 w 207"/>
                <a:gd name="T13" fmla="*/ 302 h 320"/>
                <a:gd name="T14" fmla="*/ 207 w 207"/>
                <a:gd name="T15" fmla="*/ 18 h 320"/>
                <a:gd name="T16" fmla="*/ 190 w 207"/>
                <a:gd name="T17" fmla="*/ 0 h 320"/>
                <a:gd name="T18" fmla="*/ 16 w 207"/>
                <a:gd name="T19" fmla="*/ 48 h 320"/>
                <a:gd name="T20" fmla="*/ 191 w 207"/>
                <a:gd name="T21" fmla="*/ 48 h 320"/>
                <a:gd name="T22" fmla="*/ 191 w 207"/>
                <a:gd name="T23" fmla="*/ 240 h 320"/>
                <a:gd name="T24" fmla="*/ 16 w 207"/>
                <a:gd name="T25" fmla="*/ 240 h 320"/>
                <a:gd name="T26" fmla="*/ 16 w 207"/>
                <a:gd name="T27" fmla="*/ 48 h 320"/>
                <a:gd name="T28" fmla="*/ 18 w 207"/>
                <a:gd name="T29" fmla="*/ 16 h 320"/>
                <a:gd name="T30" fmla="*/ 190 w 207"/>
                <a:gd name="T31" fmla="*/ 16 h 320"/>
                <a:gd name="T32" fmla="*/ 191 w 207"/>
                <a:gd name="T33" fmla="*/ 18 h 320"/>
                <a:gd name="T34" fmla="*/ 191 w 207"/>
                <a:gd name="T35" fmla="*/ 32 h 320"/>
                <a:gd name="T36" fmla="*/ 16 w 207"/>
                <a:gd name="T37" fmla="*/ 32 h 320"/>
                <a:gd name="T38" fmla="*/ 16 w 207"/>
                <a:gd name="T39" fmla="*/ 18 h 320"/>
                <a:gd name="T40" fmla="*/ 18 w 207"/>
                <a:gd name="T41" fmla="*/ 16 h 320"/>
                <a:gd name="T42" fmla="*/ 190 w 207"/>
                <a:gd name="T43" fmla="*/ 304 h 320"/>
                <a:gd name="T44" fmla="*/ 18 w 207"/>
                <a:gd name="T45" fmla="*/ 304 h 320"/>
                <a:gd name="T46" fmla="*/ 16 w 207"/>
                <a:gd name="T47" fmla="*/ 302 h 320"/>
                <a:gd name="T48" fmla="*/ 16 w 207"/>
                <a:gd name="T49" fmla="*/ 256 h 320"/>
                <a:gd name="T50" fmla="*/ 191 w 207"/>
                <a:gd name="T51" fmla="*/ 256 h 320"/>
                <a:gd name="T52" fmla="*/ 191 w 207"/>
                <a:gd name="T53" fmla="*/ 302 h 320"/>
                <a:gd name="T54" fmla="*/ 190 w 207"/>
                <a:gd name="T55" fmla="*/ 304 h 320"/>
                <a:gd name="T56" fmla="*/ 190 w 207"/>
                <a:gd name="T57" fmla="*/ 304 h 320"/>
                <a:gd name="T58" fmla="*/ 190 w 207"/>
                <a:gd name="T59"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7" h="320">
                  <a:moveTo>
                    <a:pt x="190" y="0"/>
                  </a:moveTo>
                  <a:cubicBezTo>
                    <a:pt x="18" y="0"/>
                    <a:pt x="18" y="0"/>
                    <a:pt x="18" y="0"/>
                  </a:cubicBezTo>
                  <a:cubicBezTo>
                    <a:pt x="8" y="0"/>
                    <a:pt x="0" y="8"/>
                    <a:pt x="0" y="18"/>
                  </a:cubicBezTo>
                  <a:cubicBezTo>
                    <a:pt x="0" y="302"/>
                    <a:pt x="0" y="302"/>
                    <a:pt x="0" y="302"/>
                  </a:cubicBezTo>
                  <a:cubicBezTo>
                    <a:pt x="0" y="312"/>
                    <a:pt x="8" y="320"/>
                    <a:pt x="18" y="320"/>
                  </a:cubicBezTo>
                  <a:cubicBezTo>
                    <a:pt x="190" y="320"/>
                    <a:pt x="190" y="320"/>
                    <a:pt x="190" y="320"/>
                  </a:cubicBezTo>
                  <a:cubicBezTo>
                    <a:pt x="200" y="320"/>
                    <a:pt x="207" y="312"/>
                    <a:pt x="207" y="302"/>
                  </a:cubicBezTo>
                  <a:cubicBezTo>
                    <a:pt x="207" y="18"/>
                    <a:pt x="207" y="18"/>
                    <a:pt x="207" y="18"/>
                  </a:cubicBezTo>
                  <a:cubicBezTo>
                    <a:pt x="207" y="8"/>
                    <a:pt x="200" y="0"/>
                    <a:pt x="190" y="0"/>
                  </a:cubicBezTo>
                  <a:close/>
                  <a:moveTo>
                    <a:pt x="16" y="48"/>
                  </a:moveTo>
                  <a:cubicBezTo>
                    <a:pt x="191" y="48"/>
                    <a:pt x="191" y="48"/>
                    <a:pt x="191" y="48"/>
                  </a:cubicBezTo>
                  <a:cubicBezTo>
                    <a:pt x="191" y="240"/>
                    <a:pt x="191" y="240"/>
                    <a:pt x="191" y="240"/>
                  </a:cubicBezTo>
                  <a:cubicBezTo>
                    <a:pt x="16" y="240"/>
                    <a:pt x="16" y="240"/>
                    <a:pt x="16" y="240"/>
                  </a:cubicBezTo>
                  <a:lnTo>
                    <a:pt x="16" y="48"/>
                  </a:lnTo>
                  <a:close/>
                  <a:moveTo>
                    <a:pt x="18" y="16"/>
                  </a:moveTo>
                  <a:cubicBezTo>
                    <a:pt x="190" y="16"/>
                    <a:pt x="190" y="16"/>
                    <a:pt x="190" y="16"/>
                  </a:cubicBezTo>
                  <a:cubicBezTo>
                    <a:pt x="191" y="16"/>
                    <a:pt x="191" y="17"/>
                    <a:pt x="191" y="18"/>
                  </a:cubicBezTo>
                  <a:cubicBezTo>
                    <a:pt x="191" y="32"/>
                    <a:pt x="191" y="32"/>
                    <a:pt x="191" y="32"/>
                  </a:cubicBezTo>
                  <a:cubicBezTo>
                    <a:pt x="16" y="32"/>
                    <a:pt x="16" y="32"/>
                    <a:pt x="16" y="32"/>
                  </a:cubicBezTo>
                  <a:cubicBezTo>
                    <a:pt x="16" y="18"/>
                    <a:pt x="16" y="18"/>
                    <a:pt x="16" y="18"/>
                  </a:cubicBezTo>
                  <a:cubicBezTo>
                    <a:pt x="16" y="17"/>
                    <a:pt x="17" y="16"/>
                    <a:pt x="18" y="16"/>
                  </a:cubicBezTo>
                  <a:close/>
                  <a:moveTo>
                    <a:pt x="190" y="304"/>
                  </a:moveTo>
                  <a:cubicBezTo>
                    <a:pt x="18" y="304"/>
                    <a:pt x="18" y="304"/>
                    <a:pt x="18" y="304"/>
                  </a:cubicBezTo>
                  <a:cubicBezTo>
                    <a:pt x="17" y="304"/>
                    <a:pt x="16" y="303"/>
                    <a:pt x="16" y="302"/>
                  </a:cubicBezTo>
                  <a:cubicBezTo>
                    <a:pt x="16" y="256"/>
                    <a:pt x="16" y="256"/>
                    <a:pt x="16" y="256"/>
                  </a:cubicBezTo>
                  <a:cubicBezTo>
                    <a:pt x="191" y="256"/>
                    <a:pt x="191" y="256"/>
                    <a:pt x="191" y="256"/>
                  </a:cubicBezTo>
                  <a:cubicBezTo>
                    <a:pt x="191" y="302"/>
                    <a:pt x="191" y="302"/>
                    <a:pt x="191" y="302"/>
                  </a:cubicBezTo>
                  <a:cubicBezTo>
                    <a:pt x="191" y="303"/>
                    <a:pt x="191" y="304"/>
                    <a:pt x="190" y="304"/>
                  </a:cubicBezTo>
                  <a:close/>
                  <a:moveTo>
                    <a:pt x="190" y="304"/>
                  </a:moveTo>
                  <a:cubicBezTo>
                    <a:pt x="190" y="304"/>
                    <a:pt x="190" y="304"/>
                    <a:pt x="190" y="30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3">
              <a:extLst>
                <a:ext uri="{FF2B5EF4-FFF2-40B4-BE49-F238E27FC236}">
                  <a16:creationId xmlns:a16="http://schemas.microsoft.com/office/drawing/2014/main" id="{25497BAF-DD5C-4FD8-832B-F1F71D46C509}"/>
                </a:ext>
              </a:extLst>
            </p:cNvPr>
            <p:cNvSpPr>
              <a:spLocks noEditPoints="1"/>
            </p:cNvSpPr>
            <p:nvPr/>
          </p:nvSpPr>
          <p:spPr bwMode="auto">
            <a:xfrm>
              <a:off x="5059" y="5463"/>
              <a:ext cx="107" cy="35"/>
            </a:xfrm>
            <a:custGeom>
              <a:avLst/>
              <a:gdLst>
                <a:gd name="T0" fmla="*/ 40 w 48"/>
                <a:gd name="T1" fmla="*/ 0 h 16"/>
                <a:gd name="T2" fmla="*/ 8 w 48"/>
                <a:gd name="T3" fmla="*/ 0 h 16"/>
                <a:gd name="T4" fmla="*/ 0 w 48"/>
                <a:gd name="T5" fmla="*/ 8 h 16"/>
                <a:gd name="T6" fmla="*/ 8 w 48"/>
                <a:gd name="T7" fmla="*/ 16 h 16"/>
                <a:gd name="T8" fmla="*/ 40 w 48"/>
                <a:gd name="T9" fmla="*/ 16 h 16"/>
                <a:gd name="T10" fmla="*/ 48 w 48"/>
                <a:gd name="T11" fmla="*/ 8 h 16"/>
                <a:gd name="T12" fmla="*/ 40 w 48"/>
                <a:gd name="T13" fmla="*/ 0 h 16"/>
                <a:gd name="T14" fmla="*/ 40 w 48"/>
                <a:gd name="T15" fmla="*/ 0 h 16"/>
                <a:gd name="T16" fmla="*/ 40 w 4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6">
                  <a:moveTo>
                    <a:pt x="40" y="0"/>
                  </a:moveTo>
                  <a:cubicBezTo>
                    <a:pt x="8" y="0"/>
                    <a:pt x="8" y="0"/>
                    <a:pt x="8" y="0"/>
                  </a:cubicBezTo>
                  <a:cubicBezTo>
                    <a:pt x="3" y="0"/>
                    <a:pt x="0" y="3"/>
                    <a:pt x="0" y="8"/>
                  </a:cubicBezTo>
                  <a:cubicBezTo>
                    <a:pt x="0" y="12"/>
                    <a:pt x="3" y="16"/>
                    <a:pt x="8" y="16"/>
                  </a:cubicBezTo>
                  <a:cubicBezTo>
                    <a:pt x="40" y="16"/>
                    <a:pt x="40" y="16"/>
                    <a:pt x="40" y="16"/>
                  </a:cubicBezTo>
                  <a:cubicBezTo>
                    <a:pt x="44" y="16"/>
                    <a:pt x="48" y="12"/>
                    <a:pt x="48" y="8"/>
                  </a:cubicBezTo>
                  <a:cubicBezTo>
                    <a:pt x="48" y="3"/>
                    <a:pt x="44" y="0"/>
                    <a:pt x="40" y="0"/>
                  </a:cubicBezTo>
                  <a:close/>
                  <a:moveTo>
                    <a:pt x="40" y="0"/>
                  </a:moveTo>
                  <a:cubicBezTo>
                    <a:pt x="40" y="0"/>
                    <a:pt x="40"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 name="Group 16">
            <a:extLst>
              <a:ext uri="{FF2B5EF4-FFF2-40B4-BE49-F238E27FC236}">
                <a16:creationId xmlns:a16="http://schemas.microsoft.com/office/drawing/2014/main" id="{3A2A6A25-4073-4DF0-A4FE-880ED86FCF88}"/>
              </a:ext>
            </a:extLst>
          </p:cNvPr>
          <p:cNvGrpSpPr>
            <a:grpSpLocks noChangeAspect="1"/>
          </p:cNvGrpSpPr>
          <p:nvPr/>
        </p:nvGrpSpPr>
        <p:grpSpPr bwMode="auto">
          <a:xfrm>
            <a:off x="5840019" y="3803202"/>
            <a:ext cx="577639" cy="559950"/>
            <a:chOff x="3736" y="4411"/>
            <a:chExt cx="1143" cy="1108"/>
          </a:xfrm>
          <a:solidFill>
            <a:srgbClr val="00A3E0"/>
          </a:solidFill>
        </p:grpSpPr>
        <p:sp>
          <p:nvSpPr>
            <p:cNvPr id="34" name="Freeform 17">
              <a:extLst>
                <a:ext uri="{FF2B5EF4-FFF2-40B4-BE49-F238E27FC236}">
                  <a16:creationId xmlns:a16="http://schemas.microsoft.com/office/drawing/2014/main" id="{D908A833-A126-4135-9E07-FDF0A6ACDF1E}"/>
                </a:ext>
              </a:extLst>
            </p:cNvPr>
            <p:cNvSpPr>
              <a:spLocks noEditPoints="1"/>
            </p:cNvSpPr>
            <p:nvPr/>
          </p:nvSpPr>
          <p:spPr bwMode="auto">
            <a:xfrm>
              <a:off x="3736" y="4558"/>
              <a:ext cx="741" cy="961"/>
            </a:xfrm>
            <a:custGeom>
              <a:avLst/>
              <a:gdLst>
                <a:gd name="T0" fmla="*/ 290 w 332"/>
                <a:gd name="T1" fmla="*/ 341 h 444"/>
                <a:gd name="T2" fmla="*/ 256 w 332"/>
                <a:gd name="T3" fmla="*/ 307 h 444"/>
                <a:gd name="T4" fmla="*/ 256 w 332"/>
                <a:gd name="T5" fmla="*/ 265 h 444"/>
                <a:gd name="T6" fmla="*/ 273 w 332"/>
                <a:gd name="T7" fmla="*/ 204 h 444"/>
                <a:gd name="T8" fmla="*/ 273 w 332"/>
                <a:gd name="T9" fmla="*/ 128 h 444"/>
                <a:gd name="T10" fmla="*/ 136 w 332"/>
                <a:gd name="T11" fmla="*/ 0 h 444"/>
                <a:gd name="T12" fmla="*/ 0 w 332"/>
                <a:gd name="T13" fmla="*/ 128 h 444"/>
                <a:gd name="T14" fmla="*/ 0 w 332"/>
                <a:gd name="T15" fmla="*/ 204 h 444"/>
                <a:gd name="T16" fmla="*/ 69 w 332"/>
                <a:gd name="T17" fmla="*/ 315 h 444"/>
                <a:gd name="T18" fmla="*/ 77 w 332"/>
                <a:gd name="T19" fmla="*/ 300 h 444"/>
                <a:gd name="T20" fmla="*/ 17 w 332"/>
                <a:gd name="T21" fmla="*/ 204 h 444"/>
                <a:gd name="T22" fmla="*/ 17 w 332"/>
                <a:gd name="T23" fmla="*/ 128 h 444"/>
                <a:gd name="T24" fmla="*/ 136 w 332"/>
                <a:gd name="T25" fmla="*/ 17 h 444"/>
                <a:gd name="T26" fmla="*/ 256 w 332"/>
                <a:gd name="T27" fmla="*/ 128 h 444"/>
                <a:gd name="T28" fmla="*/ 256 w 332"/>
                <a:gd name="T29" fmla="*/ 204 h 444"/>
                <a:gd name="T30" fmla="*/ 196 w 332"/>
                <a:gd name="T31" fmla="*/ 300 h 444"/>
                <a:gd name="T32" fmla="*/ 155 w 332"/>
                <a:gd name="T33" fmla="*/ 322 h 444"/>
                <a:gd name="T34" fmla="*/ 118 w 332"/>
                <a:gd name="T35" fmla="*/ 322 h 444"/>
                <a:gd name="T36" fmla="*/ 109 w 332"/>
                <a:gd name="T37" fmla="*/ 337 h 444"/>
                <a:gd name="T38" fmla="*/ 163 w 332"/>
                <a:gd name="T39" fmla="*/ 337 h 444"/>
                <a:gd name="T40" fmla="*/ 170 w 332"/>
                <a:gd name="T41" fmla="*/ 333 h 444"/>
                <a:gd name="T42" fmla="*/ 170 w 332"/>
                <a:gd name="T43" fmla="*/ 375 h 444"/>
                <a:gd name="T44" fmla="*/ 178 w 332"/>
                <a:gd name="T45" fmla="*/ 384 h 444"/>
                <a:gd name="T46" fmla="*/ 240 w 332"/>
                <a:gd name="T47" fmla="*/ 390 h 444"/>
                <a:gd name="T48" fmla="*/ 256 w 332"/>
                <a:gd name="T49" fmla="*/ 407 h 444"/>
                <a:gd name="T50" fmla="*/ 256 w 332"/>
                <a:gd name="T51" fmla="*/ 444 h 444"/>
                <a:gd name="T52" fmla="*/ 273 w 332"/>
                <a:gd name="T53" fmla="*/ 444 h 444"/>
                <a:gd name="T54" fmla="*/ 273 w 332"/>
                <a:gd name="T55" fmla="*/ 407 h 444"/>
                <a:gd name="T56" fmla="*/ 242 w 332"/>
                <a:gd name="T57" fmla="*/ 373 h 444"/>
                <a:gd name="T58" fmla="*/ 187 w 332"/>
                <a:gd name="T59" fmla="*/ 368 h 444"/>
                <a:gd name="T60" fmla="*/ 187 w 332"/>
                <a:gd name="T61" fmla="*/ 324 h 444"/>
                <a:gd name="T62" fmla="*/ 204 w 332"/>
                <a:gd name="T63" fmla="*/ 315 h 444"/>
                <a:gd name="T64" fmla="*/ 239 w 332"/>
                <a:gd name="T65" fmla="*/ 288 h 444"/>
                <a:gd name="T66" fmla="*/ 239 w 332"/>
                <a:gd name="T67" fmla="*/ 307 h 444"/>
                <a:gd name="T68" fmla="*/ 290 w 332"/>
                <a:gd name="T69" fmla="*/ 358 h 444"/>
                <a:gd name="T70" fmla="*/ 332 w 332"/>
                <a:gd name="T71" fmla="*/ 358 h 444"/>
                <a:gd name="T72" fmla="*/ 332 w 332"/>
                <a:gd name="T73" fmla="*/ 341 h 444"/>
                <a:gd name="T74" fmla="*/ 290 w 332"/>
                <a:gd name="T75" fmla="*/ 341 h 444"/>
                <a:gd name="T76" fmla="*/ 290 w 332"/>
                <a:gd name="T77" fmla="*/ 341 h 444"/>
                <a:gd name="T78" fmla="*/ 290 w 332"/>
                <a:gd name="T79" fmla="*/ 34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2" h="444">
                  <a:moveTo>
                    <a:pt x="290" y="341"/>
                  </a:moveTo>
                  <a:cubicBezTo>
                    <a:pt x="271" y="341"/>
                    <a:pt x="256" y="326"/>
                    <a:pt x="256" y="307"/>
                  </a:cubicBezTo>
                  <a:cubicBezTo>
                    <a:pt x="256" y="265"/>
                    <a:pt x="256" y="265"/>
                    <a:pt x="256" y="265"/>
                  </a:cubicBezTo>
                  <a:cubicBezTo>
                    <a:pt x="267" y="247"/>
                    <a:pt x="273" y="225"/>
                    <a:pt x="273" y="204"/>
                  </a:cubicBezTo>
                  <a:cubicBezTo>
                    <a:pt x="273" y="128"/>
                    <a:pt x="273" y="128"/>
                    <a:pt x="273" y="128"/>
                  </a:cubicBezTo>
                  <a:cubicBezTo>
                    <a:pt x="273" y="57"/>
                    <a:pt x="211" y="0"/>
                    <a:pt x="136" y="0"/>
                  </a:cubicBezTo>
                  <a:cubicBezTo>
                    <a:pt x="61" y="0"/>
                    <a:pt x="0" y="57"/>
                    <a:pt x="0" y="128"/>
                  </a:cubicBezTo>
                  <a:cubicBezTo>
                    <a:pt x="0" y="204"/>
                    <a:pt x="0" y="204"/>
                    <a:pt x="0" y="204"/>
                  </a:cubicBezTo>
                  <a:cubicBezTo>
                    <a:pt x="0" y="251"/>
                    <a:pt x="27" y="293"/>
                    <a:pt x="69" y="315"/>
                  </a:cubicBezTo>
                  <a:cubicBezTo>
                    <a:pt x="77" y="300"/>
                    <a:pt x="77" y="300"/>
                    <a:pt x="77" y="300"/>
                  </a:cubicBezTo>
                  <a:cubicBezTo>
                    <a:pt x="40" y="281"/>
                    <a:pt x="17" y="244"/>
                    <a:pt x="17" y="204"/>
                  </a:cubicBezTo>
                  <a:cubicBezTo>
                    <a:pt x="17" y="128"/>
                    <a:pt x="17" y="128"/>
                    <a:pt x="17" y="128"/>
                  </a:cubicBezTo>
                  <a:cubicBezTo>
                    <a:pt x="17" y="67"/>
                    <a:pt x="70" y="17"/>
                    <a:pt x="136" y="17"/>
                  </a:cubicBezTo>
                  <a:cubicBezTo>
                    <a:pt x="202" y="17"/>
                    <a:pt x="256" y="67"/>
                    <a:pt x="256" y="128"/>
                  </a:cubicBezTo>
                  <a:cubicBezTo>
                    <a:pt x="256" y="204"/>
                    <a:pt x="256" y="204"/>
                    <a:pt x="256" y="204"/>
                  </a:cubicBezTo>
                  <a:cubicBezTo>
                    <a:pt x="255" y="244"/>
                    <a:pt x="232" y="281"/>
                    <a:pt x="196" y="300"/>
                  </a:cubicBezTo>
                  <a:cubicBezTo>
                    <a:pt x="155" y="322"/>
                    <a:pt x="155" y="322"/>
                    <a:pt x="155" y="322"/>
                  </a:cubicBezTo>
                  <a:cubicBezTo>
                    <a:pt x="143" y="328"/>
                    <a:pt x="129" y="328"/>
                    <a:pt x="118" y="322"/>
                  </a:cubicBezTo>
                  <a:cubicBezTo>
                    <a:pt x="109" y="337"/>
                    <a:pt x="109" y="337"/>
                    <a:pt x="109" y="337"/>
                  </a:cubicBezTo>
                  <a:cubicBezTo>
                    <a:pt x="126" y="345"/>
                    <a:pt x="146" y="345"/>
                    <a:pt x="163" y="337"/>
                  </a:cubicBezTo>
                  <a:cubicBezTo>
                    <a:pt x="170" y="333"/>
                    <a:pt x="170" y="333"/>
                    <a:pt x="170" y="333"/>
                  </a:cubicBezTo>
                  <a:cubicBezTo>
                    <a:pt x="170" y="375"/>
                    <a:pt x="170" y="375"/>
                    <a:pt x="170" y="375"/>
                  </a:cubicBezTo>
                  <a:cubicBezTo>
                    <a:pt x="170" y="380"/>
                    <a:pt x="174" y="383"/>
                    <a:pt x="178" y="384"/>
                  </a:cubicBezTo>
                  <a:cubicBezTo>
                    <a:pt x="240" y="390"/>
                    <a:pt x="240" y="390"/>
                    <a:pt x="240" y="390"/>
                  </a:cubicBezTo>
                  <a:cubicBezTo>
                    <a:pt x="249" y="391"/>
                    <a:pt x="256" y="398"/>
                    <a:pt x="256" y="407"/>
                  </a:cubicBezTo>
                  <a:cubicBezTo>
                    <a:pt x="256" y="444"/>
                    <a:pt x="256" y="444"/>
                    <a:pt x="256" y="444"/>
                  </a:cubicBezTo>
                  <a:cubicBezTo>
                    <a:pt x="273" y="444"/>
                    <a:pt x="273" y="444"/>
                    <a:pt x="273" y="444"/>
                  </a:cubicBezTo>
                  <a:cubicBezTo>
                    <a:pt x="273" y="407"/>
                    <a:pt x="273" y="407"/>
                    <a:pt x="273" y="407"/>
                  </a:cubicBezTo>
                  <a:cubicBezTo>
                    <a:pt x="273" y="390"/>
                    <a:pt x="259" y="375"/>
                    <a:pt x="242" y="373"/>
                  </a:cubicBezTo>
                  <a:cubicBezTo>
                    <a:pt x="187" y="368"/>
                    <a:pt x="187" y="368"/>
                    <a:pt x="187" y="368"/>
                  </a:cubicBezTo>
                  <a:cubicBezTo>
                    <a:pt x="187" y="324"/>
                    <a:pt x="187" y="324"/>
                    <a:pt x="187" y="324"/>
                  </a:cubicBezTo>
                  <a:cubicBezTo>
                    <a:pt x="204" y="315"/>
                    <a:pt x="204" y="315"/>
                    <a:pt x="204" y="315"/>
                  </a:cubicBezTo>
                  <a:cubicBezTo>
                    <a:pt x="217" y="308"/>
                    <a:pt x="229" y="299"/>
                    <a:pt x="239" y="288"/>
                  </a:cubicBezTo>
                  <a:cubicBezTo>
                    <a:pt x="239" y="307"/>
                    <a:pt x="239" y="307"/>
                    <a:pt x="239" y="307"/>
                  </a:cubicBezTo>
                  <a:cubicBezTo>
                    <a:pt x="239" y="335"/>
                    <a:pt x="262" y="358"/>
                    <a:pt x="290" y="358"/>
                  </a:cubicBezTo>
                  <a:cubicBezTo>
                    <a:pt x="332" y="358"/>
                    <a:pt x="332" y="358"/>
                    <a:pt x="332" y="358"/>
                  </a:cubicBezTo>
                  <a:cubicBezTo>
                    <a:pt x="332" y="341"/>
                    <a:pt x="332" y="341"/>
                    <a:pt x="332" y="341"/>
                  </a:cubicBezTo>
                  <a:lnTo>
                    <a:pt x="290" y="341"/>
                  </a:lnTo>
                  <a:close/>
                  <a:moveTo>
                    <a:pt x="290" y="341"/>
                  </a:moveTo>
                  <a:cubicBezTo>
                    <a:pt x="290" y="341"/>
                    <a:pt x="290" y="341"/>
                    <a:pt x="290" y="3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8">
              <a:extLst>
                <a:ext uri="{FF2B5EF4-FFF2-40B4-BE49-F238E27FC236}">
                  <a16:creationId xmlns:a16="http://schemas.microsoft.com/office/drawing/2014/main" id="{26F215D8-9AB4-42E1-98DF-DC8F3D13D851}"/>
                </a:ext>
              </a:extLst>
            </p:cNvPr>
            <p:cNvSpPr>
              <a:spLocks noEditPoints="1"/>
            </p:cNvSpPr>
            <p:nvPr/>
          </p:nvSpPr>
          <p:spPr bwMode="auto">
            <a:xfrm>
              <a:off x="3736" y="5244"/>
              <a:ext cx="228" cy="275"/>
            </a:xfrm>
            <a:custGeom>
              <a:avLst/>
              <a:gdLst>
                <a:gd name="T0" fmla="*/ 85 w 102"/>
                <a:gd name="T1" fmla="*/ 0 h 127"/>
                <a:gd name="T2" fmla="*/ 85 w 102"/>
                <a:gd name="T3" fmla="*/ 51 h 127"/>
                <a:gd name="T4" fmla="*/ 30 w 102"/>
                <a:gd name="T5" fmla="*/ 56 h 127"/>
                <a:gd name="T6" fmla="*/ 0 w 102"/>
                <a:gd name="T7" fmla="*/ 90 h 127"/>
                <a:gd name="T8" fmla="*/ 0 w 102"/>
                <a:gd name="T9" fmla="*/ 127 h 127"/>
                <a:gd name="T10" fmla="*/ 17 w 102"/>
                <a:gd name="T11" fmla="*/ 127 h 127"/>
                <a:gd name="T12" fmla="*/ 17 w 102"/>
                <a:gd name="T13" fmla="*/ 90 h 127"/>
                <a:gd name="T14" fmla="*/ 32 w 102"/>
                <a:gd name="T15" fmla="*/ 73 h 127"/>
                <a:gd name="T16" fmla="*/ 94 w 102"/>
                <a:gd name="T17" fmla="*/ 67 h 127"/>
                <a:gd name="T18" fmla="*/ 102 w 102"/>
                <a:gd name="T19" fmla="*/ 58 h 127"/>
                <a:gd name="T20" fmla="*/ 102 w 102"/>
                <a:gd name="T21" fmla="*/ 0 h 127"/>
                <a:gd name="T22" fmla="*/ 85 w 102"/>
                <a:gd name="T23" fmla="*/ 0 h 127"/>
                <a:gd name="T24" fmla="*/ 85 w 102"/>
                <a:gd name="T25" fmla="*/ 0 h 127"/>
                <a:gd name="T26" fmla="*/ 85 w 102"/>
                <a:gd name="T2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127">
                  <a:moveTo>
                    <a:pt x="85" y="0"/>
                  </a:moveTo>
                  <a:cubicBezTo>
                    <a:pt x="85" y="51"/>
                    <a:pt x="85" y="51"/>
                    <a:pt x="85" y="51"/>
                  </a:cubicBezTo>
                  <a:cubicBezTo>
                    <a:pt x="30" y="56"/>
                    <a:pt x="30" y="56"/>
                    <a:pt x="30" y="56"/>
                  </a:cubicBezTo>
                  <a:cubicBezTo>
                    <a:pt x="13" y="58"/>
                    <a:pt x="0" y="73"/>
                    <a:pt x="0" y="90"/>
                  </a:cubicBezTo>
                  <a:cubicBezTo>
                    <a:pt x="0" y="127"/>
                    <a:pt x="0" y="127"/>
                    <a:pt x="0" y="127"/>
                  </a:cubicBezTo>
                  <a:cubicBezTo>
                    <a:pt x="17" y="127"/>
                    <a:pt x="17" y="127"/>
                    <a:pt x="17" y="127"/>
                  </a:cubicBezTo>
                  <a:cubicBezTo>
                    <a:pt x="17" y="90"/>
                    <a:pt x="17" y="90"/>
                    <a:pt x="17" y="90"/>
                  </a:cubicBezTo>
                  <a:cubicBezTo>
                    <a:pt x="17" y="81"/>
                    <a:pt x="23" y="74"/>
                    <a:pt x="32" y="73"/>
                  </a:cubicBezTo>
                  <a:cubicBezTo>
                    <a:pt x="94" y="67"/>
                    <a:pt x="94" y="67"/>
                    <a:pt x="94" y="67"/>
                  </a:cubicBezTo>
                  <a:cubicBezTo>
                    <a:pt x="99" y="66"/>
                    <a:pt x="102" y="63"/>
                    <a:pt x="102" y="58"/>
                  </a:cubicBezTo>
                  <a:cubicBezTo>
                    <a:pt x="102" y="0"/>
                    <a:pt x="102" y="0"/>
                    <a:pt x="102" y="0"/>
                  </a:cubicBezTo>
                  <a:lnTo>
                    <a:pt x="85" y="0"/>
                  </a:lnTo>
                  <a:close/>
                  <a:moveTo>
                    <a:pt x="85" y="0"/>
                  </a:moveTo>
                  <a:cubicBezTo>
                    <a:pt x="85" y="0"/>
                    <a:pt x="85" y="0"/>
                    <a:pt x="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9">
              <a:extLst>
                <a:ext uri="{FF2B5EF4-FFF2-40B4-BE49-F238E27FC236}">
                  <a16:creationId xmlns:a16="http://schemas.microsoft.com/office/drawing/2014/main" id="{564207AA-79ED-4395-A53D-85E86834F042}"/>
                </a:ext>
              </a:extLst>
            </p:cNvPr>
            <p:cNvSpPr>
              <a:spLocks noEditPoints="1"/>
            </p:cNvSpPr>
            <p:nvPr/>
          </p:nvSpPr>
          <p:spPr bwMode="auto">
            <a:xfrm>
              <a:off x="3812" y="4669"/>
              <a:ext cx="458" cy="443"/>
            </a:xfrm>
            <a:custGeom>
              <a:avLst/>
              <a:gdLst>
                <a:gd name="T0" fmla="*/ 173 w 205"/>
                <a:gd name="T1" fmla="*/ 73 h 205"/>
                <a:gd name="T2" fmla="*/ 186 w 205"/>
                <a:gd name="T3" fmla="*/ 42 h 205"/>
                <a:gd name="T4" fmla="*/ 152 w 205"/>
                <a:gd name="T5" fmla="*/ 17 h 205"/>
                <a:gd name="T6" fmla="*/ 126 w 205"/>
                <a:gd name="T7" fmla="*/ 7 h 205"/>
                <a:gd name="T8" fmla="*/ 87 w 205"/>
                <a:gd name="T9" fmla="*/ 0 h 205"/>
                <a:gd name="T10" fmla="*/ 73 w 205"/>
                <a:gd name="T11" fmla="*/ 32 h 205"/>
                <a:gd name="T12" fmla="*/ 41 w 205"/>
                <a:gd name="T13" fmla="*/ 18 h 205"/>
                <a:gd name="T14" fmla="*/ 17 w 205"/>
                <a:gd name="T15" fmla="*/ 53 h 205"/>
                <a:gd name="T16" fmla="*/ 7 w 205"/>
                <a:gd name="T17" fmla="*/ 79 h 205"/>
                <a:gd name="T18" fmla="*/ 0 w 205"/>
                <a:gd name="T19" fmla="*/ 118 h 205"/>
                <a:gd name="T20" fmla="*/ 31 w 205"/>
                <a:gd name="T21" fmla="*/ 132 h 205"/>
                <a:gd name="T22" fmla="*/ 18 w 205"/>
                <a:gd name="T23" fmla="*/ 163 h 205"/>
                <a:gd name="T24" fmla="*/ 52 w 205"/>
                <a:gd name="T25" fmla="*/ 188 h 205"/>
                <a:gd name="T26" fmla="*/ 78 w 205"/>
                <a:gd name="T27" fmla="*/ 198 h 205"/>
                <a:gd name="T28" fmla="*/ 118 w 205"/>
                <a:gd name="T29" fmla="*/ 205 h 205"/>
                <a:gd name="T30" fmla="*/ 131 w 205"/>
                <a:gd name="T31" fmla="*/ 173 h 205"/>
                <a:gd name="T32" fmla="*/ 163 w 205"/>
                <a:gd name="T33" fmla="*/ 187 h 205"/>
                <a:gd name="T34" fmla="*/ 187 w 205"/>
                <a:gd name="T35" fmla="*/ 152 h 205"/>
                <a:gd name="T36" fmla="*/ 198 w 205"/>
                <a:gd name="T37" fmla="*/ 127 h 205"/>
                <a:gd name="T38" fmla="*/ 205 w 205"/>
                <a:gd name="T39" fmla="*/ 87 h 205"/>
                <a:gd name="T40" fmla="*/ 188 w 205"/>
                <a:gd name="T41" fmla="*/ 111 h 205"/>
                <a:gd name="T42" fmla="*/ 156 w 205"/>
                <a:gd name="T43" fmla="*/ 135 h 205"/>
                <a:gd name="T44" fmla="*/ 169 w 205"/>
                <a:gd name="T45" fmla="*/ 156 h 205"/>
                <a:gd name="T46" fmla="*/ 140 w 205"/>
                <a:gd name="T47" fmla="*/ 159 h 205"/>
                <a:gd name="T48" fmla="*/ 115 w 205"/>
                <a:gd name="T49" fmla="*/ 169 h 205"/>
                <a:gd name="T50" fmla="*/ 93 w 205"/>
                <a:gd name="T51" fmla="*/ 188 h 205"/>
                <a:gd name="T52" fmla="*/ 70 w 205"/>
                <a:gd name="T53" fmla="*/ 156 h 205"/>
                <a:gd name="T54" fmla="*/ 48 w 205"/>
                <a:gd name="T55" fmla="*/ 170 h 205"/>
                <a:gd name="T56" fmla="*/ 46 w 205"/>
                <a:gd name="T57" fmla="*/ 141 h 205"/>
                <a:gd name="T58" fmla="*/ 36 w 205"/>
                <a:gd name="T59" fmla="*/ 115 h 205"/>
                <a:gd name="T60" fmla="*/ 17 w 205"/>
                <a:gd name="T61" fmla="*/ 94 h 205"/>
                <a:gd name="T62" fmla="*/ 48 w 205"/>
                <a:gd name="T63" fmla="*/ 70 h 205"/>
                <a:gd name="T64" fmla="*/ 35 w 205"/>
                <a:gd name="T65" fmla="*/ 49 h 205"/>
                <a:gd name="T66" fmla="*/ 64 w 205"/>
                <a:gd name="T67" fmla="*/ 46 h 205"/>
                <a:gd name="T68" fmla="*/ 89 w 205"/>
                <a:gd name="T69" fmla="*/ 36 h 205"/>
                <a:gd name="T70" fmla="*/ 111 w 205"/>
                <a:gd name="T71" fmla="*/ 17 h 205"/>
                <a:gd name="T72" fmla="*/ 134 w 205"/>
                <a:gd name="T73" fmla="*/ 49 h 205"/>
                <a:gd name="T74" fmla="*/ 156 w 205"/>
                <a:gd name="T75" fmla="*/ 35 h 205"/>
                <a:gd name="T76" fmla="*/ 159 w 205"/>
                <a:gd name="T77" fmla="*/ 65 h 205"/>
                <a:gd name="T78" fmla="*/ 169 w 205"/>
                <a:gd name="T79" fmla="*/ 90 h 205"/>
                <a:gd name="T80" fmla="*/ 188 w 205"/>
                <a:gd name="T81" fmla="*/ 111 h 205"/>
                <a:gd name="T82" fmla="*/ 188 w 205"/>
                <a:gd name="T83" fmla="*/ 11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5" h="205">
                  <a:moveTo>
                    <a:pt x="198" y="79"/>
                  </a:moveTo>
                  <a:cubicBezTo>
                    <a:pt x="173" y="73"/>
                    <a:pt x="173" y="73"/>
                    <a:pt x="173" y="73"/>
                  </a:cubicBezTo>
                  <a:cubicBezTo>
                    <a:pt x="187" y="53"/>
                    <a:pt x="187" y="53"/>
                    <a:pt x="187" y="53"/>
                  </a:cubicBezTo>
                  <a:cubicBezTo>
                    <a:pt x="190" y="49"/>
                    <a:pt x="189" y="45"/>
                    <a:pt x="186" y="42"/>
                  </a:cubicBezTo>
                  <a:cubicBezTo>
                    <a:pt x="163" y="18"/>
                    <a:pt x="163" y="18"/>
                    <a:pt x="163" y="18"/>
                  </a:cubicBezTo>
                  <a:cubicBezTo>
                    <a:pt x="160" y="15"/>
                    <a:pt x="156" y="15"/>
                    <a:pt x="152" y="17"/>
                  </a:cubicBezTo>
                  <a:cubicBezTo>
                    <a:pt x="131" y="32"/>
                    <a:pt x="131" y="32"/>
                    <a:pt x="131" y="32"/>
                  </a:cubicBezTo>
                  <a:cubicBezTo>
                    <a:pt x="126" y="7"/>
                    <a:pt x="126" y="7"/>
                    <a:pt x="126" y="7"/>
                  </a:cubicBezTo>
                  <a:cubicBezTo>
                    <a:pt x="125" y="3"/>
                    <a:pt x="122" y="0"/>
                    <a:pt x="118" y="0"/>
                  </a:cubicBezTo>
                  <a:cubicBezTo>
                    <a:pt x="87" y="0"/>
                    <a:pt x="87" y="0"/>
                    <a:pt x="87" y="0"/>
                  </a:cubicBezTo>
                  <a:cubicBezTo>
                    <a:pt x="83" y="0"/>
                    <a:pt x="79" y="3"/>
                    <a:pt x="78" y="7"/>
                  </a:cubicBezTo>
                  <a:cubicBezTo>
                    <a:pt x="73" y="32"/>
                    <a:pt x="73" y="32"/>
                    <a:pt x="73" y="32"/>
                  </a:cubicBezTo>
                  <a:cubicBezTo>
                    <a:pt x="52" y="17"/>
                    <a:pt x="52" y="17"/>
                    <a:pt x="52" y="17"/>
                  </a:cubicBezTo>
                  <a:cubicBezTo>
                    <a:pt x="49" y="15"/>
                    <a:pt x="44" y="15"/>
                    <a:pt x="41" y="18"/>
                  </a:cubicBezTo>
                  <a:cubicBezTo>
                    <a:pt x="18" y="42"/>
                    <a:pt x="18" y="42"/>
                    <a:pt x="18" y="42"/>
                  </a:cubicBezTo>
                  <a:cubicBezTo>
                    <a:pt x="15" y="45"/>
                    <a:pt x="15" y="49"/>
                    <a:pt x="17" y="53"/>
                  </a:cubicBezTo>
                  <a:cubicBezTo>
                    <a:pt x="31" y="73"/>
                    <a:pt x="31" y="73"/>
                    <a:pt x="31" y="73"/>
                  </a:cubicBezTo>
                  <a:cubicBezTo>
                    <a:pt x="7" y="79"/>
                    <a:pt x="7" y="79"/>
                    <a:pt x="7" y="79"/>
                  </a:cubicBezTo>
                  <a:cubicBezTo>
                    <a:pt x="3" y="79"/>
                    <a:pt x="0" y="83"/>
                    <a:pt x="0" y="87"/>
                  </a:cubicBezTo>
                  <a:cubicBezTo>
                    <a:pt x="0" y="118"/>
                    <a:pt x="0" y="118"/>
                    <a:pt x="0" y="118"/>
                  </a:cubicBezTo>
                  <a:cubicBezTo>
                    <a:pt x="0" y="122"/>
                    <a:pt x="3" y="126"/>
                    <a:pt x="7" y="127"/>
                  </a:cubicBezTo>
                  <a:cubicBezTo>
                    <a:pt x="31" y="132"/>
                    <a:pt x="31" y="132"/>
                    <a:pt x="31" y="132"/>
                  </a:cubicBezTo>
                  <a:cubicBezTo>
                    <a:pt x="17" y="152"/>
                    <a:pt x="17" y="152"/>
                    <a:pt x="17" y="152"/>
                  </a:cubicBezTo>
                  <a:cubicBezTo>
                    <a:pt x="15" y="156"/>
                    <a:pt x="15" y="160"/>
                    <a:pt x="18" y="163"/>
                  </a:cubicBezTo>
                  <a:cubicBezTo>
                    <a:pt x="41" y="187"/>
                    <a:pt x="41" y="187"/>
                    <a:pt x="41" y="187"/>
                  </a:cubicBezTo>
                  <a:cubicBezTo>
                    <a:pt x="44" y="190"/>
                    <a:pt x="49" y="190"/>
                    <a:pt x="52" y="188"/>
                  </a:cubicBezTo>
                  <a:cubicBezTo>
                    <a:pt x="73" y="173"/>
                    <a:pt x="73" y="173"/>
                    <a:pt x="73" y="173"/>
                  </a:cubicBezTo>
                  <a:cubicBezTo>
                    <a:pt x="78" y="198"/>
                    <a:pt x="78" y="198"/>
                    <a:pt x="78" y="198"/>
                  </a:cubicBezTo>
                  <a:cubicBezTo>
                    <a:pt x="79" y="202"/>
                    <a:pt x="83" y="205"/>
                    <a:pt x="87" y="205"/>
                  </a:cubicBezTo>
                  <a:cubicBezTo>
                    <a:pt x="118" y="205"/>
                    <a:pt x="118" y="205"/>
                    <a:pt x="118" y="205"/>
                  </a:cubicBezTo>
                  <a:cubicBezTo>
                    <a:pt x="122" y="205"/>
                    <a:pt x="125" y="202"/>
                    <a:pt x="126" y="198"/>
                  </a:cubicBezTo>
                  <a:cubicBezTo>
                    <a:pt x="131" y="173"/>
                    <a:pt x="131" y="173"/>
                    <a:pt x="131" y="173"/>
                  </a:cubicBezTo>
                  <a:cubicBezTo>
                    <a:pt x="152" y="188"/>
                    <a:pt x="152" y="188"/>
                    <a:pt x="152" y="188"/>
                  </a:cubicBezTo>
                  <a:cubicBezTo>
                    <a:pt x="156" y="190"/>
                    <a:pt x="160" y="190"/>
                    <a:pt x="163" y="187"/>
                  </a:cubicBezTo>
                  <a:cubicBezTo>
                    <a:pt x="186" y="163"/>
                    <a:pt x="186" y="163"/>
                    <a:pt x="186" y="163"/>
                  </a:cubicBezTo>
                  <a:cubicBezTo>
                    <a:pt x="189" y="160"/>
                    <a:pt x="190" y="156"/>
                    <a:pt x="187" y="152"/>
                  </a:cubicBezTo>
                  <a:cubicBezTo>
                    <a:pt x="173" y="132"/>
                    <a:pt x="173" y="132"/>
                    <a:pt x="173" y="132"/>
                  </a:cubicBezTo>
                  <a:cubicBezTo>
                    <a:pt x="198" y="127"/>
                    <a:pt x="198" y="127"/>
                    <a:pt x="198" y="127"/>
                  </a:cubicBezTo>
                  <a:cubicBezTo>
                    <a:pt x="202" y="126"/>
                    <a:pt x="205" y="122"/>
                    <a:pt x="205" y="118"/>
                  </a:cubicBezTo>
                  <a:cubicBezTo>
                    <a:pt x="205" y="87"/>
                    <a:pt x="205" y="87"/>
                    <a:pt x="205" y="87"/>
                  </a:cubicBezTo>
                  <a:cubicBezTo>
                    <a:pt x="205" y="83"/>
                    <a:pt x="202" y="79"/>
                    <a:pt x="198" y="79"/>
                  </a:cubicBezTo>
                  <a:close/>
                  <a:moveTo>
                    <a:pt x="188" y="111"/>
                  </a:moveTo>
                  <a:cubicBezTo>
                    <a:pt x="169" y="115"/>
                    <a:pt x="169" y="115"/>
                    <a:pt x="169" y="115"/>
                  </a:cubicBezTo>
                  <a:cubicBezTo>
                    <a:pt x="160" y="117"/>
                    <a:pt x="154" y="126"/>
                    <a:pt x="156" y="135"/>
                  </a:cubicBezTo>
                  <a:cubicBezTo>
                    <a:pt x="156" y="137"/>
                    <a:pt x="157" y="139"/>
                    <a:pt x="159" y="141"/>
                  </a:cubicBezTo>
                  <a:cubicBezTo>
                    <a:pt x="169" y="156"/>
                    <a:pt x="169" y="156"/>
                    <a:pt x="169" y="156"/>
                  </a:cubicBezTo>
                  <a:cubicBezTo>
                    <a:pt x="156" y="170"/>
                    <a:pt x="156" y="170"/>
                    <a:pt x="156" y="170"/>
                  </a:cubicBezTo>
                  <a:cubicBezTo>
                    <a:pt x="140" y="159"/>
                    <a:pt x="140" y="159"/>
                    <a:pt x="140" y="159"/>
                  </a:cubicBezTo>
                  <a:cubicBezTo>
                    <a:pt x="133" y="154"/>
                    <a:pt x="123" y="156"/>
                    <a:pt x="117" y="163"/>
                  </a:cubicBezTo>
                  <a:cubicBezTo>
                    <a:pt x="116" y="165"/>
                    <a:pt x="115" y="167"/>
                    <a:pt x="115" y="169"/>
                  </a:cubicBezTo>
                  <a:cubicBezTo>
                    <a:pt x="111" y="188"/>
                    <a:pt x="111" y="188"/>
                    <a:pt x="111" y="188"/>
                  </a:cubicBezTo>
                  <a:cubicBezTo>
                    <a:pt x="93" y="188"/>
                    <a:pt x="93" y="188"/>
                    <a:pt x="93" y="188"/>
                  </a:cubicBezTo>
                  <a:cubicBezTo>
                    <a:pt x="89" y="169"/>
                    <a:pt x="89" y="169"/>
                    <a:pt x="89" y="169"/>
                  </a:cubicBezTo>
                  <a:cubicBezTo>
                    <a:pt x="88" y="160"/>
                    <a:pt x="79" y="154"/>
                    <a:pt x="70" y="156"/>
                  </a:cubicBezTo>
                  <a:cubicBezTo>
                    <a:pt x="68" y="157"/>
                    <a:pt x="66" y="158"/>
                    <a:pt x="64" y="159"/>
                  </a:cubicBezTo>
                  <a:cubicBezTo>
                    <a:pt x="48" y="170"/>
                    <a:pt x="48" y="170"/>
                    <a:pt x="48" y="170"/>
                  </a:cubicBezTo>
                  <a:cubicBezTo>
                    <a:pt x="35" y="156"/>
                    <a:pt x="35" y="156"/>
                    <a:pt x="35" y="156"/>
                  </a:cubicBezTo>
                  <a:cubicBezTo>
                    <a:pt x="46" y="141"/>
                    <a:pt x="46" y="141"/>
                    <a:pt x="46" y="141"/>
                  </a:cubicBezTo>
                  <a:cubicBezTo>
                    <a:pt x="51" y="133"/>
                    <a:pt x="49" y="123"/>
                    <a:pt x="42" y="118"/>
                  </a:cubicBezTo>
                  <a:cubicBezTo>
                    <a:pt x="40" y="117"/>
                    <a:pt x="38" y="116"/>
                    <a:pt x="36" y="115"/>
                  </a:cubicBezTo>
                  <a:cubicBezTo>
                    <a:pt x="17" y="111"/>
                    <a:pt x="17" y="111"/>
                    <a:pt x="17" y="111"/>
                  </a:cubicBezTo>
                  <a:cubicBezTo>
                    <a:pt x="17" y="94"/>
                    <a:pt x="17" y="94"/>
                    <a:pt x="17" y="94"/>
                  </a:cubicBezTo>
                  <a:cubicBezTo>
                    <a:pt x="36" y="90"/>
                    <a:pt x="36" y="90"/>
                    <a:pt x="36" y="90"/>
                  </a:cubicBezTo>
                  <a:cubicBezTo>
                    <a:pt x="45" y="88"/>
                    <a:pt x="50" y="79"/>
                    <a:pt x="48" y="70"/>
                  </a:cubicBezTo>
                  <a:cubicBezTo>
                    <a:pt x="48" y="68"/>
                    <a:pt x="47" y="66"/>
                    <a:pt x="46" y="65"/>
                  </a:cubicBezTo>
                  <a:cubicBezTo>
                    <a:pt x="35" y="49"/>
                    <a:pt x="35" y="49"/>
                    <a:pt x="35" y="49"/>
                  </a:cubicBezTo>
                  <a:cubicBezTo>
                    <a:pt x="48" y="35"/>
                    <a:pt x="48" y="35"/>
                    <a:pt x="48" y="35"/>
                  </a:cubicBezTo>
                  <a:cubicBezTo>
                    <a:pt x="64" y="46"/>
                    <a:pt x="64" y="46"/>
                    <a:pt x="64" y="46"/>
                  </a:cubicBezTo>
                  <a:cubicBezTo>
                    <a:pt x="72" y="51"/>
                    <a:pt x="82" y="49"/>
                    <a:pt x="87" y="42"/>
                  </a:cubicBezTo>
                  <a:cubicBezTo>
                    <a:pt x="88" y="40"/>
                    <a:pt x="89" y="38"/>
                    <a:pt x="89" y="36"/>
                  </a:cubicBezTo>
                  <a:cubicBezTo>
                    <a:pt x="93" y="17"/>
                    <a:pt x="93" y="17"/>
                    <a:pt x="93" y="17"/>
                  </a:cubicBezTo>
                  <a:cubicBezTo>
                    <a:pt x="111" y="17"/>
                    <a:pt x="111" y="17"/>
                    <a:pt x="111" y="17"/>
                  </a:cubicBezTo>
                  <a:cubicBezTo>
                    <a:pt x="115" y="36"/>
                    <a:pt x="115" y="36"/>
                    <a:pt x="115" y="36"/>
                  </a:cubicBezTo>
                  <a:cubicBezTo>
                    <a:pt x="117" y="45"/>
                    <a:pt x="125" y="51"/>
                    <a:pt x="134" y="49"/>
                  </a:cubicBezTo>
                  <a:cubicBezTo>
                    <a:pt x="136" y="48"/>
                    <a:pt x="138" y="47"/>
                    <a:pt x="140" y="46"/>
                  </a:cubicBezTo>
                  <a:cubicBezTo>
                    <a:pt x="156" y="35"/>
                    <a:pt x="156" y="35"/>
                    <a:pt x="156" y="35"/>
                  </a:cubicBezTo>
                  <a:cubicBezTo>
                    <a:pt x="169" y="49"/>
                    <a:pt x="169" y="49"/>
                    <a:pt x="169" y="49"/>
                  </a:cubicBezTo>
                  <a:cubicBezTo>
                    <a:pt x="159" y="65"/>
                    <a:pt x="159" y="65"/>
                    <a:pt x="159" y="65"/>
                  </a:cubicBezTo>
                  <a:cubicBezTo>
                    <a:pt x="153" y="72"/>
                    <a:pt x="155" y="82"/>
                    <a:pt x="163" y="87"/>
                  </a:cubicBezTo>
                  <a:cubicBezTo>
                    <a:pt x="164" y="89"/>
                    <a:pt x="167" y="89"/>
                    <a:pt x="169" y="90"/>
                  </a:cubicBezTo>
                  <a:cubicBezTo>
                    <a:pt x="188" y="94"/>
                    <a:pt x="188" y="94"/>
                    <a:pt x="188" y="94"/>
                  </a:cubicBezTo>
                  <a:lnTo>
                    <a:pt x="188" y="111"/>
                  </a:lnTo>
                  <a:close/>
                  <a:moveTo>
                    <a:pt x="188" y="111"/>
                  </a:moveTo>
                  <a:cubicBezTo>
                    <a:pt x="188" y="111"/>
                    <a:pt x="188" y="111"/>
                    <a:pt x="188" y="1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a:extLst>
                <a:ext uri="{FF2B5EF4-FFF2-40B4-BE49-F238E27FC236}">
                  <a16:creationId xmlns:a16="http://schemas.microsoft.com/office/drawing/2014/main" id="{442B09A2-1D72-4B5F-A05B-06CBC5D39131}"/>
                </a:ext>
              </a:extLst>
            </p:cNvPr>
            <p:cNvSpPr>
              <a:spLocks noEditPoints="1"/>
            </p:cNvSpPr>
            <p:nvPr/>
          </p:nvSpPr>
          <p:spPr bwMode="auto">
            <a:xfrm>
              <a:off x="3946" y="4798"/>
              <a:ext cx="190" cy="184"/>
            </a:xfrm>
            <a:custGeom>
              <a:avLst/>
              <a:gdLst>
                <a:gd name="T0" fmla="*/ 42 w 85"/>
                <a:gd name="T1" fmla="*/ 0 h 85"/>
                <a:gd name="T2" fmla="*/ 0 w 85"/>
                <a:gd name="T3" fmla="*/ 43 h 85"/>
                <a:gd name="T4" fmla="*/ 42 w 85"/>
                <a:gd name="T5" fmla="*/ 85 h 85"/>
                <a:gd name="T6" fmla="*/ 85 w 85"/>
                <a:gd name="T7" fmla="*/ 43 h 85"/>
                <a:gd name="T8" fmla="*/ 42 w 85"/>
                <a:gd name="T9" fmla="*/ 0 h 85"/>
                <a:gd name="T10" fmla="*/ 42 w 85"/>
                <a:gd name="T11" fmla="*/ 68 h 85"/>
                <a:gd name="T12" fmla="*/ 17 w 85"/>
                <a:gd name="T13" fmla="*/ 43 h 85"/>
                <a:gd name="T14" fmla="*/ 42 w 85"/>
                <a:gd name="T15" fmla="*/ 17 h 85"/>
                <a:gd name="T16" fmla="*/ 68 w 85"/>
                <a:gd name="T17" fmla="*/ 43 h 85"/>
                <a:gd name="T18" fmla="*/ 42 w 85"/>
                <a:gd name="T19" fmla="*/ 68 h 85"/>
                <a:gd name="T20" fmla="*/ 42 w 85"/>
                <a:gd name="T21" fmla="*/ 68 h 85"/>
                <a:gd name="T22" fmla="*/ 42 w 85"/>
                <a:gd name="T23" fmla="*/ 6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2" y="0"/>
                  </a:moveTo>
                  <a:cubicBezTo>
                    <a:pt x="19" y="0"/>
                    <a:pt x="0" y="19"/>
                    <a:pt x="0" y="43"/>
                  </a:cubicBezTo>
                  <a:cubicBezTo>
                    <a:pt x="0" y="66"/>
                    <a:pt x="19" y="85"/>
                    <a:pt x="42" y="85"/>
                  </a:cubicBezTo>
                  <a:cubicBezTo>
                    <a:pt x="66" y="85"/>
                    <a:pt x="85" y="66"/>
                    <a:pt x="85" y="43"/>
                  </a:cubicBezTo>
                  <a:cubicBezTo>
                    <a:pt x="85" y="19"/>
                    <a:pt x="66" y="0"/>
                    <a:pt x="42" y="0"/>
                  </a:cubicBezTo>
                  <a:close/>
                  <a:moveTo>
                    <a:pt x="42" y="68"/>
                  </a:moveTo>
                  <a:cubicBezTo>
                    <a:pt x="28" y="68"/>
                    <a:pt x="17" y="57"/>
                    <a:pt x="17" y="43"/>
                  </a:cubicBezTo>
                  <a:cubicBezTo>
                    <a:pt x="17" y="28"/>
                    <a:pt x="28" y="17"/>
                    <a:pt x="42" y="17"/>
                  </a:cubicBezTo>
                  <a:cubicBezTo>
                    <a:pt x="56" y="17"/>
                    <a:pt x="68" y="28"/>
                    <a:pt x="68" y="43"/>
                  </a:cubicBezTo>
                  <a:cubicBezTo>
                    <a:pt x="68" y="57"/>
                    <a:pt x="56" y="68"/>
                    <a:pt x="42" y="68"/>
                  </a:cubicBezTo>
                  <a:close/>
                  <a:moveTo>
                    <a:pt x="42" y="68"/>
                  </a:moveTo>
                  <a:cubicBezTo>
                    <a:pt x="42" y="68"/>
                    <a:pt x="42" y="68"/>
                    <a:pt x="42"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a:extLst>
                <a:ext uri="{FF2B5EF4-FFF2-40B4-BE49-F238E27FC236}">
                  <a16:creationId xmlns:a16="http://schemas.microsoft.com/office/drawing/2014/main" id="{574B09E6-17F0-4F29-9432-A5B433E5D450}"/>
                </a:ext>
              </a:extLst>
            </p:cNvPr>
            <p:cNvSpPr>
              <a:spLocks noEditPoints="1"/>
            </p:cNvSpPr>
            <p:nvPr/>
          </p:nvSpPr>
          <p:spPr bwMode="auto">
            <a:xfrm>
              <a:off x="4383" y="4502"/>
              <a:ext cx="478" cy="407"/>
            </a:xfrm>
            <a:custGeom>
              <a:avLst/>
              <a:gdLst>
                <a:gd name="T0" fmla="*/ 187 w 214"/>
                <a:gd name="T1" fmla="*/ 0 h 188"/>
                <a:gd name="T2" fmla="*/ 162 w 214"/>
                <a:gd name="T3" fmla="*/ 26 h 188"/>
                <a:gd name="T4" fmla="*/ 172 w 214"/>
                <a:gd name="T5" fmla="*/ 46 h 188"/>
                <a:gd name="T6" fmla="*/ 153 w 214"/>
                <a:gd name="T7" fmla="*/ 103 h 188"/>
                <a:gd name="T8" fmla="*/ 137 w 214"/>
                <a:gd name="T9" fmla="*/ 109 h 188"/>
                <a:gd name="T10" fmla="*/ 102 w 214"/>
                <a:gd name="T11" fmla="*/ 90 h 188"/>
                <a:gd name="T12" fmla="*/ 82 w 214"/>
                <a:gd name="T13" fmla="*/ 61 h 188"/>
                <a:gd name="T14" fmla="*/ 77 w 214"/>
                <a:gd name="T15" fmla="*/ 60 h 188"/>
                <a:gd name="T16" fmla="*/ 51 w 214"/>
                <a:gd name="T17" fmla="*/ 86 h 188"/>
                <a:gd name="T18" fmla="*/ 56 w 214"/>
                <a:gd name="T19" fmla="*/ 101 h 188"/>
                <a:gd name="T20" fmla="*/ 32 w 214"/>
                <a:gd name="T21" fmla="*/ 138 h 188"/>
                <a:gd name="T22" fmla="*/ 25 w 214"/>
                <a:gd name="T23" fmla="*/ 137 h 188"/>
                <a:gd name="T24" fmla="*/ 0 w 214"/>
                <a:gd name="T25" fmla="*/ 162 h 188"/>
                <a:gd name="T26" fmla="*/ 25 w 214"/>
                <a:gd name="T27" fmla="*/ 188 h 188"/>
                <a:gd name="T28" fmla="*/ 51 w 214"/>
                <a:gd name="T29" fmla="*/ 162 h 188"/>
                <a:gd name="T30" fmla="*/ 46 w 214"/>
                <a:gd name="T31" fmla="*/ 147 h 188"/>
                <a:gd name="T32" fmla="*/ 70 w 214"/>
                <a:gd name="T33" fmla="*/ 110 h 188"/>
                <a:gd name="T34" fmla="*/ 77 w 214"/>
                <a:gd name="T35" fmla="*/ 111 h 188"/>
                <a:gd name="T36" fmla="*/ 93 w 214"/>
                <a:gd name="T37" fmla="*/ 105 h 188"/>
                <a:gd name="T38" fmla="*/ 128 w 214"/>
                <a:gd name="T39" fmla="*/ 124 h 188"/>
                <a:gd name="T40" fmla="*/ 149 w 214"/>
                <a:gd name="T41" fmla="*/ 154 h 188"/>
                <a:gd name="T42" fmla="*/ 179 w 214"/>
                <a:gd name="T43" fmla="*/ 133 h 188"/>
                <a:gd name="T44" fmla="*/ 169 w 214"/>
                <a:gd name="T45" fmla="*/ 108 h 188"/>
                <a:gd name="T46" fmla="*/ 188 w 214"/>
                <a:gd name="T47" fmla="*/ 51 h 188"/>
                <a:gd name="T48" fmla="*/ 213 w 214"/>
                <a:gd name="T49" fmla="*/ 25 h 188"/>
                <a:gd name="T50" fmla="*/ 187 w 214"/>
                <a:gd name="T51" fmla="*/ 0 h 188"/>
                <a:gd name="T52" fmla="*/ 25 w 214"/>
                <a:gd name="T53" fmla="*/ 171 h 188"/>
                <a:gd name="T54" fmla="*/ 17 w 214"/>
                <a:gd name="T55" fmla="*/ 162 h 188"/>
                <a:gd name="T56" fmla="*/ 25 w 214"/>
                <a:gd name="T57" fmla="*/ 154 h 188"/>
                <a:gd name="T58" fmla="*/ 34 w 214"/>
                <a:gd name="T59" fmla="*/ 162 h 188"/>
                <a:gd name="T60" fmla="*/ 25 w 214"/>
                <a:gd name="T61" fmla="*/ 171 h 188"/>
                <a:gd name="T62" fmla="*/ 77 w 214"/>
                <a:gd name="T63" fmla="*/ 94 h 188"/>
                <a:gd name="T64" fmla="*/ 68 w 214"/>
                <a:gd name="T65" fmla="*/ 86 h 188"/>
                <a:gd name="T66" fmla="*/ 77 w 214"/>
                <a:gd name="T67" fmla="*/ 77 h 188"/>
                <a:gd name="T68" fmla="*/ 85 w 214"/>
                <a:gd name="T69" fmla="*/ 86 h 188"/>
                <a:gd name="T70" fmla="*/ 77 w 214"/>
                <a:gd name="T71" fmla="*/ 94 h 188"/>
                <a:gd name="T72" fmla="*/ 153 w 214"/>
                <a:gd name="T73" fmla="*/ 137 h 188"/>
                <a:gd name="T74" fmla="*/ 145 w 214"/>
                <a:gd name="T75" fmla="*/ 128 h 188"/>
                <a:gd name="T76" fmla="*/ 153 w 214"/>
                <a:gd name="T77" fmla="*/ 120 h 188"/>
                <a:gd name="T78" fmla="*/ 162 w 214"/>
                <a:gd name="T79" fmla="*/ 128 h 188"/>
                <a:gd name="T80" fmla="*/ 153 w 214"/>
                <a:gd name="T81" fmla="*/ 137 h 188"/>
                <a:gd name="T82" fmla="*/ 188 w 214"/>
                <a:gd name="T83" fmla="*/ 34 h 188"/>
                <a:gd name="T84" fmla="*/ 179 w 214"/>
                <a:gd name="T85" fmla="*/ 26 h 188"/>
                <a:gd name="T86" fmla="*/ 188 w 214"/>
                <a:gd name="T87" fmla="*/ 17 h 188"/>
                <a:gd name="T88" fmla="*/ 196 w 214"/>
                <a:gd name="T89" fmla="*/ 26 h 188"/>
                <a:gd name="T90" fmla="*/ 188 w 214"/>
                <a:gd name="T91" fmla="*/ 34 h 188"/>
                <a:gd name="T92" fmla="*/ 188 w 214"/>
                <a:gd name="T93" fmla="*/ 34 h 188"/>
                <a:gd name="T94" fmla="*/ 188 w 214"/>
                <a:gd name="T95" fmla="*/ 3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88">
                  <a:moveTo>
                    <a:pt x="187" y="0"/>
                  </a:moveTo>
                  <a:cubicBezTo>
                    <a:pt x="173" y="0"/>
                    <a:pt x="162" y="12"/>
                    <a:pt x="162" y="26"/>
                  </a:cubicBezTo>
                  <a:cubicBezTo>
                    <a:pt x="162" y="34"/>
                    <a:pt x="166" y="41"/>
                    <a:pt x="172" y="46"/>
                  </a:cubicBezTo>
                  <a:cubicBezTo>
                    <a:pt x="153" y="103"/>
                    <a:pt x="153" y="103"/>
                    <a:pt x="153" y="103"/>
                  </a:cubicBezTo>
                  <a:cubicBezTo>
                    <a:pt x="147" y="103"/>
                    <a:pt x="141" y="105"/>
                    <a:pt x="137" y="109"/>
                  </a:cubicBezTo>
                  <a:cubicBezTo>
                    <a:pt x="102" y="90"/>
                    <a:pt x="102" y="90"/>
                    <a:pt x="102" y="90"/>
                  </a:cubicBezTo>
                  <a:cubicBezTo>
                    <a:pt x="104" y="76"/>
                    <a:pt x="95" y="63"/>
                    <a:pt x="82" y="61"/>
                  </a:cubicBezTo>
                  <a:cubicBezTo>
                    <a:pt x="80" y="60"/>
                    <a:pt x="78" y="60"/>
                    <a:pt x="77" y="60"/>
                  </a:cubicBezTo>
                  <a:cubicBezTo>
                    <a:pt x="62" y="60"/>
                    <a:pt x="51" y="72"/>
                    <a:pt x="51" y="86"/>
                  </a:cubicBezTo>
                  <a:cubicBezTo>
                    <a:pt x="51" y="91"/>
                    <a:pt x="53" y="97"/>
                    <a:pt x="56" y="101"/>
                  </a:cubicBezTo>
                  <a:cubicBezTo>
                    <a:pt x="32" y="138"/>
                    <a:pt x="32" y="138"/>
                    <a:pt x="32" y="138"/>
                  </a:cubicBezTo>
                  <a:cubicBezTo>
                    <a:pt x="30" y="137"/>
                    <a:pt x="28" y="137"/>
                    <a:pt x="25" y="137"/>
                  </a:cubicBezTo>
                  <a:cubicBezTo>
                    <a:pt x="11" y="137"/>
                    <a:pt x="0" y="148"/>
                    <a:pt x="0" y="162"/>
                  </a:cubicBezTo>
                  <a:cubicBezTo>
                    <a:pt x="0" y="177"/>
                    <a:pt x="11" y="188"/>
                    <a:pt x="25" y="188"/>
                  </a:cubicBezTo>
                  <a:cubicBezTo>
                    <a:pt x="40" y="188"/>
                    <a:pt x="51" y="177"/>
                    <a:pt x="51" y="162"/>
                  </a:cubicBezTo>
                  <a:cubicBezTo>
                    <a:pt x="51" y="157"/>
                    <a:pt x="49" y="152"/>
                    <a:pt x="46" y="147"/>
                  </a:cubicBezTo>
                  <a:cubicBezTo>
                    <a:pt x="70" y="110"/>
                    <a:pt x="70" y="110"/>
                    <a:pt x="70" y="110"/>
                  </a:cubicBezTo>
                  <a:cubicBezTo>
                    <a:pt x="72" y="111"/>
                    <a:pt x="74" y="111"/>
                    <a:pt x="77" y="111"/>
                  </a:cubicBezTo>
                  <a:cubicBezTo>
                    <a:pt x="83" y="111"/>
                    <a:pt x="89" y="109"/>
                    <a:pt x="93" y="105"/>
                  </a:cubicBezTo>
                  <a:cubicBezTo>
                    <a:pt x="128" y="124"/>
                    <a:pt x="128" y="124"/>
                    <a:pt x="128" y="124"/>
                  </a:cubicBezTo>
                  <a:cubicBezTo>
                    <a:pt x="126" y="138"/>
                    <a:pt x="135" y="151"/>
                    <a:pt x="149" y="154"/>
                  </a:cubicBezTo>
                  <a:cubicBezTo>
                    <a:pt x="163" y="156"/>
                    <a:pt x="176" y="147"/>
                    <a:pt x="179" y="133"/>
                  </a:cubicBezTo>
                  <a:cubicBezTo>
                    <a:pt x="180" y="124"/>
                    <a:pt x="177" y="114"/>
                    <a:pt x="169" y="108"/>
                  </a:cubicBezTo>
                  <a:cubicBezTo>
                    <a:pt x="188" y="51"/>
                    <a:pt x="188" y="51"/>
                    <a:pt x="188" y="51"/>
                  </a:cubicBezTo>
                  <a:cubicBezTo>
                    <a:pt x="202" y="51"/>
                    <a:pt x="214" y="40"/>
                    <a:pt x="213" y="25"/>
                  </a:cubicBezTo>
                  <a:cubicBezTo>
                    <a:pt x="213" y="11"/>
                    <a:pt x="202" y="0"/>
                    <a:pt x="187" y="0"/>
                  </a:cubicBezTo>
                  <a:close/>
                  <a:moveTo>
                    <a:pt x="25" y="171"/>
                  </a:moveTo>
                  <a:cubicBezTo>
                    <a:pt x="21" y="171"/>
                    <a:pt x="17" y="167"/>
                    <a:pt x="17" y="162"/>
                  </a:cubicBezTo>
                  <a:cubicBezTo>
                    <a:pt x="17" y="158"/>
                    <a:pt x="21" y="154"/>
                    <a:pt x="25" y="154"/>
                  </a:cubicBezTo>
                  <a:cubicBezTo>
                    <a:pt x="30" y="154"/>
                    <a:pt x="34" y="158"/>
                    <a:pt x="34" y="162"/>
                  </a:cubicBezTo>
                  <a:cubicBezTo>
                    <a:pt x="34" y="167"/>
                    <a:pt x="30" y="171"/>
                    <a:pt x="25" y="171"/>
                  </a:cubicBezTo>
                  <a:close/>
                  <a:moveTo>
                    <a:pt x="77" y="94"/>
                  </a:moveTo>
                  <a:cubicBezTo>
                    <a:pt x="72" y="94"/>
                    <a:pt x="68" y="90"/>
                    <a:pt x="68" y="86"/>
                  </a:cubicBezTo>
                  <a:cubicBezTo>
                    <a:pt x="68" y="81"/>
                    <a:pt x="72" y="77"/>
                    <a:pt x="77" y="77"/>
                  </a:cubicBezTo>
                  <a:cubicBezTo>
                    <a:pt x="81" y="77"/>
                    <a:pt x="85" y="81"/>
                    <a:pt x="85" y="86"/>
                  </a:cubicBezTo>
                  <a:cubicBezTo>
                    <a:pt x="85" y="90"/>
                    <a:pt x="81" y="94"/>
                    <a:pt x="77" y="94"/>
                  </a:cubicBezTo>
                  <a:close/>
                  <a:moveTo>
                    <a:pt x="153" y="137"/>
                  </a:moveTo>
                  <a:cubicBezTo>
                    <a:pt x="149" y="137"/>
                    <a:pt x="145" y="133"/>
                    <a:pt x="145" y="128"/>
                  </a:cubicBezTo>
                  <a:cubicBezTo>
                    <a:pt x="145" y="124"/>
                    <a:pt x="149" y="120"/>
                    <a:pt x="153" y="120"/>
                  </a:cubicBezTo>
                  <a:cubicBezTo>
                    <a:pt x="158" y="120"/>
                    <a:pt x="162" y="124"/>
                    <a:pt x="162" y="128"/>
                  </a:cubicBezTo>
                  <a:cubicBezTo>
                    <a:pt x="162" y="133"/>
                    <a:pt x="158" y="137"/>
                    <a:pt x="153" y="137"/>
                  </a:cubicBezTo>
                  <a:close/>
                  <a:moveTo>
                    <a:pt x="188" y="34"/>
                  </a:moveTo>
                  <a:cubicBezTo>
                    <a:pt x="183" y="34"/>
                    <a:pt x="179" y="31"/>
                    <a:pt x="179" y="26"/>
                  </a:cubicBezTo>
                  <a:cubicBezTo>
                    <a:pt x="179" y="21"/>
                    <a:pt x="183" y="17"/>
                    <a:pt x="188" y="17"/>
                  </a:cubicBezTo>
                  <a:cubicBezTo>
                    <a:pt x="192" y="17"/>
                    <a:pt x="196" y="21"/>
                    <a:pt x="196" y="26"/>
                  </a:cubicBezTo>
                  <a:cubicBezTo>
                    <a:pt x="196" y="31"/>
                    <a:pt x="192" y="34"/>
                    <a:pt x="188" y="34"/>
                  </a:cubicBezTo>
                  <a:close/>
                  <a:moveTo>
                    <a:pt x="188" y="34"/>
                  </a:moveTo>
                  <a:cubicBezTo>
                    <a:pt x="188" y="34"/>
                    <a:pt x="188" y="34"/>
                    <a:pt x="188" y="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2">
              <a:extLst>
                <a:ext uri="{FF2B5EF4-FFF2-40B4-BE49-F238E27FC236}">
                  <a16:creationId xmlns:a16="http://schemas.microsoft.com/office/drawing/2014/main" id="{69894D07-6656-4D45-9ACE-DF249B30779E}"/>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close/>
                  <a:moveTo>
                    <a:pt x="420" y="0"/>
                  </a:moveTo>
                  <a:lnTo>
                    <a:pt x="4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3">
              <a:extLst>
                <a:ext uri="{FF2B5EF4-FFF2-40B4-BE49-F238E27FC236}">
                  <a16:creationId xmlns:a16="http://schemas.microsoft.com/office/drawing/2014/main" id="{61B6CBC3-FD79-4662-A0EF-E3742BD83F50}"/>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moveTo>
                    <a:pt x="420" y="0"/>
                  </a:moveTo>
                  <a:lnTo>
                    <a:pt x="42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4">
              <a:extLst>
                <a:ext uri="{FF2B5EF4-FFF2-40B4-BE49-F238E27FC236}">
                  <a16:creationId xmlns:a16="http://schemas.microsoft.com/office/drawing/2014/main" id="{9BF7259B-36AE-42F2-BDB6-CA3915945DAE}"/>
                </a:ext>
              </a:extLst>
            </p:cNvPr>
            <p:cNvSpPr>
              <a:spLocks noEditPoints="1"/>
            </p:cNvSpPr>
            <p:nvPr/>
          </p:nvSpPr>
          <p:spPr bwMode="auto">
            <a:xfrm>
              <a:off x="4270" y="4411"/>
              <a:ext cx="207" cy="203"/>
            </a:xfrm>
            <a:custGeom>
              <a:avLst/>
              <a:gdLst>
                <a:gd name="T0" fmla="*/ 51 w 93"/>
                <a:gd name="T1" fmla="*/ 0 h 94"/>
                <a:gd name="T2" fmla="*/ 0 w 93"/>
                <a:gd name="T3" fmla="*/ 51 h 94"/>
                <a:gd name="T4" fmla="*/ 0 w 93"/>
                <a:gd name="T5" fmla="*/ 94 h 94"/>
                <a:gd name="T6" fmla="*/ 17 w 93"/>
                <a:gd name="T7" fmla="*/ 94 h 94"/>
                <a:gd name="T8" fmla="*/ 17 w 93"/>
                <a:gd name="T9" fmla="*/ 51 h 94"/>
                <a:gd name="T10" fmla="*/ 51 w 93"/>
                <a:gd name="T11" fmla="*/ 17 h 94"/>
                <a:gd name="T12" fmla="*/ 93 w 93"/>
                <a:gd name="T13" fmla="*/ 17 h 94"/>
                <a:gd name="T14" fmla="*/ 93 w 93"/>
                <a:gd name="T15" fmla="*/ 0 h 94"/>
                <a:gd name="T16" fmla="*/ 51 w 93"/>
                <a:gd name="T17" fmla="*/ 0 h 94"/>
                <a:gd name="T18" fmla="*/ 51 w 93"/>
                <a:gd name="T19" fmla="*/ 0 h 94"/>
                <a:gd name="T20" fmla="*/ 51 w 93"/>
                <a:gd name="T2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94">
                  <a:moveTo>
                    <a:pt x="51" y="0"/>
                  </a:moveTo>
                  <a:cubicBezTo>
                    <a:pt x="23" y="0"/>
                    <a:pt x="0" y="23"/>
                    <a:pt x="0" y="51"/>
                  </a:cubicBezTo>
                  <a:cubicBezTo>
                    <a:pt x="0" y="94"/>
                    <a:pt x="0" y="94"/>
                    <a:pt x="0" y="94"/>
                  </a:cubicBezTo>
                  <a:cubicBezTo>
                    <a:pt x="17" y="94"/>
                    <a:pt x="17" y="94"/>
                    <a:pt x="17" y="94"/>
                  </a:cubicBezTo>
                  <a:cubicBezTo>
                    <a:pt x="17" y="51"/>
                    <a:pt x="17" y="51"/>
                    <a:pt x="17" y="51"/>
                  </a:cubicBezTo>
                  <a:cubicBezTo>
                    <a:pt x="17" y="32"/>
                    <a:pt x="32" y="17"/>
                    <a:pt x="51" y="17"/>
                  </a:cubicBezTo>
                  <a:cubicBezTo>
                    <a:pt x="93" y="17"/>
                    <a:pt x="93" y="17"/>
                    <a:pt x="93" y="17"/>
                  </a:cubicBezTo>
                  <a:cubicBezTo>
                    <a:pt x="93" y="0"/>
                    <a:pt x="93" y="0"/>
                    <a:pt x="93" y="0"/>
                  </a:cubicBezTo>
                  <a:lnTo>
                    <a:pt x="51" y="0"/>
                  </a:lnTo>
                  <a:close/>
                  <a:moveTo>
                    <a:pt x="51" y="0"/>
                  </a:moveTo>
                  <a:cubicBezTo>
                    <a:pt x="51" y="0"/>
                    <a:pt x="51"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25">
              <a:extLst>
                <a:ext uri="{FF2B5EF4-FFF2-40B4-BE49-F238E27FC236}">
                  <a16:creationId xmlns:a16="http://schemas.microsoft.com/office/drawing/2014/main" id="{627B8248-1954-4EA8-A86D-21DAF30DFD00}"/>
                </a:ext>
              </a:extLst>
            </p:cNvPr>
            <p:cNvSpPr>
              <a:spLocks noChangeArrowheads="1"/>
            </p:cNvSpPr>
            <p:nvPr/>
          </p:nvSpPr>
          <p:spPr bwMode="auto">
            <a:xfrm>
              <a:off x="4517" y="5296"/>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26">
              <a:extLst>
                <a:ext uri="{FF2B5EF4-FFF2-40B4-BE49-F238E27FC236}">
                  <a16:creationId xmlns:a16="http://schemas.microsoft.com/office/drawing/2014/main" id="{322A6646-FE05-4528-BFE7-94F0DB6DAC12}"/>
                </a:ext>
              </a:extLst>
            </p:cNvPr>
            <p:cNvSpPr>
              <a:spLocks noChangeArrowheads="1"/>
            </p:cNvSpPr>
            <p:nvPr/>
          </p:nvSpPr>
          <p:spPr bwMode="auto">
            <a:xfrm>
              <a:off x="4593" y="5296"/>
              <a:ext cx="286"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27">
              <a:extLst>
                <a:ext uri="{FF2B5EF4-FFF2-40B4-BE49-F238E27FC236}">
                  <a16:creationId xmlns:a16="http://schemas.microsoft.com/office/drawing/2014/main" id="{6A8315B0-9051-4D19-A909-7F9D6697D0EF}"/>
                </a:ext>
              </a:extLst>
            </p:cNvPr>
            <p:cNvSpPr>
              <a:spLocks noChangeArrowheads="1"/>
            </p:cNvSpPr>
            <p:nvPr/>
          </p:nvSpPr>
          <p:spPr bwMode="auto">
            <a:xfrm>
              <a:off x="4535" y="4411"/>
              <a:ext cx="344"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Oval 57">
            <a:extLst>
              <a:ext uri="{FF2B5EF4-FFF2-40B4-BE49-F238E27FC236}">
                <a16:creationId xmlns:a16="http://schemas.microsoft.com/office/drawing/2014/main" id="{FCBD7454-7927-4CED-8B22-0E89345F3F2D}"/>
              </a:ext>
            </a:extLst>
          </p:cNvPr>
          <p:cNvSpPr/>
          <p:nvPr/>
        </p:nvSpPr>
        <p:spPr bwMode="gray">
          <a:xfrm>
            <a:off x="4084004" y="2695822"/>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62" name="Group 61">
            <a:extLst>
              <a:ext uri="{FF2B5EF4-FFF2-40B4-BE49-F238E27FC236}">
                <a16:creationId xmlns:a16="http://schemas.microsoft.com/office/drawing/2014/main" id="{25CEE592-BD4E-4107-807E-5C39A3317EFB}"/>
              </a:ext>
            </a:extLst>
          </p:cNvPr>
          <p:cNvGrpSpPr/>
          <p:nvPr/>
        </p:nvGrpSpPr>
        <p:grpSpPr>
          <a:xfrm>
            <a:off x="4207048" y="2110398"/>
            <a:ext cx="1337549" cy="694394"/>
            <a:chOff x="4207048" y="2110398"/>
            <a:chExt cx="1337549" cy="694394"/>
          </a:xfrm>
        </p:grpSpPr>
        <p:cxnSp>
          <p:nvCxnSpPr>
            <p:cNvPr id="3" name="Straight Connector 2">
              <a:extLst>
                <a:ext uri="{FF2B5EF4-FFF2-40B4-BE49-F238E27FC236}">
                  <a16:creationId xmlns:a16="http://schemas.microsoft.com/office/drawing/2014/main" id="{50635576-2736-4706-AEFF-548320266983}"/>
                </a:ext>
              </a:extLst>
            </p:cNvPr>
            <p:cNvCxnSpPr>
              <a:cxnSpLocks/>
            </p:cNvCxnSpPr>
            <p:nvPr/>
          </p:nvCxnSpPr>
          <p:spPr>
            <a:xfrm>
              <a:off x="4922598" y="2110398"/>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7D45BDA-C4FC-49AB-A250-FCD6A639F145}"/>
                </a:ext>
              </a:extLst>
            </p:cNvPr>
            <p:cNvCxnSpPr>
              <a:cxnSpLocks/>
            </p:cNvCxnSpPr>
            <p:nvPr/>
          </p:nvCxnSpPr>
          <p:spPr>
            <a:xfrm flipH="1">
              <a:off x="4207048" y="2129350"/>
              <a:ext cx="696600" cy="675442"/>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88" name="Oval 87">
            <a:extLst>
              <a:ext uri="{FF2B5EF4-FFF2-40B4-BE49-F238E27FC236}">
                <a16:creationId xmlns:a16="http://schemas.microsoft.com/office/drawing/2014/main" id="{FF0C98C5-4079-4685-8258-420B338C93D7}"/>
              </a:ext>
            </a:extLst>
          </p:cNvPr>
          <p:cNvSpPr/>
          <p:nvPr/>
        </p:nvSpPr>
        <p:spPr bwMode="gray">
          <a:xfrm>
            <a:off x="4400526" y="3338129"/>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Oval 88">
            <a:extLst>
              <a:ext uri="{FF2B5EF4-FFF2-40B4-BE49-F238E27FC236}">
                <a16:creationId xmlns:a16="http://schemas.microsoft.com/office/drawing/2014/main" id="{CFF3E96F-FFC3-4145-A97A-A11D1F86F6D6}"/>
              </a:ext>
            </a:extLst>
          </p:cNvPr>
          <p:cNvSpPr/>
          <p:nvPr/>
        </p:nvSpPr>
        <p:spPr bwMode="gray">
          <a:xfrm>
            <a:off x="4465378" y="3974924"/>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0" name="Oval 89">
            <a:extLst>
              <a:ext uri="{FF2B5EF4-FFF2-40B4-BE49-F238E27FC236}">
                <a16:creationId xmlns:a16="http://schemas.microsoft.com/office/drawing/2014/main" id="{69F160FB-5739-4BDF-9C32-AD8264318671}"/>
              </a:ext>
            </a:extLst>
          </p:cNvPr>
          <p:cNvSpPr/>
          <p:nvPr/>
        </p:nvSpPr>
        <p:spPr bwMode="gray">
          <a:xfrm>
            <a:off x="4374283" y="4521862"/>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1" name="Oval 90">
            <a:extLst>
              <a:ext uri="{FF2B5EF4-FFF2-40B4-BE49-F238E27FC236}">
                <a16:creationId xmlns:a16="http://schemas.microsoft.com/office/drawing/2014/main" id="{CBD2B340-FC41-44E2-964B-C4F6EC7AFF73}"/>
              </a:ext>
            </a:extLst>
          </p:cNvPr>
          <p:cNvSpPr/>
          <p:nvPr/>
        </p:nvSpPr>
        <p:spPr bwMode="gray">
          <a:xfrm>
            <a:off x="4097404" y="5084699"/>
            <a:ext cx="227416" cy="227416"/>
          </a:xfrm>
          <a:prstGeom prst="ellipse">
            <a:avLst/>
          </a:prstGeom>
          <a:solidFill>
            <a:srgbClr val="00A3E0">
              <a:alpha val="34000"/>
            </a:srgbClr>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71" name="Straight Connector 70">
            <a:extLst>
              <a:ext uri="{FF2B5EF4-FFF2-40B4-BE49-F238E27FC236}">
                <a16:creationId xmlns:a16="http://schemas.microsoft.com/office/drawing/2014/main" id="{986955B4-D4A9-417A-8BEC-27F9F1DD2A74}"/>
              </a:ext>
            </a:extLst>
          </p:cNvPr>
          <p:cNvCxnSpPr>
            <a:cxnSpLocks/>
          </p:cNvCxnSpPr>
          <p:nvPr/>
        </p:nvCxnSpPr>
        <p:spPr>
          <a:xfrm>
            <a:off x="4579425" y="4091768"/>
            <a:ext cx="965172" cy="0"/>
          </a:xfrm>
          <a:prstGeom prst="line">
            <a:avLst/>
          </a:prstGeom>
          <a:ln w="15875"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7DE936E2-FA1B-4399-B0B4-1CFB8CBB4A47}"/>
              </a:ext>
            </a:extLst>
          </p:cNvPr>
          <p:cNvGrpSpPr/>
          <p:nvPr/>
        </p:nvGrpSpPr>
        <p:grpSpPr>
          <a:xfrm>
            <a:off x="4207049" y="5198407"/>
            <a:ext cx="1393083" cy="747346"/>
            <a:chOff x="4207049" y="5198407"/>
            <a:chExt cx="1393083" cy="747346"/>
          </a:xfrm>
        </p:grpSpPr>
        <p:cxnSp>
          <p:nvCxnSpPr>
            <p:cNvPr id="73" name="Straight Connector 72">
              <a:extLst>
                <a:ext uri="{FF2B5EF4-FFF2-40B4-BE49-F238E27FC236}">
                  <a16:creationId xmlns:a16="http://schemas.microsoft.com/office/drawing/2014/main" id="{484233C2-410A-4807-9DB7-D138878EBD1C}"/>
                </a:ext>
              </a:extLst>
            </p:cNvPr>
            <p:cNvCxnSpPr>
              <a:cxnSpLocks/>
            </p:cNvCxnSpPr>
            <p:nvPr/>
          </p:nvCxnSpPr>
          <p:spPr>
            <a:xfrm>
              <a:off x="4978133" y="594575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61D5B3F-FDD2-4EF1-9FF4-AE088EE5C264}"/>
                </a:ext>
              </a:extLst>
            </p:cNvPr>
            <p:cNvCxnSpPr>
              <a:cxnSpLocks/>
            </p:cNvCxnSpPr>
            <p:nvPr/>
          </p:nvCxnSpPr>
          <p:spPr>
            <a:xfrm flipH="1" flipV="1">
              <a:off x="4207049" y="5198407"/>
              <a:ext cx="741652" cy="747345"/>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224B5A01-297A-4FC1-BEB5-25C05A791FA0}"/>
              </a:ext>
            </a:extLst>
          </p:cNvPr>
          <p:cNvGrpSpPr/>
          <p:nvPr/>
        </p:nvGrpSpPr>
        <p:grpSpPr>
          <a:xfrm>
            <a:off x="4523386" y="3151206"/>
            <a:ext cx="1021211" cy="300631"/>
            <a:chOff x="4523386" y="3151206"/>
            <a:chExt cx="1021211" cy="300631"/>
          </a:xfrm>
        </p:grpSpPr>
        <p:cxnSp>
          <p:nvCxnSpPr>
            <p:cNvPr id="70" name="Straight Connector 69">
              <a:extLst>
                <a:ext uri="{FF2B5EF4-FFF2-40B4-BE49-F238E27FC236}">
                  <a16:creationId xmlns:a16="http://schemas.microsoft.com/office/drawing/2014/main" id="{7EF48578-389D-4BEF-A45B-3191CBB81511}"/>
                </a:ext>
              </a:extLst>
            </p:cNvPr>
            <p:cNvCxnSpPr>
              <a:cxnSpLocks/>
            </p:cNvCxnSpPr>
            <p:nvPr/>
          </p:nvCxnSpPr>
          <p:spPr>
            <a:xfrm>
              <a:off x="4922598" y="3151712"/>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5EAD347-F34C-4205-9D7A-4A30576A4C03}"/>
                </a:ext>
              </a:extLst>
            </p:cNvPr>
            <p:cNvCxnSpPr>
              <a:cxnSpLocks/>
            </p:cNvCxnSpPr>
            <p:nvPr/>
          </p:nvCxnSpPr>
          <p:spPr>
            <a:xfrm flipH="1">
              <a:off x="4523386" y="3151206"/>
              <a:ext cx="371734" cy="300631"/>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C1609B99-BFF8-432F-8542-96EC62EFB6AD}"/>
              </a:ext>
            </a:extLst>
          </p:cNvPr>
          <p:cNvGrpSpPr/>
          <p:nvPr/>
        </p:nvGrpSpPr>
        <p:grpSpPr>
          <a:xfrm>
            <a:off x="4487991" y="4634811"/>
            <a:ext cx="1056606" cy="391402"/>
            <a:chOff x="4487991" y="4634811"/>
            <a:chExt cx="1056606" cy="391402"/>
          </a:xfrm>
        </p:grpSpPr>
        <p:cxnSp>
          <p:nvCxnSpPr>
            <p:cNvPr id="72" name="Straight Connector 71">
              <a:extLst>
                <a:ext uri="{FF2B5EF4-FFF2-40B4-BE49-F238E27FC236}">
                  <a16:creationId xmlns:a16="http://schemas.microsoft.com/office/drawing/2014/main" id="{20032D42-15B0-420F-A943-9DB4F968FA5B}"/>
                </a:ext>
              </a:extLst>
            </p:cNvPr>
            <p:cNvCxnSpPr>
              <a:cxnSpLocks/>
            </p:cNvCxnSpPr>
            <p:nvPr/>
          </p:nvCxnSpPr>
          <p:spPr>
            <a:xfrm>
              <a:off x="4922598" y="502621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6138207-8AFD-4292-830F-23D35667751B}"/>
                </a:ext>
              </a:extLst>
            </p:cNvPr>
            <p:cNvCxnSpPr>
              <a:cxnSpLocks/>
            </p:cNvCxnSpPr>
            <p:nvPr/>
          </p:nvCxnSpPr>
          <p:spPr>
            <a:xfrm flipH="1" flipV="1">
              <a:off x="4487991" y="4634811"/>
              <a:ext cx="419702" cy="391183"/>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22" name="Title 21">
            <a:extLst>
              <a:ext uri="{FF2B5EF4-FFF2-40B4-BE49-F238E27FC236}">
                <a16:creationId xmlns:a16="http://schemas.microsoft.com/office/drawing/2014/main" id="{717367B2-7FA5-4AFE-A869-462452B82076}"/>
              </a:ext>
            </a:extLst>
          </p:cNvPr>
          <p:cNvSpPr>
            <a:spLocks noGrp="1"/>
          </p:cNvSpPr>
          <p:nvPr>
            <p:ph type="title"/>
          </p:nvPr>
        </p:nvSpPr>
        <p:spPr/>
        <p:txBody>
          <a:bodyPr/>
          <a:lstStyle/>
          <a:p>
            <a:r>
              <a:rPr lang="en-US" dirty="0"/>
              <a:t>Title</a:t>
            </a:r>
          </a:p>
        </p:txBody>
      </p:sp>
      <p:sp>
        <p:nvSpPr>
          <p:cNvPr id="29" name="Rectangle 28">
            <a:extLst>
              <a:ext uri="{FF2B5EF4-FFF2-40B4-BE49-F238E27FC236}">
                <a16:creationId xmlns:a16="http://schemas.microsoft.com/office/drawing/2014/main" id="{85792199-C072-432A-8B6C-4BF6249450D5}"/>
              </a:ext>
            </a:extLst>
          </p:cNvPr>
          <p:cNvSpPr/>
          <p:nvPr/>
        </p:nvSpPr>
        <p:spPr>
          <a:xfrm>
            <a:off x="391709" y="815224"/>
            <a:ext cx="11300915" cy="369332"/>
          </a:xfrm>
          <a:prstGeom prst="rect">
            <a:avLst/>
          </a:prstGeom>
        </p:spPr>
        <p:txBody>
          <a:bodyPr wrap="square">
            <a:spAutoFit/>
          </a:bodyPr>
          <a:lstStyle/>
          <a:p>
            <a:r>
              <a:rPr lang="en-US" sz="1800" dirty="0">
                <a:solidFill>
                  <a:schemeClr val="bg1"/>
                </a:solidFill>
              </a:rPr>
              <a:t>Explanatory text</a:t>
            </a:r>
          </a:p>
        </p:txBody>
      </p:sp>
    </p:spTree>
    <p:extLst>
      <p:ext uri="{BB962C8B-B14F-4D97-AF65-F5344CB8AC3E}">
        <p14:creationId xmlns:p14="http://schemas.microsoft.com/office/powerpoint/2010/main" val="3826794418"/>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wipe(up)">
                                          <p:cBhvr>
                                            <p:cTn id="16" dur="500"/>
                                            <p:tgtEl>
                                              <p:spTgt spid="36"/>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ipe(down)">
                                          <p:cBhvr>
                                            <p:cTn id="19" dur="500"/>
                                            <p:tgtEl>
                                              <p:spTgt spid="37"/>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p:cTn id="23" dur="500" fill="hold"/>
                                            <p:tgtEl>
                                              <p:spTgt spid="14"/>
                                            </p:tgtEl>
                                            <p:attrNameLst>
                                              <p:attrName>ppt_w</p:attrName>
                                            </p:attrNameLst>
                                          </p:cBhvr>
                                          <p:tavLst>
                                            <p:tav tm="0">
                                              <p:val>
                                                <p:fltVal val="0"/>
                                              </p:val>
                                            </p:tav>
                                            <p:tav tm="100000">
                                              <p:val>
                                                <p:strVal val="#ppt_w"/>
                                              </p:val>
                                            </p:tav>
                                          </p:tavLst>
                                        </p:anim>
                                        <p:anim calcmode="lin" valueType="num">
                                          <p:cBhvr>
                                            <p:cTn id="24" dur="500" fill="hold"/>
                                            <p:tgtEl>
                                              <p:spTgt spid="14"/>
                                            </p:tgtEl>
                                            <p:attrNameLst>
                                              <p:attrName>ppt_h</p:attrName>
                                            </p:attrNameLst>
                                          </p:cBhvr>
                                          <p:tavLst>
                                            <p:tav tm="0">
                                              <p:val>
                                                <p:fltVal val="0"/>
                                              </p:val>
                                            </p:tav>
                                            <p:tav tm="100000">
                                              <p:val>
                                                <p:strVal val="#ppt_h"/>
                                              </p:val>
                                            </p:tav>
                                          </p:tavLst>
                                        </p:anim>
                                        <p:animEffect transition="in" filter="fade">
                                          <p:cBhvr>
                                            <p:cTn id="25" dur="500"/>
                                            <p:tgtEl>
                                              <p:spTgt spid="14"/>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p:cTn id="28" dur="750" fill="hold"/>
                                            <p:tgtEl>
                                              <p:spTgt spid="6"/>
                                            </p:tgtEl>
                                            <p:attrNameLst>
                                              <p:attrName>ppt_w</p:attrName>
                                            </p:attrNameLst>
                                          </p:cBhvr>
                                          <p:tavLst>
                                            <p:tav tm="0">
                                              <p:val>
                                                <p:fltVal val="0"/>
                                              </p:val>
                                            </p:tav>
                                            <p:tav tm="100000">
                                              <p:val>
                                                <p:strVal val="#ppt_w"/>
                                              </p:val>
                                            </p:tav>
                                          </p:tavLst>
                                        </p:anim>
                                        <p:anim calcmode="lin" valueType="num">
                                          <p:cBhvr>
                                            <p:cTn id="29" dur="750" fill="hold"/>
                                            <p:tgtEl>
                                              <p:spTgt spid="6"/>
                                            </p:tgtEl>
                                            <p:attrNameLst>
                                              <p:attrName>ppt_h</p:attrName>
                                            </p:attrNameLst>
                                          </p:cBhvr>
                                          <p:tavLst>
                                            <p:tav tm="0">
                                              <p:val>
                                                <p:fltVal val="0"/>
                                              </p:val>
                                            </p:tav>
                                            <p:tav tm="100000">
                                              <p:val>
                                                <p:strVal val="#ppt_h"/>
                                              </p:val>
                                            </p:tav>
                                          </p:tavLst>
                                        </p:anim>
                                        <p:animEffect transition="in" filter="fade">
                                          <p:cBhvr>
                                            <p:cTn id="30" dur="750"/>
                                            <p:tgtEl>
                                              <p:spTgt spid="6"/>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p:cTn id="33" dur="1000" fill="hold"/>
                                            <p:tgtEl>
                                              <p:spTgt spid="12"/>
                                            </p:tgtEl>
                                            <p:attrNameLst>
                                              <p:attrName>ppt_w</p:attrName>
                                            </p:attrNameLst>
                                          </p:cBhvr>
                                          <p:tavLst>
                                            <p:tav tm="0">
                                              <p:val>
                                                <p:fltVal val="0"/>
                                              </p:val>
                                            </p:tav>
                                            <p:tav tm="100000">
                                              <p:val>
                                                <p:strVal val="#ppt_w"/>
                                              </p:val>
                                            </p:tav>
                                          </p:tavLst>
                                        </p:anim>
                                        <p:anim calcmode="lin" valueType="num">
                                          <p:cBhvr>
                                            <p:cTn id="34" dur="1000" fill="hold"/>
                                            <p:tgtEl>
                                              <p:spTgt spid="12"/>
                                            </p:tgtEl>
                                            <p:attrNameLst>
                                              <p:attrName>ppt_h</p:attrName>
                                            </p:attrNameLst>
                                          </p:cBhvr>
                                          <p:tavLst>
                                            <p:tav tm="0">
                                              <p:val>
                                                <p:fltVal val="0"/>
                                              </p:val>
                                            </p:tav>
                                            <p:tav tm="100000">
                                              <p:val>
                                                <p:strVal val="#ppt_h"/>
                                              </p:val>
                                            </p:tav>
                                          </p:tavLst>
                                        </p:anim>
                                        <p:animEffect transition="in" filter="fade">
                                          <p:cBhvr>
                                            <p:cTn id="35" dur="1000"/>
                                            <p:tgtEl>
                                              <p:spTgt spid="12"/>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anim calcmode="lin" valueType="num">
                                          <p:cBhvr>
                                            <p:cTn id="38" dur="1250" fill="hold"/>
                                            <p:tgtEl>
                                              <p:spTgt spid="7"/>
                                            </p:tgtEl>
                                            <p:attrNameLst>
                                              <p:attrName>ppt_w</p:attrName>
                                            </p:attrNameLst>
                                          </p:cBhvr>
                                          <p:tavLst>
                                            <p:tav tm="0">
                                              <p:val>
                                                <p:fltVal val="0"/>
                                              </p:val>
                                            </p:tav>
                                            <p:tav tm="100000">
                                              <p:val>
                                                <p:strVal val="#ppt_w"/>
                                              </p:val>
                                            </p:tav>
                                          </p:tavLst>
                                        </p:anim>
                                        <p:anim calcmode="lin" valueType="num">
                                          <p:cBhvr>
                                            <p:cTn id="39" dur="1250" fill="hold"/>
                                            <p:tgtEl>
                                              <p:spTgt spid="7"/>
                                            </p:tgtEl>
                                            <p:attrNameLst>
                                              <p:attrName>ppt_h</p:attrName>
                                            </p:attrNameLst>
                                          </p:cBhvr>
                                          <p:tavLst>
                                            <p:tav tm="0">
                                              <p:val>
                                                <p:fltVal val="0"/>
                                              </p:val>
                                            </p:tav>
                                            <p:tav tm="100000">
                                              <p:val>
                                                <p:strVal val="#ppt_h"/>
                                              </p:val>
                                            </p:tav>
                                          </p:tavLst>
                                        </p:anim>
                                        <p:animEffect transition="in" filter="fade">
                                          <p:cBhvr>
                                            <p:cTn id="40" dur="1250"/>
                                            <p:tgtEl>
                                              <p:spTgt spid="7"/>
                                            </p:tgtEl>
                                          </p:cBhvr>
                                        </p:animEffect>
                                      </p:childTnLst>
                                    </p:cTn>
                                  </p:par>
                                  <p:par>
                                    <p:cTn id="41" presetID="53" presetClass="entr" presetSubtype="16" fill="hold" nodeType="withEffect">
                                      <p:stCondLst>
                                        <p:cond delay="0"/>
                                      </p:stCondLst>
                                      <p:childTnLst>
                                        <p:set>
                                          <p:cBhvr>
                                            <p:cTn id="42" dur="1" fill="hold">
                                              <p:stCondLst>
                                                <p:cond delay="0"/>
                                              </p:stCondLst>
                                            </p:cTn>
                                            <p:tgtEl>
                                              <p:spTgt spid="44"/>
                                            </p:tgtEl>
                                            <p:attrNameLst>
                                              <p:attrName>style.visibility</p:attrName>
                                            </p:attrNameLst>
                                          </p:cBhvr>
                                          <p:to>
                                            <p:strVal val="visible"/>
                                          </p:to>
                                        </p:set>
                                        <p:anim calcmode="lin" valueType="num">
                                          <p:cBhvr>
                                            <p:cTn id="43" dur="500" fill="hold"/>
                                            <p:tgtEl>
                                              <p:spTgt spid="44"/>
                                            </p:tgtEl>
                                            <p:attrNameLst>
                                              <p:attrName>ppt_w</p:attrName>
                                            </p:attrNameLst>
                                          </p:cBhvr>
                                          <p:tavLst>
                                            <p:tav tm="0">
                                              <p:val>
                                                <p:fltVal val="0"/>
                                              </p:val>
                                            </p:tav>
                                            <p:tav tm="100000">
                                              <p:val>
                                                <p:strVal val="#ppt_w"/>
                                              </p:val>
                                            </p:tav>
                                          </p:tavLst>
                                        </p:anim>
                                        <p:anim calcmode="lin" valueType="num">
                                          <p:cBhvr>
                                            <p:cTn id="44" dur="500" fill="hold"/>
                                            <p:tgtEl>
                                              <p:spTgt spid="44"/>
                                            </p:tgtEl>
                                            <p:attrNameLst>
                                              <p:attrName>ppt_h</p:attrName>
                                            </p:attrNameLst>
                                          </p:cBhvr>
                                          <p:tavLst>
                                            <p:tav tm="0">
                                              <p:val>
                                                <p:fltVal val="0"/>
                                              </p:val>
                                            </p:tav>
                                            <p:tav tm="100000">
                                              <p:val>
                                                <p:strVal val="#ppt_h"/>
                                              </p:val>
                                            </p:tav>
                                          </p:tavLst>
                                        </p:anim>
                                        <p:animEffect transition="in" filter="fade">
                                          <p:cBhvr>
                                            <p:cTn id="45" dur="500"/>
                                            <p:tgtEl>
                                              <p:spTgt spid="44"/>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58"/>
                                            </p:tgtEl>
                                            <p:attrNameLst>
                                              <p:attrName>style.visibility</p:attrName>
                                            </p:attrNameLst>
                                          </p:cBhvr>
                                          <p:to>
                                            <p:strVal val="visible"/>
                                          </p:to>
                                        </p:set>
                                        <p:anim calcmode="lin" valueType="num">
                                          <p:cBhvr>
                                            <p:cTn id="50" dur="250" fill="hold"/>
                                            <p:tgtEl>
                                              <p:spTgt spid="58"/>
                                            </p:tgtEl>
                                            <p:attrNameLst>
                                              <p:attrName>ppt_w</p:attrName>
                                            </p:attrNameLst>
                                          </p:cBhvr>
                                          <p:tavLst>
                                            <p:tav tm="0">
                                              <p:val>
                                                <p:fltVal val="0"/>
                                              </p:val>
                                            </p:tav>
                                            <p:tav tm="100000">
                                              <p:val>
                                                <p:strVal val="#ppt_w"/>
                                              </p:val>
                                            </p:tav>
                                          </p:tavLst>
                                        </p:anim>
                                        <p:anim calcmode="lin" valueType="num">
                                          <p:cBhvr>
                                            <p:cTn id="51" dur="250" fill="hold"/>
                                            <p:tgtEl>
                                              <p:spTgt spid="58"/>
                                            </p:tgtEl>
                                            <p:attrNameLst>
                                              <p:attrName>ppt_h</p:attrName>
                                            </p:attrNameLst>
                                          </p:cBhvr>
                                          <p:tavLst>
                                            <p:tav tm="0">
                                              <p:val>
                                                <p:fltVal val="0"/>
                                              </p:val>
                                            </p:tav>
                                            <p:tav tm="100000">
                                              <p:val>
                                                <p:strVal val="#ppt_h"/>
                                              </p:val>
                                            </p:tav>
                                          </p:tavLst>
                                        </p:anim>
                                        <p:animEffect transition="in" filter="fade">
                                          <p:cBhvr>
                                            <p:cTn id="52" dur="250"/>
                                            <p:tgtEl>
                                              <p:spTgt spid="58"/>
                                            </p:tgtEl>
                                          </p:cBhvr>
                                        </p:animEffect>
                                      </p:childTnLst>
                                    </p:cTn>
                                  </p:par>
                                  <p:par>
                                    <p:cTn id="53" presetID="22" presetClass="entr" presetSubtype="8" fill="hold" nodeType="withEffect">
                                      <p:stCondLst>
                                        <p:cond delay="0"/>
                                      </p:stCondLst>
                                      <p:childTnLst>
                                        <p:set>
                                          <p:cBhvr>
                                            <p:cTn id="54" dur="1" fill="hold">
                                              <p:stCondLst>
                                                <p:cond delay="0"/>
                                              </p:stCondLst>
                                            </p:cTn>
                                            <p:tgtEl>
                                              <p:spTgt spid="62"/>
                                            </p:tgtEl>
                                            <p:attrNameLst>
                                              <p:attrName>style.visibility</p:attrName>
                                            </p:attrNameLst>
                                          </p:cBhvr>
                                          <p:to>
                                            <p:strVal val="visible"/>
                                          </p:to>
                                        </p:set>
                                        <p:animEffect transition="in" filter="wipe(left)">
                                          <p:cBhvr>
                                            <p:cTn id="55" dur="500"/>
                                            <p:tgtEl>
                                              <p:spTgt spid="62"/>
                                            </p:tgtEl>
                                          </p:cBhvr>
                                        </p:animEffect>
                                      </p:childTnLst>
                                    </p:cTn>
                                  </p:par>
                                </p:childTnLst>
                              </p:cTn>
                            </p:par>
                            <p:par>
                              <p:cTn id="56" fill="hold">
                                <p:stCondLst>
                                  <p:cond delay="500"/>
                                </p:stCondLst>
                                <p:childTnLst>
                                  <p:par>
                                    <p:cTn id="57" presetID="2" presetClass="entr" presetSubtype="2" fill="hold" nodeType="afterEffect" p14:presetBounceEnd="60000">
                                      <p:stCondLst>
                                        <p:cond delay="0"/>
                                      </p:stCondLst>
                                      <p:childTnLst>
                                        <p:set>
                                          <p:cBhvr>
                                            <p:cTn id="58" dur="1" fill="hold">
                                              <p:stCondLst>
                                                <p:cond delay="0"/>
                                              </p:stCondLst>
                                            </p:cTn>
                                            <p:tgtEl>
                                              <p:spTgt spid="4"/>
                                            </p:tgtEl>
                                            <p:attrNameLst>
                                              <p:attrName>style.visibility</p:attrName>
                                            </p:attrNameLst>
                                          </p:cBhvr>
                                          <p:to>
                                            <p:strVal val="visible"/>
                                          </p:to>
                                        </p:set>
                                        <p:anim calcmode="lin" valueType="num" p14:bounceEnd="60000">
                                          <p:cBhvr additive="base">
                                            <p:cTn id="59" dur="500" fill="hold"/>
                                            <p:tgtEl>
                                              <p:spTgt spid="4"/>
                                            </p:tgtEl>
                                            <p:attrNameLst>
                                              <p:attrName>ppt_x</p:attrName>
                                            </p:attrNameLst>
                                          </p:cBhvr>
                                          <p:tavLst>
                                            <p:tav tm="0">
                                              <p:val>
                                                <p:strVal val="1+#ppt_w/2"/>
                                              </p:val>
                                            </p:tav>
                                            <p:tav tm="100000">
                                              <p:val>
                                                <p:strVal val="#ppt_x"/>
                                              </p:val>
                                            </p:tav>
                                          </p:tavLst>
                                        </p:anim>
                                        <p:anim calcmode="lin" valueType="num" p14:bounceEnd="60000">
                                          <p:cBhvr additive="base">
                                            <p:cTn id="60" dur="500" fill="hold"/>
                                            <p:tgtEl>
                                              <p:spTgt spid="4"/>
                                            </p:tgtEl>
                                            <p:attrNameLst>
                                              <p:attrName>ppt_y</p:attrName>
                                            </p:attrNameLst>
                                          </p:cBhvr>
                                          <p:tavLst>
                                            <p:tav tm="0">
                                              <p:val>
                                                <p:strVal val="#ppt_y"/>
                                              </p:val>
                                            </p:tav>
                                            <p:tav tm="100000">
                                              <p:val>
                                                <p:strVal val="#ppt_y"/>
                                              </p:val>
                                            </p:tav>
                                          </p:tavLst>
                                        </p:anim>
                                      </p:childTnLst>
                                    </p:cTn>
                                  </p:par>
                                  <p:par>
                                    <p:cTn id="61" presetID="22" presetClass="entr" presetSubtype="8"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wipe(left)">
                                          <p:cBhvr>
                                            <p:cTn id="63" dur="500"/>
                                            <p:tgtEl>
                                              <p:spTgt spid="19"/>
                                            </p:tgtEl>
                                          </p:cBhvr>
                                        </p:animEffect>
                                      </p:childTnLst>
                                    </p:cTn>
                                  </p:par>
                                  <p:par>
                                    <p:cTn id="64" presetID="10" presetClass="entr" presetSubtype="0" fill="hold" nodeType="with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fade">
                                          <p:cBhvr>
                                            <p:cTn id="66" dur="500"/>
                                            <p:tgtEl>
                                              <p:spTgt spid="39"/>
                                            </p:tgtEl>
                                          </p:cBhvr>
                                        </p:animEffect>
                                      </p:childTnLst>
                                    </p:cTn>
                                  </p:par>
                                </p:childTnLst>
                              </p:cTn>
                            </p:par>
                          </p:childTnLst>
                        </p:cTn>
                      </p:par>
                      <p:par>
                        <p:cTn id="67" fill="hold">
                          <p:stCondLst>
                            <p:cond delay="indefinite"/>
                          </p:stCondLst>
                          <p:childTnLst>
                            <p:par>
                              <p:cTn id="68" fill="hold">
                                <p:stCondLst>
                                  <p:cond delay="0"/>
                                </p:stCondLst>
                                <p:childTnLst>
                                  <p:par>
                                    <p:cTn id="69" presetID="53" presetClass="entr" presetSubtype="16" fill="hold" grpId="0" nodeType="clickEffect">
                                      <p:stCondLst>
                                        <p:cond delay="0"/>
                                      </p:stCondLst>
                                      <p:childTnLst>
                                        <p:set>
                                          <p:cBhvr>
                                            <p:cTn id="70" dur="1" fill="hold">
                                              <p:stCondLst>
                                                <p:cond delay="0"/>
                                              </p:stCondLst>
                                            </p:cTn>
                                            <p:tgtEl>
                                              <p:spTgt spid="88"/>
                                            </p:tgtEl>
                                            <p:attrNameLst>
                                              <p:attrName>style.visibility</p:attrName>
                                            </p:attrNameLst>
                                          </p:cBhvr>
                                          <p:to>
                                            <p:strVal val="visible"/>
                                          </p:to>
                                        </p:set>
                                        <p:anim calcmode="lin" valueType="num">
                                          <p:cBhvr>
                                            <p:cTn id="71" dur="250" fill="hold"/>
                                            <p:tgtEl>
                                              <p:spTgt spid="88"/>
                                            </p:tgtEl>
                                            <p:attrNameLst>
                                              <p:attrName>ppt_w</p:attrName>
                                            </p:attrNameLst>
                                          </p:cBhvr>
                                          <p:tavLst>
                                            <p:tav tm="0">
                                              <p:val>
                                                <p:fltVal val="0"/>
                                              </p:val>
                                            </p:tav>
                                            <p:tav tm="100000">
                                              <p:val>
                                                <p:strVal val="#ppt_w"/>
                                              </p:val>
                                            </p:tav>
                                          </p:tavLst>
                                        </p:anim>
                                        <p:anim calcmode="lin" valueType="num">
                                          <p:cBhvr>
                                            <p:cTn id="72" dur="250" fill="hold"/>
                                            <p:tgtEl>
                                              <p:spTgt spid="88"/>
                                            </p:tgtEl>
                                            <p:attrNameLst>
                                              <p:attrName>ppt_h</p:attrName>
                                            </p:attrNameLst>
                                          </p:cBhvr>
                                          <p:tavLst>
                                            <p:tav tm="0">
                                              <p:val>
                                                <p:fltVal val="0"/>
                                              </p:val>
                                            </p:tav>
                                            <p:tav tm="100000">
                                              <p:val>
                                                <p:strVal val="#ppt_h"/>
                                              </p:val>
                                            </p:tav>
                                          </p:tavLst>
                                        </p:anim>
                                        <p:animEffect transition="in" filter="fade">
                                          <p:cBhvr>
                                            <p:cTn id="73" dur="250"/>
                                            <p:tgtEl>
                                              <p:spTgt spid="88"/>
                                            </p:tgtEl>
                                          </p:cBhvr>
                                        </p:animEffect>
                                      </p:childTnLst>
                                    </p:cTn>
                                  </p:par>
                                  <p:par>
                                    <p:cTn id="74" presetID="22" presetClass="entr" presetSubtype="8" fill="hold"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wipe(left)">
                                          <p:cBhvr>
                                            <p:cTn id="76" dur="500"/>
                                            <p:tgtEl>
                                              <p:spTgt spid="63"/>
                                            </p:tgtEl>
                                          </p:cBhvr>
                                        </p:animEffect>
                                      </p:childTnLst>
                                    </p:cTn>
                                  </p:par>
                                </p:childTnLst>
                              </p:cTn>
                            </p:par>
                            <p:par>
                              <p:cTn id="77" fill="hold">
                                <p:stCondLst>
                                  <p:cond delay="500"/>
                                </p:stCondLst>
                                <p:childTnLst>
                                  <p:par>
                                    <p:cTn id="78" presetID="2" presetClass="entr" presetSubtype="2" fill="hold" nodeType="afterEffect" p14:presetBounceEnd="60000">
                                      <p:stCondLst>
                                        <p:cond delay="0"/>
                                      </p:stCondLst>
                                      <p:childTnLst>
                                        <p:set>
                                          <p:cBhvr>
                                            <p:cTn id="79" dur="1" fill="hold">
                                              <p:stCondLst>
                                                <p:cond delay="0"/>
                                              </p:stCondLst>
                                            </p:cTn>
                                            <p:tgtEl>
                                              <p:spTgt spid="142"/>
                                            </p:tgtEl>
                                            <p:attrNameLst>
                                              <p:attrName>style.visibility</p:attrName>
                                            </p:attrNameLst>
                                          </p:cBhvr>
                                          <p:to>
                                            <p:strVal val="visible"/>
                                          </p:to>
                                        </p:set>
                                        <p:anim calcmode="lin" valueType="num" p14:bounceEnd="60000">
                                          <p:cBhvr additive="base">
                                            <p:cTn id="80" dur="500" fill="hold"/>
                                            <p:tgtEl>
                                              <p:spTgt spid="142"/>
                                            </p:tgtEl>
                                            <p:attrNameLst>
                                              <p:attrName>ppt_x</p:attrName>
                                            </p:attrNameLst>
                                          </p:cBhvr>
                                          <p:tavLst>
                                            <p:tav tm="0">
                                              <p:val>
                                                <p:strVal val="1+#ppt_w/2"/>
                                              </p:val>
                                            </p:tav>
                                            <p:tav tm="100000">
                                              <p:val>
                                                <p:strVal val="#ppt_x"/>
                                              </p:val>
                                            </p:tav>
                                          </p:tavLst>
                                        </p:anim>
                                        <p:anim calcmode="lin" valueType="num" p14:bounceEnd="60000">
                                          <p:cBhvr additive="base">
                                            <p:cTn id="81" dur="500" fill="hold"/>
                                            <p:tgtEl>
                                              <p:spTgt spid="142"/>
                                            </p:tgtEl>
                                            <p:attrNameLst>
                                              <p:attrName>ppt_y</p:attrName>
                                            </p:attrNameLst>
                                          </p:cBhvr>
                                          <p:tavLst>
                                            <p:tav tm="0">
                                              <p:val>
                                                <p:strVal val="#ppt_y"/>
                                              </p:val>
                                            </p:tav>
                                            <p:tav tm="100000">
                                              <p:val>
                                                <p:strVal val="#ppt_y"/>
                                              </p:val>
                                            </p:tav>
                                          </p:tavLst>
                                        </p:anim>
                                      </p:childTnLst>
                                    </p:cTn>
                                  </p:par>
                                  <p:par>
                                    <p:cTn id="82" presetID="22" presetClass="entr" presetSubtype="8" fill="hold" grpId="0" nodeType="withEffect">
                                      <p:stCondLst>
                                        <p:cond delay="250"/>
                                      </p:stCondLst>
                                      <p:childTnLst>
                                        <p:set>
                                          <p:cBhvr>
                                            <p:cTn id="83" dur="1" fill="hold">
                                              <p:stCondLst>
                                                <p:cond delay="0"/>
                                              </p:stCondLst>
                                            </p:cTn>
                                            <p:tgtEl>
                                              <p:spTgt spid="31"/>
                                            </p:tgtEl>
                                            <p:attrNameLst>
                                              <p:attrName>style.visibility</p:attrName>
                                            </p:attrNameLst>
                                          </p:cBhvr>
                                          <p:to>
                                            <p:strVal val="visible"/>
                                          </p:to>
                                        </p:set>
                                        <p:animEffect transition="in" filter="wipe(left)">
                                          <p:cBhvr>
                                            <p:cTn id="84" dur="500"/>
                                            <p:tgtEl>
                                              <p:spTgt spid="31"/>
                                            </p:tgtEl>
                                          </p:cBhvr>
                                        </p:animEffect>
                                      </p:childTnLst>
                                    </p:cTn>
                                  </p:par>
                                  <p:par>
                                    <p:cTn id="85" presetID="10" presetClass="entr" presetSubtype="0" fill="hold" nodeType="withEffect">
                                      <p:stCondLst>
                                        <p:cond delay="0"/>
                                      </p:stCondLst>
                                      <p:childTnLst>
                                        <p:set>
                                          <p:cBhvr>
                                            <p:cTn id="86" dur="1" fill="hold">
                                              <p:stCondLst>
                                                <p:cond delay="0"/>
                                              </p:stCondLst>
                                            </p:cTn>
                                            <p:tgtEl>
                                              <p:spTgt spid="41"/>
                                            </p:tgtEl>
                                            <p:attrNameLst>
                                              <p:attrName>style.visibility</p:attrName>
                                            </p:attrNameLst>
                                          </p:cBhvr>
                                          <p:to>
                                            <p:strVal val="visible"/>
                                          </p:to>
                                        </p:set>
                                        <p:animEffect transition="in" filter="fade">
                                          <p:cBhvr>
                                            <p:cTn id="87" dur="500"/>
                                            <p:tgtEl>
                                              <p:spTgt spid="41"/>
                                            </p:tgtEl>
                                          </p:cBhvr>
                                        </p:animEffect>
                                      </p:childTnLst>
                                    </p:cTn>
                                  </p:par>
                                </p:childTnLst>
                              </p:cTn>
                            </p:par>
                          </p:childTnLst>
                        </p:cTn>
                      </p:par>
                      <p:par>
                        <p:cTn id="88" fill="hold">
                          <p:stCondLst>
                            <p:cond delay="indefinite"/>
                          </p:stCondLst>
                          <p:childTnLst>
                            <p:par>
                              <p:cTn id="89" fill="hold">
                                <p:stCondLst>
                                  <p:cond delay="0"/>
                                </p:stCondLst>
                                <p:childTnLst>
                                  <p:par>
                                    <p:cTn id="90" presetID="53" presetClass="entr" presetSubtype="16" fill="hold" grpId="0" nodeType="clickEffect">
                                      <p:stCondLst>
                                        <p:cond delay="0"/>
                                      </p:stCondLst>
                                      <p:childTnLst>
                                        <p:set>
                                          <p:cBhvr>
                                            <p:cTn id="91" dur="1" fill="hold">
                                              <p:stCondLst>
                                                <p:cond delay="0"/>
                                              </p:stCondLst>
                                            </p:cTn>
                                            <p:tgtEl>
                                              <p:spTgt spid="89"/>
                                            </p:tgtEl>
                                            <p:attrNameLst>
                                              <p:attrName>style.visibility</p:attrName>
                                            </p:attrNameLst>
                                          </p:cBhvr>
                                          <p:to>
                                            <p:strVal val="visible"/>
                                          </p:to>
                                        </p:set>
                                        <p:anim calcmode="lin" valueType="num">
                                          <p:cBhvr>
                                            <p:cTn id="92" dur="250" fill="hold"/>
                                            <p:tgtEl>
                                              <p:spTgt spid="89"/>
                                            </p:tgtEl>
                                            <p:attrNameLst>
                                              <p:attrName>ppt_w</p:attrName>
                                            </p:attrNameLst>
                                          </p:cBhvr>
                                          <p:tavLst>
                                            <p:tav tm="0">
                                              <p:val>
                                                <p:fltVal val="0"/>
                                              </p:val>
                                            </p:tav>
                                            <p:tav tm="100000">
                                              <p:val>
                                                <p:strVal val="#ppt_w"/>
                                              </p:val>
                                            </p:tav>
                                          </p:tavLst>
                                        </p:anim>
                                        <p:anim calcmode="lin" valueType="num">
                                          <p:cBhvr>
                                            <p:cTn id="93" dur="250" fill="hold"/>
                                            <p:tgtEl>
                                              <p:spTgt spid="89"/>
                                            </p:tgtEl>
                                            <p:attrNameLst>
                                              <p:attrName>ppt_h</p:attrName>
                                            </p:attrNameLst>
                                          </p:cBhvr>
                                          <p:tavLst>
                                            <p:tav tm="0">
                                              <p:val>
                                                <p:fltVal val="0"/>
                                              </p:val>
                                            </p:tav>
                                            <p:tav tm="100000">
                                              <p:val>
                                                <p:strVal val="#ppt_h"/>
                                              </p:val>
                                            </p:tav>
                                          </p:tavLst>
                                        </p:anim>
                                        <p:animEffect transition="in" filter="fade">
                                          <p:cBhvr>
                                            <p:cTn id="94" dur="250"/>
                                            <p:tgtEl>
                                              <p:spTgt spid="89"/>
                                            </p:tgtEl>
                                          </p:cBhvr>
                                        </p:animEffect>
                                      </p:childTnLst>
                                    </p:cTn>
                                  </p:par>
                                  <p:par>
                                    <p:cTn id="95" presetID="22" presetClass="entr" presetSubtype="8" fill="hold" nodeType="withEffect">
                                      <p:stCondLst>
                                        <p:cond delay="0"/>
                                      </p:stCondLst>
                                      <p:childTnLst>
                                        <p:set>
                                          <p:cBhvr>
                                            <p:cTn id="96" dur="1" fill="hold">
                                              <p:stCondLst>
                                                <p:cond delay="0"/>
                                              </p:stCondLst>
                                            </p:cTn>
                                            <p:tgtEl>
                                              <p:spTgt spid="71"/>
                                            </p:tgtEl>
                                            <p:attrNameLst>
                                              <p:attrName>style.visibility</p:attrName>
                                            </p:attrNameLst>
                                          </p:cBhvr>
                                          <p:to>
                                            <p:strVal val="visible"/>
                                          </p:to>
                                        </p:set>
                                        <p:animEffect transition="in" filter="wipe(left)">
                                          <p:cBhvr>
                                            <p:cTn id="97" dur="500"/>
                                            <p:tgtEl>
                                              <p:spTgt spid="71"/>
                                            </p:tgtEl>
                                          </p:cBhvr>
                                        </p:animEffect>
                                      </p:childTnLst>
                                    </p:cTn>
                                  </p:par>
                                </p:childTnLst>
                              </p:cTn>
                            </p:par>
                            <p:par>
                              <p:cTn id="98" fill="hold">
                                <p:stCondLst>
                                  <p:cond delay="500"/>
                                </p:stCondLst>
                                <p:childTnLst>
                                  <p:par>
                                    <p:cTn id="99" presetID="2" presetClass="entr" presetSubtype="2" fill="hold" nodeType="afterEffect" p14:presetBounceEnd="60000">
                                      <p:stCondLst>
                                        <p:cond delay="0"/>
                                      </p:stCondLst>
                                      <p:childTnLst>
                                        <p:set>
                                          <p:cBhvr>
                                            <p:cTn id="100" dur="1" fill="hold">
                                              <p:stCondLst>
                                                <p:cond delay="0"/>
                                              </p:stCondLst>
                                            </p:cTn>
                                            <p:tgtEl>
                                              <p:spTgt spid="32"/>
                                            </p:tgtEl>
                                            <p:attrNameLst>
                                              <p:attrName>style.visibility</p:attrName>
                                            </p:attrNameLst>
                                          </p:cBhvr>
                                          <p:to>
                                            <p:strVal val="visible"/>
                                          </p:to>
                                        </p:set>
                                        <p:anim calcmode="lin" valueType="num" p14:bounceEnd="60000">
                                          <p:cBhvr additive="base">
                                            <p:cTn id="101" dur="500" fill="hold"/>
                                            <p:tgtEl>
                                              <p:spTgt spid="32"/>
                                            </p:tgtEl>
                                            <p:attrNameLst>
                                              <p:attrName>ppt_x</p:attrName>
                                            </p:attrNameLst>
                                          </p:cBhvr>
                                          <p:tavLst>
                                            <p:tav tm="0">
                                              <p:val>
                                                <p:strVal val="1+#ppt_w/2"/>
                                              </p:val>
                                            </p:tav>
                                            <p:tav tm="100000">
                                              <p:val>
                                                <p:strVal val="#ppt_x"/>
                                              </p:val>
                                            </p:tav>
                                          </p:tavLst>
                                        </p:anim>
                                        <p:anim calcmode="lin" valueType="num" p14:bounceEnd="60000">
                                          <p:cBhvr additive="base">
                                            <p:cTn id="102" dur="500" fill="hold"/>
                                            <p:tgtEl>
                                              <p:spTgt spid="32"/>
                                            </p:tgtEl>
                                            <p:attrNameLst>
                                              <p:attrName>ppt_y</p:attrName>
                                            </p:attrNameLst>
                                          </p:cBhvr>
                                          <p:tavLst>
                                            <p:tav tm="0">
                                              <p:val>
                                                <p:strVal val="#ppt_y"/>
                                              </p:val>
                                            </p:tav>
                                            <p:tav tm="100000">
                                              <p:val>
                                                <p:strVal val="#ppt_y"/>
                                              </p:val>
                                            </p:tav>
                                          </p:tavLst>
                                        </p:anim>
                                      </p:childTnLst>
                                    </p:cTn>
                                  </p:par>
                                  <p:par>
                                    <p:cTn id="103" presetID="22" presetClass="entr" presetSubtype="8" fill="hold" grpId="0" nodeType="withEffect">
                                      <p:stCondLst>
                                        <p:cond delay="250"/>
                                      </p:stCondLst>
                                      <p:childTnLst>
                                        <p:set>
                                          <p:cBhvr>
                                            <p:cTn id="104" dur="1" fill="hold">
                                              <p:stCondLst>
                                                <p:cond delay="0"/>
                                              </p:stCondLst>
                                            </p:cTn>
                                            <p:tgtEl>
                                              <p:spTgt spid="35"/>
                                            </p:tgtEl>
                                            <p:attrNameLst>
                                              <p:attrName>style.visibility</p:attrName>
                                            </p:attrNameLst>
                                          </p:cBhvr>
                                          <p:to>
                                            <p:strVal val="visible"/>
                                          </p:to>
                                        </p:set>
                                        <p:animEffect transition="in" filter="wipe(left)">
                                          <p:cBhvr>
                                            <p:cTn id="105" dur="500"/>
                                            <p:tgtEl>
                                              <p:spTgt spid="35"/>
                                            </p:tgtEl>
                                          </p:cBhvr>
                                        </p:animEffect>
                                      </p:childTnLst>
                                    </p:cTn>
                                  </p:par>
                                  <p:par>
                                    <p:cTn id="106" presetID="10" presetClass="entr" presetSubtype="0" fill="hold" nodeType="withEffect">
                                      <p:stCondLst>
                                        <p:cond delay="0"/>
                                      </p:stCondLst>
                                      <p:childTnLst>
                                        <p:set>
                                          <p:cBhvr>
                                            <p:cTn id="107" dur="1" fill="hold">
                                              <p:stCondLst>
                                                <p:cond delay="0"/>
                                              </p:stCondLst>
                                            </p:cTn>
                                            <p:tgtEl>
                                              <p:spTgt spid="42"/>
                                            </p:tgtEl>
                                            <p:attrNameLst>
                                              <p:attrName>style.visibility</p:attrName>
                                            </p:attrNameLst>
                                          </p:cBhvr>
                                          <p:to>
                                            <p:strVal val="visible"/>
                                          </p:to>
                                        </p:set>
                                        <p:animEffect transition="in" filter="fade">
                                          <p:cBhvr>
                                            <p:cTn id="108" dur="500"/>
                                            <p:tgtEl>
                                              <p:spTgt spid="42"/>
                                            </p:tgtEl>
                                          </p:cBhvr>
                                        </p:animEffect>
                                      </p:childTnLst>
                                    </p:cTn>
                                  </p:par>
                                </p:childTnLst>
                              </p:cTn>
                            </p:par>
                          </p:childTnLst>
                        </p:cTn>
                      </p:par>
                      <p:par>
                        <p:cTn id="109" fill="hold">
                          <p:stCondLst>
                            <p:cond delay="indefinite"/>
                          </p:stCondLst>
                          <p:childTnLst>
                            <p:par>
                              <p:cTn id="110" fill="hold">
                                <p:stCondLst>
                                  <p:cond delay="0"/>
                                </p:stCondLst>
                                <p:childTnLst>
                                  <p:par>
                                    <p:cTn id="111" presetID="53" presetClass="entr" presetSubtype="16" fill="hold" grpId="0" nodeType="clickEffect">
                                      <p:stCondLst>
                                        <p:cond delay="0"/>
                                      </p:stCondLst>
                                      <p:childTnLst>
                                        <p:set>
                                          <p:cBhvr>
                                            <p:cTn id="112" dur="1" fill="hold">
                                              <p:stCondLst>
                                                <p:cond delay="0"/>
                                              </p:stCondLst>
                                            </p:cTn>
                                            <p:tgtEl>
                                              <p:spTgt spid="90"/>
                                            </p:tgtEl>
                                            <p:attrNameLst>
                                              <p:attrName>style.visibility</p:attrName>
                                            </p:attrNameLst>
                                          </p:cBhvr>
                                          <p:to>
                                            <p:strVal val="visible"/>
                                          </p:to>
                                        </p:set>
                                        <p:anim calcmode="lin" valueType="num">
                                          <p:cBhvr>
                                            <p:cTn id="113" dur="250" fill="hold"/>
                                            <p:tgtEl>
                                              <p:spTgt spid="90"/>
                                            </p:tgtEl>
                                            <p:attrNameLst>
                                              <p:attrName>ppt_w</p:attrName>
                                            </p:attrNameLst>
                                          </p:cBhvr>
                                          <p:tavLst>
                                            <p:tav tm="0">
                                              <p:val>
                                                <p:fltVal val="0"/>
                                              </p:val>
                                            </p:tav>
                                            <p:tav tm="100000">
                                              <p:val>
                                                <p:strVal val="#ppt_w"/>
                                              </p:val>
                                            </p:tav>
                                          </p:tavLst>
                                        </p:anim>
                                        <p:anim calcmode="lin" valueType="num">
                                          <p:cBhvr>
                                            <p:cTn id="114" dur="250" fill="hold"/>
                                            <p:tgtEl>
                                              <p:spTgt spid="90"/>
                                            </p:tgtEl>
                                            <p:attrNameLst>
                                              <p:attrName>ppt_h</p:attrName>
                                            </p:attrNameLst>
                                          </p:cBhvr>
                                          <p:tavLst>
                                            <p:tav tm="0">
                                              <p:val>
                                                <p:fltVal val="0"/>
                                              </p:val>
                                            </p:tav>
                                            <p:tav tm="100000">
                                              <p:val>
                                                <p:strVal val="#ppt_h"/>
                                              </p:val>
                                            </p:tav>
                                          </p:tavLst>
                                        </p:anim>
                                        <p:animEffect transition="in" filter="fade">
                                          <p:cBhvr>
                                            <p:cTn id="115" dur="250"/>
                                            <p:tgtEl>
                                              <p:spTgt spid="90"/>
                                            </p:tgtEl>
                                          </p:cBhvr>
                                        </p:animEffect>
                                      </p:childTnLst>
                                    </p:cTn>
                                  </p:par>
                                  <p:par>
                                    <p:cTn id="116" presetID="22" presetClass="entr" presetSubtype="8" fill="hold" nodeType="withEffect">
                                      <p:stCondLst>
                                        <p:cond delay="0"/>
                                      </p:stCondLst>
                                      <p:childTnLst>
                                        <p:set>
                                          <p:cBhvr>
                                            <p:cTn id="117" dur="1" fill="hold">
                                              <p:stCondLst>
                                                <p:cond delay="0"/>
                                              </p:stCondLst>
                                            </p:cTn>
                                            <p:tgtEl>
                                              <p:spTgt spid="64"/>
                                            </p:tgtEl>
                                            <p:attrNameLst>
                                              <p:attrName>style.visibility</p:attrName>
                                            </p:attrNameLst>
                                          </p:cBhvr>
                                          <p:to>
                                            <p:strVal val="visible"/>
                                          </p:to>
                                        </p:set>
                                        <p:animEffect transition="in" filter="wipe(left)">
                                          <p:cBhvr>
                                            <p:cTn id="118" dur="500"/>
                                            <p:tgtEl>
                                              <p:spTgt spid="64"/>
                                            </p:tgtEl>
                                          </p:cBhvr>
                                        </p:animEffect>
                                      </p:childTnLst>
                                    </p:cTn>
                                  </p:par>
                                </p:childTnLst>
                              </p:cTn>
                            </p:par>
                            <p:par>
                              <p:cTn id="119" fill="hold">
                                <p:stCondLst>
                                  <p:cond delay="500"/>
                                </p:stCondLst>
                                <p:childTnLst>
                                  <p:par>
                                    <p:cTn id="120" presetID="2" presetClass="entr" presetSubtype="2" fill="hold" nodeType="afterEffect" p14:presetBounceEnd="60000">
                                      <p:stCondLst>
                                        <p:cond delay="0"/>
                                      </p:stCondLst>
                                      <p:childTnLst>
                                        <p:set>
                                          <p:cBhvr>
                                            <p:cTn id="121" dur="1" fill="hold">
                                              <p:stCondLst>
                                                <p:cond delay="0"/>
                                              </p:stCondLst>
                                            </p:cTn>
                                            <p:tgtEl>
                                              <p:spTgt spid="21"/>
                                            </p:tgtEl>
                                            <p:attrNameLst>
                                              <p:attrName>style.visibility</p:attrName>
                                            </p:attrNameLst>
                                          </p:cBhvr>
                                          <p:to>
                                            <p:strVal val="visible"/>
                                          </p:to>
                                        </p:set>
                                        <p:anim calcmode="lin" valueType="num" p14:bounceEnd="60000">
                                          <p:cBhvr additive="base">
                                            <p:cTn id="122" dur="500" fill="hold"/>
                                            <p:tgtEl>
                                              <p:spTgt spid="21"/>
                                            </p:tgtEl>
                                            <p:attrNameLst>
                                              <p:attrName>ppt_x</p:attrName>
                                            </p:attrNameLst>
                                          </p:cBhvr>
                                          <p:tavLst>
                                            <p:tav tm="0">
                                              <p:val>
                                                <p:strVal val="1+#ppt_w/2"/>
                                              </p:val>
                                            </p:tav>
                                            <p:tav tm="100000">
                                              <p:val>
                                                <p:strVal val="#ppt_x"/>
                                              </p:val>
                                            </p:tav>
                                          </p:tavLst>
                                        </p:anim>
                                        <p:anim calcmode="lin" valueType="num" p14:bounceEnd="60000">
                                          <p:cBhvr additive="base">
                                            <p:cTn id="123" dur="500" fill="hold"/>
                                            <p:tgtEl>
                                              <p:spTgt spid="21"/>
                                            </p:tgtEl>
                                            <p:attrNameLst>
                                              <p:attrName>ppt_y</p:attrName>
                                            </p:attrNameLst>
                                          </p:cBhvr>
                                          <p:tavLst>
                                            <p:tav tm="0">
                                              <p:val>
                                                <p:strVal val="#ppt_y"/>
                                              </p:val>
                                            </p:tav>
                                            <p:tav tm="100000">
                                              <p:val>
                                                <p:strVal val="#ppt_y"/>
                                              </p:val>
                                            </p:tav>
                                          </p:tavLst>
                                        </p:anim>
                                      </p:childTnLst>
                                    </p:cTn>
                                  </p:par>
                                  <p:par>
                                    <p:cTn id="124" presetID="22" presetClass="entr" presetSubtype="8" fill="hold" grpId="0" nodeType="withEffect">
                                      <p:stCondLst>
                                        <p:cond delay="250"/>
                                      </p:stCondLst>
                                      <p:childTnLst>
                                        <p:set>
                                          <p:cBhvr>
                                            <p:cTn id="125" dur="1" fill="hold">
                                              <p:stCondLst>
                                                <p:cond delay="0"/>
                                              </p:stCondLst>
                                            </p:cTn>
                                            <p:tgtEl>
                                              <p:spTgt spid="27"/>
                                            </p:tgtEl>
                                            <p:attrNameLst>
                                              <p:attrName>style.visibility</p:attrName>
                                            </p:attrNameLst>
                                          </p:cBhvr>
                                          <p:to>
                                            <p:strVal val="visible"/>
                                          </p:to>
                                        </p:set>
                                        <p:animEffect transition="in" filter="wipe(left)">
                                          <p:cBhvr>
                                            <p:cTn id="126" dur="500"/>
                                            <p:tgtEl>
                                              <p:spTgt spid="27"/>
                                            </p:tgtEl>
                                          </p:cBhvr>
                                        </p:animEffect>
                                      </p:childTnLst>
                                    </p:cTn>
                                  </p:par>
                                  <p:par>
                                    <p:cTn id="127" presetID="10" presetClass="entr" presetSubtype="0" fill="hold" nodeType="withEffect">
                                      <p:stCondLst>
                                        <p:cond delay="0"/>
                                      </p:stCondLst>
                                      <p:childTnLst>
                                        <p:set>
                                          <p:cBhvr>
                                            <p:cTn id="128" dur="1" fill="hold">
                                              <p:stCondLst>
                                                <p:cond delay="0"/>
                                              </p:stCondLst>
                                            </p:cTn>
                                            <p:tgtEl>
                                              <p:spTgt spid="43"/>
                                            </p:tgtEl>
                                            <p:attrNameLst>
                                              <p:attrName>style.visibility</p:attrName>
                                            </p:attrNameLst>
                                          </p:cBhvr>
                                          <p:to>
                                            <p:strVal val="visible"/>
                                          </p:to>
                                        </p:set>
                                        <p:animEffect transition="in" filter="fade">
                                          <p:cBhvr>
                                            <p:cTn id="129" dur="500"/>
                                            <p:tgtEl>
                                              <p:spTgt spid="43"/>
                                            </p:tgtEl>
                                          </p:cBhvr>
                                        </p:animEffect>
                                      </p:childTnLst>
                                    </p:cTn>
                                  </p:par>
                                </p:childTnLst>
                              </p:cTn>
                            </p:par>
                          </p:childTnLst>
                        </p:cTn>
                      </p:par>
                      <p:par>
                        <p:cTn id="130" fill="hold">
                          <p:stCondLst>
                            <p:cond delay="indefinite"/>
                          </p:stCondLst>
                          <p:childTnLst>
                            <p:par>
                              <p:cTn id="131" fill="hold">
                                <p:stCondLst>
                                  <p:cond delay="0"/>
                                </p:stCondLst>
                                <p:childTnLst>
                                  <p:par>
                                    <p:cTn id="132" presetID="53" presetClass="entr" presetSubtype="16" fill="hold" grpId="0" nodeType="clickEffect">
                                      <p:stCondLst>
                                        <p:cond delay="0"/>
                                      </p:stCondLst>
                                      <p:childTnLst>
                                        <p:set>
                                          <p:cBhvr>
                                            <p:cTn id="133" dur="1" fill="hold">
                                              <p:stCondLst>
                                                <p:cond delay="0"/>
                                              </p:stCondLst>
                                            </p:cTn>
                                            <p:tgtEl>
                                              <p:spTgt spid="91"/>
                                            </p:tgtEl>
                                            <p:attrNameLst>
                                              <p:attrName>style.visibility</p:attrName>
                                            </p:attrNameLst>
                                          </p:cBhvr>
                                          <p:to>
                                            <p:strVal val="visible"/>
                                          </p:to>
                                        </p:set>
                                        <p:anim calcmode="lin" valueType="num">
                                          <p:cBhvr>
                                            <p:cTn id="134" dur="250" fill="hold"/>
                                            <p:tgtEl>
                                              <p:spTgt spid="91"/>
                                            </p:tgtEl>
                                            <p:attrNameLst>
                                              <p:attrName>ppt_w</p:attrName>
                                            </p:attrNameLst>
                                          </p:cBhvr>
                                          <p:tavLst>
                                            <p:tav tm="0">
                                              <p:val>
                                                <p:fltVal val="0"/>
                                              </p:val>
                                            </p:tav>
                                            <p:tav tm="100000">
                                              <p:val>
                                                <p:strVal val="#ppt_w"/>
                                              </p:val>
                                            </p:tav>
                                          </p:tavLst>
                                        </p:anim>
                                        <p:anim calcmode="lin" valueType="num">
                                          <p:cBhvr>
                                            <p:cTn id="135" dur="250" fill="hold"/>
                                            <p:tgtEl>
                                              <p:spTgt spid="91"/>
                                            </p:tgtEl>
                                            <p:attrNameLst>
                                              <p:attrName>ppt_h</p:attrName>
                                            </p:attrNameLst>
                                          </p:cBhvr>
                                          <p:tavLst>
                                            <p:tav tm="0">
                                              <p:val>
                                                <p:fltVal val="0"/>
                                              </p:val>
                                            </p:tav>
                                            <p:tav tm="100000">
                                              <p:val>
                                                <p:strVal val="#ppt_h"/>
                                              </p:val>
                                            </p:tav>
                                          </p:tavLst>
                                        </p:anim>
                                        <p:animEffect transition="in" filter="fade">
                                          <p:cBhvr>
                                            <p:cTn id="136" dur="250"/>
                                            <p:tgtEl>
                                              <p:spTgt spid="91"/>
                                            </p:tgtEl>
                                          </p:cBhvr>
                                        </p:animEffect>
                                      </p:childTnLst>
                                    </p:cTn>
                                  </p:par>
                                  <p:par>
                                    <p:cTn id="137" presetID="22" presetClass="entr" presetSubtype="8" fill="hold" nodeType="withEffect">
                                      <p:stCondLst>
                                        <p:cond delay="0"/>
                                      </p:stCondLst>
                                      <p:childTnLst>
                                        <p:set>
                                          <p:cBhvr>
                                            <p:cTn id="138" dur="1" fill="hold">
                                              <p:stCondLst>
                                                <p:cond delay="0"/>
                                              </p:stCondLst>
                                            </p:cTn>
                                            <p:tgtEl>
                                              <p:spTgt spid="65"/>
                                            </p:tgtEl>
                                            <p:attrNameLst>
                                              <p:attrName>style.visibility</p:attrName>
                                            </p:attrNameLst>
                                          </p:cBhvr>
                                          <p:to>
                                            <p:strVal val="visible"/>
                                          </p:to>
                                        </p:set>
                                        <p:animEffect transition="in" filter="wipe(left)">
                                          <p:cBhvr>
                                            <p:cTn id="139" dur="500"/>
                                            <p:tgtEl>
                                              <p:spTgt spid="65"/>
                                            </p:tgtEl>
                                          </p:cBhvr>
                                        </p:animEffect>
                                      </p:childTnLst>
                                    </p:cTn>
                                  </p:par>
                                </p:childTnLst>
                              </p:cTn>
                            </p:par>
                            <p:par>
                              <p:cTn id="140" fill="hold">
                                <p:stCondLst>
                                  <p:cond delay="500"/>
                                </p:stCondLst>
                                <p:childTnLst>
                                  <p:par>
                                    <p:cTn id="141" presetID="2" presetClass="entr" presetSubtype="2" fill="hold" nodeType="afterEffect" p14:presetBounceEnd="60000">
                                      <p:stCondLst>
                                        <p:cond delay="0"/>
                                      </p:stCondLst>
                                      <p:childTnLst>
                                        <p:set>
                                          <p:cBhvr>
                                            <p:cTn id="142" dur="1" fill="hold">
                                              <p:stCondLst>
                                                <p:cond delay="0"/>
                                              </p:stCondLst>
                                            </p:cTn>
                                            <p:tgtEl>
                                              <p:spTgt spid="211"/>
                                            </p:tgtEl>
                                            <p:attrNameLst>
                                              <p:attrName>style.visibility</p:attrName>
                                            </p:attrNameLst>
                                          </p:cBhvr>
                                          <p:to>
                                            <p:strVal val="visible"/>
                                          </p:to>
                                        </p:set>
                                        <p:anim calcmode="lin" valueType="num" p14:bounceEnd="60000">
                                          <p:cBhvr additive="base">
                                            <p:cTn id="143" dur="500" fill="hold"/>
                                            <p:tgtEl>
                                              <p:spTgt spid="211"/>
                                            </p:tgtEl>
                                            <p:attrNameLst>
                                              <p:attrName>ppt_x</p:attrName>
                                            </p:attrNameLst>
                                          </p:cBhvr>
                                          <p:tavLst>
                                            <p:tav tm="0">
                                              <p:val>
                                                <p:strVal val="1+#ppt_w/2"/>
                                              </p:val>
                                            </p:tav>
                                            <p:tav tm="100000">
                                              <p:val>
                                                <p:strVal val="#ppt_x"/>
                                              </p:val>
                                            </p:tav>
                                          </p:tavLst>
                                        </p:anim>
                                        <p:anim calcmode="lin" valueType="num" p14:bounceEnd="60000">
                                          <p:cBhvr additive="base">
                                            <p:cTn id="144" dur="500" fill="hold"/>
                                            <p:tgtEl>
                                              <p:spTgt spid="211"/>
                                            </p:tgtEl>
                                            <p:attrNameLst>
                                              <p:attrName>ppt_y</p:attrName>
                                            </p:attrNameLst>
                                          </p:cBhvr>
                                          <p:tavLst>
                                            <p:tav tm="0">
                                              <p:val>
                                                <p:strVal val="#ppt_y"/>
                                              </p:val>
                                            </p:tav>
                                            <p:tav tm="100000">
                                              <p:val>
                                                <p:strVal val="#ppt_y"/>
                                              </p:val>
                                            </p:tav>
                                          </p:tavLst>
                                        </p:anim>
                                      </p:childTnLst>
                                    </p:cTn>
                                  </p:par>
                                  <p:par>
                                    <p:cTn id="145" presetID="22" presetClass="entr" presetSubtype="8" fill="hold" grpId="0" nodeType="withEffect">
                                      <p:stCondLst>
                                        <p:cond delay="0"/>
                                      </p:stCondLst>
                                      <p:childTnLst>
                                        <p:set>
                                          <p:cBhvr>
                                            <p:cTn id="146" dur="1" fill="hold">
                                              <p:stCondLst>
                                                <p:cond delay="0"/>
                                              </p:stCondLst>
                                            </p:cTn>
                                            <p:tgtEl>
                                              <p:spTgt spid="23"/>
                                            </p:tgtEl>
                                            <p:attrNameLst>
                                              <p:attrName>style.visibility</p:attrName>
                                            </p:attrNameLst>
                                          </p:cBhvr>
                                          <p:to>
                                            <p:strVal val="visible"/>
                                          </p:to>
                                        </p:set>
                                        <p:animEffect transition="in" filter="wipe(left)">
                                          <p:cBhvr>
                                            <p:cTn id="147" dur="500"/>
                                            <p:tgtEl>
                                              <p:spTgt spid="23"/>
                                            </p:tgtEl>
                                          </p:cBhvr>
                                        </p:animEffect>
                                      </p:childTnLst>
                                    </p:cTn>
                                  </p:par>
                                  <p:par>
                                    <p:cTn id="148" presetID="10" presetClass="entr" presetSubtype="0" fill="hold" nodeType="withEffect">
                                      <p:stCondLst>
                                        <p:cond delay="250"/>
                                      </p:stCondLst>
                                      <p:childTnLst>
                                        <p:set>
                                          <p:cBhvr>
                                            <p:cTn id="149" dur="1" fill="hold">
                                              <p:stCondLst>
                                                <p:cond delay="0"/>
                                              </p:stCondLst>
                                            </p:cTn>
                                            <p:tgtEl>
                                              <p:spTgt spid="86"/>
                                            </p:tgtEl>
                                            <p:attrNameLst>
                                              <p:attrName>style.visibility</p:attrName>
                                            </p:attrNameLst>
                                          </p:cBhvr>
                                          <p:to>
                                            <p:strVal val="visible"/>
                                          </p:to>
                                        </p:set>
                                        <p:animEffect transition="in" filter="fade">
                                          <p:cBhvr>
                                            <p:cTn id="150"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P spid="22" grpId="0"/>
          <p:bldP spid="29"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wipe(up)">
                                          <p:cBhvr>
                                            <p:cTn id="16" dur="500"/>
                                            <p:tgtEl>
                                              <p:spTgt spid="36"/>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ipe(down)">
                                          <p:cBhvr>
                                            <p:cTn id="19" dur="500"/>
                                            <p:tgtEl>
                                              <p:spTgt spid="37"/>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p:cTn id="23" dur="500" fill="hold"/>
                                            <p:tgtEl>
                                              <p:spTgt spid="14"/>
                                            </p:tgtEl>
                                            <p:attrNameLst>
                                              <p:attrName>ppt_w</p:attrName>
                                            </p:attrNameLst>
                                          </p:cBhvr>
                                          <p:tavLst>
                                            <p:tav tm="0">
                                              <p:val>
                                                <p:fltVal val="0"/>
                                              </p:val>
                                            </p:tav>
                                            <p:tav tm="100000">
                                              <p:val>
                                                <p:strVal val="#ppt_w"/>
                                              </p:val>
                                            </p:tav>
                                          </p:tavLst>
                                        </p:anim>
                                        <p:anim calcmode="lin" valueType="num">
                                          <p:cBhvr>
                                            <p:cTn id="24" dur="500" fill="hold"/>
                                            <p:tgtEl>
                                              <p:spTgt spid="14"/>
                                            </p:tgtEl>
                                            <p:attrNameLst>
                                              <p:attrName>ppt_h</p:attrName>
                                            </p:attrNameLst>
                                          </p:cBhvr>
                                          <p:tavLst>
                                            <p:tav tm="0">
                                              <p:val>
                                                <p:fltVal val="0"/>
                                              </p:val>
                                            </p:tav>
                                            <p:tav tm="100000">
                                              <p:val>
                                                <p:strVal val="#ppt_h"/>
                                              </p:val>
                                            </p:tav>
                                          </p:tavLst>
                                        </p:anim>
                                        <p:animEffect transition="in" filter="fade">
                                          <p:cBhvr>
                                            <p:cTn id="25" dur="500"/>
                                            <p:tgtEl>
                                              <p:spTgt spid="14"/>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p:cTn id="28" dur="750" fill="hold"/>
                                            <p:tgtEl>
                                              <p:spTgt spid="6"/>
                                            </p:tgtEl>
                                            <p:attrNameLst>
                                              <p:attrName>ppt_w</p:attrName>
                                            </p:attrNameLst>
                                          </p:cBhvr>
                                          <p:tavLst>
                                            <p:tav tm="0">
                                              <p:val>
                                                <p:fltVal val="0"/>
                                              </p:val>
                                            </p:tav>
                                            <p:tav tm="100000">
                                              <p:val>
                                                <p:strVal val="#ppt_w"/>
                                              </p:val>
                                            </p:tav>
                                          </p:tavLst>
                                        </p:anim>
                                        <p:anim calcmode="lin" valueType="num">
                                          <p:cBhvr>
                                            <p:cTn id="29" dur="750" fill="hold"/>
                                            <p:tgtEl>
                                              <p:spTgt spid="6"/>
                                            </p:tgtEl>
                                            <p:attrNameLst>
                                              <p:attrName>ppt_h</p:attrName>
                                            </p:attrNameLst>
                                          </p:cBhvr>
                                          <p:tavLst>
                                            <p:tav tm="0">
                                              <p:val>
                                                <p:fltVal val="0"/>
                                              </p:val>
                                            </p:tav>
                                            <p:tav tm="100000">
                                              <p:val>
                                                <p:strVal val="#ppt_h"/>
                                              </p:val>
                                            </p:tav>
                                          </p:tavLst>
                                        </p:anim>
                                        <p:animEffect transition="in" filter="fade">
                                          <p:cBhvr>
                                            <p:cTn id="30" dur="750"/>
                                            <p:tgtEl>
                                              <p:spTgt spid="6"/>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p:cTn id="33" dur="1000" fill="hold"/>
                                            <p:tgtEl>
                                              <p:spTgt spid="12"/>
                                            </p:tgtEl>
                                            <p:attrNameLst>
                                              <p:attrName>ppt_w</p:attrName>
                                            </p:attrNameLst>
                                          </p:cBhvr>
                                          <p:tavLst>
                                            <p:tav tm="0">
                                              <p:val>
                                                <p:fltVal val="0"/>
                                              </p:val>
                                            </p:tav>
                                            <p:tav tm="100000">
                                              <p:val>
                                                <p:strVal val="#ppt_w"/>
                                              </p:val>
                                            </p:tav>
                                          </p:tavLst>
                                        </p:anim>
                                        <p:anim calcmode="lin" valueType="num">
                                          <p:cBhvr>
                                            <p:cTn id="34" dur="1000" fill="hold"/>
                                            <p:tgtEl>
                                              <p:spTgt spid="12"/>
                                            </p:tgtEl>
                                            <p:attrNameLst>
                                              <p:attrName>ppt_h</p:attrName>
                                            </p:attrNameLst>
                                          </p:cBhvr>
                                          <p:tavLst>
                                            <p:tav tm="0">
                                              <p:val>
                                                <p:fltVal val="0"/>
                                              </p:val>
                                            </p:tav>
                                            <p:tav tm="100000">
                                              <p:val>
                                                <p:strVal val="#ppt_h"/>
                                              </p:val>
                                            </p:tav>
                                          </p:tavLst>
                                        </p:anim>
                                        <p:animEffect transition="in" filter="fade">
                                          <p:cBhvr>
                                            <p:cTn id="35" dur="1000"/>
                                            <p:tgtEl>
                                              <p:spTgt spid="12"/>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anim calcmode="lin" valueType="num">
                                          <p:cBhvr>
                                            <p:cTn id="38" dur="1250" fill="hold"/>
                                            <p:tgtEl>
                                              <p:spTgt spid="7"/>
                                            </p:tgtEl>
                                            <p:attrNameLst>
                                              <p:attrName>ppt_w</p:attrName>
                                            </p:attrNameLst>
                                          </p:cBhvr>
                                          <p:tavLst>
                                            <p:tav tm="0">
                                              <p:val>
                                                <p:fltVal val="0"/>
                                              </p:val>
                                            </p:tav>
                                            <p:tav tm="100000">
                                              <p:val>
                                                <p:strVal val="#ppt_w"/>
                                              </p:val>
                                            </p:tav>
                                          </p:tavLst>
                                        </p:anim>
                                        <p:anim calcmode="lin" valueType="num">
                                          <p:cBhvr>
                                            <p:cTn id="39" dur="1250" fill="hold"/>
                                            <p:tgtEl>
                                              <p:spTgt spid="7"/>
                                            </p:tgtEl>
                                            <p:attrNameLst>
                                              <p:attrName>ppt_h</p:attrName>
                                            </p:attrNameLst>
                                          </p:cBhvr>
                                          <p:tavLst>
                                            <p:tav tm="0">
                                              <p:val>
                                                <p:fltVal val="0"/>
                                              </p:val>
                                            </p:tav>
                                            <p:tav tm="100000">
                                              <p:val>
                                                <p:strVal val="#ppt_h"/>
                                              </p:val>
                                            </p:tav>
                                          </p:tavLst>
                                        </p:anim>
                                        <p:animEffect transition="in" filter="fade">
                                          <p:cBhvr>
                                            <p:cTn id="40" dur="1250"/>
                                            <p:tgtEl>
                                              <p:spTgt spid="7"/>
                                            </p:tgtEl>
                                          </p:cBhvr>
                                        </p:animEffect>
                                      </p:childTnLst>
                                    </p:cTn>
                                  </p:par>
                                  <p:par>
                                    <p:cTn id="41" presetID="53" presetClass="entr" presetSubtype="16" fill="hold" nodeType="withEffect">
                                      <p:stCondLst>
                                        <p:cond delay="0"/>
                                      </p:stCondLst>
                                      <p:childTnLst>
                                        <p:set>
                                          <p:cBhvr>
                                            <p:cTn id="42" dur="1" fill="hold">
                                              <p:stCondLst>
                                                <p:cond delay="0"/>
                                              </p:stCondLst>
                                            </p:cTn>
                                            <p:tgtEl>
                                              <p:spTgt spid="44"/>
                                            </p:tgtEl>
                                            <p:attrNameLst>
                                              <p:attrName>style.visibility</p:attrName>
                                            </p:attrNameLst>
                                          </p:cBhvr>
                                          <p:to>
                                            <p:strVal val="visible"/>
                                          </p:to>
                                        </p:set>
                                        <p:anim calcmode="lin" valueType="num">
                                          <p:cBhvr>
                                            <p:cTn id="43" dur="500" fill="hold"/>
                                            <p:tgtEl>
                                              <p:spTgt spid="44"/>
                                            </p:tgtEl>
                                            <p:attrNameLst>
                                              <p:attrName>ppt_w</p:attrName>
                                            </p:attrNameLst>
                                          </p:cBhvr>
                                          <p:tavLst>
                                            <p:tav tm="0">
                                              <p:val>
                                                <p:fltVal val="0"/>
                                              </p:val>
                                            </p:tav>
                                            <p:tav tm="100000">
                                              <p:val>
                                                <p:strVal val="#ppt_w"/>
                                              </p:val>
                                            </p:tav>
                                          </p:tavLst>
                                        </p:anim>
                                        <p:anim calcmode="lin" valueType="num">
                                          <p:cBhvr>
                                            <p:cTn id="44" dur="500" fill="hold"/>
                                            <p:tgtEl>
                                              <p:spTgt spid="44"/>
                                            </p:tgtEl>
                                            <p:attrNameLst>
                                              <p:attrName>ppt_h</p:attrName>
                                            </p:attrNameLst>
                                          </p:cBhvr>
                                          <p:tavLst>
                                            <p:tav tm="0">
                                              <p:val>
                                                <p:fltVal val="0"/>
                                              </p:val>
                                            </p:tav>
                                            <p:tav tm="100000">
                                              <p:val>
                                                <p:strVal val="#ppt_h"/>
                                              </p:val>
                                            </p:tav>
                                          </p:tavLst>
                                        </p:anim>
                                        <p:animEffect transition="in" filter="fade">
                                          <p:cBhvr>
                                            <p:cTn id="45" dur="500"/>
                                            <p:tgtEl>
                                              <p:spTgt spid="44"/>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58"/>
                                            </p:tgtEl>
                                            <p:attrNameLst>
                                              <p:attrName>style.visibility</p:attrName>
                                            </p:attrNameLst>
                                          </p:cBhvr>
                                          <p:to>
                                            <p:strVal val="visible"/>
                                          </p:to>
                                        </p:set>
                                        <p:anim calcmode="lin" valueType="num">
                                          <p:cBhvr>
                                            <p:cTn id="50" dur="250" fill="hold"/>
                                            <p:tgtEl>
                                              <p:spTgt spid="58"/>
                                            </p:tgtEl>
                                            <p:attrNameLst>
                                              <p:attrName>ppt_w</p:attrName>
                                            </p:attrNameLst>
                                          </p:cBhvr>
                                          <p:tavLst>
                                            <p:tav tm="0">
                                              <p:val>
                                                <p:fltVal val="0"/>
                                              </p:val>
                                            </p:tav>
                                            <p:tav tm="100000">
                                              <p:val>
                                                <p:strVal val="#ppt_w"/>
                                              </p:val>
                                            </p:tav>
                                          </p:tavLst>
                                        </p:anim>
                                        <p:anim calcmode="lin" valueType="num">
                                          <p:cBhvr>
                                            <p:cTn id="51" dur="250" fill="hold"/>
                                            <p:tgtEl>
                                              <p:spTgt spid="58"/>
                                            </p:tgtEl>
                                            <p:attrNameLst>
                                              <p:attrName>ppt_h</p:attrName>
                                            </p:attrNameLst>
                                          </p:cBhvr>
                                          <p:tavLst>
                                            <p:tav tm="0">
                                              <p:val>
                                                <p:fltVal val="0"/>
                                              </p:val>
                                            </p:tav>
                                            <p:tav tm="100000">
                                              <p:val>
                                                <p:strVal val="#ppt_h"/>
                                              </p:val>
                                            </p:tav>
                                          </p:tavLst>
                                        </p:anim>
                                        <p:animEffect transition="in" filter="fade">
                                          <p:cBhvr>
                                            <p:cTn id="52" dur="250"/>
                                            <p:tgtEl>
                                              <p:spTgt spid="58"/>
                                            </p:tgtEl>
                                          </p:cBhvr>
                                        </p:animEffect>
                                      </p:childTnLst>
                                    </p:cTn>
                                  </p:par>
                                  <p:par>
                                    <p:cTn id="53" presetID="22" presetClass="entr" presetSubtype="8" fill="hold" nodeType="withEffect">
                                      <p:stCondLst>
                                        <p:cond delay="0"/>
                                      </p:stCondLst>
                                      <p:childTnLst>
                                        <p:set>
                                          <p:cBhvr>
                                            <p:cTn id="54" dur="1" fill="hold">
                                              <p:stCondLst>
                                                <p:cond delay="0"/>
                                              </p:stCondLst>
                                            </p:cTn>
                                            <p:tgtEl>
                                              <p:spTgt spid="62"/>
                                            </p:tgtEl>
                                            <p:attrNameLst>
                                              <p:attrName>style.visibility</p:attrName>
                                            </p:attrNameLst>
                                          </p:cBhvr>
                                          <p:to>
                                            <p:strVal val="visible"/>
                                          </p:to>
                                        </p:set>
                                        <p:animEffect transition="in" filter="wipe(left)">
                                          <p:cBhvr>
                                            <p:cTn id="55" dur="500"/>
                                            <p:tgtEl>
                                              <p:spTgt spid="62"/>
                                            </p:tgtEl>
                                          </p:cBhvr>
                                        </p:animEffect>
                                      </p:childTnLst>
                                    </p:cTn>
                                  </p:par>
                                </p:childTnLst>
                              </p:cTn>
                            </p:par>
                            <p:par>
                              <p:cTn id="56" fill="hold">
                                <p:stCondLst>
                                  <p:cond delay="500"/>
                                </p:stCondLst>
                                <p:childTnLst>
                                  <p:par>
                                    <p:cTn id="57" presetID="2" presetClass="entr" presetSubtype="2" fill="hold" nodeType="afterEffect">
                                      <p:stCondLst>
                                        <p:cond delay="0"/>
                                      </p:stCondLst>
                                      <p:childTnLst>
                                        <p:set>
                                          <p:cBhvr>
                                            <p:cTn id="58" dur="1" fill="hold">
                                              <p:stCondLst>
                                                <p:cond delay="0"/>
                                              </p:stCondLst>
                                            </p:cTn>
                                            <p:tgtEl>
                                              <p:spTgt spid="4"/>
                                            </p:tgtEl>
                                            <p:attrNameLst>
                                              <p:attrName>style.visibility</p:attrName>
                                            </p:attrNameLst>
                                          </p:cBhvr>
                                          <p:to>
                                            <p:strVal val="visible"/>
                                          </p:to>
                                        </p:set>
                                        <p:anim calcmode="lin" valueType="num">
                                          <p:cBhvr additive="base">
                                            <p:cTn id="59" dur="500" fill="hold"/>
                                            <p:tgtEl>
                                              <p:spTgt spid="4"/>
                                            </p:tgtEl>
                                            <p:attrNameLst>
                                              <p:attrName>ppt_x</p:attrName>
                                            </p:attrNameLst>
                                          </p:cBhvr>
                                          <p:tavLst>
                                            <p:tav tm="0">
                                              <p:val>
                                                <p:strVal val="1+#ppt_w/2"/>
                                              </p:val>
                                            </p:tav>
                                            <p:tav tm="100000">
                                              <p:val>
                                                <p:strVal val="#ppt_x"/>
                                              </p:val>
                                            </p:tav>
                                          </p:tavLst>
                                        </p:anim>
                                        <p:anim calcmode="lin" valueType="num">
                                          <p:cBhvr additive="base">
                                            <p:cTn id="60" dur="500" fill="hold"/>
                                            <p:tgtEl>
                                              <p:spTgt spid="4"/>
                                            </p:tgtEl>
                                            <p:attrNameLst>
                                              <p:attrName>ppt_y</p:attrName>
                                            </p:attrNameLst>
                                          </p:cBhvr>
                                          <p:tavLst>
                                            <p:tav tm="0">
                                              <p:val>
                                                <p:strVal val="#ppt_y"/>
                                              </p:val>
                                            </p:tav>
                                            <p:tav tm="100000">
                                              <p:val>
                                                <p:strVal val="#ppt_y"/>
                                              </p:val>
                                            </p:tav>
                                          </p:tavLst>
                                        </p:anim>
                                      </p:childTnLst>
                                    </p:cTn>
                                  </p:par>
                                  <p:par>
                                    <p:cTn id="61" presetID="22" presetClass="entr" presetSubtype="8"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wipe(left)">
                                          <p:cBhvr>
                                            <p:cTn id="63" dur="500"/>
                                            <p:tgtEl>
                                              <p:spTgt spid="19"/>
                                            </p:tgtEl>
                                          </p:cBhvr>
                                        </p:animEffect>
                                      </p:childTnLst>
                                    </p:cTn>
                                  </p:par>
                                  <p:par>
                                    <p:cTn id="64" presetID="10" presetClass="entr" presetSubtype="0" fill="hold" nodeType="with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fade">
                                          <p:cBhvr>
                                            <p:cTn id="66" dur="500"/>
                                            <p:tgtEl>
                                              <p:spTgt spid="39"/>
                                            </p:tgtEl>
                                          </p:cBhvr>
                                        </p:animEffect>
                                      </p:childTnLst>
                                    </p:cTn>
                                  </p:par>
                                </p:childTnLst>
                              </p:cTn>
                            </p:par>
                          </p:childTnLst>
                        </p:cTn>
                      </p:par>
                      <p:par>
                        <p:cTn id="67" fill="hold">
                          <p:stCondLst>
                            <p:cond delay="indefinite"/>
                          </p:stCondLst>
                          <p:childTnLst>
                            <p:par>
                              <p:cTn id="68" fill="hold">
                                <p:stCondLst>
                                  <p:cond delay="0"/>
                                </p:stCondLst>
                                <p:childTnLst>
                                  <p:par>
                                    <p:cTn id="69" presetID="53" presetClass="entr" presetSubtype="16" fill="hold" grpId="0" nodeType="clickEffect">
                                      <p:stCondLst>
                                        <p:cond delay="0"/>
                                      </p:stCondLst>
                                      <p:childTnLst>
                                        <p:set>
                                          <p:cBhvr>
                                            <p:cTn id="70" dur="1" fill="hold">
                                              <p:stCondLst>
                                                <p:cond delay="0"/>
                                              </p:stCondLst>
                                            </p:cTn>
                                            <p:tgtEl>
                                              <p:spTgt spid="88"/>
                                            </p:tgtEl>
                                            <p:attrNameLst>
                                              <p:attrName>style.visibility</p:attrName>
                                            </p:attrNameLst>
                                          </p:cBhvr>
                                          <p:to>
                                            <p:strVal val="visible"/>
                                          </p:to>
                                        </p:set>
                                        <p:anim calcmode="lin" valueType="num">
                                          <p:cBhvr>
                                            <p:cTn id="71" dur="250" fill="hold"/>
                                            <p:tgtEl>
                                              <p:spTgt spid="88"/>
                                            </p:tgtEl>
                                            <p:attrNameLst>
                                              <p:attrName>ppt_w</p:attrName>
                                            </p:attrNameLst>
                                          </p:cBhvr>
                                          <p:tavLst>
                                            <p:tav tm="0">
                                              <p:val>
                                                <p:fltVal val="0"/>
                                              </p:val>
                                            </p:tav>
                                            <p:tav tm="100000">
                                              <p:val>
                                                <p:strVal val="#ppt_w"/>
                                              </p:val>
                                            </p:tav>
                                          </p:tavLst>
                                        </p:anim>
                                        <p:anim calcmode="lin" valueType="num">
                                          <p:cBhvr>
                                            <p:cTn id="72" dur="250" fill="hold"/>
                                            <p:tgtEl>
                                              <p:spTgt spid="88"/>
                                            </p:tgtEl>
                                            <p:attrNameLst>
                                              <p:attrName>ppt_h</p:attrName>
                                            </p:attrNameLst>
                                          </p:cBhvr>
                                          <p:tavLst>
                                            <p:tav tm="0">
                                              <p:val>
                                                <p:fltVal val="0"/>
                                              </p:val>
                                            </p:tav>
                                            <p:tav tm="100000">
                                              <p:val>
                                                <p:strVal val="#ppt_h"/>
                                              </p:val>
                                            </p:tav>
                                          </p:tavLst>
                                        </p:anim>
                                        <p:animEffect transition="in" filter="fade">
                                          <p:cBhvr>
                                            <p:cTn id="73" dur="250"/>
                                            <p:tgtEl>
                                              <p:spTgt spid="88"/>
                                            </p:tgtEl>
                                          </p:cBhvr>
                                        </p:animEffect>
                                      </p:childTnLst>
                                    </p:cTn>
                                  </p:par>
                                  <p:par>
                                    <p:cTn id="74" presetID="22" presetClass="entr" presetSubtype="8" fill="hold"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wipe(left)">
                                          <p:cBhvr>
                                            <p:cTn id="76" dur="500"/>
                                            <p:tgtEl>
                                              <p:spTgt spid="63"/>
                                            </p:tgtEl>
                                          </p:cBhvr>
                                        </p:animEffect>
                                      </p:childTnLst>
                                    </p:cTn>
                                  </p:par>
                                </p:childTnLst>
                              </p:cTn>
                            </p:par>
                            <p:par>
                              <p:cTn id="77" fill="hold">
                                <p:stCondLst>
                                  <p:cond delay="500"/>
                                </p:stCondLst>
                                <p:childTnLst>
                                  <p:par>
                                    <p:cTn id="78" presetID="2" presetClass="entr" presetSubtype="2" fill="hold" nodeType="afterEffect">
                                      <p:stCondLst>
                                        <p:cond delay="0"/>
                                      </p:stCondLst>
                                      <p:childTnLst>
                                        <p:set>
                                          <p:cBhvr>
                                            <p:cTn id="79" dur="1" fill="hold">
                                              <p:stCondLst>
                                                <p:cond delay="0"/>
                                              </p:stCondLst>
                                            </p:cTn>
                                            <p:tgtEl>
                                              <p:spTgt spid="142"/>
                                            </p:tgtEl>
                                            <p:attrNameLst>
                                              <p:attrName>style.visibility</p:attrName>
                                            </p:attrNameLst>
                                          </p:cBhvr>
                                          <p:to>
                                            <p:strVal val="visible"/>
                                          </p:to>
                                        </p:set>
                                        <p:anim calcmode="lin" valueType="num">
                                          <p:cBhvr additive="base">
                                            <p:cTn id="80" dur="500" fill="hold"/>
                                            <p:tgtEl>
                                              <p:spTgt spid="142"/>
                                            </p:tgtEl>
                                            <p:attrNameLst>
                                              <p:attrName>ppt_x</p:attrName>
                                            </p:attrNameLst>
                                          </p:cBhvr>
                                          <p:tavLst>
                                            <p:tav tm="0">
                                              <p:val>
                                                <p:strVal val="1+#ppt_w/2"/>
                                              </p:val>
                                            </p:tav>
                                            <p:tav tm="100000">
                                              <p:val>
                                                <p:strVal val="#ppt_x"/>
                                              </p:val>
                                            </p:tav>
                                          </p:tavLst>
                                        </p:anim>
                                        <p:anim calcmode="lin" valueType="num">
                                          <p:cBhvr additive="base">
                                            <p:cTn id="81" dur="500" fill="hold"/>
                                            <p:tgtEl>
                                              <p:spTgt spid="142"/>
                                            </p:tgtEl>
                                            <p:attrNameLst>
                                              <p:attrName>ppt_y</p:attrName>
                                            </p:attrNameLst>
                                          </p:cBhvr>
                                          <p:tavLst>
                                            <p:tav tm="0">
                                              <p:val>
                                                <p:strVal val="#ppt_y"/>
                                              </p:val>
                                            </p:tav>
                                            <p:tav tm="100000">
                                              <p:val>
                                                <p:strVal val="#ppt_y"/>
                                              </p:val>
                                            </p:tav>
                                          </p:tavLst>
                                        </p:anim>
                                      </p:childTnLst>
                                    </p:cTn>
                                  </p:par>
                                  <p:par>
                                    <p:cTn id="82" presetID="22" presetClass="entr" presetSubtype="8" fill="hold" grpId="0" nodeType="withEffect">
                                      <p:stCondLst>
                                        <p:cond delay="250"/>
                                      </p:stCondLst>
                                      <p:childTnLst>
                                        <p:set>
                                          <p:cBhvr>
                                            <p:cTn id="83" dur="1" fill="hold">
                                              <p:stCondLst>
                                                <p:cond delay="0"/>
                                              </p:stCondLst>
                                            </p:cTn>
                                            <p:tgtEl>
                                              <p:spTgt spid="31"/>
                                            </p:tgtEl>
                                            <p:attrNameLst>
                                              <p:attrName>style.visibility</p:attrName>
                                            </p:attrNameLst>
                                          </p:cBhvr>
                                          <p:to>
                                            <p:strVal val="visible"/>
                                          </p:to>
                                        </p:set>
                                        <p:animEffect transition="in" filter="wipe(left)">
                                          <p:cBhvr>
                                            <p:cTn id="84" dur="500"/>
                                            <p:tgtEl>
                                              <p:spTgt spid="31"/>
                                            </p:tgtEl>
                                          </p:cBhvr>
                                        </p:animEffect>
                                      </p:childTnLst>
                                    </p:cTn>
                                  </p:par>
                                  <p:par>
                                    <p:cTn id="85" presetID="10" presetClass="entr" presetSubtype="0" fill="hold" nodeType="withEffect">
                                      <p:stCondLst>
                                        <p:cond delay="0"/>
                                      </p:stCondLst>
                                      <p:childTnLst>
                                        <p:set>
                                          <p:cBhvr>
                                            <p:cTn id="86" dur="1" fill="hold">
                                              <p:stCondLst>
                                                <p:cond delay="0"/>
                                              </p:stCondLst>
                                            </p:cTn>
                                            <p:tgtEl>
                                              <p:spTgt spid="41"/>
                                            </p:tgtEl>
                                            <p:attrNameLst>
                                              <p:attrName>style.visibility</p:attrName>
                                            </p:attrNameLst>
                                          </p:cBhvr>
                                          <p:to>
                                            <p:strVal val="visible"/>
                                          </p:to>
                                        </p:set>
                                        <p:animEffect transition="in" filter="fade">
                                          <p:cBhvr>
                                            <p:cTn id="87" dur="500"/>
                                            <p:tgtEl>
                                              <p:spTgt spid="41"/>
                                            </p:tgtEl>
                                          </p:cBhvr>
                                        </p:animEffect>
                                      </p:childTnLst>
                                    </p:cTn>
                                  </p:par>
                                </p:childTnLst>
                              </p:cTn>
                            </p:par>
                          </p:childTnLst>
                        </p:cTn>
                      </p:par>
                      <p:par>
                        <p:cTn id="88" fill="hold">
                          <p:stCondLst>
                            <p:cond delay="indefinite"/>
                          </p:stCondLst>
                          <p:childTnLst>
                            <p:par>
                              <p:cTn id="89" fill="hold">
                                <p:stCondLst>
                                  <p:cond delay="0"/>
                                </p:stCondLst>
                                <p:childTnLst>
                                  <p:par>
                                    <p:cTn id="90" presetID="53" presetClass="entr" presetSubtype="16" fill="hold" grpId="0" nodeType="clickEffect">
                                      <p:stCondLst>
                                        <p:cond delay="0"/>
                                      </p:stCondLst>
                                      <p:childTnLst>
                                        <p:set>
                                          <p:cBhvr>
                                            <p:cTn id="91" dur="1" fill="hold">
                                              <p:stCondLst>
                                                <p:cond delay="0"/>
                                              </p:stCondLst>
                                            </p:cTn>
                                            <p:tgtEl>
                                              <p:spTgt spid="89"/>
                                            </p:tgtEl>
                                            <p:attrNameLst>
                                              <p:attrName>style.visibility</p:attrName>
                                            </p:attrNameLst>
                                          </p:cBhvr>
                                          <p:to>
                                            <p:strVal val="visible"/>
                                          </p:to>
                                        </p:set>
                                        <p:anim calcmode="lin" valueType="num">
                                          <p:cBhvr>
                                            <p:cTn id="92" dur="250" fill="hold"/>
                                            <p:tgtEl>
                                              <p:spTgt spid="89"/>
                                            </p:tgtEl>
                                            <p:attrNameLst>
                                              <p:attrName>ppt_w</p:attrName>
                                            </p:attrNameLst>
                                          </p:cBhvr>
                                          <p:tavLst>
                                            <p:tav tm="0">
                                              <p:val>
                                                <p:fltVal val="0"/>
                                              </p:val>
                                            </p:tav>
                                            <p:tav tm="100000">
                                              <p:val>
                                                <p:strVal val="#ppt_w"/>
                                              </p:val>
                                            </p:tav>
                                          </p:tavLst>
                                        </p:anim>
                                        <p:anim calcmode="lin" valueType="num">
                                          <p:cBhvr>
                                            <p:cTn id="93" dur="250" fill="hold"/>
                                            <p:tgtEl>
                                              <p:spTgt spid="89"/>
                                            </p:tgtEl>
                                            <p:attrNameLst>
                                              <p:attrName>ppt_h</p:attrName>
                                            </p:attrNameLst>
                                          </p:cBhvr>
                                          <p:tavLst>
                                            <p:tav tm="0">
                                              <p:val>
                                                <p:fltVal val="0"/>
                                              </p:val>
                                            </p:tav>
                                            <p:tav tm="100000">
                                              <p:val>
                                                <p:strVal val="#ppt_h"/>
                                              </p:val>
                                            </p:tav>
                                          </p:tavLst>
                                        </p:anim>
                                        <p:animEffect transition="in" filter="fade">
                                          <p:cBhvr>
                                            <p:cTn id="94" dur="250"/>
                                            <p:tgtEl>
                                              <p:spTgt spid="89"/>
                                            </p:tgtEl>
                                          </p:cBhvr>
                                        </p:animEffect>
                                      </p:childTnLst>
                                    </p:cTn>
                                  </p:par>
                                  <p:par>
                                    <p:cTn id="95" presetID="22" presetClass="entr" presetSubtype="8" fill="hold" nodeType="withEffect">
                                      <p:stCondLst>
                                        <p:cond delay="0"/>
                                      </p:stCondLst>
                                      <p:childTnLst>
                                        <p:set>
                                          <p:cBhvr>
                                            <p:cTn id="96" dur="1" fill="hold">
                                              <p:stCondLst>
                                                <p:cond delay="0"/>
                                              </p:stCondLst>
                                            </p:cTn>
                                            <p:tgtEl>
                                              <p:spTgt spid="71"/>
                                            </p:tgtEl>
                                            <p:attrNameLst>
                                              <p:attrName>style.visibility</p:attrName>
                                            </p:attrNameLst>
                                          </p:cBhvr>
                                          <p:to>
                                            <p:strVal val="visible"/>
                                          </p:to>
                                        </p:set>
                                        <p:animEffect transition="in" filter="wipe(left)">
                                          <p:cBhvr>
                                            <p:cTn id="97" dur="500"/>
                                            <p:tgtEl>
                                              <p:spTgt spid="71"/>
                                            </p:tgtEl>
                                          </p:cBhvr>
                                        </p:animEffect>
                                      </p:childTnLst>
                                    </p:cTn>
                                  </p:par>
                                </p:childTnLst>
                              </p:cTn>
                            </p:par>
                            <p:par>
                              <p:cTn id="98" fill="hold">
                                <p:stCondLst>
                                  <p:cond delay="500"/>
                                </p:stCondLst>
                                <p:childTnLst>
                                  <p:par>
                                    <p:cTn id="99" presetID="2" presetClass="entr" presetSubtype="2" fill="hold" nodeType="afterEffect">
                                      <p:stCondLst>
                                        <p:cond delay="0"/>
                                      </p:stCondLst>
                                      <p:childTnLst>
                                        <p:set>
                                          <p:cBhvr>
                                            <p:cTn id="100" dur="1" fill="hold">
                                              <p:stCondLst>
                                                <p:cond delay="0"/>
                                              </p:stCondLst>
                                            </p:cTn>
                                            <p:tgtEl>
                                              <p:spTgt spid="32"/>
                                            </p:tgtEl>
                                            <p:attrNameLst>
                                              <p:attrName>style.visibility</p:attrName>
                                            </p:attrNameLst>
                                          </p:cBhvr>
                                          <p:to>
                                            <p:strVal val="visible"/>
                                          </p:to>
                                        </p:set>
                                        <p:anim calcmode="lin" valueType="num">
                                          <p:cBhvr additive="base">
                                            <p:cTn id="101" dur="500" fill="hold"/>
                                            <p:tgtEl>
                                              <p:spTgt spid="32"/>
                                            </p:tgtEl>
                                            <p:attrNameLst>
                                              <p:attrName>ppt_x</p:attrName>
                                            </p:attrNameLst>
                                          </p:cBhvr>
                                          <p:tavLst>
                                            <p:tav tm="0">
                                              <p:val>
                                                <p:strVal val="1+#ppt_w/2"/>
                                              </p:val>
                                            </p:tav>
                                            <p:tav tm="100000">
                                              <p:val>
                                                <p:strVal val="#ppt_x"/>
                                              </p:val>
                                            </p:tav>
                                          </p:tavLst>
                                        </p:anim>
                                        <p:anim calcmode="lin" valueType="num">
                                          <p:cBhvr additive="base">
                                            <p:cTn id="102" dur="500" fill="hold"/>
                                            <p:tgtEl>
                                              <p:spTgt spid="32"/>
                                            </p:tgtEl>
                                            <p:attrNameLst>
                                              <p:attrName>ppt_y</p:attrName>
                                            </p:attrNameLst>
                                          </p:cBhvr>
                                          <p:tavLst>
                                            <p:tav tm="0">
                                              <p:val>
                                                <p:strVal val="#ppt_y"/>
                                              </p:val>
                                            </p:tav>
                                            <p:tav tm="100000">
                                              <p:val>
                                                <p:strVal val="#ppt_y"/>
                                              </p:val>
                                            </p:tav>
                                          </p:tavLst>
                                        </p:anim>
                                      </p:childTnLst>
                                    </p:cTn>
                                  </p:par>
                                  <p:par>
                                    <p:cTn id="103" presetID="22" presetClass="entr" presetSubtype="8" fill="hold" grpId="0" nodeType="withEffect">
                                      <p:stCondLst>
                                        <p:cond delay="250"/>
                                      </p:stCondLst>
                                      <p:childTnLst>
                                        <p:set>
                                          <p:cBhvr>
                                            <p:cTn id="104" dur="1" fill="hold">
                                              <p:stCondLst>
                                                <p:cond delay="0"/>
                                              </p:stCondLst>
                                            </p:cTn>
                                            <p:tgtEl>
                                              <p:spTgt spid="35"/>
                                            </p:tgtEl>
                                            <p:attrNameLst>
                                              <p:attrName>style.visibility</p:attrName>
                                            </p:attrNameLst>
                                          </p:cBhvr>
                                          <p:to>
                                            <p:strVal val="visible"/>
                                          </p:to>
                                        </p:set>
                                        <p:animEffect transition="in" filter="wipe(left)">
                                          <p:cBhvr>
                                            <p:cTn id="105" dur="500"/>
                                            <p:tgtEl>
                                              <p:spTgt spid="35"/>
                                            </p:tgtEl>
                                          </p:cBhvr>
                                        </p:animEffect>
                                      </p:childTnLst>
                                    </p:cTn>
                                  </p:par>
                                  <p:par>
                                    <p:cTn id="106" presetID="10" presetClass="entr" presetSubtype="0" fill="hold" nodeType="withEffect">
                                      <p:stCondLst>
                                        <p:cond delay="0"/>
                                      </p:stCondLst>
                                      <p:childTnLst>
                                        <p:set>
                                          <p:cBhvr>
                                            <p:cTn id="107" dur="1" fill="hold">
                                              <p:stCondLst>
                                                <p:cond delay="0"/>
                                              </p:stCondLst>
                                            </p:cTn>
                                            <p:tgtEl>
                                              <p:spTgt spid="42"/>
                                            </p:tgtEl>
                                            <p:attrNameLst>
                                              <p:attrName>style.visibility</p:attrName>
                                            </p:attrNameLst>
                                          </p:cBhvr>
                                          <p:to>
                                            <p:strVal val="visible"/>
                                          </p:to>
                                        </p:set>
                                        <p:animEffect transition="in" filter="fade">
                                          <p:cBhvr>
                                            <p:cTn id="108" dur="500"/>
                                            <p:tgtEl>
                                              <p:spTgt spid="42"/>
                                            </p:tgtEl>
                                          </p:cBhvr>
                                        </p:animEffect>
                                      </p:childTnLst>
                                    </p:cTn>
                                  </p:par>
                                </p:childTnLst>
                              </p:cTn>
                            </p:par>
                          </p:childTnLst>
                        </p:cTn>
                      </p:par>
                      <p:par>
                        <p:cTn id="109" fill="hold">
                          <p:stCondLst>
                            <p:cond delay="indefinite"/>
                          </p:stCondLst>
                          <p:childTnLst>
                            <p:par>
                              <p:cTn id="110" fill="hold">
                                <p:stCondLst>
                                  <p:cond delay="0"/>
                                </p:stCondLst>
                                <p:childTnLst>
                                  <p:par>
                                    <p:cTn id="111" presetID="53" presetClass="entr" presetSubtype="16" fill="hold" grpId="0" nodeType="clickEffect">
                                      <p:stCondLst>
                                        <p:cond delay="0"/>
                                      </p:stCondLst>
                                      <p:childTnLst>
                                        <p:set>
                                          <p:cBhvr>
                                            <p:cTn id="112" dur="1" fill="hold">
                                              <p:stCondLst>
                                                <p:cond delay="0"/>
                                              </p:stCondLst>
                                            </p:cTn>
                                            <p:tgtEl>
                                              <p:spTgt spid="90"/>
                                            </p:tgtEl>
                                            <p:attrNameLst>
                                              <p:attrName>style.visibility</p:attrName>
                                            </p:attrNameLst>
                                          </p:cBhvr>
                                          <p:to>
                                            <p:strVal val="visible"/>
                                          </p:to>
                                        </p:set>
                                        <p:anim calcmode="lin" valueType="num">
                                          <p:cBhvr>
                                            <p:cTn id="113" dur="250" fill="hold"/>
                                            <p:tgtEl>
                                              <p:spTgt spid="90"/>
                                            </p:tgtEl>
                                            <p:attrNameLst>
                                              <p:attrName>ppt_w</p:attrName>
                                            </p:attrNameLst>
                                          </p:cBhvr>
                                          <p:tavLst>
                                            <p:tav tm="0">
                                              <p:val>
                                                <p:fltVal val="0"/>
                                              </p:val>
                                            </p:tav>
                                            <p:tav tm="100000">
                                              <p:val>
                                                <p:strVal val="#ppt_w"/>
                                              </p:val>
                                            </p:tav>
                                          </p:tavLst>
                                        </p:anim>
                                        <p:anim calcmode="lin" valueType="num">
                                          <p:cBhvr>
                                            <p:cTn id="114" dur="250" fill="hold"/>
                                            <p:tgtEl>
                                              <p:spTgt spid="90"/>
                                            </p:tgtEl>
                                            <p:attrNameLst>
                                              <p:attrName>ppt_h</p:attrName>
                                            </p:attrNameLst>
                                          </p:cBhvr>
                                          <p:tavLst>
                                            <p:tav tm="0">
                                              <p:val>
                                                <p:fltVal val="0"/>
                                              </p:val>
                                            </p:tav>
                                            <p:tav tm="100000">
                                              <p:val>
                                                <p:strVal val="#ppt_h"/>
                                              </p:val>
                                            </p:tav>
                                          </p:tavLst>
                                        </p:anim>
                                        <p:animEffect transition="in" filter="fade">
                                          <p:cBhvr>
                                            <p:cTn id="115" dur="250"/>
                                            <p:tgtEl>
                                              <p:spTgt spid="90"/>
                                            </p:tgtEl>
                                          </p:cBhvr>
                                        </p:animEffect>
                                      </p:childTnLst>
                                    </p:cTn>
                                  </p:par>
                                  <p:par>
                                    <p:cTn id="116" presetID="22" presetClass="entr" presetSubtype="8" fill="hold" nodeType="withEffect">
                                      <p:stCondLst>
                                        <p:cond delay="0"/>
                                      </p:stCondLst>
                                      <p:childTnLst>
                                        <p:set>
                                          <p:cBhvr>
                                            <p:cTn id="117" dur="1" fill="hold">
                                              <p:stCondLst>
                                                <p:cond delay="0"/>
                                              </p:stCondLst>
                                            </p:cTn>
                                            <p:tgtEl>
                                              <p:spTgt spid="64"/>
                                            </p:tgtEl>
                                            <p:attrNameLst>
                                              <p:attrName>style.visibility</p:attrName>
                                            </p:attrNameLst>
                                          </p:cBhvr>
                                          <p:to>
                                            <p:strVal val="visible"/>
                                          </p:to>
                                        </p:set>
                                        <p:animEffect transition="in" filter="wipe(left)">
                                          <p:cBhvr>
                                            <p:cTn id="118" dur="500"/>
                                            <p:tgtEl>
                                              <p:spTgt spid="64"/>
                                            </p:tgtEl>
                                          </p:cBhvr>
                                        </p:animEffect>
                                      </p:childTnLst>
                                    </p:cTn>
                                  </p:par>
                                </p:childTnLst>
                              </p:cTn>
                            </p:par>
                            <p:par>
                              <p:cTn id="119" fill="hold">
                                <p:stCondLst>
                                  <p:cond delay="500"/>
                                </p:stCondLst>
                                <p:childTnLst>
                                  <p:par>
                                    <p:cTn id="120" presetID="2" presetClass="entr" presetSubtype="2" fill="hold" nodeType="afterEffect">
                                      <p:stCondLst>
                                        <p:cond delay="0"/>
                                      </p:stCondLst>
                                      <p:childTnLst>
                                        <p:set>
                                          <p:cBhvr>
                                            <p:cTn id="121" dur="1" fill="hold">
                                              <p:stCondLst>
                                                <p:cond delay="0"/>
                                              </p:stCondLst>
                                            </p:cTn>
                                            <p:tgtEl>
                                              <p:spTgt spid="21"/>
                                            </p:tgtEl>
                                            <p:attrNameLst>
                                              <p:attrName>style.visibility</p:attrName>
                                            </p:attrNameLst>
                                          </p:cBhvr>
                                          <p:to>
                                            <p:strVal val="visible"/>
                                          </p:to>
                                        </p:set>
                                        <p:anim calcmode="lin" valueType="num">
                                          <p:cBhvr additive="base">
                                            <p:cTn id="122" dur="500" fill="hold"/>
                                            <p:tgtEl>
                                              <p:spTgt spid="21"/>
                                            </p:tgtEl>
                                            <p:attrNameLst>
                                              <p:attrName>ppt_x</p:attrName>
                                            </p:attrNameLst>
                                          </p:cBhvr>
                                          <p:tavLst>
                                            <p:tav tm="0">
                                              <p:val>
                                                <p:strVal val="1+#ppt_w/2"/>
                                              </p:val>
                                            </p:tav>
                                            <p:tav tm="100000">
                                              <p:val>
                                                <p:strVal val="#ppt_x"/>
                                              </p:val>
                                            </p:tav>
                                          </p:tavLst>
                                        </p:anim>
                                        <p:anim calcmode="lin" valueType="num">
                                          <p:cBhvr additive="base">
                                            <p:cTn id="123" dur="500" fill="hold"/>
                                            <p:tgtEl>
                                              <p:spTgt spid="21"/>
                                            </p:tgtEl>
                                            <p:attrNameLst>
                                              <p:attrName>ppt_y</p:attrName>
                                            </p:attrNameLst>
                                          </p:cBhvr>
                                          <p:tavLst>
                                            <p:tav tm="0">
                                              <p:val>
                                                <p:strVal val="#ppt_y"/>
                                              </p:val>
                                            </p:tav>
                                            <p:tav tm="100000">
                                              <p:val>
                                                <p:strVal val="#ppt_y"/>
                                              </p:val>
                                            </p:tav>
                                          </p:tavLst>
                                        </p:anim>
                                      </p:childTnLst>
                                    </p:cTn>
                                  </p:par>
                                  <p:par>
                                    <p:cTn id="124" presetID="22" presetClass="entr" presetSubtype="8" fill="hold" grpId="0" nodeType="withEffect">
                                      <p:stCondLst>
                                        <p:cond delay="250"/>
                                      </p:stCondLst>
                                      <p:childTnLst>
                                        <p:set>
                                          <p:cBhvr>
                                            <p:cTn id="125" dur="1" fill="hold">
                                              <p:stCondLst>
                                                <p:cond delay="0"/>
                                              </p:stCondLst>
                                            </p:cTn>
                                            <p:tgtEl>
                                              <p:spTgt spid="27"/>
                                            </p:tgtEl>
                                            <p:attrNameLst>
                                              <p:attrName>style.visibility</p:attrName>
                                            </p:attrNameLst>
                                          </p:cBhvr>
                                          <p:to>
                                            <p:strVal val="visible"/>
                                          </p:to>
                                        </p:set>
                                        <p:animEffect transition="in" filter="wipe(left)">
                                          <p:cBhvr>
                                            <p:cTn id="126" dur="500"/>
                                            <p:tgtEl>
                                              <p:spTgt spid="27"/>
                                            </p:tgtEl>
                                          </p:cBhvr>
                                        </p:animEffect>
                                      </p:childTnLst>
                                    </p:cTn>
                                  </p:par>
                                  <p:par>
                                    <p:cTn id="127" presetID="10" presetClass="entr" presetSubtype="0" fill="hold" nodeType="withEffect">
                                      <p:stCondLst>
                                        <p:cond delay="0"/>
                                      </p:stCondLst>
                                      <p:childTnLst>
                                        <p:set>
                                          <p:cBhvr>
                                            <p:cTn id="128" dur="1" fill="hold">
                                              <p:stCondLst>
                                                <p:cond delay="0"/>
                                              </p:stCondLst>
                                            </p:cTn>
                                            <p:tgtEl>
                                              <p:spTgt spid="43"/>
                                            </p:tgtEl>
                                            <p:attrNameLst>
                                              <p:attrName>style.visibility</p:attrName>
                                            </p:attrNameLst>
                                          </p:cBhvr>
                                          <p:to>
                                            <p:strVal val="visible"/>
                                          </p:to>
                                        </p:set>
                                        <p:animEffect transition="in" filter="fade">
                                          <p:cBhvr>
                                            <p:cTn id="129" dur="500"/>
                                            <p:tgtEl>
                                              <p:spTgt spid="43"/>
                                            </p:tgtEl>
                                          </p:cBhvr>
                                        </p:animEffect>
                                      </p:childTnLst>
                                    </p:cTn>
                                  </p:par>
                                </p:childTnLst>
                              </p:cTn>
                            </p:par>
                          </p:childTnLst>
                        </p:cTn>
                      </p:par>
                      <p:par>
                        <p:cTn id="130" fill="hold">
                          <p:stCondLst>
                            <p:cond delay="indefinite"/>
                          </p:stCondLst>
                          <p:childTnLst>
                            <p:par>
                              <p:cTn id="131" fill="hold">
                                <p:stCondLst>
                                  <p:cond delay="0"/>
                                </p:stCondLst>
                                <p:childTnLst>
                                  <p:par>
                                    <p:cTn id="132" presetID="53" presetClass="entr" presetSubtype="16" fill="hold" grpId="0" nodeType="clickEffect">
                                      <p:stCondLst>
                                        <p:cond delay="0"/>
                                      </p:stCondLst>
                                      <p:childTnLst>
                                        <p:set>
                                          <p:cBhvr>
                                            <p:cTn id="133" dur="1" fill="hold">
                                              <p:stCondLst>
                                                <p:cond delay="0"/>
                                              </p:stCondLst>
                                            </p:cTn>
                                            <p:tgtEl>
                                              <p:spTgt spid="91"/>
                                            </p:tgtEl>
                                            <p:attrNameLst>
                                              <p:attrName>style.visibility</p:attrName>
                                            </p:attrNameLst>
                                          </p:cBhvr>
                                          <p:to>
                                            <p:strVal val="visible"/>
                                          </p:to>
                                        </p:set>
                                        <p:anim calcmode="lin" valueType="num">
                                          <p:cBhvr>
                                            <p:cTn id="134" dur="250" fill="hold"/>
                                            <p:tgtEl>
                                              <p:spTgt spid="91"/>
                                            </p:tgtEl>
                                            <p:attrNameLst>
                                              <p:attrName>ppt_w</p:attrName>
                                            </p:attrNameLst>
                                          </p:cBhvr>
                                          <p:tavLst>
                                            <p:tav tm="0">
                                              <p:val>
                                                <p:fltVal val="0"/>
                                              </p:val>
                                            </p:tav>
                                            <p:tav tm="100000">
                                              <p:val>
                                                <p:strVal val="#ppt_w"/>
                                              </p:val>
                                            </p:tav>
                                          </p:tavLst>
                                        </p:anim>
                                        <p:anim calcmode="lin" valueType="num">
                                          <p:cBhvr>
                                            <p:cTn id="135" dur="250" fill="hold"/>
                                            <p:tgtEl>
                                              <p:spTgt spid="91"/>
                                            </p:tgtEl>
                                            <p:attrNameLst>
                                              <p:attrName>ppt_h</p:attrName>
                                            </p:attrNameLst>
                                          </p:cBhvr>
                                          <p:tavLst>
                                            <p:tav tm="0">
                                              <p:val>
                                                <p:fltVal val="0"/>
                                              </p:val>
                                            </p:tav>
                                            <p:tav tm="100000">
                                              <p:val>
                                                <p:strVal val="#ppt_h"/>
                                              </p:val>
                                            </p:tav>
                                          </p:tavLst>
                                        </p:anim>
                                        <p:animEffect transition="in" filter="fade">
                                          <p:cBhvr>
                                            <p:cTn id="136" dur="250"/>
                                            <p:tgtEl>
                                              <p:spTgt spid="91"/>
                                            </p:tgtEl>
                                          </p:cBhvr>
                                        </p:animEffect>
                                      </p:childTnLst>
                                    </p:cTn>
                                  </p:par>
                                  <p:par>
                                    <p:cTn id="137" presetID="22" presetClass="entr" presetSubtype="8" fill="hold" nodeType="withEffect">
                                      <p:stCondLst>
                                        <p:cond delay="0"/>
                                      </p:stCondLst>
                                      <p:childTnLst>
                                        <p:set>
                                          <p:cBhvr>
                                            <p:cTn id="138" dur="1" fill="hold">
                                              <p:stCondLst>
                                                <p:cond delay="0"/>
                                              </p:stCondLst>
                                            </p:cTn>
                                            <p:tgtEl>
                                              <p:spTgt spid="65"/>
                                            </p:tgtEl>
                                            <p:attrNameLst>
                                              <p:attrName>style.visibility</p:attrName>
                                            </p:attrNameLst>
                                          </p:cBhvr>
                                          <p:to>
                                            <p:strVal val="visible"/>
                                          </p:to>
                                        </p:set>
                                        <p:animEffect transition="in" filter="wipe(left)">
                                          <p:cBhvr>
                                            <p:cTn id="139" dur="500"/>
                                            <p:tgtEl>
                                              <p:spTgt spid="65"/>
                                            </p:tgtEl>
                                          </p:cBhvr>
                                        </p:animEffect>
                                      </p:childTnLst>
                                    </p:cTn>
                                  </p:par>
                                </p:childTnLst>
                              </p:cTn>
                            </p:par>
                            <p:par>
                              <p:cTn id="140" fill="hold">
                                <p:stCondLst>
                                  <p:cond delay="500"/>
                                </p:stCondLst>
                                <p:childTnLst>
                                  <p:par>
                                    <p:cTn id="141" presetID="2" presetClass="entr" presetSubtype="2" fill="hold" nodeType="afterEffect">
                                      <p:stCondLst>
                                        <p:cond delay="0"/>
                                      </p:stCondLst>
                                      <p:childTnLst>
                                        <p:set>
                                          <p:cBhvr>
                                            <p:cTn id="142" dur="1" fill="hold">
                                              <p:stCondLst>
                                                <p:cond delay="0"/>
                                              </p:stCondLst>
                                            </p:cTn>
                                            <p:tgtEl>
                                              <p:spTgt spid="211"/>
                                            </p:tgtEl>
                                            <p:attrNameLst>
                                              <p:attrName>style.visibility</p:attrName>
                                            </p:attrNameLst>
                                          </p:cBhvr>
                                          <p:to>
                                            <p:strVal val="visible"/>
                                          </p:to>
                                        </p:set>
                                        <p:anim calcmode="lin" valueType="num">
                                          <p:cBhvr additive="base">
                                            <p:cTn id="143" dur="500" fill="hold"/>
                                            <p:tgtEl>
                                              <p:spTgt spid="211"/>
                                            </p:tgtEl>
                                            <p:attrNameLst>
                                              <p:attrName>ppt_x</p:attrName>
                                            </p:attrNameLst>
                                          </p:cBhvr>
                                          <p:tavLst>
                                            <p:tav tm="0">
                                              <p:val>
                                                <p:strVal val="1+#ppt_w/2"/>
                                              </p:val>
                                            </p:tav>
                                            <p:tav tm="100000">
                                              <p:val>
                                                <p:strVal val="#ppt_x"/>
                                              </p:val>
                                            </p:tav>
                                          </p:tavLst>
                                        </p:anim>
                                        <p:anim calcmode="lin" valueType="num">
                                          <p:cBhvr additive="base">
                                            <p:cTn id="144" dur="500" fill="hold"/>
                                            <p:tgtEl>
                                              <p:spTgt spid="211"/>
                                            </p:tgtEl>
                                            <p:attrNameLst>
                                              <p:attrName>ppt_y</p:attrName>
                                            </p:attrNameLst>
                                          </p:cBhvr>
                                          <p:tavLst>
                                            <p:tav tm="0">
                                              <p:val>
                                                <p:strVal val="#ppt_y"/>
                                              </p:val>
                                            </p:tav>
                                            <p:tav tm="100000">
                                              <p:val>
                                                <p:strVal val="#ppt_y"/>
                                              </p:val>
                                            </p:tav>
                                          </p:tavLst>
                                        </p:anim>
                                      </p:childTnLst>
                                    </p:cTn>
                                  </p:par>
                                  <p:par>
                                    <p:cTn id="145" presetID="22" presetClass="entr" presetSubtype="8" fill="hold" grpId="0" nodeType="withEffect">
                                      <p:stCondLst>
                                        <p:cond delay="0"/>
                                      </p:stCondLst>
                                      <p:childTnLst>
                                        <p:set>
                                          <p:cBhvr>
                                            <p:cTn id="146" dur="1" fill="hold">
                                              <p:stCondLst>
                                                <p:cond delay="0"/>
                                              </p:stCondLst>
                                            </p:cTn>
                                            <p:tgtEl>
                                              <p:spTgt spid="23"/>
                                            </p:tgtEl>
                                            <p:attrNameLst>
                                              <p:attrName>style.visibility</p:attrName>
                                            </p:attrNameLst>
                                          </p:cBhvr>
                                          <p:to>
                                            <p:strVal val="visible"/>
                                          </p:to>
                                        </p:set>
                                        <p:animEffect transition="in" filter="wipe(left)">
                                          <p:cBhvr>
                                            <p:cTn id="147" dur="500"/>
                                            <p:tgtEl>
                                              <p:spTgt spid="23"/>
                                            </p:tgtEl>
                                          </p:cBhvr>
                                        </p:animEffect>
                                      </p:childTnLst>
                                    </p:cTn>
                                  </p:par>
                                  <p:par>
                                    <p:cTn id="148" presetID="10" presetClass="entr" presetSubtype="0" fill="hold" nodeType="withEffect">
                                      <p:stCondLst>
                                        <p:cond delay="250"/>
                                      </p:stCondLst>
                                      <p:childTnLst>
                                        <p:set>
                                          <p:cBhvr>
                                            <p:cTn id="149" dur="1" fill="hold">
                                              <p:stCondLst>
                                                <p:cond delay="0"/>
                                              </p:stCondLst>
                                            </p:cTn>
                                            <p:tgtEl>
                                              <p:spTgt spid="86"/>
                                            </p:tgtEl>
                                            <p:attrNameLst>
                                              <p:attrName>style.visibility</p:attrName>
                                            </p:attrNameLst>
                                          </p:cBhvr>
                                          <p:to>
                                            <p:strVal val="visible"/>
                                          </p:to>
                                        </p:set>
                                        <p:animEffect transition="in" filter="fade">
                                          <p:cBhvr>
                                            <p:cTn id="150"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P spid="22" grpId="0"/>
          <p:bldP spid="29" grpId="0"/>
        </p:bldLst>
      </p:timing>
    </mc:Fallback>
  </mc:AlternateContent>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7F6FB77A-14ED-4D9E-8A54-2B8241F121E4}"/>
              </a:ext>
            </a:extLst>
          </p:cNvPr>
          <p:cNvGraphicFramePr>
            <a:graphicFrameLocks noGrp="1"/>
          </p:cNvGraphicFramePr>
          <p:nvPr/>
        </p:nvGraphicFramePr>
        <p:xfrm>
          <a:off x="489668" y="1719006"/>
          <a:ext cx="11232432" cy="4583888"/>
        </p:xfrm>
        <a:graphic>
          <a:graphicData uri="http://schemas.openxmlformats.org/drawingml/2006/table">
            <a:tbl>
              <a:tblPr>
                <a:tableStyleId>{2D5ABB26-0587-4C30-8999-92F81FD0307C}</a:tableStyleId>
              </a:tblPr>
              <a:tblGrid>
                <a:gridCol w="234009">
                  <a:extLst>
                    <a:ext uri="{9D8B030D-6E8A-4147-A177-3AD203B41FA5}">
                      <a16:colId xmlns:a16="http://schemas.microsoft.com/office/drawing/2014/main" val="1709883861"/>
                    </a:ext>
                  </a:extLst>
                </a:gridCol>
                <a:gridCol w="234009">
                  <a:extLst>
                    <a:ext uri="{9D8B030D-6E8A-4147-A177-3AD203B41FA5}">
                      <a16:colId xmlns:a16="http://schemas.microsoft.com/office/drawing/2014/main" val="433716459"/>
                    </a:ext>
                  </a:extLst>
                </a:gridCol>
                <a:gridCol w="234009">
                  <a:extLst>
                    <a:ext uri="{9D8B030D-6E8A-4147-A177-3AD203B41FA5}">
                      <a16:colId xmlns:a16="http://schemas.microsoft.com/office/drawing/2014/main" val="2424862753"/>
                    </a:ext>
                  </a:extLst>
                </a:gridCol>
                <a:gridCol w="234009">
                  <a:extLst>
                    <a:ext uri="{9D8B030D-6E8A-4147-A177-3AD203B41FA5}">
                      <a16:colId xmlns:a16="http://schemas.microsoft.com/office/drawing/2014/main" val="4020511308"/>
                    </a:ext>
                  </a:extLst>
                </a:gridCol>
                <a:gridCol w="234009">
                  <a:extLst>
                    <a:ext uri="{9D8B030D-6E8A-4147-A177-3AD203B41FA5}">
                      <a16:colId xmlns:a16="http://schemas.microsoft.com/office/drawing/2014/main" val="1775886053"/>
                    </a:ext>
                  </a:extLst>
                </a:gridCol>
                <a:gridCol w="234009">
                  <a:extLst>
                    <a:ext uri="{9D8B030D-6E8A-4147-A177-3AD203B41FA5}">
                      <a16:colId xmlns:a16="http://schemas.microsoft.com/office/drawing/2014/main" val="900400475"/>
                    </a:ext>
                  </a:extLst>
                </a:gridCol>
                <a:gridCol w="234009">
                  <a:extLst>
                    <a:ext uri="{9D8B030D-6E8A-4147-A177-3AD203B41FA5}">
                      <a16:colId xmlns:a16="http://schemas.microsoft.com/office/drawing/2014/main" val="2874725450"/>
                    </a:ext>
                  </a:extLst>
                </a:gridCol>
                <a:gridCol w="234009">
                  <a:extLst>
                    <a:ext uri="{9D8B030D-6E8A-4147-A177-3AD203B41FA5}">
                      <a16:colId xmlns:a16="http://schemas.microsoft.com/office/drawing/2014/main" val="1856228797"/>
                    </a:ext>
                  </a:extLst>
                </a:gridCol>
                <a:gridCol w="234009">
                  <a:extLst>
                    <a:ext uri="{9D8B030D-6E8A-4147-A177-3AD203B41FA5}">
                      <a16:colId xmlns:a16="http://schemas.microsoft.com/office/drawing/2014/main" val="1037052264"/>
                    </a:ext>
                  </a:extLst>
                </a:gridCol>
                <a:gridCol w="234009">
                  <a:extLst>
                    <a:ext uri="{9D8B030D-6E8A-4147-A177-3AD203B41FA5}">
                      <a16:colId xmlns:a16="http://schemas.microsoft.com/office/drawing/2014/main" val="804155934"/>
                    </a:ext>
                  </a:extLst>
                </a:gridCol>
                <a:gridCol w="234009">
                  <a:extLst>
                    <a:ext uri="{9D8B030D-6E8A-4147-A177-3AD203B41FA5}">
                      <a16:colId xmlns:a16="http://schemas.microsoft.com/office/drawing/2014/main" val="2139958500"/>
                    </a:ext>
                  </a:extLst>
                </a:gridCol>
                <a:gridCol w="234009">
                  <a:extLst>
                    <a:ext uri="{9D8B030D-6E8A-4147-A177-3AD203B41FA5}">
                      <a16:colId xmlns:a16="http://schemas.microsoft.com/office/drawing/2014/main" val="215890965"/>
                    </a:ext>
                  </a:extLst>
                </a:gridCol>
                <a:gridCol w="234009">
                  <a:extLst>
                    <a:ext uri="{9D8B030D-6E8A-4147-A177-3AD203B41FA5}">
                      <a16:colId xmlns:a16="http://schemas.microsoft.com/office/drawing/2014/main" val="1815560249"/>
                    </a:ext>
                  </a:extLst>
                </a:gridCol>
                <a:gridCol w="234009">
                  <a:extLst>
                    <a:ext uri="{9D8B030D-6E8A-4147-A177-3AD203B41FA5}">
                      <a16:colId xmlns:a16="http://schemas.microsoft.com/office/drawing/2014/main" val="3629657463"/>
                    </a:ext>
                  </a:extLst>
                </a:gridCol>
                <a:gridCol w="234009">
                  <a:extLst>
                    <a:ext uri="{9D8B030D-6E8A-4147-A177-3AD203B41FA5}">
                      <a16:colId xmlns:a16="http://schemas.microsoft.com/office/drawing/2014/main" val="3672804444"/>
                    </a:ext>
                  </a:extLst>
                </a:gridCol>
                <a:gridCol w="234009">
                  <a:extLst>
                    <a:ext uri="{9D8B030D-6E8A-4147-A177-3AD203B41FA5}">
                      <a16:colId xmlns:a16="http://schemas.microsoft.com/office/drawing/2014/main" val="853953684"/>
                    </a:ext>
                  </a:extLst>
                </a:gridCol>
                <a:gridCol w="234009">
                  <a:extLst>
                    <a:ext uri="{9D8B030D-6E8A-4147-A177-3AD203B41FA5}">
                      <a16:colId xmlns:a16="http://schemas.microsoft.com/office/drawing/2014/main" val="3467066365"/>
                    </a:ext>
                  </a:extLst>
                </a:gridCol>
                <a:gridCol w="234009">
                  <a:extLst>
                    <a:ext uri="{9D8B030D-6E8A-4147-A177-3AD203B41FA5}">
                      <a16:colId xmlns:a16="http://schemas.microsoft.com/office/drawing/2014/main" val="4167917408"/>
                    </a:ext>
                  </a:extLst>
                </a:gridCol>
                <a:gridCol w="234009">
                  <a:extLst>
                    <a:ext uri="{9D8B030D-6E8A-4147-A177-3AD203B41FA5}">
                      <a16:colId xmlns:a16="http://schemas.microsoft.com/office/drawing/2014/main" val="1631711737"/>
                    </a:ext>
                  </a:extLst>
                </a:gridCol>
                <a:gridCol w="234009">
                  <a:extLst>
                    <a:ext uri="{9D8B030D-6E8A-4147-A177-3AD203B41FA5}">
                      <a16:colId xmlns:a16="http://schemas.microsoft.com/office/drawing/2014/main" val="414670127"/>
                    </a:ext>
                  </a:extLst>
                </a:gridCol>
                <a:gridCol w="234009">
                  <a:extLst>
                    <a:ext uri="{9D8B030D-6E8A-4147-A177-3AD203B41FA5}">
                      <a16:colId xmlns:a16="http://schemas.microsoft.com/office/drawing/2014/main" val="2324865041"/>
                    </a:ext>
                  </a:extLst>
                </a:gridCol>
                <a:gridCol w="234009">
                  <a:extLst>
                    <a:ext uri="{9D8B030D-6E8A-4147-A177-3AD203B41FA5}">
                      <a16:colId xmlns:a16="http://schemas.microsoft.com/office/drawing/2014/main" val="2633970131"/>
                    </a:ext>
                  </a:extLst>
                </a:gridCol>
                <a:gridCol w="234009">
                  <a:extLst>
                    <a:ext uri="{9D8B030D-6E8A-4147-A177-3AD203B41FA5}">
                      <a16:colId xmlns:a16="http://schemas.microsoft.com/office/drawing/2014/main" val="3564431213"/>
                    </a:ext>
                  </a:extLst>
                </a:gridCol>
                <a:gridCol w="234009">
                  <a:extLst>
                    <a:ext uri="{9D8B030D-6E8A-4147-A177-3AD203B41FA5}">
                      <a16:colId xmlns:a16="http://schemas.microsoft.com/office/drawing/2014/main" val="548289072"/>
                    </a:ext>
                  </a:extLst>
                </a:gridCol>
                <a:gridCol w="234009">
                  <a:extLst>
                    <a:ext uri="{9D8B030D-6E8A-4147-A177-3AD203B41FA5}">
                      <a16:colId xmlns:a16="http://schemas.microsoft.com/office/drawing/2014/main" val="329293690"/>
                    </a:ext>
                  </a:extLst>
                </a:gridCol>
                <a:gridCol w="234009">
                  <a:extLst>
                    <a:ext uri="{9D8B030D-6E8A-4147-A177-3AD203B41FA5}">
                      <a16:colId xmlns:a16="http://schemas.microsoft.com/office/drawing/2014/main" val="3280779935"/>
                    </a:ext>
                  </a:extLst>
                </a:gridCol>
                <a:gridCol w="234009">
                  <a:extLst>
                    <a:ext uri="{9D8B030D-6E8A-4147-A177-3AD203B41FA5}">
                      <a16:colId xmlns:a16="http://schemas.microsoft.com/office/drawing/2014/main" val="3116916016"/>
                    </a:ext>
                  </a:extLst>
                </a:gridCol>
                <a:gridCol w="234009">
                  <a:extLst>
                    <a:ext uri="{9D8B030D-6E8A-4147-A177-3AD203B41FA5}">
                      <a16:colId xmlns:a16="http://schemas.microsoft.com/office/drawing/2014/main" val="3454252327"/>
                    </a:ext>
                  </a:extLst>
                </a:gridCol>
                <a:gridCol w="234009">
                  <a:extLst>
                    <a:ext uri="{9D8B030D-6E8A-4147-A177-3AD203B41FA5}">
                      <a16:colId xmlns:a16="http://schemas.microsoft.com/office/drawing/2014/main" val="4232621731"/>
                    </a:ext>
                  </a:extLst>
                </a:gridCol>
                <a:gridCol w="234009">
                  <a:extLst>
                    <a:ext uri="{9D8B030D-6E8A-4147-A177-3AD203B41FA5}">
                      <a16:colId xmlns:a16="http://schemas.microsoft.com/office/drawing/2014/main" val="1658513422"/>
                    </a:ext>
                  </a:extLst>
                </a:gridCol>
                <a:gridCol w="234009">
                  <a:extLst>
                    <a:ext uri="{9D8B030D-6E8A-4147-A177-3AD203B41FA5}">
                      <a16:colId xmlns:a16="http://schemas.microsoft.com/office/drawing/2014/main" val="444182424"/>
                    </a:ext>
                  </a:extLst>
                </a:gridCol>
                <a:gridCol w="234009">
                  <a:extLst>
                    <a:ext uri="{9D8B030D-6E8A-4147-A177-3AD203B41FA5}">
                      <a16:colId xmlns:a16="http://schemas.microsoft.com/office/drawing/2014/main" val="2848555835"/>
                    </a:ext>
                  </a:extLst>
                </a:gridCol>
                <a:gridCol w="234009">
                  <a:extLst>
                    <a:ext uri="{9D8B030D-6E8A-4147-A177-3AD203B41FA5}">
                      <a16:colId xmlns:a16="http://schemas.microsoft.com/office/drawing/2014/main" val="3001850140"/>
                    </a:ext>
                  </a:extLst>
                </a:gridCol>
                <a:gridCol w="234009">
                  <a:extLst>
                    <a:ext uri="{9D8B030D-6E8A-4147-A177-3AD203B41FA5}">
                      <a16:colId xmlns:a16="http://schemas.microsoft.com/office/drawing/2014/main" val="3686350746"/>
                    </a:ext>
                  </a:extLst>
                </a:gridCol>
                <a:gridCol w="234009">
                  <a:extLst>
                    <a:ext uri="{9D8B030D-6E8A-4147-A177-3AD203B41FA5}">
                      <a16:colId xmlns:a16="http://schemas.microsoft.com/office/drawing/2014/main" val="1233797675"/>
                    </a:ext>
                  </a:extLst>
                </a:gridCol>
                <a:gridCol w="234009">
                  <a:extLst>
                    <a:ext uri="{9D8B030D-6E8A-4147-A177-3AD203B41FA5}">
                      <a16:colId xmlns:a16="http://schemas.microsoft.com/office/drawing/2014/main" val="3727426290"/>
                    </a:ext>
                  </a:extLst>
                </a:gridCol>
                <a:gridCol w="234009">
                  <a:extLst>
                    <a:ext uri="{9D8B030D-6E8A-4147-A177-3AD203B41FA5}">
                      <a16:colId xmlns:a16="http://schemas.microsoft.com/office/drawing/2014/main" val="2940305275"/>
                    </a:ext>
                  </a:extLst>
                </a:gridCol>
                <a:gridCol w="234009">
                  <a:extLst>
                    <a:ext uri="{9D8B030D-6E8A-4147-A177-3AD203B41FA5}">
                      <a16:colId xmlns:a16="http://schemas.microsoft.com/office/drawing/2014/main" val="3338491537"/>
                    </a:ext>
                  </a:extLst>
                </a:gridCol>
                <a:gridCol w="234009">
                  <a:extLst>
                    <a:ext uri="{9D8B030D-6E8A-4147-A177-3AD203B41FA5}">
                      <a16:colId xmlns:a16="http://schemas.microsoft.com/office/drawing/2014/main" val="1056302364"/>
                    </a:ext>
                  </a:extLst>
                </a:gridCol>
                <a:gridCol w="234009">
                  <a:extLst>
                    <a:ext uri="{9D8B030D-6E8A-4147-A177-3AD203B41FA5}">
                      <a16:colId xmlns:a16="http://schemas.microsoft.com/office/drawing/2014/main" val="1931447853"/>
                    </a:ext>
                  </a:extLst>
                </a:gridCol>
                <a:gridCol w="234009">
                  <a:extLst>
                    <a:ext uri="{9D8B030D-6E8A-4147-A177-3AD203B41FA5}">
                      <a16:colId xmlns:a16="http://schemas.microsoft.com/office/drawing/2014/main" val="3055045251"/>
                    </a:ext>
                  </a:extLst>
                </a:gridCol>
                <a:gridCol w="234009">
                  <a:extLst>
                    <a:ext uri="{9D8B030D-6E8A-4147-A177-3AD203B41FA5}">
                      <a16:colId xmlns:a16="http://schemas.microsoft.com/office/drawing/2014/main" val="3365658400"/>
                    </a:ext>
                  </a:extLst>
                </a:gridCol>
                <a:gridCol w="234009">
                  <a:extLst>
                    <a:ext uri="{9D8B030D-6E8A-4147-A177-3AD203B41FA5}">
                      <a16:colId xmlns:a16="http://schemas.microsoft.com/office/drawing/2014/main" val="3431771834"/>
                    </a:ext>
                  </a:extLst>
                </a:gridCol>
                <a:gridCol w="234009">
                  <a:extLst>
                    <a:ext uri="{9D8B030D-6E8A-4147-A177-3AD203B41FA5}">
                      <a16:colId xmlns:a16="http://schemas.microsoft.com/office/drawing/2014/main" val="966111470"/>
                    </a:ext>
                  </a:extLst>
                </a:gridCol>
                <a:gridCol w="234009">
                  <a:extLst>
                    <a:ext uri="{9D8B030D-6E8A-4147-A177-3AD203B41FA5}">
                      <a16:colId xmlns:a16="http://schemas.microsoft.com/office/drawing/2014/main" val="1905236473"/>
                    </a:ext>
                  </a:extLst>
                </a:gridCol>
                <a:gridCol w="234009">
                  <a:extLst>
                    <a:ext uri="{9D8B030D-6E8A-4147-A177-3AD203B41FA5}">
                      <a16:colId xmlns:a16="http://schemas.microsoft.com/office/drawing/2014/main" val="3860129490"/>
                    </a:ext>
                  </a:extLst>
                </a:gridCol>
                <a:gridCol w="234009">
                  <a:extLst>
                    <a:ext uri="{9D8B030D-6E8A-4147-A177-3AD203B41FA5}">
                      <a16:colId xmlns:a16="http://schemas.microsoft.com/office/drawing/2014/main" val="4213972779"/>
                    </a:ext>
                  </a:extLst>
                </a:gridCol>
                <a:gridCol w="234009">
                  <a:extLst>
                    <a:ext uri="{9D8B030D-6E8A-4147-A177-3AD203B41FA5}">
                      <a16:colId xmlns:a16="http://schemas.microsoft.com/office/drawing/2014/main" val="2091426823"/>
                    </a:ext>
                  </a:extLst>
                </a:gridCol>
              </a:tblGrid>
              <a:tr h="286493">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391683038"/>
                  </a:ext>
                </a:extLst>
              </a:tr>
              <a:tr h="286493">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453825175"/>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897350182"/>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602852515"/>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456826886"/>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412538031"/>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266391612"/>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847744979"/>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764006729"/>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40105661"/>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219614140"/>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873915727"/>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3496439179"/>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458022701"/>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138996425"/>
                  </a:ext>
                </a:extLst>
              </a:tr>
              <a:tr h="286493">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tc>
                  <a:txBody>
                    <a:bodyPr/>
                    <a:lstStyle/>
                    <a:p>
                      <a:endParaRPr lang="en-US" sz="200" dirty="0"/>
                    </a:p>
                  </a:txBody>
                  <a:tcPr marL="0" marR="0" marT="0" marB="0">
                    <a:lnL w="12700" cap="flat" cmpd="sng" algn="ctr">
                      <a:solidFill>
                        <a:schemeClr val="tx1">
                          <a:lumMod val="85000"/>
                          <a:lumOff val="15000"/>
                        </a:schemeClr>
                      </a:solidFill>
                      <a:prstDash val="solid"/>
                      <a:round/>
                      <a:headEnd type="none" w="med" len="med"/>
                      <a:tailEnd type="none" w="med" len="med"/>
                    </a:lnL>
                    <a:lnR w="12700" cap="flat" cmpd="sng" algn="ctr">
                      <a:solidFill>
                        <a:schemeClr val="tx1">
                          <a:lumMod val="85000"/>
                          <a:lumOff val="15000"/>
                        </a:schemeClr>
                      </a:solidFill>
                      <a:prstDash val="solid"/>
                      <a:round/>
                      <a:headEnd type="none" w="med" len="med"/>
                      <a:tailEnd type="none" w="med" len="med"/>
                    </a:lnR>
                    <a:lnT w="12700" cap="flat" cmpd="sng" algn="ctr">
                      <a:solidFill>
                        <a:schemeClr val="tx1">
                          <a:lumMod val="85000"/>
                          <a:lumOff val="15000"/>
                        </a:schemeClr>
                      </a:solidFill>
                      <a:prstDash val="solid"/>
                      <a:round/>
                      <a:headEnd type="none" w="med" len="med"/>
                      <a:tailEnd type="none" w="med" len="med"/>
                    </a:lnT>
                    <a:lnB w="12700" cap="flat" cmpd="sng" algn="ctr">
                      <a:solidFill>
                        <a:schemeClr val="tx1">
                          <a:lumMod val="85000"/>
                          <a:lumOff val="15000"/>
                        </a:schemeClr>
                      </a:solidFill>
                      <a:prstDash val="solid"/>
                      <a:round/>
                      <a:headEnd type="none" w="med" len="med"/>
                      <a:tailEnd type="none" w="med" len="med"/>
                    </a:lnB>
                  </a:tcPr>
                </a:tc>
                <a:extLst>
                  <a:ext uri="{0D108BD9-81ED-4DB2-BD59-A6C34878D82A}">
                    <a16:rowId xmlns:a16="http://schemas.microsoft.com/office/drawing/2014/main" val="2833714287"/>
                  </a:ext>
                </a:extLst>
              </a:tr>
            </a:tbl>
          </a:graphicData>
        </a:graphic>
      </p:graphicFrame>
      <p:sp>
        <p:nvSpPr>
          <p:cNvPr id="151" name="Freeform: Shape 150">
            <a:extLst>
              <a:ext uri="{FF2B5EF4-FFF2-40B4-BE49-F238E27FC236}">
                <a16:creationId xmlns:a16="http://schemas.microsoft.com/office/drawing/2014/main" id="{0D6EF5AD-C369-46A4-91D2-2C31C6D1D672}"/>
              </a:ext>
            </a:extLst>
          </p:cNvPr>
          <p:cNvSpPr/>
          <p:nvPr/>
        </p:nvSpPr>
        <p:spPr bwMode="gray">
          <a:xfrm>
            <a:off x="539750" y="1847850"/>
            <a:ext cx="10941050" cy="4171950"/>
          </a:xfrm>
          <a:custGeom>
            <a:avLst/>
            <a:gdLst>
              <a:gd name="connsiteX0" fmla="*/ 0 w 10941050"/>
              <a:gd name="connsiteY0" fmla="*/ 4171950 h 4171950"/>
              <a:gd name="connsiteX1" fmla="*/ 1041400 w 10941050"/>
              <a:gd name="connsiteY1" fmla="*/ 2921000 h 4171950"/>
              <a:gd name="connsiteX2" fmla="*/ 2286000 w 10941050"/>
              <a:gd name="connsiteY2" fmla="*/ 3733800 h 4171950"/>
              <a:gd name="connsiteX3" fmla="*/ 3975100 w 10941050"/>
              <a:gd name="connsiteY3" fmla="*/ 1936750 h 4171950"/>
              <a:gd name="connsiteX4" fmla="*/ 5581650 w 10941050"/>
              <a:gd name="connsiteY4" fmla="*/ 3028950 h 4171950"/>
              <a:gd name="connsiteX5" fmla="*/ 7493000 w 10941050"/>
              <a:gd name="connsiteY5" fmla="*/ 793750 h 4171950"/>
              <a:gd name="connsiteX6" fmla="*/ 8909050 w 10941050"/>
              <a:gd name="connsiteY6" fmla="*/ 1778000 h 4171950"/>
              <a:gd name="connsiteX7" fmla="*/ 10941050 w 10941050"/>
              <a:gd name="connsiteY7" fmla="*/ 0 h 4171950"/>
              <a:gd name="connsiteX0" fmla="*/ 0 w 10941050"/>
              <a:gd name="connsiteY0" fmla="*/ 4171950 h 4171950"/>
              <a:gd name="connsiteX1" fmla="*/ 1041400 w 10941050"/>
              <a:gd name="connsiteY1" fmla="*/ 2921000 h 4171950"/>
              <a:gd name="connsiteX2" fmla="*/ 2286000 w 10941050"/>
              <a:gd name="connsiteY2" fmla="*/ 3733800 h 4171950"/>
              <a:gd name="connsiteX3" fmla="*/ 3975100 w 10941050"/>
              <a:gd name="connsiteY3" fmla="*/ 1936750 h 4171950"/>
              <a:gd name="connsiteX4" fmla="*/ 5581650 w 10941050"/>
              <a:gd name="connsiteY4" fmla="*/ 3028950 h 4171950"/>
              <a:gd name="connsiteX5" fmla="*/ 7426960 w 10941050"/>
              <a:gd name="connsiteY5" fmla="*/ 1002030 h 4171950"/>
              <a:gd name="connsiteX6" fmla="*/ 8909050 w 10941050"/>
              <a:gd name="connsiteY6" fmla="*/ 1778000 h 4171950"/>
              <a:gd name="connsiteX7" fmla="*/ 10941050 w 10941050"/>
              <a:gd name="connsiteY7" fmla="*/ 0 h 4171950"/>
              <a:gd name="connsiteX0" fmla="*/ 0 w 10941050"/>
              <a:gd name="connsiteY0" fmla="*/ 4171950 h 4171950"/>
              <a:gd name="connsiteX1" fmla="*/ 1041400 w 10941050"/>
              <a:gd name="connsiteY1" fmla="*/ 2921000 h 4171950"/>
              <a:gd name="connsiteX2" fmla="*/ 2286000 w 10941050"/>
              <a:gd name="connsiteY2" fmla="*/ 3733800 h 4171950"/>
              <a:gd name="connsiteX3" fmla="*/ 3949700 w 10941050"/>
              <a:gd name="connsiteY3" fmla="*/ 2119630 h 4171950"/>
              <a:gd name="connsiteX4" fmla="*/ 5581650 w 10941050"/>
              <a:gd name="connsiteY4" fmla="*/ 3028950 h 4171950"/>
              <a:gd name="connsiteX5" fmla="*/ 7426960 w 10941050"/>
              <a:gd name="connsiteY5" fmla="*/ 1002030 h 4171950"/>
              <a:gd name="connsiteX6" fmla="*/ 8909050 w 10941050"/>
              <a:gd name="connsiteY6" fmla="*/ 1778000 h 4171950"/>
              <a:gd name="connsiteX7" fmla="*/ 10941050 w 10941050"/>
              <a:gd name="connsiteY7" fmla="*/ 0 h 4171950"/>
              <a:gd name="connsiteX0" fmla="*/ 0 w 10941050"/>
              <a:gd name="connsiteY0" fmla="*/ 4171950 h 4171950"/>
              <a:gd name="connsiteX1" fmla="*/ 1117600 w 10941050"/>
              <a:gd name="connsiteY1" fmla="*/ 3037840 h 4171950"/>
              <a:gd name="connsiteX2" fmla="*/ 2286000 w 10941050"/>
              <a:gd name="connsiteY2" fmla="*/ 3733800 h 4171950"/>
              <a:gd name="connsiteX3" fmla="*/ 3949700 w 10941050"/>
              <a:gd name="connsiteY3" fmla="*/ 2119630 h 4171950"/>
              <a:gd name="connsiteX4" fmla="*/ 5581650 w 10941050"/>
              <a:gd name="connsiteY4" fmla="*/ 3028950 h 4171950"/>
              <a:gd name="connsiteX5" fmla="*/ 7426960 w 10941050"/>
              <a:gd name="connsiteY5" fmla="*/ 1002030 h 4171950"/>
              <a:gd name="connsiteX6" fmla="*/ 8909050 w 10941050"/>
              <a:gd name="connsiteY6" fmla="*/ 1778000 h 4171950"/>
              <a:gd name="connsiteX7" fmla="*/ 10941050 w 10941050"/>
              <a:gd name="connsiteY7" fmla="*/ 0 h 417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41050" h="4171950">
                <a:moveTo>
                  <a:pt x="0" y="4171950"/>
                </a:moveTo>
                <a:lnTo>
                  <a:pt x="1117600" y="3037840"/>
                </a:lnTo>
                <a:lnTo>
                  <a:pt x="2286000" y="3733800"/>
                </a:lnTo>
                <a:lnTo>
                  <a:pt x="3949700" y="2119630"/>
                </a:lnTo>
                <a:lnTo>
                  <a:pt x="5581650" y="3028950"/>
                </a:lnTo>
                <a:lnTo>
                  <a:pt x="7426960" y="1002030"/>
                </a:lnTo>
                <a:lnTo>
                  <a:pt x="8909050" y="1778000"/>
                </a:lnTo>
                <a:lnTo>
                  <a:pt x="10941050" y="0"/>
                </a:lnTo>
              </a:path>
            </a:pathLst>
          </a:custGeom>
          <a:noFill/>
          <a:ln w="127000" algn="ctr">
            <a:solidFill>
              <a:schemeClr val="accent3">
                <a:lumMod val="20000"/>
                <a:lumOff val="80000"/>
                <a:alpha val="10000"/>
              </a:schemeClr>
            </a:solidFill>
            <a:miter lim="800000"/>
            <a:headEnd/>
            <a:tailEnd type="triangle"/>
          </a:ln>
        </p:spPr>
        <p:txBody>
          <a:bodyPr rtlCol="0" anchor="ctr"/>
          <a:lstStyle/>
          <a:p>
            <a:pPr algn="ctr"/>
            <a:endParaRPr lang="en-US"/>
          </a:p>
        </p:txBody>
      </p:sp>
      <p:sp>
        <p:nvSpPr>
          <p:cNvPr id="16" name="Rectangle 15">
            <a:extLst>
              <a:ext uri="{FF2B5EF4-FFF2-40B4-BE49-F238E27FC236}">
                <a16:creationId xmlns:a16="http://schemas.microsoft.com/office/drawing/2014/main" id="{BFB9B1D0-33C2-4E12-9128-CCC23A72CE4A}"/>
              </a:ext>
            </a:extLst>
          </p:cNvPr>
          <p:cNvSpPr/>
          <p:nvPr/>
        </p:nvSpPr>
        <p:spPr bwMode="gray">
          <a:xfrm>
            <a:off x="2413181" y="2573723"/>
            <a:ext cx="2776085" cy="1069398"/>
          </a:xfrm>
          <a:prstGeom prst="rect">
            <a:avLst/>
          </a:prstGeom>
          <a:solidFill>
            <a:srgbClr val="00A3E0">
              <a:alpha val="18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8" name="Rectangle 87">
            <a:extLst>
              <a:ext uri="{FF2B5EF4-FFF2-40B4-BE49-F238E27FC236}">
                <a16:creationId xmlns:a16="http://schemas.microsoft.com/office/drawing/2014/main" id="{FDBB4803-3FDA-4BD7-B31C-C02F6F7C0306}"/>
              </a:ext>
            </a:extLst>
          </p:cNvPr>
          <p:cNvSpPr/>
          <p:nvPr/>
        </p:nvSpPr>
        <p:spPr>
          <a:xfrm>
            <a:off x="2821710" y="2535652"/>
            <a:ext cx="1070678" cy="1077218"/>
          </a:xfrm>
          <a:prstGeom prst="rect">
            <a:avLst/>
          </a:prstGeom>
        </p:spPr>
        <p:txBody>
          <a:bodyPr wrap="none">
            <a:spAutoFit/>
          </a:bodyPr>
          <a:lstStyle/>
          <a:p>
            <a:r>
              <a:rPr lang="en-US" sz="3600" b="1" dirty="0">
                <a:ln>
                  <a:solidFill>
                    <a:srgbClr val="00A3E0"/>
                  </a:solidFill>
                </a:ln>
                <a:solidFill>
                  <a:sysClr val="windowText" lastClr="000000"/>
                </a:solidFill>
              </a:rPr>
              <a:t>XX</a:t>
            </a:r>
            <a:r>
              <a:rPr lang="en-US" sz="2800" dirty="0">
                <a:ln>
                  <a:solidFill>
                    <a:srgbClr val="00A3E0"/>
                  </a:solidFill>
                </a:ln>
                <a:solidFill>
                  <a:sysClr val="windowText" lastClr="000000"/>
                </a:solidFill>
              </a:rPr>
              <a:t>%</a:t>
            </a:r>
            <a:br>
              <a:rPr lang="en-US" sz="2800" dirty="0">
                <a:solidFill>
                  <a:schemeClr val="accent3">
                    <a:lumMod val="40000"/>
                    <a:lumOff val="60000"/>
                  </a:schemeClr>
                </a:solidFill>
              </a:rPr>
            </a:br>
            <a:r>
              <a:rPr lang="en-US" sz="2800" dirty="0">
                <a:solidFill>
                  <a:schemeClr val="accent2"/>
                </a:solidFill>
              </a:rPr>
              <a:t>Lower</a:t>
            </a:r>
          </a:p>
        </p:txBody>
      </p:sp>
      <p:sp>
        <p:nvSpPr>
          <p:cNvPr id="89" name="Rectangle 88">
            <a:extLst>
              <a:ext uri="{FF2B5EF4-FFF2-40B4-BE49-F238E27FC236}">
                <a16:creationId xmlns:a16="http://schemas.microsoft.com/office/drawing/2014/main" id="{E8668355-CFD1-406D-968D-B9CBA75A1F65}"/>
              </a:ext>
            </a:extLst>
          </p:cNvPr>
          <p:cNvSpPr/>
          <p:nvPr/>
        </p:nvSpPr>
        <p:spPr>
          <a:xfrm>
            <a:off x="9525790" y="3279646"/>
            <a:ext cx="960519" cy="646331"/>
          </a:xfrm>
          <a:prstGeom prst="rect">
            <a:avLst/>
          </a:prstGeom>
        </p:spPr>
        <p:txBody>
          <a:bodyPr wrap="none">
            <a:spAutoFit/>
          </a:bodyPr>
          <a:lstStyle/>
          <a:p>
            <a:r>
              <a:rPr lang="en-US" sz="3600" b="1" dirty="0">
                <a:ln>
                  <a:solidFill>
                    <a:srgbClr val="00A3E0"/>
                  </a:solidFill>
                </a:ln>
                <a:solidFill>
                  <a:sysClr val="windowText" lastClr="000000"/>
                </a:solidFill>
              </a:rPr>
              <a:t>XX%</a:t>
            </a:r>
          </a:p>
        </p:txBody>
      </p:sp>
      <p:sp>
        <p:nvSpPr>
          <p:cNvPr id="90" name="Rectangle 89">
            <a:extLst>
              <a:ext uri="{FF2B5EF4-FFF2-40B4-BE49-F238E27FC236}">
                <a16:creationId xmlns:a16="http://schemas.microsoft.com/office/drawing/2014/main" id="{2A2055EB-256A-43BE-8AE1-130A936D3B71}"/>
              </a:ext>
            </a:extLst>
          </p:cNvPr>
          <p:cNvSpPr/>
          <p:nvPr/>
        </p:nvSpPr>
        <p:spPr>
          <a:xfrm>
            <a:off x="7976276" y="5336297"/>
            <a:ext cx="960519" cy="646331"/>
          </a:xfrm>
          <a:prstGeom prst="rect">
            <a:avLst/>
          </a:prstGeom>
        </p:spPr>
        <p:txBody>
          <a:bodyPr wrap="none">
            <a:spAutoFit/>
          </a:bodyPr>
          <a:lstStyle/>
          <a:p>
            <a:r>
              <a:rPr lang="en-US" sz="3600" b="1" dirty="0">
                <a:ln>
                  <a:solidFill>
                    <a:srgbClr val="00A3E0"/>
                  </a:solidFill>
                </a:ln>
                <a:solidFill>
                  <a:sysClr val="windowText" lastClr="000000"/>
                </a:solidFill>
              </a:rPr>
              <a:t>XX%</a:t>
            </a:r>
          </a:p>
        </p:txBody>
      </p:sp>
      <p:sp>
        <p:nvSpPr>
          <p:cNvPr id="91" name="Rectangle 90">
            <a:extLst>
              <a:ext uri="{FF2B5EF4-FFF2-40B4-BE49-F238E27FC236}">
                <a16:creationId xmlns:a16="http://schemas.microsoft.com/office/drawing/2014/main" id="{278A70E6-0FD0-4AA6-BAB0-7BE784377BA8}"/>
              </a:ext>
            </a:extLst>
          </p:cNvPr>
          <p:cNvSpPr/>
          <p:nvPr/>
        </p:nvSpPr>
        <p:spPr>
          <a:xfrm>
            <a:off x="488900" y="1713941"/>
            <a:ext cx="5135385" cy="607859"/>
          </a:xfrm>
          <a:prstGeom prst="rect">
            <a:avLst/>
          </a:prstGeom>
          <a:solidFill>
            <a:schemeClr val="accent3">
              <a:lumMod val="50000"/>
              <a:alpha val="10000"/>
            </a:schemeClr>
          </a:solidFill>
          <a:ln w="9525" cap="rnd">
            <a:solidFill>
              <a:srgbClr val="00A3E0"/>
            </a:solidFill>
          </a:ln>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86" name="Rectangle 85">
            <a:extLst>
              <a:ext uri="{FF2B5EF4-FFF2-40B4-BE49-F238E27FC236}">
                <a16:creationId xmlns:a16="http://schemas.microsoft.com/office/drawing/2014/main" id="{71F92105-DC68-4A75-82C6-90193C274CE2}"/>
              </a:ext>
            </a:extLst>
          </p:cNvPr>
          <p:cNvSpPr/>
          <p:nvPr/>
        </p:nvSpPr>
        <p:spPr>
          <a:xfrm>
            <a:off x="6096000" y="1713941"/>
            <a:ext cx="5626099" cy="607859"/>
          </a:xfrm>
          <a:prstGeom prst="rect">
            <a:avLst/>
          </a:prstGeom>
          <a:solidFill>
            <a:schemeClr val="accent3">
              <a:lumMod val="50000"/>
              <a:alpha val="10000"/>
            </a:schemeClr>
          </a:solidFill>
          <a:ln w="9525" cap="rnd">
            <a:solidFill>
              <a:srgbClr val="00A3E0"/>
            </a:solidFill>
          </a:ln>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grpSp>
        <p:nvGrpSpPr>
          <p:cNvPr id="7" name="Group 6">
            <a:extLst>
              <a:ext uri="{FF2B5EF4-FFF2-40B4-BE49-F238E27FC236}">
                <a16:creationId xmlns:a16="http://schemas.microsoft.com/office/drawing/2014/main" id="{76BD707B-9C1C-46BD-BB66-8677302E0EBB}"/>
              </a:ext>
            </a:extLst>
          </p:cNvPr>
          <p:cNvGrpSpPr/>
          <p:nvPr/>
        </p:nvGrpSpPr>
        <p:grpSpPr>
          <a:xfrm>
            <a:off x="1893598" y="2521138"/>
            <a:ext cx="519584" cy="1473992"/>
            <a:chOff x="2356052" y="1680907"/>
            <a:chExt cx="237918" cy="674943"/>
          </a:xfrm>
        </p:grpSpPr>
        <p:sp>
          <p:nvSpPr>
            <p:cNvPr id="3" name="Oval 2">
              <a:extLst>
                <a:ext uri="{FF2B5EF4-FFF2-40B4-BE49-F238E27FC236}">
                  <a16:creationId xmlns:a16="http://schemas.microsoft.com/office/drawing/2014/main" id="{6DC1B4A4-AFA1-4CDD-9406-3D7DC920D4E6}"/>
                </a:ext>
              </a:extLst>
            </p:cNvPr>
            <p:cNvSpPr/>
            <p:nvPr/>
          </p:nvSpPr>
          <p:spPr bwMode="gray">
            <a:xfrm>
              <a:off x="2356052" y="22905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6" name="Oval 75">
              <a:extLst>
                <a:ext uri="{FF2B5EF4-FFF2-40B4-BE49-F238E27FC236}">
                  <a16:creationId xmlns:a16="http://schemas.microsoft.com/office/drawing/2014/main" id="{E61C2642-5C63-4349-9BF5-8045DA66CD26}"/>
                </a:ext>
              </a:extLst>
            </p:cNvPr>
            <p:cNvSpPr/>
            <p:nvPr/>
          </p:nvSpPr>
          <p:spPr bwMode="gray">
            <a:xfrm>
              <a:off x="2356052" y="22524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7" name="Oval 76">
              <a:extLst>
                <a:ext uri="{FF2B5EF4-FFF2-40B4-BE49-F238E27FC236}">
                  <a16:creationId xmlns:a16="http://schemas.microsoft.com/office/drawing/2014/main" id="{F66E0FC4-2F16-43D1-A658-27B7868498B2}"/>
                </a:ext>
              </a:extLst>
            </p:cNvPr>
            <p:cNvSpPr/>
            <p:nvPr/>
          </p:nvSpPr>
          <p:spPr bwMode="gray">
            <a:xfrm>
              <a:off x="2356052" y="22143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3" name="Oval 82">
              <a:extLst>
                <a:ext uri="{FF2B5EF4-FFF2-40B4-BE49-F238E27FC236}">
                  <a16:creationId xmlns:a16="http://schemas.microsoft.com/office/drawing/2014/main" id="{952FDAFD-E0C7-4EEB-A730-FD813303232C}"/>
                </a:ext>
              </a:extLst>
            </p:cNvPr>
            <p:cNvSpPr/>
            <p:nvPr/>
          </p:nvSpPr>
          <p:spPr bwMode="gray">
            <a:xfrm>
              <a:off x="2356052" y="21762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4" name="Oval 83">
              <a:extLst>
                <a:ext uri="{FF2B5EF4-FFF2-40B4-BE49-F238E27FC236}">
                  <a16:creationId xmlns:a16="http://schemas.microsoft.com/office/drawing/2014/main" id="{3CAA1B8D-FF5A-4C14-BF85-3E05BF117781}"/>
                </a:ext>
              </a:extLst>
            </p:cNvPr>
            <p:cNvSpPr/>
            <p:nvPr/>
          </p:nvSpPr>
          <p:spPr bwMode="gray">
            <a:xfrm>
              <a:off x="2356052" y="21381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5" name="Oval 84">
              <a:extLst>
                <a:ext uri="{FF2B5EF4-FFF2-40B4-BE49-F238E27FC236}">
                  <a16:creationId xmlns:a16="http://schemas.microsoft.com/office/drawing/2014/main" id="{5E8CF07B-5361-4C17-B5BE-6AD7D23ABE23}"/>
                </a:ext>
              </a:extLst>
            </p:cNvPr>
            <p:cNvSpPr/>
            <p:nvPr/>
          </p:nvSpPr>
          <p:spPr bwMode="gray">
            <a:xfrm>
              <a:off x="2356052" y="21000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7" name="Oval 86">
              <a:extLst>
                <a:ext uri="{FF2B5EF4-FFF2-40B4-BE49-F238E27FC236}">
                  <a16:creationId xmlns:a16="http://schemas.microsoft.com/office/drawing/2014/main" id="{201653A7-44B7-4C20-8787-D9F29B31BE32}"/>
                </a:ext>
              </a:extLst>
            </p:cNvPr>
            <p:cNvSpPr/>
            <p:nvPr/>
          </p:nvSpPr>
          <p:spPr bwMode="gray">
            <a:xfrm>
              <a:off x="2356052" y="20619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2" name="Oval 91">
              <a:extLst>
                <a:ext uri="{FF2B5EF4-FFF2-40B4-BE49-F238E27FC236}">
                  <a16:creationId xmlns:a16="http://schemas.microsoft.com/office/drawing/2014/main" id="{10CBF191-7575-488C-897A-67AC79D7B9E3}"/>
                </a:ext>
              </a:extLst>
            </p:cNvPr>
            <p:cNvSpPr/>
            <p:nvPr/>
          </p:nvSpPr>
          <p:spPr bwMode="gray">
            <a:xfrm>
              <a:off x="2356052" y="20238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4" name="Oval 93">
              <a:extLst>
                <a:ext uri="{FF2B5EF4-FFF2-40B4-BE49-F238E27FC236}">
                  <a16:creationId xmlns:a16="http://schemas.microsoft.com/office/drawing/2014/main" id="{D4A64D5A-1399-4489-8808-F4F94254F208}"/>
                </a:ext>
              </a:extLst>
            </p:cNvPr>
            <p:cNvSpPr/>
            <p:nvPr/>
          </p:nvSpPr>
          <p:spPr bwMode="gray">
            <a:xfrm>
              <a:off x="2356052" y="19857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5" name="Oval 94">
              <a:extLst>
                <a:ext uri="{FF2B5EF4-FFF2-40B4-BE49-F238E27FC236}">
                  <a16:creationId xmlns:a16="http://schemas.microsoft.com/office/drawing/2014/main" id="{F39A6022-690D-4D96-A267-D22863EDBA22}"/>
                </a:ext>
              </a:extLst>
            </p:cNvPr>
            <p:cNvSpPr/>
            <p:nvPr/>
          </p:nvSpPr>
          <p:spPr bwMode="gray">
            <a:xfrm>
              <a:off x="2356052" y="19476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6" name="Oval 95">
              <a:extLst>
                <a:ext uri="{FF2B5EF4-FFF2-40B4-BE49-F238E27FC236}">
                  <a16:creationId xmlns:a16="http://schemas.microsoft.com/office/drawing/2014/main" id="{0BD4F925-0123-4464-8283-39577D8951EE}"/>
                </a:ext>
              </a:extLst>
            </p:cNvPr>
            <p:cNvSpPr/>
            <p:nvPr/>
          </p:nvSpPr>
          <p:spPr bwMode="gray">
            <a:xfrm>
              <a:off x="2356052" y="19095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7" name="Oval 96">
              <a:extLst>
                <a:ext uri="{FF2B5EF4-FFF2-40B4-BE49-F238E27FC236}">
                  <a16:creationId xmlns:a16="http://schemas.microsoft.com/office/drawing/2014/main" id="{D945A4A1-9A0A-45BD-9623-9E3A55986ED0}"/>
                </a:ext>
              </a:extLst>
            </p:cNvPr>
            <p:cNvSpPr/>
            <p:nvPr/>
          </p:nvSpPr>
          <p:spPr bwMode="gray">
            <a:xfrm>
              <a:off x="2356052" y="18714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8" name="Oval 97">
              <a:extLst>
                <a:ext uri="{FF2B5EF4-FFF2-40B4-BE49-F238E27FC236}">
                  <a16:creationId xmlns:a16="http://schemas.microsoft.com/office/drawing/2014/main" id="{106EEA8E-DDD8-4DC6-8175-E881B7006DFD}"/>
                </a:ext>
              </a:extLst>
            </p:cNvPr>
            <p:cNvSpPr/>
            <p:nvPr/>
          </p:nvSpPr>
          <p:spPr bwMode="gray">
            <a:xfrm>
              <a:off x="2356052" y="18333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0" name="Oval 99">
              <a:extLst>
                <a:ext uri="{FF2B5EF4-FFF2-40B4-BE49-F238E27FC236}">
                  <a16:creationId xmlns:a16="http://schemas.microsoft.com/office/drawing/2014/main" id="{777D49F7-7C67-42EB-9EBA-380E4FD18533}"/>
                </a:ext>
              </a:extLst>
            </p:cNvPr>
            <p:cNvSpPr/>
            <p:nvPr/>
          </p:nvSpPr>
          <p:spPr bwMode="gray">
            <a:xfrm>
              <a:off x="2356052" y="17952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1" name="Oval 100">
              <a:extLst>
                <a:ext uri="{FF2B5EF4-FFF2-40B4-BE49-F238E27FC236}">
                  <a16:creationId xmlns:a16="http://schemas.microsoft.com/office/drawing/2014/main" id="{C2EE00E2-8C74-4723-9407-3BE3C2E63868}"/>
                </a:ext>
              </a:extLst>
            </p:cNvPr>
            <p:cNvSpPr/>
            <p:nvPr/>
          </p:nvSpPr>
          <p:spPr bwMode="gray">
            <a:xfrm>
              <a:off x="2356052" y="17571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Oval 101">
              <a:extLst>
                <a:ext uri="{FF2B5EF4-FFF2-40B4-BE49-F238E27FC236}">
                  <a16:creationId xmlns:a16="http://schemas.microsoft.com/office/drawing/2014/main" id="{35244A6C-32D2-4373-8E37-7FA77C30ECEB}"/>
                </a:ext>
              </a:extLst>
            </p:cNvPr>
            <p:cNvSpPr/>
            <p:nvPr/>
          </p:nvSpPr>
          <p:spPr bwMode="gray">
            <a:xfrm>
              <a:off x="2356052" y="17190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3" name="Oval 102">
              <a:extLst>
                <a:ext uri="{FF2B5EF4-FFF2-40B4-BE49-F238E27FC236}">
                  <a16:creationId xmlns:a16="http://schemas.microsoft.com/office/drawing/2014/main" id="{902A1864-2DA9-43BD-AD95-8B54B106FD68}"/>
                </a:ext>
              </a:extLst>
            </p:cNvPr>
            <p:cNvSpPr/>
            <p:nvPr/>
          </p:nvSpPr>
          <p:spPr bwMode="gray">
            <a:xfrm>
              <a:off x="2356052" y="16809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06" name="TextBox 105">
            <a:extLst>
              <a:ext uri="{FF2B5EF4-FFF2-40B4-BE49-F238E27FC236}">
                <a16:creationId xmlns:a16="http://schemas.microsoft.com/office/drawing/2014/main" id="{1B92A75B-5A16-4F44-B657-F8727D89C760}"/>
              </a:ext>
            </a:extLst>
          </p:cNvPr>
          <p:cNvSpPr txBox="1"/>
          <p:nvPr/>
        </p:nvSpPr>
        <p:spPr>
          <a:xfrm flipH="1">
            <a:off x="399596" y="2670932"/>
            <a:ext cx="1382617" cy="646331"/>
          </a:xfrm>
          <a:prstGeom prst="rect">
            <a:avLst/>
          </a:prstGeom>
          <a:noFill/>
        </p:spPr>
        <p:txBody>
          <a:bodyPr wrap="square" rtlCol="0">
            <a:spAutoFit/>
          </a:bodyPr>
          <a:lstStyle/>
          <a:p>
            <a:pPr algn="r"/>
            <a:r>
              <a:rPr lang="en-US" sz="1200" kern="0" dirty="0">
                <a:solidFill>
                  <a:prstClr val="white"/>
                </a:solidFill>
                <a:ea typeface="ヒラギノ角ゴ ProN W3" charset="0"/>
                <a:sym typeface="Gotham Book" charset="0"/>
              </a:rPr>
              <a:t>This is dummy text it is not here to be read.</a:t>
            </a:r>
            <a:endParaRPr lang="en-US" sz="1200" b="1" dirty="0">
              <a:solidFill>
                <a:schemeClr val="bg1"/>
              </a:solidFill>
            </a:endParaRPr>
          </a:p>
        </p:txBody>
      </p:sp>
      <p:sp>
        <p:nvSpPr>
          <p:cNvPr id="107" name="TextBox 106">
            <a:extLst>
              <a:ext uri="{FF2B5EF4-FFF2-40B4-BE49-F238E27FC236}">
                <a16:creationId xmlns:a16="http://schemas.microsoft.com/office/drawing/2014/main" id="{669DE8AF-EBB3-44ED-8410-2F35FC299E1B}"/>
              </a:ext>
            </a:extLst>
          </p:cNvPr>
          <p:cNvSpPr txBox="1"/>
          <p:nvPr/>
        </p:nvSpPr>
        <p:spPr>
          <a:xfrm flipH="1">
            <a:off x="3490972" y="3632619"/>
            <a:ext cx="1622148" cy="461665"/>
          </a:xfrm>
          <a:prstGeom prst="rect">
            <a:avLst/>
          </a:prstGeom>
          <a:noFill/>
        </p:spPr>
        <p:txBody>
          <a:bodyPr wrap="square" rtlCol="0">
            <a:spAutoFit/>
          </a:bodyPr>
          <a:lstStyle/>
          <a:p>
            <a:r>
              <a:rPr lang="en-US" sz="1200" kern="0" dirty="0">
                <a:solidFill>
                  <a:prstClr val="white"/>
                </a:solidFill>
                <a:ea typeface="ヒラギノ角ゴ ProN W3" charset="0"/>
                <a:sym typeface="Gotham Book" charset="0"/>
              </a:rPr>
              <a:t>This is dummy text it is not here to be read.</a:t>
            </a:r>
            <a:endParaRPr lang="en-US" sz="1200" b="1" dirty="0">
              <a:solidFill>
                <a:schemeClr val="accent3">
                  <a:lumMod val="75000"/>
                </a:schemeClr>
              </a:solidFill>
            </a:endParaRPr>
          </a:p>
        </p:txBody>
      </p:sp>
      <p:cxnSp>
        <p:nvCxnSpPr>
          <p:cNvPr id="14" name="Straight Connector 13">
            <a:extLst>
              <a:ext uri="{FF2B5EF4-FFF2-40B4-BE49-F238E27FC236}">
                <a16:creationId xmlns:a16="http://schemas.microsoft.com/office/drawing/2014/main" id="{575EEF1C-731F-4838-A7A1-3E5E9C5EFAE7}"/>
              </a:ext>
            </a:extLst>
          </p:cNvPr>
          <p:cNvCxnSpPr>
            <a:cxnSpLocks/>
          </p:cNvCxnSpPr>
          <p:nvPr/>
        </p:nvCxnSpPr>
        <p:spPr>
          <a:xfrm>
            <a:off x="2413181" y="2573722"/>
            <a:ext cx="2776085" cy="0"/>
          </a:xfrm>
          <a:prstGeom prst="line">
            <a:avLst/>
          </a:prstGeom>
          <a:ln w="6350" cap="rnd">
            <a:solidFill>
              <a:srgbClr val="00A3E0"/>
            </a:solidFill>
            <a:prstDash val="solid"/>
          </a:ln>
        </p:spPr>
        <p:style>
          <a:lnRef idx="1">
            <a:schemeClr val="accent1"/>
          </a:lnRef>
          <a:fillRef idx="0">
            <a:schemeClr val="accent1"/>
          </a:fillRef>
          <a:effectRef idx="0">
            <a:schemeClr val="accent1"/>
          </a:effectRef>
          <a:fontRef idx="minor">
            <a:schemeClr val="tx1"/>
          </a:fontRef>
        </p:style>
      </p:cxnSp>
      <p:sp>
        <p:nvSpPr>
          <p:cNvPr id="116" name="Freeform 6">
            <a:extLst>
              <a:ext uri="{FF2B5EF4-FFF2-40B4-BE49-F238E27FC236}">
                <a16:creationId xmlns:a16="http://schemas.microsoft.com/office/drawing/2014/main" id="{A43A9D99-2266-436E-8A37-0909BAF1FB2B}"/>
              </a:ext>
            </a:extLst>
          </p:cNvPr>
          <p:cNvSpPr>
            <a:spLocks noEditPoints="1"/>
          </p:cNvSpPr>
          <p:nvPr/>
        </p:nvSpPr>
        <p:spPr bwMode="auto">
          <a:xfrm>
            <a:off x="2082285" y="2547568"/>
            <a:ext cx="142209" cy="82385"/>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Isosceles Triangle 18">
            <a:extLst>
              <a:ext uri="{FF2B5EF4-FFF2-40B4-BE49-F238E27FC236}">
                <a16:creationId xmlns:a16="http://schemas.microsoft.com/office/drawing/2014/main" id="{ED8C7C62-A684-42BF-BD4A-3578D8BB1970}"/>
              </a:ext>
            </a:extLst>
          </p:cNvPr>
          <p:cNvSpPr/>
          <p:nvPr/>
        </p:nvSpPr>
        <p:spPr bwMode="gray">
          <a:xfrm rot="5400000">
            <a:off x="1569776" y="2962753"/>
            <a:ext cx="455358" cy="62688"/>
          </a:xfrm>
          <a:prstGeom prst="triangl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8" name="Isosceles Triangle 117">
            <a:extLst>
              <a:ext uri="{FF2B5EF4-FFF2-40B4-BE49-F238E27FC236}">
                <a16:creationId xmlns:a16="http://schemas.microsoft.com/office/drawing/2014/main" id="{D01F92FD-D70C-43DF-A437-D7B27EEBC11F}"/>
              </a:ext>
            </a:extLst>
          </p:cNvPr>
          <p:cNvSpPr/>
          <p:nvPr/>
        </p:nvSpPr>
        <p:spPr bwMode="gray">
          <a:xfrm rot="16200000" flipH="1">
            <a:off x="3346209" y="3834957"/>
            <a:ext cx="311015" cy="56989"/>
          </a:xfrm>
          <a:prstGeom prst="triangl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19" name="Straight Connector 118">
            <a:extLst>
              <a:ext uri="{FF2B5EF4-FFF2-40B4-BE49-F238E27FC236}">
                <a16:creationId xmlns:a16="http://schemas.microsoft.com/office/drawing/2014/main" id="{B4BC2A67-2A85-48A6-A575-811F7F34155A}"/>
              </a:ext>
            </a:extLst>
          </p:cNvPr>
          <p:cNvCxnSpPr>
            <a:cxnSpLocks/>
          </p:cNvCxnSpPr>
          <p:nvPr/>
        </p:nvCxnSpPr>
        <p:spPr>
          <a:xfrm>
            <a:off x="2413181" y="3643251"/>
            <a:ext cx="2776085" cy="0"/>
          </a:xfrm>
          <a:prstGeom prst="line">
            <a:avLst/>
          </a:prstGeom>
          <a:ln w="6350" cap="rnd">
            <a:solidFill>
              <a:srgbClr val="00A3E0"/>
            </a:solidFill>
            <a:prstDash val="soli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4E9B252C-E997-4070-B060-19C84928DBAA}"/>
              </a:ext>
            </a:extLst>
          </p:cNvPr>
          <p:cNvGrpSpPr/>
          <p:nvPr/>
        </p:nvGrpSpPr>
        <p:grpSpPr>
          <a:xfrm>
            <a:off x="2843023" y="3686018"/>
            <a:ext cx="519584" cy="309112"/>
            <a:chOff x="2828274" y="4052618"/>
            <a:chExt cx="519584" cy="309112"/>
          </a:xfrm>
        </p:grpSpPr>
        <p:grpSp>
          <p:nvGrpSpPr>
            <p:cNvPr id="21" name="Group 20">
              <a:extLst>
                <a:ext uri="{FF2B5EF4-FFF2-40B4-BE49-F238E27FC236}">
                  <a16:creationId xmlns:a16="http://schemas.microsoft.com/office/drawing/2014/main" id="{68577EC1-C1E7-440D-A04C-3B38A9F2FFB6}"/>
                </a:ext>
              </a:extLst>
            </p:cNvPr>
            <p:cNvGrpSpPr/>
            <p:nvPr/>
          </p:nvGrpSpPr>
          <p:grpSpPr>
            <a:xfrm>
              <a:off x="2828274" y="4052618"/>
              <a:ext cx="519584" cy="309112"/>
              <a:chOff x="2828274" y="4052618"/>
              <a:chExt cx="519584" cy="309112"/>
            </a:xfrm>
          </p:grpSpPr>
          <p:sp>
            <p:nvSpPr>
              <p:cNvPr id="120" name="Oval 119">
                <a:extLst>
                  <a:ext uri="{FF2B5EF4-FFF2-40B4-BE49-F238E27FC236}">
                    <a16:creationId xmlns:a16="http://schemas.microsoft.com/office/drawing/2014/main" id="{2F9A806F-D8FC-43B1-98A0-A8E31993F60C}"/>
                  </a:ext>
                </a:extLst>
              </p:cNvPr>
              <p:cNvSpPr/>
              <p:nvPr/>
            </p:nvSpPr>
            <p:spPr bwMode="gray">
              <a:xfrm>
                <a:off x="2828274" y="4219029"/>
                <a:ext cx="519584" cy="142701"/>
              </a:xfrm>
              <a:prstGeom prst="ellipse">
                <a:avLst/>
              </a:prstGeom>
              <a:solidFill>
                <a:schemeClr val="tx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1" name="Oval 120">
                <a:extLst>
                  <a:ext uri="{FF2B5EF4-FFF2-40B4-BE49-F238E27FC236}">
                    <a16:creationId xmlns:a16="http://schemas.microsoft.com/office/drawing/2014/main" id="{D3E22A2C-7E03-43B0-87AF-A63E672C8F17}"/>
                  </a:ext>
                </a:extLst>
              </p:cNvPr>
              <p:cNvSpPr/>
              <p:nvPr/>
            </p:nvSpPr>
            <p:spPr bwMode="gray">
              <a:xfrm>
                <a:off x="2828274" y="4135823"/>
                <a:ext cx="519584" cy="142701"/>
              </a:xfrm>
              <a:prstGeom prst="ellipse">
                <a:avLst/>
              </a:prstGeom>
              <a:solidFill>
                <a:schemeClr val="tx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2" name="Oval 121">
                <a:extLst>
                  <a:ext uri="{FF2B5EF4-FFF2-40B4-BE49-F238E27FC236}">
                    <a16:creationId xmlns:a16="http://schemas.microsoft.com/office/drawing/2014/main" id="{FDB2DBC5-5303-4A5C-AA5B-7B9398450042}"/>
                  </a:ext>
                </a:extLst>
              </p:cNvPr>
              <p:cNvSpPr/>
              <p:nvPr/>
            </p:nvSpPr>
            <p:spPr bwMode="gray">
              <a:xfrm>
                <a:off x="2828274" y="4052618"/>
                <a:ext cx="519584" cy="142701"/>
              </a:xfrm>
              <a:prstGeom prst="ellipse">
                <a:avLst/>
              </a:prstGeom>
              <a:solidFill>
                <a:schemeClr val="tx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17" name="Freeform 6">
              <a:extLst>
                <a:ext uri="{FF2B5EF4-FFF2-40B4-BE49-F238E27FC236}">
                  <a16:creationId xmlns:a16="http://schemas.microsoft.com/office/drawing/2014/main" id="{D7876C52-B882-4958-86BC-B8186ED6FD4C}"/>
                </a:ext>
              </a:extLst>
            </p:cNvPr>
            <p:cNvSpPr>
              <a:spLocks noEditPoints="1"/>
            </p:cNvSpPr>
            <p:nvPr/>
          </p:nvSpPr>
          <p:spPr bwMode="auto">
            <a:xfrm>
              <a:off x="3016962" y="4074864"/>
              <a:ext cx="142209" cy="82385"/>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1" name="Rectangle 40">
            <a:extLst>
              <a:ext uri="{FF2B5EF4-FFF2-40B4-BE49-F238E27FC236}">
                <a16:creationId xmlns:a16="http://schemas.microsoft.com/office/drawing/2014/main" id="{FCA1A0BC-DE84-47D4-95B2-D4A0A615F43F}"/>
              </a:ext>
            </a:extLst>
          </p:cNvPr>
          <p:cNvSpPr/>
          <p:nvPr/>
        </p:nvSpPr>
        <p:spPr>
          <a:xfrm>
            <a:off x="6096000" y="2607045"/>
            <a:ext cx="2203303" cy="584775"/>
          </a:xfrm>
          <a:prstGeom prst="rect">
            <a:avLst/>
          </a:prstGeom>
        </p:spPr>
        <p:txBody>
          <a:bodyPr wrap="square">
            <a:spAutoFit/>
          </a:bodyPr>
          <a:lstStyle/>
          <a:p>
            <a:r>
              <a:rPr lang="en-US" sz="1600" b="1" dirty="0">
                <a:solidFill>
                  <a:schemeClr val="bg1"/>
                </a:solidFill>
              </a:rPr>
              <a:t>16 hours</a:t>
            </a:r>
            <a:r>
              <a:rPr lang="en-US" sz="1600" dirty="0">
                <a:solidFill>
                  <a:schemeClr val="bg1"/>
                </a:solidFill>
              </a:rPr>
              <a:t>/ VM/month</a:t>
            </a:r>
          </a:p>
        </p:txBody>
      </p:sp>
      <p:sp>
        <p:nvSpPr>
          <p:cNvPr id="124" name="TextBox 123">
            <a:extLst>
              <a:ext uri="{FF2B5EF4-FFF2-40B4-BE49-F238E27FC236}">
                <a16:creationId xmlns:a16="http://schemas.microsoft.com/office/drawing/2014/main" id="{3B7A7C63-DF43-4360-830C-008DEAEDBF73}"/>
              </a:ext>
            </a:extLst>
          </p:cNvPr>
          <p:cNvSpPr txBox="1"/>
          <p:nvPr/>
        </p:nvSpPr>
        <p:spPr>
          <a:xfrm flipH="1">
            <a:off x="9649162" y="2607045"/>
            <a:ext cx="2147906" cy="584775"/>
          </a:xfrm>
          <a:prstGeom prst="rect">
            <a:avLst/>
          </a:prstGeom>
          <a:noFill/>
        </p:spPr>
        <p:txBody>
          <a:bodyPr wrap="square" rtlCol="0">
            <a:spAutoFit/>
          </a:bodyPr>
          <a:lstStyle/>
          <a:p>
            <a:r>
              <a:rPr lang="en-US" sz="1600" kern="0" dirty="0">
                <a:solidFill>
                  <a:prstClr val="white"/>
                </a:solidFill>
                <a:ea typeface="ヒラギノ角ゴ ProN W3" charset="0"/>
                <a:sym typeface="Gotham Book" charset="0"/>
              </a:rPr>
              <a:t>This is dummy text it is not here to be read.</a:t>
            </a:r>
            <a:endParaRPr lang="en-US" sz="1600" dirty="0">
              <a:solidFill>
                <a:schemeClr val="accent3">
                  <a:lumMod val="75000"/>
                </a:schemeClr>
              </a:solidFill>
            </a:endParaRPr>
          </a:p>
        </p:txBody>
      </p:sp>
      <p:grpSp>
        <p:nvGrpSpPr>
          <p:cNvPr id="65" name="Group 11">
            <a:extLst>
              <a:ext uri="{FF2B5EF4-FFF2-40B4-BE49-F238E27FC236}">
                <a16:creationId xmlns:a16="http://schemas.microsoft.com/office/drawing/2014/main" id="{E731E757-3223-4F05-ACFE-2A54EBAF37D0}"/>
              </a:ext>
            </a:extLst>
          </p:cNvPr>
          <p:cNvGrpSpPr>
            <a:grpSpLocks noChangeAspect="1"/>
          </p:cNvGrpSpPr>
          <p:nvPr/>
        </p:nvGrpSpPr>
        <p:grpSpPr bwMode="auto">
          <a:xfrm>
            <a:off x="8182152" y="2819623"/>
            <a:ext cx="902032" cy="875375"/>
            <a:chOff x="3149" y="4687"/>
            <a:chExt cx="1218" cy="1182"/>
          </a:xfrm>
          <a:solidFill>
            <a:srgbClr val="00A3E0"/>
          </a:solidFill>
        </p:grpSpPr>
        <p:sp>
          <p:nvSpPr>
            <p:cNvPr id="126" name="Freeform 12">
              <a:extLst>
                <a:ext uri="{FF2B5EF4-FFF2-40B4-BE49-F238E27FC236}">
                  <a16:creationId xmlns:a16="http://schemas.microsoft.com/office/drawing/2014/main" id="{22028B75-67FE-45A8-AE24-599A416C641F}"/>
                </a:ext>
              </a:extLst>
            </p:cNvPr>
            <p:cNvSpPr>
              <a:spLocks noEditPoints="1"/>
            </p:cNvSpPr>
            <p:nvPr/>
          </p:nvSpPr>
          <p:spPr bwMode="auto">
            <a:xfrm>
              <a:off x="3149" y="4789"/>
              <a:ext cx="1115" cy="1080"/>
            </a:xfrm>
            <a:custGeom>
              <a:avLst/>
              <a:gdLst>
                <a:gd name="T0" fmla="*/ 201 w 500"/>
                <a:gd name="T1" fmla="*/ 150 h 499"/>
                <a:gd name="T2" fmla="*/ 160 w 500"/>
                <a:gd name="T3" fmla="*/ 152 h 499"/>
                <a:gd name="T4" fmla="*/ 84 w 500"/>
                <a:gd name="T5" fmla="*/ 272 h 499"/>
                <a:gd name="T6" fmla="*/ 96 w 500"/>
                <a:gd name="T7" fmla="*/ 327 h 499"/>
                <a:gd name="T8" fmla="*/ 0 w 500"/>
                <a:gd name="T9" fmla="*/ 489 h 499"/>
                <a:gd name="T10" fmla="*/ 310 w 500"/>
                <a:gd name="T11" fmla="*/ 499 h 499"/>
                <a:gd name="T12" fmla="*/ 320 w 500"/>
                <a:gd name="T13" fmla="*/ 423 h 499"/>
                <a:gd name="T14" fmla="*/ 213 w 500"/>
                <a:gd name="T15" fmla="*/ 327 h 499"/>
                <a:gd name="T16" fmla="*/ 237 w 500"/>
                <a:gd name="T17" fmla="*/ 247 h 499"/>
                <a:gd name="T18" fmla="*/ 500 w 500"/>
                <a:gd name="T19" fmla="*/ 150 h 499"/>
                <a:gd name="T20" fmla="*/ 105 w 500"/>
                <a:gd name="T21" fmla="*/ 231 h 499"/>
                <a:gd name="T22" fmla="*/ 160 w 500"/>
                <a:gd name="T23" fmla="*/ 173 h 499"/>
                <a:gd name="T24" fmla="*/ 187 w 500"/>
                <a:gd name="T25" fmla="*/ 209 h 499"/>
                <a:gd name="T26" fmla="*/ 127 w 500"/>
                <a:gd name="T27" fmla="*/ 233 h 499"/>
                <a:gd name="T28" fmla="*/ 105 w 500"/>
                <a:gd name="T29" fmla="*/ 231 h 499"/>
                <a:gd name="T30" fmla="*/ 219 w 500"/>
                <a:gd name="T31" fmla="*/ 405 h 499"/>
                <a:gd name="T32" fmla="*/ 225 w 500"/>
                <a:gd name="T33" fmla="*/ 351 h 499"/>
                <a:gd name="T34" fmla="*/ 225 w 500"/>
                <a:gd name="T35" fmla="*/ 348 h 499"/>
                <a:gd name="T36" fmla="*/ 299 w 500"/>
                <a:gd name="T37" fmla="*/ 478 h 499"/>
                <a:gd name="T38" fmla="*/ 22 w 500"/>
                <a:gd name="T39" fmla="*/ 423 h 499"/>
                <a:gd name="T40" fmla="*/ 96 w 500"/>
                <a:gd name="T41" fmla="*/ 348 h 499"/>
                <a:gd name="T42" fmla="*/ 102 w 500"/>
                <a:gd name="T43" fmla="*/ 405 h 499"/>
                <a:gd name="T44" fmla="*/ 150 w 500"/>
                <a:gd name="T45" fmla="*/ 380 h 499"/>
                <a:gd name="T46" fmla="*/ 160 w 500"/>
                <a:gd name="T47" fmla="*/ 414 h 499"/>
                <a:gd name="T48" fmla="*/ 171 w 500"/>
                <a:gd name="T49" fmla="*/ 380 h 499"/>
                <a:gd name="T50" fmla="*/ 214 w 500"/>
                <a:gd name="T51" fmla="*/ 406 h 499"/>
                <a:gd name="T52" fmla="*/ 117 w 500"/>
                <a:gd name="T53" fmla="*/ 348 h 499"/>
                <a:gd name="T54" fmla="*/ 203 w 500"/>
                <a:gd name="T55" fmla="*/ 351 h 499"/>
                <a:gd name="T56" fmla="*/ 166 w 500"/>
                <a:gd name="T57" fmla="*/ 352 h 499"/>
                <a:gd name="T58" fmla="*/ 117 w 500"/>
                <a:gd name="T59" fmla="*/ 376 h 499"/>
                <a:gd name="T60" fmla="*/ 160 w 500"/>
                <a:gd name="T61" fmla="*/ 327 h 499"/>
                <a:gd name="T62" fmla="*/ 105 w 500"/>
                <a:gd name="T63" fmla="*/ 255 h 499"/>
                <a:gd name="T64" fmla="*/ 184 w 500"/>
                <a:gd name="T65" fmla="*/ 232 h 499"/>
                <a:gd name="T66" fmla="*/ 215 w 500"/>
                <a:gd name="T67" fmla="*/ 272 h 499"/>
                <a:gd name="T68" fmla="*/ 222 w 500"/>
                <a:gd name="T69" fmla="*/ 150 h 499"/>
                <a:gd name="T70" fmla="*/ 478 w 500"/>
                <a:gd name="T71" fmla="*/ 150 h 499"/>
                <a:gd name="T72" fmla="*/ 350 w 500"/>
                <a:gd name="T73" fmla="*/ 27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0" h="499">
                  <a:moveTo>
                    <a:pt x="350" y="0"/>
                  </a:moveTo>
                  <a:cubicBezTo>
                    <a:pt x="268" y="0"/>
                    <a:pt x="201" y="67"/>
                    <a:pt x="201" y="150"/>
                  </a:cubicBezTo>
                  <a:cubicBezTo>
                    <a:pt x="201" y="154"/>
                    <a:pt x="201" y="159"/>
                    <a:pt x="202" y="164"/>
                  </a:cubicBezTo>
                  <a:cubicBezTo>
                    <a:pt x="190" y="156"/>
                    <a:pt x="176" y="152"/>
                    <a:pt x="160" y="152"/>
                  </a:cubicBezTo>
                  <a:cubicBezTo>
                    <a:pt x="118" y="152"/>
                    <a:pt x="84" y="186"/>
                    <a:pt x="84" y="228"/>
                  </a:cubicBezTo>
                  <a:cubicBezTo>
                    <a:pt x="84" y="272"/>
                    <a:pt x="84" y="272"/>
                    <a:pt x="84" y="272"/>
                  </a:cubicBezTo>
                  <a:cubicBezTo>
                    <a:pt x="84" y="294"/>
                    <a:pt x="93" y="313"/>
                    <a:pt x="107" y="327"/>
                  </a:cubicBezTo>
                  <a:cubicBezTo>
                    <a:pt x="96" y="327"/>
                    <a:pt x="96" y="327"/>
                    <a:pt x="96" y="327"/>
                  </a:cubicBezTo>
                  <a:cubicBezTo>
                    <a:pt x="43" y="327"/>
                    <a:pt x="0" y="370"/>
                    <a:pt x="0" y="423"/>
                  </a:cubicBezTo>
                  <a:cubicBezTo>
                    <a:pt x="0" y="489"/>
                    <a:pt x="0" y="489"/>
                    <a:pt x="0" y="489"/>
                  </a:cubicBezTo>
                  <a:cubicBezTo>
                    <a:pt x="0" y="495"/>
                    <a:pt x="5" y="499"/>
                    <a:pt x="11" y="499"/>
                  </a:cubicBezTo>
                  <a:cubicBezTo>
                    <a:pt x="310" y="499"/>
                    <a:pt x="310" y="499"/>
                    <a:pt x="310" y="499"/>
                  </a:cubicBezTo>
                  <a:cubicBezTo>
                    <a:pt x="316" y="499"/>
                    <a:pt x="320" y="495"/>
                    <a:pt x="320" y="489"/>
                  </a:cubicBezTo>
                  <a:cubicBezTo>
                    <a:pt x="320" y="423"/>
                    <a:pt x="320" y="423"/>
                    <a:pt x="320" y="423"/>
                  </a:cubicBezTo>
                  <a:cubicBezTo>
                    <a:pt x="320" y="370"/>
                    <a:pt x="277" y="327"/>
                    <a:pt x="225" y="327"/>
                  </a:cubicBezTo>
                  <a:cubicBezTo>
                    <a:pt x="213" y="327"/>
                    <a:pt x="213" y="327"/>
                    <a:pt x="213" y="327"/>
                  </a:cubicBezTo>
                  <a:cubicBezTo>
                    <a:pt x="228" y="313"/>
                    <a:pt x="237" y="294"/>
                    <a:pt x="237" y="272"/>
                  </a:cubicBezTo>
                  <a:cubicBezTo>
                    <a:pt x="237" y="247"/>
                    <a:pt x="237" y="247"/>
                    <a:pt x="237" y="247"/>
                  </a:cubicBezTo>
                  <a:cubicBezTo>
                    <a:pt x="264" y="279"/>
                    <a:pt x="305" y="299"/>
                    <a:pt x="350" y="299"/>
                  </a:cubicBezTo>
                  <a:cubicBezTo>
                    <a:pt x="433" y="299"/>
                    <a:pt x="500" y="232"/>
                    <a:pt x="500" y="150"/>
                  </a:cubicBezTo>
                  <a:cubicBezTo>
                    <a:pt x="500" y="67"/>
                    <a:pt x="433" y="0"/>
                    <a:pt x="350" y="0"/>
                  </a:cubicBezTo>
                  <a:close/>
                  <a:moveTo>
                    <a:pt x="105" y="231"/>
                  </a:moveTo>
                  <a:cubicBezTo>
                    <a:pt x="105" y="228"/>
                    <a:pt x="105" y="228"/>
                    <a:pt x="105" y="228"/>
                  </a:cubicBezTo>
                  <a:cubicBezTo>
                    <a:pt x="105" y="198"/>
                    <a:pt x="130" y="173"/>
                    <a:pt x="160" y="173"/>
                  </a:cubicBezTo>
                  <a:cubicBezTo>
                    <a:pt x="190" y="173"/>
                    <a:pt x="214" y="196"/>
                    <a:pt x="215" y="225"/>
                  </a:cubicBezTo>
                  <a:cubicBezTo>
                    <a:pt x="187" y="209"/>
                    <a:pt x="187" y="209"/>
                    <a:pt x="187" y="209"/>
                  </a:cubicBezTo>
                  <a:cubicBezTo>
                    <a:pt x="183" y="206"/>
                    <a:pt x="177" y="207"/>
                    <a:pt x="174" y="211"/>
                  </a:cubicBezTo>
                  <a:cubicBezTo>
                    <a:pt x="162" y="225"/>
                    <a:pt x="145" y="233"/>
                    <a:pt x="127" y="233"/>
                  </a:cubicBezTo>
                  <a:cubicBezTo>
                    <a:pt x="105" y="233"/>
                    <a:pt x="105" y="233"/>
                    <a:pt x="105" y="233"/>
                  </a:cubicBezTo>
                  <a:lnTo>
                    <a:pt x="105" y="231"/>
                  </a:lnTo>
                  <a:close/>
                  <a:moveTo>
                    <a:pt x="214" y="406"/>
                  </a:moveTo>
                  <a:cubicBezTo>
                    <a:pt x="216" y="406"/>
                    <a:pt x="217" y="406"/>
                    <a:pt x="219" y="405"/>
                  </a:cubicBezTo>
                  <a:cubicBezTo>
                    <a:pt x="222" y="403"/>
                    <a:pt x="225" y="399"/>
                    <a:pt x="225" y="395"/>
                  </a:cubicBezTo>
                  <a:cubicBezTo>
                    <a:pt x="225" y="351"/>
                    <a:pt x="225" y="351"/>
                    <a:pt x="225" y="351"/>
                  </a:cubicBezTo>
                  <a:cubicBezTo>
                    <a:pt x="225" y="350"/>
                    <a:pt x="225" y="349"/>
                    <a:pt x="224" y="348"/>
                  </a:cubicBezTo>
                  <a:cubicBezTo>
                    <a:pt x="225" y="348"/>
                    <a:pt x="225" y="348"/>
                    <a:pt x="225" y="348"/>
                  </a:cubicBezTo>
                  <a:cubicBezTo>
                    <a:pt x="266" y="348"/>
                    <a:pt x="299" y="382"/>
                    <a:pt x="299" y="423"/>
                  </a:cubicBezTo>
                  <a:cubicBezTo>
                    <a:pt x="299" y="478"/>
                    <a:pt x="299" y="478"/>
                    <a:pt x="299" y="478"/>
                  </a:cubicBezTo>
                  <a:cubicBezTo>
                    <a:pt x="22" y="478"/>
                    <a:pt x="22" y="478"/>
                    <a:pt x="22" y="478"/>
                  </a:cubicBezTo>
                  <a:cubicBezTo>
                    <a:pt x="22" y="423"/>
                    <a:pt x="22" y="423"/>
                    <a:pt x="22" y="423"/>
                  </a:cubicBezTo>
                  <a:cubicBezTo>
                    <a:pt x="22" y="382"/>
                    <a:pt x="55" y="348"/>
                    <a:pt x="96" y="348"/>
                  </a:cubicBezTo>
                  <a:cubicBezTo>
                    <a:pt x="96" y="348"/>
                    <a:pt x="96" y="348"/>
                    <a:pt x="96" y="348"/>
                  </a:cubicBezTo>
                  <a:cubicBezTo>
                    <a:pt x="96" y="395"/>
                    <a:pt x="96" y="395"/>
                    <a:pt x="96" y="395"/>
                  </a:cubicBezTo>
                  <a:cubicBezTo>
                    <a:pt x="96" y="399"/>
                    <a:pt x="98" y="403"/>
                    <a:pt x="102" y="405"/>
                  </a:cubicBezTo>
                  <a:cubicBezTo>
                    <a:pt x="105" y="407"/>
                    <a:pt x="109" y="406"/>
                    <a:pt x="112" y="404"/>
                  </a:cubicBezTo>
                  <a:cubicBezTo>
                    <a:pt x="150" y="380"/>
                    <a:pt x="150" y="380"/>
                    <a:pt x="150" y="380"/>
                  </a:cubicBezTo>
                  <a:cubicBezTo>
                    <a:pt x="150" y="404"/>
                    <a:pt x="150" y="404"/>
                    <a:pt x="150" y="404"/>
                  </a:cubicBezTo>
                  <a:cubicBezTo>
                    <a:pt x="150" y="409"/>
                    <a:pt x="154" y="414"/>
                    <a:pt x="160" y="414"/>
                  </a:cubicBezTo>
                  <a:cubicBezTo>
                    <a:pt x="166" y="414"/>
                    <a:pt x="171" y="409"/>
                    <a:pt x="171" y="404"/>
                  </a:cubicBezTo>
                  <a:cubicBezTo>
                    <a:pt x="171" y="380"/>
                    <a:pt x="171" y="380"/>
                    <a:pt x="171" y="380"/>
                  </a:cubicBezTo>
                  <a:cubicBezTo>
                    <a:pt x="208" y="404"/>
                    <a:pt x="208" y="404"/>
                    <a:pt x="208" y="404"/>
                  </a:cubicBezTo>
                  <a:cubicBezTo>
                    <a:pt x="210" y="405"/>
                    <a:pt x="212" y="406"/>
                    <a:pt x="214" y="406"/>
                  </a:cubicBezTo>
                  <a:close/>
                  <a:moveTo>
                    <a:pt x="117" y="376"/>
                  </a:moveTo>
                  <a:cubicBezTo>
                    <a:pt x="117" y="348"/>
                    <a:pt x="117" y="348"/>
                    <a:pt x="117" y="348"/>
                  </a:cubicBezTo>
                  <a:cubicBezTo>
                    <a:pt x="204" y="348"/>
                    <a:pt x="204" y="348"/>
                    <a:pt x="204" y="348"/>
                  </a:cubicBezTo>
                  <a:cubicBezTo>
                    <a:pt x="203" y="349"/>
                    <a:pt x="203" y="350"/>
                    <a:pt x="203" y="351"/>
                  </a:cubicBezTo>
                  <a:cubicBezTo>
                    <a:pt x="203" y="376"/>
                    <a:pt x="203" y="376"/>
                    <a:pt x="203" y="376"/>
                  </a:cubicBezTo>
                  <a:cubicBezTo>
                    <a:pt x="166" y="352"/>
                    <a:pt x="166" y="352"/>
                    <a:pt x="166" y="352"/>
                  </a:cubicBezTo>
                  <a:cubicBezTo>
                    <a:pt x="163" y="350"/>
                    <a:pt x="158" y="350"/>
                    <a:pt x="155" y="352"/>
                  </a:cubicBezTo>
                  <a:lnTo>
                    <a:pt x="117" y="376"/>
                  </a:lnTo>
                  <a:close/>
                  <a:moveTo>
                    <a:pt x="215" y="272"/>
                  </a:moveTo>
                  <a:cubicBezTo>
                    <a:pt x="215" y="302"/>
                    <a:pt x="191" y="327"/>
                    <a:pt x="160" y="327"/>
                  </a:cubicBezTo>
                  <a:cubicBezTo>
                    <a:pt x="130" y="327"/>
                    <a:pt x="105" y="302"/>
                    <a:pt x="105" y="272"/>
                  </a:cubicBezTo>
                  <a:cubicBezTo>
                    <a:pt x="105" y="255"/>
                    <a:pt x="105" y="255"/>
                    <a:pt x="105" y="255"/>
                  </a:cubicBezTo>
                  <a:cubicBezTo>
                    <a:pt x="127" y="255"/>
                    <a:pt x="127" y="255"/>
                    <a:pt x="127" y="255"/>
                  </a:cubicBezTo>
                  <a:cubicBezTo>
                    <a:pt x="148" y="255"/>
                    <a:pt x="169" y="246"/>
                    <a:pt x="184" y="232"/>
                  </a:cubicBezTo>
                  <a:cubicBezTo>
                    <a:pt x="215" y="250"/>
                    <a:pt x="215" y="250"/>
                    <a:pt x="215" y="250"/>
                  </a:cubicBezTo>
                  <a:lnTo>
                    <a:pt x="215" y="272"/>
                  </a:lnTo>
                  <a:close/>
                  <a:moveTo>
                    <a:pt x="350" y="278"/>
                  </a:moveTo>
                  <a:cubicBezTo>
                    <a:pt x="280" y="278"/>
                    <a:pt x="222" y="220"/>
                    <a:pt x="222" y="150"/>
                  </a:cubicBezTo>
                  <a:cubicBezTo>
                    <a:pt x="222" y="79"/>
                    <a:pt x="280" y="22"/>
                    <a:pt x="350" y="22"/>
                  </a:cubicBezTo>
                  <a:cubicBezTo>
                    <a:pt x="421" y="22"/>
                    <a:pt x="478" y="79"/>
                    <a:pt x="478" y="150"/>
                  </a:cubicBezTo>
                  <a:cubicBezTo>
                    <a:pt x="478" y="220"/>
                    <a:pt x="421" y="278"/>
                    <a:pt x="350" y="278"/>
                  </a:cubicBezTo>
                  <a:close/>
                  <a:moveTo>
                    <a:pt x="350" y="278"/>
                  </a:moveTo>
                  <a:cubicBezTo>
                    <a:pt x="350" y="278"/>
                    <a:pt x="350" y="278"/>
                    <a:pt x="350" y="278"/>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13">
              <a:extLst>
                <a:ext uri="{FF2B5EF4-FFF2-40B4-BE49-F238E27FC236}">
                  <a16:creationId xmlns:a16="http://schemas.microsoft.com/office/drawing/2014/main" id="{4BE7C381-FC75-428F-84BF-E8F8F1986D8A}"/>
                </a:ext>
              </a:extLst>
            </p:cNvPr>
            <p:cNvSpPr>
              <a:spLocks noEditPoints="1"/>
            </p:cNvSpPr>
            <p:nvPr/>
          </p:nvSpPr>
          <p:spPr bwMode="auto">
            <a:xfrm>
              <a:off x="3484" y="5724"/>
              <a:ext cx="47" cy="45"/>
            </a:xfrm>
            <a:custGeom>
              <a:avLst/>
              <a:gdLst>
                <a:gd name="T0" fmla="*/ 18 w 21"/>
                <a:gd name="T1" fmla="*/ 3 h 21"/>
                <a:gd name="T2" fmla="*/ 10 w 21"/>
                <a:gd name="T3" fmla="*/ 0 h 21"/>
                <a:gd name="T4" fmla="*/ 3 w 21"/>
                <a:gd name="T5" fmla="*/ 3 h 21"/>
                <a:gd name="T6" fmla="*/ 0 w 21"/>
                <a:gd name="T7" fmla="*/ 10 h 21"/>
                <a:gd name="T8" fmla="*/ 3 w 21"/>
                <a:gd name="T9" fmla="*/ 18 h 21"/>
                <a:gd name="T10" fmla="*/ 10 w 21"/>
                <a:gd name="T11" fmla="*/ 21 h 21"/>
                <a:gd name="T12" fmla="*/ 18 w 21"/>
                <a:gd name="T13" fmla="*/ 18 h 21"/>
                <a:gd name="T14" fmla="*/ 21 w 21"/>
                <a:gd name="T15" fmla="*/ 10 h 21"/>
                <a:gd name="T16" fmla="*/ 18 w 21"/>
                <a:gd name="T17" fmla="*/ 3 h 21"/>
                <a:gd name="T18" fmla="*/ 18 w 21"/>
                <a:gd name="T19" fmla="*/ 3 h 21"/>
                <a:gd name="T20" fmla="*/ 18 w 21"/>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8" y="3"/>
                  </a:moveTo>
                  <a:cubicBezTo>
                    <a:pt x="16" y="1"/>
                    <a:pt x="13" y="0"/>
                    <a:pt x="10" y="0"/>
                  </a:cubicBezTo>
                  <a:cubicBezTo>
                    <a:pt x="8" y="0"/>
                    <a:pt x="5" y="1"/>
                    <a:pt x="3" y="3"/>
                  </a:cubicBezTo>
                  <a:cubicBezTo>
                    <a:pt x="1" y="5"/>
                    <a:pt x="0" y="8"/>
                    <a:pt x="0" y="10"/>
                  </a:cubicBezTo>
                  <a:cubicBezTo>
                    <a:pt x="0" y="13"/>
                    <a:pt x="1" y="16"/>
                    <a:pt x="3" y="18"/>
                  </a:cubicBezTo>
                  <a:cubicBezTo>
                    <a:pt x="5" y="20"/>
                    <a:pt x="8" y="21"/>
                    <a:pt x="10" y="21"/>
                  </a:cubicBezTo>
                  <a:cubicBezTo>
                    <a:pt x="13" y="21"/>
                    <a:pt x="16" y="20"/>
                    <a:pt x="18" y="18"/>
                  </a:cubicBezTo>
                  <a:cubicBezTo>
                    <a:pt x="20" y="16"/>
                    <a:pt x="21" y="13"/>
                    <a:pt x="21" y="10"/>
                  </a:cubicBezTo>
                  <a:cubicBezTo>
                    <a:pt x="21" y="8"/>
                    <a:pt x="20" y="5"/>
                    <a:pt x="18" y="3"/>
                  </a:cubicBezTo>
                  <a:close/>
                  <a:moveTo>
                    <a:pt x="18" y="3"/>
                  </a:moveTo>
                  <a:cubicBezTo>
                    <a:pt x="18" y="3"/>
                    <a:pt x="18" y="3"/>
                    <a:pt x="18" y="3"/>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14">
              <a:extLst>
                <a:ext uri="{FF2B5EF4-FFF2-40B4-BE49-F238E27FC236}">
                  <a16:creationId xmlns:a16="http://schemas.microsoft.com/office/drawing/2014/main" id="{0F9DADDA-54E9-4970-8D52-95EA9BED5E17}"/>
                </a:ext>
              </a:extLst>
            </p:cNvPr>
            <p:cNvSpPr>
              <a:spLocks noEditPoints="1"/>
            </p:cNvSpPr>
            <p:nvPr/>
          </p:nvSpPr>
          <p:spPr bwMode="auto">
            <a:xfrm>
              <a:off x="3613" y="5700"/>
              <a:ext cx="154" cy="46"/>
            </a:xfrm>
            <a:custGeom>
              <a:avLst/>
              <a:gdLst>
                <a:gd name="T0" fmla="*/ 58 w 69"/>
                <a:gd name="T1" fmla="*/ 0 h 21"/>
                <a:gd name="T2" fmla="*/ 10 w 69"/>
                <a:gd name="T3" fmla="*/ 0 h 21"/>
                <a:gd name="T4" fmla="*/ 0 w 69"/>
                <a:gd name="T5" fmla="*/ 10 h 21"/>
                <a:gd name="T6" fmla="*/ 10 w 69"/>
                <a:gd name="T7" fmla="*/ 21 h 21"/>
                <a:gd name="T8" fmla="*/ 58 w 69"/>
                <a:gd name="T9" fmla="*/ 21 h 21"/>
                <a:gd name="T10" fmla="*/ 69 w 69"/>
                <a:gd name="T11" fmla="*/ 10 h 21"/>
                <a:gd name="T12" fmla="*/ 58 w 69"/>
                <a:gd name="T13" fmla="*/ 0 h 21"/>
                <a:gd name="T14" fmla="*/ 58 w 69"/>
                <a:gd name="T15" fmla="*/ 0 h 21"/>
                <a:gd name="T16" fmla="*/ 58 w 6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21">
                  <a:moveTo>
                    <a:pt x="58" y="0"/>
                  </a:moveTo>
                  <a:cubicBezTo>
                    <a:pt x="10" y="0"/>
                    <a:pt x="10" y="0"/>
                    <a:pt x="10" y="0"/>
                  </a:cubicBezTo>
                  <a:cubicBezTo>
                    <a:pt x="5" y="0"/>
                    <a:pt x="0" y="4"/>
                    <a:pt x="0" y="10"/>
                  </a:cubicBezTo>
                  <a:cubicBezTo>
                    <a:pt x="0" y="16"/>
                    <a:pt x="5" y="21"/>
                    <a:pt x="10" y="21"/>
                  </a:cubicBezTo>
                  <a:cubicBezTo>
                    <a:pt x="58" y="21"/>
                    <a:pt x="58" y="21"/>
                    <a:pt x="58" y="21"/>
                  </a:cubicBezTo>
                  <a:cubicBezTo>
                    <a:pt x="64" y="21"/>
                    <a:pt x="69" y="16"/>
                    <a:pt x="69" y="10"/>
                  </a:cubicBezTo>
                  <a:cubicBezTo>
                    <a:pt x="69" y="4"/>
                    <a:pt x="64" y="0"/>
                    <a:pt x="58" y="0"/>
                  </a:cubicBezTo>
                  <a:close/>
                  <a:moveTo>
                    <a:pt x="58" y="0"/>
                  </a:moveTo>
                  <a:cubicBezTo>
                    <a:pt x="58" y="0"/>
                    <a:pt x="58" y="0"/>
                    <a:pt x="58"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5">
              <a:extLst>
                <a:ext uri="{FF2B5EF4-FFF2-40B4-BE49-F238E27FC236}">
                  <a16:creationId xmlns:a16="http://schemas.microsoft.com/office/drawing/2014/main" id="{801A87AA-79B5-4BE7-BE5D-97DDEFF45931}"/>
                </a:ext>
              </a:extLst>
            </p:cNvPr>
            <p:cNvSpPr>
              <a:spLocks noEditPoints="1"/>
            </p:cNvSpPr>
            <p:nvPr/>
          </p:nvSpPr>
          <p:spPr bwMode="auto">
            <a:xfrm>
              <a:off x="3497" y="4687"/>
              <a:ext cx="870" cy="851"/>
            </a:xfrm>
            <a:custGeom>
              <a:avLst/>
              <a:gdLst>
                <a:gd name="T0" fmla="*/ 194 w 390"/>
                <a:gd name="T1" fmla="*/ 0 h 393"/>
                <a:gd name="T2" fmla="*/ 67 w 390"/>
                <a:gd name="T3" fmla="*/ 47 h 393"/>
                <a:gd name="T4" fmla="*/ 1 w 390"/>
                <a:gd name="T5" fmla="*/ 164 h 393"/>
                <a:gd name="T6" fmla="*/ 9 w 390"/>
                <a:gd name="T7" fmla="*/ 177 h 393"/>
                <a:gd name="T8" fmla="*/ 22 w 390"/>
                <a:gd name="T9" fmla="*/ 168 h 393"/>
                <a:gd name="T10" fmla="*/ 194 w 390"/>
                <a:gd name="T11" fmla="*/ 22 h 393"/>
                <a:gd name="T12" fmla="*/ 369 w 390"/>
                <a:gd name="T13" fmla="*/ 197 h 393"/>
                <a:gd name="T14" fmla="*/ 194 w 390"/>
                <a:gd name="T15" fmla="*/ 372 h 393"/>
                <a:gd name="T16" fmla="*/ 184 w 390"/>
                <a:gd name="T17" fmla="*/ 382 h 393"/>
                <a:gd name="T18" fmla="*/ 194 w 390"/>
                <a:gd name="T19" fmla="*/ 393 h 393"/>
                <a:gd name="T20" fmla="*/ 390 w 390"/>
                <a:gd name="T21" fmla="*/ 197 h 393"/>
                <a:gd name="T22" fmla="*/ 194 w 390"/>
                <a:gd name="T23" fmla="*/ 0 h 393"/>
                <a:gd name="T24" fmla="*/ 194 w 390"/>
                <a:gd name="T25" fmla="*/ 0 h 393"/>
                <a:gd name="T26" fmla="*/ 194 w 390"/>
                <a:gd name="T27"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0" h="393">
                  <a:moveTo>
                    <a:pt x="194" y="0"/>
                  </a:moveTo>
                  <a:cubicBezTo>
                    <a:pt x="147" y="0"/>
                    <a:pt x="102" y="17"/>
                    <a:pt x="67" y="47"/>
                  </a:cubicBezTo>
                  <a:cubicBezTo>
                    <a:pt x="32" y="77"/>
                    <a:pt x="8" y="119"/>
                    <a:pt x="1" y="164"/>
                  </a:cubicBezTo>
                  <a:cubicBezTo>
                    <a:pt x="0" y="170"/>
                    <a:pt x="4" y="176"/>
                    <a:pt x="9" y="177"/>
                  </a:cubicBezTo>
                  <a:cubicBezTo>
                    <a:pt x="15" y="178"/>
                    <a:pt x="21" y="174"/>
                    <a:pt x="22" y="168"/>
                  </a:cubicBezTo>
                  <a:cubicBezTo>
                    <a:pt x="36" y="83"/>
                    <a:pt x="108" y="22"/>
                    <a:pt x="194" y="22"/>
                  </a:cubicBezTo>
                  <a:cubicBezTo>
                    <a:pt x="291" y="22"/>
                    <a:pt x="369" y="100"/>
                    <a:pt x="369" y="197"/>
                  </a:cubicBezTo>
                  <a:cubicBezTo>
                    <a:pt x="369" y="293"/>
                    <a:pt x="291" y="372"/>
                    <a:pt x="194" y="372"/>
                  </a:cubicBezTo>
                  <a:cubicBezTo>
                    <a:pt x="188" y="372"/>
                    <a:pt x="184" y="376"/>
                    <a:pt x="184" y="382"/>
                  </a:cubicBezTo>
                  <a:cubicBezTo>
                    <a:pt x="184" y="388"/>
                    <a:pt x="188" y="393"/>
                    <a:pt x="194" y="393"/>
                  </a:cubicBezTo>
                  <a:cubicBezTo>
                    <a:pt x="302" y="393"/>
                    <a:pt x="390" y="305"/>
                    <a:pt x="390" y="197"/>
                  </a:cubicBezTo>
                  <a:cubicBezTo>
                    <a:pt x="390" y="88"/>
                    <a:pt x="302" y="0"/>
                    <a:pt x="194" y="0"/>
                  </a:cubicBezTo>
                  <a:close/>
                  <a:moveTo>
                    <a:pt x="194" y="0"/>
                  </a:moveTo>
                  <a:cubicBezTo>
                    <a:pt x="194" y="0"/>
                    <a:pt x="194" y="0"/>
                    <a:pt x="194"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16">
              <a:extLst>
                <a:ext uri="{FF2B5EF4-FFF2-40B4-BE49-F238E27FC236}">
                  <a16:creationId xmlns:a16="http://schemas.microsoft.com/office/drawing/2014/main" id="{AB4EE5A0-9E06-450A-B2EA-E1C2DF0AFDFA}"/>
                </a:ext>
              </a:extLst>
            </p:cNvPr>
            <p:cNvSpPr>
              <a:spLocks noEditPoints="1"/>
            </p:cNvSpPr>
            <p:nvPr/>
          </p:nvSpPr>
          <p:spPr bwMode="auto">
            <a:xfrm>
              <a:off x="3827" y="5482"/>
              <a:ext cx="51" cy="49"/>
            </a:xfrm>
            <a:custGeom>
              <a:avLst/>
              <a:gdLst>
                <a:gd name="T0" fmla="*/ 13 w 23"/>
                <a:gd name="T1" fmla="*/ 1 h 23"/>
                <a:gd name="T2" fmla="*/ 13 w 23"/>
                <a:gd name="T3" fmla="*/ 1 h 23"/>
                <a:gd name="T4" fmla="*/ 1 w 23"/>
                <a:gd name="T5" fmla="*/ 10 h 23"/>
                <a:gd name="T6" fmla="*/ 9 w 23"/>
                <a:gd name="T7" fmla="*/ 22 h 23"/>
                <a:gd name="T8" fmla="*/ 11 w 23"/>
                <a:gd name="T9" fmla="*/ 23 h 23"/>
                <a:gd name="T10" fmla="*/ 22 w 23"/>
                <a:gd name="T11" fmla="*/ 14 h 23"/>
                <a:gd name="T12" fmla="*/ 13 w 23"/>
                <a:gd name="T13" fmla="*/ 1 h 23"/>
                <a:gd name="T14" fmla="*/ 13 w 23"/>
                <a:gd name="T15" fmla="*/ 1 h 23"/>
                <a:gd name="T16" fmla="*/ 13 w 23"/>
                <a:gd name="T1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3">
                  <a:moveTo>
                    <a:pt x="13" y="1"/>
                  </a:moveTo>
                  <a:cubicBezTo>
                    <a:pt x="13" y="1"/>
                    <a:pt x="13" y="1"/>
                    <a:pt x="13" y="1"/>
                  </a:cubicBezTo>
                  <a:cubicBezTo>
                    <a:pt x="7" y="0"/>
                    <a:pt x="2" y="4"/>
                    <a:pt x="1" y="10"/>
                  </a:cubicBezTo>
                  <a:cubicBezTo>
                    <a:pt x="0" y="16"/>
                    <a:pt x="3" y="21"/>
                    <a:pt x="9" y="22"/>
                  </a:cubicBezTo>
                  <a:cubicBezTo>
                    <a:pt x="10" y="23"/>
                    <a:pt x="10" y="23"/>
                    <a:pt x="11" y="23"/>
                  </a:cubicBezTo>
                  <a:cubicBezTo>
                    <a:pt x="16" y="23"/>
                    <a:pt x="21" y="19"/>
                    <a:pt x="22" y="14"/>
                  </a:cubicBezTo>
                  <a:cubicBezTo>
                    <a:pt x="23" y="8"/>
                    <a:pt x="19" y="3"/>
                    <a:pt x="13" y="1"/>
                  </a:cubicBezTo>
                  <a:close/>
                  <a:moveTo>
                    <a:pt x="13" y="1"/>
                  </a:moveTo>
                  <a:cubicBezTo>
                    <a:pt x="13" y="1"/>
                    <a:pt x="13" y="1"/>
                    <a:pt x="13" y="1"/>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17">
              <a:extLst>
                <a:ext uri="{FF2B5EF4-FFF2-40B4-BE49-F238E27FC236}">
                  <a16:creationId xmlns:a16="http://schemas.microsoft.com/office/drawing/2014/main" id="{E0AE35F7-DC77-43C6-BF04-B9C519E63CD8}"/>
                </a:ext>
              </a:extLst>
            </p:cNvPr>
            <p:cNvSpPr>
              <a:spLocks noEditPoints="1"/>
            </p:cNvSpPr>
            <p:nvPr/>
          </p:nvSpPr>
          <p:spPr bwMode="auto">
            <a:xfrm>
              <a:off x="3838" y="4979"/>
              <a:ext cx="230" cy="156"/>
            </a:xfrm>
            <a:custGeom>
              <a:avLst/>
              <a:gdLst>
                <a:gd name="T0" fmla="*/ 99 w 103"/>
                <a:gd name="T1" fmla="*/ 4 h 72"/>
                <a:gd name="T2" fmla="*/ 84 w 103"/>
                <a:gd name="T3" fmla="*/ 4 h 72"/>
                <a:gd name="T4" fmla="*/ 41 w 103"/>
                <a:gd name="T5" fmla="*/ 47 h 72"/>
                <a:gd name="T6" fmla="*/ 19 w 103"/>
                <a:gd name="T7" fmla="*/ 24 h 72"/>
                <a:gd name="T8" fmla="*/ 4 w 103"/>
                <a:gd name="T9" fmla="*/ 24 h 72"/>
                <a:gd name="T10" fmla="*/ 4 w 103"/>
                <a:gd name="T11" fmla="*/ 39 h 72"/>
                <a:gd name="T12" fmla="*/ 34 w 103"/>
                <a:gd name="T13" fmla="*/ 69 h 72"/>
                <a:gd name="T14" fmla="*/ 41 w 103"/>
                <a:gd name="T15" fmla="*/ 72 h 72"/>
                <a:gd name="T16" fmla="*/ 49 w 103"/>
                <a:gd name="T17" fmla="*/ 69 h 72"/>
                <a:gd name="T18" fmla="*/ 99 w 103"/>
                <a:gd name="T19" fmla="*/ 19 h 72"/>
                <a:gd name="T20" fmla="*/ 99 w 103"/>
                <a:gd name="T21" fmla="*/ 4 h 72"/>
                <a:gd name="T22" fmla="*/ 99 w 103"/>
                <a:gd name="T23" fmla="*/ 4 h 72"/>
                <a:gd name="T24" fmla="*/ 99 w 103"/>
                <a:gd name="T25" fmla="*/ 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2">
                  <a:moveTo>
                    <a:pt x="99" y="4"/>
                  </a:moveTo>
                  <a:cubicBezTo>
                    <a:pt x="95" y="0"/>
                    <a:pt x="88" y="0"/>
                    <a:pt x="84" y="4"/>
                  </a:cubicBezTo>
                  <a:cubicBezTo>
                    <a:pt x="41" y="47"/>
                    <a:pt x="41" y="47"/>
                    <a:pt x="41" y="47"/>
                  </a:cubicBezTo>
                  <a:cubicBezTo>
                    <a:pt x="19" y="24"/>
                    <a:pt x="19" y="24"/>
                    <a:pt x="19" y="24"/>
                  </a:cubicBezTo>
                  <a:cubicBezTo>
                    <a:pt x="15" y="20"/>
                    <a:pt x="8" y="20"/>
                    <a:pt x="4" y="24"/>
                  </a:cubicBezTo>
                  <a:cubicBezTo>
                    <a:pt x="0" y="28"/>
                    <a:pt x="0" y="35"/>
                    <a:pt x="4" y="39"/>
                  </a:cubicBezTo>
                  <a:cubicBezTo>
                    <a:pt x="34" y="69"/>
                    <a:pt x="34" y="69"/>
                    <a:pt x="34" y="69"/>
                  </a:cubicBezTo>
                  <a:cubicBezTo>
                    <a:pt x="36" y="71"/>
                    <a:pt x="39" y="72"/>
                    <a:pt x="41" y="72"/>
                  </a:cubicBezTo>
                  <a:cubicBezTo>
                    <a:pt x="44" y="72"/>
                    <a:pt x="47" y="71"/>
                    <a:pt x="49" y="69"/>
                  </a:cubicBezTo>
                  <a:cubicBezTo>
                    <a:pt x="99" y="19"/>
                    <a:pt x="99" y="19"/>
                    <a:pt x="99" y="19"/>
                  </a:cubicBezTo>
                  <a:cubicBezTo>
                    <a:pt x="103" y="15"/>
                    <a:pt x="103" y="8"/>
                    <a:pt x="99" y="4"/>
                  </a:cubicBezTo>
                  <a:close/>
                  <a:moveTo>
                    <a:pt x="99" y="4"/>
                  </a:moveTo>
                  <a:cubicBezTo>
                    <a:pt x="99" y="4"/>
                    <a:pt x="99" y="4"/>
                    <a:pt x="99" y="4"/>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18">
              <a:extLst>
                <a:ext uri="{FF2B5EF4-FFF2-40B4-BE49-F238E27FC236}">
                  <a16:creationId xmlns:a16="http://schemas.microsoft.com/office/drawing/2014/main" id="{1C23B321-E604-4774-BD8A-3938EBE161EE}"/>
                </a:ext>
              </a:extLst>
            </p:cNvPr>
            <p:cNvSpPr>
              <a:spLocks noEditPoints="1"/>
            </p:cNvSpPr>
            <p:nvPr/>
          </p:nvSpPr>
          <p:spPr bwMode="auto">
            <a:xfrm>
              <a:off x="3907" y="4862"/>
              <a:ext cx="47" cy="63"/>
            </a:xfrm>
            <a:custGeom>
              <a:avLst/>
              <a:gdLst>
                <a:gd name="T0" fmla="*/ 10 w 21"/>
                <a:gd name="T1" fmla="*/ 0 h 29"/>
                <a:gd name="T2" fmla="*/ 0 w 21"/>
                <a:gd name="T3" fmla="*/ 11 h 29"/>
                <a:gd name="T4" fmla="*/ 0 w 21"/>
                <a:gd name="T5" fmla="*/ 19 h 29"/>
                <a:gd name="T6" fmla="*/ 10 w 21"/>
                <a:gd name="T7" fmla="*/ 29 h 29"/>
                <a:gd name="T8" fmla="*/ 21 w 21"/>
                <a:gd name="T9" fmla="*/ 19 h 29"/>
                <a:gd name="T10" fmla="*/ 21 w 21"/>
                <a:gd name="T11" fmla="*/ 11 h 29"/>
                <a:gd name="T12" fmla="*/ 10 w 21"/>
                <a:gd name="T13" fmla="*/ 0 h 29"/>
                <a:gd name="T14" fmla="*/ 10 w 21"/>
                <a:gd name="T15" fmla="*/ 0 h 29"/>
                <a:gd name="T16" fmla="*/ 10 w 2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10" y="0"/>
                  </a:moveTo>
                  <a:cubicBezTo>
                    <a:pt x="4" y="0"/>
                    <a:pt x="0" y="5"/>
                    <a:pt x="0" y="11"/>
                  </a:cubicBezTo>
                  <a:cubicBezTo>
                    <a:pt x="0" y="19"/>
                    <a:pt x="0" y="19"/>
                    <a:pt x="0" y="19"/>
                  </a:cubicBezTo>
                  <a:cubicBezTo>
                    <a:pt x="0" y="25"/>
                    <a:pt x="4" y="29"/>
                    <a:pt x="10" y="29"/>
                  </a:cubicBezTo>
                  <a:cubicBezTo>
                    <a:pt x="16" y="29"/>
                    <a:pt x="21" y="25"/>
                    <a:pt x="21" y="19"/>
                  </a:cubicBezTo>
                  <a:cubicBezTo>
                    <a:pt x="21" y="11"/>
                    <a:pt x="21" y="11"/>
                    <a:pt x="21" y="11"/>
                  </a:cubicBezTo>
                  <a:cubicBezTo>
                    <a:pt x="21" y="5"/>
                    <a:pt x="16" y="0"/>
                    <a:pt x="10" y="0"/>
                  </a:cubicBezTo>
                  <a:close/>
                  <a:moveTo>
                    <a:pt x="10" y="0"/>
                  </a:moveTo>
                  <a:cubicBezTo>
                    <a:pt x="10" y="0"/>
                    <a:pt x="10" y="0"/>
                    <a:pt x="10"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19">
              <a:extLst>
                <a:ext uri="{FF2B5EF4-FFF2-40B4-BE49-F238E27FC236}">
                  <a16:creationId xmlns:a16="http://schemas.microsoft.com/office/drawing/2014/main" id="{0229DE89-5581-49F1-8D6A-7FC60FD9A072}"/>
                </a:ext>
              </a:extLst>
            </p:cNvPr>
            <p:cNvSpPr>
              <a:spLocks noEditPoints="1"/>
            </p:cNvSpPr>
            <p:nvPr/>
          </p:nvSpPr>
          <p:spPr bwMode="auto">
            <a:xfrm>
              <a:off x="3907" y="5300"/>
              <a:ext cx="47" cy="62"/>
            </a:xfrm>
            <a:custGeom>
              <a:avLst/>
              <a:gdLst>
                <a:gd name="T0" fmla="*/ 10 w 21"/>
                <a:gd name="T1" fmla="*/ 0 h 29"/>
                <a:gd name="T2" fmla="*/ 0 w 21"/>
                <a:gd name="T3" fmla="*/ 10 h 29"/>
                <a:gd name="T4" fmla="*/ 0 w 21"/>
                <a:gd name="T5" fmla="*/ 18 h 29"/>
                <a:gd name="T6" fmla="*/ 10 w 21"/>
                <a:gd name="T7" fmla="*/ 29 h 29"/>
                <a:gd name="T8" fmla="*/ 21 w 21"/>
                <a:gd name="T9" fmla="*/ 18 h 29"/>
                <a:gd name="T10" fmla="*/ 21 w 21"/>
                <a:gd name="T11" fmla="*/ 10 h 29"/>
                <a:gd name="T12" fmla="*/ 10 w 21"/>
                <a:gd name="T13" fmla="*/ 0 h 29"/>
                <a:gd name="T14" fmla="*/ 10 w 21"/>
                <a:gd name="T15" fmla="*/ 0 h 29"/>
                <a:gd name="T16" fmla="*/ 10 w 2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10" y="0"/>
                  </a:moveTo>
                  <a:cubicBezTo>
                    <a:pt x="4" y="0"/>
                    <a:pt x="0" y="5"/>
                    <a:pt x="0" y="10"/>
                  </a:cubicBezTo>
                  <a:cubicBezTo>
                    <a:pt x="0" y="18"/>
                    <a:pt x="0" y="18"/>
                    <a:pt x="0" y="18"/>
                  </a:cubicBezTo>
                  <a:cubicBezTo>
                    <a:pt x="0" y="24"/>
                    <a:pt x="4" y="29"/>
                    <a:pt x="10" y="29"/>
                  </a:cubicBezTo>
                  <a:cubicBezTo>
                    <a:pt x="16" y="29"/>
                    <a:pt x="21" y="24"/>
                    <a:pt x="21" y="18"/>
                  </a:cubicBezTo>
                  <a:cubicBezTo>
                    <a:pt x="21" y="10"/>
                    <a:pt x="21" y="10"/>
                    <a:pt x="21" y="10"/>
                  </a:cubicBezTo>
                  <a:cubicBezTo>
                    <a:pt x="21" y="5"/>
                    <a:pt x="16" y="0"/>
                    <a:pt x="10" y="0"/>
                  </a:cubicBezTo>
                  <a:close/>
                  <a:moveTo>
                    <a:pt x="10" y="0"/>
                  </a:moveTo>
                  <a:cubicBezTo>
                    <a:pt x="10" y="0"/>
                    <a:pt x="10" y="0"/>
                    <a:pt x="10"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0">
              <a:extLst>
                <a:ext uri="{FF2B5EF4-FFF2-40B4-BE49-F238E27FC236}">
                  <a16:creationId xmlns:a16="http://schemas.microsoft.com/office/drawing/2014/main" id="{47B1A234-B306-434A-A074-879DFAB5CFED}"/>
                </a:ext>
              </a:extLst>
            </p:cNvPr>
            <p:cNvSpPr>
              <a:spLocks noEditPoints="1"/>
            </p:cNvSpPr>
            <p:nvPr/>
          </p:nvSpPr>
          <p:spPr bwMode="auto">
            <a:xfrm>
              <a:off x="4122" y="5090"/>
              <a:ext cx="64" cy="45"/>
            </a:xfrm>
            <a:custGeom>
              <a:avLst/>
              <a:gdLst>
                <a:gd name="T0" fmla="*/ 19 w 29"/>
                <a:gd name="T1" fmla="*/ 0 h 21"/>
                <a:gd name="T2" fmla="*/ 11 w 29"/>
                <a:gd name="T3" fmla="*/ 0 h 21"/>
                <a:gd name="T4" fmla="*/ 0 w 29"/>
                <a:gd name="T5" fmla="*/ 11 h 21"/>
                <a:gd name="T6" fmla="*/ 11 w 29"/>
                <a:gd name="T7" fmla="*/ 21 h 21"/>
                <a:gd name="T8" fmla="*/ 19 w 29"/>
                <a:gd name="T9" fmla="*/ 21 h 21"/>
                <a:gd name="T10" fmla="*/ 29 w 29"/>
                <a:gd name="T11" fmla="*/ 11 h 21"/>
                <a:gd name="T12" fmla="*/ 19 w 29"/>
                <a:gd name="T13" fmla="*/ 0 h 21"/>
                <a:gd name="T14" fmla="*/ 19 w 29"/>
                <a:gd name="T15" fmla="*/ 0 h 21"/>
                <a:gd name="T16" fmla="*/ 19 w 2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1">
                  <a:moveTo>
                    <a:pt x="19" y="0"/>
                  </a:moveTo>
                  <a:cubicBezTo>
                    <a:pt x="11" y="0"/>
                    <a:pt x="11" y="0"/>
                    <a:pt x="11" y="0"/>
                  </a:cubicBezTo>
                  <a:cubicBezTo>
                    <a:pt x="5" y="0"/>
                    <a:pt x="0" y="5"/>
                    <a:pt x="0" y="11"/>
                  </a:cubicBezTo>
                  <a:cubicBezTo>
                    <a:pt x="0" y="16"/>
                    <a:pt x="5" y="21"/>
                    <a:pt x="11" y="21"/>
                  </a:cubicBezTo>
                  <a:cubicBezTo>
                    <a:pt x="19" y="21"/>
                    <a:pt x="19" y="21"/>
                    <a:pt x="19" y="21"/>
                  </a:cubicBezTo>
                  <a:cubicBezTo>
                    <a:pt x="25" y="21"/>
                    <a:pt x="29" y="16"/>
                    <a:pt x="29" y="11"/>
                  </a:cubicBezTo>
                  <a:cubicBezTo>
                    <a:pt x="29" y="5"/>
                    <a:pt x="25" y="0"/>
                    <a:pt x="19" y="0"/>
                  </a:cubicBezTo>
                  <a:close/>
                  <a:moveTo>
                    <a:pt x="19" y="0"/>
                  </a:moveTo>
                  <a:cubicBezTo>
                    <a:pt x="19" y="0"/>
                    <a:pt x="19" y="0"/>
                    <a:pt x="19"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21">
              <a:extLst>
                <a:ext uri="{FF2B5EF4-FFF2-40B4-BE49-F238E27FC236}">
                  <a16:creationId xmlns:a16="http://schemas.microsoft.com/office/drawing/2014/main" id="{61A8DB13-736F-4C7C-B3F7-26714D813716}"/>
                </a:ext>
              </a:extLst>
            </p:cNvPr>
            <p:cNvSpPr>
              <a:spLocks noEditPoints="1"/>
            </p:cNvSpPr>
            <p:nvPr/>
          </p:nvSpPr>
          <p:spPr bwMode="auto">
            <a:xfrm>
              <a:off x="3673" y="5090"/>
              <a:ext cx="65" cy="45"/>
            </a:xfrm>
            <a:custGeom>
              <a:avLst/>
              <a:gdLst>
                <a:gd name="T0" fmla="*/ 18 w 29"/>
                <a:gd name="T1" fmla="*/ 0 h 21"/>
                <a:gd name="T2" fmla="*/ 11 w 29"/>
                <a:gd name="T3" fmla="*/ 0 h 21"/>
                <a:gd name="T4" fmla="*/ 0 w 29"/>
                <a:gd name="T5" fmla="*/ 11 h 21"/>
                <a:gd name="T6" fmla="*/ 11 w 29"/>
                <a:gd name="T7" fmla="*/ 21 h 21"/>
                <a:gd name="T8" fmla="*/ 18 w 29"/>
                <a:gd name="T9" fmla="*/ 21 h 21"/>
                <a:gd name="T10" fmla="*/ 29 w 29"/>
                <a:gd name="T11" fmla="*/ 11 h 21"/>
                <a:gd name="T12" fmla="*/ 18 w 29"/>
                <a:gd name="T13" fmla="*/ 0 h 21"/>
                <a:gd name="T14" fmla="*/ 18 w 29"/>
                <a:gd name="T15" fmla="*/ 0 h 21"/>
                <a:gd name="T16" fmla="*/ 18 w 2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1">
                  <a:moveTo>
                    <a:pt x="18" y="0"/>
                  </a:moveTo>
                  <a:cubicBezTo>
                    <a:pt x="11" y="0"/>
                    <a:pt x="11" y="0"/>
                    <a:pt x="11" y="0"/>
                  </a:cubicBezTo>
                  <a:cubicBezTo>
                    <a:pt x="5" y="0"/>
                    <a:pt x="0" y="5"/>
                    <a:pt x="0" y="11"/>
                  </a:cubicBezTo>
                  <a:cubicBezTo>
                    <a:pt x="0" y="16"/>
                    <a:pt x="5" y="21"/>
                    <a:pt x="11" y="21"/>
                  </a:cubicBezTo>
                  <a:cubicBezTo>
                    <a:pt x="18" y="21"/>
                    <a:pt x="18" y="21"/>
                    <a:pt x="18" y="21"/>
                  </a:cubicBezTo>
                  <a:cubicBezTo>
                    <a:pt x="24" y="21"/>
                    <a:pt x="29" y="16"/>
                    <a:pt x="29" y="11"/>
                  </a:cubicBezTo>
                  <a:cubicBezTo>
                    <a:pt x="29" y="5"/>
                    <a:pt x="24" y="0"/>
                    <a:pt x="18" y="0"/>
                  </a:cubicBezTo>
                  <a:close/>
                  <a:moveTo>
                    <a:pt x="18" y="0"/>
                  </a:moveTo>
                  <a:cubicBezTo>
                    <a:pt x="18" y="0"/>
                    <a:pt x="18" y="0"/>
                    <a:pt x="18"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6" name="Group 135">
            <a:extLst>
              <a:ext uri="{FF2B5EF4-FFF2-40B4-BE49-F238E27FC236}">
                <a16:creationId xmlns:a16="http://schemas.microsoft.com/office/drawing/2014/main" id="{D4794C0C-DFB4-46E0-AD58-18DC79DBCEE7}"/>
              </a:ext>
            </a:extLst>
          </p:cNvPr>
          <p:cNvGrpSpPr/>
          <p:nvPr/>
        </p:nvGrpSpPr>
        <p:grpSpPr>
          <a:xfrm>
            <a:off x="7818283" y="2530167"/>
            <a:ext cx="1552007" cy="1549453"/>
            <a:chOff x="8343900" y="6959600"/>
            <a:chExt cx="1933575" cy="1874838"/>
          </a:xfrm>
          <a:solidFill>
            <a:schemeClr val="tx1">
              <a:lumMod val="65000"/>
              <a:lumOff val="35000"/>
            </a:schemeClr>
          </a:solidFill>
        </p:grpSpPr>
        <p:sp>
          <p:nvSpPr>
            <p:cNvPr id="137" name="Freeform 7">
              <a:extLst>
                <a:ext uri="{FF2B5EF4-FFF2-40B4-BE49-F238E27FC236}">
                  <a16:creationId xmlns:a16="http://schemas.microsoft.com/office/drawing/2014/main" id="{F5D18317-1EB3-4F73-A151-AF65C437840A}"/>
                </a:ext>
              </a:extLst>
            </p:cNvPr>
            <p:cNvSpPr>
              <a:spLocks noEditPoints="1"/>
            </p:cNvSpPr>
            <p:nvPr/>
          </p:nvSpPr>
          <p:spPr bwMode="auto">
            <a:xfrm>
              <a:off x="9350375" y="7927975"/>
              <a:ext cx="927100" cy="906463"/>
            </a:xfrm>
            <a:custGeom>
              <a:avLst/>
              <a:gdLst>
                <a:gd name="T0" fmla="*/ 254 w 262"/>
                <a:gd name="T1" fmla="*/ 0 h 264"/>
                <a:gd name="T2" fmla="*/ 246 w 262"/>
                <a:gd name="T3" fmla="*/ 8 h 264"/>
                <a:gd name="T4" fmla="*/ 246 w 262"/>
                <a:gd name="T5" fmla="*/ 26 h 264"/>
                <a:gd name="T6" fmla="*/ 246 w 262"/>
                <a:gd name="T7" fmla="*/ 26 h 264"/>
                <a:gd name="T8" fmla="*/ 209 w 262"/>
                <a:gd name="T9" fmla="*/ 26 h 264"/>
                <a:gd name="T10" fmla="*/ 201 w 262"/>
                <a:gd name="T11" fmla="*/ 33 h 264"/>
                <a:gd name="T12" fmla="*/ 168 w 262"/>
                <a:gd name="T13" fmla="*/ 112 h 264"/>
                <a:gd name="T14" fmla="*/ 169 w 262"/>
                <a:gd name="T15" fmla="*/ 122 h 264"/>
                <a:gd name="T16" fmla="*/ 196 w 262"/>
                <a:gd name="T17" fmla="*/ 148 h 264"/>
                <a:gd name="T18" fmla="*/ 196 w 262"/>
                <a:gd name="T19" fmla="*/ 149 h 264"/>
                <a:gd name="T20" fmla="*/ 147 w 262"/>
                <a:gd name="T21" fmla="*/ 198 h 264"/>
                <a:gd name="T22" fmla="*/ 146 w 262"/>
                <a:gd name="T23" fmla="*/ 198 h 264"/>
                <a:gd name="T24" fmla="*/ 120 w 262"/>
                <a:gd name="T25" fmla="*/ 171 h 264"/>
                <a:gd name="T26" fmla="*/ 110 w 262"/>
                <a:gd name="T27" fmla="*/ 170 h 264"/>
                <a:gd name="T28" fmla="*/ 31 w 262"/>
                <a:gd name="T29" fmla="*/ 203 h 264"/>
                <a:gd name="T30" fmla="*/ 24 w 262"/>
                <a:gd name="T31" fmla="*/ 211 h 264"/>
                <a:gd name="T32" fmla="*/ 24 w 262"/>
                <a:gd name="T33" fmla="*/ 248 h 264"/>
                <a:gd name="T34" fmla="*/ 24 w 262"/>
                <a:gd name="T35" fmla="*/ 248 h 264"/>
                <a:gd name="T36" fmla="*/ 8 w 262"/>
                <a:gd name="T37" fmla="*/ 248 h 264"/>
                <a:gd name="T38" fmla="*/ 0 w 262"/>
                <a:gd name="T39" fmla="*/ 256 h 264"/>
                <a:gd name="T40" fmla="*/ 8 w 262"/>
                <a:gd name="T41" fmla="*/ 264 h 264"/>
                <a:gd name="T42" fmla="*/ 24 w 262"/>
                <a:gd name="T43" fmla="*/ 264 h 264"/>
                <a:gd name="T44" fmla="*/ 40 w 262"/>
                <a:gd name="T45" fmla="*/ 248 h 264"/>
                <a:gd name="T46" fmla="*/ 40 w 262"/>
                <a:gd name="T47" fmla="*/ 217 h 264"/>
                <a:gd name="T48" fmla="*/ 113 w 262"/>
                <a:gd name="T49" fmla="*/ 187 h 264"/>
                <a:gd name="T50" fmla="*/ 135 w 262"/>
                <a:gd name="T51" fmla="*/ 209 h 264"/>
                <a:gd name="T52" fmla="*/ 158 w 262"/>
                <a:gd name="T53" fmla="*/ 209 h 264"/>
                <a:gd name="T54" fmla="*/ 207 w 262"/>
                <a:gd name="T55" fmla="*/ 160 h 264"/>
                <a:gd name="T56" fmla="*/ 207 w 262"/>
                <a:gd name="T57" fmla="*/ 137 h 264"/>
                <a:gd name="T58" fmla="*/ 185 w 262"/>
                <a:gd name="T59" fmla="*/ 115 h 264"/>
                <a:gd name="T60" fmla="*/ 215 w 262"/>
                <a:gd name="T61" fmla="*/ 42 h 264"/>
                <a:gd name="T62" fmla="*/ 246 w 262"/>
                <a:gd name="T63" fmla="*/ 42 h 264"/>
                <a:gd name="T64" fmla="*/ 262 w 262"/>
                <a:gd name="T65" fmla="*/ 26 h 264"/>
                <a:gd name="T66" fmla="*/ 262 w 262"/>
                <a:gd name="T67" fmla="*/ 8 h 264"/>
                <a:gd name="T68" fmla="*/ 254 w 262"/>
                <a:gd name="T69" fmla="*/ 0 h 264"/>
                <a:gd name="T70" fmla="*/ 254 w 262"/>
                <a:gd name="T71" fmla="*/ 0 h 264"/>
                <a:gd name="T72" fmla="*/ 254 w 262"/>
                <a:gd name="T7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2" h="264">
                  <a:moveTo>
                    <a:pt x="254" y="0"/>
                  </a:moveTo>
                  <a:cubicBezTo>
                    <a:pt x="250" y="0"/>
                    <a:pt x="246" y="3"/>
                    <a:pt x="246" y="8"/>
                  </a:cubicBezTo>
                  <a:cubicBezTo>
                    <a:pt x="246" y="26"/>
                    <a:pt x="246" y="26"/>
                    <a:pt x="246" y="26"/>
                  </a:cubicBezTo>
                  <a:cubicBezTo>
                    <a:pt x="246" y="26"/>
                    <a:pt x="246" y="26"/>
                    <a:pt x="246" y="26"/>
                  </a:cubicBezTo>
                  <a:cubicBezTo>
                    <a:pt x="209" y="26"/>
                    <a:pt x="209" y="26"/>
                    <a:pt x="209" y="26"/>
                  </a:cubicBezTo>
                  <a:cubicBezTo>
                    <a:pt x="205" y="26"/>
                    <a:pt x="202" y="29"/>
                    <a:pt x="201" y="33"/>
                  </a:cubicBezTo>
                  <a:cubicBezTo>
                    <a:pt x="195" y="61"/>
                    <a:pt x="184" y="88"/>
                    <a:pt x="168" y="112"/>
                  </a:cubicBezTo>
                  <a:cubicBezTo>
                    <a:pt x="166" y="115"/>
                    <a:pt x="167" y="119"/>
                    <a:pt x="169" y="122"/>
                  </a:cubicBezTo>
                  <a:cubicBezTo>
                    <a:pt x="196" y="148"/>
                    <a:pt x="196" y="148"/>
                    <a:pt x="196" y="148"/>
                  </a:cubicBezTo>
                  <a:cubicBezTo>
                    <a:pt x="196" y="148"/>
                    <a:pt x="196" y="149"/>
                    <a:pt x="196" y="149"/>
                  </a:cubicBezTo>
                  <a:cubicBezTo>
                    <a:pt x="147" y="198"/>
                    <a:pt x="147" y="198"/>
                    <a:pt x="147" y="198"/>
                  </a:cubicBezTo>
                  <a:cubicBezTo>
                    <a:pt x="147" y="198"/>
                    <a:pt x="146" y="198"/>
                    <a:pt x="146" y="198"/>
                  </a:cubicBezTo>
                  <a:cubicBezTo>
                    <a:pt x="120" y="171"/>
                    <a:pt x="120" y="171"/>
                    <a:pt x="120" y="171"/>
                  </a:cubicBezTo>
                  <a:cubicBezTo>
                    <a:pt x="117" y="169"/>
                    <a:pt x="113" y="168"/>
                    <a:pt x="110" y="170"/>
                  </a:cubicBezTo>
                  <a:cubicBezTo>
                    <a:pt x="86" y="186"/>
                    <a:pt x="59" y="197"/>
                    <a:pt x="31" y="203"/>
                  </a:cubicBezTo>
                  <a:cubicBezTo>
                    <a:pt x="27" y="204"/>
                    <a:pt x="24" y="207"/>
                    <a:pt x="24" y="211"/>
                  </a:cubicBezTo>
                  <a:cubicBezTo>
                    <a:pt x="24" y="248"/>
                    <a:pt x="24" y="248"/>
                    <a:pt x="24" y="248"/>
                  </a:cubicBezTo>
                  <a:cubicBezTo>
                    <a:pt x="24" y="248"/>
                    <a:pt x="24" y="248"/>
                    <a:pt x="24" y="248"/>
                  </a:cubicBezTo>
                  <a:cubicBezTo>
                    <a:pt x="8" y="248"/>
                    <a:pt x="8" y="248"/>
                    <a:pt x="8" y="248"/>
                  </a:cubicBezTo>
                  <a:cubicBezTo>
                    <a:pt x="4" y="248"/>
                    <a:pt x="0" y="252"/>
                    <a:pt x="0" y="256"/>
                  </a:cubicBezTo>
                  <a:cubicBezTo>
                    <a:pt x="0" y="261"/>
                    <a:pt x="4" y="264"/>
                    <a:pt x="8" y="264"/>
                  </a:cubicBezTo>
                  <a:cubicBezTo>
                    <a:pt x="24" y="264"/>
                    <a:pt x="24" y="264"/>
                    <a:pt x="24" y="264"/>
                  </a:cubicBezTo>
                  <a:cubicBezTo>
                    <a:pt x="33" y="264"/>
                    <a:pt x="40" y="257"/>
                    <a:pt x="40" y="248"/>
                  </a:cubicBezTo>
                  <a:cubicBezTo>
                    <a:pt x="40" y="217"/>
                    <a:pt x="40" y="217"/>
                    <a:pt x="40" y="217"/>
                  </a:cubicBezTo>
                  <a:cubicBezTo>
                    <a:pt x="66" y="212"/>
                    <a:pt x="91" y="201"/>
                    <a:pt x="113" y="187"/>
                  </a:cubicBezTo>
                  <a:cubicBezTo>
                    <a:pt x="135" y="209"/>
                    <a:pt x="135" y="209"/>
                    <a:pt x="135" y="209"/>
                  </a:cubicBezTo>
                  <a:cubicBezTo>
                    <a:pt x="141" y="215"/>
                    <a:pt x="152" y="215"/>
                    <a:pt x="158" y="209"/>
                  </a:cubicBezTo>
                  <a:cubicBezTo>
                    <a:pt x="207" y="160"/>
                    <a:pt x="207" y="160"/>
                    <a:pt x="207" y="160"/>
                  </a:cubicBezTo>
                  <a:cubicBezTo>
                    <a:pt x="213" y="154"/>
                    <a:pt x="213" y="143"/>
                    <a:pt x="207" y="137"/>
                  </a:cubicBezTo>
                  <a:cubicBezTo>
                    <a:pt x="185" y="115"/>
                    <a:pt x="185" y="115"/>
                    <a:pt x="185" y="115"/>
                  </a:cubicBezTo>
                  <a:cubicBezTo>
                    <a:pt x="199" y="93"/>
                    <a:pt x="210" y="68"/>
                    <a:pt x="215" y="42"/>
                  </a:cubicBezTo>
                  <a:cubicBezTo>
                    <a:pt x="246" y="42"/>
                    <a:pt x="246" y="42"/>
                    <a:pt x="246" y="42"/>
                  </a:cubicBezTo>
                  <a:cubicBezTo>
                    <a:pt x="255" y="42"/>
                    <a:pt x="262" y="35"/>
                    <a:pt x="262" y="26"/>
                  </a:cubicBezTo>
                  <a:cubicBezTo>
                    <a:pt x="262" y="8"/>
                    <a:pt x="262" y="8"/>
                    <a:pt x="262" y="8"/>
                  </a:cubicBezTo>
                  <a:cubicBezTo>
                    <a:pt x="262" y="3"/>
                    <a:pt x="259" y="0"/>
                    <a:pt x="254" y="0"/>
                  </a:cubicBezTo>
                  <a:close/>
                  <a:moveTo>
                    <a:pt x="254" y="0"/>
                  </a:moveTo>
                  <a:cubicBezTo>
                    <a:pt x="254" y="0"/>
                    <a:pt x="254" y="0"/>
                    <a:pt x="254" y="0"/>
                  </a:cubicBezTo>
                </a:path>
              </a:pathLst>
            </a:custGeom>
            <a:grpFill/>
            <a:ln w="222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a:extLst>
                <a:ext uri="{FF2B5EF4-FFF2-40B4-BE49-F238E27FC236}">
                  <a16:creationId xmlns:a16="http://schemas.microsoft.com/office/drawing/2014/main" id="{24F7A4A2-E671-4589-B26F-F4F59AE2C5B2}"/>
                </a:ext>
              </a:extLst>
            </p:cNvPr>
            <p:cNvSpPr>
              <a:spLocks noEditPoints="1"/>
            </p:cNvSpPr>
            <p:nvPr/>
          </p:nvSpPr>
          <p:spPr bwMode="auto">
            <a:xfrm>
              <a:off x="8343900" y="6959600"/>
              <a:ext cx="1933575" cy="1874838"/>
            </a:xfrm>
            <a:custGeom>
              <a:avLst/>
              <a:gdLst>
                <a:gd name="T0" fmla="*/ 499 w 546"/>
                <a:gd name="T1" fmla="*/ 222 h 546"/>
                <a:gd name="T2" fmla="*/ 491 w 546"/>
                <a:gd name="T3" fmla="*/ 128 h 546"/>
                <a:gd name="T4" fmla="*/ 491 w 546"/>
                <a:gd name="T5" fmla="*/ 105 h 546"/>
                <a:gd name="T6" fmla="*/ 419 w 546"/>
                <a:gd name="T7" fmla="*/ 56 h 546"/>
                <a:gd name="T8" fmla="*/ 324 w 546"/>
                <a:gd name="T9" fmla="*/ 47 h 546"/>
                <a:gd name="T10" fmla="*/ 308 w 546"/>
                <a:gd name="T11" fmla="*/ 0 h 546"/>
                <a:gd name="T12" fmla="*/ 222 w 546"/>
                <a:gd name="T13" fmla="*/ 16 h 546"/>
                <a:gd name="T14" fmla="*/ 150 w 546"/>
                <a:gd name="T15" fmla="*/ 78 h 546"/>
                <a:gd name="T16" fmla="*/ 105 w 546"/>
                <a:gd name="T17" fmla="*/ 56 h 546"/>
                <a:gd name="T18" fmla="*/ 56 w 546"/>
                <a:gd name="T19" fmla="*/ 128 h 546"/>
                <a:gd name="T20" fmla="*/ 47 w 546"/>
                <a:gd name="T21" fmla="*/ 222 h 546"/>
                <a:gd name="T22" fmla="*/ 0 w 546"/>
                <a:gd name="T23" fmla="*/ 239 h 546"/>
                <a:gd name="T24" fmla="*/ 16 w 546"/>
                <a:gd name="T25" fmla="*/ 324 h 546"/>
                <a:gd name="T26" fmla="*/ 78 w 546"/>
                <a:gd name="T27" fmla="*/ 397 h 546"/>
                <a:gd name="T28" fmla="*/ 56 w 546"/>
                <a:gd name="T29" fmla="*/ 442 h 546"/>
                <a:gd name="T30" fmla="*/ 128 w 546"/>
                <a:gd name="T31" fmla="*/ 491 h 546"/>
                <a:gd name="T32" fmla="*/ 222 w 546"/>
                <a:gd name="T33" fmla="*/ 499 h 546"/>
                <a:gd name="T34" fmla="*/ 239 w 546"/>
                <a:gd name="T35" fmla="*/ 546 h 546"/>
                <a:gd name="T36" fmla="*/ 263 w 546"/>
                <a:gd name="T37" fmla="*/ 538 h 546"/>
                <a:gd name="T38" fmla="*/ 239 w 546"/>
                <a:gd name="T39" fmla="*/ 530 h 546"/>
                <a:gd name="T40" fmla="*/ 238 w 546"/>
                <a:gd name="T41" fmla="*/ 493 h 546"/>
                <a:gd name="T42" fmla="*/ 153 w 546"/>
                <a:gd name="T43" fmla="*/ 452 h 546"/>
                <a:gd name="T44" fmla="*/ 116 w 546"/>
                <a:gd name="T45" fmla="*/ 480 h 546"/>
                <a:gd name="T46" fmla="*/ 67 w 546"/>
                <a:gd name="T47" fmla="*/ 431 h 546"/>
                <a:gd name="T48" fmla="*/ 94 w 546"/>
                <a:gd name="T49" fmla="*/ 404 h 546"/>
                <a:gd name="T50" fmla="*/ 62 w 546"/>
                <a:gd name="T51" fmla="*/ 315 h 546"/>
                <a:gd name="T52" fmla="*/ 16 w 546"/>
                <a:gd name="T53" fmla="*/ 308 h 546"/>
                <a:gd name="T54" fmla="*/ 16 w 546"/>
                <a:gd name="T55" fmla="*/ 239 h 546"/>
                <a:gd name="T56" fmla="*/ 54 w 546"/>
                <a:gd name="T57" fmla="*/ 238 h 546"/>
                <a:gd name="T58" fmla="*/ 95 w 546"/>
                <a:gd name="T59" fmla="*/ 153 h 546"/>
                <a:gd name="T60" fmla="*/ 67 w 546"/>
                <a:gd name="T61" fmla="*/ 116 h 546"/>
                <a:gd name="T62" fmla="*/ 116 w 546"/>
                <a:gd name="T63" fmla="*/ 67 h 546"/>
                <a:gd name="T64" fmla="*/ 143 w 546"/>
                <a:gd name="T65" fmla="*/ 94 h 546"/>
                <a:gd name="T66" fmla="*/ 232 w 546"/>
                <a:gd name="T67" fmla="*/ 62 h 546"/>
                <a:gd name="T68" fmla="*/ 238 w 546"/>
                <a:gd name="T69" fmla="*/ 16 h 546"/>
                <a:gd name="T70" fmla="*/ 308 w 546"/>
                <a:gd name="T71" fmla="*/ 16 h 546"/>
                <a:gd name="T72" fmla="*/ 308 w 546"/>
                <a:gd name="T73" fmla="*/ 54 h 546"/>
                <a:gd name="T74" fmla="*/ 394 w 546"/>
                <a:gd name="T75" fmla="*/ 95 h 546"/>
                <a:gd name="T76" fmla="*/ 430 w 546"/>
                <a:gd name="T77" fmla="*/ 67 h 546"/>
                <a:gd name="T78" fmla="*/ 480 w 546"/>
                <a:gd name="T79" fmla="*/ 116 h 546"/>
                <a:gd name="T80" fmla="*/ 453 w 546"/>
                <a:gd name="T81" fmla="*/ 143 h 546"/>
                <a:gd name="T82" fmla="*/ 485 w 546"/>
                <a:gd name="T83" fmla="*/ 232 h 546"/>
                <a:gd name="T84" fmla="*/ 530 w 546"/>
                <a:gd name="T85" fmla="*/ 238 h 546"/>
                <a:gd name="T86" fmla="*/ 530 w 546"/>
                <a:gd name="T87" fmla="*/ 253 h 546"/>
                <a:gd name="T88" fmla="*/ 546 w 546"/>
                <a:gd name="T89" fmla="*/ 253 h 546"/>
                <a:gd name="T90" fmla="*/ 530 w 546"/>
                <a:gd name="T91" fmla="*/ 222 h 546"/>
                <a:gd name="T92" fmla="*/ 530 w 546"/>
                <a:gd name="T93" fmla="*/ 22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6" h="546">
                  <a:moveTo>
                    <a:pt x="530" y="222"/>
                  </a:moveTo>
                  <a:cubicBezTo>
                    <a:pt x="499" y="222"/>
                    <a:pt x="499" y="222"/>
                    <a:pt x="499" y="222"/>
                  </a:cubicBezTo>
                  <a:cubicBezTo>
                    <a:pt x="494" y="197"/>
                    <a:pt x="483" y="172"/>
                    <a:pt x="469" y="150"/>
                  </a:cubicBezTo>
                  <a:cubicBezTo>
                    <a:pt x="491" y="128"/>
                    <a:pt x="491" y="128"/>
                    <a:pt x="491" y="128"/>
                  </a:cubicBezTo>
                  <a:cubicBezTo>
                    <a:pt x="494" y="125"/>
                    <a:pt x="496" y="121"/>
                    <a:pt x="496" y="116"/>
                  </a:cubicBezTo>
                  <a:cubicBezTo>
                    <a:pt x="496" y="112"/>
                    <a:pt x="494" y="108"/>
                    <a:pt x="491" y="105"/>
                  </a:cubicBezTo>
                  <a:cubicBezTo>
                    <a:pt x="442" y="56"/>
                    <a:pt x="442" y="56"/>
                    <a:pt x="442" y="56"/>
                  </a:cubicBezTo>
                  <a:cubicBezTo>
                    <a:pt x="436" y="49"/>
                    <a:pt x="425" y="49"/>
                    <a:pt x="419" y="56"/>
                  </a:cubicBezTo>
                  <a:cubicBezTo>
                    <a:pt x="397" y="78"/>
                    <a:pt x="397" y="78"/>
                    <a:pt x="397" y="78"/>
                  </a:cubicBezTo>
                  <a:cubicBezTo>
                    <a:pt x="375" y="63"/>
                    <a:pt x="350" y="53"/>
                    <a:pt x="324" y="47"/>
                  </a:cubicBezTo>
                  <a:cubicBezTo>
                    <a:pt x="324" y="16"/>
                    <a:pt x="324" y="16"/>
                    <a:pt x="324" y="16"/>
                  </a:cubicBezTo>
                  <a:cubicBezTo>
                    <a:pt x="324" y="8"/>
                    <a:pt x="317" y="0"/>
                    <a:pt x="308" y="0"/>
                  </a:cubicBezTo>
                  <a:cubicBezTo>
                    <a:pt x="239" y="0"/>
                    <a:pt x="239" y="0"/>
                    <a:pt x="239" y="0"/>
                  </a:cubicBezTo>
                  <a:cubicBezTo>
                    <a:pt x="230" y="0"/>
                    <a:pt x="222" y="8"/>
                    <a:pt x="222" y="16"/>
                  </a:cubicBezTo>
                  <a:cubicBezTo>
                    <a:pt x="222" y="47"/>
                    <a:pt x="222" y="47"/>
                    <a:pt x="222" y="47"/>
                  </a:cubicBezTo>
                  <a:cubicBezTo>
                    <a:pt x="197" y="53"/>
                    <a:pt x="172" y="63"/>
                    <a:pt x="150" y="78"/>
                  </a:cubicBezTo>
                  <a:cubicBezTo>
                    <a:pt x="128" y="56"/>
                    <a:pt x="128" y="56"/>
                    <a:pt x="128" y="56"/>
                  </a:cubicBezTo>
                  <a:cubicBezTo>
                    <a:pt x="121" y="49"/>
                    <a:pt x="111" y="49"/>
                    <a:pt x="105" y="56"/>
                  </a:cubicBezTo>
                  <a:cubicBezTo>
                    <a:pt x="56" y="105"/>
                    <a:pt x="56" y="105"/>
                    <a:pt x="56" y="105"/>
                  </a:cubicBezTo>
                  <a:cubicBezTo>
                    <a:pt x="49" y="111"/>
                    <a:pt x="49" y="121"/>
                    <a:pt x="56" y="128"/>
                  </a:cubicBezTo>
                  <a:cubicBezTo>
                    <a:pt x="78" y="150"/>
                    <a:pt x="78" y="150"/>
                    <a:pt x="78" y="150"/>
                  </a:cubicBezTo>
                  <a:cubicBezTo>
                    <a:pt x="63" y="172"/>
                    <a:pt x="53" y="197"/>
                    <a:pt x="47" y="222"/>
                  </a:cubicBezTo>
                  <a:cubicBezTo>
                    <a:pt x="16" y="222"/>
                    <a:pt x="16" y="222"/>
                    <a:pt x="16" y="222"/>
                  </a:cubicBezTo>
                  <a:cubicBezTo>
                    <a:pt x="8" y="222"/>
                    <a:pt x="0" y="230"/>
                    <a:pt x="0" y="239"/>
                  </a:cubicBezTo>
                  <a:cubicBezTo>
                    <a:pt x="0" y="308"/>
                    <a:pt x="0" y="308"/>
                    <a:pt x="0" y="308"/>
                  </a:cubicBezTo>
                  <a:cubicBezTo>
                    <a:pt x="0" y="317"/>
                    <a:pt x="8" y="324"/>
                    <a:pt x="16" y="324"/>
                  </a:cubicBezTo>
                  <a:cubicBezTo>
                    <a:pt x="47" y="324"/>
                    <a:pt x="47" y="324"/>
                    <a:pt x="47" y="324"/>
                  </a:cubicBezTo>
                  <a:cubicBezTo>
                    <a:pt x="53" y="350"/>
                    <a:pt x="63" y="375"/>
                    <a:pt x="78" y="397"/>
                  </a:cubicBezTo>
                  <a:cubicBezTo>
                    <a:pt x="56" y="419"/>
                    <a:pt x="56" y="419"/>
                    <a:pt x="56" y="419"/>
                  </a:cubicBezTo>
                  <a:cubicBezTo>
                    <a:pt x="49" y="425"/>
                    <a:pt x="49" y="436"/>
                    <a:pt x="56" y="442"/>
                  </a:cubicBezTo>
                  <a:cubicBezTo>
                    <a:pt x="105" y="491"/>
                    <a:pt x="105" y="491"/>
                    <a:pt x="105" y="491"/>
                  </a:cubicBezTo>
                  <a:cubicBezTo>
                    <a:pt x="111" y="497"/>
                    <a:pt x="121" y="497"/>
                    <a:pt x="128" y="491"/>
                  </a:cubicBezTo>
                  <a:cubicBezTo>
                    <a:pt x="150" y="469"/>
                    <a:pt x="150" y="469"/>
                    <a:pt x="150" y="469"/>
                  </a:cubicBezTo>
                  <a:cubicBezTo>
                    <a:pt x="172" y="483"/>
                    <a:pt x="197" y="494"/>
                    <a:pt x="222" y="499"/>
                  </a:cubicBezTo>
                  <a:cubicBezTo>
                    <a:pt x="222" y="530"/>
                    <a:pt x="222" y="530"/>
                    <a:pt x="222" y="530"/>
                  </a:cubicBezTo>
                  <a:cubicBezTo>
                    <a:pt x="222" y="539"/>
                    <a:pt x="230" y="546"/>
                    <a:pt x="239" y="546"/>
                  </a:cubicBezTo>
                  <a:cubicBezTo>
                    <a:pt x="255" y="546"/>
                    <a:pt x="255" y="546"/>
                    <a:pt x="255" y="546"/>
                  </a:cubicBezTo>
                  <a:cubicBezTo>
                    <a:pt x="260" y="546"/>
                    <a:pt x="263" y="543"/>
                    <a:pt x="263" y="538"/>
                  </a:cubicBezTo>
                  <a:cubicBezTo>
                    <a:pt x="263" y="534"/>
                    <a:pt x="260" y="530"/>
                    <a:pt x="255" y="530"/>
                  </a:cubicBezTo>
                  <a:cubicBezTo>
                    <a:pt x="239" y="530"/>
                    <a:pt x="239" y="530"/>
                    <a:pt x="239" y="530"/>
                  </a:cubicBezTo>
                  <a:cubicBezTo>
                    <a:pt x="239" y="530"/>
                    <a:pt x="238" y="530"/>
                    <a:pt x="238" y="530"/>
                  </a:cubicBezTo>
                  <a:cubicBezTo>
                    <a:pt x="238" y="493"/>
                    <a:pt x="238" y="493"/>
                    <a:pt x="238" y="493"/>
                  </a:cubicBezTo>
                  <a:cubicBezTo>
                    <a:pt x="238" y="489"/>
                    <a:pt x="236" y="486"/>
                    <a:pt x="232" y="485"/>
                  </a:cubicBezTo>
                  <a:cubicBezTo>
                    <a:pt x="204" y="479"/>
                    <a:pt x="177" y="468"/>
                    <a:pt x="153" y="452"/>
                  </a:cubicBezTo>
                  <a:cubicBezTo>
                    <a:pt x="150" y="450"/>
                    <a:pt x="146" y="451"/>
                    <a:pt x="143" y="453"/>
                  </a:cubicBezTo>
                  <a:cubicBezTo>
                    <a:pt x="116" y="480"/>
                    <a:pt x="116" y="480"/>
                    <a:pt x="116" y="480"/>
                  </a:cubicBezTo>
                  <a:cubicBezTo>
                    <a:pt x="116" y="480"/>
                    <a:pt x="116" y="480"/>
                    <a:pt x="116" y="480"/>
                  </a:cubicBezTo>
                  <a:cubicBezTo>
                    <a:pt x="67" y="431"/>
                    <a:pt x="67" y="431"/>
                    <a:pt x="67" y="431"/>
                  </a:cubicBezTo>
                  <a:cubicBezTo>
                    <a:pt x="67" y="431"/>
                    <a:pt x="67" y="430"/>
                    <a:pt x="67" y="430"/>
                  </a:cubicBezTo>
                  <a:cubicBezTo>
                    <a:pt x="94" y="404"/>
                    <a:pt x="94" y="404"/>
                    <a:pt x="94" y="404"/>
                  </a:cubicBezTo>
                  <a:cubicBezTo>
                    <a:pt x="96" y="401"/>
                    <a:pt x="97" y="397"/>
                    <a:pt x="95" y="394"/>
                  </a:cubicBezTo>
                  <a:cubicBezTo>
                    <a:pt x="78" y="370"/>
                    <a:pt x="67" y="343"/>
                    <a:pt x="62" y="315"/>
                  </a:cubicBezTo>
                  <a:cubicBezTo>
                    <a:pt x="61" y="311"/>
                    <a:pt x="58" y="308"/>
                    <a:pt x="54" y="308"/>
                  </a:cubicBezTo>
                  <a:cubicBezTo>
                    <a:pt x="16" y="308"/>
                    <a:pt x="16" y="308"/>
                    <a:pt x="16" y="308"/>
                  </a:cubicBezTo>
                  <a:cubicBezTo>
                    <a:pt x="16" y="308"/>
                    <a:pt x="16" y="308"/>
                    <a:pt x="16" y="308"/>
                  </a:cubicBezTo>
                  <a:cubicBezTo>
                    <a:pt x="16" y="239"/>
                    <a:pt x="16" y="239"/>
                    <a:pt x="16" y="239"/>
                  </a:cubicBezTo>
                  <a:cubicBezTo>
                    <a:pt x="16" y="239"/>
                    <a:pt x="16" y="238"/>
                    <a:pt x="16" y="238"/>
                  </a:cubicBezTo>
                  <a:cubicBezTo>
                    <a:pt x="54" y="238"/>
                    <a:pt x="54" y="238"/>
                    <a:pt x="54" y="238"/>
                  </a:cubicBezTo>
                  <a:cubicBezTo>
                    <a:pt x="58" y="238"/>
                    <a:pt x="61" y="236"/>
                    <a:pt x="62" y="232"/>
                  </a:cubicBezTo>
                  <a:cubicBezTo>
                    <a:pt x="67" y="204"/>
                    <a:pt x="78" y="177"/>
                    <a:pt x="95" y="153"/>
                  </a:cubicBezTo>
                  <a:cubicBezTo>
                    <a:pt x="97" y="150"/>
                    <a:pt x="96" y="146"/>
                    <a:pt x="94" y="143"/>
                  </a:cubicBezTo>
                  <a:cubicBezTo>
                    <a:pt x="67" y="116"/>
                    <a:pt x="67" y="116"/>
                    <a:pt x="67" y="116"/>
                  </a:cubicBezTo>
                  <a:cubicBezTo>
                    <a:pt x="67" y="116"/>
                    <a:pt x="67" y="116"/>
                    <a:pt x="67" y="116"/>
                  </a:cubicBezTo>
                  <a:cubicBezTo>
                    <a:pt x="116" y="67"/>
                    <a:pt x="116" y="67"/>
                    <a:pt x="116" y="67"/>
                  </a:cubicBezTo>
                  <a:cubicBezTo>
                    <a:pt x="116" y="67"/>
                    <a:pt x="116" y="67"/>
                    <a:pt x="116" y="67"/>
                  </a:cubicBezTo>
                  <a:cubicBezTo>
                    <a:pt x="143" y="94"/>
                    <a:pt x="143" y="94"/>
                    <a:pt x="143" y="94"/>
                  </a:cubicBezTo>
                  <a:cubicBezTo>
                    <a:pt x="146" y="96"/>
                    <a:pt x="150" y="97"/>
                    <a:pt x="153" y="95"/>
                  </a:cubicBezTo>
                  <a:cubicBezTo>
                    <a:pt x="177" y="78"/>
                    <a:pt x="204" y="67"/>
                    <a:pt x="232" y="62"/>
                  </a:cubicBezTo>
                  <a:cubicBezTo>
                    <a:pt x="236" y="61"/>
                    <a:pt x="238" y="58"/>
                    <a:pt x="238" y="54"/>
                  </a:cubicBezTo>
                  <a:cubicBezTo>
                    <a:pt x="238" y="16"/>
                    <a:pt x="238" y="16"/>
                    <a:pt x="238" y="16"/>
                  </a:cubicBezTo>
                  <a:cubicBezTo>
                    <a:pt x="238" y="16"/>
                    <a:pt x="239" y="16"/>
                    <a:pt x="239" y="16"/>
                  </a:cubicBezTo>
                  <a:cubicBezTo>
                    <a:pt x="308" y="16"/>
                    <a:pt x="308" y="16"/>
                    <a:pt x="308" y="16"/>
                  </a:cubicBezTo>
                  <a:cubicBezTo>
                    <a:pt x="308" y="16"/>
                    <a:pt x="308" y="16"/>
                    <a:pt x="308" y="16"/>
                  </a:cubicBezTo>
                  <a:cubicBezTo>
                    <a:pt x="308" y="54"/>
                    <a:pt x="308" y="54"/>
                    <a:pt x="308" y="54"/>
                  </a:cubicBezTo>
                  <a:cubicBezTo>
                    <a:pt x="308" y="58"/>
                    <a:pt x="311" y="61"/>
                    <a:pt x="315" y="62"/>
                  </a:cubicBezTo>
                  <a:cubicBezTo>
                    <a:pt x="343" y="67"/>
                    <a:pt x="370" y="78"/>
                    <a:pt x="394" y="95"/>
                  </a:cubicBezTo>
                  <a:cubicBezTo>
                    <a:pt x="397" y="97"/>
                    <a:pt x="401" y="96"/>
                    <a:pt x="404" y="94"/>
                  </a:cubicBezTo>
                  <a:cubicBezTo>
                    <a:pt x="430" y="67"/>
                    <a:pt x="430" y="67"/>
                    <a:pt x="430" y="67"/>
                  </a:cubicBezTo>
                  <a:cubicBezTo>
                    <a:pt x="430" y="67"/>
                    <a:pt x="431" y="67"/>
                    <a:pt x="431" y="67"/>
                  </a:cubicBezTo>
                  <a:cubicBezTo>
                    <a:pt x="480" y="116"/>
                    <a:pt x="480" y="116"/>
                    <a:pt x="480" y="116"/>
                  </a:cubicBezTo>
                  <a:cubicBezTo>
                    <a:pt x="480" y="116"/>
                    <a:pt x="480" y="116"/>
                    <a:pt x="480" y="116"/>
                  </a:cubicBezTo>
                  <a:cubicBezTo>
                    <a:pt x="453" y="143"/>
                    <a:pt x="453" y="143"/>
                    <a:pt x="453" y="143"/>
                  </a:cubicBezTo>
                  <a:cubicBezTo>
                    <a:pt x="451" y="146"/>
                    <a:pt x="450" y="150"/>
                    <a:pt x="452" y="153"/>
                  </a:cubicBezTo>
                  <a:cubicBezTo>
                    <a:pt x="468" y="177"/>
                    <a:pt x="479" y="204"/>
                    <a:pt x="485" y="232"/>
                  </a:cubicBezTo>
                  <a:cubicBezTo>
                    <a:pt x="486" y="236"/>
                    <a:pt x="489" y="238"/>
                    <a:pt x="493" y="238"/>
                  </a:cubicBezTo>
                  <a:cubicBezTo>
                    <a:pt x="530" y="238"/>
                    <a:pt x="530" y="238"/>
                    <a:pt x="530" y="238"/>
                  </a:cubicBezTo>
                  <a:cubicBezTo>
                    <a:pt x="530" y="238"/>
                    <a:pt x="530" y="239"/>
                    <a:pt x="530" y="239"/>
                  </a:cubicBezTo>
                  <a:cubicBezTo>
                    <a:pt x="530" y="253"/>
                    <a:pt x="530" y="253"/>
                    <a:pt x="530" y="253"/>
                  </a:cubicBezTo>
                  <a:cubicBezTo>
                    <a:pt x="530" y="257"/>
                    <a:pt x="534" y="261"/>
                    <a:pt x="538" y="261"/>
                  </a:cubicBezTo>
                  <a:cubicBezTo>
                    <a:pt x="543" y="261"/>
                    <a:pt x="546" y="257"/>
                    <a:pt x="546" y="253"/>
                  </a:cubicBezTo>
                  <a:cubicBezTo>
                    <a:pt x="546" y="239"/>
                    <a:pt x="546" y="239"/>
                    <a:pt x="546" y="239"/>
                  </a:cubicBezTo>
                  <a:cubicBezTo>
                    <a:pt x="546" y="230"/>
                    <a:pt x="539" y="222"/>
                    <a:pt x="530" y="222"/>
                  </a:cubicBezTo>
                  <a:close/>
                  <a:moveTo>
                    <a:pt x="530" y="222"/>
                  </a:moveTo>
                  <a:cubicBezTo>
                    <a:pt x="530" y="222"/>
                    <a:pt x="530" y="222"/>
                    <a:pt x="530" y="222"/>
                  </a:cubicBezTo>
                </a:path>
              </a:pathLst>
            </a:custGeom>
            <a:grpFill/>
            <a:ln w="222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49" name="Rectangle 148">
            <a:extLst>
              <a:ext uri="{FF2B5EF4-FFF2-40B4-BE49-F238E27FC236}">
                <a16:creationId xmlns:a16="http://schemas.microsoft.com/office/drawing/2014/main" id="{1A13330C-0CE2-4401-B5E3-504A785CFF7C}"/>
              </a:ext>
            </a:extLst>
          </p:cNvPr>
          <p:cNvSpPr/>
          <p:nvPr/>
        </p:nvSpPr>
        <p:spPr>
          <a:xfrm>
            <a:off x="488900" y="4298029"/>
            <a:ext cx="5135385" cy="607859"/>
          </a:xfrm>
          <a:prstGeom prst="rect">
            <a:avLst/>
          </a:prstGeom>
          <a:solidFill>
            <a:schemeClr val="accent3">
              <a:lumMod val="50000"/>
              <a:alpha val="10000"/>
            </a:schemeClr>
          </a:solidFill>
          <a:ln w="9525" cap="rnd">
            <a:solidFill>
              <a:srgbClr val="00A3E0"/>
            </a:solidFill>
          </a:ln>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150" name="Rectangle 149">
            <a:extLst>
              <a:ext uri="{FF2B5EF4-FFF2-40B4-BE49-F238E27FC236}">
                <a16:creationId xmlns:a16="http://schemas.microsoft.com/office/drawing/2014/main" id="{A6FE7136-F9D7-43E9-A6F4-BCA991D41DE2}"/>
              </a:ext>
            </a:extLst>
          </p:cNvPr>
          <p:cNvSpPr/>
          <p:nvPr/>
        </p:nvSpPr>
        <p:spPr>
          <a:xfrm>
            <a:off x="6096000" y="4298029"/>
            <a:ext cx="5626099" cy="607859"/>
          </a:xfrm>
          <a:prstGeom prst="rect">
            <a:avLst/>
          </a:prstGeom>
          <a:solidFill>
            <a:schemeClr val="accent3">
              <a:lumMod val="50000"/>
              <a:alpha val="10000"/>
            </a:schemeClr>
          </a:solidFill>
          <a:ln w="9525" cap="rnd">
            <a:solidFill>
              <a:srgbClr val="00A3E0"/>
            </a:solidFill>
          </a:ln>
        </p:spPr>
        <p:txBody>
          <a:bodyPr wrap="square">
            <a:spAutoFit/>
          </a:bodyPr>
          <a:lstStyle/>
          <a:p>
            <a:pPr lvl="0">
              <a:spcAft>
                <a:spcPts val="300"/>
              </a:spcAft>
            </a:pPr>
            <a:r>
              <a:rPr lang="en-US" sz="1400" b="1" dirty="0">
                <a:solidFill>
                  <a:srgbClr val="00A3E0"/>
                </a:solidFill>
              </a:rPr>
              <a:t>Title</a:t>
            </a:r>
          </a:p>
          <a:p>
            <a:pPr lvl="0" defTabSz="1142609">
              <a:spcBef>
                <a:spcPts val="562"/>
              </a:spcBef>
              <a:buSzPct val="100000"/>
              <a:defRPr/>
            </a:pPr>
            <a:r>
              <a:rPr lang="en-US" sz="1200" kern="0" dirty="0">
                <a:solidFill>
                  <a:prstClr val="white"/>
                </a:solidFill>
                <a:ea typeface="ヒラギノ角ゴ ProN W3" charset="0"/>
                <a:sym typeface="Gotham Book" charset="0"/>
              </a:rPr>
              <a:t>This is dummy text it is not here to be read. The is just text to show.</a:t>
            </a:r>
          </a:p>
        </p:txBody>
      </p:sp>
      <p:sp>
        <p:nvSpPr>
          <p:cNvPr id="152" name="TextBox 151">
            <a:extLst>
              <a:ext uri="{FF2B5EF4-FFF2-40B4-BE49-F238E27FC236}">
                <a16:creationId xmlns:a16="http://schemas.microsoft.com/office/drawing/2014/main" id="{BDB22C61-35BA-4861-A6C6-27A8D520301C}"/>
              </a:ext>
            </a:extLst>
          </p:cNvPr>
          <p:cNvSpPr txBox="1"/>
          <p:nvPr/>
        </p:nvSpPr>
        <p:spPr>
          <a:xfrm flipH="1">
            <a:off x="5992284" y="5823575"/>
            <a:ext cx="1822547" cy="461665"/>
          </a:xfrm>
          <a:prstGeom prst="rect">
            <a:avLst/>
          </a:prstGeom>
          <a:noFill/>
        </p:spPr>
        <p:txBody>
          <a:bodyPr wrap="square" rtlCol="0">
            <a:spAutoFit/>
          </a:bodyPr>
          <a:lstStyle/>
          <a:p>
            <a:r>
              <a:rPr lang="en-US" sz="1200" kern="0" dirty="0">
                <a:solidFill>
                  <a:prstClr val="white"/>
                </a:solidFill>
                <a:ea typeface="ヒラギノ角ゴ ProN W3" charset="0"/>
                <a:sym typeface="Gotham Book" charset="0"/>
              </a:rPr>
              <a:t>This is dummy text it is not here to be read.</a:t>
            </a:r>
            <a:endParaRPr lang="en-US" sz="1200" dirty="0">
              <a:solidFill>
                <a:schemeClr val="bg1"/>
              </a:solidFill>
            </a:endParaRPr>
          </a:p>
        </p:txBody>
      </p:sp>
      <p:sp>
        <p:nvSpPr>
          <p:cNvPr id="153" name="TextBox 152">
            <a:extLst>
              <a:ext uri="{FF2B5EF4-FFF2-40B4-BE49-F238E27FC236}">
                <a16:creationId xmlns:a16="http://schemas.microsoft.com/office/drawing/2014/main" id="{3E6D2B32-C237-4D16-BD70-DF4BF1C4FC2F}"/>
              </a:ext>
            </a:extLst>
          </p:cNvPr>
          <p:cNvSpPr txBox="1"/>
          <p:nvPr/>
        </p:nvSpPr>
        <p:spPr>
          <a:xfrm flipH="1">
            <a:off x="9749036" y="5823575"/>
            <a:ext cx="2085804" cy="461665"/>
          </a:xfrm>
          <a:prstGeom prst="rect">
            <a:avLst/>
          </a:prstGeom>
          <a:noFill/>
        </p:spPr>
        <p:txBody>
          <a:bodyPr wrap="square" rtlCol="0">
            <a:spAutoFit/>
          </a:bodyPr>
          <a:lstStyle/>
          <a:p>
            <a:r>
              <a:rPr lang="en-US" sz="1200" kern="0" dirty="0">
                <a:solidFill>
                  <a:prstClr val="white"/>
                </a:solidFill>
                <a:ea typeface="ヒラギノ角ゴ ProN W3" charset="0"/>
                <a:sym typeface="Gotham Book" charset="0"/>
              </a:rPr>
              <a:t>This is dummy text it is not here to be read.</a:t>
            </a:r>
            <a:endParaRPr lang="en-US" sz="1200" dirty="0">
              <a:solidFill>
                <a:schemeClr val="accent3">
                  <a:lumMod val="75000"/>
                </a:schemeClr>
              </a:solidFill>
            </a:endParaRPr>
          </a:p>
        </p:txBody>
      </p:sp>
      <p:grpSp>
        <p:nvGrpSpPr>
          <p:cNvPr id="156" name="Group 24">
            <a:extLst>
              <a:ext uri="{FF2B5EF4-FFF2-40B4-BE49-F238E27FC236}">
                <a16:creationId xmlns:a16="http://schemas.microsoft.com/office/drawing/2014/main" id="{D08BA1FC-450B-434C-B5C9-2AAE0D22FDB8}"/>
              </a:ext>
            </a:extLst>
          </p:cNvPr>
          <p:cNvGrpSpPr>
            <a:grpSpLocks noChangeAspect="1"/>
          </p:cNvGrpSpPr>
          <p:nvPr/>
        </p:nvGrpSpPr>
        <p:grpSpPr bwMode="auto">
          <a:xfrm>
            <a:off x="1212310" y="5091784"/>
            <a:ext cx="1170289" cy="1135355"/>
            <a:chOff x="2500" y="4290"/>
            <a:chExt cx="1474" cy="1430"/>
          </a:xfrm>
          <a:solidFill>
            <a:srgbClr val="00A3E0"/>
          </a:solidFill>
        </p:grpSpPr>
        <p:sp>
          <p:nvSpPr>
            <p:cNvPr id="158" name="Freeform 25">
              <a:extLst>
                <a:ext uri="{FF2B5EF4-FFF2-40B4-BE49-F238E27FC236}">
                  <a16:creationId xmlns:a16="http://schemas.microsoft.com/office/drawing/2014/main" id="{6E7C051F-DEC1-4948-9022-A815A409E9D8}"/>
                </a:ext>
              </a:extLst>
            </p:cNvPr>
            <p:cNvSpPr>
              <a:spLocks noEditPoints="1"/>
            </p:cNvSpPr>
            <p:nvPr/>
          </p:nvSpPr>
          <p:spPr bwMode="auto">
            <a:xfrm>
              <a:off x="2785" y="4290"/>
              <a:ext cx="1189" cy="1430"/>
            </a:xfrm>
            <a:custGeom>
              <a:avLst/>
              <a:gdLst>
                <a:gd name="T0" fmla="*/ 432 w 533"/>
                <a:gd name="T1" fmla="*/ 405 h 661"/>
                <a:gd name="T2" fmla="*/ 395 w 533"/>
                <a:gd name="T3" fmla="*/ 357 h 661"/>
                <a:gd name="T4" fmla="*/ 171 w 533"/>
                <a:gd name="T5" fmla="*/ 181 h 661"/>
                <a:gd name="T6" fmla="*/ 298 w 533"/>
                <a:gd name="T7" fmla="*/ 384 h 661"/>
                <a:gd name="T8" fmla="*/ 193 w 533"/>
                <a:gd name="T9" fmla="*/ 427 h 661"/>
                <a:gd name="T10" fmla="*/ 0 w 533"/>
                <a:gd name="T11" fmla="*/ 405 h 661"/>
                <a:gd name="T12" fmla="*/ 75 w 533"/>
                <a:gd name="T13" fmla="*/ 501 h 661"/>
                <a:gd name="T14" fmla="*/ 117 w 533"/>
                <a:gd name="T15" fmla="*/ 427 h 661"/>
                <a:gd name="T16" fmla="*/ 96 w 533"/>
                <a:gd name="T17" fmla="*/ 523 h 661"/>
                <a:gd name="T18" fmla="*/ 0 w 533"/>
                <a:gd name="T19" fmla="*/ 597 h 661"/>
                <a:gd name="T20" fmla="*/ 139 w 533"/>
                <a:gd name="T21" fmla="*/ 597 h 661"/>
                <a:gd name="T22" fmla="*/ 253 w 533"/>
                <a:gd name="T23" fmla="*/ 624 h 661"/>
                <a:gd name="T24" fmla="*/ 309 w 533"/>
                <a:gd name="T25" fmla="*/ 661 h 661"/>
                <a:gd name="T26" fmla="*/ 459 w 533"/>
                <a:gd name="T27" fmla="*/ 629 h 661"/>
                <a:gd name="T28" fmla="*/ 491 w 533"/>
                <a:gd name="T29" fmla="*/ 555 h 661"/>
                <a:gd name="T30" fmla="*/ 482 w 533"/>
                <a:gd name="T31" fmla="*/ 491 h 661"/>
                <a:gd name="T32" fmla="*/ 469 w 533"/>
                <a:gd name="T33" fmla="*/ 469 h 661"/>
                <a:gd name="T34" fmla="*/ 373 w 533"/>
                <a:gd name="T35" fmla="*/ 469 h 661"/>
                <a:gd name="T36" fmla="*/ 469 w 533"/>
                <a:gd name="T37" fmla="*/ 469 h 661"/>
                <a:gd name="T38" fmla="*/ 384 w 533"/>
                <a:gd name="T39" fmla="*/ 523 h 661"/>
                <a:gd name="T40" fmla="*/ 459 w 533"/>
                <a:gd name="T41" fmla="*/ 501 h 661"/>
                <a:gd name="T42" fmla="*/ 459 w 533"/>
                <a:gd name="T43" fmla="*/ 565 h 661"/>
                <a:gd name="T44" fmla="*/ 384 w 533"/>
                <a:gd name="T45" fmla="*/ 544 h 661"/>
                <a:gd name="T46" fmla="*/ 192 w 533"/>
                <a:gd name="T47" fmla="*/ 181 h 661"/>
                <a:gd name="T48" fmla="*/ 352 w 533"/>
                <a:gd name="T49" fmla="*/ 341 h 661"/>
                <a:gd name="T50" fmla="*/ 352 w 533"/>
                <a:gd name="T51" fmla="*/ 363 h 661"/>
                <a:gd name="T52" fmla="*/ 331 w 533"/>
                <a:gd name="T53" fmla="*/ 384 h 661"/>
                <a:gd name="T54" fmla="*/ 262 w 533"/>
                <a:gd name="T55" fmla="*/ 605 h 661"/>
                <a:gd name="T56" fmla="*/ 139 w 533"/>
                <a:gd name="T57" fmla="*/ 576 h 661"/>
                <a:gd name="T58" fmla="*/ 216 w 533"/>
                <a:gd name="T59" fmla="*/ 442 h 661"/>
                <a:gd name="T60" fmla="*/ 411 w 533"/>
                <a:gd name="T61" fmla="*/ 405 h 661"/>
                <a:gd name="T62" fmla="*/ 282 w 533"/>
                <a:gd name="T63" fmla="*/ 485 h 661"/>
                <a:gd name="T64" fmla="*/ 192 w 533"/>
                <a:gd name="T65" fmla="*/ 523 h 661"/>
                <a:gd name="T66" fmla="*/ 260 w 533"/>
                <a:gd name="T67" fmla="*/ 533 h 661"/>
                <a:gd name="T68" fmla="*/ 309 w 533"/>
                <a:gd name="T69" fmla="*/ 608 h 661"/>
                <a:gd name="T70" fmla="*/ 331 w 533"/>
                <a:gd name="T71" fmla="*/ 459 h 661"/>
                <a:gd name="T72" fmla="*/ 360 w 533"/>
                <a:gd name="T73" fmla="*/ 491 h 661"/>
                <a:gd name="T74" fmla="*/ 352 w 533"/>
                <a:gd name="T75" fmla="*/ 555 h 661"/>
                <a:gd name="T76" fmla="*/ 373 w 533"/>
                <a:gd name="T77" fmla="*/ 627 h 661"/>
                <a:gd name="T78" fmla="*/ 459 w 533"/>
                <a:gd name="T79" fmla="*/ 608 h 661"/>
                <a:gd name="T80" fmla="*/ 384 w 533"/>
                <a:gd name="T81" fmla="*/ 587 h 661"/>
                <a:gd name="T82" fmla="*/ 459 w 533"/>
                <a:gd name="T83" fmla="*/ 608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3" h="661">
                  <a:moveTo>
                    <a:pt x="459" y="437"/>
                  </a:moveTo>
                  <a:cubicBezTo>
                    <a:pt x="421" y="437"/>
                    <a:pt x="421" y="437"/>
                    <a:pt x="421" y="437"/>
                  </a:cubicBezTo>
                  <a:cubicBezTo>
                    <a:pt x="428" y="428"/>
                    <a:pt x="432" y="417"/>
                    <a:pt x="432" y="405"/>
                  </a:cubicBezTo>
                  <a:cubicBezTo>
                    <a:pt x="432" y="394"/>
                    <a:pt x="422" y="384"/>
                    <a:pt x="411" y="384"/>
                  </a:cubicBezTo>
                  <a:cubicBezTo>
                    <a:pt x="395" y="384"/>
                    <a:pt x="395" y="384"/>
                    <a:pt x="395" y="384"/>
                  </a:cubicBezTo>
                  <a:cubicBezTo>
                    <a:pt x="395" y="357"/>
                    <a:pt x="395" y="357"/>
                    <a:pt x="395" y="357"/>
                  </a:cubicBezTo>
                  <a:cubicBezTo>
                    <a:pt x="474" y="338"/>
                    <a:pt x="533" y="267"/>
                    <a:pt x="533" y="181"/>
                  </a:cubicBezTo>
                  <a:cubicBezTo>
                    <a:pt x="533" y="81"/>
                    <a:pt x="452" y="0"/>
                    <a:pt x="352" y="0"/>
                  </a:cubicBezTo>
                  <a:cubicBezTo>
                    <a:pt x="252" y="0"/>
                    <a:pt x="171" y="81"/>
                    <a:pt x="171" y="181"/>
                  </a:cubicBezTo>
                  <a:cubicBezTo>
                    <a:pt x="171" y="267"/>
                    <a:pt x="230" y="338"/>
                    <a:pt x="309" y="357"/>
                  </a:cubicBezTo>
                  <a:cubicBezTo>
                    <a:pt x="309" y="384"/>
                    <a:pt x="309" y="384"/>
                    <a:pt x="309" y="384"/>
                  </a:cubicBezTo>
                  <a:cubicBezTo>
                    <a:pt x="298" y="384"/>
                    <a:pt x="298" y="384"/>
                    <a:pt x="298" y="384"/>
                  </a:cubicBezTo>
                  <a:cubicBezTo>
                    <a:pt x="290" y="384"/>
                    <a:pt x="282" y="386"/>
                    <a:pt x="274" y="390"/>
                  </a:cubicBezTo>
                  <a:cubicBezTo>
                    <a:pt x="207" y="423"/>
                    <a:pt x="207" y="423"/>
                    <a:pt x="207" y="423"/>
                  </a:cubicBezTo>
                  <a:cubicBezTo>
                    <a:pt x="202" y="426"/>
                    <a:pt x="198" y="427"/>
                    <a:pt x="193" y="427"/>
                  </a:cubicBezTo>
                  <a:cubicBezTo>
                    <a:pt x="139" y="427"/>
                    <a:pt x="139" y="427"/>
                    <a:pt x="139" y="427"/>
                  </a:cubicBezTo>
                  <a:cubicBezTo>
                    <a:pt x="139" y="405"/>
                    <a:pt x="139" y="405"/>
                    <a:pt x="139" y="405"/>
                  </a:cubicBezTo>
                  <a:cubicBezTo>
                    <a:pt x="0" y="405"/>
                    <a:pt x="0" y="405"/>
                    <a:pt x="0" y="405"/>
                  </a:cubicBezTo>
                  <a:cubicBezTo>
                    <a:pt x="0" y="427"/>
                    <a:pt x="0" y="427"/>
                    <a:pt x="0" y="427"/>
                  </a:cubicBezTo>
                  <a:cubicBezTo>
                    <a:pt x="75" y="427"/>
                    <a:pt x="75" y="427"/>
                    <a:pt x="75" y="427"/>
                  </a:cubicBezTo>
                  <a:cubicBezTo>
                    <a:pt x="75" y="501"/>
                    <a:pt x="75" y="501"/>
                    <a:pt x="75" y="501"/>
                  </a:cubicBezTo>
                  <a:cubicBezTo>
                    <a:pt x="96" y="501"/>
                    <a:pt x="96" y="501"/>
                    <a:pt x="96" y="501"/>
                  </a:cubicBezTo>
                  <a:cubicBezTo>
                    <a:pt x="96" y="427"/>
                    <a:pt x="96" y="427"/>
                    <a:pt x="96" y="427"/>
                  </a:cubicBezTo>
                  <a:cubicBezTo>
                    <a:pt x="117" y="427"/>
                    <a:pt x="117" y="427"/>
                    <a:pt x="117" y="427"/>
                  </a:cubicBezTo>
                  <a:cubicBezTo>
                    <a:pt x="117" y="597"/>
                    <a:pt x="117" y="597"/>
                    <a:pt x="117" y="597"/>
                  </a:cubicBezTo>
                  <a:cubicBezTo>
                    <a:pt x="96" y="597"/>
                    <a:pt x="96" y="597"/>
                    <a:pt x="96" y="597"/>
                  </a:cubicBezTo>
                  <a:cubicBezTo>
                    <a:pt x="96" y="523"/>
                    <a:pt x="96" y="523"/>
                    <a:pt x="96" y="523"/>
                  </a:cubicBezTo>
                  <a:cubicBezTo>
                    <a:pt x="75" y="523"/>
                    <a:pt x="75" y="523"/>
                    <a:pt x="75" y="523"/>
                  </a:cubicBezTo>
                  <a:cubicBezTo>
                    <a:pt x="75" y="597"/>
                    <a:pt x="75" y="597"/>
                    <a:pt x="75" y="597"/>
                  </a:cubicBezTo>
                  <a:cubicBezTo>
                    <a:pt x="0" y="597"/>
                    <a:pt x="0" y="597"/>
                    <a:pt x="0" y="597"/>
                  </a:cubicBezTo>
                  <a:cubicBezTo>
                    <a:pt x="0" y="619"/>
                    <a:pt x="0" y="619"/>
                    <a:pt x="0" y="619"/>
                  </a:cubicBezTo>
                  <a:cubicBezTo>
                    <a:pt x="139" y="619"/>
                    <a:pt x="139" y="619"/>
                    <a:pt x="139" y="619"/>
                  </a:cubicBezTo>
                  <a:cubicBezTo>
                    <a:pt x="139" y="597"/>
                    <a:pt x="139" y="597"/>
                    <a:pt x="139" y="597"/>
                  </a:cubicBezTo>
                  <a:cubicBezTo>
                    <a:pt x="193" y="597"/>
                    <a:pt x="193" y="597"/>
                    <a:pt x="193" y="597"/>
                  </a:cubicBezTo>
                  <a:cubicBezTo>
                    <a:pt x="198" y="597"/>
                    <a:pt x="202" y="598"/>
                    <a:pt x="207" y="601"/>
                  </a:cubicBezTo>
                  <a:cubicBezTo>
                    <a:pt x="253" y="624"/>
                    <a:pt x="253" y="624"/>
                    <a:pt x="253" y="624"/>
                  </a:cubicBezTo>
                  <a:cubicBezTo>
                    <a:pt x="260" y="627"/>
                    <a:pt x="269" y="629"/>
                    <a:pt x="277" y="629"/>
                  </a:cubicBezTo>
                  <a:cubicBezTo>
                    <a:pt x="309" y="629"/>
                    <a:pt x="309" y="629"/>
                    <a:pt x="309" y="629"/>
                  </a:cubicBezTo>
                  <a:cubicBezTo>
                    <a:pt x="309" y="661"/>
                    <a:pt x="309" y="661"/>
                    <a:pt x="309" y="661"/>
                  </a:cubicBezTo>
                  <a:cubicBezTo>
                    <a:pt x="395" y="661"/>
                    <a:pt x="395" y="661"/>
                    <a:pt x="395" y="661"/>
                  </a:cubicBezTo>
                  <a:cubicBezTo>
                    <a:pt x="395" y="629"/>
                    <a:pt x="395" y="629"/>
                    <a:pt x="395" y="629"/>
                  </a:cubicBezTo>
                  <a:cubicBezTo>
                    <a:pt x="459" y="629"/>
                    <a:pt x="459" y="629"/>
                    <a:pt x="459" y="629"/>
                  </a:cubicBezTo>
                  <a:cubicBezTo>
                    <a:pt x="476" y="629"/>
                    <a:pt x="491" y="615"/>
                    <a:pt x="491" y="597"/>
                  </a:cubicBezTo>
                  <a:cubicBezTo>
                    <a:pt x="491" y="589"/>
                    <a:pt x="487" y="582"/>
                    <a:pt x="482" y="576"/>
                  </a:cubicBezTo>
                  <a:cubicBezTo>
                    <a:pt x="487" y="570"/>
                    <a:pt x="491" y="563"/>
                    <a:pt x="491" y="555"/>
                  </a:cubicBezTo>
                  <a:cubicBezTo>
                    <a:pt x="491" y="546"/>
                    <a:pt x="487" y="539"/>
                    <a:pt x="482" y="533"/>
                  </a:cubicBezTo>
                  <a:cubicBezTo>
                    <a:pt x="487" y="528"/>
                    <a:pt x="491" y="520"/>
                    <a:pt x="491" y="512"/>
                  </a:cubicBezTo>
                  <a:cubicBezTo>
                    <a:pt x="491" y="504"/>
                    <a:pt x="487" y="496"/>
                    <a:pt x="482" y="491"/>
                  </a:cubicBezTo>
                  <a:cubicBezTo>
                    <a:pt x="487" y="485"/>
                    <a:pt x="491" y="478"/>
                    <a:pt x="491" y="469"/>
                  </a:cubicBezTo>
                  <a:cubicBezTo>
                    <a:pt x="491" y="452"/>
                    <a:pt x="476" y="437"/>
                    <a:pt x="459" y="437"/>
                  </a:cubicBezTo>
                  <a:close/>
                  <a:moveTo>
                    <a:pt x="469" y="469"/>
                  </a:moveTo>
                  <a:cubicBezTo>
                    <a:pt x="469" y="475"/>
                    <a:pt x="465" y="480"/>
                    <a:pt x="459" y="480"/>
                  </a:cubicBezTo>
                  <a:cubicBezTo>
                    <a:pt x="384" y="480"/>
                    <a:pt x="384" y="480"/>
                    <a:pt x="384" y="480"/>
                  </a:cubicBezTo>
                  <a:cubicBezTo>
                    <a:pt x="378" y="480"/>
                    <a:pt x="373" y="475"/>
                    <a:pt x="373" y="469"/>
                  </a:cubicBezTo>
                  <a:cubicBezTo>
                    <a:pt x="373" y="463"/>
                    <a:pt x="378" y="459"/>
                    <a:pt x="384" y="459"/>
                  </a:cubicBezTo>
                  <a:cubicBezTo>
                    <a:pt x="459" y="459"/>
                    <a:pt x="459" y="459"/>
                    <a:pt x="459" y="459"/>
                  </a:cubicBezTo>
                  <a:cubicBezTo>
                    <a:pt x="465" y="459"/>
                    <a:pt x="469" y="463"/>
                    <a:pt x="469" y="469"/>
                  </a:cubicBezTo>
                  <a:close/>
                  <a:moveTo>
                    <a:pt x="469" y="512"/>
                  </a:moveTo>
                  <a:cubicBezTo>
                    <a:pt x="469" y="518"/>
                    <a:pt x="465" y="523"/>
                    <a:pt x="459" y="523"/>
                  </a:cubicBezTo>
                  <a:cubicBezTo>
                    <a:pt x="384" y="523"/>
                    <a:pt x="384" y="523"/>
                    <a:pt x="384" y="523"/>
                  </a:cubicBezTo>
                  <a:cubicBezTo>
                    <a:pt x="378" y="523"/>
                    <a:pt x="373" y="518"/>
                    <a:pt x="373" y="512"/>
                  </a:cubicBezTo>
                  <a:cubicBezTo>
                    <a:pt x="373" y="506"/>
                    <a:pt x="378" y="501"/>
                    <a:pt x="384" y="501"/>
                  </a:cubicBezTo>
                  <a:cubicBezTo>
                    <a:pt x="459" y="501"/>
                    <a:pt x="459" y="501"/>
                    <a:pt x="459" y="501"/>
                  </a:cubicBezTo>
                  <a:cubicBezTo>
                    <a:pt x="465" y="501"/>
                    <a:pt x="469" y="506"/>
                    <a:pt x="469" y="512"/>
                  </a:cubicBezTo>
                  <a:close/>
                  <a:moveTo>
                    <a:pt x="469" y="555"/>
                  </a:moveTo>
                  <a:cubicBezTo>
                    <a:pt x="469" y="561"/>
                    <a:pt x="465" y="565"/>
                    <a:pt x="459" y="565"/>
                  </a:cubicBezTo>
                  <a:cubicBezTo>
                    <a:pt x="384" y="565"/>
                    <a:pt x="384" y="565"/>
                    <a:pt x="384" y="565"/>
                  </a:cubicBezTo>
                  <a:cubicBezTo>
                    <a:pt x="378" y="565"/>
                    <a:pt x="373" y="561"/>
                    <a:pt x="373" y="555"/>
                  </a:cubicBezTo>
                  <a:cubicBezTo>
                    <a:pt x="373" y="549"/>
                    <a:pt x="378" y="544"/>
                    <a:pt x="384" y="544"/>
                  </a:cubicBezTo>
                  <a:cubicBezTo>
                    <a:pt x="459" y="544"/>
                    <a:pt x="459" y="544"/>
                    <a:pt x="459" y="544"/>
                  </a:cubicBezTo>
                  <a:cubicBezTo>
                    <a:pt x="465" y="544"/>
                    <a:pt x="469" y="549"/>
                    <a:pt x="469" y="555"/>
                  </a:cubicBezTo>
                  <a:close/>
                  <a:moveTo>
                    <a:pt x="192" y="181"/>
                  </a:moveTo>
                  <a:cubicBezTo>
                    <a:pt x="192" y="93"/>
                    <a:pt x="264" y="21"/>
                    <a:pt x="352" y="21"/>
                  </a:cubicBezTo>
                  <a:cubicBezTo>
                    <a:pt x="440" y="21"/>
                    <a:pt x="512" y="93"/>
                    <a:pt x="512" y="181"/>
                  </a:cubicBezTo>
                  <a:cubicBezTo>
                    <a:pt x="512" y="270"/>
                    <a:pt x="440" y="341"/>
                    <a:pt x="352" y="341"/>
                  </a:cubicBezTo>
                  <a:cubicBezTo>
                    <a:pt x="264" y="341"/>
                    <a:pt x="192" y="270"/>
                    <a:pt x="192" y="181"/>
                  </a:cubicBezTo>
                  <a:close/>
                  <a:moveTo>
                    <a:pt x="331" y="361"/>
                  </a:moveTo>
                  <a:cubicBezTo>
                    <a:pt x="338" y="362"/>
                    <a:pt x="345" y="363"/>
                    <a:pt x="352" y="363"/>
                  </a:cubicBezTo>
                  <a:cubicBezTo>
                    <a:pt x="359" y="363"/>
                    <a:pt x="366" y="362"/>
                    <a:pt x="373" y="361"/>
                  </a:cubicBezTo>
                  <a:cubicBezTo>
                    <a:pt x="373" y="384"/>
                    <a:pt x="373" y="384"/>
                    <a:pt x="373" y="384"/>
                  </a:cubicBezTo>
                  <a:cubicBezTo>
                    <a:pt x="331" y="384"/>
                    <a:pt x="331" y="384"/>
                    <a:pt x="331" y="384"/>
                  </a:cubicBezTo>
                  <a:lnTo>
                    <a:pt x="331" y="361"/>
                  </a:lnTo>
                  <a:close/>
                  <a:moveTo>
                    <a:pt x="277" y="608"/>
                  </a:moveTo>
                  <a:cubicBezTo>
                    <a:pt x="272" y="608"/>
                    <a:pt x="267" y="607"/>
                    <a:pt x="262" y="605"/>
                  </a:cubicBezTo>
                  <a:cubicBezTo>
                    <a:pt x="216" y="582"/>
                    <a:pt x="216" y="582"/>
                    <a:pt x="216" y="582"/>
                  </a:cubicBezTo>
                  <a:cubicBezTo>
                    <a:pt x="209" y="578"/>
                    <a:pt x="201" y="576"/>
                    <a:pt x="193" y="576"/>
                  </a:cubicBezTo>
                  <a:cubicBezTo>
                    <a:pt x="139" y="576"/>
                    <a:pt x="139" y="576"/>
                    <a:pt x="139" y="576"/>
                  </a:cubicBezTo>
                  <a:cubicBezTo>
                    <a:pt x="139" y="448"/>
                    <a:pt x="139" y="448"/>
                    <a:pt x="139" y="448"/>
                  </a:cubicBezTo>
                  <a:cubicBezTo>
                    <a:pt x="193" y="448"/>
                    <a:pt x="193" y="448"/>
                    <a:pt x="193" y="448"/>
                  </a:cubicBezTo>
                  <a:cubicBezTo>
                    <a:pt x="201" y="448"/>
                    <a:pt x="209" y="446"/>
                    <a:pt x="216" y="442"/>
                  </a:cubicBezTo>
                  <a:cubicBezTo>
                    <a:pt x="284" y="409"/>
                    <a:pt x="284" y="409"/>
                    <a:pt x="284" y="409"/>
                  </a:cubicBezTo>
                  <a:cubicBezTo>
                    <a:pt x="288" y="406"/>
                    <a:pt x="293" y="405"/>
                    <a:pt x="298" y="405"/>
                  </a:cubicBezTo>
                  <a:cubicBezTo>
                    <a:pt x="411" y="405"/>
                    <a:pt x="411" y="405"/>
                    <a:pt x="411" y="405"/>
                  </a:cubicBezTo>
                  <a:cubicBezTo>
                    <a:pt x="411" y="423"/>
                    <a:pt x="396" y="437"/>
                    <a:pt x="379" y="437"/>
                  </a:cubicBezTo>
                  <a:cubicBezTo>
                    <a:pt x="314" y="437"/>
                    <a:pt x="314" y="437"/>
                    <a:pt x="314" y="437"/>
                  </a:cubicBezTo>
                  <a:cubicBezTo>
                    <a:pt x="282" y="485"/>
                    <a:pt x="282" y="485"/>
                    <a:pt x="282" y="485"/>
                  </a:cubicBezTo>
                  <a:cubicBezTo>
                    <a:pt x="274" y="497"/>
                    <a:pt x="263" y="507"/>
                    <a:pt x="250" y="514"/>
                  </a:cubicBezTo>
                  <a:cubicBezTo>
                    <a:pt x="238" y="520"/>
                    <a:pt x="225" y="523"/>
                    <a:pt x="212" y="523"/>
                  </a:cubicBezTo>
                  <a:cubicBezTo>
                    <a:pt x="192" y="523"/>
                    <a:pt x="192" y="523"/>
                    <a:pt x="192" y="523"/>
                  </a:cubicBezTo>
                  <a:cubicBezTo>
                    <a:pt x="192" y="544"/>
                    <a:pt x="192" y="544"/>
                    <a:pt x="192" y="544"/>
                  </a:cubicBezTo>
                  <a:cubicBezTo>
                    <a:pt x="212" y="544"/>
                    <a:pt x="212" y="544"/>
                    <a:pt x="212" y="544"/>
                  </a:cubicBezTo>
                  <a:cubicBezTo>
                    <a:pt x="229" y="544"/>
                    <a:pt x="245" y="540"/>
                    <a:pt x="260" y="533"/>
                  </a:cubicBezTo>
                  <a:cubicBezTo>
                    <a:pt x="276" y="525"/>
                    <a:pt x="290" y="512"/>
                    <a:pt x="300" y="497"/>
                  </a:cubicBezTo>
                  <a:cubicBezTo>
                    <a:pt x="309" y="483"/>
                    <a:pt x="309" y="483"/>
                    <a:pt x="309" y="483"/>
                  </a:cubicBezTo>
                  <a:cubicBezTo>
                    <a:pt x="309" y="608"/>
                    <a:pt x="309" y="608"/>
                    <a:pt x="309" y="608"/>
                  </a:cubicBezTo>
                  <a:lnTo>
                    <a:pt x="277" y="608"/>
                  </a:lnTo>
                  <a:close/>
                  <a:moveTo>
                    <a:pt x="331" y="640"/>
                  </a:moveTo>
                  <a:cubicBezTo>
                    <a:pt x="331" y="459"/>
                    <a:pt x="331" y="459"/>
                    <a:pt x="331" y="459"/>
                  </a:cubicBezTo>
                  <a:cubicBezTo>
                    <a:pt x="354" y="459"/>
                    <a:pt x="354" y="459"/>
                    <a:pt x="354" y="459"/>
                  </a:cubicBezTo>
                  <a:cubicBezTo>
                    <a:pt x="353" y="462"/>
                    <a:pt x="352" y="466"/>
                    <a:pt x="352" y="469"/>
                  </a:cubicBezTo>
                  <a:cubicBezTo>
                    <a:pt x="352" y="478"/>
                    <a:pt x="355" y="485"/>
                    <a:pt x="360" y="491"/>
                  </a:cubicBezTo>
                  <a:cubicBezTo>
                    <a:pt x="355" y="496"/>
                    <a:pt x="352" y="504"/>
                    <a:pt x="352" y="512"/>
                  </a:cubicBezTo>
                  <a:cubicBezTo>
                    <a:pt x="352" y="520"/>
                    <a:pt x="355" y="528"/>
                    <a:pt x="360" y="533"/>
                  </a:cubicBezTo>
                  <a:cubicBezTo>
                    <a:pt x="355" y="539"/>
                    <a:pt x="352" y="546"/>
                    <a:pt x="352" y="555"/>
                  </a:cubicBezTo>
                  <a:cubicBezTo>
                    <a:pt x="352" y="563"/>
                    <a:pt x="355" y="570"/>
                    <a:pt x="360" y="576"/>
                  </a:cubicBezTo>
                  <a:cubicBezTo>
                    <a:pt x="355" y="582"/>
                    <a:pt x="352" y="589"/>
                    <a:pt x="352" y="597"/>
                  </a:cubicBezTo>
                  <a:cubicBezTo>
                    <a:pt x="352" y="611"/>
                    <a:pt x="361" y="623"/>
                    <a:pt x="373" y="627"/>
                  </a:cubicBezTo>
                  <a:cubicBezTo>
                    <a:pt x="373" y="640"/>
                    <a:pt x="373" y="640"/>
                    <a:pt x="373" y="640"/>
                  </a:cubicBezTo>
                  <a:lnTo>
                    <a:pt x="331" y="640"/>
                  </a:lnTo>
                  <a:close/>
                  <a:moveTo>
                    <a:pt x="459" y="608"/>
                  </a:moveTo>
                  <a:cubicBezTo>
                    <a:pt x="384" y="608"/>
                    <a:pt x="384" y="608"/>
                    <a:pt x="384" y="608"/>
                  </a:cubicBezTo>
                  <a:cubicBezTo>
                    <a:pt x="378" y="608"/>
                    <a:pt x="373" y="603"/>
                    <a:pt x="373" y="597"/>
                  </a:cubicBezTo>
                  <a:cubicBezTo>
                    <a:pt x="373" y="591"/>
                    <a:pt x="378" y="587"/>
                    <a:pt x="384" y="587"/>
                  </a:cubicBezTo>
                  <a:cubicBezTo>
                    <a:pt x="459" y="587"/>
                    <a:pt x="459" y="587"/>
                    <a:pt x="459" y="587"/>
                  </a:cubicBezTo>
                  <a:cubicBezTo>
                    <a:pt x="465" y="587"/>
                    <a:pt x="469" y="591"/>
                    <a:pt x="469" y="597"/>
                  </a:cubicBezTo>
                  <a:cubicBezTo>
                    <a:pt x="469" y="603"/>
                    <a:pt x="465" y="608"/>
                    <a:pt x="459" y="608"/>
                  </a:cubicBezTo>
                  <a:close/>
                  <a:moveTo>
                    <a:pt x="459" y="608"/>
                  </a:moveTo>
                  <a:cubicBezTo>
                    <a:pt x="459" y="608"/>
                    <a:pt x="459" y="608"/>
                    <a:pt x="459" y="608"/>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6">
              <a:extLst>
                <a:ext uri="{FF2B5EF4-FFF2-40B4-BE49-F238E27FC236}">
                  <a16:creationId xmlns:a16="http://schemas.microsoft.com/office/drawing/2014/main" id="{E00528B6-9F37-4776-BF6B-EC5B3A9DB14A}"/>
                </a:ext>
              </a:extLst>
            </p:cNvPr>
            <p:cNvSpPr>
              <a:spLocks noEditPoints="1"/>
            </p:cNvSpPr>
            <p:nvPr/>
          </p:nvSpPr>
          <p:spPr bwMode="auto">
            <a:xfrm>
              <a:off x="3651" y="4500"/>
              <a:ext cx="133" cy="182"/>
            </a:xfrm>
            <a:custGeom>
              <a:avLst/>
              <a:gdLst>
                <a:gd name="T0" fmla="*/ 11 w 60"/>
                <a:gd name="T1" fmla="*/ 0 h 84"/>
                <a:gd name="T2" fmla="*/ 0 w 60"/>
                <a:gd name="T3" fmla="*/ 19 h 84"/>
                <a:gd name="T4" fmla="*/ 39 w 60"/>
                <a:gd name="T5" fmla="*/ 84 h 84"/>
                <a:gd name="T6" fmla="*/ 60 w 60"/>
                <a:gd name="T7" fmla="*/ 84 h 84"/>
                <a:gd name="T8" fmla="*/ 11 w 60"/>
                <a:gd name="T9" fmla="*/ 0 h 84"/>
                <a:gd name="T10" fmla="*/ 11 w 60"/>
                <a:gd name="T11" fmla="*/ 0 h 84"/>
                <a:gd name="T12" fmla="*/ 11 w 60"/>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60" h="84">
                  <a:moveTo>
                    <a:pt x="11" y="0"/>
                  </a:moveTo>
                  <a:cubicBezTo>
                    <a:pt x="0" y="19"/>
                    <a:pt x="0" y="19"/>
                    <a:pt x="0" y="19"/>
                  </a:cubicBezTo>
                  <a:cubicBezTo>
                    <a:pt x="24" y="32"/>
                    <a:pt x="39" y="57"/>
                    <a:pt x="39" y="84"/>
                  </a:cubicBezTo>
                  <a:cubicBezTo>
                    <a:pt x="60" y="84"/>
                    <a:pt x="60" y="84"/>
                    <a:pt x="60" y="84"/>
                  </a:cubicBezTo>
                  <a:cubicBezTo>
                    <a:pt x="60" y="49"/>
                    <a:pt x="41" y="17"/>
                    <a:pt x="11" y="0"/>
                  </a:cubicBezTo>
                  <a:close/>
                  <a:moveTo>
                    <a:pt x="11" y="0"/>
                  </a:moveTo>
                  <a:cubicBezTo>
                    <a:pt x="11" y="0"/>
                    <a:pt x="11" y="0"/>
                    <a:pt x="11"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27">
              <a:extLst>
                <a:ext uri="{FF2B5EF4-FFF2-40B4-BE49-F238E27FC236}">
                  <a16:creationId xmlns:a16="http://schemas.microsoft.com/office/drawing/2014/main" id="{481CBBA8-07FB-4464-9263-7949B603FEE3}"/>
                </a:ext>
              </a:extLst>
            </p:cNvPr>
            <p:cNvSpPr>
              <a:spLocks noEditPoints="1"/>
            </p:cNvSpPr>
            <p:nvPr/>
          </p:nvSpPr>
          <p:spPr bwMode="auto">
            <a:xfrm>
              <a:off x="3570" y="4474"/>
              <a:ext cx="54" cy="52"/>
            </a:xfrm>
            <a:custGeom>
              <a:avLst/>
              <a:gdLst>
                <a:gd name="T0" fmla="*/ 0 w 24"/>
                <a:gd name="T1" fmla="*/ 22 h 24"/>
                <a:gd name="T2" fmla="*/ 19 w 24"/>
                <a:gd name="T3" fmla="*/ 24 h 24"/>
                <a:gd name="T4" fmla="*/ 24 w 24"/>
                <a:gd name="T5" fmla="*/ 3 h 24"/>
                <a:gd name="T6" fmla="*/ 0 w 24"/>
                <a:gd name="T7" fmla="*/ 0 h 24"/>
                <a:gd name="T8" fmla="*/ 0 w 24"/>
                <a:gd name="T9" fmla="*/ 22 h 24"/>
                <a:gd name="T10" fmla="*/ 0 w 24"/>
                <a:gd name="T11" fmla="*/ 22 h 24"/>
                <a:gd name="T12" fmla="*/ 0 w 24"/>
                <a:gd name="T13" fmla="*/ 2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0" y="22"/>
                  </a:moveTo>
                  <a:cubicBezTo>
                    <a:pt x="6" y="22"/>
                    <a:pt x="13" y="22"/>
                    <a:pt x="19" y="24"/>
                  </a:cubicBezTo>
                  <a:cubicBezTo>
                    <a:pt x="24" y="3"/>
                    <a:pt x="24" y="3"/>
                    <a:pt x="24" y="3"/>
                  </a:cubicBezTo>
                  <a:cubicBezTo>
                    <a:pt x="16" y="1"/>
                    <a:pt x="8" y="0"/>
                    <a:pt x="0" y="0"/>
                  </a:cubicBezTo>
                  <a:lnTo>
                    <a:pt x="0" y="22"/>
                  </a:lnTo>
                  <a:close/>
                  <a:moveTo>
                    <a:pt x="0" y="22"/>
                  </a:moveTo>
                  <a:cubicBezTo>
                    <a:pt x="0" y="22"/>
                    <a:pt x="0" y="22"/>
                    <a:pt x="0" y="22"/>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28">
              <a:extLst>
                <a:ext uri="{FF2B5EF4-FFF2-40B4-BE49-F238E27FC236}">
                  <a16:creationId xmlns:a16="http://schemas.microsoft.com/office/drawing/2014/main" id="{0BD648F3-AA2A-46A5-9845-FF3D9806A409}"/>
                </a:ext>
              </a:extLst>
            </p:cNvPr>
            <p:cNvSpPr>
              <a:spLocks noEditPoints="1"/>
            </p:cNvSpPr>
            <p:nvPr/>
          </p:nvSpPr>
          <p:spPr bwMode="auto">
            <a:xfrm>
              <a:off x="3370" y="4383"/>
              <a:ext cx="510" cy="493"/>
            </a:xfrm>
            <a:custGeom>
              <a:avLst/>
              <a:gdLst>
                <a:gd name="T0" fmla="*/ 90 w 229"/>
                <a:gd name="T1" fmla="*/ 21 h 228"/>
                <a:gd name="T2" fmla="*/ 207 w 229"/>
                <a:gd name="T3" fmla="*/ 138 h 228"/>
                <a:gd name="T4" fmla="*/ 180 w 229"/>
                <a:gd name="T5" fmla="*/ 214 h 228"/>
                <a:gd name="T6" fmla="*/ 196 w 229"/>
                <a:gd name="T7" fmla="*/ 228 h 228"/>
                <a:gd name="T8" fmla="*/ 229 w 229"/>
                <a:gd name="T9" fmla="*/ 138 h 228"/>
                <a:gd name="T10" fmla="*/ 90 w 229"/>
                <a:gd name="T11" fmla="*/ 0 h 228"/>
                <a:gd name="T12" fmla="*/ 0 w 229"/>
                <a:gd name="T13" fmla="*/ 33 h 228"/>
                <a:gd name="T14" fmla="*/ 14 w 229"/>
                <a:gd name="T15" fmla="*/ 49 h 228"/>
                <a:gd name="T16" fmla="*/ 90 w 229"/>
                <a:gd name="T17" fmla="*/ 21 h 228"/>
                <a:gd name="T18" fmla="*/ 90 w 229"/>
                <a:gd name="T19" fmla="*/ 21 h 228"/>
                <a:gd name="T20" fmla="*/ 90 w 229"/>
                <a:gd name="T21" fmla="*/ 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28">
                  <a:moveTo>
                    <a:pt x="90" y="21"/>
                  </a:moveTo>
                  <a:cubicBezTo>
                    <a:pt x="155" y="21"/>
                    <a:pt x="207" y="74"/>
                    <a:pt x="207" y="138"/>
                  </a:cubicBezTo>
                  <a:cubicBezTo>
                    <a:pt x="207" y="166"/>
                    <a:pt x="197" y="193"/>
                    <a:pt x="180" y="214"/>
                  </a:cubicBezTo>
                  <a:cubicBezTo>
                    <a:pt x="196" y="228"/>
                    <a:pt x="196" y="228"/>
                    <a:pt x="196" y="228"/>
                  </a:cubicBezTo>
                  <a:cubicBezTo>
                    <a:pt x="217" y="203"/>
                    <a:pt x="229" y="171"/>
                    <a:pt x="229" y="138"/>
                  </a:cubicBezTo>
                  <a:cubicBezTo>
                    <a:pt x="229" y="62"/>
                    <a:pt x="166" y="0"/>
                    <a:pt x="90" y="0"/>
                  </a:cubicBezTo>
                  <a:cubicBezTo>
                    <a:pt x="57" y="0"/>
                    <a:pt x="26" y="11"/>
                    <a:pt x="0" y="33"/>
                  </a:cubicBezTo>
                  <a:cubicBezTo>
                    <a:pt x="14" y="49"/>
                    <a:pt x="14" y="49"/>
                    <a:pt x="14" y="49"/>
                  </a:cubicBezTo>
                  <a:cubicBezTo>
                    <a:pt x="35" y="31"/>
                    <a:pt x="62" y="21"/>
                    <a:pt x="90" y="21"/>
                  </a:cubicBezTo>
                  <a:close/>
                  <a:moveTo>
                    <a:pt x="90" y="21"/>
                  </a:moveTo>
                  <a:cubicBezTo>
                    <a:pt x="90" y="21"/>
                    <a:pt x="90" y="21"/>
                    <a:pt x="90" y="21"/>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29">
              <a:extLst>
                <a:ext uri="{FF2B5EF4-FFF2-40B4-BE49-F238E27FC236}">
                  <a16:creationId xmlns:a16="http://schemas.microsoft.com/office/drawing/2014/main" id="{DAC15AC0-43B1-4700-B07A-2CED27EBC9E7}"/>
                </a:ext>
              </a:extLst>
            </p:cNvPr>
            <p:cNvSpPr>
              <a:spLocks noEditPoints="1"/>
            </p:cNvSpPr>
            <p:nvPr/>
          </p:nvSpPr>
          <p:spPr bwMode="auto">
            <a:xfrm>
              <a:off x="3260" y="4489"/>
              <a:ext cx="511" cy="493"/>
            </a:xfrm>
            <a:custGeom>
              <a:avLst/>
              <a:gdLst>
                <a:gd name="T0" fmla="*/ 229 w 229"/>
                <a:gd name="T1" fmla="*/ 195 h 228"/>
                <a:gd name="T2" fmla="*/ 215 w 229"/>
                <a:gd name="T3" fmla="*/ 179 h 228"/>
                <a:gd name="T4" fmla="*/ 139 w 229"/>
                <a:gd name="T5" fmla="*/ 207 h 228"/>
                <a:gd name="T6" fmla="*/ 22 w 229"/>
                <a:gd name="T7" fmla="*/ 89 h 228"/>
                <a:gd name="T8" fmla="*/ 49 w 229"/>
                <a:gd name="T9" fmla="*/ 14 h 228"/>
                <a:gd name="T10" fmla="*/ 33 w 229"/>
                <a:gd name="T11" fmla="*/ 0 h 228"/>
                <a:gd name="T12" fmla="*/ 0 w 229"/>
                <a:gd name="T13" fmla="*/ 89 h 228"/>
                <a:gd name="T14" fmla="*/ 139 w 229"/>
                <a:gd name="T15" fmla="*/ 228 h 228"/>
                <a:gd name="T16" fmla="*/ 229 w 229"/>
                <a:gd name="T17" fmla="*/ 195 h 228"/>
                <a:gd name="T18" fmla="*/ 229 w 229"/>
                <a:gd name="T19" fmla="*/ 195 h 228"/>
                <a:gd name="T20" fmla="*/ 229 w 229"/>
                <a:gd name="T21" fmla="*/ 19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28">
                  <a:moveTo>
                    <a:pt x="229" y="195"/>
                  </a:moveTo>
                  <a:cubicBezTo>
                    <a:pt x="215" y="179"/>
                    <a:pt x="215" y="179"/>
                    <a:pt x="215" y="179"/>
                  </a:cubicBezTo>
                  <a:cubicBezTo>
                    <a:pt x="194" y="197"/>
                    <a:pt x="167" y="207"/>
                    <a:pt x="139" y="207"/>
                  </a:cubicBezTo>
                  <a:cubicBezTo>
                    <a:pt x="74" y="207"/>
                    <a:pt x="22" y="154"/>
                    <a:pt x="22" y="89"/>
                  </a:cubicBezTo>
                  <a:cubicBezTo>
                    <a:pt x="22" y="62"/>
                    <a:pt x="32" y="35"/>
                    <a:pt x="49" y="14"/>
                  </a:cubicBezTo>
                  <a:cubicBezTo>
                    <a:pt x="33" y="0"/>
                    <a:pt x="33" y="0"/>
                    <a:pt x="33" y="0"/>
                  </a:cubicBezTo>
                  <a:cubicBezTo>
                    <a:pt x="12" y="25"/>
                    <a:pt x="0" y="57"/>
                    <a:pt x="0" y="89"/>
                  </a:cubicBezTo>
                  <a:cubicBezTo>
                    <a:pt x="0" y="166"/>
                    <a:pt x="63" y="228"/>
                    <a:pt x="139" y="228"/>
                  </a:cubicBezTo>
                  <a:cubicBezTo>
                    <a:pt x="172" y="228"/>
                    <a:pt x="203" y="216"/>
                    <a:pt x="229" y="195"/>
                  </a:cubicBezTo>
                  <a:close/>
                  <a:moveTo>
                    <a:pt x="229" y="195"/>
                  </a:moveTo>
                  <a:cubicBezTo>
                    <a:pt x="229" y="195"/>
                    <a:pt x="229" y="195"/>
                    <a:pt x="229" y="195"/>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0">
              <a:extLst>
                <a:ext uri="{FF2B5EF4-FFF2-40B4-BE49-F238E27FC236}">
                  <a16:creationId xmlns:a16="http://schemas.microsoft.com/office/drawing/2014/main" id="{8273DD90-D6E1-41CC-B929-709B9035F887}"/>
                </a:ext>
              </a:extLst>
            </p:cNvPr>
            <p:cNvSpPr>
              <a:spLocks noEditPoints="1"/>
            </p:cNvSpPr>
            <p:nvPr/>
          </p:nvSpPr>
          <p:spPr bwMode="auto">
            <a:xfrm>
              <a:off x="2596" y="4383"/>
              <a:ext cx="428" cy="415"/>
            </a:xfrm>
            <a:custGeom>
              <a:avLst/>
              <a:gdLst>
                <a:gd name="T0" fmla="*/ 138 w 192"/>
                <a:gd name="T1" fmla="*/ 170 h 192"/>
                <a:gd name="T2" fmla="*/ 177 w 192"/>
                <a:gd name="T3" fmla="*/ 151 h 192"/>
                <a:gd name="T4" fmla="*/ 178 w 192"/>
                <a:gd name="T5" fmla="*/ 119 h 192"/>
                <a:gd name="T6" fmla="*/ 192 w 192"/>
                <a:gd name="T7" fmla="*/ 77 h 192"/>
                <a:gd name="T8" fmla="*/ 170 w 192"/>
                <a:gd name="T9" fmla="*/ 54 h 192"/>
                <a:gd name="T10" fmla="*/ 151 w 192"/>
                <a:gd name="T11" fmla="*/ 15 h 192"/>
                <a:gd name="T12" fmla="*/ 119 w 192"/>
                <a:gd name="T13" fmla="*/ 13 h 192"/>
                <a:gd name="T14" fmla="*/ 77 w 192"/>
                <a:gd name="T15" fmla="*/ 0 h 192"/>
                <a:gd name="T16" fmla="*/ 54 w 192"/>
                <a:gd name="T17" fmla="*/ 21 h 192"/>
                <a:gd name="T18" fmla="*/ 15 w 192"/>
                <a:gd name="T19" fmla="*/ 41 h 192"/>
                <a:gd name="T20" fmla="*/ 13 w 192"/>
                <a:gd name="T21" fmla="*/ 73 h 192"/>
                <a:gd name="T22" fmla="*/ 0 w 192"/>
                <a:gd name="T23" fmla="*/ 114 h 192"/>
                <a:gd name="T24" fmla="*/ 21 w 192"/>
                <a:gd name="T25" fmla="*/ 138 h 192"/>
                <a:gd name="T26" fmla="*/ 41 w 192"/>
                <a:gd name="T27" fmla="*/ 177 h 192"/>
                <a:gd name="T28" fmla="*/ 73 w 192"/>
                <a:gd name="T29" fmla="*/ 178 h 192"/>
                <a:gd name="T30" fmla="*/ 114 w 192"/>
                <a:gd name="T31" fmla="*/ 192 h 192"/>
                <a:gd name="T32" fmla="*/ 102 w 192"/>
                <a:gd name="T33" fmla="*/ 160 h 192"/>
                <a:gd name="T34" fmla="*/ 93 w 192"/>
                <a:gd name="T35" fmla="*/ 170 h 192"/>
                <a:gd name="T36" fmla="*/ 83 w 192"/>
                <a:gd name="T37" fmla="*/ 158 h 192"/>
                <a:gd name="T38" fmla="*/ 55 w 192"/>
                <a:gd name="T39" fmla="*/ 146 h 192"/>
                <a:gd name="T40" fmla="*/ 41 w 192"/>
                <a:gd name="T41" fmla="*/ 146 h 192"/>
                <a:gd name="T42" fmla="*/ 42 w 192"/>
                <a:gd name="T43" fmla="*/ 131 h 192"/>
                <a:gd name="T44" fmla="*/ 32 w 192"/>
                <a:gd name="T45" fmla="*/ 102 h 192"/>
                <a:gd name="T46" fmla="*/ 21 w 192"/>
                <a:gd name="T47" fmla="*/ 93 h 192"/>
                <a:gd name="T48" fmla="*/ 33 w 192"/>
                <a:gd name="T49" fmla="*/ 83 h 192"/>
                <a:gd name="T50" fmla="*/ 46 w 192"/>
                <a:gd name="T51" fmla="*/ 55 h 192"/>
                <a:gd name="T52" fmla="*/ 45 w 192"/>
                <a:gd name="T53" fmla="*/ 41 h 192"/>
                <a:gd name="T54" fmla="*/ 60 w 192"/>
                <a:gd name="T55" fmla="*/ 42 h 192"/>
                <a:gd name="T56" fmla="*/ 89 w 192"/>
                <a:gd name="T57" fmla="*/ 32 h 192"/>
                <a:gd name="T58" fmla="*/ 99 w 192"/>
                <a:gd name="T59" fmla="*/ 21 h 192"/>
                <a:gd name="T60" fmla="*/ 108 w 192"/>
                <a:gd name="T61" fmla="*/ 33 h 192"/>
                <a:gd name="T62" fmla="*/ 136 w 192"/>
                <a:gd name="T63" fmla="*/ 46 h 192"/>
                <a:gd name="T64" fmla="*/ 151 w 192"/>
                <a:gd name="T65" fmla="*/ 45 h 192"/>
                <a:gd name="T66" fmla="*/ 149 w 192"/>
                <a:gd name="T67" fmla="*/ 60 h 192"/>
                <a:gd name="T68" fmla="*/ 160 w 192"/>
                <a:gd name="T69" fmla="*/ 89 h 192"/>
                <a:gd name="T70" fmla="*/ 170 w 192"/>
                <a:gd name="T71" fmla="*/ 99 h 192"/>
                <a:gd name="T72" fmla="*/ 158 w 192"/>
                <a:gd name="T73" fmla="*/ 108 h 192"/>
                <a:gd name="T74" fmla="*/ 146 w 192"/>
                <a:gd name="T75" fmla="*/ 136 h 192"/>
                <a:gd name="T76" fmla="*/ 146 w 192"/>
                <a:gd name="T77" fmla="*/ 151 h 192"/>
                <a:gd name="T78" fmla="*/ 131 w 192"/>
                <a:gd name="T79" fmla="*/ 149 h 192"/>
                <a:gd name="T80" fmla="*/ 102 w 192"/>
                <a:gd name="T81" fmla="*/ 160 h 192"/>
                <a:gd name="T82" fmla="*/ 102 w 192"/>
                <a:gd name="T83" fmla="*/ 16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192">
                  <a:moveTo>
                    <a:pt x="119" y="178"/>
                  </a:moveTo>
                  <a:cubicBezTo>
                    <a:pt x="125" y="176"/>
                    <a:pt x="132" y="173"/>
                    <a:pt x="138" y="170"/>
                  </a:cubicBezTo>
                  <a:cubicBezTo>
                    <a:pt x="151" y="177"/>
                    <a:pt x="151" y="177"/>
                    <a:pt x="151" y="177"/>
                  </a:cubicBezTo>
                  <a:cubicBezTo>
                    <a:pt x="177" y="151"/>
                    <a:pt x="177" y="151"/>
                    <a:pt x="177" y="151"/>
                  </a:cubicBezTo>
                  <a:cubicBezTo>
                    <a:pt x="170" y="138"/>
                    <a:pt x="170" y="138"/>
                    <a:pt x="170" y="138"/>
                  </a:cubicBezTo>
                  <a:cubicBezTo>
                    <a:pt x="173" y="132"/>
                    <a:pt x="176" y="125"/>
                    <a:pt x="178" y="119"/>
                  </a:cubicBezTo>
                  <a:cubicBezTo>
                    <a:pt x="192" y="114"/>
                    <a:pt x="192" y="114"/>
                    <a:pt x="192" y="114"/>
                  </a:cubicBezTo>
                  <a:cubicBezTo>
                    <a:pt x="192" y="77"/>
                    <a:pt x="192" y="77"/>
                    <a:pt x="192" y="77"/>
                  </a:cubicBezTo>
                  <a:cubicBezTo>
                    <a:pt x="178" y="73"/>
                    <a:pt x="178" y="73"/>
                    <a:pt x="178" y="73"/>
                  </a:cubicBezTo>
                  <a:cubicBezTo>
                    <a:pt x="176" y="66"/>
                    <a:pt x="173" y="60"/>
                    <a:pt x="170" y="54"/>
                  </a:cubicBezTo>
                  <a:cubicBezTo>
                    <a:pt x="177" y="41"/>
                    <a:pt x="177" y="41"/>
                    <a:pt x="177" y="41"/>
                  </a:cubicBezTo>
                  <a:cubicBezTo>
                    <a:pt x="151" y="15"/>
                    <a:pt x="151" y="15"/>
                    <a:pt x="151" y="15"/>
                  </a:cubicBezTo>
                  <a:cubicBezTo>
                    <a:pt x="138" y="21"/>
                    <a:pt x="138" y="21"/>
                    <a:pt x="138" y="21"/>
                  </a:cubicBezTo>
                  <a:cubicBezTo>
                    <a:pt x="132" y="18"/>
                    <a:pt x="125" y="15"/>
                    <a:pt x="119" y="13"/>
                  </a:cubicBezTo>
                  <a:cubicBezTo>
                    <a:pt x="114" y="0"/>
                    <a:pt x="114" y="0"/>
                    <a:pt x="114" y="0"/>
                  </a:cubicBezTo>
                  <a:cubicBezTo>
                    <a:pt x="77" y="0"/>
                    <a:pt x="77" y="0"/>
                    <a:pt x="77" y="0"/>
                  </a:cubicBezTo>
                  <a:cubicBezTo>
                    <a:pt x="73" y="13"/>
                    <a:pt x="73" y="13"/>
                    <a:pt x="73" y="13"/>
                  </a:cubicBezTo>
                  <a:cubicBezTo>
                    <a:pt x="66" y="15"/>
                    <a:pt x="60" y="18"/>
                    <a:pt x="54" y="21"/>
                  </a:cubicBezTo>
                  <a:cubicBezTo>
                    <a:pt x="41" y="15"/>
                    <a:pt x="41" y="15"/>
                    <a:pt x="41" y="15"/>
                  </a:cubicBezTo>
                  <a:cubicBezTo>
                    <a:pt x="15" y="41"/>
                    <a:pt x="15" y="41"/>
                    <a:pt x="15" y="41"/>
                  </a:cubicBezTo>
                  <a:cubicBezTo>
                    <a:pt x="21" y="54"/>
                    <a:pt x="21" y="54"/>
                    <a:pt x="21" y="54"/>
                  </a:cubicBezTo>
                  <a:cubicBezTo>
                    <a:pt x="18" y="60"/>
                    <a:pt x="15" y="66"/>
                    <a:pt x="13" y="73"/>
                  </a:cubicBezTo>
                  <a:cubicBezTo>
                    <a:pt x="0" y="77"/>
                    <a:pt x="0" y="77"/>
                    <a:pt x="0" y="77"/>
                  </a:cubicBezTo>
                  <a:cubicBezTo>
                    <a:pt x="0" y="114"/>
                    <a:pt x="0" y="114"/>
                    <a:pt x="0" y="114"/>
                  </a:cubicBezTo>
                  <a:cubicBezTo>
                    <a:pt x="13" y="119"/>
                    <a:pt x="13" y="119"/>
                    <a:pt x="13" y="119"/>
                  </a:cubicBezTo>
                  <a:cubicBezTo>
                    <a:pt x="15" y="125"/>
                    <a:pt x="18" y="132"/>
                    <a:pt x="21" y="138"/>
                  </a:cubicBezTo>
                  <a:cubicBezTo>
                    <a:pt x="15" y="151"/>
                    <a:pt x="15" y="151"/>
                    <a:pt x="15" y="151"/>
                  </a:cubicBezTo>
                  <a:cubicBezTo>
                    <a:pt x="41" y="177"/>
                    <a:pt x="41" y="177"/>
                    <a:pt x="41" y="177"/>
                  </a:cubicBezTo>
                  <a:cubicBezTo>
                    <a:pt x="54" y="170"/>
                    <a:pt x="54" y="170"/>
                    <a:pt x="54" y="170"/>
                  </a:cubicBezTo>
                  <a:cubicBezTo>
                    <a:pt x="60" y="173"/>
                    <a:pt x="66" y="176"/>
                    <a:pt x="73" y="178"/>
                  </a:cubicBezTo>
                  <a:cubicBezTo>
                    <a:pt x="77" y="192"/>
                    <a:pt x="77" y="192"/>
                    <a:pt x="77" y="192"/>
                  </a:cubicBezTo>
                  <a:cubicBezTo>
                    <a:pt x="114" y="192"/>
                    <a:pt x="114" y="192"/>
                    <a:pt x="114" y="192"/>
                  </a:cubicBezTo>
                  <a:lnTo>
                    <a:pt x="119" y="178"/>
                  </a:lnTo>
                  <a:close/>
                  <a:moveTo>
                    <a:pt x="102" y="160"/>
                  </a:moveTo>
                  <a:cubicBezTo>
                    <a:pt x="99" y="170"/>
                    <a:pt x="99" y="170"/>
                    <a:pt x="99" y="170"/>
                  </a:cubicBezTo>
                  <a:cubicBezTo>
                    <a:pt x="93" y="170"/>
                    <a:pt x="93" y="170"/>
                    <a:pt x="93" y="170"/>
                  </a:cubicBezTo>
                  <a:cubicBezTo>
                    <a:pt x="89" y="160"/>
                    <a:pt x="89" y="160"/>
                    <a:pt x="89" y="160"/>
                  </a:cubicBezTo>
                  <a:cubicBezTo>
                    <a:pt x="83" y="158"/>
                    <a:pt x="83" y="158"/>
                    <a:pt x="83" y="158"/>
                  </a:cubicBezTo>
                  <a:cubicBezTo>
                    <a:pt x="75" y="157"/>
                    <a:pt x="67" y="154"/>
                    <a:pt x="60" y="149"/>
                  </a:cubicBezTo>
                  <a:cubicBezTo>
                    <a:pt x="55" y="146"/>
                    <a:pt x="55" y="146"/>
                    <a:pt x="55" y="146"/>
                  </a:cubicBezTo>
                  <a:cubicBezTo>
                    <a:pt x="45" y="151"/>
                    <a:pt x="45" y="151"/>
                    <a:pt x="45" y="151"/>
                  </a:cubicBezTo>
                  <a:cubicBezTo>
                    <a:pt x="41" y="146"/>
                    <a:pt x="41" y="146"/>
                    <a:pt x="41" y="146"/>
                  </a:cubicBezTo>
                  <a:cubicBezTo>
                    <a:pt x="46" y="136"/>
                    <a:pt x="46" y="136"/>
                    <a:pt x="46" y="136"/>
                  </a:cubicBezTo>
                  <a:cubicBezTo>
                    <a:pt x="42" y="131"/>
                    <a:pt x="42" y="131"/>
                    <a:pt x="42" y="131"/>
                  </a:cubicBezTo>
                  <a:cubicBezTo>
                    <a:pt x="38" y="124"/>
                    <a:pt x="35" y="116"/>
                    <a:pt x="33" y="108"/>
                  </a:cubicBezTo>
                  <a:cubicBezTo>
                    <a:pt x="32" y="102"/>
                    <a:pt x="32" y="102"/>
                    <a:pt x="32" y="102"/>
                  </a:cubicBezTo>
                  <a:cubicBezTo>
                    <a:pt x="21" y="99"/>
                    <a:pt x="21" y="99"/>
                    <a:pt x="21" y="99"/>
                  </a:cubicBezTo>
                  <a:cubicBezTo>
                    <a:pt x="21" y="93"/>
                    <a:pt x="21" y="93"/>
                    <a:pt x="21" y="93"/>
                  </a:cubicBezTo>
                  <a:cubicBezTo>
                    <a:pt x="32" y="89"/>
                    <a:pt x="32" y="89"/>
                    <a:pt x="32" y="89"/>
                  </a:cubicBezTo>
                  <a:cubicBezTo>
                    <a:pt x="33" y="83"/>
                    <a:pt x="33" y="83"/>
                    <a:pt x="33" y="83"/>
                  </a:cubicBezTo>
                  <a:cubicBezTo>
                    <a:pt x="35" y="75"/>
                    <a:pt x="38" y="67"/>
                    <a:pt x="42" y="60"/>
                  </a:cubicBezTo>
                  <a:cubicBezTo>
                    <a:pt x="46" y="55"/>
                    <a:pt x="46" y="55"/>
                    <a:pt x="46" y="55"/>
                  </a:cubicBezTo>
                  <a:cubicBezTo>
                    <a:pt x="41" y="45"/>
                    <a:pt x="41" y="45"/>
                    <a:pt x="41" y="45"/>
                  </a:cubicBezTo>
                  <a:cubicBezTo>
                    <a:pt x="45" y="41"/>
                    <a:pt x="45" y="41"/>
                    <a:pt x="45" y="41"/>
                  </a:cubicBezTo>
                  <a:cubicBezTo>
                    <a:pt x="55" y="46"/>
                    <a:pt x="55" y="46"/>
                    <a:pt x="55" y="46"/>
                  </a:cubicBezTo>
                  <a:cubicBezTo>
                    <a:pt x="60" y="42"/>
                    <a:pt x="60" y="42"/>
                    <a:pt x="60" y="42"/>
                  </a:cubicBezTo>
                  <a:cubicBezTo>
                    <a:pt x="67" y="38"/>
                    <a:pt x="75" y="35"/>
                    <a:pt x="83" y="33"/>
                  </a:cubicBezTo>
                  <a:cubicBezTo>
                    <a:pt x="89" y="32"/>
                    <a:pt x="89" y="32"/>
                    <a:pt x="89" y="32"/>
                  </a:cubicBezTo>
                  <a:cubicBezTo>
                    <a:pt x="93" y="21"/>
                    <a:pt x="93" y="21"/>
                    <a:pt x="93" y="21"/>
                  </a:cubicBezTo>
                  <a:cubicBezTo>
                    <a:pt x="99" y="21"/>
                    <a:pt x="99" y="21"/>
                    <a:pt x="99" y="21"/>
                  </a:cubicBezTo>
                  <a:cubicBezTo>
                    <a:pt x="102" y="32"/>
                    <a:pt x="102" y="32"/>
                    <a:pt x="102" y="32"/>
                  </a:cubicBezTo>
                  <a:cubicBezTo>
                    <a:pt x="108" y="33"/>
                    <a:pt x="108" y="33"/>
                    <a:pt x="108" y="33"/>
                  </a:cubicBezTo>
                  <a:cubicBezTo>
                    <a:pt x="116" y="35"/>
                    <a:pt x="124" y="38"/>
                    <a:pt x="131" y="42"/>
                  </a:cubicBezTo>
                  <a:cubicBezTo>
                    <a:pt x="136" y="46"/>
                    <a:pt x="136" y="46"/>
                    <a:pt x="136" y="46"/>
                  </a:cubicBezTo>
                  <a:cubicBezTo>
                    <a:pt x="146" y="41"/>
                    <a:pt x="146" y="41"/>
                    <a:pt x="146" y="41"/>
                  </a:cubicBezTo>
                  <a:cubicBezTo>
                    <a:pt x="151" y="45"/>
                    <a:pt x="151" y="45"/>
                    <a:pt x="151" y="45"/>
                  </a:cubicBezTo>
                  <a:cubicBezTo>
                    <a:pt x="146" y="55"/>
                    <a:pt x="146" y="55"/>
                    <a:pt x="146" y="55"/>
                  </a:cubicBezTo>
                  <a:cubicBezTo>
                    <a:pt x="149" y="60"/>
                    <a:pt x="149" y="60"/>
                    <a:pt x="149" y="60"/>
                  </a:cubicBezTo>
                  <a:cubicBezTo>
                    <a:pt x="154" y="67"/>
                    <a:pt x="157" y="75"/>
                    <a:pt x="158" y="83"/>
                  </a:cubicBezTo>
                  <a:cubicBezTo>
                    <a:pt x="160" y="89"/>
                    <a:pt x="160" y="89"/>
                    <a:pt x="160" y="89"/>
                  </a:cubicBezTo>
                  <a:cubicBezTo>
                    <a:pt x="170" y="93"/>
                    <a:pt x="170" y="93"/>
                    <a:pt x="170" y="93"/>
                  </a:cubicBezTo>
                  <a:cubicBezTo>
                    <a:pt x="170" y="99"/>
                    <a:pt x="170" y="99"/>
                    <a:pt x="170" y="99"/>
                  </a:cubicBezTo>
                  <a:cubicBezTo>
                    <a:pt x="160" y="102"/>
                    <a:pt x="160" y="102"/>
                    <a:pt x="160" y="102"/>
                  </a:cubicBezTo>
                  <a:cubicBezTo>
                    <a:pt x="158" y="108"/>
                    <a:pt x="158" y="108"/>
                    <a:pt x="158" y="108"/>
                  </a:cubicBezTo>
                  <a:cubicBezTo>
                    <a:pt x="157" y="116"/>
                    <a:pt x="154" y="124"/>
                    <a:pt x="149" y="131"/>
                  </a:cubicBezTo>
                  <a:cubicBezTo>
                    <a:pt x="146" y="136"/>
                    <a:pt x="146" y="136"/>
                    <a:pt x="146" y="136"/>
                  </a:cubicBezTo>
                  <a:cubicBezTo>
                    <a:pt x="151" y="146"/>
                    <a:pt x="151" y="146"/>
                    <a:pt x="151" y="146"/>
                  </a:cubicBezTo>
                  <a:cubicBezTo>
                    <a:pt x="146" y="151"/>
                    <a:pt x="146" y="151"/>
                    <a:pt x="146" y="151"/>
                  </a:cubicBezTo>
                  <a:cubicBezTo>
                    <a:pt x="136" y="146"/>
                    <a:pt x="136" y="146"/>
                    <a:pt x="136" y="146"/>
                  </a:cubicBezTo>
                  <a:cubicBezTo>
                    <a:pt x="131" y="149"/>
                    <a:pt x="131" y="149"/>
                    <a:pt x="131" y="149"/>
                  </a:cubicBezTo>
                  <a:cubicBezTo>
                    <a:pt x="124" y="154"/>
                    <a:pt x="116" y="157"/>
                    <a:pt x="108" y="158"/>
                  </a:cubicBezTo>
                  <a:lnTo>
                    <a:pt x="102" y="160"/>
                  </a:lnTo>
                  <a:close/>
                  <a:moveTo>
                    <a:pt x="102" y="160"/>
                  </a:moveTo>
                  <a:cubicBezTo>
                    <a:pt x="102" y="160"/>
                    <a:pt x="102" y="160"/>
                    <a:pt x="102" y="16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1">
              <a:extLst>
                <a:ext uri="{FF2B5EF4-FFF2-40B4-BE49-F238E27FC236}">
                  <a16:creationId xmlns:a16="http://schemas.microsoft.com/office/drawing/2014/main" id="{C9D71B44-732A-4B58-A209-27D49016F9A0}"/>
                </a:ext>
              </a:extLst>
            </p:cNvPr>
            <p:cNvSpPr>
              <a:spLocks noEditPoints="1"/>
            </p:cNvSpPr>
            <p:nvPr/>
          </p:nvSpPr>
          <p:spPr bwMode="auto">
            <a:xfrm>
              <a:off x="2714" y="4498"/>
              <a:ext cx="190" cy="184"/>
            </a:xfrm>
            <a:custGeom>
              <a:avLst/>
              <a:gdLst>
                <a:gd name="T0" fmla="*/ 43 w 85"/>
                <a:gd name="T1" fmla="*/ 0 h 85"/>
                <a:gd name="T2" fmla="*/ 0 w 85"/>
                <a:gd name="T3" fmla="*/ 43 h 85"/>
                <a:gd name="T4" fmla="*/ 43 w 85"/>
                <a:gd name="T5" fmla="*/ 85 h 85"/>
                <a:gd name="T6" fmla="*/ 85 w 85"/>
                <a:gd name="T7" fmla="*/ 43 h 85"/>
                <a:gd name="T8" fmla="*/ 43 w 85"/>
                <a:gd name="T9" fmla="*/ 0 h 85"/>
                <a:gd name="T10" fmla="*/ 43 w 85"/>
                <a:gd name="T11" fmla="*/ 64 h 85"/>
                <a:gd name="T12" fmla="*/ 21 w 85"/>
                <a:gd name="T13" fmla="*/ 43 h 85"/>
                <a:gd name="T14" fmla="*/ 43 w 85"/>
                <a:gd name="T15" fmla="*/ 21 h 85"/>
                <a:gd name="T16" fmla="*/ 64 w 85"/>
                <a:gd name="T17" fmla="*/ 43 h 85"/>
                <a:gd name="T18" fmla="*/ 43 w 85"/>
                <a:gd name="T19" fmla="*/ 64 h 85"/>
                <a:gd name="T20" fmla="*/ 43 w 85"/>
                <a:gd name="T21" fmla="*/ 64 h 85"/>
                <a:gd name="T22" fmla="*/ 43 w 85"/>
                <a:gd name="T23" fmla="*/ 6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3" y="0"/>
                  </a:moveTo>
                  <a:cubicBezTo>
                    <a:pt x="19" y="0"/>
                    <a:pt x="0" y="19"/>
                    <a:pt x="0" y="43"/>
                  </a:cubicBezTo>
                  <a:cubicBezTo>
                    <a:pt x="0" y="66"/>
                    <a:pt x="19" y="85"/>
                    <a:pt x="43" y="85"/>
                  </a:cubicBezTo>
                  <a:cubicBezTo>
                    <a:pt x="66" y="85"/>
                    <a:pt x="85" y="66"/>
                    <a:pt x="85" y="43"/>
                  </a:cubicBezTo>
                  <a:cubicBezTo>
                    <a:pt x="85" y="19"/>
                    <a:pt x="66" y="0"/>
                    <a:pt x="43" y="0"/>
                  </a:cubicBezTo>
                  <a:close/>
                  <a:moveTo>
                    <a:pt x="43" y="64"/>
                  </a:moveTo>
                  <a:cubicBezTo>
                    <a:pt x="31" y="64"/>
                    <a:pt x="21" y="54"/>
                    <a:pt x="21" y="43"/>
                  </a:cubicBezTo>
                  <a:cubicBezTo>
                    <a:pt x="21" y="31"/>
                    <a:pt x="31" y="21"/>
                    <a:pt x="43" y="21"/>
                  </a:cubicBezTo>
                  <a:cubicBezTo>
                    <a:pt x="54" y="21"/>
                    <a:pt x="64" y="31"/>
                    <a:pt x="64" y="43"/>
                  </a:cubicBezTo>
                  <a:cubicBezTo>
                    <a:pt x="64" y="54"/>
                    <a:pt x="54" y="64"/>
                    <a:pt x="43" y="64"/>
                  </a:cubicBezTo>
                  <a:close/>
                  <a:moveTo>
                    <a:pt x="43" y="64"/>
                  </a:moveTo>
                  <a:cubicBezTo>
                    <a:pt x="43" y="64"/>
                    <a:pt x="43" y="64"/>
                    <a:pt x="43" y="64"/>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2">
              <a:extLst>
                <a:ext uri="{FF2B5EF4-FFF2-40B4-BE49-F238E27FC236}">
                  <a16:creationId xmlns:a16="http://schemas.microsoft.com/office/drawing/2014/main" id="{ADCAD21C-5833-4AEB-8DC0-D20AF4CE4FB3}"/>
                </a:ext>
              </a:extLst>
            </p:cNvPr>
            <p:cNvSpPr>
              <a:spLocks noEditPoints="1"/>
            </p:cNvSpPr>
            <p:nvPr/>
          </p:nvSpPr>
          <p:spPr bwMode="auto">
            <a:xfrm>
              <a:off x="2500" y="4290"/>
              <a:ext cx="618" cy="716"/>
            </a:xfrm>
            <a:custGeom>
              <a:avLst/>
              <a:gdLst>
                <a:gd name="T0" fmla="*/ 475 w 618"/>
                <a:gd name="T1" fmla="*/ 716 h 716"/>
                <a:gd name="T2" fmla="*/ 475 w 618"/>
                <a:gd name="T3" fmla="*/ 599 h 716"/>
                <a:gd name="T4" fmla="*/ 618 w 618"/>
                <a:gd name="T5" fmla="*/ 599 h 716"/>
                <a:gd name="T6" fmla="*/ 618 w 618"/>
                <a:gd name="T7" fmla="*/ 0 h 716"/>
                <a:gd name="T8" fmla="*/ 0 w 618"/>
                <a:gd name="T9" fmla="*/ 0 h 716"/>
                <a:gd name="T10" fmla="*/ 0 w 618"/>
                <a:gd name="T11" fmla="*/ 599 h 716"/>
                <a:gd name="T12" fmla="*/ 317 w 618"/>
                <a:gd name="T13" fmla="*/ 599 h 716"/>
                <a:gd name="T14" fmla="*/ 475 w 618"/>
                <a:gd name="T15" fmla="*/ 716 h 716"/>
                <a:gd name="T16" fmla="*/ 47 w 618"/>
                <a:gd name="T17" fmla="*/ 46 h 716"/>
                <a:gd name="T18" fmla="*/ 571 w 618"/>
                <a:gd name="T19" fmla="*/ 46 h 716"/>
                <a:gd name="T20" fmla="*/ 571 w 618"/>
                <a:gd name="T21" fmla="*/ 554 h 716"/>
                <a:gd name="T22" fmla="*/ 428 w 618"/>
                <a:gd name="T23" fmla="*/ 554 h 716"/>
                <a:gd name="T24" fmla="*/ 428 w 618"/>
                <a:gd name="T25" fmla="*/ 623 h 716"/>
                <a:gd name="T26" fmla="*/ 332 w 618"/>
                <a:gd name="T27" fmla="*/ 554 h 716"/>
                <a:gd name="T28" fmla="*/ 47 w 618"/>
                <a:gd name="T29" fmla="*/ 554 h 716"/>
                <a:gd name="T30" fmla="*/ 47 w 618"/>
                <a:gd name="T31" fmla="*/ 46 h 716"/>
                <a:gd name="T32" fmla="*/ 47 w 618"/>
                <a:gd name="T33" fmla="*/ 46 h 716"/>
                <a:gd name="T34" fmla="*/ 47 w 618"/>
                <a:gd name="T35" fmla="*/ 4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716">
                  <a:moveTo>
                    <a:pt x="475" y="716"/>
                  </a:moveTo>
                  <a:lnTo>
                    <a:pt x="475" y="599"/>
                  </a:lnTo>
                  <a:lnTo>
                    <a:pt x="618" y="599"/>
                  </a:lnTo>
                  <a:lnTo>
                    <a:pt x="618" y="0"/>
                  </a:lnTo>
                  <a:lnTo>
                    <a:pt x="0" y="0"/>
                  </a:lnTo>
                  <a:lnTo>
                    <a:pt x="0" y="599"/>
                  </a:lnTo>
                  <a:lnTo>
                    <a:pt x="317" y="599"/>
                  </a:lnTo>
                  <a:lnTo>
                    <a:pt x="475" y="716"/>
                  </a:lnTo>
                  <a:close/>
                  <a:moveTo>
                    <a:pt x="47" y="46"/>
                  </a:moveTo>
                  <a:lnTo>
                    <a:pt x="571" y="46"/>
                  </a:lnTo>
                  <a:lnTo>
                    <a:pt x="571" y="554"/>
                  </a:lnTo>
                  <a:lnTo>
                    <a:pt x="428" y="554"/>
                  </a:lnTo>
                  <a:lnTo>
                    <a:pt x="428" y="623"/>
                  </a:lnTo>
                  <a:lnTo>
                    <a:pt x="332" y="554"/>
                  </a:lnTo>
                  <a:lnTo>
                    <a:pt x="47" y="554"/>
                  </a:lnTo>
                  <a:lnTo>
                    <a:pt x="47" y="46"/>
                  </a:lnTo>
                  <a:close/>
                  <a:moveTo>
                    <a:pt x="47" y="46"/>
                  </a:moveTo>
                  <a:lnTo>
                    <a:pt x="47" y="46"/>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3">
              <a:extLst>
                <a:ext uri="{FF2B5EF4-FFF2-40B4-BE49-F238E27FC236}">
                  <a16:creationId xmlns:a16="http://schemas.microsoft.com/office/drawing/2014/main" id="{831503EE-E400-4FA1-A381-5436775A8FF0}"/>
                </a:ext>
              </a:extLst>
            </p:cNvPr>
            <p:cNvSpPr>
              <a:spLocks noEditPoints="1"/>
            </p:cNvSpPr>
            <p:nvPr/>
          </p:nvSpPr>
          <p:spPr bwMode="auto">
            <a:xfrm>
              <a:off x="2500" y="4290"/>
              <a:ext cx="618" cy="716"/>
            </a:xfrm>
            <a:custGeom>
              <a:avLst/>
              <a:gdLst>
                <a:gd name="T0" fmla="*/ 475 w 618"/>
                <a:gd name="T1" fmla="*/ 716 h 716"/>
                <a:gd name="T2" fmla="*/ 475 w 618"/>
                <a:gd name="T3" fmla="*/ 599 h 716"/>
                <a:gd name="T4" fmla="*/ 618 w 618"/>
                <a:gd name="T5" fmla="*/ 599 h 716"/>
                <a:gd name="T6" fmla="*/ 618 w 618"/>
                <a:gd name="T7" fmla="*/ 0 h 716"/>
                <a:gd name="T8" fmla="*/ 0 w 618"/>
                <a:gd name="T9" fmla="*/ 0 h 716"/>
                <a:gd name="T10" fmla="*/ 0 w 618"/>
                <a:gd name="T11" fmla="*/ 599 h 716"/>
                <a:gd name="T12" fmla="*/ 317 w 618"/>
                <a:gd name="T13" fmla="*/ 599 h 716"/>
                <a:gd name="T14" fmla="*/ 475 w 618"/>
                <a:gd name="T15" fmla="*/ 716 h 716"/>
                <a:gd name="T16" fmla="*/ 47 w 618"/>
                <a:gd name="T17" fmla="*/ 46 h 716"/>
                <a:gd name="T18" fmla="*/ 571 w 618"/>
                <a:gd name="T19" fmla="*/ 46 h 716"/>
                <a:gd name="T20" fmla="*/ 571 w 618"/>
                <a:gd name="T21" fmla="*/ 554 h 716"/>
                <a:gd name="T22" fmla="*/ 428 w 618"/>
                <a:gd name="T23" fmla="*/ 554 h 716"/>
                <a:gd name="T24" fmla="*/ 428 w 618"/>
                <a:gd name="T25" fmla="*/ 623 h 716"/>
                <a:gd name="T26" fmla="*/ 332 w 618"/>
                <a:gd name="T27" fmla="*/ 554 h 716"/>
                <a:gd name="T28" fmla="*/ 47 w 618"/>
                <a:gd name="T29" fmla="*/ 554 h 716"/>
                <a:gd name="T30" fmla="*/ 47 w 618"/>
                <a:gd name="T31" fmla="*/ 46 h 716"/>
                <a:gd name="T32" fmla="*/ 47 w 618"/>
                <a:gd name="T33" fmla="*/ 46 h 716"/>
                <a:gd name="T34" fmla="*/ 47 w 618"/>
                <a:gd name="T35" fmla="*/ 4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716">
                  <a:moveTo>
                    <a:pt x="475" y="716"/>
                  </a:moveTo>
                  <a:lnTo>
                    <a:pt x="475" y="599"/>
                  </a:lnTo>
                  <a:lnTo>
                    <a:pt x="618" y="599"/>
                  </a:lnTo>
                  <a:lnTo>
                    <a:pt x="618" y="0"/>
                  </a:lnTo>
                  <a:lnTo>
                    <a:pt x="0" y="0"/>
                  </a:lnTo>
                  <a:lnTo>
                    <a:pt x="0" y="599"/>
                  </a:lnTo>
                  <a:lnTo>
                    <a:pt x="317" y="599"/>
                  </a:lnTo>
                  <a:lnTo>
                    <a:pt x="475" y="716"/>
                  </a:lnTo>
                  <a:moveTo>
                    <a:pt x="47" y="46"/>
                  </a:moveTo>
                  <a:lnTo>
                    <a:pt x="571" y="46"/>
                  </a:lnTo>
                  <a:lnTo>
                    <a:pt x="571" y="554"/>
                  </a:lnTo>
                  <a:lnTo>
                    <a:pt x="428" y="554"/>
                  </a:lnTo>
                  <a:lnTo>
                    <a:pt x="428" y="623"/>
                  </a:lnTo>
                  <a:lnTo>
                    <a:pt x="332" y="554"/>
                  </a:lnTo>
                  <a:lnTo>
                    <a:pt x="47" y="554"/>
                  </a:lnTo>
                  <a:lnTo>
                    <a:pt x="47" y="46"/>
                  </a:lnTo>
                  <a:moveTo>
                    <a:pt x="47" y="46"/>
                  </a:moveTo>
                  <a:lnTo>
                    <a:pt x="47" y="46"/>
                  </a:ln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Rectangle 34">
              <a:extLst>
                <a:ext uri="{FF2B5EF4-FFF2-40B4-BE49-F238E27FC236}">
                  <a16:creationId xmlns:a16="http://schemas.microsoft.com/office/drawing/2014/main" id="{87C3C029-FF1C-4C90-ACEB-965E28162D24}"/>
                </a:ext>
              </a:extLst>
            </p:cNvPr>
            <p:cNvSpPr>
              <a:spLocks noChangeArrowheads="1"/>
            </p:cNvSpPr>
            <p:nvPr/>
          </p:nvSpPr>
          <p:spPr bwMode="auto">
            <a:xfrm>
              <a:off x="2500" y="5075"/>
              <a:ext cx="47"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 name="Rectangle 35">
              <a:extLst>
                <a:ext uri="{FF2B5EF4-FFF2-40B4-BE49-F238E27FC236}">
                  <a16:creationId xmlns:a16="http://schemas.microsoft.com/office/drawing/2014/main" id="{9F773C92-8241-4460-9BC2-DAEEE374CA81}"/>
                </a:ext>
              </a:extLst>
            </p:cNvPr>
            <p:cNvSpPr>
              <a:spLocks noChangeArrowheads="1"/>
            </p:cNvSpPr>
            <p:nvPr/>
          </p:nvSpPr>
          <p:spPr bwMode="auto">
            <a:xfrm>
              <a:off x="2596" y="5075"/>
              <a:ext cx="47"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 name="Rectangle 36">
              <a:extLst>
                <a:ext uri="{FF2B5EF4-FFF2-40B4-BE49-F238E27FC236}">
                  <a16:creationId xmlns:a16="http://schemas.microsoft.com/office/drawing/2014/main" id="{04BC0771-A84E-4A24-A705-CF6BB80C1F2E}"/>
                </a:ext>
              </a:extLst>
            </p:cNvPr>
            <p:cNvSpPr>
              <a:spLocks noChangeArrowheads="1"/>
            </p:cNvSpPr>
            <p:nvPr/>
          </p:nvSpPr>
          <p:spPr bwMode="auto">
            <a:xfrm>
              <a:off x="2690" y="5075"/>
              <a:ext cx="49"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 name="Rectangle 37">
              <a:extLst>
                <a:ext uri="{FF2B5EF4-FFF2-40B4-BE49-F238E27FC236}">
                  <a16:creationId xmlns:a16="http://schemas.microsoft.com/office/drawing/2014/main" id="{0D144C72-67F3-44A4-AEBE-88473F646EE7}"/>
                </a:ext>
              </a:extLst>
            </p:cNvPr>
            <p:cNvSpPr>
              <a:spLocks noChangeArrowheads="1"/>
            </p:cNvSpPr>
            <p:nvPr/>
          </p:nvSpPr>
          <p:spPr bwMode="auto">
            <a:xfrm>
              <a:off x="2596" y="5166"/>
              <a:ext cx="47" cy="48"/>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1" name="Rectangle 38">
              <a:extLst>
                <a:ext uri="{FF2B5EF4-FFF2-40B4-BE49-F238E27FC236}">
                  <a16:creationId xmlns:a16="http://schemas.microsoft.com/office/drawing/2014/main" id="{CD99323A-9C4B-45D2-A33E-AEA8B9604025}"/>
                </a:ext>
              </a:extLst>
            </p:cNvPr>
            <p:cNvSpPr>
              <a:spLocks noChangeArrowheads="1"/>
            </p:cNvSpPr>
            <p:nvPr/>
          </p:nvSpPr>
          <p:spPr bwMode="auto">
            <a:xfrm>
              <a:off x="2690" y="5166"/>
              <a:ext cx="49" cy="48"/>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 name="Rectangle 39">
              <a:extLst>
                <a:ext uri="{FF2B5EF4-FFF2-40B4-BE49-F238E27FC236}">
                  <a16:creationId xmlns:a16="http://schemas.microsoft.com/office/drawing/2014/main" id="{0E55EAF2-3E0C-430A-AEEA-E84649FB8AC7}"/>
                </a:ext>
              </a:extLst>
            </p:cNvPr>
            <p:cNvSpPr>
              <a:spLocks noChangeArrowheads="1"/>
            </p:cNvSpPr>
            <p:nvPr/>
          </p:nvSpPr>
          <p:spPr bwMode="auto">
            <a:xfrm>
              <a:off x="2500" y="5675"/>
              <a:ext cx="47"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3" name="Rectangle 40">
              <a:extLst>
                <a:ext uri="{FF2B5EF4-FFF2-40B4-BE49-F238E27FC236}">
                  <a16:creationId xmlns:a16="http://schemas.microsoft.com/office/drawing/2014/main" id="{B6AB1E2A-D0EE-499A-8086-EA905F34663B}"/>
                </a:ext>
              </a:extLst>
            </p:cNvPr>
            <p:cNvSpPr>
              <a:spLocks noChangeArrowheads="1"/>
            </p:cNvSpPr>
            <p:nvPr/>
          </p:nvSpPr>
          <p:spPr bwMode="auto">
            <a:xfrm>
              <a:off x="2596" y="5675"/>
              <a:ext cx="47"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 name="Rectangle 41">
              <a:extLst>
                <a:ext uri="{FF2B5EF4-FFF2-40B4-BE49-F238E27FC236}">
                  <a16:creationId xmlns:a16="http://schemas.microsoft.com/office/drawing/2014/main" id="{7FFA8CF3-8FAF-419D-9DE7-86DD12977D3E}"/>
                </a:ext>
              </a:extLst>
            </p:cNvPr>
            <p:cNvSpPr>
              <a:spLocks noChangeArrowheads="1"/>
            </p:cNvSpPr>
            <p:nvPr/>
          </p:nvSpPr>
          <p:spPr bwMode="auto">
            <a:xfrm>
              <a:off x="2690" y="5675"/>
              <a:ext cx="49"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5" name="Rectangle 42">
              <a:extLst>
                <a:ext uri="{FF2B5EF4-FFF2-40B4-BE49-F238E27FC236}">
                  <a16:creationId xmlns:a16="http://schemas.microsoft.com/office/drawing/2014/main" id="{2DABF01B-A15F-4697-BDD4-150E3345C506}"/>
                </a:ext>
              </a:extLst>
            </p:cNvPr>
            <p:cNvSpPr>
              <a:spLocks noChangeArrowheads="1"/>
            </p:cNvSpPr>
            <p:nvPr/>
          </p:nvSpPr>
          <p:spPr bwMode="auto">
            <a:xfrm>
              <a:off x="2596" y="5582"/>
              <a:ext cx="47" cy="47"/>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 name="Rectangle 43">
              <a:extLst>
                <a:ext uri="{FF2B5EF4-FFF2-40B4-BE49-F238E27FC236}">
                  <a16:creationId xmlns:a16="http://schemas.microsoft.com/office/drawing/2014/main" id="{F94D8564-CF68-4D60-8F03-2F396029F125}"/>
                </a:ext>
              </a:extLst>
            </p:cNvPr>
            <p:cNvSpPr>
              <a:spLocks noChangeArrowheads="1"/>
            </p:cNvSpPr>
            <p:nvPr/>
          </p:nvSpPr>
          <p:spPr bwMode="auto">
            <a:xfrm>
              <a:off x="2690" y="5582"/>
              <a:ext cx="49" cy="47"/>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28" name="Arrow: Down 27">
            <a:extLst>
              <a:ext uri="{FF2B5EF4-FFF2-40B4-BE49-F238E27FC236}">
                <a16:creationId xmlns:a16="http://schemas.microsoft.com/office/drawing/2014/main" id="{09CE92DB-F457-418F-BD89-762717A6ADD2}"/>
              </a:ext>
            </a:extLst>
          </p:cNvPr>
          <p:cNvSpPr/>
          <p:nvPr/>
        </p:nvSpPr>
        <p:spPr bwMode="gray">
          <a:xfrm>
            <a:off x="4641469" y="2790108"/>
            <a:ext cx="374793" cy="624183"/>
          </a:xfrm>
          <a:prstGeom prst="downArrow">
            <a:avLst/>
          </a:prstGeom>
          <a:noFill/>
          <a:ln w="9525"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77" name="Group 844">
            <a:extLst>
              <a:ext uri="{FF2B5EF4-FFF2-40B4-BE49-F238E27FC236}">
                <a16:creationId xmlns:a16="http://schemas.microsoft.com/office/drawing/2014/main" id="{1DE7DC88-9808-4242-A3FF-1D8A39A50352}"/>
              </a:ext>
            </a:extLst>
          </p:cNvPr>
          <p:cNvGrpSpPr>
            <a:grpSpLocks noChangeAspect="1"/>
          </p:cNvGrpSpPr>
          <p:nvPr/>
        </p:nvGrpSpPr>
        <p:grpSpPr bwMode="auto">
          <a:xfrm>
            <a:off x="6119867" y="5402944"/>
            <a:ext cx="366963" cy="365119"/>
            <a:chOff x="4371" y="3110"/>
            <a:chExt cx="199" cy="198"/>
          </a:xfrm>
          <a:solidFill>
            <a:schemeClr val="accent3"/>
          </a:solidFill>
        </p:grpSpPr>
        <p:sp>
          <p:nvSpPr>
            <p:cNvPr id="178" name="Freeform 845">
              <a:extLst>
                <a:ext uri="{FF2B5EF4-FFF2-40B4-BE49-F238E27FC236}">
                  <a16:creationId xmlns:a16="http://schemas.microsoft.com/office/drawing/2014/main" id="{7DE7B9EE-31EE-4994-A518-477A1EFC1B4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846">
              <a:extLst>
                <a:ext uri="{FF2B5EF4-FFF2-40B4-BE49-F238E27FC236}">
                  <a16:creationId xmlns:a16="http://schemas.microsoft.com/office/drawing/2014/main" id="{02868522-4CBC-4081-9A69-930BF975514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Freeform 847">
              <a:extLst>
                <a:ext uri="{FF2B5EF4-FFF2-40B4-BE49-F238E27FC236}">
                  <a16:creationId xmlns:a16="http://schemas.microsoft.com/office/drawing/2014/main" id="{FD2E8583-9AD8-4EA2-903F-6B0D8A529AAE}"/>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848">
              <a:extLst>
                <a:ext uri="{FF2B5EF4-FFF2-40B4-BE49-F238E27FC236}">
                  <a16:creationId xmlns:a16="http://schemas.microsoft.com/office/drawing/2014/main" id="{6A171736-77DF-4FE0-9712-A86F97AEF473}"/>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849">
              <a:extLst>
                <a:ext uri="{FF2B5EF4-FFF2-40B4-BE49-F238E27FC236}">
                  <a16:creationId xmlns:a16="http://schemas.microsoft.com/office/drawing/2014/main" id="{53EE28FE-7BD2-4074-823C-54BA9A7A817E}"/>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850">
              <a:extLst>
                <a:ext uri="{FF2B5EF4-FFF2-40B4-BE49-F238E27FC236}">
                  <a16:creationId xmlns:a16="http://schemas.microsoft.com/office/drawing/2014/main" id="{E17C6BBF-88FA-45BB-91DF-64B70D99F7E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5" name="Group 844">
            <a:extLst>
              <a:ext uri="{FF2B5EF4-FFF2-40B4-BE49-F238E27FC236}">
                <a16:creationId xmlns:a16="http://schemas.microsoft.com/office/drawing/2014/main" id="{C3949A4F-5F0F-4E7F-BAC1-A311FC1F3B56}"/>
              </a:ext>
            </a:extLst>
          </p:cNvPr>
          <p:cNvGrpSpPr>
            <a:grpSpLocks noChangeAspect="1"/>
          </p:cNvGrpSpPr>
          <p:nvPr/>
        </p:nvGrpSpPr>
        <p:grpSpPr bwMode="auto">
          <a:xfrm>
            <a:off x="6544100" y="5402944"/>
            <a:ext cx="366963" cy="365119"/>
            <a:chOff x="4371" y="3110"/>
            <a:chExt cx="199" cy="198"/>
          </a:xfrm>
          <a:solidFill>
            <a:schemeClr val="accent3"/>
          </a:solidFill>
        </p:grpSpPr>
        <p:sp>
          <p:nvSpPr>
            <p:cNvPr id="186" name="Freeform 845">
              <a:extLst>
                <a:ext uri="{FF2B5EF4-FFF2-40B4-BE49-F238E27FC236}">
                  <a16:creationId xmlns:a16="http://schemas.microsoft.com/office/drawing/2014/main" id="{C10C26FA-B5FC-44FF-91F5-92F05F4EC41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846">
              <a:extLst>
                <a:ext uri="{FF2B5EF4-FFF2-40B4-BE49-F238E27FC236}">
                  <a16:creationId xmlns:a16="http://schemas.microsoft.com/office/drawing/2014/main" id="{CAC88939-9B5A-4366-88BE-CC1531729689}"/>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847">
              <a:extLst>
                <a:ext uri="{FF2B5EF4-FFF2-40B4-BE49-F238E27FC236}">
                  <a16:creationId xmlns:a16="http://schemas.microsoft.com/office/drawing/2014/main" id="{A15CFA93-3DE6-454F-855E-CECBE68BE79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848">
              <a:extLst>
                <a:ext uri="{FF2B5EF4-FFF2-40B4-BE49-F238E27FC236}">
                  <a16:creationId xmlns:a16="http://schemas.microsoft.com/office/drawing/2014/main" id="{53409A72-A398-457A-AD34-C8C6826E140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849">
              <a:extLst>
                <a:ext uri="{FF2B5EF4-FFF2-40B4-BE49-F238E27FC236}">
                  <a16:creationId xmlns:a16="http://schemas.microsoft.com/office/drawing/2014/main" id="{3D9ED42A-A0B1-470E-B5F4-F107EEB5DA7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Freeform 850">
              <a:extLst>
                <a:ext uri="{FF2B5EF4-FFF2-40B4-BE49-F238E27FC236}">
                  <a16:creationId xmlns:a16="http://schemas.microsoft.com/office/drawing/2014/main" id="{B3FB21D8-53E8-46D1-A9DB-2E5989301C5A}"/>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2" name="Group 844">
            <a:extLst>
              <a:ext uri="{FF2B5EF4-FFF2-40B4-BE49-F238E27FC236}">
                <a16:creationId xmlns:a16="http://schemas.microsoft.com/office/drawing/2014/main" id="{19794308-CF84-4530-98CC-F6E55D23DA14}"/>
              </a:ext>
            </a:extLst>
          </p:cNvPr>
          <p:cNvGrpSpPr>
            <a:grpSpLocks noChangeAspect="1"/>
          </p:cNvGrpSpPr>
          <p:nvPr/>
        </p:nvGrpSpPr>
        <p:grpSpPr bwMode="auto">
          <a:xfrm>
            <a:off x="6972898" y="5402944"/>
            <a:ext cx="366963" cy="365119"/>
            <a:chOff x="4371" y="3110"/>
            <a:chExt cx="199" cy="198"/>
          </a:xfrm>
          <a:solidFill>
            <a:schemeClr val="accent3"/>
          </a:solidFill>
        </p:grpSpPr>
        <p:sp>
          <p:nvSpPr>
            <p:cNvPr id="193" name="Freeform 845">
              <a:extLst>
                <a:ext uri="{FF2B5EF4-FFF2-40B4-BE49-F238E27FC236}">
                  <a16:creationId xmlns:a16="http://schemas.microsoft.com/office/drawing/2014/main" id="{0EECC40E-D973-48CA-826A-0C6044F478C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4" name="Freeform 846">
              <a:extLst>
                <a:ext uri="{FF2B5EF4-FFF2-40B4-BE49-F238E27FC236}">
                  <a16:creationId xmlns:a16="http://schemas.microsoft.com/office/drawing/2014/main" id="{234D0025-EC20-456D-95DC-C825D816545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Freeform 847">
              <a:extLst>
                <a:ext uri="{FF2B5EF4-FFF2-40B4-BE49-F238E27FC236}">
                  <a16:creationId xmlns:a16="http://schemas.microsoft.com/office/drawing/2014/main" id="{634B2E30-2393-48FA-A732-17CCB7911CE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6" name="Freeform 848">
              <a:extLst>
                <a:ext uri="{FF2B5EF4-FFF2-40B4-BE49-F238E27FC236}">
                  <a16:creationId xmlns:a16="http://schemas.microsoft.com/office/drawing/2014/main" id="{1A7215A0-24CE-4B0C-80BE-AEC46B3AE5B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7" name="Freeform 849">
              <a:extLst>
                <a:ext uri="{FF2B5EF4-FFF2-40B4-BE49-F238E27FC236}">
                  <a16:creationId xmlns:a16="http://schemas.microsoft.com/office/drawing/2014/main" id="{D7BE5640-DE37-4B2D-BAFC-F49003B60F8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Freeform 850">
              <a:extLst>
                <a:ext uri="{FF2B5EF4-FFF2-40B4-BE49-F238E27FC236}">
                  <a16:creationId xmlns:a16="http://schemas.microsoft.com/office/drawing/2014/main" id="{3D6D160C-7ED6-4A87-8E22-9971455D83B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9" name="Group 844">
            <a:extLst>
              <a:ext uri="{FF2B5EF4-FFF2-40B4-BE49-F238E27FC236}">
                <a16:creationId xmlns:a16="http://schemas.microsoft.com/office/drawing/2014/main" id="{B8660E52-101B-4F06-A92C-F398B10F358F}"/>
              </a:ext>
            </a:extLst>
          </p:cNvPr>
          <p:cNvGrpSpPr>
            <a:grpSpLocks noChangeAspect="1"/>
          </p:cNvGrpSpPr>
          <p:nvPr/>
        </p:nvGrpSpPr>
        <p:grpSpPr bwMode="auto">
          <a:xfrm>
            <a:off x="7397131" y="5402944"/>
            <a:ext cx="366963" cy="365119"/>
            <a:chOff x="4371" y="3110"/>
            <a:chExt cx="199" cy="198"/>
          </a:xfrm>
          <a:solidFill>
            <a:schemeClr val="accent3"/>
          </a:solidFill>
        </p:grpSpPr>
        <p:sp>
          <p:nvSpPr>
            <p:cNvPr id="200" name="Freeform 845">
              <a:extLst>
                <a:ext uri="{FF2B5EF4-FFF2-40B4-BE49-F238E27FC236}">
                  <a16:creationId xmlns:a16="http://schemas.microsoft.com/office/drawing/2014/main" id="{0CFBBC89-208B-4C16-907C-72F0C507713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1" name="Freeform 846">
              <a:extLst>
                <a:ext uri="{FF2B5EF4-FFF2-40B4-BE49-F238E27FC236}">
                  <a16:creationId xmlns:a16="http://schemas.microsoft.com/office/drawing/2014/main" id="{3F54B557-6591-4640-982F-4BBB95963E2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2" name="Freeform 847">
              <a:extLst>
                <a:ext uri="{FF2B5EF4-FFF2-40B4-BE49-F238E27FC236}">
                  <a16:creationId xmlns:a16="http://schemas.microsoft.com/office/drawing/2014/main" id="{0715FDD5-171D-4B69-BDBA-7C2DD7DF86A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3" name="Freeform 848">
              <a:extLst>
                <a:ext uri="{FF2B5EF4-FFF2-40B4-BE49-F238E27FC236}">
                  <a16:creationId xmlns:a16="http://schemas.microsoft.com/office/drawing/2014/main" id="{4024755A-0763-4AFB-8A2D-3B9124B20AC7}"/>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849">
              <a:extLst>
                <a:ext uri="{FF2B5EF4-FFF2-40B4-BE49-F238E27FC236}">
                  <a16:creationId xmlns:a16="http://schemas.microsoft.com/office/drawing/2014/main" id="{3C83B633-ACFE-431B-80EF-4847209A248A}"/>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Freeform 850">
              <a:extLst>
                <a:ext uri="{FF2B5EF4-FFF2-40B4-BE49-F238E27FC236}">
                  <a16:creationId xmlns:a16="http://schemas.microsoft.com/office/drawing/2014/main" id="{B0C3D48A-3535-4E42-BE9D-DB461F502C5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6" name="Group 844">
            <a:extLst>
              <a:ext uri="{FF2B5EF4-FFF2-40B4-BE49-F238E27FC236}">
                <a16:creationId xmlns:a16="http://schemas.microsoft.com/office/drawing/2014/main" id="{9E1FC628-44C9-4DD9-8D47-A7C0CFED0B7E}"/>
              </a:ext>
            </a:extLst>
          </p:cNvPr>
          <p:cNvGrpSpPr>
            <a:grpSpLocks noChangeAspect="1"/>
          </p:cNvGrpSpPr>
          <p:nvPr/>
        </p:nvGrpSpPr>
        <p:grpSpPr bwMode="auto">
          <a:xfrm>
            <a:off x="6322929" y="4998321"/>
            <a:ext cx="366963" cy="365119"/>
            <a:chOff x="4371" y="3110"/>
            <a:chExt cx="199" cy="198"/>
          </a:xfrm>
          <a:solidFill>
            <a:schemeClr val="accent3"/>
          </a:solidFill>
        </p:grpSpPr>
        <p:sp>
          <p:nvSpPr>
            <p:cNvPr id="207" name="Freeform 845">
              <a:extLst>
                <a:ext uri="{FF2B5EF4-FFF2-40B4-BE49-F238E27FC236}">
                  <a16:creationId xmlns:a16="http://schemas.microsoft.com/office/drawing/2014/main" id="{D9E84B39-9628-4CD3-A07E-32DBA13EB044}"/>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8" name="Freeform 846">
              <a:extLst>
                <a:ext uri="{FF2B5EF4-FFF2-40B4-BE49-F238E27FC236}">
                  <a16:creationId xmlns:a16="http://schemas.microsoft.com/office/drawing/2014/main" id="{ECABA6DD-F5ED-4F6F-8B93-6BF5FBA8EBE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9" name="Freeform 847">
              <a:extLst>
                <a:ext uri="{FF2B5EF4-FFF2-40B4-BE49-F238E27FC236}">
                  <a16:creationId xmlns:a16="http://schemas.microsoft.com/office/drawing/2014/main" id="{7748F1D0-1CBF-47B7-9E6A-C0BF7E027C6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848">
              <a:extLst>
                <a:ext uri="{FF2B5EF4-FFF2-40B4-BE49-F238E27FC236}">
                  <a16:creationId xmlns:a16="http://schemas.microsoft.com/office/drawing/2014/main" id="{ED8B2D9B-96E6-4A84-8CE6-477E270C842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1" name="Freeform 849">
              <a:extLst>
                <a:ext uri="{FF2B5EF4-FFF2-40B4-BE49-F238E27FC236}">
                  <a16:creationId xmlns:a16="http://schemas.microsoft.com/office/drawing/2014/main" id="{DA120131-1F1B-4AE2-941C-91159559397D}"/>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2" name="Freeform 850">
              <a:extLst>
                <a:ext uri="{FF2B5EF4-FFF2-40B4-BE49-F238E27FC236}">
                  <a16:creationId xmlns:a16="http://schemas.microsoft.com/office/drawing/2014/main" id="{89BFB90F-5694-455E-8EBD-2DD0FE2CAFD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3" name="Group 844">
            <a:extLst>
              <a:ext uri="{FF2B5EF4-FFF2-40B4-BE49-F238E27FC236}">
                <a16:creationId xmlns:a16="http://schemas.microsoft.com/office/drawing/2014/main" id="{26B0F611-DC1D-446A-9556-D19A62332D27}"/>
              </a:ext>
            </a:extLst>
          </p:cNvPr>
          <p:cNvGrpSpPr>
            <a:grpSpLocks noChangeAspect="1"/>
          </p:cNvGrpSpPr>
          <p:nvPr/>
        </p:nvGrpSpPr>
        <p:grpSpPr bwMode="auto">
          <a:xfrm>
            <a:off x="6747162" y="4998321"/>
            <a:ext cx="366963" cy="365119"/>
            <a:chOff x="4371" y="3110"/>
            <a:chExt cx="199" cy="198"/>
          </a:xfrm>
          <a:solidFill>
            <a:schemeClr val="accent3"/>
          </a:solidFill>
        </p:grpSpPr>
        <p:sp>
          <p:nvSpPr>
            <p:cNvPr id="214" name="Freeform 845">
              <a:extLst>
                <a:ext uri="{FF2B5EF4-FFF2-40B4-BE49-F238E27FC236}">
                  <a16:creationId xmlns:a16="http://schemas.microsoft.com/office/drawing/2014/main" id="{95D5EFBF-6BDC-4E19-B145-C929DF1C166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5" name="Freeform 846">
              <a:extLst>
                <a:ext uri="{FF2B5EF4-FFF2-40B4-BE49-F238E27FC236}">
                  <a16:creationId xmlns:a16="http://schemas.microsoft.com/office/drawing/2014/main" id="{450CD42D-13C2-44C6-9CF1-E518055926EC}"/>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847">
              <a:extLst>
                <a:ext uri="{FF2B5EF4-FFF2-40B4-BE49-F238E27FC236}">
                  <a16:creationId xmlns:a16="http://schemas.microsoft.com/office/drawing/2014/main" id="{886C9DD9-DB81-4803-A3BF-DE579A6A0D9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848">
              <a:extLst>
                <a:ext uri="{FF2B5EF4-FFF2-40B4-BE49-F238E27FC236}">
                  <a16:creationId xmlns:a16="http://schemas.microsoft.com/office/drawing/2014/main" id="{7D93F06A-3FDC-4ADE-B757-054434A6193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849">
              <a:extLst>
                <a:ext uri="{FF2B5EF4-FFF2-40B4-BE49-F238E27FC236}">
                  <a16:creationId xmlns:a16="http://schemas.microsoft.com/office/drawing/2014/main" id="{4FCF4770-7E18-4C57-A0A9-D376114B3E43}"/>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850">
              <a:extLst>
                <a:ext uri="{FF2B5EF4-FFF2-40B4-BE49-F238E27FC236}">
                  <a16:creationId xmlns:a16="http://schemas.microsoft.com/office/drawing/2014/main" id="{7C0730FB-105D-47CE-B8FC-4918BECB3FF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0" name="Group 844">
            <a:extLst>
              <a:ext uri="{FF2B5EF4-FFF2-40B4-BE49-F238E27FC236}">
                <a16:creationId xmlns:a16="http://schemas.microsoft.com/office/drawing/2014/main" id="{9CF23813-4E8B-45BB-80B7-5BE2E2E2175A}"/>
              </a:ext>
            </a:extLst>
          </p:cNvPr>
          <p:cNvGrpSpPr>
            <a:grpSpLocks noChangeAspect="1"/>
          </p:cNvGrpSpPr>
          <p:nvPr/>
        </p:nvGrpSpPr>
        <p:grpSpPr bwMode="auto">
          <a:xfrm>
            <a:off x="7175960" y="4998321"/>
            <a:ext cx="366963" cy="365119"/>
            <a:chOff x="4371" y="3110"/>
            <a:chExt cx="199" cy="198"/>
          </a:xfrm>
          <a:solidFill>
            <a:schemeClr val="accent3"/>
          </a:solidFill>
        </p:grpSpPr>
        <p:sp>
          <p:nvSpPr>
            <p:cNvPr id="221" name="Freeform 845">
              <a:extLst>
                <a:ext uri="{FF2B5EF4-FFF2-40B4-BE49-F238E27FC236}">
                  <a16:creationId xmlns:a16="http://schemas.microsoft.com/office/drawing/2014/main" id="{1DD79EA0-4E08-42A4-BEBE-A31BC4C0EA4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2" name="Freeform 846">
              <a:extLst>
                <a:ext uri="{FF2B5EF4-FFF2-40B4-BE49-F238E27FC236}">
                  <a16:creationId xmlns:a16="http://schemas.microsoft.com/office/drawing/2014/main" id="{0497B94D-63CB-4A8A-9D49-A56D28EF22EF}"/>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3" name="Freeform 847">
              <a:extLst>
                <a:ext uri="{FF2B5EF4-FFF2-40B4-BE49-F238E27FC236}">
                  <a16:creationId xmlns:a16="http://schemas.microsoft.com/office/drawing/2014/main" id="{4941683E-354D-443D-8B65-4684B1F1296D}"/>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4" name="Freeform 848">
              <a:extLst>
                <a:ext uri="{FF2B5EF4-FFF2-40B4-BE49-F238E27FC236}">
                  <a16:creationId xmlns:a16="http://schemas.microsoft.com/office/drawing/2014/main" id="{45F2C366-8EE7-4363-BBBE-9F714F17C5B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849">
              <a:extLst>
                <a:ext uri="{FF2B5EF4-FFF2-40B4-BE49-F238E27FC236}">
                  <a16:creationId xmlns:a16="http://schemas.microsoft.com/office/drawing/2014/main" id="{731F7568-897F-4C33-A0F7-674A0A9A7AD3}"/>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6" name="Freeform 850">
              <a:extLst>
                <a:ext uri="{FF2B5EF4-FFF2-40B4-BE49-F238E27FC236}">
                  <a16:creationId xmlns:a16="http://schemas.microsoft.com/office/drawing/2014/main" id="{C2F3482E-6E25-499B-9074-9191651E0457}"/>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3" name="TextBox 282">
            <a:extLst>
              <a:ext uri="{FF2B5EF4-FFF2-40B4-BE49-F238E27FC236}">
                <a16:creationId xmlns:a16="http://schemas.microsoft.com/office/drawing/2014/main" id="{A55AE46F-E218-4842-BFCC-D848772F4182}"/>
              </a:ext>
            </a:extLst>
          </p:cNvPr>
          <p:cNvSpPr txBox="1"/>
          <p:nvPr/>
        </p:nvSpPr>
        <p:spPr>
          <a:xfrm flipH="1">
            <a:off x="10727412" y="4931626"/>
            <a:ext cx="1126710" cy="461665"/>
          </a:xfrm>
          <a:prstGeom prst="rect">
            <a:avLst/>
          </a:prstGeom>
          <a:noFill/>
        </p:spPr>
        <p:txBody>
          <a:bodyPr wrap="square" rtlCol="0">
            <a:spAutoFit/>
          </a:bodyPr>
          <a:lstStyle/>
          <a:p>
            <a:r>
              <a:rPr lang="en-US" b="1" dirty="0">
                <a:solidFill>
                  <a:schemeClr val="accent3">
                    <a:lumMod val="75000"/>
                  </a:schemeClr>
                </a:solidFill>
              </a:rPr>
              <a:t>+100</a:t>
            </a:r>
          </a:p>
        </p:txBody>
      </p:sp>
      <p:grpSp>
        <p:nvGrpSpPr>
          <p:cNvPr id="290" name="Group 844">
            <a:extLst>
              <a:ext uri="{FF2B5EF4-FFF2-40B4-BE49-F238E27FC236}">
                <a16:creationId xmlns:a16="http://schemas.microsoft.com/office/drawing/2014/main" id="{B77EA253-5E51-4379-AFEF-198546D207B5}"/>
              </a:ext>
            </a:extLst>
          </p:cNvPr>
          <p:cNvGrpSpPr>
            <a:grpSpLocks noChangeAspect="1"/>
          </p:cNvGrpSpPr>
          <p:nvPr/>
        </p:nvGrpSpPr>
        <p:grpSpPr bwMode="auto">
          <a:xfrm>
            <a:off x="9777467" y="5402944"/>
            <a:ext cx="366963" cy="365119"/>
            <a:chOff x="4371" y="3110"/>
            <a:chExt cx="199" cy="198"/>
          </a:xfrm>
          <a:solidFill>
            <a:schemeClr val="accent3"/>
          </a:solidFill>
        </p:grpSpPr>
        <p:sp>
          <p:nvSpPr>
            <p:cNvPr id="291" name="Freeform 845">
              <a:extLst>
                <a:ext uri="{FF2B5EF4-FFF2-40B4-BE49-F238E27FC236}">
                  <a16:creationId xmlns:a16="http://schemas.microsoft.com/office/drawing/2014/main" id="{A6F5C1F6-8831-4BBD-8652-3D1B7B14A24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846">
              <a:extLst>
                <a:ext uri="{FF2B5EF4-FFF2-40B4-BE49-F238E27FC236}">
                  <a16:creationId xmlns:a16="http://schemas.microsoft.com/office/drawing/2014/main" id="{94A6B741-4CAC-4666-A7A5-34140AC13B7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3" name="Freeform 847">
              <a:extLst>
                <a:ext uri="{FF2B5EF4-FFF2-40B4-BE49-F238E27FC236}">
                  <a16:creationId xmlns:a16="http://schemas.microsoft.com/office/drawing/2014/main" id="{57C8FCB9-0683-46D9-A17B-069330A5936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4" name="Freeform 848">
              <a:extLst>
                <a:ext uri="{FF2B5EF4-FFF2-40B4-BE49-F238E27FC236}">
                  <a16:creationId xmlns:a16="http://schemas.microsoft.com/office/drawing/2014/main" id="{66527B86-5910-4182-A828-CB6FAB41A6FC}"/>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Freeform 849">
              <a:extLst>
                <a:ext uri="{FF2B5EF4-FFF2-40B4-BE49-F238E27FC236}">
                  <a16:creationId xmlns:a16="http://schemas.microsoft.com/office/drawing/2014/main" id="{38ABC072-0C86-4FCA-8FF4-7E15AFD66C08}"/>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850">
              <a:extLst>
                <a:ext uri="{FF2B5EF4-FFF2-40B4-BE49-F238E27FC236}">
                  <a16:creationId xmlns:a16="http://schemas.microsoft.com/office/drawing/2014/main" id="{E5A14695-B227-42FD-A0F1-E5663F740C9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7" name="Group 844">
            <a:extLst>
              <a:ext uri="{FF2B5EF4-FFF2-40B4-BE49-F238E27FC236}">
                <a16:creationId xmlns:a16="http://schemas.microsoft.com/office/drawing/2014/main" id="{A5E13FE7-F24A-4A6B-A685-16AB8A40C865}"/>
              </a:ext>
            </a:extLst>
          </p:cNvPr>
          <p:cNvGrpSpPr>
            <a:grpSpLocks noChangeAspect="1"/>
          </p:cNvGrpSpPr>
          <p:nvPr/>
        </p:nvGrpSpPr>
        <p:grpSpPr bwMode="auto">
          <a:xfrm>
            <a:off x="10201700" y="5402944"/>
            <a:ext cx="366963" cy="365119"/>
            <a:chOff x="4371" y="3110"/>
            <a:chExt cx="199" cy="198"/>
          </a:xfrm>
          <a:solidFill>
            <a:schemeClr val="accent3"/>
          </a:solidFill>
        </p:grpSpPr>
        <p:sp>
          <p:nvSpPr>
            <p:cNvPr id="298" name="Freeform 845">
              <a:extLst>
                <a:ext uri="{FF2B5EF4-FFF2-40B4-BE49-F238E27FC236}">
                  <a16:creationId xmlns:a16="http://schemas.microsoft.com/office/drawing/2014/main" id="{61EA677A-83C2-45CB-8F26-01AB4D7E8759}"/>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9" name="Freeform 846">
              <a:extLst>
                <a:ext uri="{FF2B5EF4-FFF2-40B4-BE49-F238E27FC236}">
                  <a16:creationId xmlns:a16="http://schemas.microsoft.com/office/drawing/2014/main" id="{4F799061-DB50-41A1-967A-8A2680CC092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0" name="Freeform 847">
              <a:extLst>
                <a:ext uri="{FF2B5EF4-FFF2-40B4-BE49-F238E27FC236}">
                  <a16:creationId xmlns:a16="http://schemas.microsoft.com/office/drawing/2014/main" id="{AF0328AF-7C79-410E-B639-CE6A0B15E2C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1" name="Freeform 848">
              <a:extLst>
                <a:ext uri="{FF2B5EF4-FFF2-40B4-BE49-F238E27FC236}">
                  <a16:creationId xmlns:a16="http://schemas.microsoft.com/office/drawing/2014/main" id="{4B0F4581-0EC4-4F27-8656-292BDBB5368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2" name="Freeform 849">
              <a:extLst>
                <a:ext uri="{FF2B5EF4-FFF2-40B4-BE49-F238E27FC236}">
                  <a16:creationId xmlns:a16="http://schemas.microsoft.com/office/drawing/2014/main" id="{296746B7-5C6D-4D28-8D92-4FCBA3B4F66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850">
              <a:extLst>
                <a:ext uri="{FF2B5EF4-FFF2-40B4-BE49-F238E27FC236}">
                  <a16:creationId xmlns:a16="http://schemas.microsoft.com/office/drawing/2014/main" id="{BBFC01F1-ADDD-4051-8F86-75551F998C1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4" name="Group 844">
            <a:extLst>
              <a:ext uri="{FF2B5EF4-FFF2-40B4-BE49-F238E27FC236}">
                <a16:creationId xmlns:a16="http://schemas.microsoft.com/office/drawing/2014/main" id="{1F61F91C-D963-43F5-8038-F289F671549F}"/>
              </a:ext>
            </a:extLst>
          </p:cNvPr>
          <p:cNvGrpSpPr>
            <a:grpSpLocks noChangeAspect="1"/>
          </p:cNvGrpSpPr>
          <p:nvPr/>
        </p:nvGrpSpPr>
        <p:grpSpPr bwMode="auto">
          <a:xfrm>
            <a:off x="10630498" y="5402944"/>
            <a:ext cx="366963" cy="365119"/>
            <a:chOff x="4371" y="3110"/>
            <a:chExt cx="199" cy="198"/>
          </a:xfrm>
          <a:solidFill>
            <a:schemeClr val="accent3"/>
          </a:solidFill>
        </p:grpSpPr>
        <p:sp>
          <p:nvSpPr>
            <p:cNvPr id="305" name="Freeform 845">
              <a:extLst>
                <a:ext uri="{FF2B5EF4-FFF2-40B4-BE49-F238E27FC236}">
                  <a16:creationId xmlns:a16="http://schemas.microsoft.com/office/drawing/2014/main" id="{85327D62-0DBE-412D-8FC3-2D6BAE34B609}"/>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6" name="Freeform 846">
              <a:extLst>
                <a:ext uri="{FF2B5EF4-FFF2-40B4-BE49-F238E27FC236}">
                  <a16:creationId xmlns:a16="http://schemas.microsoft.com/office/drawing/2014/main" id="{818F2975-3D83-404F-9E55-8E8FB4D4E88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7" name="Freeform 847">
              <a:extLst>
                <a:ext uri="{FF2B5EF4-FFF2-40B4-BE49-F238E27FC236}">
                  <a16:creationId xmlns:a16="http://schemas.microsoft.com/office/drawing/2014/main" id="{EA21159E-E877-4003-8794-8630943EAB03}"/>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8" name="Freeform 848">
              <a:extLst>
                <a:ext uri="{FF2B5EF4-FFF2-40B4-BE49-F238E27FC236}">
                  <a16:creationId xmlns:a16="http://schemas.microsoft.com/office/drawing/2014/main" id="{3A36A992-EBCB-48A3-9692-2BFB73CA942C}"/>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9" name="Freeform 849">
              <a:extLst>
                <a:ext uri="{FF2B5EF4-FFF2-40B4-BE49-F238E27FC236}">
                  <a16:creationId xmlns:a16="http://schemas.microsoft.com/office/drawing/2014/main" id="{CB11EDF7-48B7-49B7-A21C-DA6B72769D57}"/>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0" name="Freeform 850">
              <a:extLst>
                <a:ext uri="{FF2B5EF4-FFF2-40B4-BE49-F238E27FC236}">
                  <a16:creationId xmlns:a16="http://schemas.microsoft.com/office/drawing/2014/main" id="{933E5A5D-D9CE-4F38-8C82-97EE58BDA711}"/>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1" name="Group 844">
            <a:extLst>
              <a:ext uri="{FF2B5EF4-FFF2-40B4-BE49-F238E27FC236}">
                <a16:creationId xmlns:a16="http://schemas.microsoft.com/office/drawing/2014/main" id="{765FB01B-0FFC-43EA-9F97-6D97C0BD426B}"/>
              </a:ext>
            </a:extLst>
          </p:cNvPr>
          <p:cNvGrpSpPr>
            <a:grpSpLocks noChangeAspect="1"/>
          </p:cNvGrpSpPr>
          <p:nvPr/>
        </p:nvGrpSpPr>
        <p:grpSpPr bwMode="auto">
          <a:xfrm>
            <a:off x="11054731" y="5402944"/>
            <a:ext cx="366963" cy="365119"/>
            <a:chOff x="4371" y="3110"/>
            <a:chExt cx="199" cy="198"/>
          </a:xfrm>
          <a:solidFill>
            <a:schemeClr val="accent3"/>
          </a:solidFill>
        </p:grpSpPr>
        <p:sp>
          <p:nvSpPr>
            <p:cNvPr id="312" name="Freeform 845">
              <a:extLst>
                <a:ext uri="{FF2B5EF4-FFF2-40B4-BE49-F238E27FC236}">
                  <a16:creationId xmlns:a16="http://schemas.microsoft.com/office/drawing/2014/main" id="{9F3C28EA-91A1-4C7D-820F-B77AB8F9345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Freeform 846">
              <a:extLst>
                <a:ext uri="{FF2B5EF4-FFF2-40B4-BE49-F238E27FC236}">
                  <a16:creationId xmlns:a16="http://schemas.microsoft.com/office/drawing/2014/main" id="{F0647DBF-073E-4DB7-8D30-99576CC4ACC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4" name="Freeform 847">
              <a:extLst>
                <a:ext uri="{FF2B5EF4-FFF2-40B4-BE49-F238E27FC236}">
                  <a16:creationId xmlns:a16="http://schemas.microsoft.com/office/drawing/2014/main" id="{22249B6A-0E52-4C0D-908F-871AD5CCDF6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5" name="Freeform 848">
              <a:extLst>
                <a:ext uri="{FF2B5EF4-FFF2-40B4-BE49-F238E27FC236}">
                  <a16:creationId xmlns:a16="http://schemas.microsoft.com/office/drawing/2014/main" id="{1E1ED4B3-C402-49EC-A158-52306FF2D662}"/>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Freeform 849">
              <a:extLst>
                <a:ext uri="{FF2B5EF4-FFF2-40B4-BE49-F238E27FC236}">
                  <a16:creationId xmlns:a16="http://schemas.microsoft.com/office/drawing/2014/main" id="{BC784B6B-FCC6-45B5-B7B8-F1B638301DC4}"/>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7" name="Freeform 850">
              <a:extLst>
                <a:ext uri="{FF2B5EF4-FFF2-40B4-BE49-F238E27FC236}">
                  <a16:creationId xmlns:a16="http://schemas.microsoft.com/office/drawing/2014/main" id="{D723D877-32C1-4252-9344-8A403F3A83E1}"/>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8" name="Group 844">
            <a:extLst>
              <a:ext uri="{FF2B5EF4-FFF2-40B4-BE49-F238E27FC236}">
                <a16:creationId xmlns:a16="http://schemas.microsoft.com/office/drawing/2014/main" id="{79AE9BE6-5BF7-45C3-BC63-6B7BE7CE886A}"/>
              </a:ext>
            </a:extLst>
          </p:cNvPr>
          <p:cNvGrpSpPr>
            <a:grpSpLocks noChangeAspect="1"/>
          </p:cNvGrpSpPr>
          <p:nvPr/>
        </p:nvGrpSpPr>
        <p:grpSpPr bwMode="auto">
          <a:xfrm>
            <a:off x="9980529" y="4998321"/>
            <a:ext cx="366963" cy="365119"/>
            <a:chOff x="4371" y="3110"/>
            <a:chExt cx="199" cy="198"/>
          </a:xfrm>
          <a:solidFill>
            <a:schemeClr val="accent3"/>
          </a:solidFill>
        </p:grpSpPr>
        <p:sp>
          <p:nvSpPr>
            <p:cNvPr id="319" name="Freeform 845">
              <a:extLst>
                <a:ext uri="{FF2B5EF4-FFF2-40B4-BE49-F238E27FC236}">
                  <a16:creationId xmlns:a16="http://schemas.microsoft.com/office/drawing/2014/main" id="{F80650BD-99B5-48DE-AB57-5230A57FE75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846">
              <a:extLst>
                <a:ext uri="{FF2B5EF4-FFF2-40B4-BE49-F238E27FC236}">
                  <a16:creationId xmlns:a16="http://schemas.microsoft.com/office/drawing/2014/main" id="{8F1344D0-17BB-4AF1-AFC8-5AEBB0216FA6}"/>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Freeform 847">
              <a:extLst>
                <a:ext uri="{FF2B5EF4-FFF2-40B4-BE49-F238E27FC236}">
                  <a16:creationId xmlns:a16="http://schemas.microsoft.com/office/drawing/2014/main" id="{04139ABB-F315-49ED-8077-75C769969CC8}"/>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2" name="Freeform 848">
              <a:extLst>
                <a:ext uri="{FF2B5EF4-FFF2-40B4-BE49-F238E27FC236}">
                  <a16:creationId xmlns:a16="http://schemas.microsoft.com/office/drawing/2014/main" id="{31951A4F-4625-4D73-9D75-2681EEDDF92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3" name="Freeform 849">
              <a:extLst>
                <a:ext uri="{FF2B5EF4-FFF2-40B4-BE49-F238E27FC236}">
                  <a16:creationId xmlns:a16="http://schemas.microsoft.com/office/drawing/2014/main" id="{0538E0D6-6D8E-4BB0-ADBB-B70996A8DCCF}"/>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4" name="Freeform 850">
              <a:extLst>
                <a:ext uri="{FF2B5EF4-FFF2-40B4-BE49-F238E27FC236}">
                  <a16:creationId xmlns:a16="http://schemas.microsoft.com/office/drawing/2014/main" id="{5019BBE4-BF83-49D0-94A3-6E38B718D10D}"/>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5" name="Group 844">
            <a:extLst>
              <a:ext uri="{FF2B5EF4-FFF2-40B4-BE49-F238E27FC236}">
                <a16:creationId xmlns:a16="http://schemas.microsoft.com/office/drawing/2014/main" id="{CB53A9D8-6B4D-4701-AB2F-878D27F2B61C}"/>
              </a:ext>
            </a:extLst>
          </p:cNvPr>
          <p:cNvGrpSpPr>
            <a:grpSpLocks noChangeAspect="1"/>
          </p:cNvGrpSpPr>
          <p:nvPr/>
        </p:nvGrpSpPr>
        <p:grpSpPr bwMode="auto">
          <a:xfrm>
            <a:off x="10404762" y="4998321"/>
            <a:ext cx="366963" cy="365119"/>
            <a:chOff x="4371" y="3110"/>
            <a:chExt cx="199" cy="198"/>
          </a:xfrm>
          <a:solidFill>
            <a:schemeClr val="accent3"/>
          </a:solidFill>
        </p:grpSpPr>
        <p:sp>
          <p:nvSpPr>
            <p:cNvPr id="326" name="Freeform 845">
              <a:extLst>
                <a:ext uri="{FF2B5EF4-FFF2-40B4-BE49-F238E27FC236}">
                  <a16:creationId xmlns:a16="http://schemas.microsoft.com/office/drawing/2014/main" id="{902FCB7C-753D-4536-A442-75CF0D62F6D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846">
              <a:extLst>
                <a:ext uri="{FF2B5EF4-FFF2-40B4-BE49-F238E27FC236}">
                  <a16:creationId xmlns:a16="http://schemas.microsoft.com/office/drawing/2014/main" id="{0FB97BAD-3031-47CA-821B-F906872C8F3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8" name="Freeform 847">
              <a:extLst>
                <a:ext uri="{FF2B5EF4-FFF2-40B4-BE49-F238E27FC236}">
                  <a16:creationId xmlns:a16="http://schemas.microsoft.com/office/drawing/2014/main" id="{69377D62-3545-45CF-8F3E-90D6DFB10C11}"/>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9" name="Freeform 848">
              <a:extLst>
                <a:ext uri="{FF2B5EF4-FFF2-40B4-BE49-F238E27FC236}">
                  <a16:creationId xmlns:a16="http://schemas.microsoft.com/office/drawing/2014/main" id="{8C8C738A-41BF-4586-A73E-F7F7BED89CA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849">
              <a:extLst>
                <a:ext uri="{FF2B5EF4-FFF2-40B4-BE49-F238E27FC236}">
                  <a16:creationId xmlns:a16="http://schemas.microsoft.com/office/drawing/2014/main" id="{8F63E87C-AC74-4398-94A3-90A9EE2A234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Freeform 850">
              <a:extLst>
                <a:ext uri="{FF2B5EF4-FFF2-40B4-BE49-F238E27FC236}">
                  <a16:creationId xmlns:a16="http://schemas.microsoft.com/office/drawing/2014/main" id="{47CFF963-9877-4F5D-BFD2-FA5D8E4E0E9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Isosceles Triangle 3">
            <a:extLst>
              <a:ext uri="{FF2B5EF4-FFF2-40B4-BE49-F238E27FC236}">
                <a16:creationId xmlns:a16="http://schemas.microsoft.com/office/drawing/2014/main" id="{6D381143-2C63-4C7F-AFA6-182B383519C6}"/>
              </a:ext>
            </a:extLst>
          </p:cNvPr>
          <p:cNvSpPr/>
          <p:nvPr/>
        </p:nvSpPr>
        <p:spPr bwMode="gray">
          <a:xfrm rot="16200000">
            <a:off x="2762026" y="4779720"/>
            <a:ext cx="608788" cy="1404349"/>
          </a:xfrm>
          <a:custGeom>
            <a:avLst/>
            <a:gdLst>
              <a:gd name="connsiteX0" fmla="*/ 0 w 456623"/>
              <a:gd name="connsiteY0" fmla="*/ 1444827 h 1444827"/>
              <a:gd name="connsiteX1" fmla="*/ 228312 w 456623"/>
              <a:gd name="connsiteY1" fmla="*/ 0 h 1444827"/>
              <a:gd name="connsiteX2" fmla="*/ 456623 w 456623"/>
              <a:gd name="connsiteY2" fmla="*/ 1444827 h 1444827"/>
              <a:gd name="connsiteX3" fmla="*/ 0 w 456623"/>
              <a:gd name="connsiteY3" fmla="*/ 1444827 h 1444827"/>
              <a:gd name="connsiteX0" fmla="*/ 0 w 611170"/>
              <a:gd name="connsiteY0" fmla="*/ 1425509 h 1444827"/>
              <a:gd name="connsiteX1" fmla="*/ 382859 w 611170"/>
              <a:gd name="connsiteY1" fmla="*/ 0 h 1444827"/>
              <a:gd name="connsiteX2" fmla="*/ 611170 w 611170"/>
              <a:gd name="connsiteY2" fmla="*/ 1444827 h 1444827"/>
              <a:gd name="connsiteX3" fmla="*/ 0 w 611170"/>
              <a:gd name="connsiteY3" fmla="*/ 1425509 h 1444827"/>
              <a:gd name="connsiteX0" fmla="*/ 0 w 613554"/>
              <a:gd name="connsiteY0" fmla="*/ 1394556 h 1444827"/>
              <a:gd name="connsiteX1" fmla="*/ 385243 w 613554"/>
              <a:gd name="connsiteY1" fmla="*/ 0 h 1444827"/>
              <a:gd name="connsiteX2" fmla="*/ 613554 w 613554"/>
              <a:gd name="connsiteY2" fmla="*/ 1444827 h 1444827"/>
              <a:gd name="connsiteX3" fmla="*/ 0 w 613554"/>
              <a:gd name="connsiteY3" fmla="*/ 1394556 h 1444827"/>
              <a:gd name="connsiteX0" fmla="*/ 0 w 613551"/>
              <a:gd name="connsiteY0" fmla="*/ 1394556 h 1404349"/>
              <a:gd name="connsiteX1" fmla="*/ 385243 w 613551"/>
              <a:gd name="connsiteY1" fmla="*/ 0 h 1404349"/>
              <a:gd name="connsiteX2" fmla="*/ 613551 w 613551"/>
              <a:gd name="connsiteY2" fmla="*/ 1404349 h 1404349"/>
              <a:gd name="connsiteX3" fmla="*/ 0 w 613551"/>
              <a:gd name="connsiteY3" fmla="*/ 1394556 h 1404349"/>
              <a:gd name="connsiteX0" fmla="*/ 0 w 608788"/>
              <a:gd name="connsiteY0" fmla="*/ 1401700 h 1404349"/>
              <a:gd name="connsiteX1" fmla="*/ 380480 w 608788"/>
              <a:gd name="connsiteY1" fmla="*/ 0 h 1404349"/>
              <a:gd name="connsiteX2" fmla="*/ 608788 w 608788"/>
              <a:gd name="connsiteY2" fmla="*/ 1404349 h 1404349"/>
              <a:gd name="connsiteX3" fmla="*/ 0 w 608788"/>
              <a:gd name="connsiteY3" fmla="*/ 1401700 h 1404349"/>
            </a:gdLst>
            <a:ahLst/>
            <a:cxnLst>
              <a:cxn ang="0">
                <a:pos x="connsiteX0" y="connsiteY0"/>
              </a:cxn>
              <a:cxn ang="0">
                <a:pos x="connsiteX1" y="connsiteY1"/>
              </a:cxn>
              <a:cxn ang="0">
                <a:pos x="connsiteX2" y="connsiteY2"/>
              </a:cxn>
              <a:cxn ang="0">
                <a:pos x="connsiteX3" y="connsiteY3"/>
              </a:cxn>
            </a:cxnLst>
            <a:rect l="l" t="t" r="r" b="b"/>
            <a:pathLst>
              <a:path w="608788" h="1404349">
                <a:moveTo>
                  <a:pt x="0" y="1401700"/>
                </a:moveTo>
                <a:lnTo>
                  <a:pt x="380480" y="0"/>
                </a:lnTo>
                <a:lnTo>
                  <a:pt x="608788" y="1404349"/>
                </a:lnTo>
                <a:lnTo>
                  <a:pt x="0" y="1401700"/>
                </a:lnTo>
                <a:close/>
              </a:path>
            </a:pathLst>
          </a:custGeom>
          <a:solidFill>
            <a:schemeClr val="accent3">
              <a:lumMod val="20000"/>
              <a:lumOff val="80000"/>
              <a:alpha val="43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9" name="Group 4">
            <a:extLst>
              <a:ext uri="{FF2B5EF4-FFF2-40B4-BE49-F238E27FC236}">
                <a16:creationId xmlns:a16="http://schemas.microsoft.com/office/drawing/2014/main" id="{205E986D-B2DF-4576-BFEE-6EE9685D2A34}"/>
              </a:ext>
            </a:extLst>
          </p:cNvPr>
          <p:cNvGrpSpPr>
            <a:grpSpLocks noChangeAspect="1"/>
          </p:cNvGrpSpPr>
          <p:nvPr/>
        </p:nvGrpSpPr>
        <p:grpSpPr bwMode="auto">
          <a:xfrm>
            <a:off x="3907537" y="5055892"/>
            <a:ext cx="844677" cy="819224"/>
            <a:chOff x="1501" y="4738"/>
            <a:chExt cx="1427" cy="1384"/>
          </a:xfrm>
          <a:solidFill>
            <a:srgbClr val="00A3E0"/>
          </a:solidFill>
        </p:grpSpPr>
        <p:sp>
          <p:nvSpPr>
            <p:cNvPr id="11" name="Freeform 5">
              <a:extLst>
                <a:ext uri="{FF2B5EF4-FFF2-40B4-BE49-F238E27FC236}">
                  <a16:creationId xmlns:a16="http://schemas.microsoft.com/office/drawing/2014/main" id="{B6A44E17-8255-4E37-AE43-082E0D23AA0E}"/>
                </a:ext>
              </a:extLst>
            </p:cNvPr>
            <p:cNvSpPr>
              <a:spLocks noEditPoints="1"/>
            </p:cNvSpPr>
            <p:nvPr/>
          </p:nvSpPr>
          <p:spPr bwMode="auto">
            <a:xfrm>
              <a:off x="2072" y="5222"/>
              <a:ext cx="856" cy="900"/>
            </a:xfrm>
            <a:custGeom>
              <a:avLst/>
              <a:gdLst>
                <a:gd name="T0" fmla="*/ 324 w 384"/>
                <a:gd name="T1" fmla="*/ 85 h 416"/>
                <a:gd name="T2" fmla="*/ 341 w 384"/>
                <a:gd name="T3" fmla="*/ 48 h 416"/>
                <a:gd name="T4" fmla="*/ 258 w 384"/>
                <a:gd name="T5" fmla="*/ 14 h 416"/>
                <a:gd name="T6" fmla="*/ 125 w 384"/>
                <a:gd name="T7" fmla="*/ 14 h 416"/>
                <a:gd name="T8" fmla="*/ 42 w 384"/>
                <a:gd name="T9" fmla="*/ 48 h 416"/>
                <a:gd name="T10" fmla="*/ 59 w 384"/>
                <a:gd name="T11" fmla="*/ 85 h 416"/>
                <a:gd name="T12" fmla="*/ 0 w 384"/>
                <a:gd name="T13" fmla="*/ 96 h 416"/>
                <a:gd name="T14" fmla="*/ 10 w 384"/>
                <a:gd name="T15" fmla="*/ 416 h 416"/>
                <a:gd name="T16" fmla="*/ 384 w 384"/>
                <a:gd name="T17" fmla="*/ 405 h 416"/>
                <a:gd name="T18" fmla="*/ 373 w 384"/>
                <a:gd name="T19" fmla="*/ 85 h 416"/>
                <a:gd name="T20" fmla="*/ 234 w 384"/>
                <a:gd name="T21" fmla="*/ 149 h 416"/>
                <a:gd name="T22" fmla="*/ 362 w 384"/>
                <a:gd name="T23" fmla="*/ 106 h 416"/>
                <a:gd name="T24" fmla="*/ 170 w 384"/>
                <a:gd name="T25" fmla="*/ 149 h 416"/>
                <a:gd name="T26" fmla="*/ 213 w 384"/>
                <a:gd name="T27" fmla="*/ 106 h 416"/>
                <a:gd name="T28" fmla="*/ 170 w 384"/>
                <a:gd name="T29" fmla="*/ 149 h 416"/>
                <a:gd name="T30" fmla="*/ 213 w 384"/>
                <a:gd name="T31" fmla="*/ 394 h 416"/>
                <a:gd name="T32" fmla="*/ 170 w 384"/>
                <a:gd name="T33" fmla="*/ 170 h 416"/>
                <a:gd name="T34" fmla="*/ 274 w 384"/>
                <a:gd name="T35" fmla="*/ 29 h 416"/>
                <a:gd name="T36" fmla="*/ 320 w 384"/>
                <a:gd name="T37" fmla="*/ 48 h 416"/>
                <a:gd name="T38" fmla="*/ 294 w 384"/>
                <a:gd name="T39" fmla="*/ 85 h 416"/>
                <a:gd name="T40" fmla="*/ 274 w 384"/>
                <a:gd name="T41" fmla="*/ 29 h 416"/>
                <a:gd name="T42" fmla="*/ 64 w 384"/>
                <a:gd name="T43" fmla="*/ 48 h 416"/>
                <a:gd name="T44" fmla="*/ 110 w 384"/>
                <a:gd name="T45" fmla="*/ 29 h 416"/>
                <a:gd name="T46" fmla="*/ 89 w 384"/>
                <a:gd name="T47" fmla="*/ 85 h 416"/>
                <a:gd name="T48" fmla="*/ 149 w 384"/>
                <a:gd name="T49" fmla="*/ 106 h 416"/>
                <a:gd name="T50" fmla="*/ 21 w 384"/>
                <a:gd name="T51" fmla="*/ 149 h 416"/>
                <a:gd name="T52" fmla="*/ 149 w 384"/>
                <a:gd name="T53" fmla="*/ 106 h 416"/>
                <a:gd name="T54" fmla="*/ 149 w 384"/>
                <a:gd name="T55" fmla="*/ 170 h 416"/>
                <a:gd name="T56" fmla="*/ 21 w 384"/>
                <a:gd name="T57" fmla="*/ 394 h 416"/>
                <a:gd name="T58" fmla="*/ 362 w 384"/>
                <a:gd name="T59" fmla="*/ 394 h 416"/>
                <a:gd name="T60" fmla="*/ 234 w 384"/>
                <a:gd name="T61" fmla="*/ 170 h 416"/>
                <a:gd name="T62" fmla="*/ 362 w 384"/>
                <a:gd name="T63" fmla="*/ 394 h 416"/>
                <a:gd name="T64" fmla="*/ 362 w 384"/>
                <a:gd name="T65" fmla="*/ 39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4" h="416">
                  <a:moveTo>
                    <a:pt x="373" y="85"/>
                  </a:moveTo>
                  <a:cubicBezTo>
                    <a:pt x="324" y="85"/>
                    <a:pt x="324" y="85"/>
                    <a:pt x="324" y="85"/>
                  </a:cubicBezTo>
                  <a:cubicBezTo>
                    <a:pt x="327" y="82"/>
                    <a:pt x="327" y="82"/>
                    <a:pt x="327" y="82"/>
                  </a:cubicBezTo>
                  <a:cubicBezTo>
                    <a:pt x="336" y="73"/>
                    <a:pt x="341" y="61"/>
                    <a:pt x="341" y="48"/>
                  </a:cubicBezTo>
                  <a:cubicBezTo>
                    <a:pt x="341" y="21"/>
                    <a:pt x="319" y="0"/>
                    <a:pt x="293" y="0"/>
                  </a:cubicBezTo>
                  <a:cubicBezTo>
                    <a:pt x="280" y="0"/>
                    <a:pt x="268" y="5"/>
                    <a:pt x="258" y="14"/>
                  </a:cubicBezTo>
                  <a:cubicBezTo>
                    <a:pt x="192" y="81"/>
                    <a:pt x="192" y="81"/>
                    <a:pt x="192" y="81"/>
                  </a:cubicBezTo>
                  <a:cubicBezTo>
                    <a:pt x="125" y="14"/>
                    <a:pt x="125" y="14"/>
                    <a:pt x="125" y="14"/>
                  </a:cubicBezTo>
                  <a:cubicBezTo>
                    <a:pt x="116" y="5"/>
                    <a:pt x="104" y="0"/>
                    <a:pt x="91" y="0"/>
                  </a:cubicBezTo>
                  <a:cubicBezTo>
                    <a:pt x="64" y="0"/>
                    <a:pt x="42" y="21"/>
                    <a:pt x="42" y="48"/>
                  </a:cubicBezTo>
                  <a:cubicBezTo>
                    <a:pt x="42" y="61"/>
                    <a:pt x="47" y="73"/>
                    <a:pt x="56" y="82"/>
                  </a:cubicBezTo>
                  <a:cubicBezTo>
                    <a:pt x="59" y="85"/>
                    <a:pt x="59" y="85"/>
                    <a:pt x="59" y="85"/>
                  </a:cubicBezTo>
                  <a:cubicBezTo>
                    <a:pt x="10" y="85"/>
                    <a:pt x="10" y="85"/>
                    <a:pt x="10" y="85"/>
                  </a:cubicBezTo>
                  <a:cubicBezTo>
                    <a:pt x="4" y="85"/>
                    <a:pt x="0" y="90"/>
                    <a:pt x="0" y="96"/>
                  </a:cubicBezTo>
                  <a:cubicBezTo>
                    <a:pt x="0" y="405"/>
                    <a:pt x="0" y="405"/>
                    <a:pt x="0" y="405"/>
                  </a:cubicBezTo>
                  <a:cubicBezTo>
                    <a:pt x="0" y="411"/>
                    <a:pt x="4" y="416"/>
                    <a:pt x="10" y="416"/>
                  </a:cubicBezTo>
                  <a:cubicBezTo>
                    <a:pt x="373" y="416"/>
                    <a:pt x="373" y="416"/>
                    <a:pt x="373" y="416"/>
                  </a:cubicBezTo>
                  <a:cubicBezTo>
                    <a:pt x="379" y="416"/>
                    <a:pt x="384" y="411"/>
                    <a:pt x="384" y="405"/>
                  </a:cubicBezTo>
                  <a:cubicBezTo>
                    <a:pt x="384" y="96"/>
                    <a:pt x="384" y="96"/>
                    <a:pt x="384" y="96"/>
                  </a:cubicBezTo>
                  <a:cubicBezTo>
                    <a:pt x="384" y="90"/>
                    <a:pt x="379" y="85"/>
                    <a:pt x="373" y="85"/>
                  </a:cubicBezTo>
                  <a:close/>
                  <a:moveTo>
                    <a:pt x="362" y="149"/>
                  </a:moveTo>
                  <a:cubicBezTo>
                    <a:pt x="234" y="149"/>
                    <a:pt x="234" y="149"/>
                    <a:pt x="234" y="149"/>
                  </a:cubicBezTo>
                  <a:cubicBezTo>
                    <a:pt x="234" y="106"/>
                    <a:pt x="234" y="106"/>
                    <a:pt x="234" y="106"/>
                  </a:cubicBezTo>
                  <a:cubicBezTo>
                    <a:pt x="362" y="106"/>
                    <a:pt x="362" y="106"/>
                    <a:pt x="362" y="106"/>
                  </a:cubicBezTo>
                  <a:lnTo>
                    <a:pt x="362" y="149"/>
                  </a:lnTo>
                  <a:close/>
                  <a:moveTo>
                    <a:pt x="170" y="149"/>
                  </a:moveTo>
                  <a:cubicBezTo>
                    <a:pt x="170" y="106"/>
                    <a:pt x="170" y="106"/>
                    <a:pt x="170" y="106"/>
                  </a:cubicBezTo>
                  <a:cubicBezTo>
                    <a:pt x="213" y="106"/>
                    <a:pt x="213" y="106"/>
                    <a:pt x="213" y="106"/>
                  </a:cubicBezTo>
                  <a:cubicBezTo>
                    <a:pt x="213" y="149"/>
                    <a:pt x="213" y="149"/>
                    <a:pt x="213" y="149"/>
                  </a:cubicBezTo>
                  <a:lnTo>
                    <a:pt x="170" y="149"/>
                  </a:lnTo>
                  <a:close/>
                  <a:moveTo>
                    <a:pt x="213" y="170"/>
                  </a:moveTo>
                  <a:cubicBezTo>
                    <a:pt x="213" y="394"/>
                    <a:pt x="213" y="394"/>
                    <a:pt x="213" y="394"/>
                  </a:cubicBezTo>
                  <a:cubicBezTo>
                    <a:pt x="170" y="394"/>
                    <a:pt x="170" y="394"/>
                    <a:pt x="170" y="394"/>
                  </a:cubicBezTo>
                  <a:cubicBezTo>
                    <a:pt x="170" y="170"/>
                    <a:pt x="170" y="170"/>
                    <a:pt x="170" y="170"/>
                  </a:cubicBezTo>
                  <a:lnTo>
                    <a:pt x="213" y="170"/>
                  </a:lnTo>
                  <a:close/>
                  <a:moveTo>
                    <a:pt x="274" y="29"/>
                  </a:moveTo>
                  <a:cubicBezTo>
                    <a:pt x="279" y="24"/>
                    <a:pt x="285" y="21"/>
                    <a:pt x="293" y="21"/>
                  </a:cubicBezTo>
                  <a:cubicBezTo>
                    <a:pt x="308" y="21"/>
                    <a:pt x="320" y="33"/>
                    <a:pt x="320" y="48"/>
                  </a:cubicBezTo>
                  <a:cubicBezTo>
                    <a:pt x="320" y="55"/>
                    <a:pt x="317" y="62"/>
                    <a:pt x="312" y="67"/>
                  </a:cubicBezTo>
                  <a:cubicBezTo>
                    <a:pt x="294" y="85"/>
                    <a:pt x="294" y="85"/>
                    <a:pt x="294" y="85"/>
                  </a:cubicBezTo>
                  <a:cubicBezTo>
                    <a:pt x="217" y="85"/>
                    <a:pt x="217" y="85"/>
                    <a:pt x="217" y="85"/>
                  </a:cubicBezTo>
                  <a:lnTo>
                    <a:pt x="274" y="29"/>
                  </a:lnTo>
                  <a:close/>
                  <a:moveTo>
                    <a:pt x="72" y="67"/>
                  </a:moveTo>
                  <a:cubicBezTo>
                    <a:pt x="66" y="62"/>
                    <a:pt x="64" y="55"/>
                    <a:pt x="64" y="48"/>
                  </a:cubicBezTo>
                  <a:cubicBezTo>
                    <a:pt x="64" y="33"/>
                    <a:pt x="76" y="21"/>
                    <a:pt x="91" y="21"/>
                  </a:cubicBezTo>
                  <a:cubicBezTo>
                    <a:pt x="98" y="21"/>
                    <a:pt x="105" y="24"/>
                    <a:pt x="110" y="29"/>
                  </a:cubicBezTo>
                  <a:cubicBezTo>
                    <a:pt x="166" y="85"/>
                    <a:pt x="166" y="85"/>
                    <a:pt x="166" y="85"/>
                  </a:cubicBezTo>
                  <a:cubicBezTo>
                    <a:pt x="89" y="85"/>
                    <a:pt x="89" y="85"/>
                    <a:pt x="89" y="85"/>
                  </a:cubicBezTo>
                  <a:lnTo>
                    <a:pt x="72" y="67"/>
                  </a:lnTo>
                  <a:close/>
                  <a:moveTo>
                    <a:pt x="149" y="106"/>
                  </a:moveTo>
                  <a:cubicBezTo>
                    <a:pt x="149" y="149"/>
                    <a:pt x="149" y="149"/>
                    <a:pt x="149" y="149"/>
                  </a:cubicBezTo>
                  <a:cubicBezTo>
                    <a:pt x="21" y="149"/>
                    <a:pt x="21" y="149"/>
                    <a:pt x="21" y="149"/>
                  </a:cubicBezTo>
                  <a:cubicBezTo>
                    <a:pt x="21" y="106"/>
                    <a:pt x="21" y="106"/>
                    <a:pt x="21" y="106"/>
                  </a:cubicBezTo>
                  <a:lnTo>
                    <a:pt x="149" y="106"/>
                  </a:lnTo>
                  <a:close/>
                  <a:moveTo>
                    <a:pt x="21" y="170"/>
                  </a:moveTo>
                  <a:cubicBezTo>
                    <a:pt x="149" y="170"/>
                    <a:pt x="149" y="170"/>
                    <a:pt x="149" y="170"/>
                  </a:cubicBezTo>
                  <a:cubicBezTo>
                    <a:pt x="149" y="394"/>
                    <a:pt x="149" y="394"/>
                    <a:pt x="149" y="394"/>
                  </a:cubicBezTo>
                  <a:cubicBezTo>
                    <a:pt x="21" y="394"/>
                    <a:pt x="21" y="394"/>
                    <a:pt x="21" y="394"/>
                  </a:cubicBezTo>
                  <a:lnTo>
                    <a:pt x="21" y="170"/>
                  </a:lnTo>
                  <a:close/>
                  <a:moveTo>
                    <a:pt x="362" y="394"/>
                  </a:moveTo>
                  <a:cubicBezTo>
                    <a:pt x="234" y="394"/>
                    <a:pt x="234" y="394"/>
                    <a:pt x="234" y="394"/>
                  </a:cubicBezTo>
                  <a:cubicBezTo>
                    <a:pt x="234" y="170"/>
                    <a:pt x="234" y="170"/>
                    <a:pt x="234" y="170"/>
                  </a:cubicBezTo>
                  <a:cubicBezTo>
                    <a:pt x="362" y="170"/>
                    <a:pt x="362" y="170"/>
                    <a:pt x="362" y="170"/>
                  </a:cubicBezTo>
                  <a:lnTo>
                    <a:pt x="362" y="394"/>
                  </a:lnTo>
                  <a:close/>
                  <a:moveTo>
                    <a:pt x="362" y="394"/>
                  </a:moveTo>
                  <a:cubicBezTo>
                    <a:pt x="362" y="394"/>
                    <a:pt x="362" y="394"/>
                    <a:pt x="362" y="394"/>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AD5F549-4C0A-494D-9CD8-65E24A6727D6}"/>
                </a:ext>
              </a:extLst>
            </p:cNvPr>
            <p:cNvSpPr>
              <a:spLocks noEditPoints="1"/>
            </p:cNvSpPr>
            <p:nvPr/>
          </p:nvSpPr>
          <p:spPr bwMode="auto">
            <a:xfrm>
              <a:off x="1501" y="4738"/>
              <a:ext cx="1086" cy="644"/>
            </a:xfrm>
            <a:custGeom>
              <a:avLst/>
              <a:gdLst>
                <a:gd name="T0" fmla="*/ 448 w 487"/>
                <a:gd name="T1" fmla="*/ 138 h 298"/>
                <a:gd name="T2" fmla="*/ 298 w 487"/>
                <a:gd name="T3" fmla="*/ 138 h 298"/>
                <a:gd name="T4" fmla="*/ 149 w 487"/>
                <a:gd name="T5" fmla="*/ 0 h 298"/>
                <a:gd name="T6" fmla="*/ 0 w 487"/>
                <a:gd name="T7" fmla="*/ 149 h 298"/>
                <a:gd name="T8" fmla="*/ 149 w 487"/>
                <a:gd name="T9" fmla="*/ 298 h 298"/>
                <a:gd name="T10" fmla="*/ 298 w 487"/>
                <a:gd name="T11" fmla="*/ 160 h 298"/>
                <a:gd name="T12" fmla="*/ 437 w 487"/>
                <a:gd name="T13" fmla="*/ 160 h 298"/>
                <a:gd name="T14" fmla="*/ 437 w 487"/>
                <a:gd name="T15" fmla="*/ 230 h 298"/>
                <a:gd name="T16" fmla="*/ 423 w 487"/>
                <a:gd name="T17" fmla="*/ 216 h 298"/>
                <a:gd name="T18" fmla="*/ 408 w 487"/>
                <a:gd name="T19" fmla="*/ 231 h 298"/>
                <a:gd name="T20" fmla="*/ 440 w 487"/>
                <a:gd name="T21" fmla="*/ 263 h 298"/>
                <a:gd name="T22" fmla="*/ 448 w 487"/>
                <a:gd name="T23" fmla="*/ 266 h 298"/>
                <a:gd name="T24" fmla="*/ 455 w 487"/>
                <a:gd name="T25" fmla="*/ 263 h 298"/>
                <a:gd name="T26" fmla="*/ 487 w 487"/>
                <a:gd name="T27" fmla="*/ 231 h 298"/>
                <a:gd name="T28" fmla="*/ 472 w 487"/>
                <a:gd name="T29" fmla="*/ 216 h 298"/>
                <a:gd name="T30" fmla="*/ 458 w 487"/>
                <a:gd name="T31" fmla="*/ 230 h 298"/>
                <a:gd name="T32" fmla="*/ 458 w 487"/>
                <a:gd name="T33" fmla="*/ 149 h 298"/>
                <a:gd name="T34" fmla="*/ 448 w 487"/>
                <a:gd name="T35" fmla="*/ 138 h 298"/>
                <a:gd name="T36" fmla="*/ 149 w 487"/>
                <a:gd name="T37" fmla="*/ 277 h 298"/>
                <a:gd name="T38" fmla="*/ 21 w 487"/>
                <a:gd name="T39" fmla="*/ 149 h 298"/>
                <a:gd name="T40" fmla="*/ 149 w 487"/>
                <a:gd name="T41" fmla="*/ 21 h 298"/>
                <a:gd name="T42" fmla="*/ 277 w 487"/>
                <a:gd name="T43" fmla="*/ 149 h 298"/>
                <a:gd name="T44" fmla="*/ 149 w 487"/>
                <a:gd name="T45" fmla="*/ 277 h 298"/>
                <a:gd name="T46" fmla="*/ 149 w 487"/>
                <a:gd name="T47" fmla="*/ 277 h 298"/>
                <a:gd name="T48" fmla="*/ 149 w 487"/>
                <a:gd name="T49" fmla="*/ 277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7" h="298">
                  <a:moveTo>
                    <a:pt x="448" y="138"/>
                  </a:moveTo>
                  <a:cubicBezTo>
                    <a:pt x="298" y="138"/>
                    <a:pt x="298" y="138"/>
                    <a:pt x="298" y="138"/>
                  </a:cubicBezTo>
                  <a:cubicBezTo>
                    <a:pt x="292" y="61"/>
                    <a:pt x="228" y="0"/>
                    <a:pt x="149" y="0"/>
                  </a:cubicBezTo>
                  <a:cubicBezTo>
                    <a:pt x="67" y="0"/>
                    <a:pt x="0" y="67"/>
                    <a:pt x="0" y="149"/>
                  </a:cubicBezTo>
                  <a:cubicBezTo>
                    <a:pt x="0" y="231"/>
                    <a:pt x="67" y="298"/>
                    <a:pt x="149" y="298"/>
                  </a:cubicBezTo>
                  <a:cubicBezTo>
                    <a:pt x="228" y="298"/>
                    <a:pt x="292" y="237"/>
                    <a:pt x="298" y="160"/>
                  </a:cubicBezTo>
                  <a:cubicBezTo>
                    <a:pt x="437" y="160"/>
                    <a:pt x="437" y="160"/>
                    <a:pt x="437" y="160"/>
                  </a:cubicBezTo>
                  <a:cubicBezTo>
                    <a:pt x="437" y="230"/>
                    <a:pt x="437" y="230"/>
                    <a:pt x="437" y="230"/>
                  </a:cubicBezTo>
                  <a:cubicBezTo>
                    <a:pt x="423" y="216"/>
                    <a:pt x="423" y="216"/>
                    <a:pt x="423" y="216"/>
                  </a:cubicBezTo>
                  <a:cubicBezTo>
                    <a:pt x="408" y="231"/>
                    <a:pt x="408" y="231"/>
                    <a:pt x="408" y="231"/>
                  </a:cubicBezTo>
                  <a:cubicBezTo>
                    <a:pt x="440" y="263"/>
                    <a:pt x="440" y="263"/>
                    <a:pt x="440" y="263"/>
                  </a:cubicBezTo>
                  <a:cubicBezTo>
                    <a:pt x="442" y="265"/>
                    <a:pt x="445" y="266"/>
                    <a:pt x="448" y="266"/>
                  </a:cubicBezTo>
                  <a:cubicBezTo>
                    <a:pt x="450" y="266"/>
                    <a:pt x="453" y="265"/>
                    <a:pt x="455" y="263"/>
                  </a:cubicBezTo>
                  <a:cubicBezTo>
                    <a:pt x="487" y="231"/>
                    <a:pt x="487" y="231"/>
                    <a:pt x="487" y="231"/>
                  </a:cubicBezTo>
                  <a:cubicBezTo>
                    <a:pt x="472" y="216"/>
                    <a:pt x="472" y="216"/>
                    <a:pt x="472" y="216"/>
                  </a:cubicBezTo>
                  <a:cubicBezTo>
                    <a:pt x="458" y="230"/>
                    <a:pt x="458" y="230"/>
                    <a:pt x="458" y="230"/>
                  </a:cubicBezTo>
                  <a:cubicBezTo>
                    <a:pt x="458" y="149"/>
                    <a:pt x="458" y="149"/>
                    <a:pt x="458" y="149"/>
                  </a:cubicBezTo>
                  <a:cubicBezTo>
                    <a:pt x="458" y="143"/>
                    <a:pt x="454" y="138"/>
                    <a:pt x="448" y="138"/>
                  </a:cubicBezTo>
                  <a:close/>
                  <a:moveTo>
                    <a:pt x="149" y="277"/>
                  </a:moveTo>
                  <a:cubicBezTo>
                    <a:pt x="78" y="277"/>
                    <a:pt x="21" y="220"/>
                    <a:pt x="21" y="149"/>
                  </a:cubicBezTo>
                  <a:cubicBezTo>
                    <a:pt x="21" y="78"/>
                    <a:pt x="78" y="21"/>
                    <a:pt x="149" y="21"/>
                  </a:cubicBezTo>
                  <a:cubicBezTo>
                    <a:pt x="220" y="21"/>
                    <a:pt x="277" y="78"/>
                    <a:pt x="277" y="149"/>
                  </a:cubicBezTo>
                  <a:cubicBezTo>
                    <a:pt x="277" y="220"/>
                    <a:pt x="220" y="277"/>
                    <a:pt x="149" y="277"/>
                  </a:cubicBezTo>
                  <a:close/>
                  <a:moveTo>
                    <a:pt x="149" y="277"/>
                  </a:moveTo>
                  <a:cubicBezTo>
                    <a:pt x="149" y="277"/>
                    <a:pt x="149" y="277"/>
                    <a:pt x="149" y="277"/>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2D3DD32D-6885-47E7-907B-67FB81A12C24}"/>
                </a:ext>
              </a:extLst>
            </p:cNvPr>
            <p:cNvSpPr>
              <a:spLocks noEditPoints="1"/>
            </p:cNvSpPr>
            <p:nvPr/>
          </p:nvSpPr>
          <p:spPr bwMode="auto">
            <a:xfrm>
              <a:off x="1617" y="4851"/>
              <a:ext cx="433" cy="395"/>
            </a:xfrm>
            <a:custGeom>
              <a:avLst/>
              <a:gdLst>
                <a:gd name="T0" fmla="*/ 130 w 194"/>
                <a:gd name="T1" fmla="*/ 55 h 183"/>
                <a:gd name="T2" fmla="*/ 107 w 194"/>
                <a:gd name="T3" fmla="*/ 7 h 183"/>
                <a:gd name="T4" fmla="*/ 87 w 194"/>
                <a:gd name="T5" fmla="*/ 7 h 183"/>
                <a:gd name="T6" fmla="*/ 64 w 194"/>
                <a:gd name="T7" fmla="*/ 55 h 183"/>
                <a:gd name="T8" fmla="*/ 10 w 194"/>
                <a:gd name="T9" fmla="*/ 62 h 183"/>
                <a:gd name="T10" fmla="*/ 2 w 194"/>
                <a:gd name="T11" fmla="*/ 70 h 183"/>
                <a:gd name="T12" fmla="*/ 4 w 194"/>
                <a:gd name="T13" fmla="*/ 80 h 183"/>
                <a:gd name="T14" fmla="*/ 43 w 194"/>
                <a:gd name="T15" fmla="*/ 118 h 183"/>
                <a:gd name="T16" fmla="*/ 34 w 194"/>
                <a:gd name="T17" fmla="*/ 170 h 183"/>
                <a:gd name="T18" fmla="*/ 38 w 194"/>
                <a:gd name="T19" fmla="*/ 180 h 183"/>
                <a:gd name="T20" fmla="*/ 49 w 194"/>
                <a:gd name="T21" fmla="*/ 181 h 183"/>
                <a:gd name="T22" fmla="*/ 97 w 194"/>
                <a:gd name="T23" fmla="*/ 156 h 183"/>
                <a:gd name="T24" fmla="*/ 145 w 194"/>
                <a:gd name="T25" fmla="*/ 181 h 183"/>
                <a:gd name="T26" fmla="*/ 150 w 194"/>
                <a:gd name="T27" fmla="*/ 182 h 183"/>
                <a:gd name="T28" fmla="*/ 156 w 194"/>
                <a:gd name="T29" fmla="*/ 180 h 183"/>
                <a:gd name="T30" fmla="*/ 160 w 194"/>
                <a:gd name="T31" fmla="*/ 170 h 183"/>
                <a:gd name="T32" fmla="*/ 151 w 194"/>
                <a:gd name="T33" fmla="*/ 118 h 183"/>
                <a:gd name="T34" fmla="*/ 190 w 194"/>
                <a:gd name="T35" fmla="*/ 80 h 183"/>
                <a:gd name="T36" fmla="*/ 192 w 194"/>
                <a:gd name="T37" fmla="*/ 70 h 183"/>
                <a:gd name="T38" fmla="*/ 184 w 194"/>
                <a:gd name="T39" fmla="*/ 62 h 183"/>
                <a:gd name="T40" fmla="*/ 130 w 194"/>
                <a:gd name="T41" fmla="*/ 55 h 183"/>
                <a:gd name="T42" fmla="*/ 132 w 194"/>
                <a:gd name="T43" fmla="*/ 106 h 183"/>
                <a:gd name="T44" fmla="*/ 129 w 194"/>
                <a:gd name="T45" fmla="*/ 116 h 183"/>
                <a:gd name="T46" fmla="*/ 136 w 194"/>
                <a:gd name="T47" fmla="*/ 152 h 183"/>
                <a:gd name="T48" fmla="*/ 102 w 194"/>
                <a:gd name="T49" fmla="*/ 135 h 183"/>
                <a:gd name="T50" fmla="*/ 97 w 194"/>
                <a:gd name="T51" fmla="*/ 134 h 183"/>
                <a:gd name="T52" fmla="*/ 92 w 194"/>
                <a:gd name="T53" fmla="*/ 135 h 183"/>
                <a:gd name="T54" fmla="*/ 58 w 194"/>
                <a:gd name="T55" fmla="*/ 152 h 183"/>
                <a:gd name="T56" fmla="*/ 65 w 194"/>
                <a:gd name="T57" fmla="*/ 116 h 183"/>
                <a:gd name="T58" fmla="*/ 62 w 194"/>
                <a:gd name="T59" fmla="*/ 106 h 183"/>
                <a:gd name="T60" fmla="*/ 35 w 194"/>
                <a:gd name="T61" fmla="*/ 80 h 183"/>
                <a:gd name="T62" fmla="*/ 72 w 194"/>
                <a:gd name="T63" fmla="*/ 75 h 183"/>
                <a:gd name="T64" fmla="*/ 80 w 194"/>
                <a:gd name="T65" fmla="*/ 69 h 183"/>
                <a:gd name="T66" fmla="*/ 97 w 194"/>
                <a:gd name="T67" fmla="*/ 35 h 183"/>
                <a:gd name="T68" fmla="*/ 114 w 194"/>
                <a:gd name="T69" fmla="*/ 69 h 183"/>
                <a:gd name="T70" fmla="*/ 122 w 194"/>
                <a:gd name="T71" fmla="*/ 75 h 183"/>
                <a:gd name="T72" fmla="*/ 159 w 194"/>
                <a:gd name="T73" fmla="*/ 80 h 183"/>
                <a:gd name="T74" fmla="*/ 132 w 194"/>
                <a:gd name="T75" fmla="*/ 106 h 183"/>
                <a:gd name="T76" fmla="*/ 132 w 194"/>
                <a:gd name="T77" fmla="*/ 106 h 183"/>
                <a:gd name="T78" fmla="*/ 132 w 194"/>
                <a:gd name="T79" fmla="*/ 106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4" h="183">
                  <a:moveTo>
                    <a:pt x="130" y="55"/>
                  </a:moveTo>
                  <a:cubicBezTo>
                    <a:pt x="107" y="7"/>
                    <a:pt x="107" y="7"/>
                    <a:pt x="107" y="7"/>
                  </a:cubicBezTo>
                  <a:cubicBezTo>
                    <a:pt x="103" y="0"/>
                    <a:pt x="91" y="0"/>
                    <a:pt x="87" y="7"/>
                  </a:cubicBezTo>
                  <a:cubicBezTo>
                    <a:pt x="64" y="55"/>
                    <a:pt x="64" y="55"/>
                    <a:pt x="64" y="55"/>
                  </a:cubicBezTo>
                  <a:cubicBezTo>
                    <a:pt x="10" y="62"/>
                    <a:pt x="10" y="62"/>
                    <a:pt x="10" y="62"/>
                  </a:cubicBezTo>
                  <a:cubicBezTo>
                    <a:pt x="6" y="63"/>
                    <a:pt x="3" y="66"/>
                    <a:pt x="2" y="70"/>
                  </a:cubicBezTo>
                  <a:cubicBezTo>
                    <a:pt x="0" y="73"/>
                    <a:pt x="1" y="78"/>
                    <a:pt x="4" y="80"/>
                  </a:cubicBezTo>
                  <a:cubicBezTo>
                    <a:pt x="43" y="118"/>
                    <a:pt x="43" y="118"/>
                    <a:pt x="43" y="118"/>
                  </a:cubicBezTo>
                  <a:cubicBezTo>
                    <a:pt x="34" y="170"/>
                    <a:pt x="34" y="170"/>
                    <a:pt x="34" y="170"/>
                  </a:cubicBezTo>
                  <a:cubicBezTo>
                    <a:pt x="33" y="174"/>
                    <a:pt x="35" y="178"/>
                    <a:pt x="38" y="180"/>
                  </a:cubicBezTo>
                  <a:cubicBezTo>
                    <a:pt x="41" y="183"/>
                    <a:pt x="46" y="183"/>
                    <a:pt x="49" y="181"/>
                  </a:cubicBezTo>
                  <a:cubicBezTo>
                    <a:pt x="97" y="156"/>
                    <a:pt x="97" y="156"/>
                    <a:pt x="97" y="156"/>
                  </a:cubicBezTo>
                  <a:cubicBezTo>
                    <a:pt x="145" y="181"/>
                    <a:pt x="145" y="181"/>
                    <a:pt x="145" y="181"/>
                  </a:cubicBezTo>
                  <a:cubicBezTo>
                    <a:pt x="146" y="182"/>
                    <a:pt x="148" y="182"/>
                    <a:pt x="150" y="182"/>
                  </a:cubicBezTo>
                  <a:cubicBezTo>
                    <a:pt x="152" y="182"/>
                    <a:pt x="154" y="182"/>
                    <a:pt x="156" y="180"/>
                  </a:cubicBezTo>
                  <a:cubicBezTo>
                    <a:pt x="159" y="178"/>
                    <a:pt x="161" y="174"/>
                    <a:pt x="160" y="170"/>
                  </a:cubicBezTo>
                  <a:cubicBezTo>
                    <a:pt x="151" y="118"/>
                    <a:pt x="151" y="118"/>
                    <a:pt x="151" y="118"/>
                  </a:cubicBezTo>
                  <a:cubicBezTo>
                    <a:pt x="190" y="80"/>
                    <a:pt x="190" y="80"/>
                    <a:pt x="190" y="80"/>
                  </a:cubicBezTo>
                  <a:cubicBezTo>
                    <a:pt x="193" y="78"/>
                    <a:pt x="194" y="73"/>
                    <a:pt x="192" y="70"/>
                  </a:cubicBezTo>
                  <a:cubicBezTo>
                    <a:pt x="191" y="66"/>
                    <a:pt x="188" y="63"/>
                    <a:pt x="184" y="62"/>
                  </a:cubicBezTo>
                  <a:lnTo>
                    <a:pt x="130" y="55"/>
                  </a:lnTo>
                  <a:close/>
                  <a:moveTo>
                    <a:pt x="132" y="106"/>
                  </a:moveTo>
                  <a:cubicBezTo>
                    <a:pt x="130" y="109"/>
                    <a:pt x="129" y="112"/>
                    <a:pt x="129" y="116"/>
                  </a:cubicBezTo>
                  <a:cubicBezTo>
                    <a:pt x="136" y="152"/>
                    <a:pt x="136" y="152"/>
                    <a:pt x="136" y="152"/>
                  </a:cubicBezTo>
                  <a:cubicBezTo>
                    <a:pt x="102" y="135"/>
                    <a:pt x="102" y="135"/>
                    <a:pt x="102" y="135"/>
                  </a:cubicBezTo>
                  <a:cubicBezTo>
                    <a:pt x="100" y="134"/>
                    <a:pt x="99" y="134"/>
                    <a:pt x="97" y="134"/>
                  </a:cubicBezTo>
                  <a:cubicBezTo>
                    <a:pt x="95" y="134"/>
                    <a:pt x="94" y="134"/>
                    <a:pt x="92" y="135"/>
                  </a:cubicBezTo>
                  <a:cubicBezTo>
                    <a:pt x="58" y="152"/>
                    <a:pt x="58" y="152"/>
                    <a:pt x="58" y="152"/>
                  </a:cubicBezTo>
                  <a:cubicBezTo>
                    <a:pt x="65" y="116"/>
                    <a:pt x="65" y="116"/>
                    <a:pt x="65" y="116"/>
                  </a:cubicBezTo>
                  <a:cubicBezTo>
                    <a:pt x="65" y="112"/>
                    <a:pt x="64" y="109"/>
                    <a:pt x="62" y="106"/>
                  </a:cubicBezTo>
                  <a:cubicBezTo>
                    <a:pt x="35" y="80"/>
                    <a:pt x="35" y="80"/>
                    <a:pt x="35" y="80"/>
                  </a:cubicBezTo>
                  <a:cubicBezTo>
                    <a:pt x="72" y="75"/>
                    <a:pt x="72" y="75"/>
                    <a:pt x="72" y="75"/>
                  </a:cubicBezTo>
                  <a:cubicBezTo>
                    <a:pt x="76" y="74"/>
                    <a:pt x="79" y="72"/>
                    <a:pt x="80" y="69"/>
                  </a:cubicBezTo>
                  <a:cubicBezTo>
                    <a:pt x="97" y="35"/>
                    <a:pt x="97" y="35"/>
                    <a:pt x="97" y="35"/>
                  </a:cubicBezTo>
                  <a:cubicBezTo>
                    <a:pt x="114" y="69"/>
                    <a:pt x="114" y="69"/>
                    <a:pt x="114" y="69"/>
                  </a:cubicBezTo>
                  <a:cubicBezTo>
                    <a:pt x="115" y="72"/>
                    <a:pt x="118" y="74"/>
                    <a:pt x="122" y="75"/>
                  </a:cubicBezTo>
                  <a:cubicBezTo>
                    <a:pt x="159" y="80"/>
                    <a:pt x="159" y="80"/>
                    <a:pt x="159" y="80"/>
                  </a:cubicBezTo>
                  <a:lnTo>
                    <a:pt x="132" y="106"/>
                  </a:lnTo>
                  <a:close/>
                  <a:moveTo>
                    <a:pt x="132" y="106"/>
                  </a:moveTo>
                  <a:cubicBezTo>
                    <a:pt x="132" y="106"/>
                    <a:pt x="132" y="106"/>
                    <a:pt x="132" y="106"/>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A660DC91-BA1E-4E5A-93D3-AC532E7CA47F}"/>
                </a:ext>
              </a:extLst>
            </p:cNvPr>
            <p:cNvSpPr>
              <a:spLocks noEditPoints="1"/>
            </p:cNvSpPr>
            <p:nvPr/>
          </p:nvSpPr>
          <p:spPr bwMode="auto">
            <a:xfrm>
              <a:off x="1501" y="5452"/>
              <a:ext cx="379" cy="369"/>
            </a:xfrm>
            <a:custGeom>
              <a:avLst/>
              <a:gdLst>
                <a:gd name="T0" fmla="*/ 19 w 170"/>
                <a:gd name="T1" fmla="*/ 108 h 171"/>
                <a:gd name="T2" fmla="*/ 63 w 170"/>
                <a:gd name="T3" fmla="*/ 152 h 171"/>
                <a:gd name="T4" fmla="*/ 85 w 170"/>
                <a:gd name="T5" fmla="*/ 171 h 171"/>
                <a:gd name="T6" fmla="*/ 107 w 170"/>
                <a:gd name="T7" fmla="*/ 152 h 171"/>
                <a:gd name="T8" fmla="*/ 151 w 170"/>
                <a:gd name="T9" fmla="*/ 108 h 171"/>
                <a:gd name="T10" fmla="*/ 170 w 170"/>
                <a:gd name="T11" fmla="*/ 86 h 171"/>
                <a:gd name="T12" fmla="*/ 151 w 170"/>
                <a:gd name="T13" fmla="*/ 64 h 171"/>
                <a:gd name="T14" fmla="*/ 107 w 170"/>
                <a:gd name="T15" fmla="*/ 19 h 171"/>
                <a:gd name="T16" fmla="*/ 85 w 170"/>
                <a:gd name="T17" fmla="*/ 0 h 171"/>
                <a:gd name="T18" fmla="*/ 63 w 170"/>
                <a:gd name="T19" fmla="*/ 19 h 171"/>
                <a:gd name="T20" fmla="*/ 19 w 170"/>
                <a:gd name="T21" fmla="*/ 64 h 171"/>
                <a:gd name="T22" fmla="*/ 0 w 170"/>
                <a:gd name="T23" fmla="*/ 86 h 171"/>
                <a:gd name="T24" fmla="*/ 19 w 170"/>
                <a:gd name="T25" fmla="*/ 108 h 171"/>
                <a:gd name="T26" fmla="*/ 22 w 170"/>
                <a:gd name="T27" fmla="*/ 85 h 171"/>
                <a:gd name="T28" fmla="*/ 84 w 170"/>
                <a:gd name="T29" fmla="*/ 22 h 171"/>
                <a:gd name="T30" fmla="*/ 85 w 170"/>
                <a:gd name="T31" fmla="*/ 22 h 171"/>
                <a:gd name="T32" fmla="*/ 86 w 170"/>
                <a:gd name="T33" fmla="*/ 22 h 171"/>
                <a:gd name="T34" fmla="*/ 148 w 170"/>
                <a:gd name="T35" fmla="*/ 85 h 171"/>
                <a:gd name="T36" fmla="*/ 149 w 170"/>
                <a:gd name="T37" fmla="*/ 86 h 171"/>
                <a:gd name="T38" fmla="*/ 148 w 170"/>
                <a:gd name="T39" fmla="*/ 87 h 171"/>
                <a:gd name="T40" fmla="*/ 86 w 170"/>
                <a:gd name="T41" fmla="*/ 149 h 171"/>
                <a:gd name="T42" fmla="*/ 84 w 170"/>
                <a:gd name="T43" fmla="*/ 149 h 171"/>
                <a:gd name="T44" fmla="*/ 22 w 170"/>
                <a:gd name="T45" fmla="*/ 87 h 171"/>
                <a:gd name="T46" fmla="*/ 21 w 170"/>
                <a:gd name="T47" fmla="*/ 86 h 171"/>
                <a:gd name="T48" fmla="*/ 22 w 170"/>
                <a:gd name="T49" fmla="*/ 85 h 171"/>
                <a:gd name="T50" fmla="*/ 22 w 170"/>
                <a:gd name="T51" fmla="*/ 85 h 171"/>
                <a:gd name="T52" fmla="*/ 22 w 170"/>
                <a:gd name="T5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0" h="171">
                  <a:moveTo>
                    <a:pt x="19" y="108"/>
                  </a:moveTo>
                  <a:cubicBezTo>
                    <a:pt x="42" y="111"/>
                    <a:pt x="59" y="129"/>
                    <a:pt x="63" y="152"/>
                  </a:cubicBezTo>
                  <a:cubicBezTo>
                    <a:pt x="65" y="163"/>
                    <a:pt x="74" y="171"/>
                    <a:pt x="85" y="171"/>
                  </a:cubicBezTo>
                  <a:cubicBezTo>
                    <a:pt x="96" y="171"/>
                    <a:pt x="105" y="163"/>
                    <a:pt x="107" y="152"/>
                  </a:cubicBezTo>
                  <a:cubicBezTo>
                    <a:pt x="111" y="129"/>
                    <a:pt x="128" y="111"/>
                    <a:pt x="151" y="108"/>
                  </a:cubicBezTo>
                  <a:cubicBezTo>
                    <a:pt x="162" y="106"/>
                    <a:pt x="170" y="97"/>
                    <a:pt x="170" y="86"/>
                  </a:cubicBezTo>
                  <a:cubicBezTo>
                    <a:pt x="170" y="75"/>
                    <a:pt x="162" y="65"/>
                    <a:pt x="151" y="64"/>
                  </a:cubicBezTo>
                  <a:cubicBezTo>
                    <a:pt x="128" y="60"/>
                    <a:pt x="111" y="42"/>
                    <a:pt x="107" y="19"/>
                  </a:cubicBezTo>
                  <a:cubicBezTo>
                    <a:pt x="105" y="8"/>
                    <a:pt x="96" y="0"/>
                    <a:pt x="85" y="0"/>
                  </a:cubicBezTo>
                  <a:cubicBezTo>
                    <a:pt x="74" y="0"/>
                    <a:pt x="65" y="8"/>
                    <a:pt x="63" y="19"/>
                  </a:cubicBezTo>
                  <a:cubicBezTo>
                    <a:pt x="59" y="42"/>
                    <a:pt x="42" y="60"/>
                    <a:pt x="19" y="64"/>
                  </a:cubicBezTo>
                  <a:cubicBezTo>
                    <a:pt x="8" y="65"/>
                    <a:pt x="0" y="75"/>
                    <a:pt x="0" y="86"/>
                  </a:cubicBezTo>
                  <a:cubicBezTo>
                    <a:pt x="0" y="97"/>
                    <a:pt x="8" y="106"/>
                    <a:pt x="19" y="108"/>
                  </a:cubicBezTo>
                  <a:close/>
                  <a:moveTo>
                    <a:pt x="22" y="85"/>
                  </a:moveTo>
                  <a:cubicBezTo>
                    <a:pt x="54" y="80"/>
                    <a:pt x="79" y="55"/>
                    <a:pt x="84" y="22"/>
                  </a:cubicBezTo>
                  <a:cubicBezTo>
                    <a:pt x="84" y="22"/>
                    <a:pt x="85" y="22"/>
                    <a:pt x="85" y="22"/>
                  </a:cubicBezTo>
                  <a:cubicBezTo>
                    <a:pt x="85" y="22"/>
                    <a:pt x="86" y="22"/>
                    <a:pt x="86" y="22"/>
                  </a:cubicBezTo>
                  <a:cubicBezTo>
                    <a:pt x="91" y="55"/>
                    <a:pt x="116" y="80"/>
                    <a:pt x="148" y="85"/>
                  </a:cubicBezTo>
                  <a:cubicBezTo>
                    <a:pt x="149" y="85"/>
                    <a:pt x="149" y="85"/>
                    <a:pt x="149" y="86"/>
                  </a:cubicBezTo>
                  <a:cubicBezTo>
                    <a:pt x="149" y="86"/>
                    <a:pt x="149" y="86"/>
                    <a:pt x="148" y="87"/>
                  </a:cubicBezTo>
                  <a:cubicBezTo>
                    <a:pt x="116" y="92"/>
                    <a:pt x="91" y="117"/>
                    <a:pt x="86" y="149"/>
                  </a:cubicBezTo>
                  <a:cubicBezTo>
                    <a:pt x="86" y="150"/>
                    <a:pt x="84" y="150"/>
                    <a:pt x="84" y="149"/>
                  </a:cubicBezTo>
                  <a:cubicBezTo>
                    <a:pt x="79" y="117"/>
                    <a:pt x="54" y="92"/>
                    <a:pt x="22" y="87"/>
                  </a:cubicBezTo>
                  <a:cubicBezTo>
                    <a:pt x="21" y="86"/>
                    <a:pt x="21" y="86"/>
                    <a:pt x="21" y="86"/>
                  </a:cubicBezTo>
                  <a:cubicBezTo>
                    <a:pt x="21" y="85"/>
                    <a:pt x="21" y="85"/>
                    <a:pt x="22" y="85"/>
                  </a:cubicBezTo>
                  <a:close/>
                  <a:moveTo>
                    <a:pt x="22" y="85"/>
                  </a:moveTo>
                  <a:cubicBezTo>
                    <a:pt x="22" y="85"/>
                    <a:pt x="22" y="85"/>
                    <a:pt x="22" y="85"/>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2AEDBC97-D448-4070-B034-EB8689BEF025}"/>
                </a:ext>
              </a:extLst>
            </p:cNvPr>
            <p:cNvSpPr>
              <a:spLocks noChangeArrowheads="1"/>
            </p:cNvSpPr>
            <p:nvPr/>
          </p:nvSpPr>
          <p:spPr bwMode="auto">
            <a:xfrm>
              <a:off x="2785" y="5984"/>
              <a:ext cx="47" cy="45"/>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10">
              <a:extLst>
                <a:ext uri="{FF2B5EF4-FFF2-40B4-BE49-F238E27FC236}">
                  <a16:creationId xmlns:a16="http://schemas.microsoft.com/office/drawing/2014/main" id="{1574F5EA-8BA1-4A6A-B3B1-5DDD9DE24B37}"/>
                </a:ext>
              </a:extLst>
            </p:cNvPr>
            <p:cNvSpPr>
              <a:spLocks noChangeArrowheads="1"/>
            </p:cNvSpPr>
            <p:nvPr/>
          </p:nvSpPr>
          <p:spPr bwMode="auto">
            <a:xfrm>
              <a:off x="2785" y="5891"/>
              <a:ext cx="47" cy="45"/>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EBC0ED0E-4BD3-4560-BD3F-480C4E3A76C0}"/>
                </a:ext>
              </a:extLst>
            </p:cNvPr>
            <p:cNvSpPr>
              <a:spLocks noChangeArrowheads="1"/>
            </p:cNvSpPr>
            <p:nvPr/>
          </p:nvSpPr>
          <p:spPr bwMode="auto">
            <a:xfrm>
              <a:off x="2785" y="5798"/>
              <a:ext cx="47" cy="47"/>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5" name="Title 4">
            <a:extLst>
              <a:ext uri="{FF2B5EF4-FFF2-40B4-BE49-F238E27FC236}">
                <a16:creationId xmlns:a16="http://schemas.microsoft.com/office/drawing/2014/main" id="{812E8498-1EAC-4A63-9216-F619640C2DA2}"/>
              </a:ext>
            </a:extLst>
          </p:cNvPr>
          <p:cNvSpPr>
            <a:spLocks noGrp="1"/>
          </p:cNvSpPr>
          <p:nvPr>
            <p:ph type="title"/>
          </p:nvPr>
        </p:nvSpPr>
        <p:spPr/>
        <p:txBody>
          <a:bodyPr/>
          <a:lstStyle/>
          <a:p>
            <a:r>
              <a:rPr lang="en-US" dirty="0"/>
              <a:t>Title</a:t>
            </a:r>
          </a:p>
        </p:txBody>
      </p:sp>
      <p:sp>
        <p:nvSpPr>
          <p:cNvPr id="227" name="Rectangle 226">
            <a:extLst>
              <a:ext uri="{FF2B5EF4-FFF2-40B4-BE49-F238E27FC236}">
                <a16:creationId xmlns:a16="http://schemas.microsoft.com/office/drawing/2014/main" id="{4EAB7A4D-6F35-4CE8-A921-0F601EFD7D5F}"/>
              </a:ext>
            </a:extLst>
          </p:cNvPr>
          <p:cNvSpPr/>
          <p:nvPr/>
        </p:nvSpPr>
        <p:spPr>
          <a:xfrm>
            <a:off x="391709" y="815224"/>
            <a:ext cx="11300915" cy="369332"/>
          </a:xfrm>
          <a:prstGeom prst="rect">
            <a:avLst/>
          </a:prstGeom>
        </p:spPr>
        <p:txBody>
          <a:bodyPr wrap="square">
            <a:spAutoFit/>
          </a:bodyPr>
          <a:lstStyle/>
          <a:p>
            <a:r>
              <a:rPr lang="en-US" sz="1800" dirty="0">
                <a:solidFill>
                  <a:schemeClr val="bg1"/>
                </a:solidFill>
              </a:rPr>
              <a:t>Explanatory text</a:t>
            </a:r>
          </a:p>
        </p:txBody>
      </p:sp>
    </p:spTree>
    <p:extLst>
      <p:ext uri="{BB962C8B-B14F-4D97-AF65-F5344CB8AC3E}">
        <p14:creationId xmlns:p14="http://schemas.microsoft.com/office/powerpoint/2010/main" val="2225764258"/>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par>
                                    <p:cTn id="13" presetID="1" presetClass="entr" presetSubtype="0" fill="hold" grpId="0" nodeType="withEffect">
                                      <p:stCondLst>
                                        <p:cond delay="500"/>
                                      </p:stCondLst>
                                      <p:childTnLst>
                                        <p:set>
                                          <p:cBhvr>
                                            <p:cTn id="14" dur="1" fill="hold">
                                              <p:stCondLst>
                                                <p:cond delay="0"/>
                                              </p:stCondLst>
                                            </p:cTn>
                                            <p:tgtEl>
                                              <p:spTgt spid="116"/>
                                            </p:tgtEl>
                                            <p:attrNameLst>
                                              <p:attrName>style.visibility</p:attrName>
                                            </p:attrNameLst>
                                          </p:cBhvr>
                                          <p:to>
                                            <p:strVal val="visible"/>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2" presetClass="entr" presetSubtype="8" fill="hold" grpId="0" nodeType="withEffect" p14:presetBounceEnd="60000">
                                      <p:stCondLst>
                                        <p:cond delay="0"/>
                                      </p:stCondLst>
                                      <p:childTnLst>
                                        <p:set>
                                          <p:cBhvr>
                                            <p:cTn id="20" dur="1" fill="hold">
                                              <p:stCondLst>
                                                <p:cond delay="0"/>
                                              </p:stCondLst>
                                            </p:cTn>
                                            <p:tgtEl>
                                              <p:spTgt spid="106"/>
                                            </p:tgtEl>
                                            <p:attrNameLst>
                                              <p:attrName>style.visibility</p:attrName>
                                            </p:attrNameLst>
                                          </p:cBhvr>
                                          <p:to>
                                            <p:strVal val="visible"/>
                                          </p:to>
                                        </p:set>
                                        <p:anim calcmode="lin" valueType="num" p14:bounceEnd="60000">
                                          <p:cBhvr additive="base">
                                            <p:cTn id="21" dur="500" fill="hold"/>
                                            <p:tgtEl>
                                              <p:spTgt spid="106"/>
                                            </p:tgtEl>
                                            <p:attrNameLst>
                                              <p:attrName>ppt_x</p:attrName>
                                            </p:attrNameLst>
                                          </p:cBhvr>
                                          <p:tavLst>
                                            <p:tav tm="0">
                                              <p:val>
                                                <p:strVal val="0-#ppt_w/2"/>
                                              </p:val>
                                            </p:tav>
                                            <p:tav tm="100000">
                                              <p:val>
                                                <p:strVal val="#ppt_x"/>
                                              </p:val>
                                            </p:tav>
                                          </p:tavLst>
                                        </p:anim>
                                        <p:anim calcmode="lin" valueType="num" p14:bounceEnd="60000">
                                          <p:cBhvr additive="base">
                                            <p:cTn id="22" dur="500" fill="hold"/>
                                            <p:tgtEl>
                                              <p:spTgt spid="106"/>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down)">
                                          <p:cBhvr>
                                            <p:cTn id="27" dur="500"/>
                                            <p:tgtEl>
                                              <p:spTgt spid="26"/>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118"/>
                                            </p:tgtEl>
                                            <p:attrNameLst>
                                              <p:attrName>style.visibility</p:attrName>
                                            </p:attrNameLst>
                                          </p:cBhvr>
                                          <p:to>
                                            <p:strVal val="visible"/>
                                          </p:to>
                                        </p:set>
                                        <p:animEffect transition="in" filter="fade">
                                          <p:cBhvr>
                                            <p:cTn id="31" dur="500"/>
                                            <p:tgtEl>
                                              <p:spTgt spid="118"/>
                                            </p:tgtEl>
                                          </p:cBhvr>
                                        </p:animEffect>
                                      </p:childTnLst>
                                    </p:cTn>
                                  </p:par>
                                  <p:par>
                                    <p:cTn id="32" presetID="2" presetClass="entr" presetSubtype="2" fill="hold" grpId="0" nodeType="withEffect" p14:presetBounceEnd="60000">
                                      <p:stCondLst>
                                        <p:cond delay="0"/>
                                      </p:stCondLst>
                                      <p:childTnLst>
                                        <p:set>
                                          <p:cBhvr>
                                            <p:cTn id="33" dur="1" fill="hold">
                                              <p:stCondLst>
                                                <p:cond delay="0"/>
                                              </p:stCondLst>
                                            </p:cTn>
                                            <p:tgtEl>
                                              <p:spTgt spid="107"/>
                                            </p:tgtEl>
                                            <p:attrNameLst>
                                              <p:attrName>style.visibility</p:attrName>
                                            </p:attrNameLst>
                                          </p:cBhvr>
                                          <p:to>
                                            <p:strVal val="visible"/>
                                          </p:to>
                                        </p:set>
                                        <p:anim calcmode="lin" valueType="num" p14:bounceEnd="60000">
                                          <p:cBhvr additive="base">
                                            <p:cTn id="34" dur="500" fill="hold"/>
                                            <p:tgtEl>
                                              <p:spTgt spid="107"/>
                                            </p:tgtEl>
                                            <p:attrNameLst>
                                              <p:attrName>ppt_x</p:attrName>
                                            </p:attrNameLst>
                                          </p:cBhvr>
                                          <p:tavLst>
                                            <p:tav tm="0">
                                              <p:val>
                                                <p:strVal val="1+#ppt_w/2"/>
                                              </p:val>
                                            </p:tav>
                                            <p:tav tm="100000">
                                              <p:val>
                                                <p:strVal val="#ppt_x"/>
                                              </p:val>
                                            </p:tav>
                                          </p:tavLst>
                                        </p:anim>
                                        <p:anim calcmode="lin" valueType="num" p14:bounceEnd="60000">
                                          <p:cBhvr additive="base">
                                            <p:cTn id="35" dur="500" fill="hold"/>
                                            <p:tgtEl>
                                              <p:spTgt spid="107"/>
                                            </p:tgtEl>
                                            <p:attrNameLst>
                                              <p:attrName>ppt_y</p:attrName>
                                            </p:attrNameLst>
                                          </p:cBhvr>
                                          <p:tavLst>
                                            <p:tav tm="0">
                                              <p:val>
                                                <p:strVal val="#ppt_y"/>
                                              </p:val>
                                            </p:tav>
                                            <p:tav tm="100000">
                                              <p:val>
                                                <p:strVal val="#ppt_y"/>
                                              </p:val>
                                            </p:tav>
                                          </p:tavLst>
                                        </p:anim>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nodeType="withEffect">
                                      <p:stCondLst>
                                        <p:cond delay="0"/>
                                      </p:stCondLst>
                                      <p:childTnLst>
                                        <p:set>
                                          <p:cBhvr>
                                            <p:cTn id="41" dur="1" fill="hold">
                                              <p:stCondLst>
                                                <p:cond delay="0"/>
                                              </p:stCondLst>
                                            </p:cTn>
                                            <p:tgtEl>
                                              <p:spTgt spid="119"/>
                                            </p:tgtEl>
                                            <p:attrNameLst>
                                              <p:attrName>style.visibility</p:attrName>
                                            </p:attrNameLst>
                                          </p:cBhvr>
                                          <p:to>
                                            <p:strVal val="visible"/>
                                          </p:to>
                                        </p:set>
                                        <p:animEffect transition="in" filter="fade">
                                          <p:cBhvr>
                                            <p:cTn id="42" dur="500"/>
                                            <p:tgtEl>
                                              <p:spTgt spid="119"/>
                                            </p:tgtEl>
                                          </p:cBhvr>
                                        </p:animEffect>
                                      </p:childTnLst>
                                    </p:cTn>
                                  </p:par>
                                  <p:par>
                                    <p:cTn id="43" presetID="42" presetClass="path" presetSubtype="0" fill="hold" nodeType="withEffect">
                                      <p:stCondLst>
                                        <p:cond delay="0"/>
                                      </p:stCondLst>
                                      <p:childTnLst>
                                        <p:animMotion origin="layout" path="M -0.00013 -0.15625 L 1.66667E-6 1.48148E-6 " pathEditMode="relative" rAng="0" ptsTypes="AA">
                                          <p:cBhvr>
                                            <p:cTn id="44" dur="2000" fill="hold"/>
                                            <p:tgtEl>
                                              <p:spTgt spid="119"/>
                                            </p:tgtEl>
                                            <p:attrNameLst>
                                              <p:attrName>ppt_x</p:attrName>
                                              <p:attrName>ppt_y</p:attrName>
                                            </p:attrNameLst>
                                          </p:cBhvr>
                                          <p:rCtr x="-13" y="7801"/>
                                        </p:animMotion>
                                      </p:childTnLst>
                                    </p:cTn>
                                  </p:par>
                                  <p:par>
                                    <p:cTn id="45" presetID="17" presetClass="entr" presetSubtype="1"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 calcmode="lin" valueType="num">
                                          <p:cBhvr>
                                            <p:cTn id="47" dur="2000" fill="hold"/>
                                            <p:tgtEl>
                                              <p:spTgt spid="16"/>
                                            </p:tgtEl>
                                            <p:attrNameLst>
                                              <p:attrName>ppt_x</p:attrName>
                                            </p:attrNameLst>
                                          </p:cBhvr>
                                          <p:tavLst>
                                            <p:tav tm="0">
                                              <p:val>
                                                <p:strVal val="#ppt_x"/>
                                              </p:val>
                                            </p:tav>
                                            <p:tav tm="100000">
                                              <p:val>
                                                <p:strVal val="#ppt_x"/>
                                              </p:val>
                                            </p:tav>
                                          </p:tavLst>
                                        </p:anim>
                                        <p:anim calcmode="lin" valueType="num">
                                          <p:cBhvr>
                                            <p:cTn id="48" dur="2000" fill="hold"/>
                                            <p:tgtEl>
                                              <p:spTgt spid="16"/>
                                            </p:tgtEl>
                                            <p:attrNameLst>
                                              <p:attrName>ppt_y</p:attrName>
                                            </p:attrNameLst>
                                          </p:cBhvr>
                                          <p:tavLst>
                                            <p:tav tm="0">
                                              <p:val>
                                                <p:strVal val="#ppt_y-#ppt_h/2"/>
                                              </p:val>
                                            </p:tav>
                                            <p:tav tm="100000">
                                              <p:val>
                                                <p:strVal val="#ppt_y"/>
                                              </p:val>
                                            </p:tav>
                                          </p:tavLst>
                                        </p:anim>
                                        <p:anim calcmode="lin" valueType="num">
                                          <p:cBhvr>
                                            <p:cTn id="49" dur="2000" fill="hold"/>
                                            <p:tgtEl>
                                              <p:spTgt spid="16"/>
                                            </p:tgtEl>
                                            <p:attrNameLst>
                                              <p:attrName>ppt_w</p:attrName>
                                            </p:attrNameLst>
                                          </p:cBhvr>
                                          <p:tavLst>
                                            <p:tav tm="0">
                                              <p:val>
                                                <p:strVal val="#ppt_w"/>
                                              </p:val>
                                            </p:tav>
                                            <p:tav tm="100000">
                                              <p:val>
                                                <p:strVal val="#ppt_w"/>
                                              </p:val>
                                            </p:tav>
                                          </p:tavLst>
                                        </p:anim>
                                        <p:anim calcmode="lin" valueType="num">
                                          <p:cBhvr>
                                            <p:cTn id="50" dur="2000" fill="hold"/>
                                            <p:tgtEl>
                                              <p:spTgt spid="16"/>
                                            </p:tgtEl>
                                            <p:attrNameLst>
                                              <p:attrName>ppt_h</p:attrName>
                                            </p:attrNameLst>
                                          </p:cBhvr>
                                          <p:tavLst>
                                            <p:tav tm="0">
                                              <p:val>
                                                <p:fltVal val="0"/>
                                              </p:val>
                                            </p:tav>
                                            <p:tav tm="100000">
                                              <p:val>
                                                <p:strVal val="#ppt_h"/>
                                              </p:val>
                                            </p:tav>
                                          </p:tavLst>
                                        </p:anim>
                                      </p:childTnLst>
                                    </p:cTn>
                                  </p:par>
                                </p:childTnLst>
                              </p:cTn>
                            </p:par>
                            <p:par>
                              <p:cTn id="51" fill="hold">
                                <p:stCondLst>
                                  <p:cond delay="3500"/>
                                </p:stCondLst>
                                <p:childTnLst>
                                  <p:par>
                                    <p:cTn id="52" presetID="10" presetClass="entr" presetSubtype="0" fill="hold" nodeType="afterEffect">
                                      <p:stCondLst>
                                        <p:cond delay="0"/>
                                      </p:stCondLst>
                                      <p:childTnLst>
                                        <p:set>
                                          <p:cBhvr>
                                            <p:cTn id="53" dur="1" fill="hold">
                                              <p:stCondLst>
                                                <p:cond delay="0"/>
                                              </p:stCondLst>
                                            </p:cTn>
                                            <p:tgtEl>
                                              <p:spTgt spid="88">
                                                <p:txEl>
                                                  <p:pRg st="0" end="0"/>
                                                </p:txEl>
                                              </p:spTgt>
                                            </p:tgtEl>
                                            <p:attrNameLst>
                                              <p:attrName>style.visibility</p:attrName>
                                            </p:attrNameLst>
                                          </p:cBhvr>
                                          <p:to>
                                            <p:strVal val="visible"/>
                                          </p:to>
                                        </p:set>
                                        <p:animEffect transition="in" filter="fade">
                                          <p:cBhvr>
                                            <p:cTn id="54" dur="500"/>
                                            <p:tgtEl>
                                              <p:spTgt spid="88">
                                                <p:txEl>
                                                  <p:pRg st="0" end="0"/>
                                                </p:txEl>
                                              </p:spTgt>
                                            </p:tgtEl>
                                          </p:cBhvr>
                                        </p:animEffect>
                                      </p:childTnLst>
                                    </p:cTn>
                                  </p:par>
                                  <p:par>
                                    <p:cTn id="55" presetID="47" presetClass="entr" presetSubtype="0"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anim calcmode="lin" valueType="num">
                                          <p:cBhvr>
                                            <p:cTn id="58" dur="500" fill="hold"/>
                                            <p:tgtEl>
                                              <p:spTgt spid="28"/>
                                            </p:tgtEl>
                                            <p:attrNameLst>
                                              <p:attrName>ppt_x</p:attrName>
                                            </p:attrNameLst>
                                          </p:cBhvr>
                                          <p:tavLst>
                                            <p:tav tm="0">
                                              <p:val>
                                                <p:strVal val="#ppt_x"/>
                                              </p:val>
                                            </p:tav>
                                            <p:tav tm="100000">
                                              <p:val>
                                                <p:strVal val="#ppt_x"/>
                                              </p:val>
                                            </p:tav>
                                          </p:tavLst>
                                        </p:anim>
                                        <p:anim calcmode="lin" valueType="num">
                                          <p:cBhvr>
                                            <p:cTn id="59" dur="500" fill="hold"/>
                                            <p:tgtEl>
                                              <p:spTgt spid="28"/>
                                            </p:tgtEl>
                                            <p:attrNameLst>
                                              <p:attrName>ppt_y</p:attrName>
                                            </p:attrNameLst>
                                          </p:cBhvr>
                                          <p:tavLst>
                                            <p:tav tm="0">
                                              <p:val>
                                                <p:strVal val="#ppt_y-.1"/>
                                              </p:val>
                                            </p:tav>
                                            <p:tav tm="100000">
                                              <p:val>
                                                <p:strVal val="#ppt_y"/>
                                              </p:val>
                                            </p:tav>
                                          </p:tavLst>
                                        </p:anim>
                                      </p:childTnLst>
                                    </p:cTn>
                                  </p:par>
                                  <p:par>
                                    <p:cTn id="60" presetID="35" presetClass="emph" presetSubtype="0" repeatCount="indefinite" fill="hold" grpId="1" nodeType="withEffect">
                                      <p:stCondLst>
                                        <p:cond delay="0"/>
                                      </p:stCondLst>
                                      <p:childTnLst>
                                        <p:anim calcmode="discrete" valueType="str">
                                          <p:cBhvr>
                                            <p:cTn id="61" dur="1500" fill="hold"/>
                                            <p:tgtEl>
                                              <p:spTgt spid="28"/>
                                            </p:tgtEl>
                                            <p:attrNameLst>
                                              <p:attrName>style.visibility</p:attrName>
                                            </p:attrNameLst>
                                          </p:cBhvr>
                                          <p:tavLst>
                                            <p:tav tm="0">
                                              <p:val>
                                                <p:strVal val="hidden"/>
                                              </p:val>
                                            </p:tav>
                                            <p:tav tm="50000">
                                              <p:val>
                                                <p:strVal val="visible"/>
                                              </p:val>
                                            </p:tav>
                                          </p:tavLst>
                                        </p:anim>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86"/>
                                            </p:tgtEl>
                                            <p:attrNameLst>
                                              <p:attrName>style.visibility</p:attrName>
                                            </p:attrNameLst>
                                          </p:cBhvr>
                                          <p:to>
                                            <p:strVal val="visible"/>
                                          </p:to>
                                        </p:set>
                                        <p:animEffect transition="in" filter="fade">
                                          <p:cBhvr>
                                            <p:cTn id="66" dur="500"/>
                                            <p:tgtEl>
                                              <p:spTgt spid="86"/>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65"/>
                                            </p:tgtEl>
                                            <p:attrNameLst>
                                              <p:attrName>style.visibility</p:attrName>
                                            </p:attrNameLst>
                                          </p:cBhvr>
                                          <p:to>
                                            <p:strVal val="visible"/>
                                          </p:to>
                                        </p:set>
                                        <p:animEffect transition="in" filter="fade">
                                          <p:cBhvr>
                                            <p:cTn id="70" dur="500"/>
                                            <p:tgtEl>
                                              <p:spTgt spid="65"/>
                                            </p:tgtEl>
                                          </p:cBhvr>
                                        </p:animEffect>
                                      </p:childTnLst>
                                    </p:cTn>
                                  </p:par>
                                  <p:par>
                                    <p:cTn id="71" presetID="10" presetClass="entr" presetSubtype="0" fill="hold" nodeType="withEffect">
                                      <p:stCondLst>
                                        <p:cond delay="0"/>
                                      </p:stCondLst>
                                      <p:childTnLst>
                                        <p:set>
                                          <p:cBhvr>
                                            <p:cTn id="72" dur="1" fill="hold">
                                              <p:stCondLst>
                                                <p:cond delay="0"/>
                                              </p:stCondLst>
                                            </p:cTn>
                                            <p:tgtEl>
                                              <p:spTgt spid="136"/>
                                            </p:tgtEl>
                                            <p:attrNameLst>
                                              <p:attrName>style.visibility</p:attrName>
                                            </p:attrNameLst>
                                          </p:cBhvr>
                                          <p:to>
                                            <p:strVal val="visible"/>
                                          </p:to>
                                        </p:set>
                                        <p:animEffect transition="in" filter="fade">
                                          <p:cBhvr>
                                            <p:cTn id="73" dur="500"/>
                                            <p:tgtEl>
                                              <p:spTgt spid="136"/>
                                            </p:tgtEl>
                                          </p:cBhvr>
                                        </p:animEffect>
                                      </p:childTnLst>
                                    </p:cTn>
                                  </p:par>
                                  <p:par>
                                    <p:cTn id="74" presetID="8" presetClass="emph" presetSubtype="0" repeatCount="indefinite" fill="hold" nodeType="withEffect">
                                      <p:stCondLst>
                                        <p:cond delay="0"/>
                                      </p:stCondLst>
                                      <p:childTnLst>
                                        <p:animRot by="21600000">
                                          <p:cBhvr>
                                            <p:cTn id="75" dur="20000" fill="hold"/>
                                            <p:tgtEl>
                                              <p:spTgt spid="136"/>
                                            </p:tgtEl>
                                            <p:attrNameLst>
                                              <p:attrName>r</p:attrName>
                                            </p:attrNameLst>
                                          </p:cBhvr>
                                        </p:animRot>
                                      </p:childTnLst>
                                    </p:cTn>
                                  </p:par>
                                  <p:par>
                                    <p:cTn id="76" presetID="10" presetClass="entr" presetSubtype="0" fill="hold" grpId="0" nodeType="withEffect">
                                      <p:stCondLst>
                                        <p:cond delay="1000"/>
                                      </p:stCondLst>
                                      <p:childTnLst>
                                        <p:set>
                                          <p:cBhvr>
                                            <p:cTn id="77" dur="1" fill="hold">
                                              <p:stCondLst>
                                                <p:cond delay="0"/>
                                              </p:stCondLst>
                                            </p:cTn>
                                            <p:tgtEl>
                                              <p:spTgt spid="41"/>
                                            </p:tgtEl>
                                            <p:attrNameLst>
                                              <p:attrName>style.visibility</p:attrName>
                                            </p:attrNameLst>
                                          </p:cBhvr>
                                          <p:to>
                                            <p:strVal val="visible"/>
                                          </p:to>
                                        </p:set>
                                        <p:animEffect transition="in" filter="fade">
                                          <p:cBhvr>
                                            <p:cTn id="78" dur="750"/>
                                            <p:tgtEl>
                                              <p:spTgt spid="41"/>
                                            </p:tgtEl>
                                          </p:cBhvr>
                                        </p:animEffect>
                                      </p:childTnLst>
                                    </p:cTn>
                                  </p:par>
                                  <p:par>
                                    <p:cTn id="79" presetID="10" presetClass="entr" presetSubtype="0" fill="hold" grpId="0" nodeType="withEffect">
                                      <p:stCondLst>
                                        <p:cond delay="1000"/>
                                      </p:stCondLst>
                                      <p:childTnLst>
                                        <p:set>
                                          <p:cBhvr>
                                            <p:cTn id="80" dur="1" fill="hold">
                                              <p:stCondLst>
                                                <p:cond delay="0"/>
                                              </p:stCondLst>
                                            </p:cTn>
                                            <p:tgtEl>
                                              <p:spTgt spid="124"/>
                                            </p:tgtEl>
                                            <p:attrNameLst>
                                              <p:attrName>style.visibility</p:attrName>
                                            </p:attrNameLst>
                                          </p:cBhvr>
                                          <p:to>
                                            <p:strVal val="visible"/>
                                          </p:to>
                                        </p:set>
                                        <p:animEffect transition="in" filter="fade">
                                          <p:cBhvr>
                                            <p:cTn id="81" dur="750"/>
                                            <p:tgtEl>
                                              <p:spTgt spid="124"/>
                                            </p:tgtEl>
                                          </p:cBhvr>
                                        </p:animEffect>
                                      </p:childTnLst>
                                    </p:cTn>
                                  </p:par>
                                  <p:par>
                                    <p:cTn id="82" presetID="53" presetClass="entr" presetSubtype="16" fill="hold" grpId="0" nodeType="withEffect">
                                      <p:stCondLst>
                                        <p:cond delay="1250"/>
                                      </p:stCondLst>
                                      <p:childTnLst>
                                        <p:set>
                                          <p:cBhvr>
                                            <p:cTn id="83" dur="1" fill="hold">
                                              <p:stCondLst>
                                                <p:cond delay="0"/>
                                              </p:stCondLst>
                                            </p:cTn>
                                            <p:tgtEl>
                                              <p:spTgt spid="89"/>
                                            </p:tgtEl>
                                            <p:attrNameLst>
                                              <p:attrName>style.visibility</p:attrName>
                                            </p:attrNameLst>
                                          </p:cBhvr>
                                          <p:to>
                                            <p:strVal val="visible"/>
                                          </p:to>
                                        </p:set>
                                        <p:anim calcmode="lin" valueType="num">
                                          <p:cBhvr>
                                            <p:cTn id="84" dur="750" fill="hold"/>
                                            <p:tgtEl>
                                              <p:spTgt spid="89"/>
                                            </p:tgtEl>
                                            <p:attrNameLst>
                                              <p:attrName>ppt_w</p:attrName>
                                            </p:attrNameLst>
                                          </p:cBhvr>
                                          <p:tavLst>
                                            <p:tav tm="0">
                                              <p:val>
                                                <p:fltVal val="0"/>
                                              </p:val>
                                            </p:tav>
                                            <p:tav tm="100000">
                                              <p:val>
                                                <p:strVal val="#ppt_w"/>
                                              </p:val>
                                            </p:tav>
                                          </p:tavLst>
                                        </p:anim>
                                        <p:anim calcmode="lin" valueType="num">
                                          <p:cBhvr>
                                            <p:cTn id="85" dur="750" fill="hold"/>
                                            <p:tgtEl>
                                              <p:spTgt spid="89"/>
                                            </p:tgtEl>
                                            <p:attrNameLst>
                                              <p:attrName>ppt_h</p:attrName>
                                            </p:attrNameLst>
                                          </p:cBhvr>
                                          <p:tavLst>
                                            <p:tav tm="0">
                                              <p:val>
                                                <p:fltVal val="0"/>
                                              </p:val>
                                            </p:tav>
                                            <p:tav tm="100000">
                                              <p:val>
                                                <p:strVal val="#ppt_h"/>
                                              </p:val>
                                            </p:tav>
                                          </p:tavLst>
                                        </p:anim>
                                        <p:animEffect transition="in" filter="fade">
                                          <p:cBhvr>
                                            <p:cTn id="86" dur="750"/>
                                            <p:tgtEl>
                                              <p:spTgt spid="89"/>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49"/>
                                            </p:tgtEl>
                                            <p:attrNameLst>
                                              <p:attrName>style.visibility</p:attrName>
                                            </p:attrNameLst>
                                          </p:cBhvr>
                                          <p:to>
                                            <p:strVal val="visible"/>
                                          </p:to>
                                        </p:set>
                                        <p:animEffect transition="in" filter="fade">
                                          <p:cBhvr>
                                            <p:cTn id="91" dur="500"/>
                                            <p:tgtEl>
                                              <p:spTgt spid="149"/>
                                            </p:tgtEl>
                                          </p:cBhvr>
                                        </p:animEffect>
                                      </p:childTnLst>
                                    </p:cTn>
                                  </p:par>
                                </p:childTnLst>
                              </p:cTn>
                            </p:par>
                            <p:par>
                              <p:cTn id="92" fill="hold">
                                <p:stCondLst>
                                  <p:cond delay="500"/>
                                </p:stCondLst>
                                <p:childTnLst>
                                  <p:par>
                                    <p:cTn id="93" presetID="47" presetClass="entr" presetSubtype="0" fill="hold" nodeType="afterEffect">
                                      <p:stCondLst>
                                        <p:cond delay="0"/>
                                      </p:stCondLst>
                                      <p:childTnLst>
                                        <p:set>
                                          <p:cBhvr>
                                            <p:cTn id="94" dur="1" fill="hold">
                                              <p:stCondLst>
                                                <p:cond delay="0"/>
                                              </p:stCondLst>
                                            </p:cTn>
                                            <p:tgtEl>
                                              <p:spTgt spid="156"/>
                                            </p:tgtEl>
                                            <p:attrNameLst>
                                              <p:attrName>style.visibility</p:attrName>
                                            </p:attrNameLst>
                                          </p:cBhvr>
                                          <p:to>
                                            <p:strVal val="visible"/>
                                          </p:to>
                                        </p:set>
                                        <p:animEffect transition="in" filter="fade">
                                          <p:cBhvr>
                                            <p:cTn id="95" dur="1000"/>
                                            <p:tgtEl>
                                              <p:spTgt spid="156"/>
                                            </p:tgtEl>
                                          </p:cBhvr>
                                        </p:animEffect>
                                        <p:anim calcmode="lin" valueType="num">
                                          <p:cBhvr>
                                            <p:cTn id="96" dur="1000" fill="hold"/>
                                            <p:tgtEl>
                                              <p:spTgt spid="156"/>
                                            </p:tgtEl>
                                            <p:attrNameLst>
                                              <p:attrName>ppt_x</p:attrName>
                                            </p:attrNameLst>
                                          </p:cBhvr>
                                          <p:tavLst>
                                            <p:tav tm="0">
                                              <p:val>
                                                <p:strVal val="#ppt_x"/>
                                              </p:val>
                                            </p:tav>
                                            <p:tav tm="100000">
                                              <p:val>
                                                <p:strVal val="#ppt_x"/>
                                              </p:val>
                                            </p:tav>
                                          </p:tavLst>
                                        </p:anim>
                                        <p:anim calcmode="lin" valueType="num">
                                          <p:cBhvr>
                                            <p:cTn id="97" dur="1000" fill="hold"/>
                                            <p:tgtEl>
                                              <p:spTgt spid="156"/>
                                            </p:tgtEl>
                                            <p:attrNameLst>
                                              <p:attrName>ppt_y</p:attrName>
                                            </p:attrNameLst>
                                          </p:cBhvr>
                                          <p:tavLst>
                                            <p:tav tm="0">
                                              <p:val>
                                                <p:strVal val="#ppt_y-.1"/>
                                              </p:val>
                                            </p:tav>
                                            <p:tav tm="100000">
                                              <p:val>
                                                <p:strVal val="#ppt_y"/>
                                              </p:val>
                                            </p:tav>
                                          </p:tavLst>
                                        </p:anim>
                                      </p:childTnLst>
                                    </p:cTn>
                                  </p:par>
                                </p:childTnLst>
                              </p:cTn>
                            </p:par>
                            <p:par>
                              <p:cTn id="98" fill="hold">
                                <p:stCondLst>
                                  <p:cond delay="1500"/>
                                </p:stCondLst>
                                <p:childTnLst>
                                  <p:par>
                                    <p:cTn id="99" presetID="22" presetClass="entr" presetSubtype="8" fill="hold" grpId="0" nodeType="afterEffect">
                                      <p:stCondLst>
                                        <p:cond delay="0"/>
                                      </p:stCondLst>
                                      <p:childTnLst>
                                        <p:set>
                                          <p:cBhvr>
                                            <p:cTn id="100" dur="1" fill="hold">
                                              <p:stCondLst>
                                                <p:cond delay="0"/>
                                              </p:stCondLst>
                                            </p:cTn>
                                            <p:tgtEl>
                                              <p:spTgt spid="4"/>
                                            </p:tgtEl>
                                            <p:attrNameLst>
                                              <p:attrName>style.visibility</p:attrName>
                                            </p:attrNameLst>
                                          </p:cBhvr>
                                          <p:to>
                                            <p:strVal val="visible"/>
                                          </p:to>
                                        </p:set>
                                        <p:animEffect transition="in" filter="wipe(left)">
                                          <p:cBhvr>
                                            <p:cTn id="101" dur="500"/>
                                            <p:tgtEl>
                                              <p:spTgt spid="4"/>
                                            </p:tgtEl>
                                          </p:cBhvr>
                                        </p:animEffect>
                                      </p:childTnLst>
                                    </p:cTn>
                                  </p:par>
                                </p:childTnLst>
                              </p:cTn>
                            </p:par>
                            <p:par>
                              <p:cTn id="102" fill="hold">
                                <p:stCondLst>
                                  <p:cond delay="2000"/>
                                </p:stCondLst>
                                <p:childTnLst>
                                  <p:par>
                                    <p:cTn id="103" presetID="22" presetClass="entr" presetSubtype="8" fill="hold" nodeType="afterEffect">
                                      <p:stCondLst>
                                        <p:cond delay="0"/>
                                      </p:stCondLst>
                                      <p:childTnLst>
                                        <p:set>
                                          <p:cBhvr>
                                            <p:cTn id="104" dur="1" fill="hold">
                                              <p:stCondLst>
                                                <p:cond delay="0"/>
                                              </p:stCondLst>
                                            </p:cTn>
                                            <p:tgtEl>
                                              <p:spTgt spid="9"/>
                                            </p:tgtEl>
                                            <p:attrNameLst>
                                              <p:attrName>style.visibility</p:attrName>
                                            </p:attrNameLst>
                                          </p:cBhvr>
                                          <p:to>
                                            <p:strVal val="visible"/>
                                          </p:to>
                                        </p:set>
                                        <p:animEffect transition="in" filter="wipe(left)">
                                          <p:cBhvr>
                                            <p:cTn id="105" dur="500"/>
                                            <p:tgtEl>
                                              <p:spTgt spid="9"/>
                                            </p:tgtEl>
                                          </p:cBhvr>
                                        </p:animEffect>
                                      </p:childTnLst>
                                    </p:cTn>
                                  </p:par>
                                  <p:par>
                                    <p:cTn id="106" presetID="26" presetClass="emph" presetSubtype="0" repeatCount="indefinite" fill="hold" nodeType="withEffect">
                                      <p:stCondLst>
                                        <p:cond delay="0"/>
                                      </p:stCondLst>
                                      <p:childTnLst>
                                        <p:animEffect transition="out" filter="fade">
                                          <p:cBhvr>
                                            <p:cTn id="107" dur="1000" tmFilter="0, 0; .2, .5; .8, .5; 1, 0"/>
                                            <p:tgtEl>
                                              <p:spTgt spid="9"/>
                                            </p:tgtEl>
                                          </p:cBhvr>
                                        </p:animEffect>
                                        <p:animScale>
                                          <p:cBhvr>
                                            <p:cTn id="108" dur="500" autoRev="1" fill="hold"/>
                                            <p:tgtEl>
                                              <p:spTgt spid="9"/>
                                            </p:tgtEl>
                                          </p:cBhvr>
                                          <p:by x="105000" y="105000"/>
                                        </p:animScale>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150"/>
                                            </p:tgtEl>
                                            <p:attrNameLst>
                                              <p:attrName>style.visibility</p:attrName>
                                            </p:attrNameLst>
                                          </p:cBhvr>
                                          <p:to>
                                            <p:strVal val="visible"/>
                                          </p:to>
                                        </p:set>
                                        <p:animEffect transition="in" filter="fade">
                                          <p:cBhvr>
                                            <p:cTn id="113" dur="500"/>
                                            <p:tgtEl>
                                              <p:spTgt spid="150"/>
                                            </p:tgtEl>
                                          </p:cBhvr>
                                        </p:animEffect>
                                      </p:childTnLst>
                                    </p:cTn>
                                  </p:par>
                                </p:childTnLst>
                              </p:cTn>
                            </p:par>
                            <p:par>
                              <p:cTn id="114" fill="hold">
                                <p:stCondLst>
                                  <p:cond delay="500"/>
                                </p:stCondLst>
                                <p:childTnLst>
                                  <p:par>
                                    <p:cTn id="115" presetID="1" presetClass="entr" presetSubtype="0" fill="hold" nodeType="afterEffect">
                                      <p:stCondLst>
                                        <p:cond delay="0"/>
                                      </p:stCondLst>
                                      <p:childTnLst>
                                        <p:set>
                                          <p:cBhvr>
                                            <p:cTn id="116" dur="1" fill="hold">
                                              <p:stCondLst>
                                                <p:cond delay="249"/>
                                              </p:stCondLst>
                                            </p:cTn>
                                            <p:tgtEl>
                                              <p:spTgt spid="206"/>
                                            </p:tgtEl>
                                            <p:attrNameLst>
                                              <p:attrName>style.visibility</p:attrName>
                                            </p:attrNameLst>
                                          </p:cBhvr>
                                          <p:to>
                                            <p:strVal val="visible"/>
                                          </p:to>
                                        </p:set>
                                      </p:childTnLst>
                                    </p:cTn>
                                  </p:par>
                                </p:childTnLst>
                              </p:cTn>
                            </p:par>
                            <p:par>
                              <p:cTn id="117" fill="hold">
                                <p:stCondLst>
                                  <p:cond delay="750"/>
                                </p:stCondLst>
                                <p:childTnLst>
                                  <p:par>
                                    <p:cTn id="118" presetID="1" presetClass="entr" presetSubtype="0" fill="hold" nodeType="afterEffect">
                                      <p:stCondLst>
                                        <p:cond delay="0"/>
                                      </p:stCondLst>
                                      <p:childTnLst>
                                        <p:set>
                                          <p:cBhvr>
                                            <p:cTn id="119" dur="1" fill="hold">
                                              <p:stCondLst>
                                                <p:cond delay="249"/>
                                              </p:stCondLst>
                                            </p:cTn>
                                            <p:tgtEl>
                                              <p:spTgt spid="213"/>
                                            </p:tgtEl>
                                            <p:attrNameLst>
                                              <p:attrName>style.visibility</p:attrName>
                                            </p:attrNameLst>
                                          </p:cBhvr>
                                          <p:to>
                                            <p:strVal val="visible"/>
                                          </p:to>
                                        </p:set>
                                      </p:childTnLst>
                                    </p:cTn>
                                  </p:par>
                                </p:childTnLst>
                              </p:cTn>
                            </p:par>
                            <p:par>
                              <p:cTn id="120" fill="hold">
                                <p:stCondLst>
                                  <p:cond delay="1000"/>
                                </p:stCondLst>
                                <p:childTnLst>
                                  <p:par>
                                    <p:cTn id="121" presetID="1" presetClass="entr" presetSubtype="0" fill="hold" nodeType="afterEffect">
                                      <p:stCondLst>
                                        <p:cond delay="0"/>
                                      </p:stCondLst>
                                      <p:childTnLst>
                                        <p:set>
                                          <p:cBhvr>
                                            <p:cTn id="122" dur="1" fill="hold">
                                              <p:stCondLst>
                                                <p:cond delay="249"/>
                                              </p:stCondLst>
                                            </p:cTn>
                                            <p:tgtEl>
                                              <p:spTgt spid="220"/>
                                            </p:tgtEl>
                                            <p:attrNameLst>
                                              <p:attrName>style.visibility</p:attrName>
                                            </p:attrNameLst>
                                          </p:cBhvr>
                                          <p:to>
                                            <p:strVal val="visible"/>
                                          </p:to>
                                        </p:set>
                                      </p:childTnLst>
                                    </p:cTn>
                                  </p:par>
                                </p:childTnLst>
                              </p:cTn>
                            </p:par>
                            <p:par>
                              <p:cTn id="123" fill="hold">
                                <p:stCondLst>
                                  <p:cond delay="1250"/>
                                </p:stCondLst>
                                <p:childTnLst>
                                  <p:par>
                                    <p:cTn id="124" presetID="1" presetClass="entr" presetSubtype="0" fill="hold" nodeType="afterEffect">
                                      <p:stCondLst>
                                        <p:cond delay="0"/>
                                      </p:stCondLst>
                                      <p:childTnLst>
                                        <p:set>
                                          <p:cBhvr>
                                            <p:cTn id="125" dur="1" fill="hold">
                                              <p:stCondLst>
                                                <p:cond delay="249"/>
                                              </p:stCondLst>
                                            </p:cTn>
                                            <p:tgtEl>
                                              <p:spTgt spid="177"/>
                                            </p:tgtEl>
                                            <p:attrNameLst>
                                              <p:attrName>style.visibility</p:attrName>
                                            </p:attrNameLst>
                                          </p:cBhvr>
                                          <p:to>
                                            <p:strVal val="visible"/>
                                          </p:to>
                                        </p:set>
                                      </p:childTnLst>
                                    </p:cTn>
                                  </p:par>
                                </p:childTnLst>
                              </p:cTn>
                            </p:par>
                            <p:par>
                              <p:cTn id="126" fill="hold">
                                <p:stCondLst>
                                  <p:cond delay="1500"/>
                                </p:stCondLst>
                                <p:childTnLst>
                                  <p:par>
                                    <p:cTn id="127" presetID="1" presetClass="entr" presetSubtype="0" fill="hold" nodeType="afterEffect">
                                      <p:stCondLst>
                                        <p:cond delay="0"/>
                                      </p:stCondLst>
                                      <p:childTnLst>
                                        <p:set>
                                          <p:cBhvr>
                                            <p:cTn id="128" dur="1" fill="hold">
                                              <p:stCondLst>
                                                <p:cond delay="249"/>
                                              </p:stCondLst>
                                            </p:cTn>
                                            <p:tgtEl>
                                              <p:spTgt spid="185"/>
                                            </p:tgtEl>
                                            <p:attrNameLst>
                                              <p:attrName>style.visibility</p:attrName>
                                            </p:attrNameLst>
                                          </p:cBhvr>
                                          <p:to>
                                            <p:strVal val="visible"/>
                                          </p:to>
                                        </p:set>
                                      </p:childTnLst>
                                    </p:cTn>
                                  </p:par>
                                </p:childTnLst>
                              </p:cTn>
                            </p:par>
                            <p:par>
                              <p:cTn id="129" fill="hold">
                                <p:stCondLst>
                                  <p:cond delay="1750"/>
                                </p:stCondLst>
                                <p:childTnLst>
                                  <p:par>
                                    <p:cTn id="130" presetID="1" presetClass="entr" presetSubtype="0" fill="hold" nodeType="afterEffect">
                                      <p:stCondLst>
                                        <p:cond delay="0"/>
                                      </p:stCondLst>
                                      <p:childTnLst>
                                        <p:set>
                                          <p:cBhvr>
                                            <p:cTn id="131" dur="1" fill="hold">
                                              <p:stCondLst>
                                                <p:cond delay="249"/>
                                              </p:stCondLst>
                                            </p:cTn>
                                            <p:tgtEl>
                                              <p:spTgt spid="192"/>
                                            </p:tgtEl>
                                            <p:attrNameLst>
                                              <p:attrName>style.visibility</p:attrName>
                                            </p:attrNameLst>
                                          </p:cBhvr>
                                          <p:to>
                                            <p:strVal val="visible"/>
                                          </p:to>
                                        </p:set>
                                      </p:childTnLst>
                                    </p:cTn>
                                  </p:par>
                                </p:childTnLst>
                              </p:cTn>
                            </p:par>
                            <p:par>
                              <p:cTn id="132" fill="hold">
                                <p:stCondLst>
                                  <p:cond delay="2000"/>
                                </p:stCondLst>
                                <p:childTnLst>
                                  <p:par>
                                    <p:cTn id="133" presetID="1" presetClass="entr" presetSubtype="0" fill="hold" nodeType="afterEffect">
                                      <p:stCondLst>
                                        <p:cond delay="0"/>
                                      </p:stCondLst>
                                      <p:childTnLst>
                                        <p:set>
                                          <p:cBhvr>
                                            <p:cTn id="134" dur="1" fill="hold">
                                              <p:stCondLst>
                                                <p:cond delay="249"/>
                                              </p:stCondLst>
                                            </p:cTn>
                                            <p:tgtEl>
                                              <p:spTgt spid="199"/>
                                            </p:tgtEl>
                                            <p:attrNameLst>
                                              <p:attrName>style.visibility</p:attrName>
                                            </p:attrNameLst>
                                          </p:cBhvr>
                                          <p:to>
                                            <p:strVal val="visible"/>
                                          </p:to>
                                        </p:set>
                                      </p:childTnLst>
                                    </p:cTn>
                                  </p:par>
                                </p:childTnLst>
                              </p:cTn>
                            </p:par>
                            <p:par>
                              <p:cTn id="135" fill="hold">
                                <p:stCondLst>
                                  <p:cond delay="2250"/>
                                </p:stCondLst>
                                <p:childTnLst>
                                  <p:par>
                                    <p:cTn id="136" presetID="10" presetClass="entr" presetSubtype="0" fill="hold" grpId="0" nodeType="afterEffect">
                                      <p:stCondLst>
                                        <p:cond delay="0"/>
                                      </p:stCondLst>
                                      <p:childTnLst>
                                        <p:set>
                                          <p:cBhvr>
                                            <p:cTn id="137" dur="1" fill="hold">
                                              <p:stCondLst>
                                                <p:cond delay="0"/>
                                              </p:stCondLst>
                                            </p:cTn>
                                            <p:tgtEl>
                                              <p:spTgt spid="152"/>
                                            </p:tgtEl>
                                            <p:attrNameLst>
                                              <p:attrName>style.visibility</p:attrName>
                                            </p:attrNameLst>
                                          </p:cBhvr>
                                          <p:to>
                                            <p:strVal val="visible"/>
                                          </p:to>
                                        </p:set>
                                        <p:animEffect transition="in" filter="fade">
                                          <p:cBhvr>
                                            <p:cTn id="138" dur="500"/>
                                            <p:tgtEl>
                                              <p:spTgt spid="152"/>
                                            </p:tgtEl>
                                          </p:cBhvr>
                                        </p:animEffect>
                                      </p:childTnLst>
                                    </p:cTn>
                                  </p:par>
                                </p:childTnLst>
                              </p:cTn>
                            </p:par>
                            <p:par>
                              <p:cTn id="139" fill="hold">
                                <p:stCondLst>
                                  <p:cond delay="2750"/>
                                </p:stCondLst>
                                <p:childTnLst>
                                  <p:par>
                                    <p:cTn id="140" presetID="1" presetClass="entr" presetSubtype="0" fill="hold" nodeType="afterEffect">
                                      <p:stCondLst>
                                        <p:cond delay="0"/>
                                      </p:stCondLst>
                                      <p:childTnLst>
                                        <p:set>
                                          <p:cBhvr>
                                            <p:cTn id="141" dur="1" fill="hold">
                                              <p:stCondLst>
                                                <p:cond delay="249"/>
                                              </p:stCondLst>
                                            </p:cTn>
                                            <p:tgtEl>
                                              <p:spTgt spid="318"/>
                                            </p:tgtEl>
                                            <p:attrNameLst>
                                              <p:attrName>style.visibility</p:attrName>
                                            </p:attrNameLst>
                                          </p:cBhvr>
                                          <p:to>
                                            <p:strVal val="visible"/>
                                          </p:to>
                                        </p:set>
                                      </p:childTnLst>
                                    </p:cTn>
                                  </p:par>
                                </p:childTnLst>
                              </p:cTn>
                            </p:par>
                            <p:par>
                              <p:cTn id="142" fill="hold">
                                <p:stCondLst>
                                  <p:cond delay="3000"/>
                                </p:stCondLst>
                                <p:childTnLst>
                                  <p:par>
                                    <p:cTn id="143" presetID="1" presetClass="entr" presetSubtype="0" fill="hold" nodeType="afterEffect">
                                      <p:stCondLst>
                                        <p:cond delay="0"/>
                                      </p:stCondLst>
                                      <p:childTnLst>
                                        <p:set>
                                          <p:cBhvr>
                                            <p:cTn id="144" dur="1" fill="hold">
                                              <p:stCondLst>
                                                <p:cond delay="249"/>
                                              </p:stCondLst>
                                            </p:cTn>
                                            <p:tgtEl>
                                              <p:spTgt spid="325"/>
                                            </p:tgtEl>
                                            <p:attrNameLst>
                                              <p:attrName>style.visibility</p:attrName>
                                            </p:attrNameLst>
                                          </p:cBhvr>
                                          <p:to>
                                            <p:strVal val="visible"/>
                                          </p:to>
                                        </p:set>
                                      </p:childTnLst>
                                    </p:cTn>
                                  </p:par>
                                </p:childTnLst>
                              </p:cTn>
                            </p:par>
                            <p:par>
                              <p:cTn id="145" fill="hold">
                                <p:stCondLst>
                                  <p:cond delay="3250"/>
                                </p:stCondLst>
                                <p:childTnLst>
                                  <p:par>
                                    <p:cTn id="146" presetID="1" presetClass="entr" presetSubtype="0" fill="hold" nodeType="afterEffect">
                                      <p:stCondLst>
                                        <p:cond delay="0"/>
                                      </p:stCondLst>
                                      <p:childTnLst>
                                        <p:set>
                                          <p:cBhvr>
                                            <p:cTn id="147" dur="1" fill="hold">
                                              <p:stCondLst>
                                                <p:cond delay="249"/>
                                              </p:stCondLst>
                                            </p:cTn>
                                            <p:tgtEl>
                                              <p:spTgt spid="290"/>
                                            </p:tgtEl>
                                            <p:attrNameLst>
                                              <p:attrName>style.visibility</p:attrName>
                                            </p:attrNameLst>
                                          </p:cBhvr>
                                          <p:to>
                                            <p:strVal val="visible"/>
                                          </p:to>
                                        </p:set>
                                      </p:childTnLst>
                                    </p:cTn>
                                  </p:par>
                                </p:childTnLst>
                              </p:cTn>
                            </p:par>
                            <p:par>
                              <p:cTn id="148" fill="hold">
                                <p:stCondLst>
                                  <p:cond delay="3500"/>
                                </p:stCondLst>
                                <p:childTnLst>
                                  <p:par>
                                    <p:cTn id="149" presetID="1" presetClass="entr" presetSubtype="0" fill="hold" nodeType="afterEffect">
                                      <p:stCondLst>
                                        <p:cond delay="0"/>
                                      </p:stCondLst>
                                      <p:childTnLst>
                                        <p:set>
                                          <p:cBhvr>
                                            <p:cTn id="150" dur="1" fill="hold">
                                              <p:stCondLst>
                                                <p:cond delay="249"/>
                                              </p:stCondLst>
                                            </p:cTn>
                                            <p:tgtEl>
                                              <p:spTgt spid="297"/>
                                            </p:tgtEl>
                                            <p:attrNameLst>
                                              <p:attrName>style.visibility</p:attrName>
                                            </p:attrNameLst>
                                          </p:cBhvr>
                                          <p:to>
                                            <p:strVal val="visible"/>
                                          </p:to>
                                        </p:set>
                                      </p:childTnLst>
                                    </p:cTn>
                                  </p:par>
                                </p:childTnLst>
                              </p:cTn>
                            </p:par>
                            <p:par>
                              <p:cTn id="151" fill="hold">
                                <p:stCondLst>
                                  <p:cond delay="3750"/>
                                </p:stCondLst>
                                <p:childTnLst>
                                  <p:par>
                                    <p:cTn id="152" presetID="1" presetClass="entr" presetSubtype="0" fill="hold" nodeType="afterEffect">
                                      <p:stCondLst>
                                        <p:cond delay="0"/>
                                      </p:stCondLst>
                                      <p:childTnLst>
                                        <p:set>
                                          <p:cBhvr>
                                            <p:cTn id="153" dur="1" fill="hold">
                                              <p:stCondLst>
                                                <p:cond delay="249"/>
                                              </p:stCondLst>
                                            </p:cTn>
                                            <p:tgtEl>
                                              <p:spTgt spid="304"/>
                                            </p:tgtEl>
                                            <p:attrNameLst>
                                              <p:attrName>style.visibility</p:attrName>
                                            </p:attrNameLst>
                                          </p:cBhvr>
                                          <p:to>
                                            <p:strVal val="visible"/>
                                          </p:to>
                                        </p:set>
                                      </p:childTnLst>
                                    </p:cTn>
                                  </p:par>
                                </p:childTnLst>
                              </p:cTn>
                            </p:par>
                            <p:par>
                              <p:cTn id="154" fill="hold">
                                <p:stCondLst>
                                  <p:cond delay="4000"/>
                                </p:stCondLst>
                                <p:childTnLst>
                                  <p:par>
                                    <p:cTn id="155" presetID="1" presetClass="entr" presetSubtype="0" fill="hold" nodeType="afterEffect">
                                      <p:stCondLst>
                                        <p:cond delay="0"/>
                                      </p:stCondLst>
                                      <p:childTnLst>
                                        <p:set>
                                          <p:cBhvr>
                                            <p:cTn id="156" dur="1" fill="hold">
                                              <p:stCondLst>
                                                <p:cond delay="249"/>
                                              </p:stCondLst>
                                            </p:cTn>
                                            <p:tgtEl>
                                              <p:spTgt spid="311"/>
                                            </p:tgtEl>
                                            <p:attrNameLst>
                                              <p:attrName>style.visibility</p:attrName>
                                            </p:attrNameLst>
                                          </p:cBhvr>
                                          <p:to>
                                            <p:strVal val="visible"/>
                                          </p:to>
                                        </p:set>
                                      </p:childTnLst>
                                    </p:cTn>
                                  </p:par>
                                </p:childTnLst>
                              </p:cTn>
                            </p:par>
                            <p:par>
                              <p:cTn id="157" fill="hold">
                                <p:stCondLst>
                                  <p:cond delay="4250"/>
                                </p:stCondLst>
                                <p:childTnLst>
                                  <p:par>
                                    <p:cTn id="158" presetID="10" presetClass="entr" presetSubtype="0" fill="hold" grpId="1" nodeType="afterEffect">
                                      <p:stCondLst>
                                        <p:cond delay="0"/>
                                      </p:stCondLst>
                                      <p:childTnLst>
                                        <p:set>
                                          <p:cBhvr>
                                            <p:cTn id="159" dur="1" fill="hold">
                                              <p:stCondLst>
                                                <p:cond delay="0"/>
                                              </p:stCondLst>
                                            </p:cTn>
                                            <p:tgtEl>
                                              <p:spTgt spid="283"/>
                                            </p:tgtEl>
                                            <p:attrNameLst>
                                              <p:attrName>style.visibility</p:attrName>
                                            </p:attrNameLst>
                                          </p:cBhvr>
                                          <p:to>
                                            <p:strVal val="visible"/>
                                          </p:to>
                                        </p:set>
                                        <p:animEffect transition="in" filter="fade">
                                          <p:cBhvr>
                                            <p:cTn id="160" dur="500"/>
                                            <p:tgtEl>
                                              <p:spTgt spid="283"/>
                                            </p:tgtEl>
                                          </p:cBhvr>
                                        </p:animEffect>
                                      </p:childTnLst>
                                    </p:cTn>
                                  </p:par>
                                </p:childTnLst>
                              </p:cTn>
                            </p:par>
                            <p:par>
                              <p:cTn id="161" fill="hold">
                                <p:stCondLst>
                                  <p:cond delay="4750"/>
                                </p:stCondLst>
                                <p:childTnLst>
                                  <p:par>
                                    <p:cTn id="162" presetID="35" presetClass="emph" presetSubtype="0" repeatCount="indefinite" fill="hold" grpId="0" nodeType="afterEffect">
                                      <p:stCondLst>
                                        <p:cond delay="0"/>
                                      </p:stCondLst>
                                      <p:childTnLst>
                                        <p:anim calcmode="discrete" valueType="str">
                                          <p:cBhvr>
                                            <p:cTn id="163" dur="1000" fill="hold"/>
                                            <p:tgtEl>
                                              <p:spTgt spid="283"/>
                                            </p:tgtEl>
                                            <p:attrNameLst>
                                              <p:attrName>style.visibility</p:attrName>
                                            </p:attrNameLst>
                                          </p:cBhvr>
                                          <p:tavLst>
                                            <p:tav tm="0">
                                              <p:val>
                                                <p:strVal val="hidden"/>
                                              </p:val>
                                            </p:tav>
                                            <p:tav tm="50000">
                                              <p:val>
                                                <p:strVal val="visible"/>
                                              </p:val>
                                            </p:tav>
                                          </p:tavLst>
                                        </p:anim>
                                      </p:childTnLst>
                                    </p:cTn>
                                  </p:par>
                                  <p:par>
                                    <p:cTn id="164" presetID="10" presetClass="entr" presetSubtype="0" fill="hold" grpId="0" nodeType="withEffect">
                                      <p:stCondLst>
                                        <p:cond delay="500"/>
                                      </p:stCondLst>
                                      <p:childTnLst>
                                        <p:set>
                                          <p:cBhvr>
                                            <p:cTn id="165" dur="1" fill="hold">
                                              <p:stCondLst>
                                                <p:cond delay="0"/>
                                              </p:stCondLst>
                                            </p:cTn>
                                            <p:tgtEl>
                                              <p:spTgt spid="153"/>
                                            </p:tgtEl>
                                            <p:attrNameLst>
                                              <p:attrName>style.visibility</p:attrName>
                                            </p:attrNameLst>
                                          </p:cBhvr>
                                          <p:to>
                                            <p:strVal val="visible"/>
                                          </p:to>
                                        </p:set>
                                        <p:animEffect transition="in" filter="fade">
                                          <p:cBhvr>
                                            <p:cTn id="166" dur="500"/>
                                            <p:tgtEl>
                                              <p:spTgt spid="153"/>
                                            </p:tgtEl>
                                          </p:cBhvr>
                                        </p:animEffect>
                                      </p:childTnLst>
                                    </p:cTn>
                                  </p:par>
                                </p:childTnLst>
                              </p:cTn>
                            </p:par>
                            <p:par>
                              <p:cTn id="167" fill="hold">
                                <p:stCondLst>
                                  <p:cond delay="5750"/>
                                </p:stCondLst>
                                <p:childTnLst>
                                  <p:par>
                                    <p:cTn id="168" presetID="53" presetClass="entr" presetSubtype="16" fill="hold" grpId="0" nodeType="afterEffect">
                                      <p:stCondLst>
                                        <p:cond delay="0"/>
                                      </p:stCondLst>
                                      <p:childTnLst>
                                        <p:set>
                                          <p:cBhvr>
                                            <p:cTn id="169" dur="1" fill="hold">
                                              <p:stCondLst>
                                                <p:cond delay="0"/>
                                              </p:stCondLst>
                                            </p:cTn>
                                            <p:tgtEl>
                                              <p:spTgt spid="90"/>
                                            </p:tgtEl>
                                            <p:attrNameLst>
                                              <p:attrName>style.visibility</p:attrName>
                                            </p:attrNameLst>
                                          </p:cBhvr>
                                          <p:to>
                                            <p:strVal val="visible"/>
                                          </p:to>
                                        </p:set>
                                        <p:anim calcmode="lin" valueType="num">
                                          <p:cBhvr>
                                            <p:cTn id="170" dur="500" fill="hold"/>
                                            <p:tgtEl>
                                              <p:spTgt spid="90"/>
                                            </p:tgtEl>
                                            <p:attrNameLst>
                                              <p:attrName>ppt_w</p:attrName>
                                            </p:attrNameLst>
                                          </p:cBhvr>
                                          <p:tavLst>
                                            <p:tav tm="0">
                                              <p:val>
                                                <p:fltVal val="0"/>
                                              </p:val>
                                            </p:tav>
                                            <p:tav tm="100000">
                                              <p:val>
                                                <p:strVal val="#ppt_w"/>
                                              </p:val>
                                            </p:tav>
                                          </p:tavLst>
                                        </p:anim>
                                        <p:anim calcmode="lin" valueType="num">
                                          <p:cBhvr>
                                            <p:cTn id="171" dur="500" fill="hold"/>
                                            <p:tgtEl>
                                              <p:spTgt spid="90"/>
                                            </p:tgtEl>
                                            <p:attrNameLst>
                                              <p:attrName>ppt_h</p:attrName>
                                            </p:attrNameLst>
                                          </p:cBhvr>
                                          <p:tavLst>
                                            <p:tav tm="0">
                                              <p:val>
                                                <p:fltVal val="0"/>
                                              </p:val>
                                            </p:tav>
                                            <p:tav tm="100000">
                                              <p:val>
                                                <p:strVal val="#ppt_h"/>
                                              </p:val>
                                            </p:tav>
                                          </p:tavLst>
                                        </p:anim>
                                        <p:animEffect transition="in" filter="fade">
                                          <p:cBhvr>
                                            <p:cTn id="172" dur="500"/>
                                            <p:tgtEl>
                                              <p:spTgt spid="90"/>
                                            </p:tgtEl>
                                          </p:cBhvr>
                                        </p:animEffect>
                                      </p:childTnLst>
                                    </p:cTn>
                                  </p:par>
                                </p:childTnLst>
                              </p:cTn>
                            </p:par>
                            <p:par>
                              <p:cTn id="173" fill="hold">
                                <p:stCondLst>
                                  <p:cond delay="6250"/>
                                </p:stCondLst>
                                <p:childTnLst>
                                  <p:par>
                                    <p:cTn id="174" presetID="10" presetClass="entr" presetSubtype="0" fill="hold" grpId="0" nodeType="afterEffect">
                                      <p:stCondLst>
                                        <p:cond delay="500"/>
                                      </p:stCondLst>
                                      <p:childTnLst>
                                        <p:set>
                                          <p:cBhvr>
                                            <p:cTn id="175" dur="1" fill="hold">
                                              <p:stCondLst>
                                                <p:cond delay="0"/>
                                              </p:stCondLst>
                                            </p:cTn>
                                            <p:tgtEl>
                                              <p:spTgt spid="227"/>
                                            </p:tgtEl>
                                            <p:attrNameLst>
                                              <p:attrName>style.visibility</p:attrName>
                                            </p:attrNameLst>
                                          </p:cBhvr>
                                          <p:to>
                                            <p:strVal val="visible"/>
                                          </p:to>
                                        </p:set>
                                        <p:animEffect transition="in" filter="fade">
                                          <p:cBhvr>
                                            <p:cTn id="176"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89" grpId="0"/>
          <p:bldP spid="90" grpId="0"/>
          <p:bldP spid="91" grpId="0" animBg="1"/>
          <p:bldP spid="86" grpId="0" animBg="1"/>
          <p:bldP spid="106" grpId="0"/>
          <p:bldP spid="107" grpId="0"/>
          <p:bldP spid="116" grpId="0" animBg="1"/>
          <p:bldP spid="19" grpId="0" animBg="1"/>
          <p:bldP spid="118" grpId="0" animBg="1"/>
          <p:bldP spid="41" grpId="0"/>
          <p:bldP spid="124" grpId="0"/>
          <p:bldP spid="149" grpId="0" animBg="1"/>
          <p:bldP spid="150" grpId="0" animBg="1"/>
          <p:bldP spid="152" grpId="0"/>
          <p:bldP spid="153" grpId="0"/>
          <p:bldP spid="28" grpId="0" animBg="1"/>
          <p:bldP spid="28" grpId="1" animBg="1"/>
          <p:bldP spid="283" grpId="0"/>
          <p:bldP spid="283" grpId="1"/>
          <p:bldP spid="4" grpId="0" animBg="1"/>
          <p:bldP spid="227" grpId="0"/>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par>
                                    <p:cTn id="13" presetID="1" presetClass="entr" presetSubtype="0" fill="hold" grpId="0" nodeType="withEffect">
                                      <p:stCondLst>
                                        <p:cond delay="500"/>
                                      </p:stCondLst>
                                      <p:childTnLst>
                                        <p:set>
                                          <p:cBhvr>
                                            <p:cTn id="14" dur="1" fill="hold">
                                              <p:stCondLst>
                                                <p:cond delay="0"/>
                                              </p:stCondLst>
                                            </p:cTn>
                                            <p:tgtEl>
                                              <p:spTgt spid="116"/>
                                            </p:tgtEl>
                                            <p:attrNameLst>
                                              <p:attrName>style.visibility</p:attrName>
                                            </p:attrNameLst>
                                          </p:cBhvr>
                                          <p:to>
                                            <p:strVal val="visible"/>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2" presetClass="entr" presetSubtype="8" fill="hold" grpId="0" nodeType="withEffect">
                                      <p:stCondLst>
                                        <p:cond delay="0"/>
                                      </p:stCondLst>
                                      <p:childTnLst>
                                        <p:set>
                                          <p:cBhvr>
                                            <p:cTn id="20" dur="1" fill="hold">
                                              <p:stCondLst>
                                                <p:cond delay="0"/>
                                              </p:stCondLst>
                                            </p:cTn>
                                            <p:tgtEl>
                                              <p:spTgt spid="106"/>
                                            </p:tgtEl>
                                            <p:attrNameLst>
                                              <p:attrName>style.visibility</p:attrName>
                                            </p:attrNameLst>
                                          </p:cBhvr>
                                          <p:to>
                                            <p:strVal val="visible"/>
                                          </p:to>
                                        </p:set>
                                        <p:anim calcmode="lin" valueType="num">
                                          <p:cBhvr additive="base">
                                            <p:cTn id="21" dur="500" fill="hold"/>
                                            <p:tgtEl>
                                              <p:spTgt spid="106"/>
                                            </p:tgtEl>
                                            <p:attrNameLst>
                                              <p:attrName>ppt_x</p:attrName>
                                            </p:attrNameLst>
                                          </p:cBhvr>
                                          <p:tavLst>
                                            <p:tav tm="0">
                                              <p:val>
                                                <p:strVal val="0-#ppt_w/2"/>
                                              </p:val>
                                            </p:tav>
                                            <p:tav tm="100000">
                                              <p:val>
                                                <p:strVal val="#ppt_x"/>
                                              </p:val>
                                            </p:tav>
                                          </p:tavLst>
                                        </p:anim>
                                        <p:anim calcmode="lin" valueType="num">
                                          <p:cBhvr additive="base">
                                            <p:cTn id="22" dur="500" fill="hold"/>
                                            <p:tgtEl>
                                              <p:spTgt spid="106"/>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down)">
                                          <p:cBhvr>
                                            <p:cTn id="27" dur="500"/>
                                            <p:tgtEl>
                                              <p:spTgt spid="26"/>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118"/>
                                            </p:tgtEl>
                                            <p:attrNameLst>
                                              <p:attrName>style.visibility</p:attrName>
                                            </p:attrNameLst>
                                          </p:cBhvr>
                                          <p:to>
                                            <p:strVal val="visible"/>
                                          </p:to>
                                        </p:set>
                                        <p:animEffect transition="in" filter="fade">
                                          <p:cBhvr>
                                            <p:cTn id="31" dur="500"/>
                                            <p:tgtEl>
                                              <p:spTgt spid="118"/>
                                            </p:tgtEl>
                                          </p:cBhvr>
                                        </p:animEffect>
                                      </p:childTnLst>
                                    </p:cTn>
                                  </p:par>
                                  <p:par>
                                    <p:cTn id="32" presetID="2" presetClass="entr" presetSubtype="2" fill="hold" grpId="0" nodeType="withEffect">
                                      <p:stCondLst>
                                        <p:cond delay="0"/>
                                      </p:stCondLst>
                                      <p:childTnLst>
                                        <p:set>
                                          <p:cBhvr>
                                            <p:cTn id="33" dur="1" fill="hold">
                                              <p:stCondLst>
                                                <p:cond delay="0"/>
                                              </p:stCondLst>
                                            </p:cTn>
                                            <p:tgtEl>
                                              <p:spTgt spid="107"/>
                                            </p:tgtEl>
                                            <p:attrNameLst>
                                              <p:attrName>style.visibility</p:attrName>
                                            </p:attrNameLst>
                                          </p:cBhvr>
                                          <p:to>
                                            <p:strVal val="visible"/>
                                          </p:to>
                                        </p:set>
                                        <p:anim calcmode="lin" valueType="num">
                                          <p:cBhvr additive="base">
                                            <p:cTn id="34" dur="500" fill="hold"/>
                                            <p:tgtEl>
                                              <p:spTgt spid="107"/>
                                            </p:tgtEl>
                                            <p:attrNameLst>
                                              <p:attrName>ppt_x</p:attrName>
                                            </p:attrNameLst>
                                          </p:cBhvr>
                                          <p:tavLst>
                                            <p:tav tm="0">
                                              <p:val>
                                                <p:strVal val="1+#ppt_w/2"/>
                                              </p:val>
                                            </p:tav>
                                            <p:tav tm="100000">
                                              <p:val>
                                                <p:strVal val="#ppt_x"/>
                                              </p:val>
                                            </p:tav>
                                          </p:tavLst>
                                        </p:anim>
                                        <p:anim calcmode="lin" valueType="num">
                                          <p:cBhvr additive="base">
                                            <p:cTn id="35" dur="500" fill="hold"/>
                                            <p:tgtEl>
                                              <p:spTgt spid="107"/>
                                            </p:tgtEl>
                                            <p:attrNameLst>
                                              <p:attrName>ppt_y</p:attrName>
                                            </p:attrNameLst>
                                          </p:cBhvr>
                                          <p:tavLst>
                                            <p:tav tm="0">
                                              <p:val>
                                                <p:strVal val="#ppt_y"/>
                                              </p:val>
                                            </p:tav>
                                            <p:tav tm="100000">
                                              <p:val>
                                                <p:strVal val="#ppt_y"/>
                                              </p:val>
                                            </p:tav>
                                          </p:tavLst>
                                        </p:anim>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nodeType="withEffect">
                                      <p:stCondLst>
                                        <p:cond delay="0"/>
                                      </p:stCondLst>
                                      <p:childTnLst>
                                        <p:set>
                                          <p:cBhvr>
                                            <p:cTn id="41" dur="1" fill="hold">
                                              <p:stCondLst>
                                                <p:cond delay="0"/>
                                              </p:stCondLst>
                                            </p:cTn>
                                            <p:tgtEl>
                                              <p:spTgt spid="119"/>
                                            </p:tgtEl>
                                            <p:attrNameLst>
                                              <p:attrName>style.visibility</p:attrName>
                                            </p:attrNameLst>
                                          </p:cBhvr>
                                          <p:to>
                                            <p:strVal val="visible"/>
                                          </p:to>
                                        </p:set>
                                        <p:animEffect transition="in" filter="fade">
                                          <p:cBhvr>
                                            <p:cTn id="42" dur="500"/>
                                            <p:tgtEl>
                                              <p:spTgt spid="119"/>
                                            </p:tgtEl>
                                          </p:cBhvr>
                                        </p:animEffect>
                                      </p:childTnLst>
                                    </p:cTn>
                                  </p:par>
                                  <p:par>
                                    <p:cTn id="43" presetID="42" presetClass="path" presetSubtype="0" fill="hold" nodeType="withEffect">
                                      <p:stCondLst>
                                        <p:cond delay="0"/>
                                      </p:stCondLst>
                                      <p:childTnLst>
                                        <p:animMotion origin="layout" path="M -0.00013 -0.15625 L 1.66667E-6 1.48148E-6 " pathEditMode="relative" rAng="0" ptsTypes="AA">
                                          <p:cBhvr>
                                            <p:cTn id="44" dur="2000" fill="hold"/>
                                            <p:tgtEl>
                                              <p:spTgt spid="119"/>
                                            </p:tgtEl>
                                            <p:attrNameLst>
                                              <p:attrName>ppt_x</p:attrName>
                                              <p:attrName>ppt_y</p:attrName>
                                            </p:attrNameLst>
                                          </p:cBhvr>
                                          <p:rCtr x="-13" y="7801"/>
                                        </p:animMotion>
                                      </p:childTnLst>
                                    </p:cTn>
                                  </p:par>
                                  <p:par>
                                    <p:cTn id="45" presetID="17" presetClass="entr" presetSubtype="1"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 calcmode="lin" valueType="num">
                                          <p:cBhvr>
                                            <p:cTn id="47" dur="2000" fill="hold"/>
                                            <p:tgtEl>
                                              <p:spTgt spid="16"/>
                                            </p:tgtEl>
                                            <p:attrNameLst>
                                              <p:attrName>ppt_x</p:attrName>
                                            </p:attrNameLst>
                                          </p:cBhvr>
                                          <p:tavLst>
                                            <p:tav tm="0">
                                              <p:val>
                                                <p:strVal val="#ppt_x"/>
                                              </p:val>
                                            </p:tav>
                                            <p:tav tm="100000">
                                              <p:val>
                                                <p:strVal val="#ppt_x"/>
                                              </p:val>
                                            </p:tav>
                                          </p:tavLst>
                                        </p:anim>
                                        <p:anim calcmode="lin" valueType="num">
                                          <p:cBhvr>
                                            <p:cTn id="48" dur="2000" fill="hold"/>
                                            <p:tgtEl>
                                              <p:spTgt spid="16"/>
                                            </p:tgtEl>
                                            <p:attrNameLst>
                                              <p:attrName>ppt_y</p:attrName>
                                            </p:attrNameLst>
                                          </p:cBhvr>
                                          <p:tavLst>
                                            <p:tav tm="0">
                                              <p:val>
                                                <p:strVal val="#ppt_y-#ppt_h/2"/>
                                              </p:val>
                                            </p:tav>
                                            <p:tav tm="100000">
                                              <p:val>
                                                <p:strVal val="#ppt_y"/>
                                              </p:val>
                                            </p:tav>
                                          </p:tavLst>
                                        </p:anim>
                                        <p:anim calcmode="lin" valueType="num">
                                          <p:cBhvr>
                                            <p:cTn id="49" dur="2000" fill="hold"/>
                                            <p:tgtEl>
                                              <p:spTgt spid="16"/>
                                            </p:tgtEl>
                                            <p:attrNameLst>
                                              <p:attrName>ppt_w</p:attrName>
                                            </p:attrNameLst>
                                          </p:cBhvr>
                                          <p:tavLst>
                                            <p:tav tm="0">
                                              <p:val>
                                                <p:strVal val="#ppt_w"/>
                                              </p:val>
                                            </p:tav>
                                            <p:tav tm="100000">
                                              <p:val>
                                                <p:strVal val="#ppt_w"/>
                                              </p:val>
                                            </p:tav>
                                          </p:tavLst>
                                        </p:anim>
                                        <p:anim calcmode="lin" valueType="num">
                                          <p:cBhvr>
                                            <p:cTn id="50" dur="2000" fill="hold"/>
                                            <p:tgtEl>
                                              <p:spTgt spid="16"/>
                                            </p:tgtEl>
                                            <p:attrNameLst>
                                              <p:attrName>ppt_h</p:attrName>
                                            </p:attrNameLst>
                                          </p:cBhvr>
                                          <p:tavLst>
                                            <p:tav tm="0">
                                              <p:val>
                                                <p:fltVal val="0"/>
                                              </p:val>
                                            </p:tav>
                                            <p:tav tm="100000">
                                              <p:val>
                                                <p:strVal val="#ppt_h"/>
                                              </p:val>
                                            </p:tav>
                                          </p:tavLst>
                                        </p:anim>
                                      </p:childTnLst>
                                    </p:cTn>
                                  </p:par>
                                </p:childTnLst>
                              </p:cTn>
                            </p:par>
                            <p:par>
                              <p:cTn id="51" fill="hold">
                                <p:stCondLst>
                                  <p:cond delay="3500"/>
                                </p:stCondLst>
                                <p:childTnLst>
                                  <p:par>
                                    <p:cTn id="52" presetID="10" presetClass="entr" presetSubtype="0" fill="hold" nodeType="afterEffect">
                                      <p:stCondLst>
                                        <p:cond delay="0"/>
                                      </p:stCondLst>
                                      <p:childTnLst>
                                        <p:set>
                                          <p:cBhvr>
                                            <p:cTn id="53" dur="1" fill="hold">
                                              <p:stCondLst>
                                                <p:cond delay="0"/>
                                              </p:stCondLst>
                                            </p:cTn>
                                            <p:tgtEl>
                                              <p:spTgt spid="88">
                                                <p:txEl>
                                                  <p:pRg st="0" end="0"/>
                                                </p:txEl>
                                              </p:spTgt>
                                            </p:tgtEl>
                                            <p:attrNameLst>
                                              <p:attrName>style.visibility</p:attrName>
                                            </p:attrNameLst>
                                          </p:cBhvr>
                                          <p:to>
                                            <p:strVal val="visible"/>
                                          </p:to>
                                        </p:set>
                                        <p:animEffect transition="in" filter="fade">
                                          <p:cBhvr>
                                            <p:cTn id="54" dur="500"/>
                                            <p:tgtEl>
                                              <p:spTgt spid="88">
                                                <p:txEl>
                                                  <p:pRg st="0" end="0"/>
                                                </p:txEl>
                                              </p:spTgt>
                                            </p:tgtEl>
                                          </p:cBhvr>
                                        </p:animEffect>
                                      </p:childTnLst>
                                    </p:cTn>
                                  </p:par>
                                  <p:par>
                                    <p:cTn id="55" presetID="47" presetClass="entr" presetSubtype="0"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anim calcmode="lin" valueType="num">
                                          <p:cBhvr>
                                            <p:cTn id="58" dur="500" fill="hold"/>
                                            <p:tgtEl>
                                              <p:spTgt spid="28"/>
                                            </p:tgtEl>
                                            <p:attrNameLst>
                                              <p:attrName>ppt_x</p:attrName>
                                            </p:attrNameLst>
                                          </p:cBhvr>
                                          <p:tavLst>
                                            <p:tav tm="0">
                                              <p:val>
                                                <p:strVal val="#ppt_x"/>
                                              </p:val>
                                            </p:tav>
                                            <p:tav tm="100000">
                                              <p:val>
                                                <p:strVal val="#ppt_x"/>
                                              </p:val>
                                            </p:tav>
                                          </p:tavLst>
                                        </p:anim>
                                        <p:anim calcmode="lin" valueType="num">
                                          <p:cBhvr>
                                            <p:cTn id="59" dur="500" fill="hold"/>
                                            <p:tgtEl>
                                              <p:spTgt spid="28"/>
                                            </p:tgtEl>
                                            <p:attrNameLst>
                                              <p:attrName>ppt_y</p:attrName>
                                            </p:attrNameLst>
                                          </p:cBhvr>
                                          <p:tavLst>
                                            <p:tav tm="0">
                                              <p:val>
                                                <p:strVal val="#ppt_y-.1"/>
                                              </p:val>
                                            </p:tav>
                                            <p:tav tm="100000">
                                              <p:val>
                                                <p:strVal val="#ppt_y"/>
                                              </p:val>
                                            </p:tav>
                                          </p:tavLst>
                                        </p:anim>
                                      </p:childTnLst>
                                    </p:cTn>
                                  </p:par>
                                  <p:par>
                                    <p:cTn id="60" presetID="35" presetClass="emph" presetSubtype="0" repeatCount="indefinite" fill="hold" grpId="1" nodeType="withEffect">
                                      <p:stCondLst>
                                        <p:cond delay="0"/>
                                      </p:stCondLst>
                                      <p:childTnLst>
                                        <p:anim calcmode="discrete" valueType="str">
                                          <p:cBhvr>
                                            <p:cTn id="61" dur="1500" fill="hold"/>
                                            <p:tgtEl>
                                              <p:spTgt spid="28"/>
                                            </p:tgtEl>
                                            <p:attrNameLst>
                                              <p:attrName>style.visibility</p:attrName>
                                            </p:attrNameLst>
                                          </p:cBhvr>
                                          <p:tavLst>
                                            <p:tav tm="0">
                                              <p:val>
                                                <p:strVal val="hidden"/>
                                              </p:val>
                                            </p:tav>
                                            <p:tav tm="50000">
                                              <p:val>
                                                <p:strVal val="visible"/>
                                              </p:val>
                                            </p:tav>
                                          </p:tavLst>
                                        </p:anim>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86"/>
                                            </p:tgtEl>
                                            <p:attrNameLst>
                                              <p:attrName>style.visibility</p:attrName>
                                            </p:attrNameLst>
                                          </p:cBhvr>
                                          <p:to>
                                            <p:strVal val="visible"/>
                                          </p:to>
                                        </p:set>
                                        <p:animEffect transition="in" filter="fade">
                                          <p:cBhvr>
                                            <p:cTn id="66" dur="500"/>
                                            <p:tgtEl>
                                              <p:spTgt spid="86"/>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65"/>
                                            </p:tgtEl>
                                            <p:attrNameLst>
                                              <p:attrName>style.visibility</p:attrName>
                                            </p:attrNameLst>
                                          </p:cBhvr>
                                          <p:to>
                                            <p:strVal val="visible"/>
                                          </p:to>
                                        </p:set>
                                        <p:animEffect transition="in" filter="fade">
                                          <p:cBhvr>
                                            <p:cTn id="70" dur="500"/>
                                            <p:tgtEl>
                                              <p:spTgt spid="65"/>
                                            </p:tgtEl>
                                          </p:cBhvr>
                                        </p:animEffect>
                                      </p:childTnLst>
                                    </p:cTn>
                                  </p:par>
                                  <p:par>
                                    <p:cTn id="71" presetID="10" presetClass="entr" presetSubtype="0" fill="hold" nodeType="withEffect">
                                      <p:stCondLst>
                                        <p:cond delay="0"/>
                                      </p:stCondLst>
                                      <p:childTnLst>
                                        <p:set>
                                          <p:cBhvr>
                                            <p:cTn id="72" dur="1" fill="hold">
                                              <p:stCondLst>
                                                <p:cond delay="0"/>
                                              </p:stCondLst>
                                            </p:cTn>
                                            <p:tgtEl>
                                              <p:spTgt spid="136"/>
                                            </p:tgtEl>
                                            <p:attrNameLst>
                                              <p:attrName>style.visibility</p:attrName>
                                            </p:attrNameLst>
                                          </p:cBhvr>
                                          <p:to>
                                            <p:strVal val="visible"/>
                                          </p:to>
                                        </p:set>
                                        <p:animEffect transition="in" filter="fade">
                                          <p:cBhvr>
                                            <p:cTn id="73" dur="500"/>
                                            <p:tgtEl>
                                              <p:spTgt spid="136"/>
                                            </p:tgtEl>
                                          </p:cBhvr>
                                        </p:animEffect>
                                      </p:childTnLst>
                                    </p:cTn>
                                  </p:par>
                                  <p:par>
                                    <p:cTn id="74" presetID="8" presetClass="emph" presetSubtype="0" repeatCount="indefinite" fill="hold" nodeType="withEffect">
                                      <p:stCondLst>
                                        <p:cond delay="0"/>
                                      </p:stCondLst>
                                      <p:childTnLst>
                                        <p:animRot by="21600000">
                                          <p:cBhvr>
                                            <p:cTn id="75" dur="20000" fill="hold"/>
                                            <p:tgtEl>
                                              <p:spTgt spid="136"/>
                                            </p:tgtEl>
                                            <p:attrNameLst>
                                              <p:attrName>r</p:attrName>
                                            </p:attrNameLst>
                                          </p:cBhvr>
                                        </p:animRot>
                                      </p:childTnLst>
                                    </p:cTn>
                                  </p:par>
                                  <p:par>
                                    <p:cTn id="76" presetID="10" presetClass="entr" presetSubtype="0" fill="hold" grpId="0" nodeType="withEffect">
                                      <p:stCondLst>
                                        <p:cond delay="1000"/>
                                      </p:stCondLst>
                                      <p:childTnLst>
                                        <p:set>
                                          <p:cBhvr>
                                            <p:cTn id="77" dur="1" fill="hold">
                                              <p:stCondLst>
                                                <p:cond delay="0"/>
                                              </p:stCondLst>
                                            </p:cTn>
                                            <p:tgtEl>
                                              <p:spTgt spid="41"/>
                                            </p:tgtEl>
                                            <p:attrNameLst>
                                              <p:attrName>style.visibility</p:attrName>
                                            </p:attrNameLst>
                                          </p:cBhvr>
                                          <p:to>
                                            <p:strVal val="visible"/>
                                          </p:to>
                                        </p:set>
                                        <p:animEffect transition="in" filter="fade">
                                          <p:cBhvr>
                                            <p:cTn id="78" dur="750"/>
                                            <p:tgtEl>
                                              <p:spTgt spid="41"/>
                                            </p:tgtEl>
                                          </p:cBhvr>
                                        </p:animEffect>
                                      </p:childTnLst>
                                    </p:cTn>
                                  </p:par>
                                  <p:par>
                                    <p:cTn id="79" presetID="10" presetClass="entr" presetSubtype="0" fill="hold" grpId="0" nodeType="withEffect">
                                      <p:stCondLst>
                                        <p:cond delay="1000"/>
                                      </p:stCondLst>
                                      <p:childTnLst>
                                        <p:set>
                                          <p:cBhvr>
                                            <p:cTn id="80" dur="1" fill="hold">
                                              <p:stCondLst>
                                                <p:cond delay="0"/>
                                              </p:stCondLst>
                                            </p:cTn>
                                            <p:tgtEl>
                                              <p:spTgt spid="124"/>
                                            </p:tgtEl>
                                            <p:attrNameLst>
                                              <p:attrName>style.visibility</p:attrName>
                                            </p:attrNameLst>
                                          </p:cBhvr>
                                          <p:to>
                                            <p:strVal val="visible"/>
                                          </p:to>
                                        </p:set>
                                        <p:animEffect transition="in" filter="fade">
                                          <p:cBhvr>
                                            <p:cTn id="81" dur="750"/>
                                            <p:tgtEl>
                                              <p:spTgt spid="124"/>
                                            </p:tgtEl>
                                          </p:cBhvr>
                                        </p:animEffect>
                                      </p:childTnLst>
                                    </p:cTn>
                                  </p:par>
                                  <p:par>
                                    <p:cTn id="82" presetID="53" presetClass="entr" presetSubtype="16" fill="hold" grpId="0" nodeType="withEffect">
                                      <p:stCondLst>
                                        <p:cond delay="1250"/>
                                      </p:stCondLst>
                                      <p:childTnLst>
                                        <p:set>
                                          <p:cBhvr>
                                            <p:cTn id="83" dur="1" fill="hold">
                                              <p:stCondLst>
                                                <p:cond delay="0"/>
                                              </p:stCondLst>
                                            </p:cTn>
                                            <p:tgtEl>
                                              <p:spTgt spid="89"/>
                                            </p:tgtEl>
                                            <p:attrNameLst>
                                              <p:attrName>style.visibility</p:attrName>
                                            </p:attrNameLst>
                                          </p:cBhvr>
                                          <p:to>
                                            <p:strVal val="visible"/>
                                          </p:to>
                                        </p:set>
                                        <p:anim calcmode="lin" valueType="num">
                                          <p:cBhvr>
                                            <p:cTn id="84" dur="750" fill="hold"/>
                                            <p:tgtEl>
                                              <p:spTgt spid="89"/>
                                            </p:tgtEl>
                                            <p:attrNameLst>
                                              <p:attrName>ppt_w</p:attrName>
                                            </p:attrNameLst>
                                          </p:cBhvr>
                                          <p:tavLst>
                                            <p:tav tm="0">
                                              <p:val>
                                                <p:fltVal val="0"/>
                                              </p:val>
                                            </p:tav>
                                            <p:tav tm="100000">
                                              <p:val>
                                                <p:strVal val="#ppt_w"/>
                                              </p:val>
                                            </p:tav>
                                          </p:tavLst>
                                        </p:anim>
                                        <p:anim calcmode="lin" valueType="num">
                                          <p:cBhvr>
                                            <p:cTn id="85" dur="750" fill="hold"/>
                                            <p:tgtEl>
                                              <p:spTgt spid="89"/>
                                            </p:tgtEl>
                                            <p:attrNameLst>
                                              <p:attrName>ppt_h</p:attrName>
                                            </p:attrNameLst>
                                          </p:cBhvr>
                                          <p:tavLst>
                                            <p:tav tm="0">
                                              <p:val>
                                                <p:fltVal val="0"/>
                                              </p:val>
                                            </p:tav>
                                            <p:tav tm="100000">
                                              <p:val>
                                                <p:strVal val="#ppt_h"/>
                                              </p:val>
                                            </p:tav>
                                          </p:tavLst>
                                        </p:anim>
                                        <p:animEffect transition="in" filter="fade">
                                          <p:cBhvr>
                                            <p:cTn id="86" dur="750"/>
                                            <p:tgtEl>
                                              <p:spTgt spid="89"/>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49"/>
                                            </p:tgtEl>
                                            <p:attrNameLst>
                                              <p:attrName>style.visibility</p:attrName>
                                            </p:attrNameLst>
                                          </p:cBhvr>
                                          <p:to>
                                            <p:strVal val="visible"/>
                                          </p:to>
                                        </p:set>
                                        <p:animEffect transition="in" filter="fade">
                                          <p:cBhvr>
                                            <p:cTn id="91" dur="500"/>
                                            <p:tgtEl>
                                              <p:spTgt spid="149"/>
                                            </p:tgtEl>
                                          </p:cBhvr>
                                        </p:animEffect>
                                      </p:childTnLst>
                                    </p:cTn>
                                  </p:par>
                                </p:childTnLst>
                              </p:cTn>
                            </p:par>
                            <p:par>
                              <p:cTn id="92" fill="hold">
                                <p:stCondLst>
                                  <p:cond delay="500"/>
                                </p:stCondLst>
                                <p:childTnLst>
                                  <p:par>
                                    <p:cTn id="93" presetID="47" presetClass="entr" presetSubtype="0" fill="hold" nodeType="afterEffect">
                                      <p:stCondLst>
                                        <p:cond delay="0"/>
                                      </p:stCondLst>
                                      <p:childTnLst>
                                        <p:set>
                                          <p:cBhvr>
                                            <p:cTn id="94" dur="1" fill="hold">
                                              <p:stCondLst>
                                                <p:cond delay="0"/>
                                              </p:stCondLst>
                                            </p:cTn>
                                            <p:tgtEl>
                                              <p:spTgt spid="156"/>
                                            </p:tgtEl>
                                            <p:attrNameLst>
                                              <p:attrName>style.visibility</p:attrName>
                                            </p:attrNameLst>
                                          </p:cBhvr>
                                          <p:to>
                                            <p:strVal val="visible"/>
                                          </p:to>
                                        </p:set>
                                        <p:animEffect transition="in" filter="fade">
                                          <p:cBhvr>
                                            <p:cTn id="95" dur="1000"/>
                                            <p:tgtEl>
                                              <p:spTgt spid="156"/>
                                            </p:tgtEl>
                                          </p:cBhvr>
                                        </p:animEffect>
                                        <p:anim calcmode="lin" valueType="num">
                                          <p:cBhvr>
                                            <p:cTn id="96" dur="1000" fill="hold"/>
                                            <p:tgtEl>
                                              <p:spTgt spid="156"/>
                                            </p:tgtEl>
                                            <p:attrNameLst>
                                              <p:attrName>ppt_x</p:attrName>
                                            </p:attrNameLst>
                                          </p:cBhvr>
                                          <p:tavLst>
                                            <p:tav tm="0">
                                              <p:val>
                                                <p:strVal val="#ppt_x"/>
                                              </p:val>
                                            </p:tav>
                                            <p:tav tm="100000">
                                              <p:val>
                                                <p:strVal val="#ppt_x"/>
                                              </p:val>
                                            </p:tav>
                                          </p:tavLst>
                                        </p:anim>
                                        <p:anim calcmode="lin" valueType="num">
                                          <p:cBhvr>
                                            <p:cTn id="97" dur="1000" fill="hold"/>
                                            <p:tgtEl>
                                              <p:spTgt spid="156"/>
                                            </p:tgtEl>
                                            <p:attrNameLst>
                                              <p:attrName>ppt_y</p:attrName>
                                            </p:attrNameLst>
                                          </p:cBhvr>
                                          <p:tavLst>
                                            <p:tav tm="0">
                                              <p:val>
                                                <p:strVal val="#ppt_y-.1"/>
                                              </p:val>
                                            </p:tav>
                                            <p:tav tm="100000">
                                              <p:val>
                                                <p:strVal val="#ppt_y"/>
                                              </p:val>
                                            </p:tav>
                                          </p:tavLst>
                                        </p:anim>
                                      </p:childTnLst>
                                    </p:cTn>
                                  </p:par>
                                </p:childTnLst>
                              </p:cTn>
                            </p:par>
                            <p:par>
                              <p:cTn id="98" fill="hold">
                                <p:stCondLst>
                                  <p:cond delay="1500"/>
                                </p:stCondLst>
                                <p:childTnLst>
                                  <p:par>
                                    <p:cTn id="99" presetID="22" presetClass="entr" presetSubtype="8" fill="hold" grpId="0" nodeType="afterEffect">
                                      <p:stCondLst>
                                        <p:cond delay="0"/>
                                      </p:stCondLst>
                                      <p:childTnLst>
                                        <p:set>
                                          <p:cBhvr>
                                            <p:cTn id="100" dur="1" fill="hold">
                                              <p:stCondLst>
                                                <p:cond delay="0"/>
                                              </p:stCondLst>
                                            </p:cTn>
                                            <p:tgtEl>
                                              <p:spTgt spid="4"/>
                                            </p:tgtEl>
                                            <p:attrNameLst>
                                              <p:attrName>style.visibility</p:attrName>
                                            </p:attrNameLst>
                                          </p:cBhvr>
                                          <p:to>
                                            <p:strVal val="visible"/>
                                          </p:to>
                                        </p:set>
                                        <p:animEffect transition="in" filter="wipe(left)">
                                          <p:cBhvr>
                                            <p:cTn id="101" dur="500"/>
                                            <p:tgtEl>
                                              <p:spTgt spid="4"/>
                                            </p:tgtEl>
                                          </p:cBhvr>
                                        </p:animEffect>
                                      </p:childTnLst>
                                    </p:cTn>
                                  </p:par>
                                </p:childTnLst>
                              </p:cTn>
                            </p:par>
                            <p:par>
                              <p:cTn id="102" fill="hold">
                                <p:stCondLst>
                                  <p:cond delay="2000"/>
                                </p:stCondLst>
                                <p:childTnLst>
                                  <p:par>
                                    <p:cTn id="103" presetID="22" presetClass="entr" presetSubtype="8" fill="hold" nodeType="afterEffect">
                                      <p:stCondLst>
                                        <p:cond delay="0"/>
                                      </p:stCondLst>
                                      <p:childTnLst>
                                        <p:set>
                                          <p:cBhvr>
                                            <p:cTn id="104" dur="1" fill="hold">
                                              <p:stCondLst>
                                                <p:cond delay="0"/>
                                              </p:stCondLst>
                                            </p:cTn>
                                            <p:tgtEl>
                                              <p:spTgt spid="9"/>
                                            </p:tgtEl>
                                            <p:attrNameLst>
                                              <p:attrName>style.visibility</p:attrName>
                                            </p:attrNameLst>
                                          </p:cBhvr>
                                          <p:to>
                                            <p:strVal val="visible"/>
                                          </p:to>
                                        </p:set>
                                        <p:animEffect transition="in" filter="wipe(left)">
                                          <p:cBhvr>
                                            <p:cTn id="105" dur="500"/>
                                            <p:tgtEl>
                                              <p:spTgt spid="9"/>
                                            </p:tgtEl>
                                          </p:cBhvr>
                                        </p:animEffect>
                                      </p:childTnLst>
                                    </p:cTn>
                                  </p:par>
                                  <p:par>
                                    <p:cTn id="106" presetID="26" presetClass="emph" presetSubtype="0" repeatCount="indefinite" fill="hold" nodeType="withEffect">
                                      <p:stCondLst>
                                        <p:cond delay="0"/>
                                      </p:stCondLst>
                                      <p:childTnLst>
                                        <p:animEffect transition="out" filter="fade">
                                          <p:cBhvr>
                                            <p:cTn id="107" dur="1000" tmFilter="0, 0; .2, .5; .8, .5; 1, 0"/>
                                            <p:tgtEl>
                                              <p:spTgt spid="9"/>
                                            </p:tgtEl>
                                          </p:cBhvr>
                                        </p:animEffect>
                                        <p:animScale>
                                          <p:cBhvr>
                                            <p:cTn id="108" dur="500" autoRev="1" fill="hold"/>
                                            <p:tgtEl>
                                              <p:spTgt spid="9"/>
                                            </p:tgtEl>
                                          </p:cBhvr>
                                          <p:by x="105000" y="105000"/>
                                        </p:animScale>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150"/>
                                            </p:tgtEl>
                                            <p:attrNameLst>
                                              <p:attrName>style.visibility</p:attrName>
                                            </p:attrNameLst>
                                          </p:cBhvr>
                                          <p:to>
                                            <p:strVal val="visible"/>
                                          </p:to>
                                        </p:set>
                                        <p:animEffect transition="in" filter="fade">
                                          <p:cBhvr>
                                            <p:cTn id="113" dur="500"/>
                                            <p:tgtEl>
                                              <p:spTgt spid="150"/>
                                            </p:tgtEl>
                                          </p:cBhvr>
                                        </p:animEffect>
                                      </p:childTnLst>
                                    </p:cTn>
                                  </p:par>
                                </p:childTnLst>
                              </p:cTn>
                            </p:par>
                            <p:par>
                              <p:cTn id="114" fill="hold">
                                <p:stCondLst>
                                  <p:cond delay="500"/>
                                </p:stCondLst>
                                <p:childTnLst>
                                  <p:par>
                                    <p:cTn id="115" presetID="1" presetClass="entr" presetSubtype="0" fill="hold" nodeType="afterEffect">
                                      <p:stCondLst>
                                        <p:cond delay="0"/>
                                      </p:stCondLst>
                                      <p:childTnLst>
                                        <p:set>
                                          <p:cBhvr>
                                            <p:cTn id="116" dur="1" fill="hold">
                                              <p:stCondLst>
                                                <p:cond delay="249"/>
                                              </p:stCondLst>
                                            </p:cTn>
                                            <p:tgtEl>
                                              <p:spTgt spid="206"/>
                                            </p:tgtEl>
                                            <p:attrNameLst>
                                              <p:attrName>style.visibility</p:attrName>
                                            </p:attrNameLst>
                                          </p:cBhvr>
                                          <p:to>
                                            <p:strVal val="visible"/>
                                          </p:to>
                                        </p:set>
                                      </p:childTnLst>
                                    </p:cTn>
                                  </p:par>
                                </p:childTnLst>
                              </p:cTn>
                            </p:par>
                            <p:par>
                              <p:cTn id="117" fill="hold">
                                <p:stCondLst>
                                  <p:cond delay="750"/>
                                </p:stCondLst>
                                <p:childTnLst>
                                  <p:par>
                                    <p:cTn id="118" presetID="1" presetClass="entr" presetSubtype="0" fill="hold" nodeType="afterEffect">
                                      <p:stCondLst>
                                        <p:cond delay="0"/>
                                      </p:stCondLst>
                                      <p:childTnLst>
                                        <p:set>
                                          <p:cBhvr>
                                            <p:cTn id="119" dur="1" fill="hold">
                                              <p:stCondLst>
                                                <p:cond delay="249"/>
                                              </p:stCondLst>
                                            </p:cTn>
                                            <p:tgtEl>
                                              <p:spTgt spid="213"/>
                                            </p:tgtEl>
                                            <p:attrNameLst>
                                              <p:attrName>style.visibility</p:attrName>
                                            </p:attrNameLst>
                                          </p:cBhvr>
                                          <p:to>
                                            <p:strVal val="visible"/>
                                          </p:to>
                                        </p:set>
                                      </p:childTnLst>
                                    </p:cTn>
                                  </p:par>
                                </p:childTnLst>
                              </p:cTn>
                            </p:par>
                            <p:par>
                              <p:cTn id="120" fill="hold">
                                <p:stCondLst>
                                  <p:cond delay="1000"/>
                                </p:stCondLst>
                                <p:childTnLst>
                                  <p:par>
                                    <p:cTn id="121" presetID="1" presetClass="entr" presetSubtype="0" fill="hold" nodeType="afterEffect">
                                      <p:stCondLst>
                                        <p:cond delay="0"/>
                                      </p:stCondLst>
                                      <p:childTnLst>
                                        <p:set>
                                          <p:cBhvr>
                                            <p:cTn id="122" dur="1" fill="hold">
                                              <p:stCondLst>
                                                <p:cond delay="249"/>
                                              </p:stCondLst>
                                            </p:cTn>
                                            <p:tgtEl>
                                              <p:spTgt spid="220"/>
                                            </p:tgtEl>
                                            <p:attrNameLst>
                                              <p:attrName>style.visibility</p:attrName>
                                            </p:attrNameLst>
                                          </p:cBhvr>
                                          <p:to>
                                            <p:strVal val="visible"/>
                                          </p:to>
                                        </p:set>
                                      </p:childTnLst>
                                    </p:cTn>
                                  </p:par>
                                </p:childTnLst>
                              </p:cTn>
                            </p:par>
                            <p:par>
                              <p:cTn id="123" fill="hold">
                                <p:stCondLst>
                                  <p:cond delay="1250"/>
                                </p:stCondLst>
                                <p:childTnLst>
                                  <p:par>
                                    <p:cTn id="124" presetID="1" presetClass="entr" presetSubtype="0" fill="hold" nodeType="afterEffect">
                                      <p:stCondLst>
                                        <p:cond delay="0"/>
                                      </p:stCondLst>
                                      <p:childTnLst>
                                        <p:set>
                                          <p:cBhvr>
                                            <p:cTn id="125" dur="1" fill="hold">
                                              <p:stCondLst>
                                                <p:cond delay="249"/>
                                              </p:stCondLst>
                                            </p:cTn>
                                            <p:tgtEl>
                                              <p:spTgt spid="177"/>
                                            </p:tgtEl>
                                            <p:attrNameLst>
                                              <p:attrName>style.visibility</p:attrName>
                                            </p:attrNameLst>
                                          </p:cBhvr>
                                          <p:to>
                                            <p:strVal val="visible"/>
                                          </p:to>
                                        </p:set>
                                      </p:childTnLst>
                                    </p:cTn>
                                  </p:par>
                                </p:childTnLst>
                              </p:cTn>
                            </p:par>
                            <p:par>
                              <p:cTn id="126" fill="hold">
                                <p:stCondLst>
                                  <p:cond delay="1500"/>
                                </p:stCondLst>
                                <p:childTnLst>
                                  <p:par>
                                    <p:cTn id="127" presetID="1" presetClass="entr" presetSubtype="0" fill="hold" nodeType="afterEffect">
                                      <p:stCondLst>
                                        <p:cond delay="0"/>
                                      </p:stCondLst>
                                      <p:childTnLst>
                                        <p:set>
                                          <p:cBhvr>
                                            <p:cTn id="128" dur="1" fill="hold">
                                              <p:stCondLst>
                                                <p:cond delay="249"/>
                                              </p:stCondLst>
                                            </p:cTn>
                                            <p:tgtEl>
                                              <p:spTgt spid="185"/>
                                            </p:tgtEl>
                                            <p:attrNameLst>
                                              <p:attrName>style.visibility</p:attrName>
                                            </p:attrNameLst>
                                          </p:cBhvr>
                                          <p:to>
                                            <p:strVal val="visible"/>
                                          </p:to>
                                        </p:set>
                                      </p:childTnLst>
                                    </p:cTn>
                                  </p:par>
                                </p:childTnLst>
                              </p:cTn>
                            </p:par>
                            <p:par>
                              <p:cTn id="129" fill="hold">
                                <p:stCondLst>
                                  <p:cond delay="1750"/>
                                </p:stCondLst>
                                <p:childTnLst>
                                  <p:par>
                                    <p:cTn id="130" presetID="1" presetClass="entr" presetSubtype="0" fill="hold" nodeType="afterEffect">
                                      <p:stCondLst>
                                        <p:cond delay="0"/>
                                      </p:stCondLst>
                                      <p:childTnLst>
                                        <p:set>
                                          <p:cBhvr>
                                            <p:cTn id="131" dur="1" fill="hold">
                                              <p:stCondLst>
                                                <p:cond delay="249"/>
                                              </p:stCondLst>
                                            </p:cTn>
                                            <p:tgtEl>
                                              <p:spTgt spid="192"/>
                                            </p:tgtEl>
                                            <p:attrNameLst>
                                              <p:attrName>style.visibility</p:attrName>
                                            </p:attrNameLst>
                                          </p:cBhvr>
                                          <p:to>
                                            <p:strVal val="visible"/>
                                          </p:to>
                                        </p:set>
                                      </p:childTnLst>
                                    </p:cTn>
                                  </p:par>
                                </p:childTnLst>
                              </p:cTn>
                            </p:par>
                            <p:par>
                              <p:cTn id="132" fill="hold">
                                <p:stCondLst>
                                  <p:cond delay="2000"/>
                                </p:stCondLst>
                                <p:childTnLst>
                                  <p:par>
                                    <p:cTn id="133" presetID="1" presetClass="entr" presetSubtype="0" fill="hold" nodeType="afterEffect">
                                      <p:stCondLst>
                                        <p:cond delay="0"/>
                                      </p:stCondLst>
                                      <p:childTnLst>
                                        <p:set>
                                          <p:cBhvr>
                                            <p:cTn id="134" dur="1" fill="hold">
                                              <p:stCondLst>
                                                <p:cond delay="249"/>
                                              </p:stCondLst>
                                            </p:cTn>
                                            <p:tgtEl>
                                              <p:spTgt spid="199"/>
                                            </p:tgtEl>
                                            <p:attrNameLst>
                                              <p:attrName>style.visibility</p:attrName>
                                            </p:attrNameLst>
                                          </p:cBhvr>
                                          <p:to>
                                            <p:strVal val="visible"/>
                                          </p:to>
                                        </p:set>
                                      </p:childTnLst>
                                    </p:cTn>
                                  </p:par>
                                </p:childTnLst>
                              </p:cTn>
                            </p:par>
                            <p:par>
                              <p:cTn id="135" fill="hold">
                                <p:stCondLst>
                                  <p:cond delay="2250"/>
                                </p:stCondLst>
                                <p:childTnLst>
                                  <p:par>
                                    <p:cTn id="136" presetID="10" presetClass="entr" presetSubtype="0" fill="hold" grpId="0" nodeType="afterEffect">
                                      <p:stCondLst>
                                        <p:cond delay="0"/>
                                      </p:stCondLst>
                                      <p:childTnLst>
                                        <p:set>
                                          <p:cBhvr>
                                            <p:cTn id="137" dur="1" fill="hold">
                                              <p:stCondLst>
                                                <p:cond delay="0"/>
                                              </p:stCondLst>
                                            </p:cTn>
                                            <p:tgtEl>
                                              <p:spTgt spid="152"/>
                                            </p:tgtEl>
                                            <p:attrNameLst>
                                              <p:attrName>style.visibility</p:attrName>
                                            </p:attrNameLst>
                                          </p:cBhvr>
                                          <p:to>
                                            <p:strVal val="visible"/>
                                          </p:to>
                                        </p:set>
                                        <p:animEffect transition="in" filter="fade">
                                          <p:cBhvr>
                                            <p:cTn id="138" dur="500"/>
                                            <p:tgtEl>
                                              <p:spTgt spid="152"/>
                                            </p:tgtEl>
                                          </p:cBhvr>
                                        </p:animEffect>
                                      </p:childTnLst>
                                    </p:cTn>
                                  </p:par>
                                </p:childTnLst>
                              </p:cTn>
                            </p:par>
                            <p:par>
                              <p:cTn id="139" fill="hold">
                                <p:stCondLst>
                                  <p:cond delay="2750"/>
                                </p:stCondLst>
                                <p:childTnLst>
                                  <p:par>
                                    <p:cTn id="140" presetID="1" presetClass="entr" presetSubtype="0" fill="hold" nodeType="afterEffect">
                                      <p:stCondLst>
                                        <p:cond delay="0"/>
                                      </p:stCondLst>
                                      <p:childTnLst>
                                        <p:set>
                                          <p:cBhvr>
                                            <p:cTn id="141" dur="1" fill="hold">
                                              <p:stCondLst>
                                                <p:cond delay="249"/>
                                              </p:stCondLst>
                                            </p:cTn>
                                            <p:tgtEl>
                                              <p:spTgt spid="318"/>
                                            </p:tgtEl>
                                            <p:attrNameLst>
                                              <p:attrName>style.visibility</p:attrName>
                                            </p:attrNameLst>
                                          </p:cBhvr>
                                          <p:to>
                                            <p:strVal val="visible"/>
                                          </p:to>
                                        </p:set>
                                      </p:childTnLst>
                                    </p:cTn>
                                  </p:par>
                                </p:childTnLst>
                              </p:cTn>
                            </p:par>
                            <p:par>
                              <p:cTn id="142" fill="hold">
                                <p:stCondLst>
                                  <p:cond delay="3000"/>
                                </p:stCondLst>
                                <p:childTnLst>
                                  <p:par>
                                    <p:cTn id="143" presetID="1" presetClass="entr" presetSubtype="0" fill="hold" nodeType="afterEffect">
                                      <p:stCondLst>
                                        <p:cond delay="0"/>
                                      </p:stCondLst>
                                      <p:childTnLst>
                                        <p:set>
                                          <p:cBhvr>
                                            <p:cTn id="144" dur="1" fill="hold">
                                              <p:stCondLst>
                                                <p:cond delay="249"/>
                                              </p:stCondLst>
                                            </p:cTn>
                                            <p:tgtEl>
                                              <p:spTgt spid="325"/>
                                            </p:tgtEl>
                                            <p:attrNameLst>
                                              <p:attrName>style.visibility</p:attrName>
                                            </p:attrNameLst>
                                          </p:cBhvr>
                                          <p:to>
                                            <p:strVal val="visible"/>
                                          </p:to>
                                        </p:set>
                                      </p:childTnLst>
                                    </p:cTn>
                                  </p:par>
                                </p:childTnLst>
                              </p:cTn>
                            </p:par>
                            <p:par>
                              <p:cTn id="145" fill="hold">
                                <p:stCondLst>
                                  <p:cond delay="3250"/>
                                </p:stCondLst>
                                <p:childTnLst>
                                  <p:par>
                                    <p:cTn id="146" presetID="1" presetClass="entr" presetSubtype="0" fill="hold" nodeType="afterEffect">
                                      <p:stCondLst>
                                        <p:cond delay="0"/>
                                      </p:stCondLst>
                                      <p:childTnLst>
                                        <p:set>
                                          <p:cBhvr>
                                            <p:cTn id="147" dur="1" fill="hold">
                                              <p:stCondLst>
                                                <p:cond delay="249"/>
                                              </p:stCondLst>
                                            </p:cTn>
                                            <p:tgtEl>
                                              <p:spTgt spid="290"/>
                                            </p:tgtEl>
                                            <p:attrNameLst>
                                              <p:attrName>style.visibility</p:attrName>
                                            </p:attrNameLst>
                                          </p:cBhvr>
                                          <p:to>
                                            <p:strVal val="visible"/>
                                          </p:to>
                                        </p:set>
                                      </p:childTnLst>
                                    </p:cTn>
                                  </p:par>
                                </p:childTnLst>
                              </p:cTn>
                            </p:par>
                            <p:par>
                              <p:cTn id="148" fill="hold">
                                <p:stCondLst>
                                  <p:cond delay="3500"/>
                                </p:stCondLst>
                                <p:childTnLst>
                                  <p:par>
                                    <p:cTn id="149" presetID="1" presetClass="entr" presetSubtype="0" fill="hold" nodeType="afterEffect">
                                      <p:stCondLst>
                                        <p:cond delay="0"/>
                                      </p:stCondLst>
                                      <p:childTnLst>
                                        <p:set>
                                          <p:cBhvr>
                                            <p:cTn id="150" dur="1" fill="hold">
                                              <p:stCondLst>
                                                <p:cond delay="249"/>
                                              </p:stCondLst>
                                            </p:cTn>
                                            <p:tgtEl>
                                              <p:spTgt spid="297"/>
                                            </p:tgtEl>
                                            <p:attrNameLst>
                                              <p:attrName>style.visibility</p:attrName>
                                            </p:attrNameLst>
                                          </p:cBhvr>
                                          <p:to>
                                            <p:strVal val="visible"/>
                                          </p:to>
                                        </p:set>
                                      </p:childTnLst>
                                    </p:cTn>
                                  </p:par>
                                </p:childTnLst>
                              </p:cTn>
                            </p:par>
                            <p:par>
                              <p:cTn id="151" fill="hold">
                                <p:stCondLst>
                                  <p:cond delay="3750"/>
                                </p:stCondLst>
                                <p:childTnLst>
                                  <p:par>
                                    <p:cTn id="152" presetID="1" presetClass="entr" presetSubtype="0" fill="hold" nodeType="afterEffect">
                                      <p:stCondLst>
                                        <p:cond delay="0"/>
                                      </p:stCondLst>
                                      <p:childTnLst>
                                        <p:set>
                                          <p:cBhvr>
                                            <p:cTn id="153" dur="1" fill="hold">
                                              <p:stCondLst>
                                                <p:cond delay="249"/>
                                              </p:stCondLst>
                                            </p:cTn>
                                            <p:tgtEl>
                                              <p:spTgt spid="304"/>
                                            </p:tgtEl>
                                            <p:attrNameLst>
                                              <p:attrName>style.visibility</p:attrName>
                                            </p:attrNameLst>
                                          </p:cBhvr>
                                          <p:to>
                                            <p:strVal val="visible"/>
                                          </p:to>
                                        </p:set>
                                      </p:childTnLst>
                                    </p:cTn>
                                  </p:par>
                                </p:childTnLst>
                              </p:cTn>
                            </p:par>
                            <p:par>
                              <p:cTn id="154" fill="hold">
                                <p:stCondLst>
                                  <p:cond delay="4000"/>
                                </p:stCondLst>
                                <p:childTnLst>
                                  <p:par>
                                    <p:cTn id="155" presetID="1" presetClass="entr" presetSubtype="0" fill="hold" nodeType="afterEffect">
                                      <p:stCondLst>
                                        <p:cond delay="0"/>
                                      </p:stCondLst>
                                      <p:childTnLst>
                                        <p:set>
                                          <p:cBhvr>
                                            <p:cTn id="156" dur="1" fill="hold">
                                              <p:stCondLst>
                                                <p:cond delay="249"/>
                                              </p:stCondLst>
                                            </p:cTn>
                                            <p:tgtEl>
                                              <p:spTgt spid="311"/>
                                            </p:tgtEl>
                                            <p:attrNameLst>
                                              <p:attrName>style.visibility</p:attrName>
                                            </p:attrNameLst>
                                          </p:cBhvr>
                                          <p:to>
                                            <p:strVal val="visible"/>
                                          </p:to>
                                        </p:set>
                                      </p:childTnLst>
                                    </p:cTn>
                                  </p:par>
                                </p:childTnLst>
                              </p:cTn>
                            </p:par>
                            <p:par>
                              <p:cTn id="157" fill="hold">
                                <p:stCondLst>
                                  <p:cond delay="4250"/>
                                </p:stCondLst>
                                <p:childTnLst>
                                  <p:par>
                                    <p:cTn id="158" presetID="10" presetClass="entr" presetSubtype="0" fill="hold" grpId="1" nodeType="afterEffect">
                                      <p:stCondLst>
                                        <p:cond delay="0"/>
                                      </p:stCondLst>
                                      <p:childTnLst>
                                        <p:set>
                                          <p:cBhvr>
                                            <p:cTn id="159" dur="1" fill="hold">
                                              <p:stCondLst>
                                                <p:cond delay="0"/>
                                              </p:stCondLst>
                                            </p:cTn>
                                            <p:tgtEl>
                                              <p:spTgt spid="283"/>
                                            </p:tgtEl>
                                            <p:attrNameLst>
                                              <p:attrName>style.visibility</p:attrName>
                                            </p:attrNameLst>
                                          </p:cBhvr>
                                          <p:to>
                                            <p:strVal val="visible"/>
                                          </p:to>
                                        </p:set>
                                        <p:animEffect transition="in" filter="fade">
                                          <p:cBhvr>
                                            <p:cTn id="160" dur="500"/>
                                            <p:tgtEl>
                                              <p:spTgt spid="283"/>
                                            </p:tgtEl>
                                          </p:cBhvr>
                                        </p:animEffect>
                                      </p:childTnLst>
                                    </p:cTn>
                                  </p:par>
                                </p:childTnLst>
                              </p:cTn>
                            </p:par>
                            <p:par>
                              <p:cTn id="161" fill="hold">
                                <p:stCondLst>
                                  <p:cond delay="4750"/>
                                </p:stCondLst>
                                <p:childTnLst>
                                  <p:par>
                                    <p:cTn id="162" presetID="35" presetClass="emph" presetSubtype="0" repeatCount="indefinite" fill="hold" grpId="0" nodeType="afterEffect">
                                      <p:stCondLst>
                                        <p:cond delay="0"/>
                                      </p:stCondLst>
                                      <p:childTnLst>
                                        <p:anim calcmode="discrete" valueType="str">
                                          <p:cBhvr>
                                            <p:cTn id="163" dur="1000" fill="hold"/>
                                            <p:tgtEl>
                                              <p:spTgt spid="283"/>
                                            </p:tgtEl>
                                            <p:attrNameLst>
                                              <p:attrName>style.visibility</p:attrName>
                                            </p:attrNameLst>
                                          </p:cBhvr>
                                          <p:tavLst>
                                            <p:tav tm="0">
                                              <p:val>
                                                <p:strVal val="hidden"/>
                                              </p:val>
                                            </p:tav>
                                            <p:tav tm="50000">
                                              <p:val>
                                                <p:strVal val="visible"/>
                                              </p:val>
                                            </p:tav>
                                          </p:tavLst>
                                        </p:anim>
                                      </p:childTnLst>
                                    </p:cTn>
                                  </p:par>
                                  <p:par>
                                    <p:cTn id="164" presetID="10" presetClass="entr" presetSubtype="0" fill="hold" grpId="0" nodeType="withEffect">
                                      <p:stCondLst>
                                        <p:cond delay="500"/>
                                      </p:stCondLst>
                                      <p:childTnLst>
                                        <p:set>
                                          <p:cBhvr>
                                            <p:cTn id="165" dur="1" fill="hold">
                                              <p:stCondLst>
                                                <p:cond delay="0"/>
                                              </p:stCondLst>
                                            </p:cTn>
                                            <p:tgtEl>
                                              <p:spTgt spid="153"/>
                                            </p:tgtEl>
                                            <p:attrNameLst>
                                              <p:attrName>style.visibility</p:attrName>
                                            </p:attrNameLst>
                                          </p:cBhvr>
                                          <p:to>
                                            <p:strVal val="visible"/>
                                          </p:to>
                                        </p:set>
                                        <p:animEffect transition="in" filter="fade">
                                          <p:cBhvr>
                                            <p:cTn id="166" dur="500"/>
                                            <p:tgtEl>
                                              <p:spTgt spid="153"/>
                                            </p:tgtEl>
                                          </p:cBhvr>
                                        </p:animEffect>
                                      </p:childTnLst>
                                    </p:cTn>
                                  </p:par>
                                </p:childTnLst>
                              </p:cTn>
                            </p:par>
                            <p:par>
                              <p:cTn id="167" fill="hold">
                                <p:stCondLst>
                                  <p:cond delay="5750"/>
                                </p:stCondLst>
                                <p:childTnLst>
                                  <p:par>
                                    <p:cTn id="168" presetID="53" presetClass="entr" presetSubtype="16" fill="hold" grpId="0" nodeType="afterEffect">
                                      <p:stCondLst>
                                        <p:cond delay="0"/>
                                      </p:stCondLst>
                                      <p:childTnLst>
                                        <p:set>
                                          <p:cBhvr>
                                            <p:cTn id="169" dur="1" fill="hold">
                                              <p:stCondLst>
                                                <p:cond delay="0"/>
                                              </p:stCondLst>
                                            </p:cTn>
                                            <p:tgtEl>
                                              <p:spTgt spid="90"/>
                                            </p:tgtEl>
                                            <p:attrNameLst>
                                              <p:attrName>style.visibility</p:attrName>
                                            </p:attrNameLst>
                                          </p:cBhvr>
                                          <p:to>
                                            <p:strVal val="visible"/>
                                          </p:to>
                                        </p:set>
                                        <p:anim calcmode="lin" valueType="num">
                                          <p:cBhvr>
                                            <p:cTn id="170" dur="500" fill="hold"/>
                                            <p:tgtEl>
                                              <p:spTgt spid="90"/>
                                            </p:tgtEl>
                                            <p:attrNameLst>
                                              <p:attrName>ppt_w</p:attrName>
                                            </p:attrNameLst>
                                          </p:cBhvr>
                                          <p:tavLst>
                                            <p:tav tm="0">
                                              <p:val>
                                                <p:fltVal val="0"/>
                                              </p:val>
                                            </p:tav>
                                            <p:tav tm="100000">
                                              <p:val>
                                                <p:strVal val="#ppt_w"/>
                                              </p:val>
                                            </p:tav>
                                          </p:tavLst>
                                        </p:anim>
                                        <p:anim calcmode="lin" valueType="num">
                                          <p:cBhvr>
                                            <p:cTn id="171" dur="500" fill="hold"/>
                                            <p:tgtEl>
                                              <p:spTgt spid="90"/>
                                            </p:tgtEl>
                                            <p:attrNameLst>
                                              <p:attrName>ppt_h</p:attrName>
                                            </p:attrNameLst>
                                          </p:cBhvr>
                                          <p:tavLst>
                                            <p:tav tm="0">
                                              <p:val>
                                                <p:fltVal val="0"/>
                                              </p:val>
                                            </p:tav>
                                            <p:tav tm="100000">
                                              <p:val>
                                                <p:strVal val="#ppt_h"/>
                                              </p:val>
                                            </p:tav>
                                          </p:tavLst>
                                        </p:anim>
                                        <p:animEffect transition="in" filter="fade">
                                          <p:cBhvr>
                                            <p:cTn id="172" dur="500"/>
                                            <p:tgtEl>
                                              <p:spTgt spid="90"/>
                                            </p:tgtEl>
                                          </p:cBhvr>
                                        </p:animEffect>
                                      </p:childTnLst>
                                    </p:cTn>
                                  </p:par>
                                </p:childTnLst>
                              </p:cTn>
                            </p:par>
                            <p:par>
                              <p:cTn id="173" fill="hold">
                                <p:stCondLst>
                                  <p:cond delay="6250"/>
                                </p:stCondLst>
                                <p:childTnLst>
                                  <p:par>
                                    <p:cTn id="174" presetID="10" presetClass="entr" presetSubtype="0" fill="hold" grpId="0" nodeType="afterEffect">
                                      <p:stCondLst>
                                        <p:cond delay="500"/>
                                      </p:stCondLst>
                                      <p:childTnLst>
                                        <p:set>
                                          <p:cBhvr>
                                            <p:cTn id="175" dur="1" fill="hold">
                                              <p:stCondLst>
                                                <p:cond delay="0"/>
                                              </p:stCondLst>
                                            </p:cTn>
                                            <p:tgtEl>
                                              <p:spTgt spid="227"/>
                                            </p:tgtEl>
                                            <p:attrNameLst>
                                              <p:attrName>style.visibility</p:attrName>
                                            </p:attrNameLst>
                                          </p:cBhvr>
                                          <p:to>
                                            <p:strVal val="visible"/>
                                          </p:to>
                                        </p:set>
                                        <p:animEffect transition="in" filter="fade">
                                          <p:cBhvr>
                                            <p:cTn id="176"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89" grpId="0"/>
          <p:bldP spid="90" grpId="0"/>
          <p:bldP spid="91" grpId="0" animBg="1"/>
          <p:bldP spid="86" grpId="0" animBg="1"/>
          <p:bldP spid="106" grpId="0"/>
          <p:bldP spid="107" grpId="0"/>
          <p:bldP spid="116" grpId="0" animBg="1"/>
          <p:bldP spid="19" grpId="0" animBg="1"/>
          <p:bldP spid="118" grpId="0" animBg="1"/>
          <p:bldP spid="41" grpId="0"/>
          <p:bldP spid="124" grpId="0"/>
          <p:bldP spid="149" grpId="0" animBg="1"/>
          <p:bldP spid="150" grpId="0" animBg="1"/>
          <p:bldP spid="152" grpId="0"/>
          <p:bldP spid="153" grpId="0"/>
          <p:bldP spid="28" grpId="0" animBg="1"/>
          <p:bldP spid="28" grpId="1" animBg="1"/>
          <p:bldP spid="283" grpId="0"/>
          <p:bldP spid="283" grpId="1"/>
          <p:bldP spid="4" grpId="0" animBg="1"/>
          <p:bldP spid="227" grpId="0"/>
        </p:bldLst>
      </p:timing>
    </mc:Fallback>
  </mc:AlternateContent>
</p:sld>
</file>

<file path=ppt/slides/slide295.xml><?xml version="1.0" encoding="utf-8"?>
<p:sld xmlns:a="http://schemas.openxmlformats.org/drawingml/2006/main" xmlns:r="http://schemas.openxmlformats.org/officeDocument/2006/relationships" xmlns:p="http://schemas.openxmlformats.org/presentationml/2006/main">
  <p:cSld>
    <p:bg>
      <p:bgPr>
        <a:solidFill>
          <a:srgbClr val="6FC2B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Iconography</a:t>
            </a:r>
            <a:endParaRPr lang="en-GB" dirty="0">
              <a:solidFill>
                <a:schemeClr val="tx1"/>
              </a:solidFill>
            </a:endParaRPr>
          </a:p>
        </p:txBody>
      </p:sp>
    </p:spTree>
    <p:extLst>
      <p:ext uri="{BB962C8B-B14F-4D97-AF65-F5344CB8AC3E}">
        <p14:creationId xmlns:p14="http://schemas.microsoft.com/office/powerpoint/2010/main" val="3358116372"/>
      </p:ext>
    </p:extLst>
  </p:cSld>
  <p:clrMapOvr>
    <a:masterClrMapping/>
  </p:clrMapOvr>
  <p:transition>
    <p:fade/>
  </p:transition>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General use</a:t>
            </a:r>
            <a:endParaRPr lang="en-GB" dirty="0"/>
          </a:p>
        </p:txBody>
      </p:sp>
      <p:sp>
        <p:nvSpPr>
          <p:cNvPr id="4" name="Title 3"/>
          <p:cNvSpPr>
            <a:spLocks noGrp="1"/>
          </p:cNvSpPr>
          <p:nvPr>
            <p:ph type="title"/>
          </p:nvPr>
        </p:nvSpPr>
        <p:spPr/>
        <p:txBody>
          <a:bodyPr/>
          <a:lstStyle/>
          <a:p>
            <a:r>
              <a:rPr lang="en-GB" dirty="0"/>
              <a:t>Iconography</a:t>
            </a:r>
          </a:p>
        </p:txBody>
      </p:sp>
      <p:sp>
        <p:nvSpPr>
          <p:cNvPr id="286" name="TextBox 285">
            <a:extLst>
              <a:ext uri="{FF2B5EF4-FFF2-40B4-BE49-F238E27FC236}">
                <a16:creationId xmlns:a16="http://schemas.microsoft.com/office/drawing/2014/main" id="{E64520F6-4555-4C0E-9AEF-5B0ED2E09046}"/>
              </a:ext>
            </a:extLst>
          </p:cNvPr>
          <p:cNvSpPr txBox="1"/>
          <p:nvPr/>
        </p:nvSpPr>
        <p:spPr>
          <a:xfrm>
            <a:off x="469900" y="211323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us</a:t>
            </a:r>
          </a:p>
        </p:txBody>
      </p:sp>
      <p:sp>
        <p:nvSpPr>
          <p:cNvPr id="287" name="TextBox 286">
            <a:extLst>
              <a:ext uri="{FF2B5EF4-FFF2-40B4-BE49-F238E27FC236}">
                <a16:creationId xmlns:a16="http://schemas.microsoft.com/office/drawing/2014/main" id="{B71FB8E0-3880-4FBF-9BDF-511BB40829D6}"/>
              </a:ext>
            </a:extLst>
          </p:cNvPr>
          <p:cNvSpPr txBox="1"/>
          <p:nvPr/>
        </p:nvSpPr>
        <p:spPr>
          <a:xfrm>
            <a:off x="1328559" y="2113238"/>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nus</a:t>
            </a:r>
          </a:p>
        </p:txBody>
      </p:sp>
      <p:sp>
        <p:nvSpPr>
          <p:cNvPr id="288" name="TextBox 287">
            <a:extLst>
              <a:ext uri="{FF2B5EF4-FFF2-40B4-BE49-F238E27FC236}">
                <a16:creationId xmlns:a16="http://schemas.microsoft.com/office/drawing/2014/main" id="{F14B5EE5-BCF1-4E98-80AE-26F94E1CB9F4}"/>
              </a:ext>
            </a:extLst>
          </p:cNvPr>
          <p:cNvSpPr txBox="1"/>
          <p:nvPr/>
        </p:nvSpPr>
        <p:spPr>
          <a:xfrm>
            <a:off x="2202035"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ick</a:t>
            </a:r>
          </a:p>
        </p:txBody>
      </p:sp>
      <p:sp>
        <p:nvSpPr>
          <p:cNvPr id="289" name="TextBox 288">
            <a:extLst>
              <a:ext uri="{FF2B5EF4-FFF2-40B4-BE49-F238E27FC236}">
                <a16:creationId xmlns:a16="http://schemas.microsoft.com/office/drawing/2014/main" id="{BCA7DF3D-BD0C-4D96-8E51-E1278247B120}"/>
              </a:ext>
            </a:extLst>
          </p:cNvPr>
          <p:cNvSpPr txBox="1"/>
          <p:nvPr/>
        </p:nvSpPr>
        <p:spPr>
          <a:xfrm>
            <a:off x="3072336"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ross</a:t>
            </a:r>
          </a:p>
        </p:txBody>
      </p:sp>
      <p:sp>
        <p:nvSpPr>
          <p:cNvPr id="328" name="TextBox 327">
            <a:extLst>
              <a:ext uri="{FF2B5EF4-FFF2-40B4-BE49-F238E27FC236}">
                <a16:creationId xmlns:a16="http://schemas.microsoft.com/office/drawing/2014/main" id="{A4F5DAEF-4C0D-4742-8EA7-57425D4EF2F6}"/>
              </a:ext>
            </a:extLst>
          </p:cNvPr>
          <p:cNvSpPr txBox="1"/>
          <p:nvPr/>
        </p:nvSpPr>
        <p:spPr>
          <a:xfrm>
            <a:off x="4812938" y="211510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urger menu</a:t>
            </a:r>
          </a:p>
        </p:txBody>
      </p:sp>
      <p:sp>
        <p:nvSpPr>
          <p:cNvPr id="329" name="TextBox 328">
            <a:extLst>
              <a:ext uri="{FF2B5EF4-FFF2-40B4-BE49-F238E27FC236}">
                <a16:creationId xmlns:a16="http://schemas.microsoft.com/office/drawing/2014/main" id="{B7887E07-2919-460C-9D85-EA881D6C0315}"/>
              </a:ext>
            </a:extLst>
          </p:cNvPr>
          <p:cNvSpPr txBox="1"/>
          <p:nvPr/>
        </p:nvSpPr>
        <p:spPr>
          <a:xfrm>
            <a:off x="3942637"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Navigation 1</a:t>
            </a:r>
          </a:p>
        </p:txBody>
      </p:sp>
      <p:sp>
        <p:nvSpPr>
          <p:cNvPr id="330" name="TextBox 329">
            <a:extLst>
              <a:ext uri="{FF2B5EF4-FFF2-40B4-BE49-F238E27FC236}">
                <a16:creationId xmlns:a16="http://schemas.microsoft.com/office/drawing/2014/main" id="{A287DCDA-DAB6-4061-8677-25BA2D7A76B6}"/>
              </a:ext>
            </a:extLst>
          </p:cNvPr>
          <p:cNvSpPr txBox="1"/>
          <p:nvPr/>
        </p:nvSpPr>
        <p:spPr>
          <a:xfrm>
            <a:off x="8294142" y="211323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st</a:t>
            </a:r>
          </a:p>
        </p:txBody>
      </p:sp>
      <p:sp>
        <p:nvSpPr>
          <p:cNvPr id="331" name="TextBox 330">
            <a:extLst>
              <a:ext uri="{FF2B5EF4-FFF2-40B4-BE49-F238E27FC236}">
                <a16:creationId xmlns:a16="http://schemas.microsoft.com/office/drawing/2014/main" id="{8FA6BE8A-93D2-4764-870D-DCFBB1F82574}"/>
              </a:ext>
            </a:extLst>
          </p:cNvPr>
          <p:cNvSpPr txBox="1"/>
          <p:nvPr/>
        </p:nvSpPr>
        <p:spPr>
          <a:xfrm>
            <a:off x="481602"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ock</a:t>
            </a:r>
          </a:p>
        </p:txBody>
      </p:sp>
      <p:sp>
        <p:nvSpPr>
          <p:cNvPr id="368" name="TextBox 367">
            <a:extLst>
              <a:ext uri="{FF2B5EF4-FFF2-40B4-BE49-F238E27FC236}">
                <a16:creationId xmlns:a16="http://schemas.microsoft.com/office/drawing/2014/main" id="{DA2D649A-00B5-41E0-AC2E-0C3660FFB904}"/>
              </a:ext>
            </a:extLst>
          </p:cNvPr>
          <p:cNvSpPr txBox="1"/>
          <p:nvPr/>
        </p:nvSpPr>
        <p:spPr>
          <a:xfrm>
            <a:off x="1349998"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nlock</a:t>
            </a:r>
          </a:p>
        </p:txBody>
      </p:sp>
      <p:sp>
        <p:nvSpPr>
          <p:cNvPr id="369" name="TextBox 368">
            <a:extLst>
              <a:ext uri="{FF2B5EF4-FFF2-40B4-BE49-F238E27FC236}">
                <a16:creationId xmlns:a16="http://schemas.microsoft.com/office/drawing/2014/main" id="{2835AE9E-0948-4DD7-9192-A826B5532229}"/>
              </a:ext>
            </a:extLst>
          </p:cNvPr>
          <p:cNvSpPr txBox="1"/>
          <p:nvPr/>
        </p:nvSpPr>
        <p:spPr>
          <a:xfrm>
            <a:off x="10881761"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ar</a:t>
            </a:r>
          </a:p>
        </p:txBody>
      </p:sp>
      <p:sp>
        <p:nvSpPr>
          <p:cNvPr id="370" name="TextBox 369">
            <a:extLst>
              <a:ext uri="{FF2B5EF4-FFF2-40B4-BE49-F238E27FC236}">
                <a16:creationId xmlns:a16="http://schemas.microsoft.com/office/drawing/2014/main" id="{B8974900-1C2E-4D14-B4A0-1DD034C214EF}"/>
              </a:ext>
            </a:extLst>
          </p:cNvPr>
          <p:cNvSpPr txBox="1"/>
          <p:nvPr/>
        </p:nvSpPr>
        <p:spPr>
          <a:xfrm>
            <a:off x="7423841"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n</a:t>
            </a:r>
          </a:p>
        </p:txBody>
      </p:sp>
      <p:sp>
        <p:nvSpPr>
          <p:cNvPr id="371" name="TextBox 370">
            <a:extLst>
              <a:ext uri="{FF2B5EF4-FFF2-40B4-BE49-F238E27FC236}">
                <a16:creationId xmlns:a16="http://schemas.microsoft.com/office/drawing/2014/main" id="{ECCC0F66-6B28-4EF7-9425-4519AAB7901F}"/>
              </a:ext>
            </a:extLst>
          </p:cNvPr>
          <p:cNvSpPr txBox="1"/>
          <p:nvPr/>
        </p:nvSpPr>
        <p:spPr>
          <a:xfrm>
            <a:off x="6553540"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arget</a:t>
            </a:r>
          </a:p>
        </p:txBody>
      </p:sp>
      <p:sp>
        <p:nvSpPr>
          <p:cNvPr id="372" name="TextBox 371">
            <a:extLst>
              <a:ext uri="{FF2B5EF4-FFF2-40B4-BE49-F238E27FC236}">
                <a16:creationId xmlns:a16="http://schemas.microsoft.com/office/drawing/2014/main" id="{FF2C4314-1FD0-4D94-973D-F90D7C3B2D2E}"/>
              </a:ext>
            </a:extLst>
          </p:cNvPr>
          <p:cNvSpPr txBox="1"/>
          <p:nvPr/>
        </p:nvSpPr>
        <p:spPr>
          <a:xfrm>
            <a:off x="5683239"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lag</a:t>
            </a:r>
          </a:p>
        </p:txBody>
      </p:sp>
      <p:sp>
        <p:nvSpPr>
          <p:cNvPr id="373" name="TextBox 372">
            <a:extLst>
              <a:ext uri="{FF2B5EF4-FFF2-40B4-BE49-F238E27FC236}">
                <a16:creationId xmlns:a16="http://schemas.microsoft.com/office/drawing/2014/main" id="{6731A412-7052-4F19-8119-5A8D5DCAFF33}"/>
              </a:ext>
            </a:extLst>
          </p:cNvPr>
          <p:cNvSpPr txBox="1"/>
          <p:nvPr/>
        </p:nvSpPr>
        <p:spPr>
          <a:xfrm>
            <a:off x="4823582" y="293918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xit </a:t>
            </a:r>
          </a:p>
        </p:txBody>
      </p:sp>
      <p:sp>
        <p:nvSpPr>
          <p:cNvPr id="374" name="TextBox 373">
            <a:extLst>
              <a:ext uri="{FF2B5EF4-FFF2-40B4-BE49-F238E27FC236}">
                <a16:creationId xmlns:a16="http://schemas.microsoft.com/office/drawing/2014/main" id="{985435E4-4177-4219-9188-4BA8666239D3}"/>
              </a:ext>
            </a:extLst>
          </p:cNvPr>
          <p:cNvSpPr txBox="1"/>
          <p:nvPr/>
        </p:nvSpPr>
        <p:spPr>
          <a:xfrm>
            <a:off x="5680336" y="2939186"/>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nter</a:t>
            </a:r>
          </a:p>
        </p:txBody>
      </p:sp>
      <p:sp>
        <p:nvSpPr>
          <p:cNvPr id="375" name="TextBox 374">
            <a:extLst>
              <a:ext uri="{FF2B5EF4-FFF2-40B4-BE49-F238E27FC236}">
                <a16:creationId xmlns:a16="http://schemas.microsoft.com/office/drawing/2014/main" id="{304389C5-1921-4DE9-A745-492E3AC82455}"/>
              </a:ext>
            </a:extLst>
          </p:cNvPr>
          <p:cNvSpPr txBox="1"/>
          <p:nvPr/>
        </p:nvSpPr>
        <p:spPr>
          <a:xfrm>
            <a:off x="6551907"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Navigation 2</a:t>
            </a:r>
          </a:p>
        </p:txBody>
      </p:sp>
      <p:sp>
        <p:nvSpPr>
          <p:cNvPr id="376" name="TextBox 375">
            <a:extLst>
              <a:ext uri="{FF2B5EF4-FFF2-40B4-BE49-F238E27FC236}">
                <a16:creationId xmlns:a16="http://schemas.microsoft.com/office/drawing/2014/main" id="{C0ADAB8A-8179-4C7A-95B0-4FC6E8CECC39}"/>
              </a:ext>
            </a:extLst>
          </p:cNvPr>
          <p:cNvSpPr txBox="1"/>
          <p:nvPr/>
        </p:nvSpPr>
        <p:spPr>
          <a:xfrm>
            <a:off x="8288699"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ech</a:t>
            </a:r>
          </a:p>
        </p:txBody>
      </p:sp>
      <p:sp>
        <p:nvSpPr>
          <p:cNvPr id="377" name="TextBox 376">
            <a:extLst>
              <a:ext uri="{FF2B5EF4-FFF2-40B4-BE49-F238E27FC236}">
                <a16:creationId xmlns:a16="http://schemas.microsoft.com/office/drawing/2014/main" id="{957F3E02-2A5D-4FCE-BEB4-F763F61998F2}"/>
              </a:ext>
            </a:extLst>
          </p:cNvPr>
          <p:cNvSpPr txBox="1"/>
          <p:nvPr/>
        </p:nvSpPr>
        <p:spPr>
          <a:xfrm>
            <a:off x="9157095"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ech 1</a:t>
            </a:r>
          </a:p>
        </p:txBody>
      </p:sp>
      <p:sp>
        <p:nvSpPr>
          <p:cNvPr id="378" name="TextBox 377">
            <a:extLst>
              <a:ext uri="{FF2B5EF4-FFF2-40B4-BE49-F238E27FC236}">
                <a16:creationId xmlns:a16="http://schemas.microsoft.com/office/drawing/2014/main" id="{344AFD07-439F-4E7D-8295-139069D2E5B2}"/>
              </a:ext>
            </a:extLst>
          </p:cNvPr>
          <p:cNvSpPr txBox="1"/>
          <p:nvPr/>
        </p:nvSpPr>
        <p:spPr>
          <a:xfrm>
            <a:off x="7420303"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are</a:t>
            </a:r>
          </a:p>
        </p:txBody>
      </p:sp>
      <p:sp>
        <p:nvSpPr>
          <p:cNvPr id="379" name="TextBox 378">
            <a:extLst>
              <a:ext uri="{FF2B5EF4-FFF2-40B4-BE49-F238E27FC236}">
                <a16:creationId xmlns:a16="http://schemas.microsoft.com/office/drawing/2014/main" id="{E8B80B66-BD50-4373-8D30-686268B80648}"/>
              </a:ext>
            </a:extLst>
          </p:cNvPr>
          <p:cNvSpPr txBox="1"/>
          <p:nvPr/>
        </p:nvSpPr>
        <p:spPr>
          <a:xfrm>
            <a:off x="2218394"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lobal</a:t>
            </a:r>
          </a:p>
        </p:txBody>
      </p:sp>
      <p:sp>
        <p:nvSpPr>
          <p:cNvPr id="380" name="TextBox 379">
            <a:extLst>
              <a:ext uri="{FF2B5EF4-FFF2-40B4-BE49-F238E27FC236}">
                <a16:creationId xmlns:a16="http://schemas.microsoft.com/office/drawing/2014/main" id="{DB04AE99-DF16-4AD3-BCF7-BA560AFF32FE}"/>
              </a:ext>
            </a:extLst>
          </p:cNvPr>
          <p:cNvSpPr txBox="1"/>
          <p:nvPr/>
        </p:nvSpPr>
        <p:spPr>
          <a:xfrm>
            <a:off x="460201"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vide</a:t>
            </a:r>
          </a:p>
        </p:txBody>
      </p:sp>
      <p:sp>
        <p:nvSpPr>
          <p:cNvPr id="381" name="TextBox 380">
            <a:extLst>
              <a:ext uri="{FF2B5EF4-FFF2-40B4-BE49-F238E27FC236}">
                <a16:creationId xmlns:a16="http://schemas.microsoft.com/office/drawing/2014/main" id="{8C063F38-59D8-4FCE-9171-3B914308DF27}"/>
              </a:ext>
            </a:extLst>
          </p:cNvPr>
          <p:cNvSpPr txBox="1"/>
          <p:nvPr/>
        </p:nvSpPr>
        <p:spPr>
          <a:xfrm>
            <a:off x="3955186"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splay</a:t>
            </a:r>
          </a:p>
        </p:txBody>
      </p:sp>
      <p:sp>
        <p:nvSpPr>
          <p:cNvPr id="382" name="TextBox 381">
            <a:extLst>
              <a:ext uri="{FF2B5EF4-FFF2-40B4-BE49-F238E27FC236}">
                <a16:creationId xmlns:a16="http://schemas.microsoft.com/office/drawing/2014/main" id="{0D5D8E85-E3CB-4DE3-9E8E-0DEE25A8BEA0}"/>
              </a:ext>
            </a:extLst>
          </p:cNvPr>
          <p:cNvSpPr txBox="1"/>
          <p:nvPr/>
        </p:nvSpPr>
        <p:spPr>
          <a:xfrm>
            <a:off x="3086790"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opwatch</a:t>
            </a:r>
          </a:p>
        </p:txBody>
      </p:sp>
      <p:sp>
        <p:nvSpPr>
          <p:cNvPr id="383" name="TextBox 382">
            <a:extLst>
              <a:ext uri="{FF2B5EF4-FFF2-40B4-BE49-F238E27FC236}">
                <a16:creationId xmlns:a16="http://schemas.microsoft.com/office/drawing/2014/main" id="{CC49EB71-E951-483D-B799-9C46D1B8108C}"/>
              </a:ext>
            </a:extLst>
          </p:cNvPr>
          <p:cNvSpPr txBox="1"/>
          <p:nvPr/>
        </p:nvSpPr>
        <p:spPr>
          <a:xfrm>
            <a:off x="10893891"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ce 2</a:t>
            </a:r>
          </a:p>
        </p:txBody>
      </p:sp>
      <p:sp>
        <p:nvSpPr>
          <p:cNvPr id="384" name="TextBox 383">
            <a:extLst>
              <a:ext uri="{FF2B5EF4-FFF2-40B4-BE49-F238E27FC236}">
                <a16:creationId xmlns:a16="http://schemas.microsoft.com/office/drawing/2014/main" id="{D2922D04-903B-47DD-BCC7-6C6FABE27B12}"/>
              </a:ext>
            </a:extLst>
          </p:cNvPr>
          <p:cNvSpPr txBox="1"/>
          <p:nvPr/>
        </p:nvSpPr>
        <p:spPr>
          <a:xfrm>
            <a:off x="10025491" y="293918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art</a:t>
            </a:r>
          </a:p>
        </p:txBody>
      </p:sp>
      <p:sp>
        <p:nvSpPr>
          <p:cNvPr id="385" name="TextBox 384">
            <a:extLst>
              <a:ext uri="{FF2B5EF4-FFF2-40B4-BE49-F238E27FC236}">
                <a16:creationId xmlns:a16="http://schemas.microsoft.com/office/drawing/2014/main" id="{B824E234-7E49-4B12-B8BA-3E010EE24764}"/>
              </a:ext>
            </a:extLst>
          </p:cNvPr>
          <p:cNvSpPr txBox="1"/>
          <p:nvPr/>
        </p:nvSpPr>
        <p:spPr>
          <a:xfrm>
            <a:off x="1334142" y="3715825"/>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quals</a:t>
            </a:r>
          </a:p>
        </p:txBody>
      </p:sp>
      <p:sp>
        <p:nvSpPr>
          <p:cNvPr id="386" name="TextBox 385">
            <a:extLst>
              <a:ext uri="{FF2B5EF4-FFF2-40B4-BE49-F238E27FC236}">
                <a16:creationId xmlns:a16="http://schemas.microsoft.com/office/drawing/2014/main" id="{3834F8AD-2A8B-40D3-80EB-E67C1701C74E}"/>
              </a:ext>
            </a:extLst>
          </p:cNvPr>
          <p:cNvSpPr txBox="1"/>
          <p:nvPr/>
        </p:nvSpPr>
        <p:spPr>
          <a:xfrm>
            <a:off x="2196441" y="37158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raser</a:t>
            </a:r>
          </a:p>
        </p:txBody>
      </p:sp>
      <p:sp>
        <p:nvSpPr>
          <p:cNvPr id="387" name="TextBox 386">
            <a:extLst>
              <a:ext uri="{FF2B5EF4-FFF2-40B4-BE49-F238E27FC236}">
                <a16:creationId xmlns:a16="http://schemas.microsoft.com/office/drawing/2014/main" id="{FE718395-39F6-4794-86D2-8B5B21A1B0E4}"/>
              </a:ext>
            </a:extLst>
          </p:cNvPr>
          <p:cNvSpPr txBox="1"/>
          <p:nvPr/>
        </p:nvSpPr>
        <p:spPr>
          <a:xfrm>
            <a:off x="3073557"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lert error</a:t>
            </a:r>
          </a:p>
        </p:txBody>
      </p:sp>
      <p:sp>
        <p:nvSpPr>
          <p:cNvPr id="388" name="TextBox 387">
            <a:extLst>
              <a:ext uri="{FF2B5EF4-FFF2-40B4-BE49-F238E27FC236}">
                <a16:creationId xmlns:a16="http://schemas.microsoft.com/office/drawing/2014/main" id="{0B2AE23D-81FE-4136-AD5D-C94839940258}"/>
              </a:ext>
            </a:extLst>
          </p:cNvPr>
          <p:cNvSpPr txBox="1"/>
          <p:nvPr/>
        </p:nvSpPr>
        <p:spPr>
          <a:xfrm>
            <a:off x="4821439"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xclamation</a:t>
            </a:r>
          </a:p>
        </p:txBody>
      </p:sp>
      <p:sp>
        <p:nvSpPr>
          <p:cNvPr id="389" name="TextBox 388">
            <a:extLst>
              <a:ext uri="{FF2B5EF4-FFF2-40B4-BE49-F238E27FC236}">
                <a16:creationId xmlns:a16="http://schemas.microsoft.com/office/drawing/2014/main" id="{41ECDC07-4914-4D3E-BDCD-5DEC820516C7}"/>
              </a:ext>
            </a:extLst>
          </p:cNvPr>
          <p:cNvSpPr txBox="1"/>
          <p:nvPr/>
        </p:nvSpPr>
        <p:spPr>
          <a:xfrm>
            <a:off x="3947498"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mmenting</a:t>
            </a:r>
          </a:p>
        </p:txBody>
      </p:sp>
      <p:sp>
        <p:nvSpPr>
          <p:cNvPr id="390" name="TextBox 389">
            <a:extLst>
              <a:ext uri="{FF2B5EF4-FFF2-40B4-BE49-F238E27FC236}">
                <a16:creationId xmlns:a16="http://schemas.microsoft.com/office/drawing/2014/main" id="{94B8E027-978A-44DC-94B9-68634D0EF851}"/>
              </a:ext>
            </a:extLst>
          </p:cNvPr>
          <p:cNvSpPr txBox="1"/>
          <p:nvPr/>
        </p:nvSpPr>
        <p:spPr>
          <a:xfrm>
            <a:off x="6569321" y="371582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quote marks</a:t>
            </a:r>
          </a:p>
        </p:txBody>
      </p:sp>
      <p:sp>
        <p:nvSpPr>
          <p:cNvPr id="391" name="TextBox 390">
            <a:extLst>
              <a:ext uri="{FF2B5EF4-FFF2-40B4-BE49-F238E27FC236}">
                <a16:creationId xmlns:a16="http://schemas.microsoft.com/office/drawing/2014/main" id="{97C2B3ED-6419-4810-8A76-C9FC0F4E0F3A}"/>
              </a:ext>
            </a:extLst>
          </p:cNvPr>
          <p:cNvSpPr txBox="1"/>
          <p:nvPr/>
        </p:nvSpPr>
        <p:spPr>
          <a:xfrm>
            <a:off x="5695380"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yedropper</a:t>
            </a:r>
          </a:p>
        </p:txBody>
      </p:sp>
      <p:grpSp>
        <p:nvGrpSpPr>
          <p:cNvPr id="392" name="Group 444">
            <a:extLst>
              <a:ext uri="{FF2B5EF4-FFF2-40B4-BE49-F238E27FC236}">
                <a16:creationId xmlns:a16="http://schemas.microsoft.com/office/drawing/2014/main" id="{136ACEF3-D62B-4A9B-B8E4-931FC5862DA7}"/>
              </a:ext>
            </a:extLst>
          </p:cNvPr>
          <p:cNvGrpSpPr>
            <a:grpSpLocks noChangeAspect="1"/>
          </p:cNvGrpSpPr>
          <p:nvPr/>
        </p:nvGrpSpPr>
        <p:grpSpPr bwMode="auto">
          <a:xfrm>
            <a:off x="917715" y="1700213"/>
            <a:ext cx="369021" cy="369021"/>
            <a:chOff x="2630" y="1597"/>
            <a:chExt cx="340" cy="340"/>
          </a:xfrm>
          <a:solidFill>
            <a:schemeClr val="accent5"/>
          </a:solidFill>
        </p:grpSpPr>
        <p:sp>
          <p:nvSpPr>
            <p:cNvPr id="393" name="Freeform 445">
              <a:extLst>
                <a:ext uri="{FF2B5EF4-FFF2-40B4-BE49-F238E27FC236}">
                  <a16:creationId xmlns:a16="http://schemas.microsoft.com/office/drawing/2014/main" id="{BC74B2D3-3CC9-47D9-A2D5-DC8EEC46B9A8}"/>
                </a:ext>
              </a:extLst>
            </p:cNvPr>
            <p:cNvSpPr>
              <a:spLocks noEditPoints="1"/>
            </p:cNvSpPr>
            <p:nvPr/>
          </p:nvSpPr>
          <p:spPr bwMode="auto">
            <a:xfrm>
              <a:off x="2630" y="1597"/>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Freeform 446">
              <a:extLst>
                <a:ext uri="{FF2B5EF4-FFF2-40B4-BE49-F238E27FC236}">
                  <a16:creationId xmlns:a16="http://schemas.microsoft.com/office/drawing/2014/main" id="{F0F49293-8C22-4468-994F-275869F942FC}"/>
                </a:ext>
              </a:extLst>
            </p:cNvPr>
            <p:cNvSpPr>
              <a:spLocks/>
            </p:cNvSpPr>
            <p:nvPr/>
          </p:nvSpPr>
          <p:spPr bwMode="auto">
            <a:xfrm>
              <a:off x="2694" y="1661"/>
              <a:ext cx="212" cy="212"/>
            </a:xfrm>
            <a:custGeom>
              <a:avLst/>
              <a:gdLst>
                <a:gd name="T0" fmla="*/ 309 w 320"/>
                <a:gd name="T1" fmla="*/ 150 h 320"/>
                <a:gd name="T2" fmla="*/ 171 w 320"/>
                <a:gd name="T3" fmla="*/ 150 h 320"/>
                <a:gd name="T4" fmla="*/ 171 w 320"/>
                <a:gd name="T5" fmla="*/ 11 h 320"/>
                <a:gd name="T6" fmla="*/ 160 w 320"/>
                <a:gd name="T7" fmla="*/ 0 h 320"/>
                <a:gd name="T8" fmla="*/ 149 w 320"/>
                <a:gd name="T9" fmla="*/ 11 h 320"/>
                <a:gd name="T10" fmla="*/ 149 w 320"/>
                <a:gd name="T11" fmla="*/ 150 h 320"/>
                <a:gd name="T12" fmla="*/ 11 w 320"/>
                <a:gd name="T13" fmla="*/ 150 h 320"/>
                <a:gd name="T14" fmla="*/ 0 w 320"/>
                <a:gd name="T15" fmla="*/ 160 h 320"/>
                <a:gd name="T16" fmla="*/ 11 w 320"/>
                <a:gd name="T17" fmla="*/ 171 h 320"/>
                <a:gd name="T18" fmla="*/ 149 w 320"/>
                <a:gd name="T19" fmla="*/ 171 h 320"/>
                <a:gd name="T20" fmla="*/ 149 w 320"/>
                <a:gd name="T21" fmla="*/ 310 h 320"/>
                <a:gd name="T22" fmla="*/ 160 w 320"/>
                <a:gd name="T23" fmla="*/ 320 h 320"/>
                <a:gd name="T24" fmla="*/ 171 w 320"/>
                <a:gd name="T25" fmla="*/ 310 h 320"/>
                <a:gd name="T26" fmla="*/ 171 w 320"/>
                <a:gd name="T27" fmla="*/ 171 h 320"/>
                <a:gd name="T28" fmla="*/ 309 w 320"/>
                <a:gd name="T29" fmla="*/ 171 h 320"/>
                <a:gd name="T30" fmla="*/ 320 w 320"/>
                <a:gd name="T31" fmla="*/ 160 h 320"/>
                <a:gd name="T32" fmla="*/ 309 w 320"/>
                <a:gd name="T33" fmla="*/ 1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320">
                  <a:moveTo>
                    <a:pt x="309" y="150"/>
                  </a:moveTo>
                  <a:cubicBezTo>
                    <a:pt x="171" y="150"/>
                    <a:pt x="171" y="150"/>
                    <a:pt x="171" y="150"/>
                  </a:cubicBezTo>
                  <a:cubicBezTo>
                    <a:pt x="171" y="11"/>
                    <a:pt x="171" y="11"/>
                    <a:pt x="171" y="11"/>
                  </a:cubicBezTo>
                  <a:cubicBezTo>
                    <a:pt x="171" y="5"/>
                    <a:pt x="166" y="0"/>
                    <a:pt x="160" y="0"/>
                  </a:cubicBezTo>
                  <a:cubicBezTo>
                    <a:pt x="154" y="0"/>
                    <a:pt x="149" y="5"/>
                    <a:pt x="149" y="11"/>
                  </a:cubicBezTo>
                  <a:cubicBezTo>
                    <a:pt x="149" y="150"/>
                    <a:pt x="149" y="150"/>
                    <a:pt x="149" y="150"/>
                  </a:cubicBezTo>
                  <a:cubicBezTo>
                    <a:pt x="11" y="150"/>
                    <a:pt x="11" y="150"/>
                    <a:pt x="11" y="150"/>
                  </a:cubicBezTo>
                  <a:cubicBezTo>
                    <a:pt x="5" y="150"/>
                    <a:pt x="0" y="154"/>
                    <a:pt x="0" y="160"/>
                  </a:cubicBezTo>
                  <a:cubicBezTo>
                    <a:pt x="0" y="166"/>
                    <a:pt x="5" y="171"/>
                    <a:pt x="11" y="171"/>
                  </a:cubicBezTo>
                  <a:cubicBezTo>
                    <a:pt x="149" y="171"/>
                    <a:pt x="149" y="171"/>
                    <a:pt x="149" y="171"/>
                  </a:cubicBezTo>
                  <a:cubicBezTo>
                    <a:pt x="149" y="310"/>
                    <a:pt x="149" y="310"/>
                    <a:pt x="149" y="310"/>
                  </a:cubicBezTo>
                  <a:cubicBezTo>
                    <a:pt x="149" y="316"/>
                    <a:pt x="154" y="320"/>
                    <a:pt x="160" y="320"/>
                  </a:cubicBezTo>
                  <a:cubicBezTo>
                    <a:pt x="166" y="320"/>
                    <a:pt x="171" y="316"/>
                    <a:pt x="171" y="310"/>
                  </a:cubicBezTo>
                  <a:cubicBezTo>
                    <a:pt x="171" y="171"/>
                    <a:pt x="171" y="171"/>
                    <a:pt x="171" y="171"/>
                  </a:cubicBezTo>
                  <a:cubicBezTo>
                    <a:pt x="309" y="171"/>
                    <a:pt x="309" y="171"/>
                    <a:pt x="309" y="171"/>
                  </a:cubicBezTo>
                  <a:cubicBezTo>
                    <a:pt x="315" y="171"/>
                    <a:pt x="320" y="166"/>
                    <a:pt x="320" y="160"/>
                  </a:cubicBezTo>
                  <a:cubicBezTo>
                    <a:pt x="320" y="154"/>
                    <a:pt x="315" y="150"/>
                    <a:pt x="309"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5" name="Group 449">
            <a:extLst>
              <a:ext uri="{FF2B5EF4-FFF2-40B4-BE49-F238E27FC236}">
                <a16:creationId xmlns:a16="http://schemas.microsoft.com/office/drawing/2014/main" id="{923FA6BE-2318-406E-B70D-568082C8D977}"/>
              </a:ext>
            </a:extLst>
          </p:cNvPr>
          <p:cNvGrpSpPr>
            <a:grpSpLocks noChangeAspect="1"/>
          </p:cNvGrpSpPr>
          <p:nvPr/>
        </p:nvGrpSpPr>
        <p:grpSpPr bwMode="auto">
          <a:xfrm>
            <a:off x="483084" y="1700213"/>
            <a:ext cx="369021" cy="369021"/>
            <a:chOff x="2276" y="1587"/>
            <a:chExt cx="340" cy="340"/>
          </a:xfrm>
          <a:solidFill>
            <a:schemeClr val="accent5"/>
          </a:solidFill>
        </p:grpSpPr>
        <p:sp>
          <p:nvSpPr>
            <p:cNvPr id="396" name="Freeform 450">
              <a:extLst>
                <a:ext uri="{FF2B5EF4-FFF2-40B4-BE49-F238E27FC236}">
                  <a16:creationId xmlns:a16="http://schemas.microsoft.com/office/drawing/2014/main" id="{22B68382-B312-4C0F-AE86-A45A27F2D337}"/>
                </a:ext>
              </a:extLst>
            </p:cNvPr>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7" name="Freeform 451">
              <a:extLst>
                <a:ext uri="{FF2B5EF4-FFF2-40B4-BE49-F238E27FC236}">
                  <a16:creationId xmlns:a16="http://schemas.microsoft.com/office/drawing/2014/main" id="{3BA6234A-CE4D-4C28-9DC1-0959030463A4}"/>
                </a:ext>
              </a:extLst>
            </p:cNvPr>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8" name="Group 878">
            <a:extLst>
              <a:ext uri="{FF2B5EF4-FFF2-40B4-BE49-F238E27FC236}">
                <a16:creationId xmlns:a16="http://schemas.microsoft.com/office/drawing/2014/main" id="{0B6B9D61-6C51-42A1-A793-8540A8C6632A}"/>
              </a:ext>
            </a:extLst>
          </p:cNvPr>
          <p:cNvGrpSpPr>
            <a:grpSpLocks noChangeAspect="1"/>
          </p:cNvGrpSpPr>
          <p:nvPr/>
        </p:nvGrpSpPr>
        <p:grpSpPr bwMode="auto">
          <a:xfrm>
            <a:off x="1784997" y="1700213"/>
            <a:ext cx="367041" cy="367041"/>
            <a:chOff x="2950" y="3735"/>
            <a:chExt cx="340" cy="340"/>
          </a:xfrm>
          <a:solidFill>
            <a:schemeClr val="accent4"/>
          </a:solidFill>
        </p:grpSpPr>
        <p:sp>
          <p:nvSpPr>
            <p:cNvPr id="399" name="Freeform 879">
              <a:extLst>
                <a:ext uri="{FF2B5EF4-FFF2-40B4-BE49-F238E27FC236}">
                  <a16:creationId xmlns:a16="http://schemas.microsoft.com/office/drawing/2014/main" id="{E75E47BB-6197-419D-A5B1-553CD7007DAF}"/>
                </a:ext>
              </a:extLst>
            </p:cNvPr>
            <p:cNvSpPr>
              <a:spLocks/>
            </p:cNvSpPr>
            <p:nvPr/>
          </p:nvSpPr>
          <p:spPr bwMode="auto">
            <a:xfrm>
              <a:off x="3014" y="3898"/>
              <a:ext cx="212" cy="14"/>
            </a:xfrm>
            <a:custGeom>
              <a:avLst/>
              <a:gdLst>
                <a:gd name="T0" fmla="*/ 309 w 320"/>
                <a:gd name="T1" fmla="*/ 21 h 21"/>
                <a:gd name="T2" fmla="*/ 10 w 320"/>
                <a:gd name="T3" fmla="*/ 21 h 21"/>
                <a:gd name="T4" fmla="*/ 0 w 320"/>
                <a:gd name="T5" fmla="*/ 11 h 21"/>
                <a:gd name="T6" fmla="*/ 10 w 320"/>
                <a:gd name="T7" fmla="*/ 0 h 21"/>
                <a:gd name="T8" fmla="*/ 309 w 320"/>
                <a:gd name="T9" fmla="*/ 0 h 21"/>
                <a:gd name="T10" fmla="*/ 320 w 320"/>
                <a:gd name="T11" fmla="*/ 11 h 21"/>
                <a:gd name="T12" fmla="*/ 309 w 320"/>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21"/>
                  </a:moveTo>
                  <a:cubicBezTo>
                    <a:pt x="10" y="21"/>
                    <a:pt x="10" y="21"/>
                    <a:pt x="10" y="21"/>
                  </a:cubicBezTo>
                  <a:cubicBezTo>
                    <a:pt x="4" y="21"/>
                    <a:pt x="0" y="17"/>
                    <a:pt x="0" y="11"/>
                  </a:cubicBezTo>
                  <a:cubicBezTo>
                    <a:pt x="0" y="5"/>
                    <a:pt x="4" y="0"/>
                    <a:pt x="10" y="0"/>
                  </a:cubicBezTo>
                  <a:cubicBezTo>
                    <a:pt x="309" y="0"/>
                    <a:pt x="309" y="0"/>
                    <a:pt x="309" y="0"/>
                  </a:cubicBezTo>
                  <a:cubicBezTo>
                    <a:pt x="315" y="0"/>
                    <a:pt x="320" y="5"/>
                    <a:pt x="320" y="11"/>
                  </a:cubicBezTo>
                  <a:cubicBezTo>
                    <a:pt x="320" y="17"/>
                    <a:pt x="315" y="21"/>
                    <a:pt x="309"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0" name="Freeform 880">
              <a:extLst>
                <a:ext uri="{FF2B5EF4-FFF2-40B4-BE49-F238E27FC236}">
                  <a16:creationId xmlns:a16="http://schemas.microsoft.com/office/drawing/2014/main" id="{027A41F1-C00E-4F2E-BF06-78E934B323F2}"/>
                </a:ext>
              </a:extLst>
            </p:cNvPr>
            <p:cNvSpPr>
              <a:spLocks noEditPoints="1"/>
            </p:cNvSpPr>
            <p:nvPr/>
          </p:nvSpPr>
          <p:spPr bwMode="auto">
            <a:xfrm>
              <a:off x="2950" y="37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1" name="Freeform 884">
            <a:extLst>
              <a:ext uri="{FF2B5EF4-FFF2-40B4-BE49-F238E27FC236}">
                <a16:creationId xmlns:a16="http://schemas.microsoft.com/office/drawing/2014/main" id="{78AFEB6A-87D8-4327-A0DF-CB8F5EF5376E}"/>
              </a:ext>
            </a:extLst>
          </p:cNvPr>
          <p:cNvSpPr>
            <a:spLocks noChangeAspect="1" noEditPoints="1"/>
          </p:cNvSpPr>
          <p:nvPr/>
        </p:nvSpPr>
        <p:spPr bwMode="auto">
          <a:xfrm>
            <a:off x="1352346" y="170021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06 w 512"/>
              <a:gd name="T13" fmla="*/ 266 h 512"/>
              <a:gd name="T14" fmla="*/ 96 w 512"/>
              <a:gd name="T15" fmla="*/ 256 h 512"/>
              <a:gd name="T16" fmla="*/ 106 w 512"/>
              <a:gd name="T17" fmla="*/ 245 h 512"/>
              <a:gd name="T18" fmla="*/ 405 w 512"/>
              <a:gd name="T19" fmla="*/ 245 h 512"/>
              <a:gd name="T20" fmla="*/ 416 w 512"/>
              <a:gd name="T21" fmla="*/ 256 h 512"/>
              <a:gd name="T22" fmla="*/ 405 w 512"/>
              <a:gd name="T2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06" y="266"/>
                  <a:pt x="106" y="266"/>
                  <a:pt x="106" y="266"/>
                </a:cubicBezTo>
                <a:cubicBezTo>
                  <a:pt x="100" y="266"/>
                  <a:pt x="96" y="262"/>
                  <a:pt x="96" y="256"/>
                </a:cubicBezTo>
                <a:cubicBezTo>
                  <a:pt x="96" y="250"/>
                  <a:pt x="100" y="245"/>
                  <a:pt x="106" y="245"/>
                </a:cubicBezTo>
                <a:cubicBezTo>
                  <a:pt x="405" y="245"/>
                  <a:pt x="405" y="245"/>
                  <a:pt x="405" y="245"/>
                </a:cubicBezTo>
                <a:cubicBezTo>
                  <a:pt x="411" y="245"/>
                  <a:pt x="416" y="250"/>
                  <a:pt x="416" y="256"/>
                </a:cubicBezTo>
                <a:cubicBezTo>
                  <a:pt x="416" y="262"/>
                  <a:pt x="411" y="266"/>
                  <a:pt x="405" y="26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2" name="Group 592">
            <a:extLst>
              <a:ext uri="{FF2B5EF4-FFF2-40B4-BE49-F238E27FC236}">
                <a16:creationId xmlns:a16="http://schemas.microsoft.com/office/drawing/2014/main" id="{64D23441-1204-4421-AF54-A428244DEA35}"/>
              </a:ext>
            </a:extLst>
          </p:cNvPr>
          <p:cNvGrpSpPr>
            <a:grpSpLocks noChangeAspect="1"/>
          </p:cNvGrpSpPr>
          <p:nvPr/>
        </p:nvGrpSpPr>
        <p:grpSpPr bwMode="auto">
          <a:xfrm>
            <a:off x="2652934" y="1700213"/>
            <a:ext cx="370763" cy="369676"/>
            <a:chOff x="373" y="1933"/>
            <a:chExt cx="341" cy="340"/>
          </a:xfrm>
          <a:solidFill>
            <a:schemeClr val="accent6"/>
          </a:solidFill>
        </p:grpSpPr>
        <p:sp>
          <p:nvSpPr>
            <p:cNvPr id="403" name="Freeform 693">
              <a:extLst>
                <a:ext uri="{FF2B5EF4-FFF2-40B4-BE49-F238E27FC236}">
                  <a16:creationId xmlns:a16="http://schemas.microsoft.com/office/drawing/2014/main" id="{397D3A73-03CC-4BCD-B45B-7901792D4380}"/>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4" name="Freeform 694">
              <a:extLst>
                <a:ext uri="{FF2B5EF4-FFF2-40B4-BE49-F238E27FC236}">
                  <a16:creationId xmlns:a16="http://schemas.microsoft.com/office/drawing/2014/main" id="{CC77EDCE-0772-458C-A4C4-F52324F49903}"/>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5" name="Freeform 598">
            <a:extLst>
              <a:ext uri="{FF2B5EF4-FFF2-40B4-BE49-F238E27FC236}">
                <a16:creationId xmlns:a16="http://schemas.microsoft.com/office/drawing/2014/main" id="{689A395C-0267-4D4B-B1ED-B2B21FA4CB23}"/>
              </a:ext>
            </a:extLst>
          </p:cNvPr>
          <p:cNvSpPr>
            <a:spLocks noChangeAspect="1" noEditPoints="1"/>
          </p:cNvSpPr>
          <p:nvPr/>
        </p:nvSpPr>
        <p:spPr bwMode="auto">
          <a:xfrm>
            <a:off x="2217648" y="170021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6" name="Freeform 132">
            <a:extLst>
              <a:ext uri="{FF2B5EF4-FFF2-40B4-BE49-F238E27FC236}">
                <a16:creationId xmlns:a16="http://schemas.microsoft.com/office/drawing/2014/main" id="{44DFB3C4-42BA-46CF-92B7-6B6DDD9774A6}"/>
              </a:ext>
            </a:extLst>
          </p:cNvPr>
          <p:cNvSpPr>
            <a:spLocks noChangeAspect="1" noEditPoints="1"/>
          </p:cNvSpPr>
          <p:nvPr/>
        </p:nvSpPr>
        <p:spPr bwMode="auto">
          <a:xfrm>
            <a:off x="3089307" y="170021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65 h 512"/>
              <a:gd name="T12" fmla="*/ 381 w 512"/>
              <a:gd name="T13" fmla="*/ 381 h 512"/>
              <a:gd name="T14" fmla="*/ 373 w 512"/>
              <a:gd name="T15" fmla="*/ 384 h 512"/>
              <a:gd name="T16" fmla="*/ 365 w 512"/>
              <a:gd name="T17" fmla="*/ 381 h 512"/>
              <a:gd name="T18" fmla="*/ 256 w 512"/>
              <a:gd name="T19" fmla="*/ 271 h 512"/>
              <a:gd name="T20" fmla="*/ 146 w 512"/>
              <a:gd name="T21" fmla="*/ 381 h 512"/>
              <a:gd name="T22" fmla="*/ 138 w 512"/>
              <a:gd name="T23" fmla="*/ 384 h 512"/>
              <a:gd name="T24" fmla="*/ 131 w 512"/>
              <a:gd name="T25" fmla="*/ 381 h 512"/>
              <a:gd name="T26" fmla="*/ 131 w 512"/>
              <a:gd name="T27" fmla="*/ 365 h 512"/>
              <a:gd name="T28" fmla="*/ 241 w 512"/>
              <a:gd name="T29" fmla="*/ 256 h 512"/>
              <a:gd name="T30" fmla="*/ 131 w 512"/>
              <a:gd name="T31" fmla="*/ 146 h 512"/>
              <a:gd name="T32" fmla="*/ 131 w 512"/>
              <a:gd name="T33" fmla="*/ 131 h 512"/>
              <a:gd name="T34" fmla="*/ 146 w 512"/>
              <a:gd name="T35" fmla="*/ 131 h 512"/>
              <a:gd name="T36" fmla="*/ 256 w 512"/>
              <a:gd name="T37" fmla="*/ 241 h 512"/>
              <a:gd name="T38" fmla="*/ 365 w 512"/>
              <a:gd name="T39" fmla="*/ 131 h 512"/>
              <a:gd name="T40" fmla="*/ 381 w 512"/>
              <a:gd name="T41" fmla="*/ 131 h 512"/>
              <a:gd name="T42" fmla="*/ 381 w 512"/>
              <a:gd name="T43" fmla="*/ 146 h 512"/>
              <a:gd name="T44" fmla="*/ 271 w 512"/>
              <a:gd name="T45" fmla="*/ 256 h 512"/>
              <a:gd name="T46" fmla="*/ 381 w 512"/>
              <a:gd name="T47"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65"/>
                </a:moveTo>
                <a:cubicBezTo>
                  <a:pt x="385" y="370"/>
                  <a:pt x="385" y="376"/>
                  <a:pt x="381" y="381"/>
                </a:cubicBezTo>
                <a:cubicBezTo>
                  <a:pt x="378" y="383"/>
                  <a:pt x="376" y="384"/>
                  <a:pt x="373" y="384"/>
                </a:cubicBezTo>
                <a:cubicBezTo>
                  <a:pt x="370" y="384"/>
                  <a:pt x="368" y="383"/>
                  <a:pt x="365" y="381"/>
                </a:cubicBezTo>
                <a:cubicBezTo>
                  <a:pt x="256" y="271"/>
                  <a:pt x="256" y="271"/>
                  <a:pt x="256" y="271"/>
                </a:cubicBezTo>
                <a:cubicBezTo>
                  <a:pt x="146" y="381"/>
                  <a:pt x="146" y="381"/>
                  <a:pt x="146" y="381"/>
                </a:cubicBezTo>
                <a:cubicBezTo>
                  <a:pt x="144" y="383"/>
                  <a:pt x="141" y="384"/>
                  <a:pt x="138" y="384"/>
                </a:cubicBezTo>
                <a:cubicBezTo>
                  <a:pt x="136" y="384"/>
                  <a:pt x="133" y="383"/>
                  <a:pt x="131" y="381"/>
                </a:cubicBezTo>
                <a:cubicBezTo>
                  <a:pt x="127" y="376"/>
                  <a:pt x="127" y="370"/>
                  <a:pt x="131" y="365"/>
                </a:cubicBezTo>
                <a:cubicBezTo>
                  <a:pt x="241" y="256"/>
                  <a:pt x="241" y="256"/>
                  <a:pt x="241" y="256"/>
                </a:cubicBezTo>
                <a:cubicBezTo>
                  <a:pt x="131" y="146"/>
                  <a:pt x="131" y="146"/>
                  <a:pt x="131" y="146"/>
                </a:cubicBezTo>
                <a:cubicBezTo>
                  <a:pt x="127" y="142"/>
                  <a:pt x="127" y="135"/>
                  <a:pt x="131" y="131"/>
                </a:cubicBezTo>
                <a:cubicBezTo>
                  <a:pt x="135" y="127"/>
                  <a:pt x="142" y="127"/>
                  <a:pt x="146" y="131"/>
                </a:cubicBezTo>
                <a:cubicBezTo>
                  <a:pt x="256" y="241"/>
                  <a:pt x="256" y="241"/>
                  <a:pt x="256" y="241"/>
                </a:cubicBezTo>
                <a:cubicBezTo>
                  <a:pt x="365" y="131"/>
                  <a:pt x="365" y="131"/>
                  <a:pt x="365" y="131"/>
                </a:cubicBezTo>
                <a:cubicBezTo>
                  <a:pt x="370" y="127"/>
                  <a:pt x="376" y="127"/>
                  <a:pt x="381" y="131"/>
                </a:cubicBezTo>
                <a:cubicBezTo>
                  <a:pt x="385" y="135"/>
                  <a:pt x="385" y="142"/>
                  <a:pt x="381" y="146"/>
                </a:cubicBezTo>
                <a:cubicBezTo>
                  <a:pt x="271" y="256"/>
                  <a:pt x="271" y="256"/>
                  <a:pt x="271" y="256"/>
                </a:cubicBezTo>
                <a:lnTo>
                  <a:pt x="381" y="36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7" name="Group 135">
            <a:extLst>
              <a:ext uri="{FF2B5EF4-FFF2-40B4-BE49-F238E27FC236}">
                <a16:creationId xmlns:a16="http://schemas.microsoft.com/office/drawing/2014/main" id="{05A6465F-ADCB-4271-A870-91BC584C06DE}"/>
              </a:ext>
            </a:extLst>
          </p:cNvPr>
          <p:cNvGrpSpPr>
            <a:grpSpLocks noChangeAspect="1"/>
          </p:cNvGrpSpPr>
          <p:nvPr/>
        </p:nvGrpSpPr>
        <p:grpSpPr bwMode="auto">
          <a:xfrm>
            <a:off x="3522548" y="1700213"/>
            <a:ext cx="367631" cy="367631"/>
            <a:chOff x="3038" y="915"/>
            <a:chExt cx="340" cy="340"/>
          </a:xfrm>
          <a:solidFill>
            <a:schemeClr val="accent2"/>
          </a:solidFill>
        </p:grpSpPr>
        <p:sp>
          <p:nvSpPr>
            <p:cNvPr id="408" name="Freeform 136">
              <a:extLst>
                <a:ext uri="{FF2B5EF4-FFF2-40B4-BE49-F238E27FC236}">
                  <a16:creationId xmlns:a16="http://schemas.microsoft.com/office/drawing/2014/main" id="{4F513C87-3107-4B49-828B-F9EB3E4ED134}"/>
                </a:ext>
              </a:extLst>
            </p:cNvPr>
            <p:cNvSpPr>
              <a:spLocks/>
            </p:cNvSpPr>
            <p:nvPr/>
          </p:nvSpPr>
          <p:spPr bwMode="auto">
            <a:xfrm>
              <a:off x="3122" y="999"/>
              <a:ext cx="172" cy="171"/>
            </a:xfrm>
            <a:custGeom>
              <a:avLst/>
              <a:gdLst>
                <a:gd name="T0" fmla="*/ 144 w 258"/>
                <a:gd name="T1" fmla="*/ 129 h 257"/>
                <a:gd name="T2" fmla="*/ 254 w 258"/>
                <a:gd name="T3" fmla="*/ 19 h 257"/>
                <a:gd name="T4" fmla="*/ 254 w 258"/>
                <a:gd name="T5" fmla="*/ 4 h 257"/>
                <a:gd name="T6" fmla="*/ 238 w 258"/>
                <a:gd name="T7" fmla="*/ 4 h 257"/>
                <a:gd name="T8" fmla="*/ 129 w 258"/>
                <a:gd name="T9" fmla="*/ 114 h 257"/>
                <a:gd name="T10" fmla="*/ 19 w 258"/>
                <a:gd name="T11" fmla="*/ 4 h 257"/>
                <a:gd name="T12" fmla="*/ 4 w 258"/>
                <a:gd name="T13" fmla="*/ 4 h 257"/>
                <a:gd name="T14" fmla="*/ 4 w 258"/>
                <a:gd name="T15" fmla="*/ 19 h 257"/>
                <a:gd name="T16" fmla="*/ 114 w 258"/>
                <a:gd name="T17" fmla="*/ 129 h 257"/>
                <a:gd name="T18" fmla="*/ 4 w 258"/>
                <a:gd name="T19" fmla="*/ 238 h 257"/>
                <a:gd name="T20" fmla="*/ 4 w 258"/>
                <a:gd name="T21" fmla="*/ 254 h 257"/>
                <a:gd name="T22" fmla="*/ 11 w 258"/>
                <a:gd name="T23" fmla="*/ 257 h 257"/>
                <a:gd name="T24" fmla="*/ 19 w 258"/>
                <a:gd name="T25" fmla="*/ 254 h 257"/>
                <a:gd name="T26" fmla="*/ 129 w 258"/>
                <a:gd name="T27" fmla="*/ 144 h 257"/>
                <a:gd name="T28" fmla="*/ 238 w 258"/>
                <a:gd name="T29" fmla="*/ 254 h 257"/>
                <a:gd name="T30" fmla="*/ 246 w 258"/>
                <a:gd name="T31" fmla="*/ 257 h 257"/>
                <a:gd name="T32" fmla="*/ 254 w 258"/>
                <a:gd name="T33" fmla="*/ 254 h 257"/>
                <a:gd name="T34" fmla="*/ 254 w 258"/>
                <a:gd name="T35" fmla="*/ 238 h 257"/>
                <a:gd name="T36" fmla="*/ 144 w 258"/>
                <a:gd name="T37" fmla="*/ 1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8" h="257">
                  <a:moveTo>
                    <a:pt x="144" y="129"/>
                  </a:moveTo>
                  <a:cubicBezTo>
                    <a:pt x="254" y="19"/>
                    <a:pt x="254" y="19"/>
                    <a:pt x="254" y="19"/>
                  </a:cubicBezTo>
                  <a:cubicBezTo>
                    <a:pt x="258" y="15"/>
                    <a:pt x="258" y="8"/>
                    <a:pt x="254" y="4"/>
                  </a:cubicBezTo>
                  <a:cubicBezTo>
                    <a:pt x="249" y="0"/>
                    <a:pt x="243" y="0"/>
                    <a:pt x="238" y="4"/>
                  </a:cubicBezTo>
                  <a:cubicBezTo>
                    <a:pt x="129" y="114"/>
                    <a:pt x="129" y="114"/>
                    <a:pt x="129" y="114"/>
                  </a:cubicBezTo>
                  <a:cubicBezTo>
                    <a:pt x="19" y="4"/>
                    <a:pt x="19" y="4"/>
                    <a:pt x="19" y="4"/>
                  </a:cubicBezTo>
                  <a:cubicBezTo>
                    <a:pt x="15" y="0"/>
                    <a:pt x="8" y="0"/>
                    <a:pt x="4" y="4"/>
                  </a:cubicBezTo>
                  <a:cubicBezTo>
                    <a:pt x="0" y="8"/>
                    <a:pt x="0" y="15"/>
                    <a:pt x="4" y="19"/>
                  </a:cubicBezTo>
                  <a:cubicBezTo>
                    <a:pt x="114" y="129"/>
                    <a:pt x="114" y="129"/>
                    <a:pt x="114" y="129"/>
                  </a:cubicBezTo>
                  <a:cubicBezTo>
                    <a:pt x="4" y="238"/>
                    <a:pt x="4" y="238"/>
                    <a:pt x="4" y="238"/>
                  </a:cubicBezTo>
                  <a:cubicBezTo>
                    <a:pt x="0" y="243"/>
                    <a:pt x="0" y="249"/>
                    <a:pt x="4" y="254"/>
                  </a:cubicBezTo>
                  <a:cubicBezTo>
                    <a:pt x="6" y="256"/>
                    <a:pt x="9" y="257"/>
                    <a:pt x="11" y="257"/>
                  </a:cubicBezTo>
                  <a:cubicBezTo>
                    <a:pt x="14" y="257"/>
                    <a:pt x="17" y="256"/>
                    <a:pt x="19" y="254"/>
                  </a:cubicBezTo>
                  <a:cubicBezTo>
                    <a:pt x="129" y="144"/>
                    <a:pt x="129" y="144"/>
                    <a:pt x="129" y="144"/>
                  </a:cubicBezTo>
                  <a:cubicBezTo>
                    <a:pt x="238" y="254"/>
                    <a:pt x="238" y="254"/>
                    <a:pt x="238" y="254"/>
                  </a:cubicBezTo>
                  <a:cubicBezTo>
                    <a:pt x="241" y="256"/>
                    <a:pt x="243" y="257"/>
                    <a:pt x="246" y="257"/>
                  </a:cubicBezTo>
                  <a:cubicBezTo>
                    <a:pt x="249" y="257"/>
                    <a:pt x="251" y="256"/>
                    <a:pt x="254" y="254"/>
                  </a:cubicBezTo>
                  <a:cubicBezTo>
                    <a:pt x="258" y="249"/>
                    <a:pt x="258" y="243"/>
                    <a:pt x="254" y="238"/>
                  </a:cubicBezTo>
                  <a:lnTo>
                    <a:pt x="144"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9" name="Freeform 137">
              <a:extLst>
                <a:ext uri="{FF2B5EF4-FFF2-40B4-BE49-F238E27FC236}">
                  <a16:creationId xmlns:a16="http://schemas.microsoft.com/office/drawing/2014/main" id="{41A42674-29E8-4FB1-9803-943C669973BF}"/>
                </a:ext>
              </a:extLst>
            </p:cNvPr>
            <p:cNvSpPr>
              <a:spLocks noEditPoints="1"/>
            </p:cNvSpPr>
            <p:nvPr/>
          </p:nvSpPr>
          <p:spPr bwMode="auto">
            <a:xfrm>
              <a:off x="3038" y="9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0" name="Freeform 974">
            <a:extLst>
              <a:ext uri="{FF2B5EF4-FFF2-40B4-BE49-F238E27FC236}">
                <a16:creationId xmlns:a16="http://schemas.microsoft.com/office/drawing/2014/main" id="{1B6607B0-B057-4767-A4D0-403D7A6CA9E1}"/>
              </a:ext>
            </a:extLst>
          </p:cNvPr>
          <p:cNvSpPr>
            <a:spLocks noChangeAspect="1" noEditPoints="1"/>
          </p:cNvSpPr>
          <p:nvPr/>
        </p:nvSpPr>
        <p:spPr bwMode="auto">
          <a:xfrm>
            <a:off x="3955789" y="1700213"/>
            <a:ext cx="367041" cy="367041"/>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1" name="Group 977">
            <a:extLst>
              <a:ext uri="{FF2B5EF4-FFF2-40B4-BE49-F238E27FC236}">
                <a16:creationId xmlns:a16="http://schemas.microsoft.com/office/drawing/2014/main" id="{477AA323-64EE-46FF-A6EB-BD59B436E883}"/>
              </a:ext>
            </a:extLst>
          </p:cNvPr>
          <p:cNvGrpSpPr>
            <a:grpSpLocks noChangeAspect="1"/>
          </p:cNvGrpSpPr>
          <p:nvPr/>
        </p:nvGrpSpPr>
        <p:grpSpPr bwMode="auto">
          <a:xfrm>
            <a:off x="4388440" y="1700213"/>
            <a:ext cx="367041" cy="367041"/>
            <a:chOff x="1925" y="3985"/>
            <a:chExt cx="340" cy="340"/>
          </a:xfrm>
          <a:solidFill>
            <a:schemeClr val="accent5"/>
          </a:solidFill>
        </p:grpSpPr>
        <p:sp>
          <p:nvSpPr>
            <p:cNvPr id="412" name="Freeform 978">
              <a:extLst>
                <a:ext uri="{FF2B5EF4-FFF2-40B4-BE49-F238E27FC236}">
                  <a16:creationId xmlns:a16="http://schemas.microsoft.com/office/drawing/2014/main" id="{C0238D6E-18EF-41FB-B5B4-0E7870B7610B}"/>
                </a:ext>
              </a:extLst>
            </p:cNvPr>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3" name="Freeform 979">
              <a:extLst>
                <a:ext uri="{FF2B5EF4-FFF2-40B4-BE49-F238E27FC236}">
                  <a16:creationId xmlns:a16="http://schemas.microsoft.com/office/drawing/2014/main" id="{3E9C8A6F-ACD2-4D32-A341-AA7EB4936DC3}"/>
                </a:ext>
              </a:extLst>
            </p:cNvPr>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4" name="Freeform 980">
              <a:extLst>
                <a:ext uri="{FF2B5EF4-FFF2-40B4-BE49-F238E27FC236}">
                  <a16:creationId xmlns:a16="http://schemas.microsoft.com/office/drawing/2014/main" id="{489AACDA-4B1D-4BF5-84BB-F67FD9B76D01}"/>
                </a:ext>
              </a:extLst>
            </p:cNvPr>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5" name="Freeform 603">
            <a:extLst>
              <a:ext uri="{FF2B5EF4-FFF2-40B4-BE49-F238E27FC236}">
                <a16:creationId xmlns:a16="http://schemas.microsoft.com/office/drawing/2014/main" id="{9DB6703D-8959-4F09-ABE7-FBE0ED732EA4}"/>
              </a:ext>
            </a:extLst>
          </p:cNvPr>
          <p:cNvSpPr>
            <a:spLocks noChangeAspect="1" noEditPoints="1"/>
          </p:cNvSpPr>
          <p:nvPr/>
        </p:nvSpPr>
        <p:spPr bwMode="auto">
          <a:xfrm>
            <a:off x="4821091" y="170021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6" name="Freeform 607">
            <a:extLst>
              <a:ext uri="{FF2B5EF4-FFF2-40B4-BE49-F238E27FC236}">
                <a16:creationId xmlns:a16="http://schemas.microsoft.com/office/drawing/2014/main" id="{1E40AC01-3792-4E7F-8C3E-1D4233F963A8}"/>
              </a:ext>
            </a:extLst>
          </p:cNvPr>
          <p:cNvSpPr>
            <a:spLocks noChangeAspect="1" noEditPoints="1"/>
          </p:cNvSpPr>
          <p:nvPr/>
        </p:nvSpPr>
        <p:spPr bwMode="auto">
          <a:xfrm>
            <a:off x="5253742" y="1700213"/>
            <a:ext cx="367041"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7" name="Freeform 611">
            <a:extLst>
              <a:ext uri="{FF2B5EF4-FFF2-40B4-BE49-F238E27FC236}">
                <a16:creationId xmlns:a16="http://schemas.microsoft.com/office/drawing/2014/main" id="{561183C2-2CBE-493C-801C-5433218DA912}"/>
              </a:ext>
            </a:extLst>
          </p:cNvPr>
          <p:cNvSpPr>
            <a:spLocks noChangeAspect="1" noEditPoints="1"/>
          </p:cNvSpPr>
          <p:nvPr/>
        </p:nvSpPr>
        <p:spPr bwMode="auto">
          <a:xfrm>
            <a:off x="8291713" y="170021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8" name="Group 614">
            <a:extLst>
              <a:ext uri="{FF2B5EF4-FFF2-40B4-BE49-F238E27FC236}">
                <a16:creationId xmlns:a16="http://schemas.microsoft.com/office/drawing/2014/main" id="{CB263A05-0494-4BD0-8D82-CF4A065A95EB}"/>
              </a:ext>
            </a:extLst>
          </p:cNvPr>
          <p:cNvGrpSpPr>
            <a:grpSpLocks noChangeAspect="1"/>
          </p:cNvGrpSpPr>
          <p:nvPr/>
        </p:nvGrpSpPr>
        <p:grpSpPr bwMode="auto">
          <a:xfrm>
            <a:off x="8724364" y="1700213"/>
            <a:ext cx="367041" cy="367041"/>
            <a:chOff x="3780" y="2658"/>
            <a:chExt cx="340" cy="340"/>
          </a:xfrm>
          <a:solidFill>
            <a:schemeClr val="accent1"/>
          </a:solidFill>
        </p:grpSpPr>
        <p:sp>
          <p:nvSpPr>
            <p:cNvPr id="419" name="Freeform 615">
              <a:extLst>
                <a:ext uri="{FF2B5EF4-FFF2-40B4-BE49-F238E27FC236}">
                  <a16:creationId xmlns:a16="http://schemas.microsoft.com/office/drawing/2014/main" id="{40C7E478-6DAB-4AF5-92EE-C90AF44713C8}"/>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0" name="Freeform 616">
              <a:extLst>
                <a:ext uri="{FF2B5EF4-FFF2-40B4-BE49-F238E27FC236}">
                  <a16:creationId xmlns:a16="http://schemas.microsoft.com/office/drawing/2014/main" id="{38D00208-D411-4D3B-A7FA-67643384F58D}"/>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1" name="Freeform 617">
              <a:extLst>
                <a:ext uri="{FF2B5EF4-FFF2-40B4-BE49-F238E27FC236}">
                  <a16:creationId xmlns:a16="http://schemas.microsoft.com/office/drawing/2014/main" id="{D3E254D2-E294-404B-8DD2-2A2C8333C493}"/>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5" name="Freeform 618">
              <a:extLst>
                <a:ext uri="{FF2B5EF4-FFF2-40B4-BE49-F238E27FC236}">
                  <a16:creationId xmlns:a16="http://schemas.microsoft.com/office/drawing/2014/main" id="{329EBF17-6AFF-4D91-AB20-56059856195F}"/>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6" name="Freeform 619">
              <a:extLst>
                <a:ext uri="{FF2B5EF4-FFF2-40B4-BE49-F238E27FC236}">
                  <a16:creationId xmlns:a16="http://schemas.microsoft.com/office/drawing/2014/main" id="{4466F518-EB9B-4D71-BF00-DBA0D58A385C}"/>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8" name="Freeform 620">
              <a:extLst>
                <a:ext uri="{FF2B5EF4-FFF2-40B4-BE49-F238E27FC236}">
                  <a16:creationId xmlns:a16="http://schemas.microsoft.com/office/drawing/2014/main" id="{9190DE0B-8E15-456D-A1D6-A72D06ECE3F0}"/>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1" name="Freeform 621">
              <a:extLst>
                <a:ext uri="{FF2B5EF4-FFF2-40B4-BE49-F238E27FC236}">
                  <a16:creationId xmlns:a16="http://schemas.microsoft.com/office/drawing/2014/main" id="{C9967790-88E5-4C5E-932D-F3719A33C88E}"/>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2" name="Freeform 622">
              <a:extLst>
                <a:ext uri="{FF2B5EF4-FFF2-40B4-BE49-F238E27FC236}">
                  <a16:creationId xmlns:a16="http://schemas.microsoft.com/office/drawing/2014/main" id="{EC9D6E3E-7183-4F34-A459-5F03D8078A3E}"/>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3" name="Freeform 623">
              <a:extLst>
                <a:ext uri="{FF2B5EF4-FFF2-40B4-BE49-F238E27FC236}">
                  <a16:creationId xmlns:a16="http://schemas.microsoft.com/office/drawing/2014/main" id="{D1B99C43-2CC6-4B00-AB16-B2DB63CCB134}"/>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4" name="Freeform 858">
            <a:extLst>
              <a:ext uri="{FF2B5EF4-FFF2-40B4-BE49-F238E27FC236}">
                <a16:creationId xmlns:a16="http://schemas.microsoft.com/office/drawing/2014/main" id="{FACFF263-1729-475C-98A9-69C8777517CE}"/>
              </a:ext>
            </a:extLst>
          </p:cNvPr>
          <p:cNvSpPr>
            <a:spLocks noChangeAspect="1" noEditPoints="1"/>
          </p:cNvSpPr>
          <p:nvPr/>
        </p:nvSpPr>
        <p:spPr bwMode="auto">
          <a:xfrm>
            <a:off x="5686393" y="1700213"/>
            <a:ext cx="367631" cy="367631"/>
          </a:xfrm>
          <a:custGeom>
            <a:avLst/>
            <a:gdLst>
              <a:gd name="T0" fmla="*/ 352 w 512"/>
              <a:gd name="T1" fmla="*/ 146 h 512"/>
              <a:gd name="T2" fmla="*/ 352 w 512"/>
              <a:gd name="T3" fmla="*/ 260 h 512"/>
              <a:gd name="T4" fmla="*/ 263 w 512"/>
              <a:gd name="T5" fmla="*/ 259 h 512"/>
              <a:gd name="T6" fmla="*/ 208 w 512"/>
              <a:gd name="T7" fmla="*/ 236 h 512"/>
              <a:gd name="T8" fmla="*/ 160 w 512"/>
              <a:gd name="T9" fmla="*/ 248 h 512"/>
              <a:gd name="T10" fmla="*/ 160 w 512"/>
              <a:gd name="T11" fmla="*/ 134 h 512"/>
              <a:gd name="T12" fmla="*/ 248 w 512"/>
              <a:gd name="T13" fmla="*/ 135 h 512"/>
              <a:gd name="T14" fmla="*/ 352 w 512"/>
              <a:gd name="T15" fmla="*/ 146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128 h 512"/>
              <a:gd name="T28" fmla="*/ 367 w 512"/>
              <a:gd name="T29" fmla="*/ 118 h 512"/>
              <a:gd name="T30" fmla="*/ 356 w 512"/>
              <a:gd name="T31" fmla="*/ 119 h 512"/>
              <a:gd name="T32" fmla="*/ 263 w 512"/>
              <a:gd name="T33" fmla="*/ 120 h 512"/>
              <a:gd name="T34" fmla="*/ 143 w 512"/>
              <a:gd name="T35" fmla="*/ 119 h 512"/>
              <a:gd name="T36" fmla="*/ 138 w 512"/>
              <a:gd name="T37" fmla="*/ 128 h 512"/>
              <a:gd name="T38" fmla="*/ 138 w 512"/>
              <a:gd name="T39" fmla="*/ 384 h 512"/>
              <a:gd name="T40" fmla="*/ 149 w 512"/>
              <a:gd name="T41" fmla="*/ 394 h 512"/>
              <a:gd name="T42" fmla="*/ 160 w 512"/>
              <a:gd name="T43" fmla="*/ 384 h 512"/>
              <a:gd name="T44" fmla="*/ 160 w 512"/>
              <a:gd name="T45" fmla="*/ 272 h 512"/>
              <a:gd name="T46" fmla="*/ 248 w 512"/>
              <a:gd name="T47" fmla="*/ 274 h 512"/>
              <a:gd name="T48" fmla="*/ 368 w 512"/>
              <a:gd name="T49" fmla="*/ 275 h 512"/>
              <a:gd name="T50" fmla="*/ 373 w 512"/>
              <a:gd name="T51" fmla="*/ 266 h 512"/>
              <a:gd name="T52" fmla="*/ 373 w 512"/>
              <a:gd name="T53"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352" y="146"/>
                </a:moveTo>
                <a:cubicBezTo>
                  <a:pt x="352" y="260"/>
                  <a:pt x="352" y="260"/>
                  <a:pt x="352" y="260"/>
                </a:cubicBezTo>
                <a:cubicBezTo>
                  <a:pt x="337" y="268"/>
                  <a:pt x="293" y="288"/>
                  <a:pt x="263" y="259"/>
                </a:cubicBezTo>
                <a:cubicBezTo>
                  <a:pt x="247" y="242"/>
                  <a:pt x="227" y="236"/>
                  <a:pt x="208" y="236"/>
                </a:cubicBezTo>
                <a:cubicBezTo>
                  <a:pt x="191" y="236"/>
                  <a:pt x="173" y="242"/>
                  <a:pt x="160" y="248"/>
                </a:cubicBezTo>
                <a:cubicBezTo>
                  <a:pt x="160" y="134"/>
                  <a:pt x="160" y="134"/>
                  <a:pt x="160" y="134"/>
                </a:cubicBezTo>
                <a:cubicBezTo>
                  <a:pt x="174" y="126"/>
                  <a:pt x="218" y="105"/>
                  <a:pt x="248" y="135"/>
                </a:cubicBezTo>
                <a:cubicBezTo>
                  <a:pt x="280" y="167"/>
                  <a:pt x="323" y="159"/>
                  <a:pt x="352" y="14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4"/>
                  <a:pt x="371" y="120"/>
                  <a:pt x="367" y="118"/>
                </a:cubicBezTo>
                <a:cubicBezTo>
                  <a:pt x="364" y="116"/>
                  <a:pt x="360" y="117"/>
                  <a:pt x="356" y="119"/>
                </a:cubicBezTo>
                <a:cubicBezTo>
                  <a:pt x="356" y="119"/>
                  <a:pt x="299" y="156"/>
                  <a:pt x="263" y="120"/>
                </a:cubicBezTo>
                <a:cubicBezTo>
                  <a:pt x="224" y="81"/>
                  <a:pt x="167" y="102"/>
                  <a:pt x="143" y="119"/>
                </a:cubicBezTo>
                <a:cubicBezTo>
                  <a:pt x="140" y="121"/>
                  <a:pt x="138" y="124"/>
                  <a:pt x="138" y="128"/>
                </a:cubicBezTo>
                <a:cubicBezTo>
                  <a:pt x="138" y="384"/>
                  <a:pt x="138" y="384"/>
                  <a:pt x="138" y="384"/>
                </a:cubicBezTo>
                <a:cubicBezTo>
                  <a:pt x="138" y="390"/>
                  <a:pt x="143" y="394"/>
                  <a:pt x="149" y="394"/>
                </a:cubicBezTo>
                <a:cubicBezTo>
                  <a:pt x="155" y="394"/>
                  <a:pt x="160" y="390"/>
                  <a:pt x="160" y="384"/>
                </a:cubicBezTo>
                <a:cubicBezTo>
                  <a:pt x="160" y="272"/>
                  <a:pt x="160" y="272"/>
                  <a:pt x="160" y="272"/>
                </a:cubicBezTo>
                <a:cubicBezTo>
                  <a:pt x="174" y="264"/>
                  <a:pt x="217" y="243"/>
                  <a:pt x="248" y="274"/>
                </a:cubicBezTo>
                <a:cubicBezTo>
                  <a:pt x="286" y="312"/>
                  <a:pt x="343" y="292"/>
                  <a:pt x="368" y="275"/>
                </a:cubicBezTo>
                <a:cubicBezTo>
                  <a:pt x="371" y="273"/>
                  <a:pt x="373" y="270"/>
                  <a:pt x="373" y="266"/>
                </a:cubicBezTo>
                <a:lnTo>
                  <a:pt x="373" y="1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5" name="Group 861">
            <a:extLst>
              <a:ext uri="{FF2B5EF4-FFF2-40B4-BE49-F238E27FC236}">
                <a16:creationId xmlns:a16="http://schemas.microsoft.com/office/drawing/2014/main" id="{E6C1C155-F154-4409-93E5-91038B79421D}"/>
              </a:ext>
            </a:extLst>
          </p:cNvPr>
          <p:cNvGrpSpPr>
            <a:grpSpLocks noChangeAspect="1"/>
          </p:cNvGrpSpPr>
          <p:nvPr/>
        </p:nvGrpSpPr>
        <p:grpSpPr bwMode="auto">
          <a:xfrm>
            <a:off x="6119634" y="1700213"/>
            <a:ext cx="367631" cy="367631"/>
            <a:chOff x="5813" y="3162"/>
            <a:chExt cx="340" cy="340"/>
          </a:xfrm>
          <a:solidFill>
            <a:schemeClr val="accent3"/>
          </a:solidFill>
        </p:grpSpPr>
        <p:sp>
          <p:nvSpPr>
            <p:cNvPr id="436" name="Freeform 862">
              <a:extLst>
                <a:ext uri="{FF2B5EF4-FFF2-40B4-BE49-F238E27FC236}">
                  <a16:creationId xmlns:a16="http://schemas.microsoft.com/office/drawing/2014/main" id="{EC60D2A5-FDEA-4B54-BC13-843C8EE716F4}"/>
                </a:ext>
              </a:extLst>
            </p:cNvPr>
            <p:cNvSpPr>
              <a:spLocks noEditPoints="1"/>
            </p:cNvSpPr>
            <p:nvPr/>
          </p:nvSpPr>
          <p:spPr bwMode="auto">
            <a:xfrm>
              <a:off x="5813" y="316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7" name="Freeform 863">
              <a:extLst>
                <a:ext uri="{FF2B5EF4-FFF2-40B4-BE49-F238E27FC236}">
                  <a16:creationId xmlns:a16="http://schemas.microsoft.com/office/drawing/2014/main" id="{D7D9FEF4-BA17-4AFE-8C5B-647994ACA19E}"/>
                </a:ext>
              </a:extLst>
            </p:cNvPr>
            <p:cNvSpPr>
              <a:spLocks noEditPoints="1"/>
            </p:cNvSpPr>
            <p:nvPr/>
          </p:nvSpPr>
          <p:spPr bwMode="auto">
            <a:xfrm>
              <a:off x="5905" y="3216"/>
              <a:ext cx="156" cy="208"/>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38" name="Group 360">
            <a:extLst>
              <a:ext uri="{FF2B5EF4-FFF2-40B4-BE49-F238E27FC236}">
                <a16:creationId xmlns:a16="http://schemas.microsoft.com/office/drawing/2014/main" id="{EC9D3779-45EF-4A6E-8795-780BC4B914F0}"/>
              </a:ext>
            </a:extLst>
          </p:cNvPr>
          <p:cNvGrpSpPr>
            <a:grpSpLocks noChangeAspect="1"/>
          </p:cNvGrpSpPr>
          <p:nvPr/>
        </p:nvGrpSpPr>
        <p:grpSpPr bwMode="auto">
          <a:xfrm>
            <a:off x="11329365" y="1684627"/>
            <a:ext cx="370763" cy="369676"/>
            <a:chOff x="1935" y="1199"/>
            <a:chExt cx="341" cy="340"/>
          </a:xfrm>
          <a:solidFill>
            <a:schemeClr val="accent4"/>
          </a:solidFill>
        </p:grpSpPr>
        <p:sp>
          <p:nvSpPr>
            <p:cNvPr id="439" name="Freeform 361">
              <a:extLst>
                <a:ext uri="{FF2B5EF4-FFF2-40B4-BE49-F238E27FC236}">
                  <a16:creationId xmlns:a16="http://schemas.microsoft.com/office/drawing/2014/main" id="{7B77875C-339E-4D70-A92B-CF651FB14607}"/>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0" name="Freeform 362">
              <a:extLst>
                <a:ext uri="{FF2B5EF4-FFF2-40B4-BE49-F238E27FC236}">
                  <a16:creationId xmlns:a16="http://schemas.microsoft.com/office/drawing/2014/main" id="{F74B0C4A-86D2-4E05-8B81-E2C53B3366FF}"/>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1" name="Freeform 375">
            <a:extLst>
              <a:ext uri="{FF2B5EF4-FFF2-40B4-BE49-F238E27FC236}">
                <a16:creationId xmlns:a16="http://schemas.microsoft.com/office/drawing/2014/main" id="{A9794934-6157-40DA-BE58-51BAEEA23B86}"/>
              </a:ext>
            </a:extLst>
          </p:cNvPr>
          <p:cNvSpPr>
            <a:spLocks noChangeAspect="1" noEditPoints="1"/>
          </p:cNvSpPr>
          <p:nvPr/>
        </p:nvSpPr>
        <p:spPr bwMode="auto">
          <a:xfrm>
            <a:off x="10894069" y="1700213"/>
            <a:ext cx="369676" cy="369676"/>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2" name="Group 601">
            <a:extLst>
              <a:ext uri="{FF2B5EF4-FFF2-40B4-BE49-F238E27FC236}">
                <a16:creationId xmlns:a16="http://schemas.microsoft.com/office/drawing/2014/main" id="{929C35E4-DBD0-4D34-88F0-C50D02029A72}"/>
              </a:ext>
            </a:extLst>
          </p:cNvPr>
          <p:cNvGrpSpPr>
            <a:grpSpLocks noChangeAspect="1"/>
          </p:cNvGrpSpPr>
          <p:nvPr/>
        </p:nvGrpSpPr>
        <p:grpSpPr bwMode="auto">
          <a:xfrm>
            <a:off x="1787245" y="2527682"/>
            <a:ext cx="370763" cy="369676"/>
            <a:chOff x="7347" y="2263"/>
            <a:chExt cx="341" cy="340"/>
          </a:xfrm>
          <a:solidFill>
            <a:schemeClr val="accent1"/>
          </a:solidFill>
        </p:grpSpPr>
        <p:sp>
          <p:nvSpPr>
            <p:cNvPr id="443" name="Freeform 602">
              <a:extLst>
                <a:ext uri="{FF2B5EF4-FFF2-40B4-BE49-F238E27FC236}">
                  <a16:creationId xmlns:a16="http://schemas.microsoft.com/office/drawing/2014/main" id="{A0FB1115-FD6A-4A47-99F7-4F937B5C1C58}"/>
                </a:ext>
              </a:extLst>
            </p:cNvPr>
            <p:cNvSpPr>
              <a:spLocks noEditPoints="1"/>
            </p:cNvSpPr>
            <p:nvPr/>
          </p:nvSpPr>
          <p:spPr bwMode="auto">
            <a:xfrm>
              <a:off x="7439" y="2327"/>
              <a:ext cx="156" cy="212"/>
            </a:xfrm>
            <a:custGeom>
              <a:avLst/>
              <a:gdLst>
                <a:gd name="T0" fmla="*/ 224 w 235"/>
                <a:gd name="T1" fmla="*/ 149 h 320"/>
                <a:gd name="T2" fmla="*/ 43 w 235"/>
                <a:gd name="T3" fmla="*/ 149 h 320"/>
                <a:gd name="T4" fmla="*/ 43 w 235"/>
                <a:gd name="T5" fmla="*/ 96 h 320"/>
                <a:gd name="T6" fmla="*/ 118 w 235"/>
                <a:gd name="T7" fmla="*/ 21 h 320"/>
                <a:gd name="T8" fmla="*/ 192 w 235"/>
                <a:gd name="T9" fmla="*/ 96 h 320"/>
                <a:gd name="T10" fmla="*/ 192 w 235"/>
                <a:gd name="T11" fmla="*/ 106 h 320"/>
                <a:gd name="T12" fmla="*/ 203 w 235"/>
                <a:gd name="T13" fmla="*/ 117 h 320"/>
                <a:gd name="T14" fmla="*/ 214 w 235"/>
                <a:gd name="T15" fmla="*/ 106 h 320"/>
                <a:gd name="T16" fmla="*/ 214 w 235"/>
                <a:gd name="T17" fmla="*/ 96 h 320"/>
                <a:gd name="T18" fmla="*/ 118 w 235"/>
                <a:gd name="T19" fmla="*/ 0 h 320"/>
                <a:gd name="T20" fmla="*/ 22 w 235"/>
                <a:gd name="T21" fmla="*/ 96 h 320"/>
                <a:gd name="T22" fmla="*/ 22 w 235"/>
                <a:gd name="T23" fmla="*/ 149 h 320"/>
                <a:gd name="T24" fmla="*/ 11 w 235"/>
                <a:gd name="T25" fmla="*/ 149 h 320"/>
                <a:gd name="T26" fmla="*/ 0 w 235"/>
                <a:gd name="T27" fmla="*/ 160 h 320"/>
                <a:gd name="T28" fmla="*/ 0 w 235"/>
                <a:gd name="T29" fmla="*/ 309 h 320"/>
                <a:gd name="T30" fmla="*/ 11 w 235"/>
                <a:gd name="T31" fmla="*/ 320 h 320"/>
                <a:gd name="T32" fmla="*/ 224 w 235"/>
                <a:gd name="T33" fmla="*/ 320 h 320"/>
                <a:gd name="T34" fmla="*/ 235 w 235"/>
                <a:gd name="T35" fmla="*/ 309 h 320"/>
                <a:gd name="T36" fmla="*/ 235 w 235"/>
                <a:gd name="T37" fmla="*/ 160 h 320"/>
                <a:gd name="T38" fmla="*/ 224 w 235"/>
                <a:gd name="T39" fmla="*/ 149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43" y="149"/>
                    <a:pt x="43" y="149"/>
                    <a:pt x="43" y="149"/>
                  </a:cubicBezTo>
                  <a:cubicBezTo>
                    <a:pt x="43" y="96"/>
                    <a:pt x="43" y="96"/>
                    <a:pt x="43" y="96"/>
                  </a:cubicBezTo>
                  <a:cubicBezTo>
                    <a:pt x="43" y="54"/>
                    <a:pt x="76" y="21"/>
                    <a:pt x="118" y="21"/>
                  </a:cubicBezTo>
                  <a:cubicBezTo>
                    <a:pt x="159" y="21"/>
                    <a:pt x="192" y="54"/>
                    <a:pt x="192" y="96"/>
                  </a:cubicBezTo>
                  <a:cubicBezTo>
                    <a:pt x="192" y="106"/>
                    <a:pt x="192" y="106"/>
                    <a:pt x="192" y="106"/>
                  </a:cubicBezTo>
                  <a:cubicBezTo>
                    <a:pt x="192" y="112"/>
                    <a:pt x="197" y="117"/>
                    <a:pt x="203" y="117"/>
                  </a:cubicBezTo>
                  <a:cubicBezTo>
                    <a:pt x="209" y="117"/>
                    <a:pt x="214" y="112"/>
                    <a:pt x="214" y="106"/>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4" name="Freeform 603">
              <a:extLst>
                <a:ext uri="{FF2B5EF4-FFF2-40B4-BE49-F238E27FC236}">
                  <a16:creationId xmlns:a16="http://schemas.microsoft.com/office/drawing/2014/main" id="{9EC6DAF7-4B7D-46EF-BABE-36A934ED3B50}"/>
                </a:ext>
              </a:extLst>
            </p:cNvPr>
            <p:cNvSpPr>
              <a:spLocks noEditPoints="1"/>
            </p:cNvSpPr>
            <p:nvPr/>
          </p:nvSpPr>
          <p:spPr bwMode="auto">
            <a:xfrm>
              <a:off x="7347" y="226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45" name="Group 606">
            <a:extLst>
              <a:ext uri="{FF2B5EF4-FFF2-40B4-BE49-F238E27FC236}">
                <a16:creationId xmlns:a16="http://schemas.microsoft.com/office/drawing/2014/main" id="{199F0A2B-C8B8-4A82-9D38-EDB308DAFC21}"/>
              </a:ext>
            </a:extLst>
          </p:cNvPr>
          <p:cNvGrpSpPr>
            <a:grpSpLocks noChangeAspect="1"/>
          </p:cNvGrpSpPr>
          <p:nvPr/>
        </p:nvGrpSpPr>
        <p:grpSpPr bwMode="auto">
          <a:xfrm>
            <a:off x="1352109" y="2527682"/>
            <a:ext cx="369676" cy="369676"/>
            <a:chOff x="6986" y="2266"/>
            <a:chExt cx="340" cy="340"/>
          </a:xfrm>
          <a:solidFill>
            <a:schemeClr val="accent1"/>
          </a:solidFill>
        </p:grpSpPr>
        <p:sp>
          <p:nvSpPr>
            <p:cNvPr id="446" name="Freeform 607">
              <a:extLst>
                <a:ext uri="{FF2B5EF4-FFF2-40B4-BE49-F238E27FC236}">
                  <a16:creationId xmlns:a16="http://schemas.microsoft.com/office/drawing/2014/main" id="{AC1C6F55-BE20-47F0-8BD3-93B57B60BE0B}"/>
                </a:ext>
              </a:extLst>
            </p:cNvPr>
            <p:cNvSpPr>
              <a:spLocks noEditPoints="1"/>
            </p:cNvSpPr>
            <p:nvPr/>
          </p:nvSpPr>
          <p:spPr bwMode="auto">
            <a:xfrm>
              <a:off x="6986" y="226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256 h 512"/>
                <a:gd name="T20" fmla="*/ 149 w 512"/>
                <a:gd name="T21" fmla="*/ 245 h 512"/>
                <a:gd name="T22" fmla="*/ 160 w 512"/>
                <a:gd name="T23" fmla="*/ 245 h 512"/>
                <a:gd name="T24" fmla="*/ 160 w 512"/>
                <a:gd name="T25" fmla="*/ 192 h 512"/>
                <a:gd name="T26" fmla="*/ 256 w 512"/>
                <a:gd name="T27" fmla="*/ 96 h 512"/>
                <a:gd name="T28" fmla="*/ 352 w 512"/>
                <a:gd name="T29" fmla="*/ 192 h 512"/>
                <a:gd name="T30" fmla="*/ 352 w 512"/>
                <a:gd name="T31" fmla="*/ 202 h 512"/>
                <a:gd name="T32" fmla="*/ 341 w 512"/>
                <a:gd name="T33" fmla="*/ 213 h 512"/>
                <a:gd name="T34" fmla="*/ 330 w 512"/>
                <a:gd name="T35" fmla="*/ 202 h 512"/>
                <a:gd name="T36" fmla="*/ 330 w 512"/>
                <a:gd name="T37" fmla="*/ 192 h 512"/>
                <a:gd name="T38" fmla="*/ 256 w 512"/>
                <a:gd name="T39" fmla="*/ 117 h 512"/>
                <a:gd name="T40" fmla="*/ 181 w 512"/>
                <a:gd name="T41" fmla="*/ 192 h 512"/>
                <a:gd name="T42" fmla="*/ 181 w 512"/>
                <a:gd name="T43" fmla="*/ 245 h 512"/>
                <a:gd name="T44" fmla="*/ 362 w 512"/>
                <a:gd name="T45" fmla="*/ 245 h 512"/>
                <a:gd name="T46" fmla="*/ 373 w 512"/>
                <a:gd name="T47" fmla="*/ 256 h 512"/>
                <a:gd name="T48" fmla="*/ 373 w 512"/>
                <a:gd name="T4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256"/>
                    <a:pt x="138" y="256"/>
                    <a:pt x="138" y="256"/>
                  </a:cubicBezTo>
                  <a:cubicBezTo>
                    <a:pt x="138" y="250"/>
                    <a:pt x="143" y="245"/>
                    <a:pt x="149" y="245"/>
                  </a:cubicBezTo>
                  <a:cubicBezTo>
                    <a:pt x="160" y="245"/>
                    <a:pt x="160" y="245"/>
                    <a:pt x="160" y="245"/>
                  </a:cubicBezTo>
                  <a:cubicBezTo>
                    <a:pt x="160" y="192"/>
                    <a:pt x="160" y="192"/>
                    <a:pt x="160" y="192"/>
                  </a:cubicBezTo>
                  <a:cubicBezTo>
                    <a:pt x="160" y="139"/>
                    <a:pt x="203" y="96"/>
                    <a:pt x="256" y="96"/>
                  </a:cubicBezTo>
                  <a:cubicBezTo>
                    <a:pt x="309" y="96"/>
                    <a:pt x="352" y="139"/>
                    <a:pt x="352" y="192"/>
                  </a:cubicBezTo>
                  <a:cubicBezTo>
                    <a:pt x="352" y="202"/>
                    <a:pt x="352" y="202"/>
                    <a:pt x="352" y="202"/>
                  </a:cubicBezTo>
                  <a:cubicBezTo>
                    <a:pt x="352" y="208"/>
                    <a:pt x="347" y="213"/>
                    <a:pt x="341" y="213"/>
                  </a:cubicBezTo>
                  <a:cubicBezTo>
                    <a:pt x="335" y="213"/>
                    <a:pt x="330" y="208"/>
                    <a:pt x="330" y="202"/>
                  </a:cubicBezTo>
                  <a:cubicBezTo>
                    <a:pt x="330" y="192"/>
                    <a:pt x="330" y="192"/>
                    <a:pt x="330" y="192"/>
                  </a:cubicBezTo>
                  <a:cubicBezTo>
                    <a:pt x="330" y="150"/>
                    <a:pt x="297" y="117"/>
                    <a:pt x="256" y="117"/>
                  </a:cubicBezTo>
                  <a:cubicBezTo>
                    <a:pt x="214" y="117"/>
                    <a:pt x="181" y="150"/>
                    <a:pt x="181" y="192"/>
                  </a:cubicBezTo>
                  <a:cubicBezTo>
                    <a:pt x="181" y="245"/>
                    <a:pt x="181" y="245"/>
                    <a:pt x="181" y="245"/>
                  </a:cubicBezTo>
                  <a:cubicBezTo>
                    <a:pt x="362" y="245"/>
                    <a:pt x="362" y="245"/>
                    <a:pt x="362" y="245"/>
                  </a:cubicBezTo>
                  <a:cubicBezTo>
                    <a:pt x="368" y="245"/>
                    <a:pt x="373" y="250"/>
                    <a:pt x="373" y="256"/>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7" name="Rectangle 608">
              <a:extLst>
                <a:ext uri="{FF2B5EF4-FFF2-40B4-BE49-F238E27FC236}">
                  <a16:creationId xmlns:a16="http://schemas.microsoft.com/office/drawing/2014/main" id="{E6EAB77B-77F6-4D0F-B578-11C6D470CA7D}"/>
                </a:ext>
              </a:extLst>
            </p:cNvPr>
            <p:cNvSpPr>
              <a:spLocks noChangeArrowheads="1"/>
            </p:cNvSpPr>
            <p:nvPr/>
          </p:nvSpPr>
          <p:spPr bwMode="auto">
            <a:xfrm>
              <a:off x="7092" y="2443"/>
              <a:ext cx="128" cy="8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8" name="Freeform 627">
            <a:extLst>
              <a:ext uri="{FF2B5EF4-FFF2-40B4-BE49-F238E27FC236}">
                <a16:creationId xmlns:a16="http://schemas.microsoft.com/office/drawing/2014/main" id="{B3885718-D3BE-4206-BDE9-9B6A660318D8}"/>
              </a:ext>
            </a:extLst>
          </p:cNvPr>
          <p:cNvSpPr>
            <a:spLocks noChangeAspect="1" noEditPoints="1"/>
          </p:cNvSpPr>
          <p:nvPr/>
        </p:nvSpPr>
        <p:spPr bwMode="auto">
          <a:xfrm>
            <a:off x="487107" y="2527682"/>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9" name="Group 630">
            <a:extLst>
              <a:ext uri="{FF2B5EF4-FFF2-40B4-BE49-F238E27FC236}">
                <a16:creationId xmlns:a16="http://schemas.microsoft.com/office/drawing/2014/main" id="{C5E04492-43BB-4616-8C11-F309CF589728}"/>
              </a:ext>
            </a:extLst>
          </p:cNvPr>
          <p:cNvGrpSpPr>
            <a:grpSpLocks noChangeAspect="1"/>
          </p:cNvGrpSpPr>
          <p:nvPr/>
        </p:nvGrpSpPr>
        <p:grpSpPr bwMode="auto">
          <a:xfrm>
            <a:off x="919608" y="2527682"/>
            <a:ext cx="367041" cy="367041"/>
            <a:chOff x="4593" y="2664"/>
            <a:chExt cx="340" cy="340"/>
          </a:xfrm>
          <a:solidFill>
            <a:schemeClr val="accent1"/>
          </a:solidFill>
        </p:grpSpPr>
        <p:sp>
          <p:nvSpPr>
            <p:cNvPr id="450" name="Freeform 631">
              <a:extLst>
                <a:ext uri="{FF2B5EF4-FFF2-40B4-BE49-F238E27FC236}">
                  <a16:creationId xmlns:a16="http://schemas.microsoft.com/office/drawing/2014/main" id="{FE8AE30A-5B03-4A06-B74E-28C8DED7D7B0}"/>
                </a:ext>
              </a:extLst>
            </p:cNvPr>
            <p:cNvSpPr>
              <a:spLocks noEditPoints="1"/>
            </p:cNvSpPr>
            <p:nvPr/>
          </p:nvSpPr>
          <p:spPr bwMode="auto">
            <a:xfrm>
              <a:off x="4685" y="2728"/>
              <a:ext cx="156" cy="212"/>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1" name="Freeform 632">
              <a:extLst>
                <a:ext uri="{FF2B5EF4-FFF2-40B4-BE49-F238E27FC236}">
                  <a16:creationId xmlns:a16="http://schemas.microsoft.com/office/drawing/2014/main" id="{EBB7EAAA-3087-4A0A-970B-C3C518EEA893}"/>
                </a:ext>
              </a:extLst>
            </p:cNvPr>
            <p:cNvSpPr>
              <a:spLocks noEditPoints="1"/>
            </p:cNvSpPr>
            <p:nvPr/>
          </p:nvSpPr>
          <p:spPr bwMode="auto">
            <a:xfrm>
              <a:off x="4593" y="26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2" name="Group 432">
            <a:extLst>
              <a:ext uri="{FF2B5EF4-FFF2-40B4-BE49-F238E27FC236}">
                <a16:creationId xmlns:a16="http://schemas.microsoft.com/office/drawing/2014/main" id="{F9A02FB3-F399-40C8-8BD2-A3022DD6EB74}"/>
              </a:ext>
            </a:extLst>
          </p:cNvPr>
          <p:cNvGrpSpPr>
            <a:grpSpLocks noChangeAspect="1"/>
          </p:cNvGrpSpPr>
          <p:nvPr/>
        </p:nvGrpSpPr>
        <p:grpSpPr bwMode="auto">
          <a:xfrm>
            <a:off x="6988161" y="1700213"/>
            <a:ext cx="369676" cy="370763"/>
            <a:chOff x="3505" y="1546"/>
            <a:chExt cx="340" cy="341"/>
          </a:xfrm>
          <a:solidFill>
            <a:schemeClr val="accent5"/>
          </a:solidFill>
        </p:grpSpPr>
        <p:sp>
          <p:nvSpPr>
            <p:cNvPr id="453" name="Freeform 433">
              <a:extLst>
                <a:ext uri="{FF2B5EF4-FFF2-40B4-BE49-F238E27FC236}">
                  <a16:creationId xmlns:a16="http://schemas.microsoft.com/office/drawing/2014/main" id="{B832EEF6-47C8-44AA-A520-6B6B29F84F2F}"/>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4" name="Freeform 434">
              <a:extLst>
                <a:ext uri="{FF2B5EF4-FFF2-40B4-BE49-F238E27FC236}">
                  <a16:creationId xmlns:a16="http://schemas.microsoft.com/office/drawing/2014/main" id="{D37CBBFB-0533-42BF-8AAE-324C9F827CBF}"/>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5" name="Group 437">
            <a:extLst>
              <a:ext uri="{FF2B5EF4-FFF2-40B4-BE49-F238E27FC236}">
                <a16:creationId xmlns:a16="http://schemas.microsoft.com/office/drawing/2014/main" id="{3303693E-FFD9-4077-A8E6-E3BDB8BB0786}"/>
              </a:ext>
            </a:extLst>
          </p:cNvPr>
          <p:cNvGrpSpPr>
            <a:grpSpLocks noChangeAspect="1"/>
          </p:cNvGrpSpPr>
          <p:nvPr/>
        </p:nvGrpSpPr>
        <p:grpSpPr bwMode="auto">
          <a:xfrm>
            <a:off x="6552875" y="1700213"/>
            <a:ext cx="369676" cy="369676"/>
            <a:chOff x="3130" y="1561"/>
            <a:chExt cx="340" cy="340"/>
          </a:xfrm>
          <a:solidFill>
            <a:schemeClr val="accent5"/>
          </a:solidFill>
        </p:grpSpPr>
        <p:sp>
          <p:nvSpPr>
            <p:cNvPr id="456" name="Freeform 438">
              <a:extLst>
                <a:ext uri="{FF2B5EF4-FFF2-40B4-BE49-F238E27FC236}">
                  <a16:creationId xmlns:a16="http://schemas.microsoft.com/office/drawing/2014/main" id="{3994F3CC-BD56-408D-A363-B550E49988AF}"/>
                </a:ext>
              </a:extLst>
            </p:cNvPr>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7" name="Freeform 439">
              <a:extLst>
                <a:ext uri="{FF2B5EF4-FFF2-40B4-BE49-F238E27FC236}">
                  <a16:creationId xmlns:a16="http://schemas.microsoft.com/office/drawing/2014/main" id="{6024CDF4-3561-43EF-9CFA-8AC60DD5BA94}"/>
                </a:ext>
              </a:extLst>
            </p:cNvPr>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8" name="Freeform 440">
              <a:extLst>
                <a:ext uri="{FF2B5EF4-FFF2-40B4-BE49-F238E27FC236}">
                  <a16:creationId xmlns:a16="http://schemas.microsoft.com/office/drawing/2014/main" id="{44E4AA57-5E95-4A7F-ABE8-6AE1D0AADFF0}"/>
                </a:ext>
              </a:extLst>
            </p:cNvPr>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9" name="Freeform 441">
              <a:extLst>
                <a:ext uri="{FF2B5EF4-FFF2-40B4-BE49-F238E27FC236}">
                  <a16:creationId xmlns:a16="http://schemas.microsoft.com/office/drawing/2014/main" id="{8F09F322-A143-4ED4-9C1A-90FF158ED214}"/>
                </a:ext>
              </a:extLst>
            </p:cNvPr>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0" name="Freeform 442">
              <a:extLst>
                <a:ext uri="{FF2B5EF4-FFF2-40B4-BE49-F238E27FC236}">
                  <a16:creationId xmlns:a16="http://schemas.microsoft.com/office/drawing/2014/main" id="{764C3A16-7E7C-4550-BB4C-FF2C6858C1D1}"/>
                </a:ext>
              </a:extLst>
            </p:cNvPr>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1" name="Freeform 443">
              <a:extLst>
                <a:ext uri="{FF2B5EF4-FFF2-40B4-BE49-F238E27FC236}">
                  <a16:creationId xmlns:a16="http://schemas.microsoft.com/office/drawing/2014/main" id="{1AFCE8E5-659A-404B-B323-6562F7E275C4}"/>
                </a:ext>
              </a:extLst>
            </p:cNvPr>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2" name="Freeform 444">
              <a:extLst>
                <a:ext uri="{FF2B5EF4-FFF2-40B4-BE49-F238E27FC236}">
                  <a16:creationId xmlns:a16="http://schemas.microsoft.com/office/drawing/2014/main" id="{35760296-0AB4-4F81-973E-B0137C848F99}"/>
                </a:ext>
              </a:extLst>
            </p:cNvPr>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3" name="Freeform 445">
              <a:extLst>
                <a:ext uri="{FF2B5EF4-FFF2-40B4-BE49-F238E27FC236}">
                  <a16:creationId xmlns:a16="http://schemas.microsoft.com/office/drawing/2014/main" id="{57DF6DAD-E666-449C-9995-0E1833EDEDB6}"/>
                </a:ext>
              </a:extLst>
            </p:cNvPr>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446">
              <a:extLst>
                <a:ext uri="{FF2B5EF4-FFF2-40B4-BE49-F238E27FC236}">
                  <a16:creationId xmlns:a16="http://schemas.microsoft.com/office/drawing/2014/main" id="{F6BFD249-A8AD-44C7-ADB8-21F54843C474}"/>
                </a:ext>
              </a:extLst>
            </p:cNvPr>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5" name="Freeform 507">
            <a:extLst>
              <a:ext uri="{FF2B5EF4-FFF2-40B4-BE49-F238E27FC236}">
                <a16:creationId xmlns:a16="http://schemas.microsoft.com/office/drawing/2014/main" id="{8D08F6AA-794E-4C57-978F-BC073E1D0A8F}"/>
              </a:ext>
            </a:extLst>
          </p:cNvPr>
          <p:cNvSpPr>
            <a:spLocks noChangeAspect="1" noEditPoints="1"/>
          </p:cNvSpPr>
          <p:nvPr/>
        </p:nvSpPr>
        <p:spPr bwMode="auto">
          <a:xfrm>
            <a:off x="7423447" y="1700213"/>
            <a:ext cx="367982" cy="369064"/>
          </a:xfrm>
          <a:custGeom>
            <a:avLst/>
            <a:gdLst>
              <a:gd name="T0" fmla="*/ 181 w 512"/>
              <a:gd name="T1" fmla="*/ 394 h 512"/>
              <a:gd name="T2" fmla="*/ 330 w 512"/>
              <a:gd name="T3" fmla="*/ 394 h 512"/>
              <a:gd name="T4" fmla="*/ 330 w 512"/>
              <a:gd name="T5" fmla="*/ 202 h 512"/>
              <a:gd name="T6" fmla="*/ 181 w 512"/>
              <a:gd name="T7" fmla="*/ 202 h 512"/>
              <a:gd name="T8" fmla="*/ 181 w 512"/>
              <a:gd name="T9" fmla="*/ 394 h 512"/>
              <a:gd name="T10" fmla="*/ 288 w 512"/>
              <a:gd name="T11" fmla="*/ 234 h 512"/>
              <a:gd name="T12" fmla="*/ 298 w 512"/>
              <a:gd name="T13" fmla="*/ 224 h 512"/>
              <a:gd name="T14" fmla="*/ 309 w 512"/>
              <a:gd name="T15" fmla="*/ 234 h 512"/>
              <a:gd name="T16" fmla="*/ 309 w 512"/>
              <a:gd name="T17" fmla="*/ 362 h 512"/>
              <a:gd name="T18" fmla="*/ 298 w 512"/>
              <a:gd name="T19" fmla="*/ 373 h 512"/>
              <a:gd name="T20" fmla="*/ 288 w 512"/>
              <a:gd name="T21" fmla="*/ 362 h 512"/>
              <a:gd name="T22" fmla="*/ 288 w 512"/>
              <a:gd name="T23" fmla="*/ 234 h 512"/>
              <a:gd name="T24" fmla="*/ 245 w 512"/>
              <a:gd name="T25" fmla="*/ 234 h 512"/>
              <a:gd name="T26" fmla="*/ 256 w 512"/>
              <a:gd name="T27" fmla="*/ 224 h 512"/>
              <a:gd name="T28" fmla="*/ 266 w 512"/>
              <a:gd name="T29" fmla="*/ 234 h 512"/>
              <a:gd name="T30" fmla="*/ 266 w 512"/>
              <a:gd name="T31" fmla="*/ 362 h 512"/>
              <a:gd name="T32" fmla="*/ 256 w 512"/>
              <a:gd name="T33" fmla="*/ 373 h 512"/>
              <a:gd name="T34" fmla="*/ 245 w 512"/>
              <a:gd name="T35" fmla="*/ 362 h 512"/>
              <a:gd name="T36" fmla="*/ 245 w 512"/>
              <a:gd name="T37" fmla="*/ 234 h 512"/>
              <a:gd name="T38" fmla="*/ 202 w 512"/>
              <a:gd name="T39" fmla="*/ 234 h 512"/>
              <a:gd name="T40" fmla="*/ 213 w 512"/>
              <a:gd name="T41" fmla="*/ 224 h 512"/>
              <a:gd name="T42" fmla="*/ 224 w 512"/>
              <a:gd name="T43" fmla="*/ 234 h 512"/>
              <a:gd name="T44" fmla="*/ 224 w 512"/>
              <a:gd name="T45" fmla="*/ 362 h 512"/>
              <a:gd name="T46" fmla="*/ 213 w 512"/>
              <a:gd name="T47" fmla="*/ 373 h 512"/>
              <a:gd name="T48" fmla="*/ 202 w 512"/>
              <a:gd name="T49" fmla="*/ 362 h 512"/>
              <a:gd name="T50" fmla="*/ 202 w 512"/>
              <a:gd name="T51" fmla="*/ 234 h 512"/>
              <a:gd name="T52" fmla="*/ 293 w 512"/>
              <a:gd name="T53" fmla="*/ 138 h 512"/>
              <a:gd name="T54" fmla="*/ 219 w 512"/>
              <a:gd name="T55" fmla="*/ 138 h 512"/>
              <a:gd name="T56" fmla="*/ 256 w 512"/>
              <a:gd name="T57" fmla="*/ 117 h 512"/>
              <a:gd name="T58" fmla="*/ 293 w 512"/>
              <a:gd name="T59" fmla="*/ 138 h 512"/>
              <a:gd name="T60" fmla="*/ 256 w 512"/>
              <a:gd name="T61" fmla="*/ 0 h 512"/>
              <a:gd name="T62" fmla="*/ 0 w 512"/>
              <a:gd name="T63" fmla="*/ 256 h 512"/>
              <a:gd name="T64" fmla="*/ 256 w 512"/>
              <a:gd name="T65" fmla="*/ 512 h 512"/>
              <a:gd name="T66" fmla="*/ 512 w 512"/>
              <a:gd name="T67" fmla="*/ 256 h 512"/>
              <a:gd name="T68" fmla="*/ 256 w 512"/>
              <a:gd name="T69" fmla="*/ 0 h 512"/>
              <a:gd name="T70" fmla="*/ 352 w 512"/>
              <a:gd name="T71" fmla="*/ 202 h 512"/>
              <a:gd name="T72" fmla="*/ 352 w 512"/>
              <a:gd name="T73" fmla="*/ 405 h 512"/>
              <a:gd name="T74" fmla="*/ 341 w 512"/>
              <a:gd name="T75" fmla="*/ 416 h 512"/>
              <a:gd name="T76" fmla="*/ 170 w 512"/>
              <a:gd name="T77" fmla="*/ 416 h 512"/>
              <a:gd name="T78" fmla="*/ 160 w 512"/>
              <a:gd name="T79" fmla="*/ 405 h 512"/>
              <a:gd name="T80" fmla="*/ 160 w 512"/>
              <a:gd name="T81" fmla="*/ 202 h 512"/>
              <a:gd name="T82" fmla="*/ 149 w 512"/>
              <a:gd name="T83" fmla="*/ 192 h 512"/>
              <a:gd name="T84" fmla="*/ 160 w 512"/>
              <a:gd name="T85" fmla="*/ 181 h 512"/>
              <a:gd name="T86" fmla="*/ 170 w 512"/>
              <a:gd name="T87" fmla="*/ 181 h 512"/>
              <a:gd name="T88" fmla="*/ 341 w 512"/>
              <a:gd name="T89" fmla="*/ 181 h 512"/>
              <a:gd name="T90" fmla="*/ 352 w 512"/>
              <a:gd name="T91" fmla="*/ 181 h 512"/>
              <a:gd name="T92" fmla="*/ 362 w 512"/>
              <a:gd name="T93" fmla="*/ 192 h 512"/>
              <a:gd name="T94" fmla="*/ 352 w 512"/>
              <a:gd name="T95" fmla="*/ 202 h 512"/>
              <a:gd name="T96" fmla="*/ 352 w 512"/>
              <a:gd name="T97" fmla="*/ 160 h 512"/>
              <a:gd name="T98" fmla="*/ 160 w 512"/>
              <a:gd name="T99" fmla="*/ 160 h 512"/>
              <a:gd name="T100" fmla="*/ 149 w 512"/>
              <a:gd name="T101" fmla="*/ 149 h 512"/>
              <a:gd name="T102" fmla="*/ 160 w 512"/>
              <a:gd name="T103" fmla="*/ 138 h 512"/>
              <a:gd name="T104" fmla="*/ 195 w 512"/>
              <a:gd name="T105" fmla="*/ 138 h 512"/>
              <a:gd name="T106" fmla="*/ 197 w 512"/>
              <a:gd name="T107" fmla="*/ 134 h 512"/>
              <a:gd name="T108" fmla="*/ 197 w 512"/>
              <a:gd name="T109" fmla="*/ 134 h 512"/>
              <a:gd name="T110" fmla="*/ 256 w 512"/>
              <a:gd name="T111" fmla="*/ 96 h 512"/>
              <a:gd name="T112" fmla="*/ 316 w 512"/>
              <a:gd name="T113" fmla="*/ 138 h 512"/>
              <a:gd name="T114" fmla="*/ 352 w 512"/>
              <a:gd name="T115" fmla="*/ 138 h 512"/>
              <a:gd name="T116" fmla="*/ 362 w 512"/>
              <a:gd name="T117" fmla="*/ 149 h 512"/>
              <a:gd name="T118" fmla="*/ 352 w 512"/>
              <a:gd name="T11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1" y="394"/>
                </a:moveTo>
                <a:cubicBezTo>
                  <a:pt x="330" y="394"/>
                  <a:pt x="330" y="394"/>
                  <a:pt x="330" y="394"/>
                </a:cubicBezTo>
                <a:cubicBezTo>
                  <a:pt x="330" y="202"/>
                  <a:pt x="330" y="202"/>
                  <a:pt x="330" y="202"/>
                </a:cubicBezTo>
                <a:cubicBezTo>
                  <a:pt x="181" y="202"/>
                  <a:pt x="181" y="202"/>
                  <a:pt x="181" y="202"/>
                </a:cubicBezTo>
                <a:lnTo>
                  <a:pt x="181" y="394"/>
                </a:lnTo>
                <a:close/>
                <a:moveTo>
                  <a:pt x="288" y="234"/>
                </a:moveTo>
                <a:cubicBezTo>
                  <a:pt x="288" y="228"/>
                  <a:pt x="292" y="224"/>
                  <a:pt x="298" y="224"/>
                </a:cubicBezTo>
                <a:cubicBezTo>
                  <a:pt x="304" y="224"/>
                  <a:pt x="309" y="228"/>
                  <a:pt x="309" y="234"/>
                </a:cubicBezTo>
                <a:cubicBezTo>
                  <a:pt x="309" y="362"/>
                  <a:pt x="309" y="362"/>
                  <a:pt x="309" y="362"/>
                </a:cubicBezTo>
                <a:cubicBezTo>
                  <a:pt x="309" y="368"/>
                  <a:pt x="304" y="373"/>
                  <a:pt x="298" y="373"/>
                </a:cubicBezTo>
                <a:cubicBezTo>
                  <a:pt x="292" y="373"/>
                  <a:pt x="288" y="368"/>
                  <a:pt x="288" y="362"/>
                </a:cubicBezTo>
                <a:lnTo>
                  <a:pt x="288" y="234"/>
                </a:lnTo>
                <a:close/>
                <a:moveTo>
                  <a:pt x="245" y="234"/>
                </a:moveTo>
                <a:cubicBezTo>
                  <a:pt x="245" y="228"/>
                  <a:pt x="250" y="224"/>
                  <a:pt x="256" y="224"/>
                </a:cubicBezTo>
                <a:cubicBezTo>
                  <a:pt x="262" y="224"/>
                  <a:pt x="266" y="228"/>
                  <a:pt x="266" y="234"/>
                </a:cubicBezTo>
                <a:cubicBezTo>
                  <a:pt x="266" y="362"/>
                  <a:pt x="266" y="362"/>
                  <a:pt x="266" y="362"/>
                </a:cubicBezTo>
                <a:cubicBezTo>
                  <a:pt x="266" y="368"/>
                  <a:pt x="262" y="373"/>
                  <a:pt x="256" y="373"/>
                </a:cubicBezTo>
                <a:cubicBezTo>
                  <a:pt x="250" y="373"/>
                  <a:pt x="245" y="368"/>
                  <a:pt x="245" y="362"/>
                </a:cubicBezTo>
                <a:lnTo>
                  <a:pt x="245" y="234"/>
                </a:lnTo>
                <a:close/>
                <a:moveTo>
                  <a:pt x="202" y="234"/>
                </a:moveTo>
                <a:cubicBezTo>
                  <a:pt x="202" y="228"/>
                  <a:pt x="207" y="224"/>
                  <a:pt x="213" y="224"/>
                </a:cubicBezTo>
                <a:cubicBezTo>
                  <a:pt x="219" y="224"/>
                  <a:pt x="224" y="228"/>
                  <a:pt x="224" y="234"/>
                </a:cubicBezTo>
                <a:cubicBezTo>
                  <a:pt x="224" y="362"/>
                  <a:pt x="224" y="362"/>
                  <a:pt x="224" y="362"/>
                </a:cubicBezTo>
                <a:cubicBezTo>
                  <a:pt x="224" y="368"/>
                  <a:pt x="219" y="373"/>
                  <a:pt x="213" y="373"/>
                </a:cubicBezTo>
                <a:cubicBezTo>
                  <a:pt x="207" y="373"/>
                  <a:pt x="202" y="368"/>
                  <a:pt x="202" y="362"/>
                </a:cubicBezTo>
                <a:lnTo>
                  <a:pt x="202" y="234"/>
                </a:lnTo>
                <a:close/>
                <a:moveTo>
                  <a:pt x="293" y="138"/>
                </a:moveTo>
                <a:cubicBezTo>
                  <a:pt x="219" y="138"/>
                  <a:pt x="219" y="138"/>
                  <a:pt x="219" y="138"/>
                </a:cubicBezTo>
                <a:cubicBezTo>
                  <a:pt x="226" y="125"/>
                  <a:pt x="240" y="117"/>
                  <a:pt x="256" y="117"/>
                </a:cubicBezTo>
                <a:cubicBezTo>
                  <a:pt x="271" y="117"/>
                  <a:pt x="285" y="125"/>
                  <a:pt x="293" y="13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02"/>
                </a:moveTo>
                <a:cubicBezTo>
                  <a:pt x="352" y="405"/>
                  <a:pt x="352" y="405"/>
                  <a:pt x="352" y="405"/>
                </a:cubicBezTo>
                <a:cubicBezTo>
                  <a:pt x="352" y="411"/>
                  <a:pt x="347" y="416"/>
                  <a:pt x="341" y="416"/>
                </a:cubicBezTo>
                <a:cubicBezTo>
                  <a:pt x="170" y="416"/>
                  <a:pt x="170" y="416"/>
                  <a:pt x="170" y="416"/>
                </a:cubicBezTo>
                <a:cubicBezTo>
                  <a:pt x="164" y="416"/>
                  <a:pt x="160" y="411"/>
                  <a:pt x="160" y="405"/>
                </a:cubicBezTo>
                <a:cubicBezTo>
                  <a:pt x="160" y="202"/>
                  <a:pt x="160" y="202"/>
                  <a:pt x="160" y="202"/>
                </a:cubicBezTo>
                <a:cubicBezTo>
                  <a:pt x="154" y="202"/>
                  <a:pt x="149" y="198"/>
                  <a:pt x="149" y="192"/>
                </a:cubicBezTo>
                <a:cubicBezTo>
                  <a:pt x="149" y="186"/>
                  <a:pt x="154" y="181"/>
                  <a:pt x="160" y="181"/>
                </a:cubicBezTo>
                <a:cubicBezTo>
                  <a:pt x="170" y="181"/>
                  <a:pt x="170" y="181"/>
                  <a:pt x="170" y="181"/>
                </a:cubicBezTo>
                <a:cubicBezTo>
                  <a:pt x="341" y="181"/>
                  <a:pt x="341" y="181"/>
                  <a:pt x="341" y="181"/>
                </a:cubicBezTo>
                <a:cubicBezTo>
                  <a:pt x="352" y="181"/>
                  <a:pt x="352" y="181"/>
                  <a:pt x="352" y="181"/>
                </a:cubicBezTo>
                <a:cubicBezTo>
                  <a:pt x="358" y="181"/>
                  <a:pt x="362" y="186"/>
                  <a:pt x="362" y="192"/>
                </a:cubicBezTo>
                <a:cubicBezTo>
                  <a:pt x="362" y="198"/>
                  <a:pt x="358" y="202"/>
                  <a:pt x="352" y="202"/>
                </a:cubicBezTo>
                <a:close/>
                <a:moveTo>
                  <a:pt x="352" y="160"/>
                </a:moveTo>
                <a:cubicBezTo>
                  <a:pt x="160" y="160"/>
                  <a:pt x="160" y="160"/>
                  <a:pt x="160" y="160"/>
                </a:cubicBezTo>
                <a:cubicBezTo>
                  <a:pt x="154" y="160"/>
                  <a:pt x="149" y="155"/>
                  <a:pt x="149" y="149"/>
                </a:cubicBezTo>
                <a:cubicBezTo>
                  <a:pt x="149" y="143"/>
                  <a:pt x="154" y="138"/>
                  <a:pt x="160" y="138"/>
                </a:cubicBezTo>
                <a:cubicBezTo>
                  <a:pt x="195" y="138"/>
                  <a:pt x="195" y="138"/>
                  <a:pt x="195" y="138"/>
                </a:cubicBezTo>
                <a:cubicBezTo>
                  <a:pt x="196" y="137"/>
                  <a:pt x="196" y="135"/>
                  <a:pt x="197" y="134"/>
                </a:cubicBezTo>
                <a:cubicBezTo>
                  <a:pt x="197" y="134"/>
                  <a:pt x="197" y="134"/>
                  <a:pt x="197" y="134"/>
                </a:cubicBezTo>
                <a:cubicBezTo>
                  <a:pt x="207" y="111"/>
                  <a:pt x="230" y="96"/>
                  <a:pt x="256" y="96"/>
                </a:cubicBezTo>
                <a:cubicBezTo>
                  <a:pt x="283" y="96"/>
                  <a:pt x="307" y="113"/>
                  <a:pt x="316" y="138"/>
                </a:cubicBezTo>
                <a:cubicBezTo>
                  <a:pt x="352" y="138"/>
                  <a:pt x="352" y="138"/>
                  <a:pt x="352" y="138"/>
                </a:cubicBezTo>
                <a:cubicBezTo>
                  <a:pt x="358" y="138"/>
                  <a:pt x="362" y="143"/>
                  <a:pt x="362" y="149"/>
                </a:cubicBezTo>
                <a:cubicBezTo>
                  <a:pt x="362" y="155"/>
                  <a:pt x="358" y="160"/>
                  <a:pt x="352" y="16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6" name="Group 510">
            <a:extLst>
              <a:ext uri="{FF2B5EF4-FFF2-40B4-BE49-F238E27FC236}">
                <a16:creationId xmlns:a16="http://schemas.microsoft.com/office/drawing/2014/main" id="{0E0E0585-9A06-4B72-8AF4-3FC33153351C}"/>
              </a:ext>
            </a:extLst>
          </p:cNvPr>
          <p:cNvGrpSpPr>
            <a:grpSpLocks noChangeAspect="1"/>
          </p:cNvGrpSpPr>
          <p:nvPr/>
        </p:nvGrpSpPr>
        <p:grpSpPr bwMode="auto">
          <a:xfrm>
            <a:off x="7857039" y="1700213"/>
            <a:ext cx="369064" cy="367982"/>
            <a:chOff x="4155" y="3088"/>
            <a:chExt cx="341" cy="340"/>
          </a:xfrm>
          <a:solidFill>
            <a:schemeClr val="accent6"/>
          </a:solidFill>
        </p:grpSpPr>
        <p:sp>
          <p:nvSpPr>
            <p:cNvPr id="467" name="Freeform 511">
              <a:extLst>
                <a:ext uri="{FF2B5EF4-FFF2-40B4-BE49-F238E27FC236}">
                  <a16:creationId xmlns:a16="http://schemas.microsoft.com/office/drawing/2014/main" id="{7E3173C5-57EF-469C-B919-AF068E1D559B}"/>
                </a:ext>
              </a:extLst>
            </p:cNvPr>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8" name="Freeform 512">
              <a:extLst>
                <a:ext uri="{FF2B5EF4-FFF2-40B4-BE49-F238E27FC236}">
                  <a16:creationId xmlns:a16="http://schemas.microsoft.com/office/drawing/2014/main" id="{DCB06F49-E914-46D2-9422-C998F10DF42B}"/>
                </a:ext>
              </a:extLst>
            </p:cNvPr>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9" name="Freeform 528">
            <a:extLst>
              <a:ext uri="{FF2B5EF4-FFF2-40B4-BE49-F238E27FC236}">
                <a16:creationId xmlns:a16="http://schemas.microsoft.com/office/drawing/2014/main" id="{67237873-064D-49F5-8029-89220C2A7E8A}"/>
              </a:ext>
            </a:extLst>
          </p:cNvPr>
          <p:cNvSpPr>
            <a:spLocks noChangeAspect="1" noEditPoints="1"/>
          </p:cNvSpPr>
          <p:nvPr/>
        </p:nvSpPr>
        <p:spPr bwMode="auto">
          <a:xfrm>
            <a:off x="4826006" y="252768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70" name="Group 531">
            <a:extLst>
              <a:ext uri="{FF2B5EF4-FFF2-40B4-BE49-F238E27FC236}">
                <a16:creationId xmlns:a16="http://schemas.microsoft.com/office/drawing/2014/main" id="{0184FC31-556A-4724-98DD-08E2F11AD6CD}"/>
              </a:ext>
            </a:extLst>
          </p:cNvPr>
          <p:cNvGrpSpPr>
            <a:grpSpLocks noChangeAspect="1"/>
          </p:cNvGrpSpPr>
          <p:nvPr/>
        </p:nvGrpSpPr>
        <p:grpSpPr bwMode="auto">
          <a:xfrm>
            <a:off x="5259097" y="2527682"/>
            <a:ext cx="367631" cy="367631"/>
            <a:chOff x="4216" y="2000"/>
            <a:chExt cx="340" cy="340"/>
          </a:xfrm>
          <a:solidFill>
            <a:schemeClr val="accent6"/>
          </a:solidFill>
        </p:grpSpPr>
        <p:sp>
          <p:nvSpPr>
            <p:cNvPr id="471" name="Freeform 532">
              <a:extLst>
                <a:ext uri="{FF2B5EF4-FFF2-40B4-BE49-F238E27FC236}">
                  <a16:creationId xmlns:a16="http://schemas.microsoft.com/office/drawing/2014/main" id="{B019BB1B-9853-4577-8818-F6BA8D701FB8}"/>
                </a:ext>
              </a:extLst>
            </p:cNvPr>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3" name="Freeform 533">
              <a:extLst>
                <a:ext uri="{FF2B5EF4-FFF2-40B4-BE49-F238E27FC236}">
                  <a16:creationId xmlns:a16="http://schemas.microsoft.com/office/drawing/2014/main" id="{91158B02-4543-4AC6-8B64-12AC1917C00C}"/>
                </a:ext>
              </a:extLst>
            </p:cNvPr>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74" name="Freeform 472">
            <a:extLst>
              <a:ext uri="{FF2B5EF4-FFF2-40B4-BE49-F238E27FC236}">
                <a16:creationId xmlns:a16="http://schemas.microsoft.com/office/drawing/2014/main" id="{F2EEFF44-D19A-4FF1-AF4E-2B36D8B0EE84}"/>
              </a:ext>
            </a:extLst>
          </p:cNvPr>
          <p:cNvSpPr>
            <a:spLocks noChangeAspect="1" noEditPoints="1"/>
          </p:cNvSpPr>
          <p:nvPr/>
        </p:nvSpPr>
        <p:spPr bwMode="auto">
          <a:xfrm>
            <a:off x="5692188" y="252768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78" name="Group 475">
            <a:extLst>
              <a:ext uri="{FF2B5EF4-FFF2-40B4-BE49-F238E27FC236}">
                <a16:creationId xmlns:a16="http://schemas.microsoft.com/office/drawing/2014/main" id="{B42ACCB9-96AE-430D-B4F6-19777BD27409}"/>
              </a:ext>
            </a:extLst>
          </p:cNvPr>
          <p:cNvGrpSpPr>
            <a:grpSpLocks noChangeAspect="1"/>
          </p:cNvGrpSpPr>
          <p:nvPr/>
        </p:nvGrpSpPr>
        <p:grpSpPr bwMode="auto">
          <a:xfrm>
            <a:off x="6125279" y="2527682"/>
            <a:ext cx="367631" cy="368713"/>
            <a:chOff x="5414" y="3704"/>
            <a:chExt cx="340" cy="341"/>
          </a:xfrm>
          <a:solidFill>
            <a:schemeClr val="accent5"/>
          </a:solidFill>
        </p:grpSpPr>
        <p:sp>
          <p:nvSpPr>
            <p:cNvPr id="482" name="Freeform 476">
              <a:extLst>
                <a:ext uri="{FF2B5EF4-FFF2-40B4-BE49-F238E27FC236}">
                  <a16:creationId xmlns:a16="http://schemas.microsoft.com/office/drawing/2014/main" id="{0B384009-2FEF-498D-8186-342BC18C865D}"/>
                </a:ext>
              </a:extLst>
            </p:cNvPr>
            <p:cNvSpPr>
              <a:spLocks noEditPoints="1"/>
            </p:cNvSpPr>
            <p:nvPr/>
          </p:nvSpPr>
          <p:spPr bwMode="auto">
            <a:xfrm>
              <a:off x="5506" y="3768"/>
              <a:ext cx="184" cy="213"/>
            </a:xfrm>
            <a:custGeom>
              <a:avLst/>
              <a:gdLst>
                <a:gd name="T0" fmla="*/ 182 w 278"/>
                <a:gd name="T1" fmla="*/ 213 h 320"/>
                <a:gd name="T2" fmla="*/ 182 w 278"/>
                <a:gd name="T3" fmla="*/ 309 h 320"/>
                <a:gd name="T4" fmla="*/ 171 w 278"/>
                <a:gd name="T5" fmla="*/ 320 h 320"/>
                <a:gd name="T6" fmla="*/ 11 w 278"/>
                <a:gd name="T7" fmla="*/ 320 h 320"/>
                <a:gd name="T8" fmla="*/ 0 w 278"/>
                <a:gd name="T9" fmla="*/ 309 h 320"/>
                <a:gd name="T10" fmla="*/ 0 w 278"/>
                <a:gd name="T11" fmla="*/ 10 h 320"/>
                <a:gd name="T12" fmla="*/ 11 w 278"/>
                <a:gd name="T13" fmla="*/ 0 h 320"/>
                <a:gd name="T14" fmla="*/ 171 w 278"/>
                <a:gd name="T15" fmla="*/ 0 h 320"/>
                <a:gd name="T16" fmla="*/ 182 w 278"/>
                <a:gd name="T17" fmla="*/ 10 h 320"/>
                <a:gd name="T18" fmla="*/ 182 w 278"/>
                <a:gd name="T19" fmla="*/ 106 h 320"/>
                <a:gd name="T20" fmla="*/ 171 w 278"/>
                <a:gd name="T21" fmla="*/ 117 h 320"/>
                <a:gd name="T22" fmla="*/ 160 w 278"/>
                <a:gd name="T23" fmla="*/ 106 h 320"/>
                <a:gd name="T24" fmla="*/ 160 w 278"/>
                <a:gd name="T25" fmla="*/ 21 h 320"/>
                <a:gd name="T26" fmla="*/ 22 w 278"/>
                <a:gd name="T27" fmla="*/ 21 h 320"/>
                <a:gd name="T28" fmla="*/ 22 w 278"/>
                <a:gd name="T29" fmla="*/ 298 h 320"/>
                <a:gd name="T30" fmla="*/ 160 w 278"/>
                <a:gd name="T31" fmla="*/ 298 h 320"/>
                <a:gd name="T32" fmla="*/ 160 w 278"/>
                <a:gd name="T33" fmla="*/ 213 h 320"/>
                <a:gd name="T34" fmla="*/ 171 w 278"/>
                <a:gd name="T35" fmla="*/ 202 h 320"/>
                <a:gd name="T36" fmla="*/ 182 w 278"/>
                <a:gd name="T37" fmla="*/ 213 h 320"/>
                <a:gd name="T38" fmla="*/ 277 w 278"/>
                <a:gd name="T39" fmla="*/ 156 h 320"/>
                <a:gd name="T40" fmla="*/ 275 w 278"/>
                <a:gd name="T41" fmla="*/ 152 h 320"/>
                <a:gd name="T42" fmla="*/ 232 w 278"/>
                <a:gd name="T43" fmla="*/ 109 h 320"/>
                <a:gd name="T44" fmla="*/ 217 w 278"/>
                <a:gd name="T45" fmla="*/ 109 h 320"/>
                <a:gd name="T46" fmla="*/ 217 w 278"/>
                <a:gd name="T47" fmla="*/ 125 h 320"/>
                <a:gd name="T48" fmla="*/ 241 w 278"/>
                <a:gd name="T49" fmla="*/ 149 h 320"/>
                <a:gd name="T50" fmla="*/ 86 w 278"/>
                <a:gd name="T51" fmla="*/ 149 h 320"/>
                <a:gd name="T52" fmla="*/ 75 w 278"/>
                <a:gd name="T53" fmla="*/ 160 h 320"/>
                <a:gd name="T54" fmla="*/ 86 w 278"/>
                <a:gd name="T55" fmla="*/ 170 h 320"/>
                <a:gd name="T56" fmla="*/ 241 w 278"/>
                <a:gd name="T57" fmla="*/ 170 h 320"/>
                <a:gd name="T58" fmla="*/ 217 w 278"/>
                <a:gd name="T59" fmla="*/ 195 h 320"/>
                <a:gd name="T60" fmla="*/ 217 w 278"/>
                <a:gd name="T61" fmla="*/ 210 h 320"/>
                <a:gd name="T62" fmla="*/ 224 w 278"/>
                <a:gd name="T63" fmla="*/ 213 h 320"/>
                <a:gd name="T64" fmla="*/ 232 w 278"/>
                <a:gd name="T65" fmla="*/ 210 h 320"/>
                <a:gd name="T66" fmla="*/ 275 w 278"/>
                <a:gd name="T67" fmla="*/ 167 h 320"/>
                <a:gd name="T68" fmla="*/ 277 w 278"/>
                <a:gd name="T69" fmla="*/ 164 h 320"/>
                <a:gd name="T70" fmla="*/ 277 w 278"/>
                <a:gd name="T71" fmla="*/ 1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8" h="320">
                  <a:moveTo>
                    <a:pt x="182" y="213"/>
                  </a:moveTo>
                  <a:cubicBezTo>
                    <a:pt x="182" y="309"/>
                    <a:pt x="182" y="309"/>
                    <a:pt x="182" y="309"/>
                  </a:cubicBezTo>
                  <a:cubicBezTo>
                    <a:pt x="182" y="315"/>
                    <a:pt x="177" y="320"/>
                    <a:pt x="171" y="320"/>
                  </a:cubicBezTo>
                  <a:cubicBezTo>
                    <a:pt x="11" y="320"/>
                    <a:pt x="11" y="320"/>
                    <a:pt x="11" y="320"/>
                  </a:cubicBezTo>
                  <a:cubicBezTo>
                    <a:pt x="5" y="320"/>
                    <a:pt x="0" y="315"/>
                    <a:pt x="0" y="309"/>
                  </a:cubicBezTo>
                  <a:cubicBezTo>
                    <a:pt x="0" y="10"/>
                    <a:pt x="0" y="10"/>
                    <a:pt x="0" y="10"/>
                  </a:cubicBezTo>
                  <a:cubicBezTo>
                    <a:pt x="0" y="4"/>
                    <a:pt x="5" y="0"/>
                    <a:pt x="11" y="0"/>
                  </a:cubicBezTo>
                  <a:cubicBezTo>
                    <a:pt x="171" y="0"/>
                    <a:pt x="171" y="0"/>
                    <a:pt x="171" y="0"/>
                  </a:cubicBezTo>
                  <a:cubicBezTo>
                    <a:pt x="177" y="0"/>
                    <a:pt x="182" y="4"/>
                    <a:pt x="182" y="10"/>
                  </a:cubicBezTo>
                  <a:cubicBezTo>
                    <a:pt x="182" y="106"/>
                    <a:pt x="182" y="106"/>
                    <a:pt x="182" y="106"/>
                  </a:cubicBezTo>
                  <a:cubicBezTo>
                    <a:pt x="182" y="112"/>
                    <a:pt x="177" y="117"/>
                    <a:pt x="171" y="117"/>
                  </a:cubicBezTo>
                  <a:cubicBezTo>
                    <a:pt x="165" y="117"/>
                    <a:pt x="160" y="112"/>
                    <a:pt x="160" y="106"/>
                  </a:cubicBezTo>
                  <a:cubicBezTo>
                    <a:pt x="160" y="21"/>
                    <a:pt x="160" y="21"/>
                    <a:pt x="160" y="21"/>
                  </a:cubicBezTo>
                  <a:cubicBezTo>
                    <a:pt x="22" y="21"/>
                    <a:pt x="22" y="21"/>
                    <a:pt x="22" y="21"/>
                  </a:cubicBezTo>
                  <a:cubicBezTo>
                    <a:pt x="22" y="298"/>
                    <a:pt x="22" y="298"/>
                    <a:pt x="22" y="298"/>
                  </a:cubicBezTo>
                  <a:cubicBezTo>
                    <a:pt x="160" y="298"/>
                    <a:pt x="160" y="298"/>
                    <a:pt x="160" y="298"/>
                  </a:cubicBezTo>
                  <a:cubicBezTo>
                    <a:pt x="160" y="213"/>
                    <a:pt x="160" y="213"/>
                    <a:pt x="160" y="213"/>
                  </a:cubicBezTo>
                  <a:cubicBezTo>
                    <a:pt x="160" y="207"/>
                    <a:pt x="165" y="202"/>
                    <a:pt x="171" y="202"/>
                  </a:cubicBezTo>
                  <a:cubicBezTo>
                    <a:pt x="177" y="202"/>
                    <a:pt x="182" y="207"/>
                    <a:pt x="182" y="213"/>
                  </a:cubicBezTo>
                  <a:close/>
                  <a:moveTo>
                    <a:pt x="277" y="156"/>
                  </a:moveTo>
                  <a:cubicBezTo>
                    <a:pt x="276" y="154"/>
                    <a:pt x="276" y="153"/>
                    <a:pt x="275" y="152"/>
                  </a:cubicBezTo>
                  <a:cubicBezTo>
                    <a:pt x="232" y="109"/>
                    <a:pt x="232" y="109"/>
                    <a:pt x="232" y="109"/>
                  </a:cubicBezTo>
                  <a:cubicBezTo>
                    <a:pt x="228" y="105"/>
                    <a:pt x="221" y="105"/>
                    <a:pt x="217" y="109"/>
                  </a:cubicBezTo>
                  <a:cubicBezTo>
                    <a:pt x="213" y="114"/>
                    <a:pt x="213" y="120"/>
                    <a:pt x="217" y="125"/>
                  </a:cubicBezTo>
                  <a:cubicBezTo>
                    <a:pt x="241" y="149"/>
                    <a:pt x="241" y="149"/>
                    <a:pt x="241" y="149"/>
                  </a:cubicBezTo>
                  <a:cubicBezTo>
                    <a:pt x="86" y="149"/>
                    <a:pt x="86" y="149"/>
                    <a:pt x="86" y="149"/>
                  </a:cubicBezTo>
                  <a:cubicBezTo>
                    <a:pt x="80" y="149"/>
                    <a:pt x="75" y="154"/>
                    <a:pt x="75" y="160"/>
                  </a:cubicBezTo>
                  <a:cubicBezTo>
                    <a:pt x="75" y="166"/>
                    <a:pt x="80" y="170"/>
                    <a:pt x="86" y="170"/>
                  </a:cubicBezTo>
                  <a:cubicBezTo>
                    <a:pt x="241" y="170"/>
                    <a:pt x="241" y="170"/>
                    <a:pt x="241" y="170"/>
                  </a:cubicBezTo>
                  <a:cubicBezTo>
                    <a:pt x="217" y="195"/>
                    <a:pt x="217" y="195"/>
                    <a:pt x="217" y="195"/>
                  </a:cubicBezTo>
                  <a:cubicBezTo>
                    <a:pt x="213" y="199"/>
                    <a:pt x="213" y="206"/>
                    <a:pt x="217" y="210"/>
                  </a:cubicBezTo>
                  <a:cubicBezTo>
                    <a:pt x="219" y="212"/>
                    <a:pt x="222" y="213"/>
                    <a:pt x="224" y="213"/>
                  </a:cubicBezTo>
                  <a:cubicBezTo>
                    <a:pt x="227" y="213"/>
                    <a:pt x="230" y="212"/>
                    <a:pt x="232" y="210"/>
                  </a:cubicBezTo>
                  <a:cubicBezTo>
                    <a:pt x="275" y="167"/>
                    <a:pt x="275" y="167"/>
                    <a:pt x="275" y="167"/>
                  </a:cubicBezTo>
                  <a:cubicBezTo>
                    <a:pt x="276" y="166"/>
                    <a:pt x="276" y="165"/>
                    <a:pt x="277" y="164"/>
                  </a:cubicBezTo>
                  <a:cubicBezTo>
                    <a:pt x="278" y="161"/>
                    <a:pt x="278" y="158"/>
                    <a:pt x="277" y="1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3" name="Freeform 477">
              <a:extLst>
                <a:ext uri="{FF2B5EF4-FFF2-40B4-BE49-F238E27FC236}">
                  <a16:creationId xmlns:a16="http://schemas.microsoft.com/office/drawing/2014/main" id="{96BDA260-E411-49A4-9D61-D2413DC0B2B1}"/>
                </a:ext>
              </a:extLst>
            </p:cNvPr>
            <p:cNvSpPr>
              <a:spLocks noEditPoints="1"/>
            </p:cNvSpPr>
            <p:nvPr/>
          </p:nvSpPr>
          <p:spPr bwMode="auto">
            <a:xfrm>
              <a:off x="5414" y="370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4" name="Freeform 984">
            <a:extLst>
              <a:ext uri="{FF2B5EF4-FFF2-40B4-BE49-F238E27FC236}">
                <a16:creationId xmlns:a16="http://schemas.microsoft.com/office/drawing/2014/main" id="{D589DA1A-AA5B-4B91-A098-F2AA7619137D}"/>
              </a:ext>
            </a:extLst>
          </p:cNvPr>
          <p:cNvSpPr>
            <a:spLocks noChangeAspect="1" noEditPoints="1"/>
          </p:cNvSpPr>
          <p:nvPr/>
        </p:nvSpPr>
        <p:spPr bwMode="auto">
          <a:xfrm>
            <a:off x="6558370" y="2527682"/>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5" name="Group 987">
            <a:extLst>
              <a:ext uri="{FF2B5EF4-FFF2-40B4-BE49-F238E27FC236}">
                <a16:creationId xmlns:a16="http://schemas.microsoft.com/office/drawing/2014/main" id="{723FD447-8253-4541-9495-1CB32CBC93A8}"/>
              </a:ext>
            </a:extLst>
          </p:cNvPr>
          <p:cNvGrpSpPr>
            <a:grpSpLocks noChangeAspect="1"/>
          </p:cNvGrpSpPr>
          <p:nvPr/>
        </p:nvGrpSpPr>
        <p:grpSpPr bwMode="auto">
          <a:xfrm>
            <a:off x="6991950" y="2527682"/>
            <a:ext cx="367041" cy="367041"/>
            <a:chOff x="2699" y="3996"/>
            <a:chExt cx="340" cy="340"/>
          </a:xfrm>
          <a:solidFill>
            <a:schemeClr val="accent5"/>
          </a:solidFill>
        </p:grpSpPr>
        <p:sp>
          <p:nvSpPr>
            <p:cNvPr id="486" name="Freeform 988">
              <a:extLst>
                <a:ext uri="{FF2B5EF4-FFF2-40B4-BE49-F238E27FC236}">
                  <a16:creationId xmlns:a16="http://schemas.microsoft.com/office/drawing/2014/main" id="{69CC13B3-7582-4DD1-BC15-DCDB4F5D6160}"/>
                </a:ext>
              </a:extLst>
            </p:cNvPr>
            <p:cNvSpPr>
              <a:spLocks noEditPoints="1"/>
            </p:cNvSpPr>
            <p:nvPr/>
          </p:nvSpPr>
          <p:spPr bwMode="auto">
            <a:xfrm>
              <a:off x="2762" y="4073"/>
              <a:ext cx="199" cy="199"/>
            </a:xfrm>
            <a:custGeom>
              <a:avLst/>
              <a:gdLst>
                <a:gd name="T0" fmla="*/ 150 w 300"/>
                <a:gd name="T1" fmla="*/ 300 h 300"/>
                <a:gd name="T2" fmla="*/ 149 w 300"/>
                <a:gd name="T3" fmla="*/ 300 h 300"/>
                <a:gd name="T4" fmla="*/ 140 w 300"/>
                <a:gd name="T5" fmla="*/ 293 h 300"/>
                <a:gd name="T6" fmla="*/ 105 w 300"/>
                <a:gd name="T7" fmla="*/ 196 h 300"/>
                <a:gd name="T8" fmla="*/ 8 w 300"/>
                <a:gd name="T9" fmla="*/ 160 h 300"/>
                <a:gd name="T10" fmla="*/ 1 w 300"/>
                <a:gd name="T11" fmla="*/ 151 h 300"/>
                <a:gd name="T12" fmla="*/ 7 w 300"/>
                <a:gd name="T13" fmla="*/ 141 h 300"/>
                <a:gd name="T14" fmla="*/ 284 w 300"/>
                <a:gd name="T15" fmla="*/ 2 h 300"/>
                <a:gd name="T16" fmla="*/ 296 w 300"/>
                <a:gd name="T17" fmla="*/ 4 h 300"/>
                <a:gd name="T18" fmla="*/ 298 w 300"/>
                <a:gd name="T19" fmla="*/ 16 h 300"/>
                <a:gd name="T20" fmla="*/ 160 w 300"/>
                <a:gd name="T21" fmla="*/ 294 h 300"/>
                <a:gd name="T22" fmla="*/ 150 w 300"/>
                <a:gd name="T23" fmla="*/ 300 h 300"/>
                <a:gd name="T24" fmla="*/ 38 w 300"/>
                <a:gd name="T25" fmla="*/ 149 h 300"/>
                <a:gd name="T26" fmla="*/ 117 w 300"/>
                <a:gd name="T27" fmla="*/ 178 h 300"/>
                <a:gd name="T28" fmla="*/ 123 w 300"/>
                <a:gd name="T29" fmla="*/ 184 h 300"/>
                <a:gd name="T30" fmla="*/ 152 w 300"/>
                <a:gd name="T31" fmla="*/ 262 h 300"/>
                <a:gd name="T32" fmla="*/ 265 w 300"/>
                <a:gd name="T33" fmla="*/ 36 h 300"/>
                <a:gd name="T34" fmla="*/ 38 w 300"/>
                <a:gd name="T35"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300">
                  <a:moveTo>
                    <a:pt x="150" y="300"/>
                  </a:moveTo>
                  <a:cubicBezTo>
                    <a:pt x="150" y="300"/>
                    <a:pt x="150" y="300"/>
                    <a:pt x="149" y="300"/>
                  </a:cubicBezTo>
                  <a:cubicBezTo>
                    <a:pt x="145" y="299"/>
                    <a:pt x="141" y="297"/>
                    <a:pt x="140" y="293"/>
                  </a:cubicBezTo>
                  <a:cubicBezTo>
                    <a:pt x="105" y="196"/>
                    <a:pt x="105" y="196"/>
                    <a:pt x="105" y="196"/>
                  </a:cubicBezTo>
                  <a:cubicBezTo>
                    <a:pt x="8" y="160"/>
                    <a:pt x="8" y="160"/>
                    <a:pt x="8" y="160"/>
                  </a:cubicBezTo>
                  <a:cubicBezTo>
                    <a:pt x="4" y="159"/>
                    <a:pt x="1" y="155"/>
                    <a:pt x="1" y="151"/>
                  </a:cubicBezTo>
                  <a:cubicBezTo>
                    <a:pt x="0" y="147"/>
                    <a:pt x="3" y="143"/>
                    <a:pt x="7" y="141"/>
                  </a:cubicBezTo>
                  <a:cubicBezTo>
                    <a:pt x="284" y="2"/>
                    <a:pt x="284" y="2"/>
                    <a:pt x="284" y="2"/>
                  </a:cubicBezTo>
                  <a:cubicBezTo>
                    <a:pt x="288" y="0"/>
                    <a:pt x="293" y="1"/>
                    <a:pt x="296" y="4"/>
                  </a:cubicBezTo>
                  <a:cubicBezTo>
                    <a:pt x="299" y="7"/>
                    <a:pt x="300" y="12"/>
                    <a:pt x="298" y="16"/>
                  </a:cubicBezTo>
                  <a:cubicBezTo>
                    <a:pt x="160" y="294"/>
                    <a:pt x="160" y="294"/>
                    <a:pt x="160" y="294"/>
                  </a:cubicBezTo>
                  <a:cubicBezTo>
                    <a:pt x="158" y="297"/>
                    <a:pt x="154" y="300"/>
                    <a:pt x="150" y="300"/>
                  </a:cubicBezTo>
                  <a:close/>
                  <a:moveTo>
                    <a:pt x="38" y="149"/>
                  </a:moveTo>
                  <a:cubicBezTo>
                    <a:pt x="117" y="178"/>
                    <a:pt x="117" y="178"/>
                    <a:pt x="117" y="178"/>
                  </a:cubicBezTo>
                  <a:cubicBezTo>
                    <a:pt x="120" y="179"/>
                    <a:pt x="122" y="181"/>
                    <a:pt x="123" y="184"/>
                  </a:cubicBezTo>
                  <a:cubicBezTo>
                    <a:pt x="152" y="262"/>
                    <a:pt x="152" y="262"/>
                    <a:pt x="152" y="262"/>
                  </a:cubicBezTo>
                  <a:cubicBezTo>
                    <a:pt x="265" y="36"/>
                    <a:pt x="265" y="36"/>
                    <a:pt x="265" y="36"/>
                  </a:cubicBezTo>
                  <a:lnTo>
                    <a:pt x="3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7" name="Freeform 989">
              <a:extLst>
                <a:ext uri="{FF2B5EF4-FFF2-40B4-BE49-F238E27FC236}">
                  <a16:creationId xmlns:a16="http://schemas.microsoft.com/office/drawing/2014/main" id="{6EED559B-7C60-48A5-A5E8-DB6AB9CA608C}"/>
                </a:ext>
              </a:extLst>
            </p:cNvPr>
            <p:cNvSpPr>
              <a:spLocks noEditPoints="1"/>
            </p:cNvSpPr>
            <p:nvPr/>
          </p:nvSpPr>
          <p:spPr bwMode="auto">
            <a:xfrm>
              <a:off x="2699" y="39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8" name="Group 862">
            <a:extLst>
              <a:ext uri="{FF2B5EF4-FFF2-40B4-BE49-F238E27FC236}">
                <a16:creationId xmlns:a16="http://schemas.microsoft.com/office/drawing/2014/main" id="{3CC3D59E-70A9-4E9D-8B85-C37F93695377}"/>
              </a:ext>
            </a:extLst>
          </p:cNvPr>
          <p:cNvGrpSpPr>
            <a:grpSpLocks noChangeAspect="1"/>
          </p:cNvGrpSpPr>
          <p:nvPr/>
        </p:nvGrpSpPr>
        <p:grpSpPr bwMode="auto">
          <a:xfrm>
            <a:off x="7858932" y="2527682"/>
            <a:ext cx="369021" cy="370106"/>
            <a:chOff x="6607" y="3441"/>
            <a:chExt cx="340" cy="341"/>
          </a:xfrm>
          <a:solidFill>
            <a:schemeClr val="accent4"/>
          </a:solidFill>
        </p:grpSpPr>
        <p:sp>
          <p:nvSpPr>
            <p:cNvPr id="489" name="Freeform 863">
              <a:extLst>
                <a:ext uri="{FF2B5EF4-FFF2-40B4-BE49-F238E27FC236}">
                  <a16:creationId xmlns:a16="http://schemas.microsoft.com/office/drawing/2014/main" id="{5CB8E1E6-C2AB-453E-BE2C-C467B24CD497}"/>
                </a:ext>
              </a:extLst>
            </p:cNvPr>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0" name="Freeform 864">
              <a:extLst>
                <a:ext uri="{FF2B5EF4-FFF2-40B4-BE49-F238E27FC236}">
                  <a16:creationId xmlns:a16="http://schemas.microsoft.com/office/drawing/2014/main" id="{4B98449D-E229-4815-B47D-94CB07753311}"/>
                </a:ext>
              </a:extLst>
            </p:cNvPr>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91" name="Group 867">
            <a:extLst>
              <a:ext uri="{FF2B5EF4-FFF2-40B4-BE49-F238E27FC236}">
                <a16:creationId xmlns:a16="http://schemas.microsoft.com/office/drawing/2014/main" id="{058E9595-3F76-4D0B-8D56-6E97479D8797}"/>
              </a:ext>
            </a:extLst>
          </p:cNvPr>
          <p:cNvGrpSpPr>
            <a:grpSpLocks noChangeAspect="1"/>
          </p:cNvGrpSpPr>
          <p:nvPr/>
        </p:nvGrpSpPr>
        <p:grpSpPr bwMode="auto">
          <a:xfrm>
            <a:off x="7424451" y="2527682"/>
            <a:ext cx="369021" cy="369021"/>
            <a:chOff x="6248" y="3438"/>
            <a:chExt cx="340" cy="340"/>
          </a:xfrm>
          <a:solidFill>
            <a:schemeClr val="accent4"/>
          </a:solidFill>
        </p:grpSpPr>
        <p:sp>
          <p:nvSpPr>
            <p:cNvPr id="492" name="Oval 868">
              <a:extLst>
                <a:ext uri="{FF2B5EF4-FFF2-40B4-BE49-F238E27FC236}">
                  <a16:creationId xmlns:a16="http://schemas.microsoft.com/office/drawing/2014/main" id="{0A6C8959-49E3-49CF-B333-3D030075C7DC}"/>
                </a:ext>
              </a:extLst>
            </p:cNvPr>
            <p:cNvSpPr>
              <a:spLocks noChangeArrowheads="1"/>
            </p:cNvSpPr>
            <p:nvPr/>
          </p:nvSpPr>
          <p:spPr bwMode="auto">
            <a:xfrm>
              <a:off x="6326" y="3593"/>
              <a:ext cx="28"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3" name="Oval 869">
              <a:extLst>
                <a:ext uri="{FF2B5EF4-FFF2-40B4-BE49-F238E27FC236}">
                  <a16:creationId xmlns:a16="http://schemas.microsoft.com/office/drawing/2014/main" id="{FBD12368-2265-46CA-A12D-042CA785C47A}"/>
                </a:ext>
              </a:extLst>
            </p:cNvPr>
            <p:cNvSpPr>
              <a:spLocks noChangeArrowheads="1"/>
            </p:cNvSpPr>
            <p:nvPr/>
          </p:nvSpPr>
          <p:spPr bwMode="auto">
            <a:xfrm>
              <a:off x="6467" y="3530"/>
              <a:ext cx="29"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4" name="Oval 870">
              <a:extLst>
                <a:ext uri="{FF2B5EF4-FFF2-40B4-BE49-F238E27FC236}">
                  <a16:creationId xmlns:a16="http://schemas.microsoft.com/office/drawing/2014/main" id="{4CE4C591-9E7F-45A7-87B9-72FA41D19B7D}"/>
                </a:ext>
              </a:extLst>
            </p:cNvPr>
            <p:cNvSpPr>
              <a:spLocks noChangeArrowheads="1"/>
            </p:cNvSpPr>
            <p:nvPr/>
          </p:nvSpPr>
          <p:spPr bwMode="auto">
            <a:xfrm>
              <a:off x="6467" y="3657"/>
              <a:ext cx="29"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5" name="Freeform 871">
              <a:extLst>
                <a:ext uri="{FF2B5EF4-FFF2-40B4-BE49-F238E27FC236}">
                  <a16:creationId xmlns:a16="http://schemas.microsoft.com/office/drawing/2014/main" id="{D68CF14E-291C-4593-9AC6-4B2A5A4654FB}"/>
                </a:ext>
              </a:extLst>
            </p:cNvPr>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96" name="Group 257">
            <a:extLst>
              <a:ext uri="{FF2B5EF4-FFF2-40B4-BE49-F238E27FC236}">
                <a16:creationId xmlns:a16="http://schemas.microsoft.com/office/drawing/2014/main" id="{642395BE-D326-454D-BF86-60DE23B08E34}"/>
              </a:ext>
            </a:extLst>
          </p:cNvPr>
          <p:cNvGrpSpPr>
            <a:grpSpLocks noChangeAspect="1"/>
          </p:cNvGrpSpPr>
          <p:nvPr/>
        </p:nvGrpSpPr>
        <p:grpSpPr bwMode="auto">
          <a:xfrm>
            <a:off x="9599908" y="2527682"/>
            <a:ext cx="369676" cy="369676"/>
            <a:chOff x="2724" y="770"/>
            <a:chExt cx="340" cy="340"/>
          </a:xfrm>
          <a:solidFill>
            <a:schemeClr val="accent3"/>
          </a:solidFill>
        </p:grpSpPr>
        <p:sp>
          <p:nvSpPr>
            <p:cNvPr id="497" name="Freeform 258">
              <a:extLst>
                <a:ext uri="{FF2B5EF4-FFF2-40B4-BE49-F238E27FC236}">
                  <a16:creationId xmlns:a16="http://schemas.microsoft.com/office/drawing/2014/main" id="{B08FCF87-A882-4578-AAD9-DBA108C0EC95}"/>
                </a:ext>
              </a:extLst>
            </p:cNvPr>
            <p:cNvSpPr>
              <a:spLocks noEditPoints="1"/>
            </p:cNvSpPr>
            <p:nvPr/>
          </p:nvSpPr>
          <p:spPr bwMode="auto">
            <a:xfrm>
              <a:off x="2788" y="86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8" name="Freeform 259">
              <a:extLst>
                <a:ext uri="{FF2B5EF4-FFF2-40B4-BE49-F238E27FC236}">
                  <a16:creationId xmlns:a16="http://schemas.microsoft.com/office/drawing/2014/main" id="{670BBD53-E0DD-4B32-B7F9-4B5A4240DCE5}"/>
                </a:ext>
              </a:extLst>
            </p:cNvPr>
            <p:cNvSpPr>
              <a:spLocks noEditPoints="1"/>
            </p:cNvSpPr>
            <p:nvPr/>
          </p:nvSpPr>
          <p:spPr bwMode="auto">
            <a:xfrm>
              <a:off x="2724"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9" name="Freeform 263">
            <a:extLst>
              <a:ext uri="{FF2B5EF4-FFF2-40B4-BE49-F238E27FC236}">
                <a16:creationId xmlns:a16="http://schemas.microsoft.com/office/drawing/2014/main" id="{3FE23894-BAA0-4738-91A6-E1D158C13F21}"/>
              </a:ext>
            </a:extLst>
          </p:cNvPr>
          <p:cNvSpPr>
            <a:spLocks noChangeAspect="1" noEditPoints="1"/>
          </p:cNvSpPr>
          <p:nvPr/>
        </p:nvSpPr>
        <p:spPr bwMode="auto">
          <a:xfrm>
            <a:off x="9164772" y="2527682"/>
            <a:ext cx="369676" cy="369676"/>
          </a:xfrm>
          <a:custGeom>
            <a:avLst/>
            <a:gdLst>
              <a:gd name="T0" fmla="*/ 117 w 512"/>
              <a:gd name="T1" fmla="*/ 160 h 512"/>
              <a:gd name="T2" fmla="*/ 394 w 512"/>
              <a:gd name="T3" fmla="*/ 160 h 512"/>
              <a:gd name="T4" fmla="*/ 394 w 512"/>
              <a:gd name="T5" fmla="*/ 330 h 512"/>
              <a:gd name="T6" fmla="*/ 213 w 512"/>
              <a:gd name="T7" fmla="*/ 330 h 512"/>
              <a:gd name="T8" fmla="*/ 205 w 512"/>
              <a:gd name="T9" fmla="*/ 334 h 512"/>
              <a:gd name="T10" fmla="*/ 170 w 512"/>
              <a:gd name="T11" fmla="*/ 376 h 512"/>
              <a:gd name="T12" fmla="*/ 170 w 512"/>
              <a:gd name="T13" fmla="*/ 341 h 512"/>
              <a:gd name="T14" fmla="*/ 160 w 512"/>
              <a:gd name="T15" fmla="*/ 330 h 512"/>
              <a:gd name="T16" fmla="*/ 117 w 512"/>
              <a:gd name="T17" fmla="*/ 330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149 h 512"/>
              <a:gd name="T32" fmla="*/ 405 w 512"/>
              <a:gd name="T33" fmla="*/ 138 h 512"/>
              <a:gd name="T34" fmla="*/ 106 w 512"/>
              <a:gd name="T35" fmla="*/ 138 h 512"/>
              <a:gd name="T36" fmla="*/ 96 w 512"/>
              <a:gd name="T37" fmla="*/ 149 h 512"/>
              <a:gd name="T38" fmla="*/ 96 w 512"/>
              <a:gd name="T39" fmla="*/ 341 h 512"/>
              <a:gd name="T40" fmla="*/ 106 w 512"/>
              <a:gd name="T41" fmla="*/ 352 h 512"/>
              <a:gd name="T42" fmla="*/ 149 w 512"/>
              <a:gd name="T43" fmla="*/ 352 h 512"/>
              <a:gd name="T44" fmla="*/ 149 w 512"/>
              <a:gd name="T45" fmla="*/ 405 h 512"/>
              <a:gd name="T46" fmla="*/ 156 w 512"/>
              <a:gd name="T47" fmla="*/ 415 h 512"/>
              <a:gd name="T48" fmla="*/ 160 w 512"/>
              <a:gd name="T49" fmla="*/ 416 h 512"/>
              <a:gd name="T50" fmla="*/ 168 w 512"/>
              <a:gd name="T51" fmla="*/ 412 h 512"/>
              <a:gd name="T52" fmla="*/ 218 w 512"/>
              <a:gd name="T53" fmla="*/ 352 h 512"/>
              <a:gd name="T54" fmla="*/ 405 w 512"/>
              <a:gd name="T55" fmla="*/ 352 h 512"/>
              <a:gd name="T56" fmla="*/ 416 w 512"/>
              <a:gd name="T57" fmla="*/ 341 h 512"/>
              <a:gd name="T58" fmla="*/ 416 w 512"/>
              <a:gd name="T5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17" y="160"/>
                </a:moveTo>
                <a:cubicBezTo>
                  <a:pt x="394" y="160"/>
                  <a:pt x="394" y="160"/>
                  <a:pt x="394" y="160"/>
                </a:cubicBezTo>
                <a:cubicBezTo>
                  <a:pt x="394" y="330"/>
                  <a:pt x="394" y="330"/>
                  <a:pt x="394" y="330"/>
                </a:cubicBezTo>
                <a:cubicBezTo>
                  <a:pt x="213" y="330"/>
                  <a:pt x="213" y="330"/>
                  <a:pt x="213" y="330"/>
                </a:cubicBezTo>
                <a:cubicBezTo>
                  <a:pt x="210" y="330"/>
                  <a:pt x="207" y="332"/>
                  <a:pt x="205" y="334"/>
                </a:cubicBezTo>
                <a:cubicBezTo>
                  <a:pt x="170" y="376"/>
                  <a:pt x="170" y="376"/>
                  <a:pt x="170" y="376"/>
                </a:cubicBezTo>
                <a:cubicBezTo>
                  <a:pt x="170" y="341"/>
                  <a:pt x="170" y="341"/>
                  <a:pt x="170" y="341"/>
                </a:cubicBezTo>
                <a:cubicBezTo>
                  <a:pt x="170" y="335"/>
                  <a:pt x="166" y="330"/>
                  <a:pt x="160" y="330"/>
                </a:cubicBezTo>
                <a:cubicBezTo>
                  <a:pt x="117" y="330"/>
                  <a:pt x="117" y="330"/>
                  <a:pt x="117" y="330"/>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41"/>
                  <a:pt x="96" y="341"/>
                  <a:pt x="96" y="341"/>
                </a:cubicBezTo>
                <a:cubicBezTo>
                  <a:pt x="96" y="347"/>
                  <a:pt x="100" y="352"/>
                  <a:pt x="106" y="352"/>
                </a:cubicBezTo>
                <a:cubicBezTo>
                  <a:pt x="149" y="352"/>
                  <a:pt x="149" y="352"/>
                  <a:pt x="149" y="352"/>
                </a:cubicBezTo>
                <a:cubicBezTo>
                  <a:pt x="149" y="405"/>
                  <a:pt x="149" y="405"/>
                  <a:pt x="149" y="405"/>
                </a:cubicBezTo>
                <a:cubicBezTo>
                  <a:pt x="149" y="409"/>
                  <a:pt x="152" y="414"/>
                  <a:pt x="156" y="415"/>
                </a:cubicBezTo>
                <a:cubicBezTo>
                  <a:pt x="157" y="415"/>
                  <a:pt x="158" y="416"/>
                  <a:pt x="160" y="416"/>
                </a:cubicBezTo>
                <a:cubicBezTo>
                  <a:pt x="163" y="416"/>
                  <a:pt x="166" y="414"/>
                  <a:pt x="168" y="412"/>
                </a:cubicBezTo>
                <a:cubicBezTo>
                  <a:pt x="218" y="352"/>
                  <a:pt x="218" y="352"/>
                  <a:pt x="218" y="352"/>
                </a:cubicBezTo>
                <a:cubicBezTo>
                  <a:pt x="405" y="352"/>
                  <a:pt x="405" y="352"/>
                  <a:pt x="405" y="352"/>
                </a:cubicBezTo>
                <a:cubicBezTo>
                  <a:pt x="411" y="352"/>
                  <a:pt x="416" y="347"/>
                  <a:pt x="416" y="341"/>
                </a:cubicBezTo>
                <a:lnTo>
                  <a:pt x="416" y="14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0" name="Group 245">
            <a:extLst>
              <a:ext uri="{FF2B5EF4-FFF2-40B4-BE49-F238E27FC236}">
                <a16:creationId xmlns:a16="http://schemas.microsoft.com/office/drawing/2014/main" id="{529A2BE0-4628-4EA6-ADB1-F1F7DA8797B2}"/>
              </a:ext>
            </a:extLst>
          </p:cNvPr>
          <p:cNvGrpSpPr>
            <a:grpSpLocks noChangeAspect="1"/>
          </p:cNvGrpSpPr>
          <p:nvPr/>
        </p:nvGrpSpPr>
        <p:grpSpPr bwMode="auto">
          <a:xfrm>
            <a:off x="8729636" y="2527682"/>
            <a:ext cx="369676" cy="369676"/>
            <a:chOff x="3480" y="792"/>
            <a:chExt cx="340" cy="340"/>
          </a:xfrm>
          <a:solidFill>
            <a:schemeClr val="accent3"/>
          </a:solidFill>
        </p:grpSpPr>
        <p:sp>
          <p:nvSpPr>
            <p:cNvPr id="501" name="Freeform 246">
              <a:extLst>
                <a:ext uri="{FF2B5EF4-FFF2-40B4-BE49-F238E27FC236}">
                  <a16:creationId xmlns:a16="http://schemas.microsoft.com/office/drawing/2014/main" id="{248F01B3-6195-4788-8EF8-E3F9462B65B4}"/>
                </a:ext>
              </a:extLst>
            </p:cNvPr>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2" name="Freeform 247">
              <a:extLst>
                <a:ext uri="{FF2B5EF4-FFF2-40B4-BE49-F238E27FC236}">
                  <a16:creationId xmlns:a16="http://schemas.microsoft.com/office/drawing/2014/main" id="{967611D5-15E3-4691-91E9-33BC4E4C73DD}"/>
                </a:ext>
              </a:extLst>
            </p:cNvPr>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3" name="Freeform 248">
              <a:extLst>
                <a:ext uri="{FF2B5EF4-FFF2-40B4-BE49-F238E27FC236}">
                  <a16:creationId xmlns:a16="http://schemas.microsoft.com/office/drawing/2014/main" id="{FC31956D-CF56-4C38-9414-7A3A35A47812}"/>
                </a:ext>
              </a:extLst>
            </p:cNvPr>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4" name="Freeform 249">
              <a:extLst>
                <a:ext uri="{FF2B5EF4-FFF2-40B4-BE49-F238E27FC236}">
                  <a16:creationId xmlns:a16="http://schemas.microsoft.com/office/drawing/2014/main" id="{09C6A15A-06A7-4DC1-9502-4599EEA37C37}"/>
                </a:ext>
              </a:extLst>
            </p:cNvPr>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5" name="Freeform 250">
              <a:extLst>
                <a:ext uri="{FF2B5EF4-FFF2-40B4-BE49-F238E27FC236}">
                  <a16:creationId xmlns:a16="http://schemas.microsoft.com/office/drawing/2014/main" id="{FEED85E0-37CF-46C9-9A68-F3E6C676FCD2}"/>
                </a:ext>
              </a:extLst>
            </p:cNvPr>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6" name="Freeform 254">
            <a:extLst>
              <a:ext uri="{FF2B5EF4-FFF2-40B4-BE49-F238E27FC236}">
                <a16:creationId xmlns:a16="http://schemas.microsoft.com/office/drawing/2014/main" id="{A7A73143-05E0-48CA-BD8C-5DBA3DF90751}"/>
              </a:ext>
            </a:extLst>
          </p:cNvPr>
          <p:cNvSpPr>
            <a:spLocks noChangeAspect="1" noEditPoints="1"/>
          </p:cNvSpPr>
          <p:nvPr/>
        </p:nvSpPr>
        <p:spPr bwMode="auto">
          <a:xfrm>
            <a:off x="8293413" y="2527682"/>
            <a:ext cx="370763"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7" name="Group 53">
            <a:extLst>
              <a:ext uri="{FF2B5EF4-FFF2-40B4-BE49-F238E27FC236}">
                <a16:creationId xmlns:a16="http://schemas.microsoft.com/office/drawing/2014/main" id="{4DA2683A-4AD2-4DEF-9E6A-B8AB5296CDCB}"/>
              </a:ext>
            </a:extLst>
          </p:cNvPr>
          <p:cNvGrpSpPr>
            <a:grpSpLocks noChangeAspect="1"/>
          </p:cNvGrpSpPr>
          <p:nvPr/>
        </p:nvGrpSpPr>
        <p:grpSpPr bwMode="auto">
          <a:xfrm>
            <a:off x="2655969" y="2527682"/>
            <a:ext cx="367041" cy="368121"/>
            <a:chOff x="5183" y="1046"/>
            <a:chExt cx="340" cy="341"/>
          </a:xfrm>
          <a:solidFill>
            <a:schemeClr val="accent1"/>
          </a:solidFill>
        </p:grpSpPr>
        <p:sp>
          <p:nvSpPr>
            <p:cNvPr id="508" name="Freeform 54">
              <a:extLst>
                <a:ext uri="{FF2B5EF4-FFF2-40B4-BE49-F238E27FC236}">
                  <a16:creationId xmlns:a16="http://schemas.microsoft.com/office/drawing/2014/main" id="{F5ECF08A-499F-4ACE-B81B-32C57A52DE54}"/>
                </a:ext>
              </a:extLst>
            </p:cNvPr>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9" name="Freeform 55">
              <a:extLst>
                <a:ext uri="{FF2B5EF4-FFF2-40B4-BE49-F238E27FC236}">
                  <a16:creationId xmlns:a16="http://schemas.microsoft.com/office/drawing/2014/main" id="{46DD91C4-DDCD-4966-B8AA-321EA4B6333D}"/>
                </a:ext>
              </a:extLst>
            </p:cNvPr>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0" name="Freeform 59">
            <a:extLst>
              <a:ext uri="{FF2B5EF4-FFF2-40B4-BE49-F238E27FC236}">
                <a16:creationId xmlns:a16="http://schemas.microsoft.com/office/drawing/2014/main" id="{9920DF9A-5043-4800-805F-AAA1D155489F}"/>
              </a:ext>
            </a:extLst>
          </p:cNvPr>
          <p:cNvSpPr>
            <a:spLocks noChangeAspect="1" noEditPoints="1"/>
          </p:cNvSpPr>
          <p:nvPr/>
        </p:nvSpPr>
        <p:spPr bwMode="auto">
          <a:xfrm>
            <a:off x="2223468" y="2527682"/>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1" name="Group 325">
            <a:extLst>
              <a:ext uri="{FF2B5EF4-FFF2-40B4-BE49-F238E27FC236}">
                <a16:creationId xmlns:a16="http://schemas.microsoft.com/office/drawing/2014/main" id="{12376CA5-D850-445D-A297-84A470614298}"/>
              </a:ext>
            </a:extLst>
          </p:cNvPr>
          <p:cNvGrpSpPr>
            <a:grpSpLocks noChangeAspect="1"/>
          </p:cNvGrpSpPr>
          <p:nvPr/>
        </p:nvGrpSpPr>
        <p:grpSpPr bwMode="auto">
          <a:xfrm>
            <a:off x="3523606" y="2527682"/>
            <a:ext cx="369676" cy="370763"/>
            <a:chOff x="5044" y="1157"/>
            <a:chExt cx="340" cy="341"/>
          </a:xfrm>
          <a:solidFill>
            <a:schemeClr val="accent4"/>
          </a:solidFill>
        </p:grpSpPr>
        <p:sp>
          <p:nvSpPr>
            <p:cNvPr id="512" name="Freeform 326">
              <a:extLst>
                <a:ext uri="{FF2B5EF4-FFF2-40B4-BE49-F238E27FC236}">
                  <a16:creationId xmlns:a16="http://schemas.microsoft.com/office/drawing/2014/main" id="{30E5EA34-1038-48D7-8EC4-B631232262C2}"/>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3" name="Freeform 327">
              <a:extLst>
                <a:ext uri="{FF2B5EF4-FFF2-40B4-BE49-F238E27FC236}">
                  <a16:creationId xmlns:a16="http://schemas.microsoft.com/office/drawing/2014/main" id="{94762EA3-646F-45CF-814A-FFDBCC61599E}"/>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4" name="Freeform 331">
            <a:extLst>
              <a:ext uri="{FF2B5EF4-FFF2-40B4-BE49-F238E27FC236}">
                <a16:creationId xmlns:a16="http://schemas.microsoft.com/office/drawing/2014/main" id="{2000B287-7C6F-4FFA-B0F1-5660D8BF695A}"/>
              </a:ext>
            </a:extLst>
          </p:cNvPr>
          <p:cNvSpPr>
            <a:spLocks noChangeAspect="1" noEditPoints="1"/>
          </p:cNvSpPr>
          <p:nvPr/>
        </p:nvSpPr>
        <p:spPr bwMode="auto">
          <a:xfrm>
            <a:off x="3088470" y="2527682"/>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5" name="Group 238">
            <a:extLst>
              <a:ext uri="{FF2B5EF4-FFF2-40B4-BE49-F238E27FC236}">
                <a16:creationId xmlns:a16="http://schemas.microsoft.com/office/drawing/2014/main" id="{92A392E3-A805-400A-8725-C3EF2F57F2FA}"/>
              </a:ext>
            </a:extLst>
          </p:cNvPr>
          <p:cNvGrpSpPr>
            <a:grpSpLocks noChangeAspect="1"/>
          </p:cNvGrpSpPr>
          <p:nvPr/>
        </p:nvGrpSpPr>
        <p:grpSpPr bwMode="auto">
          <a:xfrm>
            <a:off x="10035044" y="2527682"/>
            <a:ext cx="368120" cy="367041"/>
            <a:chOff x="3875" y="720"/>
            <a:chExt cx="341" cy="340"/>
          </a:xfrm>
          <a:solidFill>
            <a:schemeClr val="accent3"/>
          </a:solidFill>
        </p:grpSpPr>
        <p:sp>
          <p:nvSpPr>
            <p:cNvPr id="516" name="Freeform 239">
              <a:extLst>
                <a:ext uri="{FF2B5EF4-FFF2-40B4-BE49-F238E27FC236}">
                  <a16:creationId xmlns:a16="http://schemas.microsoft.com/office/drawing/2014/main" id="{D97A1BE2-A4F2-4656-8311-AFCEEE21A5C6}"/>
                </a:ext>
              </a:extLst>
            </p:cNvPr>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240">
              <a:extLst>
                <a:ext uri="{FF2B5EF4-FFF2-40B4-BE49-F238E27FC236}">
                  <a16:creationId xmlns:a16="http://schemas.microsoft.com/office/drawing/2014/main" id="{A9B4DED5-E321-4D70-8930-8E59AE97FA6E}"/>
                </a:ext>
              </a:extLst>
            </p:cNvPr>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18" name="Group 243">
            <a:extLst>
              <a:ext uri="{FF2B5EF4-FFF2-40B4-BE49-F238E27FC236}">
                <a16:creationId xmlns:a16="http://schemas.microsoft.com/office/drawing/2014/main" id="{B956CA1B-1970-4248-B450-4E8426B3EE48}"/>
              </a:ext>
            </a:extLst>
          </p:cNvPr>
          <p:cNvGrpSpPr>
            <a:grpSpLocks noChangeAspect="1"/>
          </p:cNvGrpSpPr>
          <p:nvPr/>
        </p:nvGrpSpPr>
        <p:grpSpPr bwMode="auto">
          <a:xfrm>
            <a:off x="10468624" y="2527682"/>
            <a:ext cx="367041" cy="367041"/>
            <a:chOff x="4256" y="720"/>
            <a:chExt cx="340" cy="340"/>
          </a:xfrm>
          <a:solidFill>
            <a:schemeClr val="accent3"/>
          </a:solidFill>
        </p:grpSpPr>
        <p:sp>
          <p:nvSpPr>
            <p:cNvPr id="519" name="Freeform 244">
              <a:extLst>
                <a:ext uri="{FF2B5EF4-FFF2-40B4-BE49-F238E27FC236}">
                  <a16:creationId xmlns:a16="http://schemas.microsoft.com/office/drawing/2014/main" id="{69D41469-247B-404C-BD51-323EC849A678}"/>
                </a:ext>
              </a:extLst>
            </p:cNvPr>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0" name="Freeform 245">
              <a:extLst>
                <a:ext uri="{FF2B5EF4-FFF2-40B4-BE49-F238E27FC236}">
                  <a16:creationId xmlns:a16="http://schemas.microsoft.com/office/drawing/2014/main" id="{8799B3D3-8B7C-4F4C-9B2D-DB774735AF65}"/>
                </a:ext>
              </a:extLst>
            </p:cNvPr>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21" name="TextBox 520">
            <a:extLst>
              <a:ext uri="{FF2B5EF4-FFF2-40B4-BE49-F238E27FC236}">
                <a16:creationId xmlns:a16="http://schemas.microsoft.com/office/drawing/2014/main" id="{FE9C6224-7933-4D01-8DC2-5EF7EDA0C747}"/>
              </a:ext>
            </a:extLst>
          </p:cNvPr>
          <p:cNvSpPr txBox="1"/>
          <p:nvPr/>
        </p:nvSpPr>
        <p:spPr>
          <a:xfrm>
            <a:off x="9152801" y="211323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e truck</a:t>
            </a:r>
          </a:p>
        </p:txBody>
      </p:sp>
      <p:sp>
        <p:nvSpPr>
          <p:cNvPr id="532" name="Freeform 819">
            <a:extLst>
              <a:ext uri="{FF2B5EF4-FFF2-40B4-BE49-F238E27FC236}">
                <a16:creationId xmlns:a16="http://schemas.microsoft.com/office/drawing/2014/main" id="{73499546-F8FF-4032-B792-93173FBBD1D8}"/>
              </a:ext>
            </a:extLst>
          </p:cNvPr>
          <p:cNvSpPr>
            <a:spLocks noChangeAspect="1" noEditPoints="1"/>
          </p:cNvSpPr>
          <p:nvPr/>
        </p:nvSpPr>
        <p:spPr bwMode="auto">
          <a:xfrm>
            <a:off x="9157015" y="1700213"/>
            <a:ext cx="367631" cy="367631"/>
          </a:xfrm>
          <a:custGeom>
            <a:avLst/>
            <a:gdLst>
              <a:gd name="T0" fmla="*/ 309 w 512"/>
              <a:gd name="T1" fmla="*/ 181 h 512"/>
              <a:gd name="T2" fmla="*/ 190 w 512"/>
              <a:gd name="T3" fmla="*/ 330 h 512"/>
              <a:gd name="T4" fmla="*/ 130 w 512"/>
              <a:gd name="T5" fmla="*/ 330 h 512"/>
              <a:gd name="T6" fmla="*/ 117 w 512"/>
              <a:gd name="T7" fmla="*/ 266 h 512"/>
              <a:gd name="T8" fmla="*/ 298 w 512"/>
              <a:gd name="T9" fmla="*/ 256 h 512"/>
              <a:gd name="T10" fmla="*/ 288 w 512"/>
              <a:gd name="T11" fmla="*/ 224 h 512"/>
              <a:gd name="T12" fmla="*/ 288 w 512"/>
              <a:gd name="T13" fmla="*/ 202 h 512"/>
              <a:gd name="T14" fmla="*/ 117 w 512"/>
              <a:gd name="T15" fmla="*/ 181 h 512"/>
              <a:gd name="T16" fmla="*/ 160 w 512"/>
              <a:gd name="T17" fmla="*/ 245 h 512"/>
              <a:gd name="T18" fmla="*/ 181 w 512"/>
              <a:gd name="T19" fmla="*/ 224 h 512"/>
              <a:gd name="T20" fmla="*/ 160 w 512"/>
              <a:gd name="T21" fmla="*/ 330 h 512"/>
              <a:gd name="T22" fmla="*/ 160 w 512"/>
              <a:gd name="T23" fmla="*/ 352 h 512"/>
              <a:gd name="T24" fmla="*/ 160 w 512"/>
              <a:gd name="T25" fmla="*/ 330 h 512"/>
              <a:gd name="T26" fmla="*/ 202 w 512"/>
              <a:gd name="T27" fmla="*/ 245 h 512"/>
              <a:gd name="T28" fmla="*/ 224 w 512"/>
              <a:gd name="T29" fmla="*/ 224 h 512"/>
              <a:gd name="T30" fmla="*/ 138 w 512"/>
              <a:gd name="T31" fmla="*/ 224 h 512"/>
              <a:gd name="T32" fmla="*/ 117 w 512"/>
              <a:gd name="T33" fmla="*/ 245 h 512"/>
              <a:gd name="T34" fmla="*/ 138 w 512"/>
              <a:gd name="T35" fmla="*/ 224 h 512"/>
              <a:gd name="T36" fmla="*/ 266 w 512"/>
              <a:gd name="T37" fmla="*/ 160 h 512"/>
              <a:gd name="T38" fmla="*/ 277 w 512"/>
              <a:gd name="T39" fmla="*/ 149 h 512"/>
              <a:gd name="T40" fmla="*/ 330 w 512"/>
              <a:gd name="T41" fmla="*/ 245 h 512"/>
              <a:gd name="T42" fmla="*/ 341 w 512"/>
              <a:gd name="T43" fmla="*/ 309 h 512"/>
              <a:gd name="T44" fmla="*/ 394 w 512"/>
              <a:gd name="T45" fmla="*/ 330 h 512"/>
              <a:gd name="T46" fmla="*/ 384 w 512"/>
              <a:gd name="T47" fmla="*/ 245 h 512"/>
              <a:gd name="T48" fmla="*/ 256 w 512"/>
              <a:gd name="T49" fmla="*/ 512 h 512"/>
              <a:gd name="T50" fmla="*/ 256 w 512"/>
              <a:gd name="T51" fmla="*/ 0 h 512"/>
              <a:gd name="T52" fmla="*/ 416 w 512"/>
              <a:gd name="T53" fmla="*/ 256 h 512"/>
              <a:gd name="T54" fmla="*/ 330 w 512"/>
              <a:gd name="T55" fmla="*/ 224 h 512"/>
              <a:gd name="T56" fmla="*/ 320 w 512"/>
              <a:gd name="T57" fmla="*/ 160 h 512"/>
              <a:gd name="T58" fmla="*/ 277 w 512"/>
              <a:gd name="T59" fmla="*/ 128 h 512"/>
              <a:gd name="T60" fmla="*/ 106 w 512"/>
              <a:gd name="T61" fmla="*/ 160 h 512"/>
              <a:gd name="T62" fmla="*/ 96 w 512"/>
              <a:gd name="T63" fmla="*/ 202 h 512"/>
              <a:gd name="T64" fmla="*/ 74 w 512"/>
              <a:gd name="T65" fmla="*/ 213 h 512"/>
              <a:gd name="T66" fmla="*/ 96 w 512"/>
              <a:gd name="T67" fmla="*/ 224 h 512"/>
              <a:gd name="T68" fmla="*/ 85 w 512"/>
              <a:gd name="T69" fmla="*/ 245 h 512"/>
              <a:gd name="T70" fmla="*/ 85 w 512"/>
              <a:gd name="T71" fmla="*/ 266 h 512"/>
              <a:gd name="T72" fmla="*/ 96 w 512"/>
              <a:gd name="T73" fmla="*/ 341 h 512"/>
              <a:gd name="T74" fmla="*/ 130 w 512"/>
              <a:gd name="T75" fmla="*/ 352 h 512"/>
              <a:gd name="T76" fmla="*/ 190 w 512"/>
              <a:gd name="T77" fmla="*/ 352 h 512"/>
              <a:gd name="T78" fmla="*/ 341 w 512"/>
              <a:gd name="T79" fmla="*/ 373 h 512"/>
              <a:gd name="T80" fmla="*/ 405 w 512"/>
              <a:gd name="T81" fmla="*/ 352 h 512"/>
              <a:gd name="T82" fmla="*/ 416 w 512"/>
              <a:gd name="T83" fmla="*/ 256 h 512"/>
              <a:gd name="T84" fmla="*/ 330 w 512"/>
              <a:gd name="T85" fmla="*/ 341 h 512"/>
              <a:gd name="T86" fmla="*/ 352 w 512"/>
              <a:gd name="T87" fmla="*/ 341 h 512"/>
              <a:gd name="T88" fmla="*/ 245 w 512"/>
              <a:gd name="T89" fmla="*/ 224 h 512"/>
              <a:gd name="T90" fmla="*/ 266 w 512"/>
              <a:gd name="T91" fmla="*/ 245 h 512"/>
              <a:gd name="T92" fmla="*/ 245 w 512"/>
              <a:gd name="T9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117" y="181"/>
                </a:moveTo>
                <a:cubicBezTo>
                  <a:pt x="309" y="181"/>
                  <a:pt x="309" y="181"/>
                  <a:pt x="309" y="181"/>
                </a:cubicBezTo>
                <a:cubicBezTo>
                  <a:pt x="309" y="330"/>
                  <a:pt x="309" y="330"/>
                  <a:pt x="309" y="330"/>
                </a:cubicBezTo>
                <a:cubicBezTo>
                  <a:pt x="190" y="330"/>
                  <a:pt x="190" y="330"/>
                  <a:pt x="190" y="330"/>
                </a:cubicBezTo>
                <a:cubicBezTo>
                  <a:pt x="185" y="318"/>
                  <a:pt x="174" y="309"/>
                  <a:pt x="160" y="309"/>
                </a:cubicBezTo>
                <a:cubicBezTo>
                  <a:pt x="146" y="309"/>
                  <a:pt x="134" y="318"/>
                  <a:pt x="130" y="330"/>
                </a:cubicBezTo>
                <a:cubicBezTo>
                  <a:pt x="117" y="330"/>
                  <a:pt x="117" y="330"/>
                  <a:pt x="117" y="330"/>
                </a:cubicBezTo>
                <a:cubicBezTo>
                  <a:pt x="117" y="266"/>
                  <a:pt x="117" y="266"/>
                  <a:pt x="117" y="266"/>
                </a:cubicBezTo>
                <a:cubicBezTo>
                  <a:pt x="288" y="266"/>
                  <a:pt x="288" y="266"/>
                  <a:pt x="288" y="266"/>
                </a:cubicBezTo>
                <a:cubicBezTo>
                  <a:pt x="294" y="266"/>
                  <a:pt x="298" y="262"/>
                  <a:pt x="298" y="256"/>
                </a:cubicBezTo>
                <a:cubicBezTo>
                  <a:pt x="298" y="250"/>
                  <a:pt x="293" y="245"/>
                  <a:pt x="288" y="245"/>
                </a:cubicBezTo>
                <a:cubicBezTo>
                  <a:pt x="288" y="224"/>
                  <a:pt x="288" y="224"/>
                  <a:pt x="288" y="224"/>
                </a:cubicBezTo>
                <a:cubicBezTo>
                  <a:pt x="293" y="224"/>
                  <a:pt x="298" y="219"/>
                  <a:pt x="298" y="213"/>
                </a:cubicBezTo>
                <a:cubicBezTo>
                  <a:pt x="298" y="207"/>
                  <a:pt x="294" y="202"/>
                  <a:pt x="288" y="202"/>
                </a:cubicBezTo>
                <a:cubicBezTo>
                  <a:pt x="117" y="202"/>
                  <a:pt x="117" y="202"/>
                  <a:pt x="117" y="202"/>
                </a:cubicBezTo>
                <a:lnTo>
                  <a:pt x="117" y="181"/>
                </a:lnTo>
                <a:close/>
                <a:moveTo>
                  <a:pt x="160" y="224"/>
                </a:moveTo>
                <a:cubicBezTo>
                  <a:pt x="160" y="245"/>
                  <a:pt x="160" y="245"/>
                  <a:pt x="160" y="245"/>
                </a:cubicBezTo>
                <a:cubicBezTo>
                  <a:pt x="181" y="245"/>
                  <a:pt x="181" y="245"/>
                  <a:pt x="181" y="245"/>
                </a:cubicBezTo>
                <a:cubicBezTo>
                  <a:pt x="181" y="224"/>
                  <a:pt x="181" y="224"/>
                  <a:pt x="181" y="224"/>
                </a:cubicBezTo>
                <a:lnTo>
                  <a:pt x="160" y="224"/>
                </a:lnTo>
                <a:close/>
                <a:moveTo>
                  <a:pt x="160" y="330"/>
                </a:moveTo>
                <a:cubicBezTo>
                  <a:pt x="154" y="330"/>
                  <a:pt x="149" y="335"/>
                  <a:pt x="149" y="341"/>
                </a:cubicBezTo>
                <a:cubicBezTo>
                  <a:pt x="149" y="347"/>
                  <a:pt x="154" y="352"/>
                  <a:pt x="160" y="352"/>
                </a:cubicBezTo>
                <a:cubicBezTo>
                  <a:pt x="166" y="352"/>
                  <a:pt x="170" y="347"/>
                  <a:pt x="170" y="341"/>
                </a:cubicBezTo>
                <a:cubicBezTo>
                  <a:pt x="170" y="335"/>
                  <a:pt x="166" y="330"/>
                  <a:pt x="160" y="330"/>
                </a:cubicBezTo>
                <a:close/>
                <a:moveTo>
                  <a:pt x="202" y="224"/>
                </a:moveTo>
                <a:cubicBezTo>
                  <a:pt x="202" y="245"/>
                  <a:pt x="202" y="245"/>
                  <a:pt x="202" y="245"/>
                </a:cubicBezTo>
                <a:cubicBezTo>
                  <a:pt x="224" y="245"/>
                  <a:pt x="224" y="245"/>
                  <a:pt x="224" y="245"/>
                </a:cubicBezTo>
                <a:cubicBezTo>
                  <a:pt x="224" y="224"/>
                  <a:pt x="224" y="224"/>
                  <a:pt x="224" y="224"/>
                </a:cubicBezTo>
                <a:lnTo>
                  <a:pt x="202" y="224"/>
                </a:lnTo>
                <a:close/>
                <a:moveTo>
                  <a:pt x="138" y="224"/>
                </a:moveTo>
                <a:cubicBezTo>
                  <a:pt x="117" y="224"/>
                  <a:pt x="117" y="224"/>
                  <a:pt x="117" y="224"/>
                </a:cubicBezTo>
                <a:cubicBezTo>
                  <a:pt x="117" y="245"/>
                  <a:pt x="117" y="245"/>
                  <a:pt x="117" y="245"/>
                </a:cubicBezTo>
                <a:cubicBezTo>
                  <a:pt x="138" y="245"/>
                  <a:pt x="138" y="245"/>
                  <a:pt x="138" y="245"/>
                </a:cubicBezTo>
                <a:lnTo>
                  <a:pt x="138" y="224"/>
                </a:lnTo>
                <a:close/>
                <a:moveTo>
                  <a:pt x="277" y="149"/>
                </a:moveTo>
                <a:cubicBezTo>
                  <a:pt x="271" y="149"/>
                  <a:pt x="266" y="154"/>
                  <a:pt x="266" y="160"/>
                </a:cubicBezTo>
                <a:cubicBezTo>
                  <a:pt x="288" y="160"/>
                  <a:pt x="288" y="160"/>
                  <a:pt x="288" y="160"/>
                </a:cubicBezTo>
                <a:cubicBezTo>
                  <a:pt x="288" y="154"/>
                  <a:pt x="283" y="149"/>
                  <a:pt x="277" y="149"/>
                </a:cubicBezTo>
                <a:close/>
                <a:moveTo>
                  <a:pt x="384" y="245"/>
                </a:moveTo>
                <a:cubicBezTo>
                  <a:pt x="330" y="245"/>
                  <a:pt x="330" y="245"/>
                  <a:pt x="330" y="245"/>
                </a:cubicBezTo>
                <a:cubicBezTo>
                  <a:pt x="330" y="311"/>
                  <a:pt x="330" y="311"/>
                  <a:pt x="330" y="311"/>
                </a:cubicBezTo>
                <a:cubicBezTo>
                  <a:pt x="334" y="310"/>
                  <a:pt x="337" y="309"/>
                  <a:pt x="341" y="309"/>
                </a:cubicBezTo>
                <a:cubicBezTo>
                  <a:pt x="355" y="309"/>
                  <a:pt x="367" y="318"/>
                  <a:pt x="371" y="330"/>
                </a:cubicBezTo>
                <a:cubicBezTo>
                  <a:pt x="394" y="330"/>
                  <a:pt x="394" y="330"/>
                  <a:pt x="394" y="330"/>
                </a:cubicBezTo>
                <a:cubicBezTo>
                  <a:pt x="394" y="256"/>
                  <a:pt x="394" y="256"/>
                  <a:pt x="394" y="256"/>
                </a:cubicBezTo>
                <a:cubicBezTo>
                  <a:pt x="394" y="250"/>
                  <a:pt x="390" y="245"/>
                  <a:pt x="384"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38"/>
                  <a:pt x="401" y="224"/>
                  <a:pt x="384" y="224"/>
                </a:cubicBezTo>
                <a:cubicBezTo>
                  <a:pt x="330" y="224"/>
                  <a:pt x="330" y="224"/>
                  <a:pt x="330" y="224"/>
                </a:cubicBezTo>
                <a:cubicBezTo>
                  <a:pt x="330" y="170"/>
                  <a:pt x="330" y="170"/>
                  <a:pt x="330" y="170"/>
                </a:cubicBezTo>
                <a:cubicBezTo>
                  <a:pt x="330" y="164"/>
                  <a:pt x="326" y="160"/>
                  <a:pt x="320" y="160"/>
                </a:cubicBezTo>
                <a:cubicBezTo>
                  <a:pt x="309" y="160"/>
                  <a:pt x="309" y="160"/>
                  <a:pt x="309" y="160"/>
                </a:cubicBezTo>
                <a:cubicBezTo>
                  <a:pt x="309" y="142"/>
                  <a:pt x="295" y="128"/>
                  <a:pt x="277" y="128"/>
                </a:cubicBezTo>
                <a:cubicBezTo>
                  <a:pt x="259" y="128"/>
                  <a:pt x="245" y="142"/>
                  <a:pt x="245" y="160"/>
                </a:cubicBezTo>
                <a:cubicBezTo>
                  <a:pt x="106" y="160"/>
                  <a:pt x="106" y="160"/>
                  <a:pt x="106" y="160"/>
                </a:cubicBezTo>
                <a:cubicBezTo>
                  <a:pt x="100" y="160"/>
                  <a:pt x="96" y="164"/>
                  <a:pt x="96" y="170"/>
                </a:cubicBezTo>
                <a:cubicBezTo>
                  <a:pt x="96" y="202"/>
                  <a:pt x="96" y="202"/>
                  <a:pt x="96" y="202"/>
                </a:cubicBezTo>
                <a:cubicBezTo>
                  <a:pt x="85" y="202"/>
                  <a:pt x="85" y="202"/>
                  <a:pt x="85" y="202"/>
                </a:cubicBezTo>
                <a:cubicBezTo>
                  <a:pt x="79" y="202"/>
                  <a:pt x="74" y="207"/>
                  <a:pt x="74" y="213"/>
                </a:cubicBezTo>
                <a:cubicBezTo>
                  <a:pt x="74" y="219"/>
                  <a:pt x="79" y="224"/>
                  <a:pt x="85" y="224"/>
                </a:cubicBezTo>
                <a:cubicBezTo>
                  <a:pt x="96" y="224"/>
                  <a:pt x="96" y="224"/>
                  <a:pt x="96" y="224"/>
                </a:cubicBezTo>
                <a:cubicBezTo>
                  <a:pt x="96" y="245"/>
                  <a:pt x="96" y="245"/>
                  <a:pt x="96" y="245"/>
                </a:cubicBezTo>
                <a:cubicBezTo>
                  <a:pt x="85" y="245"/>
                  <a:pt x="85" y="245"/>
                  <a:pt x="85" y="245"/>
                </a:cubicBezTo>
                <a:cubicBezTo>
                  <a:pt x="79" y="245"/>
                  <a:pt x="74" y="250"/>
                  <a:pt x="74" y="256"/>
                </a:cubicBezTo>
                <a:cubicBezTo>
                  <a:pt x="74" y="262"/>
                  <a:pt x="79" y="266"/>
                  <a:pt x="85" y="266"/>
                </a:cubicBezTo>
                <a:cubicBezTo>
                  <a:pt x="96" y="266"/>
                  <a:pt x="96" y="266"/>
                  <a:pt x="96" y="266"/>
                </a:cubicBezTo>
                <a:cubicBezTo>
                  <a:pt x="96" y="341"/>
                  <a:pt x="96" y="341"/>
                  <a:pt x="96" y="341"/>
                </a:cubicBezTo>
                <a:cubicBezTo>
                  <a:pt x="96" y="347"/>
                  <a:pt x="100" y="352"/>
                  <a:pt x="106" y="352"/>
                </a:cubicBezTo>
                <a:cubicBezTo>
                  <a:pt x="130" y="352"/>
                  <a:pt x="130" y="352"/>
                  <a:pt x="130" y="352"/>
                </a:cubicBezTo>
                <a:cubicBezTo>
                  <a:pt x="134" y="364"/>
                  <a:pt x="146" y="373"/>
                  <a:pt x="160" y="373"/>
                </a:cubicBezTo>
                <a:cubicBezTo>
                  <a:pt x="174" y="373"/>
                  <a:pt x="185" y="364"/>
                  <a:pt x="190" y="352"/>
                </a:cubicBezTo>
                <a:cubicBezTo>
                  <a:pt x="311" y="352"/>
                  <a:pt x="311" y="352"/>
                  <a:pt x="311" y="352"/>
                </a:cubicBezTo>
                <a:cubicBezTo>
                  <a:pt x="315" y="364"/>
                  <a:pt x="327" y="373"/>
                  <a:pt x="341" y="373"/>
                </a:cubicBezTo>
                <a:cubicBezTo>
                  <a:pt x="355" y="373"/>
                  <a:pt x="367" y="364"/>
                  <a:pt x="371" y="352"/>
                </a:cubicBezTo>
                <a:cubicBezTo>
                  <a:pt x="405" y="352"/>
                  <a:pt x="405" y="352"/>
                  <a:pt x="405" y="352"/>
                </a:cubicBezTo>
                <a:cubicBezTo>
                  <a:pt x="411" y="352"/>
                  <a:pt x="416" y="347"/>
                  <a:pt x="416" y="341"/>
                </a:cubicBezTo>
                <a:lnTo>
                  <a:pt x="416" y="256"/>
                </a:lnTo>
                <a:close/>
                <a:moveTo>
                  <a:pt x="341" y="330"/>
                </a:moveTo>
                <a:cubicBezTo>
                  <a:pt x="335" y="330"/>
                  <a:pt x="330" y="335"/>
                  <a:pt x="330" y="341"/>
                </a:cubicBezTo>
                <a:cubicBezTo>
                  <a:pt x="330" y="347"/>
                  <a:pt x="335" y="352"/>
                  <a:pt x="341" y="352"/>
                </a:cubicBezTo>
                <a:cubicBezTo>
                  <a:pt x="347" y="352"/>
                  <a:pt x="352" y="347"/>
                  <a:pt x="352" y="341"/>
                </a:cubicBezTo>
                <a:cubicBezTo>
                  <a:pt x="352" y="335"/>
                  <a:pt x="347" y="330"/>
                  <a:pt x="341" y="330"/>
                </a:cubicBezTo>
                <a:close/>
                <a:moveTo>
                  <a:pt x="245" y="224"/>
                </a:moveTo>
                <a:cubicBezTo>
                  <a:pt x="245" y="245"/>
                  <a:pt x="245" y="245"/>
                  <a:pt x="245" y="245"/>
                </a:cubicBezTo>
                <a:cubicBezTo>
                  <a:pt x="266" y="245"/>
                  <a:pt x="266" y="245"/>
                  <a:pt x="266" y="245"/>
                </a:cubicBezTo>
                <a:cubicBezTo>
                  <a:pt x="266" y="224"/>
                  <a:pt x="266" y="224"/>
                  <a:pt x="266" y="224"/>
                </a:cubicBezTo>
                <a:lnTo>
                  <a:pt x="245" y="2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3" name="Group 822">
            <a:extLst>
              <a:ext uri="{FF2B5EF4-FFF2-40B4-BE49-F238E27FC236}">
                <a16:creationId xmlns:a16="http://schemas.microsoft.com/office/drawing/2014/main" id="{B66F4DCD-BF13-420C-9629-E6E53821101E}"/>
              </a:ext>
            </a:extLst>
          </p:cNvPr>
          <p:cNvGrpSpPr>
            <a:grpSpLocks noChangeAspect="1"/>
          </p:cNvGrpSpPr>
          <p:nvPr/>
        </p:nvGrpSpPr>
        <p:grpSpPr bwMode="auto">
          <a:xfrm>
            <a:off x="9590256" y="1700213"/>
            <a:ext cx="367631" cy="367631"/>
            <a:chOff x="2732" y="3195"/>
            <a:chExt cx="340" cy="340"/>
          </a:xfrm>
          <a:solidFill>
            <a:schemeClr val="accent3"/>
          </a:solidFill>
        </p:grpSpPr>
        <p:sp>
          <p:nvSpPr>
            <p:cNvPr id="534" name="Freeform 823">
              <a:extLst>
                <a:ext uri="{FF2B5EF4-FFF2-40B4-BE49-F238E27FC236}">
                  <a16:creationId xmlns:a16="http://schemas.microsoft.com/office/drawing/2014/main" id="{0FB6AD99-8DE8-4AA8-865C-51461ED0587D}"/>
                </a:ext>
              </a:extLst>
            </p:cNvPr>
            <p:cNvSpPr>
              <a:spLocks noEditPoints="1"/>
            </p:cNvSpPr>
            <p:nvPr/>
          </p:nvSpPr>
          <p:spPr bwMode="auto">
            <a:xfrm>
              <a:off x="2732" y="31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5" name="Freeform 824">
              <a:extLst>
                <a:ext uri="{FF2B5EF4-FFF2-40B4-BE49-F238E27FC236}">
                  <a16:creationId xmlns:a16="http://schemas.microsoft.com/office/drawing/2014/main" id="{5452A852-EE33-4B6D-9B96-DA3A53422E7C}"/>
                </a:ext>
              </a:extLst>
            </p:cNvPr>
            <p:cNvSpPr>
              <a:spLocks noEditPoints="1"/>
            </p:cNvSpPr>
            <p:nvPr/>
          </p:nvSpPr>
          <p:spPr bwMode="auto">
            <a:xfrm>
              <a:off x="2781" y="3280"/>
              <a:ext cx="227" cy="163"/>
            </a:xfrm>
            <a:custGeom>
              <a:avLst/>
              <a:gdLst>
                <a:gd name="T0" fmla="*/ 256 w 342"/>
                <a:gd name="T1" fmla="*/ 96 h 245"/>
                <a:gd name="T2" fmla="*/ 246 w 342"/>
                <a:gd name="T3" fmla="*/ 32 h 245"/>
                <a:gd name="T4" fmla="*/ 203 w 342"/>
                <a:gd name="T5" fmla="*/ 0 h 245"/>
                <a:gd name="T6" fmla="*/ 32 w 342"/>
                <a:gd name="T7" fmla="*/ 32 h 245"/>
                <a:gd name="T8" fmla="*/ 22 w 342"/>
                <a:gd name="T9" fmla="*/ 74 h 245"/>
                <a:gd name="T10" fmla="*/ 0 w 342"/>
                <a:gd name="T11" fmla="*/ 85 h 245"/>
                <a:gd name="T12" fmla="*/ 22 w 342"/>
                <a:gd name="T13" fmla="*/ 96 h 245"/>
                <a:gd name="T14" fmla="*/ 11 w 342"/>
                <a:gd name="T15" fmla="*/ 117 h 245"/>
                <a:gd name="T16" fmla="*/ 11 w 342"/>
                <a:gd name="T17" fmla="*/ 138 h 245"/>
                <a:gd name="T18" fmla="*/ 22 w 342"/>
                <a:gd name="T19" fmla="*/ 213 h 245"/>
                <a:gd name="T20" fmla="*/ 56 w 342"/>
                <a:gd name="T21" fmla="*/ 224 h 245"/>
                <a:gd name="T22" fmla="*/ 116 w 342"/>
                <a:gd name="T23" fmla="*/ 224 h 245"/>
                <a:gd name="T24" fmla="*/ 267 w 342"/>
                <a:gd name="T25" fmla="*/ 245 h 245"/>
                <a:gd name="T26" fmla="*/ 331 w 342"/>
                <a:gd name="T27" fmla="*/ 224 h 245"/>
                <a:gd name="T28" fmla="*/ 342 w 342"/>
                <a:gd name="T29" fmla="*/ 128 h 245"/>
                <a:gd name="T30" fmla="*/ 203 w 342"/>
                <a:gd name="T31" fmla="*/ 21 h 245"/>
                <a:gd name="T32" fmla="*/ 192 w 342"/>
                <a:gd name="T33" fmla="*/ 32 h 245"/>
                <a:gd name="T34" fmla="*/ 43 w 342"/>
                <a:gd name="T35" fmla="*/ 96 h 245"/>
                <a:gd name="T36" fmla="*/ 64 w 342"/>
                <a:gd name="T37" fmla="*/ 117 h 245"/>
                <a:gd name="T38" fmla="*/ 43 w 342"/>
                <a:gd name="T39" fmla="*/ 96 h 245"/>
                <a:gd name="T40" fmla="*/ 107 w 342"/>
                <a:gd name="T41" fmla="*/ 117 h 245"/>
                <a:gd name="T42" fmla="*/ 86 w 342"/>
                <a:gd name="T43" fmla="*/ 96 h 245"/>
                <a:gd name="T44" fmla="*/ 150 w 342"/>
                <a:gd name="T45" fmla="*/ 96 h 245"/>
                <a:gd name="T46" fmla="*/ 128 w 342"/>
                <a:gd name="T47" fmla="*/ 117 h 245"/>
                <a:gd name="T48" fmla="*/ 150 w 342"/>
                <a:gd name="T49" fmla="*/ 96 h 245"/>
                <a:gd name="T50" fmla="*/ 192 w 342"/>
                <a:gd name="T51" fmla="*/ 117 h 245"/>
                <a:gd name="T52" fmla="*/ 171 w 342"/>
                <a:gd name="T53" fmla="*/ 96 h 245"/>
                <a:gd name="T54" fmla="*/ 43 w 342"/>
                <a:gd name="T55" fmla="*/ 138 h 245"/>
                <a:gd name="T56" fmla="*/ 224 w 342"/>
                <a:gd name="T57" fmla="*/ 128 h 245"/>
                <a:gd name="T58" fmla="*/ 214 w 342"/>
                <a:gd name="T59" fmla="*/ 96 h 245"/>
                <a:gd name="T60" fmla="*/ 214 w 342"/>
                <a:gd name="T61" fmla="*/ 74 h 245"/>
                <a:gd name="T62" fmla="*/ 43 w 342"/>
                <a:gd name="T63" fmla="*/ 53 h 245"/>
                <a:gd name="T64" fmla="*/ 235 w 342"/>
                <a:gd name="T65" fmla="*/ 202 h 245"/>
                <a:gd name="T66" fmla="*/ 86 w 342"/>
                <a:gd name="T67" fmla="*/ 181 h 245"/>
                <a:gd name="T68" fmla="*/ 43 w 342"/>
                <a:gd name="T69" fmla="*/ 202 h 245"/>
                <a:gd name="T70" fmla="*/ 86 w 342"/>
                <a:gd name="T71" fmla="*/ 224 h 245"/>
                <a:gd name="T72" fmla="*/ 86 w 342"/>
                <a:gd name="T73" fmla="*/ 202 h 245"/>
                <a:gd name="T74" fmla="*/ 86 w 342"/>
                <a:gd name="T75" fmla="*/ 224 h 245"/>
                <a:gd name="T76" fmla="*/ 256 w 342"/>
                <a:gd name="T77" fmla="*/ 213 h 245"/>
                <a:gd name="T78" fmla="*/ 278 w 342"/>
                <a:gd name="T79" fmla="*/ 213 h 245"/>
                <a:gd name="T80" fmla="*/ 320 w 342"/>
                <a:gd name="T81" fmla="*/ 202 h 245"/>
                <a:gd name="T82" fmla="*/ 267 w 342"/>
                <a:gd name="T83" fmla="*/ 181 h 245"/>
                <a:gd name="T84" fmla="*/ 256 w 342"/>
                <a:gd name="T85" fmla="*/ 117 h 245"/>
                <a:gd name="T86" fmla="*/ 320 w 342"/>
                <a:gd name="T87" fmla="*/ 12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2" h="245">
                  <a:moveTo>
                    <a:pt x="310" y="96"/>
                  </a:moveTo>
                  <a:cubicBezTo>
                    <a:pt x="256" y="96"/>
                    <a:pt x="256" y="96"/>
                    <a:pt x="256" y="96"/>
                  </a:cubicBezTo>
                  <a:cubicBezTo>
                    <a:pt x="256" y="42"/>
                    <a:pt x="256" y="42"/>
                    <a:pt x="256" y="42"/>
                  </a:cubicBezTo>
                  <a:cubicBezTo>
                    <a:pt x="256" y="36"/>
                    <a:pt x="252" y="32"/>
                    <a:pt x="246" y="32"/>
                  </a:cubicBezTo>
                  <a:cubicBezTo>
                    <a:pt x="235" y="32"/>
                    <a:pt x="235" y="32"/>
                    <a:pt x="235" y="32"/>
                  </a:cubicBezTo>
                  <a:cubicBezTo>
                    <a:pt x="235" y="14"/>
                    <a:pt x="221" y="0"/>
                    <a:pt x="203" y="0"/>
                  </a:cubicBezTo>
                  <a:cubicBezTo>
                    <a:pt x="185" y="0"/>
                    <a:pt x="171" y="14"/>
                    <a:pt x="171" y="32"/>
                  </a:cubicBezTo>
                  <a:cubicBezTo>
                    <a:pt x="32" y="32"/>
                    <a:pt x="32" y="32"/>
                    <a:pt x="32" y="32"/>
                  </a:cubicBezTo>
                  <a:cubicBezTo>
                    <a:pt x="26" y="32"/>
                    <a:pt x="22" y="36"/>
                    <a:pt x="22" y="42"/>
                  </a:cubicBezTo>
                  <a:cubicBezTo>
                    <a:pt x="22" y="74"/>
                    <a:pt x="22" y="74"/>
                    <a:pt x="22" y="74"/>
                  </a:cubicBezTo>
                  <a:cubicBezTo>
                    <a:pt x="11" y="74"/>
                    <a:pt x="11" y="74"/>
                    <a:pt x="11" y="74"/>
                  </a:cubicBezTo>
                  <a:cubicBezTo>
                    <a:pt x="5" y="74"/>
                    <a:pt x="0" y="79"/>
                    <a:pt x="0" y="85"/>
                  </a:cubicBezTo>
                  <a:cubicBezTo>
                    <a:pt x="0" y="91"/>
                    <a:pt x="5" y="96"/>
                    <a:pt x="11" y="96"/>
                  </a:cubicBezTo>
                  <a:cubicBezTo>
                    <a:pt x="22" y="96"/>
                    <a:pt x="22" y="96"/>
                    <a:pt x="22" y="96"/>
                  </a:cubicBezTo>
                  <a:cubicBezTo>
                    <a:pt x="22" y="117"/>
                    <a:pt x="22" y="117"/>
                    <a:pt x="22" y="117"/>
                  </a:cubicBezTo>
                  <a:cubicBezTo>
                    <a:pt x="11" y="117"/>
                    <a:pt x="11" y="117"/>
                    <a:pt x="11" y="117"/>
                  </a:cubicBezTo>
                  <a:cubicBezTo>
                    <a:pt x="5" y="117"/>
                    <a:pt x="0" y="122"/>
                    <a:pt x="0" y="128"/>
                  </a:cubicBezTo>
                  <a:cubicBezTo>
                    <a:pt x="0" y="134"/>
                    <a:pt x="5" y="138"/>
                    <a:pt x="11" y="138"/>
                  </a:cubicBezTo>
                  <a:cubicBezTo>
                    <a:pt x="22" y="138"/>
                    <a:pt x="22" y="138"/>
                    <a:pt x="22" y="138"/>
                  </a:cubicBezTo>
                  <a:cubicBezTo>
                    <a:pt x="22" y="213"/>
                    <a:pt x="22" y="213"/>
                    <a:pt x="22" y="213"/>
                  </a:cubicBezTo>
                  <a:cubicBezTo>
                    <a:pt x="22" y="219"/>
                    <a:pt x="26" y="224"/>
                    <a:pt x="32" y="224"/>
                  </a:cubicBezTo>
                  <a:cubicBezTo>
                    <a:pt x="56" y="224"/>
                    <a:pt x="56" y="224"/>
                    <a:pt x="56" y="224"/>
                  </a:cubicBezTo>
                  <a:cubicBezTo>
                    <a:pt x="60" y="236"/>
                    <a:pt x="72" y="245"/>
                    <a:pt x="86" y="245"/>
                  </a:cubicBezTo>
                  <a:cubicBezTo>
                    <a:pt x="100" y="245"/>
                    <a:pt x="111" y="236"/>
                    <a:pt x="116" y="224"/>
                  </a:cubicBezTo>
                  <a:cubicBezTo>
                    <a:pt x="237" y="224"/>
                    <a:pt x="237" y="224"/>
                    <a:pt x="237" y="224"/>
                  </a:cubicBezTo>
                  <a:cubicBezTo>
                    <a:pt x="241" y="236"/>
                    <a:pt x="253" y="245"/>
                    <a:pt x="267" y="245"/>
                  </a:cubicBezTo>
                  <a:cubicBezTo>
                    <a:pt x="281" y="245"/>
                    <a:pt x="293" y="236"/>
                    <a:pt x="297" y="224"/>
                  </a:cubicBezTo>
                  <a:cubicBezTo>
                    <a:pt x="331" y="224"/>
                    <a:pt x="331" y="224"/>
                    <a:pt x="331" y="224"/>
                  </a:cubicBezTo>
                  <a:cubicBezTo>
                    <a:pt x="337" y="224"/>
                    <a:pt x="342" y="219"/>
                    <a:pt x="342" y="213"/>
                  </a:cubicBezTo>
                  <a:cubicBezTo>
                    <a:pt x="342" y="128"/>
                    <a:pt x="342" y="128"/>
                    <a:pt x="342" y="128"/>
                  </a:cubicBezTo>
                  <a:cubicBezTo>
                    <a:pt x="342" y="110"/>
                    <a:pt x="327" y="96"/>
                    <a:pt x="310" y="96"/>
                  </a:cubicBezTo>
                  <a:close/>
                  <a:moveTo>
                    <a:pt x="203" y="21"/>
                  </a:moveTo>
                  <a:cubicBezTo>
                    <a:pt x="209" y="21"/>
                    <a:pt x="214" y="26"/>
                    <a:pt x="214" y="32"/>
                  </a:cubicBezTo>
                  <a:cubicBezTo>
                    <a:pt x="192" y="32"/>
                    <a:pt x="192" y="32"/>
                    <a:pt x="192" y="32"/>
                  </a:cubicBezTo>
                  <a:cubicBezTo>
                    <a:pt x="192" y="26"/>
                    <a:pt x="197" y="21"/>
                    <a:pt x="203" y="21"/>
                  </a:cubicBezTo>
                  <a:close/>
                  <a:moveTo>
                    <a:pt x="43" y="96"/>
                  </a:moveTo>
                  <a:cubicBezTo>
                    <a:pt x="64" y="96"/>
                    <a:pt x="64" y="96"/>
                    <a:pt x="64" y="96"/>
                  </a:cubicBezTo>
                  <a:cubicBezTo>
                    <a:pt x="64" y="117"/>
                    <a:pt x="64" y="117"/>
                    <a:pt x="64" y="117"/>
                  </a:cubicBezTo>
                  <a:cubicBezTo>
                    <a:pt x="43" y="117"/>
                    <a:pt x="43" y="117"/>
                    <a:pt x="43" y="117"/>
                  </a:cubicBezTo>
                  <a:lnTo>
                    <a:pt x="43" y="96"/>
                  </a:lnTo>
                  <a:close/>
                  <a:moveTo>
                    <a:pt x="107" y="96"/>
                  </a:moveTo>
                  <a:cubicBezTo>
                    <a:pt x="107" y="117"/>
                    <a:pt x="107" y="117"/>
                    <a:pt x="107" y="117"/>
                  </a:cubicBezTo>
                  <a:cubicBezTo>
                    <a:pt x="86" y="117"/>
                    <a:pt x="86" y="117"/>
                    <a:pt x="86" y="117"/>
                  </a:cubicBezTo>
                  <a:cubicBezTo>
                    <a:pt x="86" y="96"/>
                    <a:pt x="86" y="96"/>
                    <a:pt x="86" y="96"/>
                  </a:cubicBezTo>
                  <a:lnTo>
                    <a:pt x="107" y="96"/>
                  </a:lnTo>
                  <a:close/>
                  <a:moveTo>
                    <a:pt x="150" y="96"/>
                  </a:moveTo>
                  <a:cubicBezTo>
                    <a:pt x="150" y="117"/>
                    <a:pt x="150" y="117"/>
                    <a:pt x="150" y="117"/>
                  </a:cubicBezTo>
                  <a:cubicBezTo>
                    <a:pt x="128" y="117"/>
                    <a:pt x="128" y="117"/>
                    <a:pt x="128" y="117"/>
                  </a:cubicBezTo>
                  <a:cubicBezTo>
                    <a:pt x="128" y="96"/>
                    <a:pt x="128" y="96"/>
                    <a:pt x="128" y="96"/>
                  </a:cubicBezTo>
                  <a:lnTo>
                    <a:pt x="150" y="96"/>
                  </a:lnTo>
                  <a:close/>
                  <a:moveTo>
                    <a:pt x="192" y="96"/>
                  </a:moveTo>
                  <a:cubicBezTo>
                    <a:pt x="192" y="117"/>
                    <a:pt x="192" y="117"/>
                    <a:pt x="192" y="117"/>
                  </a:cubicBezTo>
                  <a:cubicBezTo>
                    <a:pt x="171" y="117"/>
                    <a:pt x="171" y="117"/>
                    <a:pt x="171" y="117"/>
                  </a:cubicBezTo>
                  <a:cubicBezTo>
                    <a:pt x="171" y="96"/>
                    <a:pt x="171" y="96"/>
                    <a:pt x="171" y="96"/>
                  </a:cubicBezTo>
                  <a:lnTo>
                    <a:pt x="192" y="96"/>
                  </a:lnTo>
                  <a:close/>
                  <a:moveTo>
                    <a:pt x="43" y="138"/>
                  </a:moveTo>
                  <a:cubicBezTo>
                    <a:pt x="214" y="138"/>
                    <a:pt x="214" y="138"/>
                    <a:pt x="214" y="138"/>
                  </a:cubicBezTo>
                  <a:cubicBezTo>
                    <a:pt x="220" y="138"/>
                    <a:pt x="224" y="134"/>
                    <a:pt x="224" y="128"/>
                  </a:cubicBezTo>
                  <a:cubicBezTo>
                    <a:pt x="224" y="122"/>
                    <a:pt x="219" y="117"/>
                    <a:pt x="214" y="117"/>
                  </a:cubicBezTo>
                  <a:cubicBezTo>
                    <a:pt x="214" y="96"/>
                    <a:pt x="214" y="96"/>
                    <a:pt x="214" y="96"/>
                  </a:cubicBezTo>
                  <a:cubicBezTo>
                    <a:pt x="219" y="96"/>
                    <a:pt x="224" y="91"/>
                    <a:pt x="224" y="85"/>
                  </a:cubicBezTo>
                  <a:cubicBezTo>
                    <a:pt x="224" y="79"/>
                    <a:pt x="220" y="74"/>
                    <a:pt x="214" y="74"/>
                  </a:cubicBezTo>
                  <a:cubicBezTo>
                    <a:pt x="43" y="74"/>
                    <a:pt x="43" y="74"/>
                    <a:pt x="43" y="74"/>
                  </a:cubicBezTo>
                  <a:cubicBezTo>
                    <a:pt x="43" y="53"/>
                    <a:pt x="43" y="53"/>
                    <a:pt x="43" y="53"/>
                  </a:cubicBezTo>
                  <a:cubicBezTo>
                    <a:pt x="235" y="53"/>
                    <a:pt x="235" y="53"/>
                    <a:pt x="235" y="53"/>
                  </a:cubicBezTo>
                  <a:cubicBezTo>
                    <a:pt x="235" y="202"/>
                    <a:pt x="235" y="202"/>
                    <a:pt x="235" y="202"/>
                  </a:cubicBezTo>
                  <a:cubicBezTo>
                    <a:pt x="116" y="202"/>
                    <a:pt x="116" y="202"/>
                    <a:pt x="116" y="202"/>
                  </a:cubicBezTo>
                  <a:cubicBezTo>
                    <a:pt x="111" y="190"/>
                    <a:pt x="100" y="181"/>
                    <a:pt x="86" y="181"/>
                  </a:cubicBezTo>
                  <a:cubicBezTo>
                    <a:pt x="72" y="181"/>
                    <a:pt x="60" y="190"/>
                    <a:pt x="56" y="202"/>
                  </a:cubicBezTo>
                  <a:cubicBezTo>
                    <a:pt x="43" y="202"/>
                    <a:pt x="43" y="202"/>
                    <a:pt x="43" y="202"/>
                  </a:cubicBezTo>
                  <a:lnTo>
                    <a:pt x="43" y="138"/>
                  </a:lnTo>
                  <a:close/>
                  <a:moveTo>
                    <a:pt x="86" y="224"/>
                  </a:moveTo>
                  <a:cubicBezTo>
                    <a:pt x="80" y="224"/>
                    <a:pt x="75" y="219"/>
                    <a:pt x="75" y="213"/>
                  </a:cubicBezTo>
                  <a:cubicBezTo>
                    <a:pt x="75" y="207"/>
                    <a:pt x="80" y="202"/>
                    <a:pt x="86" y="202"/>
                  </a:cubicBezTo>
                  <a:cubicBezTo>
                    <a:pt x="92" y="202"/>
                    <a:pt x="96" y="207"/>
                    <a:pt x="96" y="213"/>
                  </a:cubicBezTo>
                  <a:cubicBezTo>
                    <a:pt x="96" y="219"/>
                    <a:pt x="92" y="224"/>
                    <a:pt x="86" y="224"/>
                  </a:cubicBezTo>
                  <a:close/>
                  <a:moveTo>
                    <a:pt x="267" y="224"/>
                  </a:moveTo>
                  <a:cubicBezTo>
                    <a:pt x="261" y="224"/>
                    <a:pt x="256" y="219"/>
                    <a:pt x="256" y="213"/>
                  </a:cubicBezTo>
                  <a:cubicBezTo>
                    <a:pt x="256" y="207"/>
                    <a:pt x="261" y="202"/>
                    <a:pt x="267" y="202"/>
                  </a:cubicBezTo>
                  <a:cubicBezTo>
                    <a:pt x="273" y="202"/>
                    <a:pt x="278" y="207"/>
                    <a:pt x="278" y="213"/>
                  </a:cubicBezTo>
                  <a:cubicBezTo>
                    <a:pt x="278" y="219"/>
                    <a:pt x="273" y="224"/>
                    <a:pt x="267" y="224"/>
                  </a:cubicBezTo>
                  <a:close/>
                  <a:moveTo>
                    <a:pt x="320" y="202"/>
                  </a:moveTo>
                  <a:cubicBezTo>
                    <a:pt x="297" y="202"/>
                    <a:pt x="297" y="202"/>
                    <a:pt x="297" y="202"/>
                  </a:cubicBezTo>
                  <a:cubicBezTo>
                    <a:pt x="293" y="190"/>
                    <a:pt x="281" y="181"/>
                    <a:pt x="267" y="181"/>
                  </a:cubicBezTo>
                  <a:cubicBezTo>
                    <a:pt x="263" y="181"/>
                    <a:pt x="260" y="182"/>
                    <a:pt x="256" y="183"/>
                  </a:cubicBezTo>
                  <a:cubicBezTo>
                    <a:pt x="256" y="117"/>
                    <a:pt x="256" y="117"/>
                    <a:pt x="256" y="117"/>
                  </a:cubicBezTo>
                  <a:cubicBezTo>
                    <a:pt x="310" y="117"/>
                    <a:pt x="310" y="117"/>
                    <a:pt x="310" y="117"/>
                  </a:cubicBezTo>
                  <a:cubicBezTo>
                    <a:pt x="316" y="117"/>
                    <a:pt x="320" y="122"/>
                    <a:pt x="320" y="128"/>
                  </a:cubicBezTo>
                  <a:lnTo>
                    <a:pt x="320" y="2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6" name="TextBox 535">
            <a:extLst>
              <a:ext uri="{FF2B5EF4-FFF2-40B4-BE49-F238E27FC236}">
                <a16:creationId xmlns:a16="http://schemas.microsoft.com/office/drawing/2014/main" id="{C4A4B4A2-9F75-4703-976C-56E5B273743C}"/>
              </a:ext>
            </a:extLst>
          </p:cNvPr>
          <p:cNvSpPr txBox="1"/>
          <p:nvPr/>
        </p:nvSpPr>
        <p:spPr>
          <a:xfrm>
            <a:off x="10023102" y="211323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elescope</a:t>
            </a:r>
          </a:p>
        </p:txBody>
      </p:sp>
      <p:grpSp>
        <p:nvGrpSpPr>
          <p:cNvPr id="537" name="Group 423">
            <a:extLst>
              <a:ext uri="{FF2B5EF4-FFF2-40B4-BE49-F238E27FC236}">
                <a16:creationId xmlns:a16="http://schemas.microsoft.com/office/drawing/2014/main" id="{792644B5-C909-48A0-9873-0F4DF3D48372}"/>
              </a:ext>
            </a:extLst>
          </p:cNvPr>
          <p:cNvGrpSpPr>
            <a:grpSpLocks noChangeAspect="1"/>
          </p:cNvGrpSpPr>
          <p:nvPr/>
        </p:nvGrpSpPr>
        <p:grpSpPr bwMode="auto">
          <a:xfrm>
            <a:off x="10458783" y="1700213"/>
            <a:ext cx="369676" cy="369676"/>
            <a:chOff x="4285" y="1550"/>
            <a:chExt cx="340" cy="340"/>
          </a:xfrm>
          <a:solidFill>
            <a:schemeClr val="accent5"/>
          </a:solidFill>
        </p:grpSpPr>
        <p:sp>
          <p:nvSpPr>
            <p:cNvPr id="538" name="Freeform 424">
              <a:extLst>
                <a:ext uri="{FF2B5EF4-FFF2-40B4-BE49-F238E27FC236}">
                  <a16:creationId xmlns:a16="http://schemas.microsoft.com/office/drawing/2014/main" id="{A1ECEA58-3A9C-4CFB-920C-085058293E97}"/>
                </a:ext>
              </a:extLst>
            </p:cNvPr>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9" name="Freeform 425">
              <a:extLst>
                <a:ext uri="{FF2B5EF4-FFF2-40B4-BE49-F238E27FC236}">
                  <a16:creationId xmlns:a16="http://schemas.microsoft.com/office/drawing/2014/main" id="{77A743C1-E423-4FCB-A721-826539AB80BA}"/>
                </a:ext>
              </a:extLst>
            </p:cNvPr>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0" name="Freeform 429">
            <a:extLst>
              <a:ext uri="{FF2B5EF4-FFF2-40B4-BE49-F238E27FC236}">
                <a16:creationId xmlns:a16="http://schemas.microsoft.com/office/drawing/2014/main" id="{1ADAC880-6BE5-4951-A865-D4446FF28E09}"/>
              </a:ext>
            </a:extLst>
          </p:cNvPr>
          <p:cNvSpPr>
            <a:spLocks noChangeAspect="1" noEditPoints="1"/>
          </p:cNvSpPr>
          <p:nvPr/>
        </p:nvSpPr>
        <p:spPr bwMode="auto">
          <a:xfrm>
            <a:off x="10023497" y="1700213"/>
            <a:ext cx="369676" cy="369676"/>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1" name="Freeform 481">
            <a:extLst>
              <a:ext uri="{FF2B5EF4-FFF2-40B4-BE49-F238E27FC236}">
                <a16:creationId xmlns:a16="http://schemas.microsoft.com/office/drawing/2014/main" id="{D01F7F8E-0DD7-4916-83DB-BC46BE69A2ED}"/>
              </a:ext>
            </a:extLst>
          </p:cNvPr>
          <p:cNvSpPr>
            <a:spLocks noChangeAspect="1" noEditPoints="1"/>
          </p:cNvSpPr>
          <p:nvPr/>
        </p:nvSpPr>
        <p:spPr bwMode="auto">
          <a:xfrm>
            <a:off x="1350410" y="3285438"/>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20 h 512"/>
              <a:gd name="T12" fmla="*/ 128 w 512"/>
              <a:gd name="T13" fmla="*/ 320 h 512"/>
              <a:gd name="T14" fmla="*/ 117 w 512"/>
              <a:gd name="T15" fmla="*/ 309 h 512"/>
              <a:gd name="T16" fmla="*/ 128 w 512"/>
              <a:gd name="T17" fmla="*/ 298 h 512"/>
              <a:gd name="T18" fmla="*/ 384 w 512"/>
              <a:gd name="T19" fmla="*/ 298 h 512"/>
              <a:gd name="T20" fmla="*/ 394 w 512"/>
              <a:gd name="T21" fmla="*/ 309 h 512"/>
              <a:gd name="T22" fmla="*/ 384 w 512"/>
              <a:gd name="T23" fmla="*/ 320 h 512"/>
              <a:gd name="T24" fmla="*/ 384 w 512"/>
              <a:gd name="T25" fmla="*/ 213 h 512"/>
              <a:gd name="T26" fmla="*/ 128 w 512"/>
              <a:gd name="T27" fmla="*/ 213 h 512"/>
              <a:gd name="T28" fmla="*/ 117 w 512"/>
              <a:gd name="T29" fmla="*/ 202 h 512"/>
              <a:gd name="T30" fmla="*/ 128 w 512"/>
              <a:gd name="T31" fmla="*/ 192 h 512"/>
              <a:gd name="T32" fmla="*/ 384 w 512"/>
              <a:gd name="T33" fmla="*/ 192 h 512"/>
              <a:gd name="T34" fmla="*/ 394 w 512"/>
              <a:gd name="T35" fmla="*/ 202 h 512"/>
              <a:gd name="T36" fmla="*/ 384 w 512"/>
              <a:gd name="T3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20"/>
                </a:moveTo>
                <a:cubicBezTo>
                  <a:pt x="128" y="320"/>
                  <a:pt x="128" y="320"/>
                  <a:pt x="128" y="320"/>
                </a:cubicBezTo>
                <a:cubicBezTo>
                  <a:pt x="122" y="320"/>
                  <a:pt x="117" y="315"/>
                  <a:pt x="117" y="309"/>
                </a:cubicBezTo>
                <a:cubicBezTo>
                  <a:pt x="117" y="303"/>
                  <a:pt x="122" y="298"/>
                  <a:pt x="128" y="298"/>
                </a:cubicBezTo>
                <a:cubicBezTo>
                  <a:pt x="384" y="298"/>
                  <a:pt x="384" y="298"/>
                  <a:pt x="384" y="298"/>
                </a:cubicBezTo>
                <a:cubicBezTo>
                  <a:pt x="390" y="298"/>
                  <a:pt x="394" y="303"/>
                  <a:pt x="394" y="309"/>
                </a:cubicBezTo>
                <a:cubicBezTo>
                  <a:pt x="394" y="315"/>
                  <a:pt x="390" y="320"/>
                  <a:pt x="384" y="320"/>
                </a:cubicBezTo>
                <a:close/>
                <a:moveTo>
                  <a:pt x="384" y="213"/>
                </a:moveTo>
                <a:cubicBezTo>
                  <a:pt x="128" y="213"/>
                  <a:pt x="128" y="213"/>
                  <a:pt x="128" y="213"/>
                </a:cubicBezTo>
                <a:cubicBezTo>
                  <a:pt x="122" y="213"/>
                  <a:pt x="117" y="208"/>
                  <a:pt x="117" y="202"/>
                </a:cubicBezTo>
                <a:cubicBezTo>
                  <a:pt x="117" y="196"/>
                  <a:pt x="122" y="192"/>
                  <a:pt x="128" y="192"/>
                </a:cubicBezTo>
                <a:cubicBezTo>
                  <a:pt x="384" y="192"/>
                  <a:pt x="384" y="192"/>
                  <a:pt x="384" y="192"/>
                </a:cubicBezTo>
                <a:cubicBezTo>
                  <a:pt x="390" y="192"/>
                  <a:pt x="394" y="196"/>
                  <a:pt x="394" y="202"/>
                </a:cubicBezTo>
                <a:cubicBezTo>
                  <a:pt x="394" y="208"/>
                  <a:pt x="390" y="213"/>
                  <a:pt x="384" y="21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2" name="Group 484">
            <a:extLst>
              <a:ext uri="{FF2B5EF4-FFF2-40B4-BE49-F238E27FC236}">
                <a16:creationId xmlns:a16="http://schemas.microsoft.com/office/drawing/2014/main" id="{3AF90F26-5C32-4293-AB87-9D9AE050D171}"/>
              </a:ext>
            </a:extLst>
          </p:cNvPr>
          <p:cNvGrpSpPr>
            <a:grpSpLocks noChangeAspect="1"/>
          </p:cNvGrpSpPr>
          <p:nvPr/>
        </p:nvGrpSpPr>
        <p:grpSpPr bwMode="auto">
          <a:xfrm>
            <a:off x="1786058" y="3285438"/>
            <a:ext cx="367631" cy="367631"/>
            <a:chOff x="399" y="1990"/>
            <a:chExt cx="340" cy="340"/>
          </a:xfrm>
          <a:solidFill>
            <a:schemeClr val="accent6"/>
          </a:solidFill>
        </p:grpSpPr>
        <p:sp>
          <p:nvSpPr>
            <p:cNvPr id="543" name="Freeform 485">
              <a:extLst>
                <a:ext uri="{FF2B5EF4-FFF2-40B4-BE49-F238E27FC236}">
                  <a16:creationId xmlns:a16="http://schemas.microsoft.com/office/drawing/2014/main" id="{060C33B5-2C0B-4D1E-986D-FB290DBD41C2}"/>
                </a:ext>
              </a:extLst>
            </p:cNvPr>
            <p:cNvSpPr>
              <a:spLocks noEditPoints="1"/>
            </p:cNvSpPr>
            <p:nvPr/>
          </p:nvSpPr>
          <p:spPr bwMode="auto">
            <a:xfrm>
              <a:off x="477" y="2117"/>
              <a:ext cx="184" cy="85"/>
            </a:xfrm>
            <a:custGeom>
              <a:avLst/>
              <a:gdLst>
                <a:gd name="T0" fmla="*/ 277 w 277"/>
                <a:gd name="T1" fmla="*/ 117 h 128"/>
                <a:gd name="T2" fmla="*/ 267 w 277"/>
                <a:gd name="T3" fmla="*/ 128 h 128"/>
                <a:gd name="T4" fmla="*/ 11 w 277"/>
                <a:gd name="T5" fmla="*/ 128 h 128"/>
                <a:gd name="T6" fmla="*/ 0 w 277"/>
                <a:gd name="T7" fmla="*/ 117 h 128"/>
                <a:gd name="T8" fmla="*/ 11 w 277"/>
                <a:gd name="T9" fmla="*/ 106 h 128"/>
                <a:gd name="T10" fmla="*/ 267 w 277"/>
                <a:gd name="T11" fmla="*/ 106 h 128"/>
                <a:gd name="T12" fmla="*/ 277 w 277"/>
                <a:gd name="T13" fmla="*/ 117 h 128"/>
                <a:gd name="T14" fmla="*/ 11 w 277"/>
                <a:gd name="T15" fmla="*/ 21 h 128"/>
                <a:gd name="T16" fmla="*/ 267 w 277"/>
                <a:gd name="T17" fmla="*/ 21 h 128"/>
                <a:gd name="T18" fmla="*/ 277 w 277"/>
                <a:gd name="T19" fmla="*/ 10 h 128"/>
                <a:gd name="T20" fmla="*/ 267 w 277"/>
                <a:gd name="T21" fmla="*/ 0 h 128"/>
                <a:gd name="T22" fmla="*/ 11 w 277"/>
                <a:gd name="T23" fmla="*/ 0 h 128"/>
                <a:gd name="T24" fmla="*/ 0 w 277"/>
                <a:gd name="T25" fmla="*/ 10 h 128"/>
                <a:gd name="T26" fmla="*/ 11 w 277"/>
                <a:gd name="T27" fmla="*/ 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28">
                  <a:moveTo>
                    <a:pt x="277" y="117"/>
                  </a:moveTo>
                  <a:cubicBezTo>
                    <a:pt x="277" y="123"/>
                    <a:pt x="273" y="128"/>
                    <a:pt x="267" y="128"/>
                  </a:cubicBezTo>
                  <a:cubicBezTo>
                    <a:pt x="11" y="128"/>
                    <a:pt x="11" y="128"/>
                    <a:pt x="11" y="128"/>
                  </a:cubicBezTo>
                  <a:cubicBezTo>
                    <a:pt x="5" y="128"/>
                    <a:pt x="0" y="123"/>
                    <a:pt x="0" y="117"/>
                  </a:cubicBezTo>
                  <a:cubicBezTo>
                    <a:pt x="0" y="111"/>
                    <a:pt x="5" y="106"/>
                    <a:pt x="11" y="106"/>
                  </a:cubicBezTo>
                  <a:cubicBezTo>
                    <a:pt x="267" y="106"/>
                    <a:pt x="267" y="106"/>
                    <a:pt x="267" y="106"/>
                  </a:cubicBezTo>
                  <a:cubicBezTo>
                    <a:pt x="273" y="106"/>
                    <a:pt x="277" y="111"/>
                    <a:pt x="277" y="117"/>
                  </a:cubicBezTo>
                  <a:close/>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4" name="Freeform 486">
              <a:extLst>
                <a:ext uri="{FF2B5EF4-FFF2-40B4-BE49-F238E27FC236}">
                  <a16:creationId xmlns:a16="http://schemas.microsoft.com/office/drawing/2014/main" id="{CB344FEE-627F-4C32-B5EB-AD620A8171A9}"/>
                </a:ext>
              </a:extLst>
            </p:cNvPr>
            <p:cNvSpPr>
              <a:spLocks noEditPoints="1"/>
            </p:cNvSpPr>
            <p:nvPr/>
          </p:nvSpPr>
          <p:spPr bwMode="auto">
            <a:xfrm>
              <a:off x="399"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5" name="Freeform 490">
            <a:extLst>
              <a:ext uri="{FF2B5EF4-FFF2-40B4-BE49-F238E27FC236}">
                <a16:creationId xmlns:a16="http://schemas.microsoft.com/office/drawing/2014/main" id="{EC4D8D9E-9AEE-4735-AAF7-FAD9B8CBE89C}"/>
              </a:ext>
            </a:extLst>
          </p:cNvPr>
          <p:cNvSpPr>
            <a:spLocks noChangeAspect="1" noEditPoints="1"/>
          </p:cNvSpPr>
          <p:nvPr/>
        </p:nvSpPr>
        <p:spPr bwMode="auto">
          <a:xfrm>
            <a:off x="2221706" y="3285438"/>
            <a:ext cx="367631" cy="368712"/>
          </a:xfrm>
          <a:custGeom>
            <a:avLst/>
            <a:gdLst>
              <a:gd name="T0" fmla="*/ 314 w 512"/>
              <a:gd name="T1" fmla="*/ 158 h 512"/>
              <a:gd name="T2" fmla="*/ 358 w 512"/>
              <a:gd name="T3" fmla="*/ 202 h 512"/>
              <a:gd name="T4" fmla="*/ 277 w 512"/>
              <a:gd name="T5" fmla="*/ 283 h 512"/>
              <a:gd name="T6" fmla="*/ 233 w 512"/>
              <a:gd name="T7" fmla="*/ 239 h 512"/>
              <a:gd name="T8" fmla="*/ 314 w 512"/>
              <a:gd name="T9" fmla="*/ 158 h 512"/>
              <a:gd name="T10" fmla="*/ 153 w 512"/>
              <a:gd name="T11" fmla="*/ 319 h 512"/>
              <a:gd name="T12" fmla="*/ 185 w 512"/>
              <a:gd name="T13" fmla="*/ 352 h 512"/>
              <a:gd name="T14" fmla="*/ 209 w 512"/>
              <a:gd name="T15" fmla="*/ 352 h 512"/>
              <a:gd name="T16" fmla="*/ 262 w 512"/>
              <a:gd name="T17" fmla="*/ 298 h 512"/>
              <a:gd name="T18" fmla="*/ 218 w 512"/>
              <a:gd name="T19" fmla="*/ 254 h 512"/>
              <a:gd name="T20" fmla="*/ 153 w 512"/>
              <a:gd name="T21" fmla="*/ 31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02 h 512"/>
              <a:gd name="T34" fmla="*/ 381 w 512"/>
              <a:gd name="T35" fmla="*/ 195 h 512"/>
              <a:gd name="T36" fmla="*/ 321 w 512"/>
              <a:gd name="T37" fmla="*/ 136 h 512"/>
              <a:gd name="T38" fmla="*/ 306 w 512"/>
              <a:gd name="T39" fmla="*/ 136 h 512"/>
              <a:gd name="T40" fmla="*/ 131 w 512"/>
              <a:gd name="T41" fmla="*/ 311 h 512"/>
              <a:gd name="T42" fmla="*/ 131 w 512"/>
              <a:gd name="T43" fmla="*/ 326 h 512"/>
              <a:gd name="T44" fmla="*/ 173 w 512"/>
              <a:gd name="T45" fmla="*/ 370 h 512"/>
              <a:gd name="T46" fmla="*/ 173 w 512"/>
              <a:gd name="T47" fmla="*/ 370 h 512"/>
              <a:gd name="T48" fmla="*/ 177 w 512"/>
              <a:gd name="T49" fmla="*/ 372 h 512"/>
              <a:gd name="T50" fmla="*/ 181 w 512"/>
              <a:gd name="T51" fmla="*/ 373 h 512"/>
              <a:gd name="T52" fmla="*/ 213 w 512"/>
              <a:gd name="T53" fmla="*/ 373 h 512"/>
              <a:gd name="T54" fmla="*/ 352 w 512"/>
              <a:gd name="T55" fmla="*/ 373 h 512"/>
              <a:gd name="T56" fmla="*/ 362 w 512"/>
              <a:gd name="T57" fmla="*/ 362 h 512"/>
              <a:gd name="T58" fmla="*/ 352 w 512"/>
              <a:gd name="T59" fmla="*/ 352 h 512"/>
              <a:gd name="T60" fmla="*/ 239 w 512"/>
              <a:gd name="T61" fmla="*/ 352 h 512"/>
              <a:gd name="T62" fmla="*/ 381 w 512"/>
              <a:gd name="T63" fmla="*/ 210 h 512"/>
              <a:gd name="T64" fmla="*/ 384 w 512"/>
              <a:gd name="T6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14" y="158"/>
                </a:moveTo>
                <a:cubicBezTo>
                  <a:pt x="358" y="202"/>
                  <a:pt x="358" y="202"/>
                  <a:pt x="358" y="202"/>
                </a:cubicBezTo>
                <a:cubicBezTo>
                  <a:pt x="277" y="283"/>
                  <a:pt x="277" y="283"/>
                  <a:pt x="277" y="283"/>
                </a:cubicBezTo>
                <a:cubicBezTo>
                  <a:pt x="233" y="239"/>
                  <a:pt x="233" y="239"/>
                  <a:pt x="233" y="239"/>
                </a:cubicBezTo>
                <a:lnTo>
                  <a:pt x="314" y="158"/>
                </a:lnTo>
                <a:close/>
                <a:moveTo>
                  <a:pt x="153" y="319"/>
                </a:moveTo>
                <a:cubicBezTo>
                  <a:pt x="185" y="352"/>
                  <a:pt x="185" y="352"/>
                  <a:pt x="185" y="352"/>
                </a:cubicBezTo>
                <a:cubicBezTo>
                  <a:pt x="209" y="352"/>
                  <a:pt x="209" y="352"/>
                  <a:pt x="209" y="352"/>
                </a:cubicBezTo>
                <a:cubicBezTo>
                  <a:pt x="262" y="298"/>
                  <a:pt x="262" y="298"/>
                  <a:pt x="262" y="298"/>
                </a:cubicBezTo>
                <a:cubicBezTo>
                  <a:pt x="218" y="254"/>
                  <a:pt x="218" y="254"/>
                  <a:pt x="218" y="254"/>
                </a:cubicBezTo>
                <a:lnTo>
                  <a:pt x="153" y="31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9"/>
                  <a:pt x="383" y="197"/>
                  <a:pt x="381" y="195"/>
                </a:cubicBezTo>
                <a:cubicBezTo>
                  <a:pt x="321" y="136"/>
                  <a:pt x="321" y="136"/>
                  <a:pt x="321" y="136"/>
                </a:cubicBezTo>
                <a:cubicBezTo>
                  <a:pt x="317" y="132"/>
                  <a:pt x="311" y="132"/>
                  <a:pt x="306" y="136"/>
                </a:cubicBezTo>
                <a:cubicBezTo>
                  <a:pt x="131" y="311"/>
                  <a:pt x="131" y="311"/>
                  <a:pt x="131" y="311"/>
                </a:cubicBezTo>
                <a:cubicBezTo>
                  <a:pt x="127" y="316"/>
                  <a:pt x="127" y="322"/>
                  <a:pt x="131" y="326"/>
                </a:cubicBezTo>
                <a:cubicBezTo>
                  <a:pt x="173" y="370"/>
                  <a:pt x="173" y="370"/>
                  <a:pt x="173" y="370"/>
                </a:cubicBezTo>
                <a:cubicBezTo>
                  <a:pt x="173" y="370"/>
                  <a:pt x="173" y="370"/>
                  <a:pt x="173" y="370"/>
                </a:cubicBezTo>
                <a:cubicBezTo>
                  <a:pt x="174" y="371"/>
                  <a:pt x="176" y="372"/>
                  <a:pt x="177" y="372"/>
                </a:cubicBezTo>
                <a:cubicBezTo>
                  <a:pt x="178" y="373"/>
                  <a:pt x="180" y="373"/>
                  <a:pt x="181" y="373"/>
                </a:cubicBezTo>
                <a:cubicBezTo>
                  <a:pt x="213" y="373"/>
                  <a:pt x="213" y="373"/>
                  <a:pt x="213" y="373"/>
                </a:cubicBezTo>
                <a:cubicBezTo>
                  <a:pt x="352" y="373"/>
                  <a:pt x="352" y="373"/>
                  <a:pt x="352" y="373"/>
                </a:cubicBezTo>
                <a:cubicBezTo>
                  <a:pt x="358" y="373"/>
                  <a:pt x="362" y="368"/>
                  <a:pt x="362" y="362"/>
                </a:cubicBezTo>
                <a:cubicBezTo>
                  <a:pt x="362" y="356"/>
                  <a:pt x="358" y="352"/>
                  <a:pt x="352" y="352"/>
                </a:cubicBezTo>
                <a:cubicBezTo>
                  <a:pt x="239" y="352"/>
                  <a:pt x="239" y="352"/>
                  <a:pt x="239" y="352"/>
                </a:cubicBezTo>
                <a:cubicBezTo>
                  <a:pt x="381" y="210"/>
                  <a:pt x="381" y="210"/>
                  <a:pt x="381" y="210"/>
                </a:cubicBezTo>
                <a:cubicBezTo>
                  <a:pt x="383" y="208"/>
                  <a:pt x="384" y="205"/>
                  <a:pt x="384" y="20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6" name="Group 493">
            <a:extLst>
              <a:ext uri="{FF2B5EF4-FFF2-40B4-BE49-F238E27FC236}">
                <a16:creationId xmlns:a16="http://schemas.microsoft.com/office/drawing/2014/main" id="{49FAC9ED-59EC-4E26-A540-D21053FB5732}"/>
              </a:ext>
            </a:extLst>
          </p:cNvPr>
          <p:cNvGrpSpPr>
            <a:grpSpLocks noChangeAspect="1"/>
          </p:cNvGrpSpPr>
          <p:nvPr/>
        </p:nvGrpSpPr>
        <p:grpSpPr bwMode="auto">
          <a:xfrm>
            <a:off x="2657354" y="3285438"/>
            <a:ext cx="367631" cy="367631"/>
            <a:chOff x="1195" y="2027"/>
            <a:chExt cx="340" cy="340"/>
          </a:xfrm>
          <a:solidFill>
            <a:schemeClr val="accent6"/>
          </a:solidFill>
        </p:grpSpPr>
        <p:sp>
          <p:nvSpPr>
            <p:cNvPr id="547" name="Freeform 494">
              <a:extLst>
                <a:ext uri="{FF2B5EF4-FFF2-40B4-BE49-F238E27FC236}">
                  <a16:creationId xmlns:a16="http://schemas.microsoft.com/office/drawing/2014/main" id="{EED289AC-BCAF-4C99-8D56-915A540B5528}"/>
                </a:ext>
              </a:extLst>
            </p:cNvPr>
            <p:cNvSpPr>
              <a:spLocks noEditPoints="1"/>
            </p:cNvSpPr>
            <p:nvPr/>
          </p:nvSpPr>
          <p:spPr bwMode="auto">
            <a:xfrm>
              <a:off x="1195"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8" name="Freeform 495">
              <a:extLst>
                <a:ext uri="{FF2B5EF4-FFF2-40B4-BE49-F238E27FC236}">
                  <a16:creationId xmlns:a16="http://schemas.microsoft.com/office/drawing/2014/main" id="{F2BC9957-9692-4C4E-BCA3-0E04F6FFD246}"/>
                </a:ext>
              </a:extLst>
            </p:cNvPr>
            <p:cNvSpPr>
              <a:spLocks noEditPoints="1"/>
            </p:cNvSpPr>
            <p:nvPr/>
          </p:nvSpPr>
          <p:spPr bwMode="auto">
            <a:xfrm>
              <a:off x="1279" y="2115"/>
              <a:ext cx="171" cy="160"/>
            </a:xfrm>
            <a:custGeom>
              <a:avLst/>
              <a:gdLst>
                <a:gd name="T0" fmla="*/ 254 w 257"/>
                <a:gd name="T1" fmla="*/ 78 h 241"/>
                <a:gd name="T2" fmla="*/ 257 w 257"/>
                <a:gd name="T3" fmla="*/ 70 h 241"/>
                <a:gd name="T4" fmla="*/ 254 w 257"/>
                <a:gd name="T5" fmla="*/ 63 h 241"/>
                <a:gd name="T6" fmla="*/ 194 w 257"/>
                <a:gd name="T7" fmla="*/ 4 h 241"/>
                <a:gd name="T8" fmla="*/ 179 w 257"/>
                <a:gd name="T9" fmla="*/ 4 h 241"/>
                <a:gd name="T10" fmla="*/ 4 w 257"/>
                <a:gd name="T11" fmla="*/ 179 h 241"/>
                <a:gd name="T12" fmla="*/ 4 w 257"/>
                <a:gd name="T13" fmla="*/ 194 h 241"/>
                <a:gd name="T14" fmla="*/ 46 w 257"/>
                <a:gd name="T15" fmla="*/ 238 h 241"/>
                <a:gd name="T16" fmla="*/ 46 w 257"/>
                <a:gd name="T17" fmla="*/ 238 h 241"/>
                <a:gd name="T18" fmla="*/ 50 w 257"/>
                <a:gd name="T19" fmla="*/ 240 h 241"/>
                <a:gd name="T20" fmla="*/ 54 w 257"/>
                <a:gd name="T21" fmla="*/ 241 h 241"/>
                <a:gd name="T22" fmla="*/ 86 w 257"/>
                <a:gd name="T23" fmla="*/ 241 h 241"/>
                <a:gd name="T24" fmla="*/ 225 w 257"/>
                <a:gd name="T25" fmla="*/ 241 h 241"/>
                <a:gd name="T26" fmla="*/ 235 w 257"/>
                <a:gd name="T27" fmla="*/ 230 h 241"/>
                <a:gd name="T28" fmla="*/ 225 w 257"/>
                <a:gd name="T29" fmla="*/ 220 h 241"/>
                <a:gd name="T30" fmla="*/ 112 w 257"/>
                <a:gd name="T31" fmla="*/ 220 h 241"/>
                <a:gd name="T32" fmla="*/ 254 w 257"/>
                <a:gd name="T33" fmla="*/ 78 h 241"/>
                <a:gd name="T34" fmla="*/ 187 w 257"/>
                <a:gd name="T35" fmla="*/ 26 h 241"/>
                <a:gd name="T36" fmla="*/ 231 w 257"/>
                <a:gd name="T37" fmla="*/ 70 h 241"/>
                <a:gd name="T38" fmla="*/ 150 w 257"/>
                <a:gd name="T39" fmla="*/ 151 h 241"/>
                <a:gd name="T40" fmla="*/ 106 w 257"/>
                <a:gd name="T41" fmla="*/ 107 h 241"/>
                <a:gd name="T42" fmla="*/ 187 w 257"/>
                <a:gd name="T43" fmla="*/ 26 h 241"/>
                <a:gd name="T44" fmla="*/ 58 w 257"/>
                <a:gd name="T45" fmla="*/ 220 h 241"/>
                <a:gd name="T46" fmla="*/ 26 w 257"/>
                <a:gd name="T47" fmla="*/ 187 h 241"/>
                <a:gd name="T48" fmla="*/ 91 w 257"/>
                <a:gd name="T49" fmla="*/ 122 h 241"/>
                <a:gd name="T50" fmla="*/ 135 w 257"/>
                <a:gd name="T51" fmla="*/ 166 h 241"/>
                <a:gd name="T52" fmla="*/ 82 w 257"/>
                <a:gd name="T53" fmla="*/ 220 h 241"/>
                <a:gd name="T54" fmla="*/ 58 w 257"/>
                <a:gd name="T55" fmla="*/ 2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7" h="241">
                  <a:moveTo>
                    <a:pt x="254" y="78"/>
                  </a:moveTo>
                  <a:cubicBezTo>
                    <a:pt x="256" y="76"/>
                    <a:pt x="257" y="73"/>
                    <a:pt x="257" y="70"/>
                  </a:cubicBezTo>
                  <a:cubicBezTo>
                    <a:pt x="257" y="67"/>
                    <a:pt x="256" y="65"/>
                    <a:pt x="254" y="63"/>
                  </a:cubicBezTo>
                  <a:cubicBezTo>
                    <a:pt x="194" y="4"/>
                    <a:pt x="194" y="4"/>
                    <a:pt x="194" y="4"/>
                  </a:cubicBezTo>
                  <a:cubicBezTo>
                    <a:pt x="190" y="0"/>
                    <a:pt x="184" y="0"/>
                    <a:pt x="179" y="4"/>
                  </a:cubicBezTo>
                  <a:cubicBezTo>
                    <a:pt x="4" y="179"/>
                    <a:pt x="4" y="179"/>
                    <a:pt x="4" y="179"/>
                  </a:cubicBezTo>
                  <a:cubicBezTo>
                    <a:pt x="0" y="184"/>
                    <a:pt x="0" y="190"/>
                    <a:pt x="4" y="194"/>
                  </a:cubicBezTo>
                  <a:cubicBezTo>
                    <a:pt x="46" y="238"/>
                    <a:pt x="46" y="238"/>
                    <a:pt x="46" y="238"/>
                  </a:cubicBezTo>
                  <a:cubicBezTo>
                    <a:pt x="46" y="238"/>
                    <a:pt x="46" y="238"/>
                    <a:pt x="46" y="238"/>
                  </a:cubicBezTo>
                  <a:cubicBezTo>
                    <a:pt x="47" y="239"/>
                    <a:pt x="49" y="240"/>
                    <a:pt x="50" y="240"/>
                  </a:cubicBezTo>
                  <a:cubicBezTo>
                    <a:pt x="51" y="241"/>
                    <a:pt x="53" y="241"/>
                    <a:pt x="54" y="241"/>
                  </a:cubicBezTo>
                  <a:cubicBezTo>
                    <a:pt x="86" y="241"/>
                    <a:pt x="86" y="241"/>
                    <a:pt x="86" y="241"/>
                  </a:cubicBezTo>
                  <a:cubicBezTo>
                    <a:pt x="225" y="241"/>
                    <a:pt x="225" y="241"/>
                    <a:pt x="225" y="241"/>
                  </a:cubicBezTo>
                  <a:cubicBezTo>
                    <a:pt x="231" y="241"/>
                    <a:pt x="235" y="236"/>
                    <a:pt x="235" y="230"/>
                  </a:cubicBezTo>
                  <a:cubicBezTo>
                    <a:pt x="235" y="224"/>
                    <a:pt x="231" y="220"/>
                    <a:pt x="225" y="220"/>
                  </a:cubicBezTo>
                  <a:cubicBezTo>
                    <a:pt x="112" y="220"/>
                    <a:pt x="112" y="220"/>
                    <a:pt x="112" y="220"/>
                  </a:cubicBezTo>
                  <a:lnTo>
                    <a:pt x="254" y="78"/>
                  </a:lnTo>
                  <a:close/>
                  <a:moveTo>
                    <a:pt x="187" y="26"/>
                  </a:moveTo>
                  <a:cubicBezTo>
                    <a:pt x="231" y="70"/>
                    <a:pt x="231" y="70"/>
                    <a:pt x="231" y="70"/>
                  </a:cubicBezTo>
                  <a:cubicBezTo>
                    <a:pt x="150" y="151"/>
                    <a:pt x="150" y="151"/>
                    <a:pt x="150" y="151"/>
                  </a:cubicBezTo>
                  <a:cubicBezTo>
                    <a:pt x="106" y="107"/>
                    <a:pt x="106" y="107"/>
                    <a:pt x="106" y="107"/>
                  </a:cubicBezTo>
                  <a:lnTo>
                    <a:pt x="187" y="26"/>
                  </a:lnTo>
                  <a:close/>
                  <a:moveTo>
                    <a:pt x="58" y="220"/>
                  </a:moveTo>
                  <a:cubicBezTo>
                    <a:pt x="26" y="187"/>
                    <a:pt x="26" y="187"/>
                    <a:pt x="26" y="187"/>
                  </a:cubicBezTo>
                  <a:cubicBezTo>
                    <a:pt x="91" y="122"/>
                    <a:pt x="91" y="122"/>
                    <a:pt x="91" y="122"/>
                  </a:cubicBezTo>
                  <a:cubicBezTo>
                    <a:pt x="135" y="166"/>
                    <a:pt x="135" y="166"/>
                    <a:pt x="135" y="166"/>
                  </a:cubicBezTo>
                  <a:cubicBezTo>
                    <a:pt x="82" y="220"/>
                    <a:pt x="82" y="220"/>
                    <a:pt x="82" y="220"/>
                  </a:cubicBezTo>
                  <a:lnTo>
                    <a:pt x="58" y="2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49" name="Group 498">
            <a:extLst>
              <a:ext uri="{FF2B5EF4-FFF2-40B4-BE49-F238E27FC236}">
                <a16:creationId xmlns:a16="http://schemas.microsoft.com/office/drawing/2014/main" id="{1070BF53-BB81-4104-AA1F-0F16DDFDAA51}"/>
              </a:ext>
            </a:extLst>
          </p:cNvPr>
          <p:cNvGrpSpPr>
            <a:grpSpLocks noChangeAspect="1"/>
          </p:cNvGrpSpPr>
          <p:nvPr/>
        </p:nvGrpSpPr>
        <p:grpSpPr bwMode="auto">
          <a:xfrm>
            <a:off x="3093002" y="3285438"/>
            <a:ext cx="367631" cy="367631"/>
            <a:chOff x="1543" y="2005"/>
            <a:chExt cx="340" cy="340"/>
          </a:xfrm>
          <a:solidFill>
            <a:schemeClr val="accent6"/>
          </a:solidFill>
        </p:grpSpPr>
        <p:sp>
          <p:nvSpPr>
            <p:cNvPr id="550" name="Freeform 499">
              <a:extLst>
                <a:ext uri="{FF2B5EF4-FFF2-40B4-BE49-F238E27FC236}">
                  <a16:creationId xmlns:a16="http://schemas.microsoft.com/office/drawing/2014/main" id="{4B2E7364-631C-4D51-945B-A944003F87E3}"/>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1" name="Freeform 500">
              <a:extLst>
                <a:ext uri="{FF2B5EF4-FFF2-40B4-BE49-F238E27FC236}">
                  <a16:creationId xmlns:a16="http://schemas.microsoft.com/office/drawing/2014/main" id="{B54464EB-68A7-4A1E-8DDE-0D08682C0BDD}"/>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2" name="Group 503">
            <a:extLst>
              <a:ext uri="{FF2B5EF4-FFF2-40B4-BE49-F238E27FC236}">
                <a16:creationId xmlns:a16="http://schemas.microsoft.com/office/drawing/2014/main" id="{76AF6D62-7B7C-4E2B-BA65-FCBAA70CE32B}"/>
              </a:ext>
            </a:extLst>
          </p:cNvPr>
          <p:cNvGrpSpPr>
            <a:grpSpLocks noChangeAspect="1"/>
          </p:cNvGrpSpPr>
          <p:nvPr/>
        </p:nvGrpSpPr>
        <p:grpSpPr bwMode="auto">
          <a:xfrm>
            <a:off x="3528650" y="3285438"/>
            <a:ext cx="367631" cy="367631"/>
            <a:chOff x="1920" y="2027"/>
            <a:chExt cx="340" cy="340"/>
          </a:xfrm>
          <a:solidFill>
            <a:schemeClr val="accent6"/>
          </a:solidFill>
        </p:grpSpPr>
        <p:sp>
          <p:nvSpPr>
            <p:cNvPr id="553" name="Freeform 504">
              <a:extLst>
                <a:ext uri="{FF2B5EF4-FFF2-40B4-BE49-F238E27FC236}">
                  <a16:creationId xmlns:a16="http://schemas.microsoft.com/office/drawing/2014/main" id="{6E3DD5D3-C113-46BD-BC37-9FBBC9A28D7E}"/>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4" name="Freeform 505">
              <a:extLst>
                <a:ext uri="{FF2B5EF4-FFF2-40B4-BE49-F238E27FC236}">
                  <a16:creationId xmlns:a16="http://schemas.microsoft.com/office/drawing/2014/main" id="{C489D58D-C574-4F9C-B393-0BF750D8A8C0}"/>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5" name="Freeform 518">
            <a:extLst>
              <a:ext uri="{FF2B5EF4-FFF2-40B4-BE49-F238E27FC236}">
                <a16:creationId xmlns:a16="http://schemas.microsoft.com/office/drawing/2014/main" id="{77D402DD-32A7-4691-B0EF-9C75D56DBD1F}"/>
              </a:ext>
            </a:extLst>
          </p:cNvPr>
          <p:cNvSpPr>
            <a:spLocks noChangeAspect="1" noEditPoints="1"/>
          </p:cNvSpPr>
          <p:nvPr/>
        </p:nvSpPr>
        <p:spPr bwMode="auto">
          <a:xfrm>
            <a:off x="4835594" y="3285438"/>
            <a:ext cx="367631" cy="367631"/>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6" name="Group 521">
            <a:extLst>
              <a:ext uri="{FF2B5EF4-FFF2-40B4-BE49-F238E27FC236}">
                <a16:creationId xmlns:a16="http://schemas.microsoft.com/office/drawing/2014/main" id="{F69418EB-D245-408E-9C69-9979EF8D2E4A}"/>
              </a:ext>
            </a:extLst>
          </p:cNvPr>
          <p:cNvGrpSpPr>
            <a:grpSpLocks noChangeAspect="1"/>
          </p:cNvGrpSpPr>
          <p:nvPr/>
        </p:nvGrpSpPr>
        <p:grpSpPr bwMode="auto">
          <a:xfrm>
            <a:off x="5271242" y="3285438"/>
            <a:ext cx="367631" cy="367631"/>
            <a:chOff x="3476" y="2032"/>
            <a:chExt cx="340" cy="340"/>
          </a:xfrm>
          <a:solidFill>
            <a:schemeClr val="accent6"/>
          </a:solidFill>
        </p:grpSpPr>
        <p:sp>
          <p:nvSpPr>
            <p:cNvPr id="557" name="Freeform 522">
              <a:extLst>
                <a:ext uri="{FF2B5EF4-FFF2-40B4-BE49-F238E27FC236}">
                  <a16:creationId xmlns:a16="http://schemas.microsoft.com/office/drawing/2014/main" id="{FB29B78C-6EAC-4949-BD31-20B3B92A7100}"/>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8" name="Freeform 523">
              <a:extLst>
                <a:ext uri="{FF2B5EF4-FFF2-40B4-BE49-F238E27FC236}">
                  <a16:creationId xmlns:a16="http://schemas.microsoft.com/office/drawing/2014/main" id="{316D6ECE-B7C7-4FCE-83A6-62A70846A32A}"/>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9" name="Freeform 524">
              <a:extLst>
                <a:ext uri="{FF2B5EF4-FFF2-40B4-BE49-F238E27FC236}">
                  <a16:creationId xmlns:a16="http://schemas.microsoft.com/office/drawing/2014/main" id="{C72516FB-3766-483E-A427-50401150F580}"/>
                </a:ext>
              </a:extLst>
            </p:cNvPr>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0" name="Freeform 557">
            <a:extLst>
              <a:ext uri="{FF2B5EF4-FFF2-40B4-BE49-F238E27FC236}">
                <a16:creationId xmlns:a16="http://schemas.microsoft.com/office/drawing/2014/main" id="{E0D426B0-4417-4EAA-9C4B-CBB045CD7B2C}"/>
              </a:ext>
            </a:extLst>
          </p:cNvPr>
          <p:cNvSpPr>
            <a:spLocks noChangeAspect="1" noEditPoints="1"/>
          </p:cNvSpPr>
          <p:nvPr/>
        </p:nvSpPr>
        <p:spPr bwMode="auto">
          <a:xfrm>
            <a:off x="5706890" y="3285438"/>
            <a:ext cx="367631" cy="368712"/>
          </a:xfrm>
          <a:custGeom>
            <a:avLst/>
            <a:gdLst>
              <a:gd name="T0" fmla="*/ 247 w 512"/>
              <a:gd name="T1" fmla="*/ 265 h 512"/>
              <a:gd name="T2" fmla="*/ 254 w 512"/>
              <a:gd name="T3" fmla="*/ 272 h 512"/>
              <a:gd name="T4" fmla="*/ 170 w 512"/>
              <a:gd name="T5" fmla="*/ 357 h 512"/>
              <a:gd name="T6" fmla="*/ 159 w 512"/>
              <a:gd name="T7" fmla="*/ 360 h 512"/>
              <a:gd name="T8" fmla="*/ 152 w 512"/>
              <a:gd name="T9" fmla="*/ 360 h 512"/>
              <a:gd name="T10" fmla="*/ 152 w 512"/>
              <a:gd name="T11" fmla="*/ 352 h 512"/>
              <a:gd name="T12" fmla="*/ 154 w 512"/>
              <a:gd name="T13" fmla="*/ 342 h 512"/>
              <a:gd name="T14" fmla="*/ 239 w 512"/>
              <a:gd name="T15" fmla="*/ 257 h 512"/>
              <a:gd name="T16" fmla="*/ 247 w 512"/>
              <a:gd name="T17" fmla="*/ 265 h 512"/>
              <a:gd name="T18" fmla="*/ 337 w 512"/>
              <a:gd name="T19" fmla="*/ 146 h 512"/>
              <a:gd name="T20" fmla="*/ 331 w 512"/>
              <a:gd name="T21" fmla="*/ 151 h 512"/>
              <a:gd name="T22" fmla="*/ 322 w 512"/>
              <a:gd name="T23" fmla="*/ 166 h 512"/>
              <a:gd name="T24" fmla="*/ 252 w 512"/>
              <a:gd name="T25" fmla="*/ 229 h 512"/>
              <a:gd name="T26" fmla="*/ 245 w 512"/>
              <a:gd name="T27" fmla="*/ 232 h 512"/>
              <a:gd name="T28" fmla="*/ 262 w 512"/>
              <a:gd name="T29" fmla="*/ 250 h 512"/>
              <a:gd name="T30" fmla="*/ 280 w 512"/>
              <a:gd name="T31" fmla="*/ 268 h 512"/>
              <a:gd name="T32" fmla="*/ 283 w 512"/>
              <a:gd name="T33" fmla="*/ 260 h 512"/>
              <a:gd name="T34" fmla="*/ 346 w 512"/>
              <a:gd name="T35" fmla="*/ 191 h 512"/>
              <a:gd name="T36" fmla="*/ 362 w 512"/>
              <a:gd name="T37" fmla="*/ 181 h 512"/>
              <a:gd name="T38" fmla="*/ 366 w 512"/>
              <a:gd name="T39" fmla="*/ 175 h 512"/>
              <a:gd name="T40" fmla="*/ 356 w 512"/>
              <a:gd name="T41" fmla="*/ 156 h 512"/>
              <a:gd name="T42" fmla="*/ 337 w 512"/>
              <a:gd name="T43" fmla="*/ 146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71 w 512"/>
              <a:gd name="T55" fmla="*/ 141 h 512"/>
              <a:gd name="T56" fmla="*/ 335 w 512"/>
              <a:gd name="T57" fmla="*/ 125 h 512"/>
              <a:gd name="T58" fmla="*/ 313 w 512"/>
              <a:gd name="T59" fmla="*/ 139 h 512"/>
              <a:gd name="T60" fmla="*/ 304 w 512"/>
              <a:gd name="T61" fmla="*/ 154 h 512"/>
              <a:gd name="T62" fmla="*/ 243 w 512"/>
              <a:gd name="T63" fmla="*/ 210 h 512"/>
              <a:gd name="T64" fmla="*/ 242 w 512"/>
              <a:gd name="T65" fmla="*/ 211 h 512"/>
              <a:gd name="T66" fmla="*/ 222 w 512"/>
              <a:gd name="T67" fmla="*/ 217 h 512"/>
              <a:gd name="T68" fmla="*/ 214 w 512"/>
              <a:gd name="T69" fmla="*/ 225 h 512"/>
              <a:gd name="T70" fmla="*/ 217 w 512"/>
              <a:gd name="T71" fmla="*/ 235 h 512"/>
              <a:gd name="T72" fmla="*/ 224 w 512"/>
              <a:gd name="T73" fmla="*/ 242 h 512"/>
              <a:gd name="T74" fmla="*/ 139 w 512"/>
              <a:gd name="T75" fmla="*/ 327 h 512"/>
              <a:gd name="T76" fmla="*/ 131 w 512"/>
              <a:gd name="T77" fmla="*/ 356 h 512"/>
              <a:gd name="T78" fmla="*/ 130 w 512"/>
              <a:gd name="T79" fmla="*/ 359 h 512"/>
              <a:gd name="T80" fmla="*/ 132 w 512"/>
              <a:gd name="T81" fmla="*/ 379 h 512"/>
              <a:gd name="T82" fmla="*/ 142 w 512"/>
              <a:gd name="T83" fmla="*/ 383 h 512"/>
              <a:gd name="T84" fmla="*/ 152 w 512"/>
              <a:gd name="T85" fmla="*/ 381 h 512"/>
              <a:gd name="T86" fmla="*/ 155 w 512"/>
              <a:gd name="T87" fmla="*/ 381 h 512"/>
              <a:gd name="T88" fmla="*/ 185 w 512"/>
              <a:gd name="T89" fmla="*/ 372 h 512"/>
              <a:gd name="T90" fmla="*/ 269 w 512"/>
              <a:gd name="T91" fmla="*/ 287 h 512"/>
              <a:gd name="T92" fmla="*/ 277 w 512"/>
              <a:gd name="T93" fmla="*/ 295 h 512"/>
              <a:gd name="T94" fmla="*/ 285 w 512"/>
              <a:gd name="T95" fmla="*/ 298 h 512"/>
              <a:gd name="T96" fmla="*/ 288 w 512"/>
              <a:gd name="T97" fmla="*/ 298 h 512"/>
              <a:gd name="T98" fmla="*/ 295 w 512"/>
              <a:gd name="T99" fmla="*/ 288 h 512"/>
              <a:gd name="T100" fmla="*/ 301 w 512"/>
              <a:gd name="T101" fmla="*/ 266 h 512"/>
              <a:gd name="T102" fmla="*/ 302 w 512"/>
              <a:gd name="T103" fmla="*/ 267 h 512"/>
              <a:gd name="T104" fmla="*/ 357 w 512"/>
              <a:gd name="T105" fmla="*/ 208 h 512"/>
              <a:gd name="T106" fmla="*/ 373 w 512"/>
              <a:gd name="T107" fmla="*/ 198 h 512"/>
              <a:gd name="T108" fmla="*/ 387 w 512"/>
              <a:gd name="T109" fmla="*/ 177 h 512"/>
              <a:gd name="T110" fmla="*/ 371 w 512"/>
              <a:gd name="T111"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47" y="265"/>
                </a:moveTo>
                <a:cubicBezTo>
                  <a:pt x="254" y="272"/>
                  <a:pt x="254" y="272"/>
                  <a:pt x="254" y="272"/>
                </a:cubicBezTo>
                <a:cubicBezTo>
                  <a:pt x="170" y="357"/>
                  <a:pt x="170" y="357"/>
                  <a:pt x="170" y="357"/>
                </a:cubicBezTo>
                <a:cubicBezTo>
                  <a:pt x="167" y="360"/>
                  <a:pt x="163" y="361"/>
                  <a:pt x="159" y="360"/>
                </a:cubicBezTo>
                <a:cubicBezTo>
                  <a:pt x="157" y="359"/>
                  <a:pt x="154" y="359"/>
                  <a:pt x="152" y="360"/>
                </a:cubicBezTo>
                <a:cubicBezTo>
                  <a:pt x="152" y="357"/>
                  <a:pt x="152" y="355"/>
                  <a:pt x="152" y="352"/>
                </a:cubicBezTo>
                <a:cubicBezTo>
                  <a:pt x="151" y="348"/>
                  <a:pt x="152" y="344"/>
                  <a:pt x="154" y="342"/>
                </a:cubicBezTo>
                <a:cubicBezTo>
                  <a:pt x="239" y="257"/>
                  <a:pt x="239" y="257"/>
                  <a:pt x="239" y="257"/>
                </a:cubicBezTo>
                <a:lnTo>
                  <a:pt x="247" y="265"/>
                </a:lnTo>
                <a:close/>
                <a:moveTo>
                  <a:pt x="337" y="146"/>
                </a:moveTo>
                <a:cubicBezTo>
                  <a:pt x="336" y="147"/>
                  <a:pt x="333" y="147"/>
                  <a:pt x="331" y="151"/>
                </a:cubicBezTo>
                <a:cubicBezTo>
                  <a:pt x="322" y="166"/>
                  <a:pt x="322" y="166"/>
                  <a:pt x="322" y="166"/>
                </a:cubicBezTo>
                <a:cubicBezTo>
                  <a:pt x="292" y="209"/>
                  <a:pt x="257" y="227"/>
                  <a:pt x="252" y="229"/>
                </a:cubicBezTo>
                <a:cubicBezTo>
                  <a:pt x="250" y="230"/>
                  <a:pt x="248" y="231"/>
                  <a:pt x="245" y="232"/>
                </a:cubicBezTo>
                <a:cubicBezTo>
                  <a:pt x="262" y="250"/>
                  <a:pt x="262" y="250"/>
                  <a:pt x="262" y="250"/>
                </a:cubicBezTo>
                <a:cubicBezTo>
                  <a:pt x="280" y="268"/>
                  <a:pt x="280" y="268"/>
                  <a:pt x="280" y="268"/>
                </a:cubicBezTo>
                <a:cubicBezTo>
                  <a:pt x="281" y="265"/>
                  <a:pt x="282" y="262"/>
                  <a:pt x="283" y="260"/>
                </a:cubicBezTo>
                <a:cubicBezTo>
                  <a:pt x="285" y="255"/>
                  <a:pt x="303" y="221"/>
                  <a:pt x="346" y="191"/>
                </a:cubicBezTo>
                <a:cubicBezTo>
                  <a:pt x="362" y="181"/>
                  <a:pt x="362" y="181"/>
                  <a:pt x="362" y="181"/>
                </a:cubicBezTo>
                <a:cubicBezTo>
                  <a:pt x="365" y="179"/>
                  <a:pt x="366" y="177"/>
                  <a:pt x="366" y="175"/>
                </a:cubicBezTo>
                <a:cubicBezTo>
                  <a:pt x="366" y="170"/>
                  <a:pt x="362" y="163"/>
                  <a:pt x="356" y="156"/>
                </a:cubicBezTo>
                <a:cubicBezTo>
                  <a:pt x="349" y="150"/>
                  <a:pt x="342" y="146"/>
                  <a:pt x="337" y="14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1" y="141"/>
                </a:moveTo>
                <a:cubicBezTo>
                  <a:pt x="360" y="130"/>
                  <a:pt x="347" y="124"/>
                  <a:pt x="335" y="125"/>
                </a:cubicBezTo>
                <a:cubicBezTo>
                  <a:pt x="329" y="126"/>
                  <a:pt x="320" y="129"/>
                  <a:pt x="313" y="139"/>
                </a:cubicBezTo>
                <a:cubicBezTo>
                  <a:pt x="304" y="154"/>
                  <a:pt x="304" y="154"/>
                  <a:pt x="304" y="154"/>
                </a:cubicBezTo>
                <a:cubicBezTo>
                  <a:pt x="276" y="194"/>
                  <a:pt x="243" y="210"/>
                  <a:pt x="243" y="210"/>
                </a:cubicBezTo>
                <a:cubicBezTo>
                  <a:pt x="242" y="210"/>
                  <a:pt x="242" y="210"/>
                  <a:pt x="242" y="211"/>
                </a:cubicBezTo>
                <a:cubicBezTo>
                  <a:pt x="241" y="211"/>
                  <a:pt x="237" y="213"/>
                  <a:pt x="222" y="217"/>
                </a:cubicBezTo>
                <a:cubicBezTo>
                  <a:pt x="218" y="218"/>
                  <a:pt x="215" y="221"/>
                  <a:pt x="214" y="225"/>
                </a:cubicBezTo>
                <a:cubicBezTo>
                  <a:pt x="213" y="228"/>
                  <a:pt x="214" y="232"/>
                  <a:pt x="217" y="235"/>
                </a:cubicBezTo>
                <a:cubicBezTo>
                  <a:pt x="224" y="242"/>
                  <a:pt x="224" y="242"/>
                  <a:pt x="224" y="242"/>
                </a:cubicBezTo>
                <a:cubicBezTo>
                  <a:pt x="139" y="327"/>
                  <a:pt x="139" y="327"/>
                  <a:pt x="139" y="327"/>
                </a:cubicBezTo>
                <a:cubicBezTo>
                  <a:pt x="132" y="334"/>
                  <a:pt x="129" y="345"/>
                  <a:pt x="131" y="356"/>
                </a:cubicBezTo>
                <a:cubicBezTo>
                  <a:pt x="131" y="357"/>
                  <a:pt x="130" y="358"/>
                  <a:pt x="130" y="359"/>
                </a:cubicBezTo>
                <a:cubicBezTo>
                  <a:pt x="128" y="365"/>
                  <a:pt x="126" y="373"/>
                  <a:pt x="132" y="379"/>
                </a:cubicBezTo>
                <a:cubicBezTo>
                  <a:pt x="135" y="382"/>
                  <a:pt x="138" y="383"/>
                  <a:pt x="142" y="383"/>
                </a:cubicBezTo>
                <a:cubicBezTo>
                  <a:pt x="145" y="383"/>
                  <a:pt x="149" y="382"/>
                  <a:pt x="152" y="381"/>
                </a:cubicBezTo>
                <a:cubicBezTo>
                  <a:pt x="153" y="381"/>
                  <a:pt x="154" y="381"/>
                  <a:pt x="155" y="381"/>
                </a:cubicBezTo>
                <a:cubicBezTo>
                  <a:pt x="166" y="383"/>
                  <a:pt x="177" y="380"/>
                  <a:pt x="185" y="372"/>
                </a:cubicBezTo>
                <a:cubicBezTo>
                  <a:pt x="269" y="287"/>
                  <a:pt x="269" y="287"/>
                  <a:pt x="269" y="287"/>
                </a:cubicBezTo>
                <a:cubicBezTo>
                  <a:pt x="277" y="295"/>
                  <a:pt x="277" y="295"/>
                  <a:pt x="277" y="295"/>
                </a:cubicBezTo>
                <a:cubicBezTo>
                  <a:pt x="279" y="297"/>
                  <a:pt x="282" y="298"/>
                  <a:pt x="285" y="298"/>
                </a:cubicBezTo>
                <a:cubicBezTo>
                  <a:pt x="286" y="298"/>
                  <a:pt x="287" y="298"/>
                  <a:pt x="288" y="298"/>
                </a:cubicBezTo>
                <a:cubicBezTo>
                  <a:pt x="291" y="297"/>
                  <a:pt x="294" y="292"/>
                  <a:pt x="295" y="288"/>
                </a:cubicBezTo>
                <a:cubicBezTo>
                  <a:pt x="299" y="273"/>
                  <a:pt x="301" y="266"/>
                  <a:pt x="301" y="266"/>
                </a:cubicBezTo>
                <a:cubicBezTo>
                  <a:pt x="301" y="266"/>
                  <a:pt x="302" y="268"/>
                  <a:pt x="302" y="267"/>
                </a:cubicBezTo>
                <a:cubicBezTo>
                  <a:pt x="302" y="267"/>
                  <a:pt x="318" y="235"/>
                  <a:pt x="357" y="208"/>
                </a:cubicBezTo>
                <a:cubicBezTo>
                  <a:pt x="373" y="198"/>
                  <a:pt x="373" y="198"/>
                  <a:pt x="373" y="198"/>
                </a:cubicBezTo>
                <a:cubicBezTo>
                  <a:pt x="383" y="191"/>
                  <a:pt x="386" y="183"/>
                  <a:pt x="387" y="177"/>
                </a:cubicBezTo>
                <a:cubicBezTo>
                  <a:pt x="388" y="165"/>
                  <a:pt x="382" y="152"/>
                  <a:pt x="371" y="14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1" name="Group 560">
            <a:extLst>
              <a:ext uri="{FF2B5EF4-FFF2-40B4-BE49-F238E27FC236}">
                <a16:creationId xmlns:a16="http://schemas.microsoft.com/office/drawing/2014/main" id="{30B5B903-F730-4A77-83B1-CAB0A33D6FB5}"/>
              </a:ext>
            </a:extLst>
          </p:cNvPr>
          <p:cNvGrpSpPr>
            <a:grpSpLocks noChangeAspect="1"/>
          </p:cNvGrpSpPr>
          <p:nvPr/>
        </p:nvGrpSpPr>
        <p:grpSpPr bwMode="auto">
          <a:xfrm>
            <a:off x="6142538" y="3285438"/>
            <a:ext cx="367631" cy="367631"/>
            <a:chOff x="6559" y="2000"/>
            <a:chExt cx="340" cy="340"/>
          </a:xfrm>
          <a:solidFill>
            <a:schemeClr val="accent6"/>
          </a:solidFill>
        </p:grpSpPr>
        <p:sp>
          <p:nvSpPr>
            <p:cNvPr id="562" name="Freeform 561">
              <a:extLst>
                <a:ext uri="{FF2B5EF4-FFF2-40B4-BE49-F238E27FC236}">
                  <a16:creationId xmlns:a16="http://schemas.microsoft.com/office/drawing/2014/main" id="{47FCFFE8-44C1-4B22-9EA1-CC9BDA58B042}"/>
                </a:ext>
              </a:extLst>
            </p:cNvPr>
            <p:cNvSpPr>
              <a:spLocks noEditPoints="1"/>
            </p:cNvSpPr>
            <p:nvPr/>
          </p:nvSpPr>
          <p:spPr bwMode="auto">
            <a:xfrm>
              <a:off x="6559"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3" name="Freeform 562">
              <a:extLst>
                <a:ext uri="{FF2B5EF4-FFF2-40B4-BE49-F238E27FC236}">
                  <a16:creationId xmlns:a16="http://schemas.microsoft.com/office/drawing/2014/main" id="{579E7BF3-BB86-4E92-929F-B8F172DE03FA}"/>
                </a:ext>
              </a:extLst>
            </p:cNvPr>
            <p:cNvSpPr>
              <a:spLocks noEditPoints="1"/>
            </p:cNvSpPr>
            <p:nvPr/>
          </p:nvSpPr>
          <p:spPr bwMode="auto">
            <a:xfrm>
              <a:off x="6643" y="2082"/>
              <a:ext cx="174" cy="172"/>
            </a:xfrm>
            <a:custGeom>
              <a:avLst/>
              <a:gdLst>
                <a:gd name="T0" fmla="*/ 245 w 262"/>
                <a:gd name="T1" fmla="*/ 17 h 259"/>
                <a:gd name="T2" fmla="*/ 209 w 262"/>
                <a:gd name="T3" fmla="*/ 1 h 259"/>
                <a:gd name="T4" fmla="*/ 187 w 262"/>
                <a:gd name="T5" fmla="*/ 15 h 259"/>
                <a:gd name="T6" fmla="*/ 178 w 262"/>
                <a:gd name="T7" fmla="*/ 30 h 259"/>
                <a:gd name="T8" fmla="*/ 117 w 262"/>
                <a:gd name="T9" fmla="*/ 86 h 259"/>
                <a:gd name="T10" fmla="*/ 116 w 262"/>
                <a:gd name="T11" fmla="*/ 87 h 259"/>
                <a:gd name="T12" fmla="*/ 96 w 262"/>
                <a:gd name="T13" fmla="*/ 93 h 259"/>
                <a:gd name="T14" fmla="*/ 88 w 262"/>
                <a:gd name="T15" fmla="*/ 101 h 259"/>
                <a:gd name="T16" fmla="*/ 91 w 262"/>
                <a:gd name="T17" fmla="*/ 111 h 259"/>
                <a:gd name="T18" fmla="*/ 98 w 262"/>
                <a:gd name="T19" fmla="*/ 118 h 259"/>
                <a:gd name="T20" fmla="*/ 13 w 262"/>
                <a:gd name="T21" fmla="*/ 203 h 259"/>
                <a:gd name="T22" fmla="*/ 5 w 262"/>
                <a:gd name="T23" fmla="*/ 232 h 259"/>
                <a:gd name="T24" fmla="*/ 4 w 262"/>
                <a:gd name="T25" fmla="*/ 235 h 259"/>
                <a:gd name="T26" fmla="*/ 6 w 262"/>
                <a:gd name="T27" fmla="*/ 255 h 259"/>
                <a:gd name="T28" fmla="*/ 16 w 262"/>
                <a:gd name="T29" fmla="*/ 259 h 259"/>
                <a:gd name="T30" fmla="*/ 26 w 262"/>
                <a:gd name="T31" fmla="*/ 257 h 259"/>
                <a:gd name="T32" fmla="*/ 29 w 262"/>
                <a:gd name="T33" fmla="*/ 257 h 259"/>
                <a:gd name="T34" fmla="*/ 59 w 262"/>
                <a:gd name="T35" fmla="*/ 248 h 259"/>
                <a:gd name="T36" fmla="*/ 143 w 262"/>
                <a:gd name="T37" fmla="*/ 163 h 259"/>
                <a:gd name="T38" fmla="*/ 151 w 262"/>
                <a:gd name="T39" fmla="*/ 171 h 259"/>
                <a:gd name="T40" fmla="*/ 159 w 262"/>
                <a:gd name="T41" fmla="*/ 174 h 259"/>
                <a:gd name="T42" fmla="*/ 162 w 262"/>
                <a:gd name="T43" fmla="*/ 174 h 259"/>
                <a:gd name="T44" fmla="*/ 169 w 262"/>
                <a:gd name="T45" fmla="*/ 164 h 259"/>
                <a:gd name="T46" fmla="*/ 175 w 262"/>
                <a:gd name="T47" fmla="*/ 142 h 259"/>
                <a:gd name="T48" fmla="*/ 175 w 262"/>
                <a:gd name="T49" fmla="*/ 142 h 259"/>
                <a:gd name="T50" fmla="*/ 176 w 262"/>
                <a:gd name="T51" fmla="*/ 143 h 259"/>
                <a:gd name="T52" fmla="*/ 231 w 262"/>
                <a:gd name="T53" fmla="*/ 84 h 259"/>
                <a:gd name="T54" fmla="*/ 247 w 262"/>
                <a:gd name="T55" fmla="*/ 74 h 259"/>
                <a:gd name="T56" fmla="*/ 261 w 262"/>
                <a:gd name="T57" fmla="*/ 53 h 259"/>
                <a:gd name="T58" fmla="*/ 245 w 262"/>
                <a:gd name="T59" fmla="*/ 17 h 259"/>
                <a:gd name="T60" fmla="*/ 44 w 262"/>
                <a:gd name="T61" fmla="*/ 233 h 259"/>
                <a:gd name="T62" fmla="*/ 33 w 262"/>
                <a:gd name="T63" fmla="*/ 236 h 259"/>
                <a:gd name="T64" fmla="*/ 26 w 262"/>
                <a:gd name="T65" fmla="*/ 236 h 259"/>
                <a:gd name="T66" fmla="*/ 26 w 262"/>
                <a:gd name="T67" fmla="*/ 228 h 259"/>
                <a:gd name="T68" fmla="*/ 28 w 262"/>
                <a:gd name="T69" fmla="*/ 218 h 259"/>
                <a:gd name="T70" fmla="*/ 113 w 262"/>
                <a:gd name="T71" fmla="*/ 133 h 259"/>
                <a:gd name="T72" fmla="*/ 121 w 262"/>
                <a:gd name="T73" fmla="*/ 141 h 259"/>
                <a:gd name="T74" fmla="*/ 128 w 262"/>
                <a:gd name="T75" fmla="*/ 148 h 259"/>
                <a:gd name="T76" fmla="*/ 44 w 262"/>
                <a:gd name="T77" fmla="*/ 233 h 259"/>
                <a:gd name="T78" fmla="*/ 236 w 262"/>
                <a:gd name="T79" fmla="*/ 57 h 259"/>
                <a:gd name="T80" fmla="*/ 220 w 262"/>
                <a:gd name="T81" fmla="*/ 67 h 259"/>
                <a:gd name="T82" fmla="*/ 157 w 262"/>
                <a:gd name="T83" fmla="*/ 136 h 259"/>
                <a:gd name="T84" fmla="*/ 154 w 262"/>
                <a:gd name="T85" fmla="*/ 144 h 259"/>
                <a:gd name="T86" fmla="*/ 136 w 262"/>
                <a:gd name="T87" fmla="*/ 126 h 259"/>
                <a:gd name="T88" fmla="*/ 119 w 262"/>
                <a:gd name="T89" fmla="*/ 108 h 259"/>
                <a:gd name="T90" fmla="*/ 126 w 262"/>
                <a:gd name="T91" fmla="*/ 105 h 259"/>
                <a:gd name="T92" fmla="*/ 196 w 262"/>
                <a:gd name="T93" fmla="*/ 42 h 259"/>
                <a:gd name="T94" fmla="*/ 205 w 262"/>
                <a:gd name="T95" fmla="*/ 27 h 259"/>
                <a:gd name="T96" fmla="*/ 211 w 262"/>
                <a:gd name="T97" fmla="*/ 22 h 259"/>
                <a:gd name="T98" fmla="*/ 230 w 262"/>
                <a:gd name="T99" fmla="*/ 32 h 259"/>
                <a:gd name="T100" fmla="*/ 240 w 262"/>
                <a:gd name="T101" fmla="*/ 51 h 259"/>
                <a:gd name="T102" fmla="*/ 236 w 262"/>
                <a:gd name="T103" fmla="*/ 5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2" h="259">
                  <a:moveTo>
                    <a:pt x="245" y="17"/>
                  </a:moveTo>
                  <a:cubicBezTo>
                    <a:pt x="234" y="6"/>
                    <a:pt x="221" y="0"/>
                    <a:pt x="209" y="1"/>
                  </a:cubicBezTo>
                  <a:cubicBezTo>
                    <a:pt x="203" y="2"/>
                    <a:pt x="194" y="5"/>
                    <a:pt x="187" y="15"/>
                  </a:cubicBezTo>
                  <a:cubicBezTo>
                    <a:pt x="178" y="30"/>
                    <a:pt x="178" y="30"/>
                    <a:pt x="178" y="30"/>
                  </a:cubicBezTo>
                  <a:cubicBezTo>
                    <a:pt x="150" y="70"/>
                    <a:pt x="117" y="86"/>
                    <a:pt x="117" y="86"/>
                  </a:cubicBezTo>
                  <a:cubicBezTo>
                    <a:pt x="116" y="86"/>
                    <a:pt x="116" y="86"/>
                    <a:pt x="116" y="87"/>
                  </a:cubicBezTo>
                  <a:cubicBezTo>
                    <a:pt x="115" y="87"/>
                    <a:pt x="111" y="89"/>
                    <a:pt x="96" y="93"/>
                  </a:cubicBezTo>
                  <a:cubicBezTo>
                    <a:pt x="92" y="94"/>
                    <a:pt x="89" y="97"/>
                    <a:pt x="88" y="101"/>
                  </a:cubicBezTo>
                  <a:cubicBezTo>
                    <a:pt x="87" y="104"/>
                    <a:pt x="88" y="108"/>
                    <a:pt x="91" y="111"/>
                  </a:cubicBezTo>
                  <a:cubicBezTo>
                    <a:pt x="98" y="118"/>
                    <a:pt x="98" y="118"/>
                    <a:pt x="98" y="118"/>
                  </a:cubicBezTo>
                  <a:cubicBezTo>
                    <a:pt x="13" y="203"/>
                    <a:pt x="13" y="203"/>
                    <a:pt x="13" y="203"/>
                  </a:cubicBezTo>
                  <a:cubicBezTo>
                    <a:pt x="6" y="210"/>
                    <a:pt x="3" y="221"/>
                    <a:pt x="5" y="232"/>
                  </a:cubicBezTo>
                  <a:cubicBezTo>
                    <a:pt x="5" y="233"/>
                    <a:pt x="4" y="234"/>
                    <a:pt x="4" y="235"/>
                  </a:cubicBezTo>
                  <a:cubicBezTo>
                    <a:pt x="2" y="241"/>
                    <a:pt x="0" y="249"/>
                    <a:pt x="6" y="255"/>
                  </a:cubicBezTo>
                  <a:cubicBezTo>
                    <a:pt x="9" y="258"/>
                    <a:pt x="12" y="259"/>
                    <a:pt x="16" y="259"/>
                  </a:cubicBezTo>
                  <a:cubicBezTo>
                    <a:pt x="19" y="259"/>
                    <a:pt x="23" y="258"/>
                    <a:pt x="26" y="257"/>
                  </a:cubicBezTo>
                  <a:cubicBezTo>
                    <a:pt x="27" y="257"/>
                    <a:pt x="28" y="257"/>
                    <a:pt x="29" y="257"/>
                  </a:cubicBezTo>
                  <a:cubicBezTo>
                    <a:pt x="40" y="259"/>
                    <a:pt x="51" y="256"/>
                    <a:pt x="59" y="248"/>
                  </a:cubicBezTo>
                  <a:cubicBezTo>
                    <a:pt x="143" y="163"/>
                    <a:pt x="143" y="163"/>
                    <a:pt x="143" y="163"/>
                  </a:cubicBezTo>
                  <a:cubicBezTo>
                    <a:pt x="151" y="171"/>
                    <a:pt x="151" y="171"/>
                    <a:pt x="151" y="171"/>
                  </a:cubicBezTo>
                  <a:cubicBezTo>
                    <a:pt x="153" y="173"/>
                    <a:pt x="156" y="174"/>
                    <a:pt x="159" y="174"/>
                  </a:cubicBezTo>
                  <a:cubicBezTo>
                    <a:pt x="160" y="174"/>
                    <a:pt x="161" y="174"/>
                    <a:pt x="162" y="174"/>
                  </a:cubicBezTo>
                  <a:cubicBezTo>
                    <a:pt x="165" y="173"/>
                    <a:pt x="168" y="168"/>
                    <a:pt x="169" y="164"/>
                  </a:cubicBezTo>
                  <a:cubicBezTo>
                    <a:pt x="173" y="149"/>
                    <a:pt x="175" y="142"/>
                    <a:pt x="175" y="142"/>
                  </a:cubicBezTo>
                  <a:cubicBezTo>
                    <a:pt x="175" y="142"/>
                    <a:pt x="175" y="142"/>
                    <a:pt x="175" y="142"/>
                  </a:cubicBezTo>
                  <a:cubicBezTo>
                    <a:pt x="175" y="142"/>
                    <a:pt x="176" y="144"/>
                    <a:pt x="176" y="143"/>
                  </a:cubicBezTo>
                  <a:cubicBezTo>
                    <a:pt x="176" y="143"/>
                    <a:pt x="192" y="111"/>
                    <a:pt x="231" y="84"/>
                  </a:cubicBezTo>
                  <a:cubicBezTo>
                    <a:pt x="247" y="74"/>
                    <a:pt x="247" y="74"/>
                    <a:pt x="247" y="74"/>
                  </a:cubicBezTo>
                  <a:cubicBezTo>
                    <a:pt x="257" y="67"/>
                    <a:pt x="260" y="59"/>
                    <a:pt x="261" y="53"/>
                  </a:cubicBezTo>
                  <a:cubicBezTo>
                    <a:pt x="262" y="41"/>
                    <a:pt x="256" y="28"/>
                    <a:pt x="245" y="17"/>
                  </a:cubicBezTo>
                  <a:close/>
                  <a:moveTo>
                    <a:pt x="44" y="233"/>
                  </a:moveTo>
                  <a:cubicBezTo>
                    <a:pt x="41" y="236"/>
                    <a:pt x="37" y="237"/>
                    <a:pt x="33" y="236"/>
                  </a:cubicBezTo>
                  <a:cubicBezTo>
                    <a:pt x="31" y="235"/>
                    <a:pt x="28" y="235"/>
                    <a:pt x="26" y="236"/>
                  </a:cubicBezTo>
                  <a:cubicBezTo>
                    <a:pt x="26" y="233"/>
                    <a:pt x="26" y="231"/>
                    <a:pt x="26" y="228"/>
                  </a:cubicBezTo>
                  <a:cubicBezTo>
                    <a:pt x="25" y="224"/>
                    <a:pt x="26" y="220"/>
                    <a:pt x="28" y="218"/>
                  </a:cubicBezTo>
                  <a:cubicBezTo>
                    <a:pt x="113" y="133"/>
                    <a:pt x="113" y="133"/>
                    <a:pt x="113" y="133"/>
                  </a:cubicBezTo>
                  <a:cubicBezTo>
                    <a:pt x="121" y="141"/>
                    <a:pt x="121" y="141"/>
                    <a:pt x="121" y="141"/>
                  </a:cubicBezTo>
                  <a:cubicBezTo>
                    <a:pt x="128" y="148"/>
                    <a:pt x="128" y="148"/>
                    <a:pt x="128" y="148"/>
                  </a:cubicBezTo>
                  <a:lnTo>
                    <a:pt x="44" y="233"/>
                  </a:lnTo>
                  <a:close/>
                  <a:moveTo>
                    <a:pt x="236" y="57"/>
                  </a:moveTo>
                  <a:cubicBezTo>
                    <a:pt x="220" y="67"/>
                    <a:pt x="220" y="67"/>
                    <a:pt x="220" y="67"/>
                  </a:cubicBezTo>
                  <a:cubicBezTo>
                    <a:pt x="177" y="97"/>
                    <a:pt x="159" y="131"/>
                    <a:pt x="157" y="136"/>
                  </a:cubicBezTo>
                  <a:cubicBezTo>
                    <a:pt x="156" y="138"/>
                    <a:pt x="155" y="141"/>
                    <a:pt x="154" y="144"/>
                  </a:cubicBezTo>
                  <a:cubicBezTo>
                    <a:pt x="136" y="126"/>
                    <a:pt x="136" y="126"/>
                    <a:pt x="136" y="126"/>
                  </a:cubicBezTo>
                  <a:cubicBezTo>
                    <a:pt x="119" y="108"/>
                    <a:pt x="119" y="108"/>
                    <a:pt x="119" y="108"/>
                  </a:cubicBezTo>
                  <a:cubicBezTo>
                    <a:pt x="122" y="107"/>
                    <a:pt x="124" y="106"/>
                    <a:pt x="126" y="105"/>
                  </a:cubicBezTo>
                  <a:cubicBezTo>
                    <a:pt x="131" y="103"/>
                    <a:pt x="166" y="85"/>
                    <a:pt x="196" y="42"/>
                  </a:cubicBezTo>
                  <a:cubicBezTo>
                    <a:pt x="205" y="27"/>
                    <a:pt x="205" y="27"/>
                    <a:pt x="205" y="27"/>
                  </a:cubicBezTo>
                  <a:cubicBezTo>
                    <a:pt x="207" y="23"/>
                    <a:pt x="210" y="23"/>
                    <a:pt x="211" y="22"/>
                  </a:cubicBezTo>
                  <a:cubicBezTo>
                    <a:pt x="216" y="22"/>
                    <a:pt x="223" y="26"/>
                    <a:pt x="230" y="32"/>
                  </a:cubicBezTo>
                  <a:cubicBezTo>
                    <a:pt x="236" y="39"/>
                    <a:pt x="240" y="46"/>
                    <a:pt x="240" y="51"/>
                  </a:cubicBezTo>
                  <a:cubicBezTo>
                    <a:pt x="240" y="53"/>
                    <a:pt x="239" y="55"/>
                    <a:pt x="236" y="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64" name="Group 294">
            <a:extLst>
              <a:ext uri="{FF2B5EF4-FFF2-40B4-BE49-F238E27FC236}">
                <a16:creationId xmlns:a16="http://schemas.microsoft.com/office/drawing/2014/main" id="{2AE8D885-76AB-4670-BA55-7D46903DC1F6}"/>
              </a:ext>
            </a:extLst>
          </p:cNvPr>
          <p:cNvGrpSpPr>
            <a:grpSpLocks noChangeAspect="1"/>
          </p:cNvGrpSpPr>
          <p:nvPr/>
        </p:nvGrpSpPr>
        <p:grpSpPr bwMode="auto">
          <a:xfrm>
            <a:off x="3958742" y="2527682"/>
            <a:ext cx="367631" cy="367631"/>
            <a:chOff x="799" y="1118"/>
            <a:chExt cx="340" cy="340"/>
          </a:xfrm>
          <a:solidFill>
            <a:schemeClr val="accent4"/>
          </a:solidFill>
        </p:grpSpPr>
        <p:sp>
          <p:nvSpPr>
            <p:cNvPr id="565" name="Freeform 295">
              <a:extLst>
                <a:ext uri="{FF2B5EF4-FFF2-40B4-BE49-F238E27FC236}">
                  <a16:creationId xmlns:a16="http://schemas.microsoft.com/office/drawing/2014/main" id="{C87AA522-55B7-4E0A-B022-D63CBEC42DDD}"/>
                </a:ext>
              </a:extLst>
            </p:cNvPr>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6" name="Rectangle 296">
              <a:extLst>
                <a:ext uri="{FF2B5EF4-FFF2-40B4-BE49-F238E27FC236}">
                  <a16:creationId xmlns:a16="http://schemas.microsoft.com/office/drawing/2014/main" id="{054592C5-D0C0-4B41-9BA0-B4FD585A83A7}"/>
                </a:ext>
              </a:extLst>
            </p:cNvPr>
            <p:cNvSpPr>
              <a:spLocks noChangeArrowheads="1"/>
            </p:cNvSpPr>
            <p:nvPr/>
          </p:nvSpPr>
          <p:spPr bwMode="auto">
            <a:xfrm>
              <a:off x="877" y="1224"/>
              <a:ext cx="184" cy="1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67" name="Group 299">
            <a:extLst>
              <a:ext uri="{FF2B5EF4-FFF2-40B4-BE49-F238E27FC236}">
                <a16:creationId xmlns:a16="http://schemas.microsoft.com/office/drawing/2014/main" id="{E3FCADCB-329C-4D2B-A4E8-8DE0669DEAD7}"/>
              </a:ext>
            </a:extLst>
          </p:cNvPr>
          <p:cNvGrpSpPr>
            <a:grpSpLocks noChangeAspect="1"/>
          </p:cNvGrpSpPr>
          <p:nvPr/>
        </p:nvGrpSpPr>
        <p:grpSpPr bwMode="auto">
          <a:xfrm>
            <a:off x="4391833" y="2527682"/>
            <a:ext cx="368713" cy="367631"/>
            <a:chOff x="1166" y="1121"/>
            <a:chExt cx="341" cy="340"/>
          </a:xfrm>
          <a:solidFill>
            <a:schemeClr val="accent4"/>
          </a:solidFill>
        </p:grpSpPr>
        <p:sp>
          <p:nvSpPr>
            <p:cNvPr id="568" name="Freeform 300">
              <a:extLst>
                <a:ext uri="{FF2B5EF4-FFF2-40B4-BE49-F238E27FC236}">
                  <a16:creationId xmlns:a16="http://schemas.microsoft.com/office/drawing/2014/main" id="{DA4C3B5B-B752-4F80-8E1B-45C5CDF7A93F}"/>
                </a:ext>
              </a:extLst>
            </p:cNvPr>
            <p:cNvSpPr>
              <a:spLocks noEditPoints="1"/>
            </p:cNvSpPr>
            <p:nvPr/>
          </p:nvSpPr>
          <p:spPr bwMode="auto">
            <a:xfrm>
              <a:off x="1230" y="1213"/>
              <a:ext cx="213" cy="170"/>
            </a:xfrm>
            <a:custGeom>
              <a:avLst/>
              <a:gdLst>
                <a:gd name="T0" fmla="*/ 309 w 320"/>
                <a:gd name="T1" fmla="*/ 0 h 256"/>
                <a:gd name="T2" fmla="*/ 10 w 320"/>
                <a:gd name="T3" fmla="*/ 0 h 256"/>
                <a:gd name="T4" fmla="*/ 0 w 320"/>
                <a:gd name="T5" fmla="*/ 11 h 256"/>
                <a:gd name="T6" fmla="*/ 0 w 320"/>
                <a:gd name="T7" fmla="*/ 203 h 256"/>
                <a:gd name="T8" fmla="*/ 10 w 320"/>
                <a:gd name="T9" fmla="*/ 214 h 256"/>
                <a:gd name="T10" fmla="*/ 149 w 320"/>
                <a:gd name="T11" fmla="*/ 214 h 256"/>
                <a:gd name="T12" fmla="*/ 149 w 320"/>
                <a:gd name="T13" fmla="*/ 235 h 256"/>
                <a:gd name="T14" fmla="*/ 106 w 320"/>
                <a:gd name="T15" fmla="*/ 235 h 256"/>
                <a:gd name="T16" fmla="*/ 96 w 320"/>
                <a:gd name="T17" fmla="*/ 246 h 256"/>
                <a:gd name="T18" fmla="*/ 106 w 320"/>
                <a:gd name="T19" fmla="*/ 256 h 256"/>
                <a:gd name="T20" fmla="*/ 213 w 320"/>
                <a:gd name="T21" fmla="*/ 256 h 256"/>
                <a:gd name="T22" fmla="*/ 224 w 320"/>
                <a:gd name="T23" fmla="*/ 246 h 256"/>
                <a:gd name="T24" fmla="*/ 213 w 320"/>
                <a:gd name="T25" fmla="*/ 235 h 256"/>
                <a:gd name="T26" fmla="*/ 170 w 320"/>
                <a:gd name="T27" fmla="*/ 235 h 256"/>
                <a:gd name="T28" fmla="*/ 170 w 320"/>
                <a:gd name="T29" fmla="*/ 214 h 256"/>
                <a:gd name="T30" fmla="*/ 309 w 320"/>
                <a:gd name="T31" fmla="*/ 214 h 256"/>
                <a:gd name="T32" fmla="*/ 320 w 320"/>
                <a:gd name="T33" fmla="*/ 203 h 256"/>
                <a:gd name="T34" fmla="*/ 320 w 320"/>
                <a:gd name="T35" fmla="*/ 11 h 256"/>
                <a:gd name="T36" fmla="*/ 309 w 320"/>
                <a:gd name="T37" fmla="*/ 0 h 256"/>
                <a:gd name="T38" fmla="*/ 298 w 320"/>
                <a:gd name="T39" fmla="*/ 192 h 256"/>
                <a:gd name="T40" fmla="*/ 21 w 320"/>
                <a:gd name="T41" fmla="*/ 192 h 256"/>
                <a:gd name="T42" fmla="*/ 21 w 320"/>
                <a:gd name="T43" fmla="*/ 22 h 256"/>
                <a:gd name="T44" fmla="*/ 298 w 320"/>
                <a:gd name="T45" fmla="*/ 22 h 256"/>
                <a:gd name="T46" fmla="*/ 298 w 320"/>
                <a:gd name="T47"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56">
                  <a:moveTo>
                    <a:pt x="309" y="0"/>
                  </a:moveTo>
                  <a:cubicBezTo>
                    <a:pt x="10" y="0"/>
                    <a:pt x="10" y="0"/>
                    <a:pt x="10" y="0"/>
                  </a:cubicBezTo>
                  <a:cubicBezTo>
                    <a:pt x="4" y="0"/>
                    <a:pt x="0" y="5"/>
                    <a:pt x="0" y="11"/>
                  </a:cubicBezTo>
                  <a:cubicBezTo>
                    <a:pt x="0" y="203"/>
                    <a:pt x="0" y="203"/>
                    <a:pt x="0" y="203"/>
                  </a:cubicBezTo>
                  <a:cubicBezTo>
                    <a:pt x="0" y="209"/>
                    <a:pt x="4" y="214"/>
                    <a:pt x="10" y="214"/>
                  </a:cubicBezTo>
                  <a:cubicBezTo>
                    <a:pt x="149" y="214"/>
                    <a:pt x="149" y="214"/>
                    <a:pt x="149" y="214"/>
                  </a:cubicBezTo>
                  <a:cubicBezTo>
                    <a:pt x="149" y="235"/>
                    <a:pt x="149" y="235"/>
                    <a:pt x="149" y="235"/>
                  </a:cubicBezTo>
                  <a:cubicBezTo>
                    <a:pt x="106" y="235"/>
                    <a:pt x="106" y="235"/>
                    <a:pt x="106" y="235"/>
                  </a:cubicBezTo>
                  <a:cubicBezTo>
                    <a:pt x="100" y="235"/>
                    <a:pt x="96" y="240"/>
                    <a:pt x="96" y="246"/>
                  </a:cubicBezTo>
                  <a:cubicBezTo>
                    <a:pt x="96" y="252"/>
                    <a:pt x="100" y="256"/>
                    <a:pt x="106" y="256"/>
                  </a:cubicBezTo>
                  <a:cubicBezTo>
                    <a:pt x="213" y="256"/>
                    <a:pt x="213" y="256"/>
                    <a:pt x="213" y="256"/>
                  </a:cubicBezTo>
                  <a:cubicBezTo>
                    <a:pt x="219" y="256"/>
                    <a:pt x="224" y="252"/>
                    <a:pt x="224" y="246"/>
                  </a:cubicBezTo>
                  <a:cubicBezTo>
                    <a:pt x="224" y="240"/>
                    <a:pt x="219" y="235"/>
                    <a:pt x="213" y="235"/>
                  </a:cubicBezTo>
                  <a:cubicBezTo>
                    <a:pt x="170" y="235"/>
                    <a:pt x="170" y="235"/>
                    <a:pt x="170" y="235"/>
                  </a:cubicBezTo>
                  <a:cubicBezTo>
                    <a:pt x="170" y="214"/>
                    <a:pt x="170" y="214"/>
                    <a:pt x="170"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9" name="Freeform 301">
              <a:extLst>
                <a:ext uri="{FF2B5EF4-FFF2-40B4-BE49-F238E27FC236}">
                  <a16:creationId xmlns:a16="http://schemas.microsoft.com/office/drawing/2014/main" id="{A16AF9E6-68D4-4835-84A0-6922AB2BA125}"/>
                </a:ext>
              </a:extLst>
            </p:cNvPr>
            <p:cNvSpPr>
              <a:spLocks noEditPoints="1"/>
            </p:cNvSpPr>
            <p:nvPr/>
          </p:nvSpPr>
          <p:spPr bwMode="auto">
            <a:xfrm>
              <a:off x="1166" y="11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0" name="Freeform 305">
            <a:extLst>
              <a:ext uri="{FF2B5EF4-FFF2-40B4-BE49-F238E27FC236}">
                <a16:creationId xmlns:a16="http://schemas.microsoft.com/office/drawing/2014/main" id="{865272AA-8391-4A07-B4C5-4A23962187D3}"/>
              </a:ext>
            </a:extLst>
          </p:cNvPr>
          <p:cNvSpPr>
            <a:spLocks noChangeAspect="1" noEditPoints="1"/>
          </p:cNvSpPr>
          <p:nvPr/>
        </p:nvSpPr>
        <p:spPr bwMode="auto">
          <a:xfrm>
            <a:off x="479114" y="3285438"/>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149 h 512"/>
              <a:gd name="T12" fmla="*/ 277 w 512"/>
              <a:gd name="T13" fmla="*/ 170 h 512"/>
              <a:gd name="T14" fmla="*/ 256 w 512"/>
              <a:gd name="T15" fmla="*/ 192 h 512"/>
              <a:gd name="T16" fmla="*/ 234 w 512"/>
              <a:gd name="T17" fmla="*/ 170 h 512"/>
              <a:gd name="T18" fmla="*/ 256 w 512"/>
              <a:gd name="T19" fmla="*/ 149 h 512"/>
              <a:gd name="T20" fmla="*/ 256 w 512"/>
              <a:gd name="T21" fmla="*/ 362 h 512"/>
              <a:gd name="T22" fmla="*/ 234 w 512"/>
              <a:gd name="T23" fmla="*/ 341 h 512"/>
              <a:gd name="T24" fmla="*/ 256 w 512"/>
              <a:gd name="T25" fmla="*/ 320 h 512"/>
              <a:gd name="T26" fmla="*/ 277 w 512"/>
              <a:gd name="T27" fmla="*/ 341 h 512"/>
              <a:gd name="T28" fmla="*/ 256 w 512"/>
              <a:gd name="T29" fmla="*/ 362 h 512"/>
              <a:gd name="T30" fmla="*/ 405 w 512"/>
              <a:gd name="T31" fmla="*/ 266 h 512"/>
              <a:gd name="T32" fmla="*/ 106 w 512"/>
              <a:gd name="T33" fmla="*/ 266 h 512"/>
              <a:gd name="T34" fmla="*/ 96 w 512"/>
              <a:gd name="T35" fmla="*/ 256 h 512"/>
              <a:gd name="T36" fmla="*/ 10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149"/>
                </a:moveTo>
                <a:cubicBezTo>
                  <a:pt x="267" y="149"/>
                  <a:pt x="277" y="159"/>
                  <a:pt x="277" y="170"/>
                </a:cubicBezTo>
                <a:cubicBezTo>
                  <a:pt x="277" y="182"/>
                  <a:pt x="267" y="192"/>
                  <a:pt x="256" y="192"/>
                </a:cubicBezTo>
                <a:cubicBezTo>
                  <a:pt x="244" y="192"/>
                  <a:pt x="234" y="182"/>
                  <a:pt x="234" y="170"/>
                </a:cubicBezTo>
                <a:cubicBezTo>
                  <a:pt x="234" y="159"/>
                  <a:pt x="244" y="149"/>
                  <a:pt x="256" y="149"/>
                </a:cubicBezTo>
                <a:close/>
                <a:moveTo>
                  <a:pt x="256" y="362"/>
                </a:moveTo>
                <a:cubicBezTo>
                  <a:pt x="244" y="362"/>
                  <a:pt x="234" y="353"/>
                  <a:pt x="234" y="341"/>
                </a:cubicBezTo>
                <a:cubicBezTo>
                  <a:pt x="234" y="329"/>
                  <a:pt x="244" y="320"/>
                  <a:pt x="256" y="320"/>
                </a:cubicBezTo>
                <a:cubicBezTo>
                  <a:pt x="267" y="320"/>
                  <a:pt x="277" y="329"/>
                  <a:pt x="277" y="341"/>
                </a:cubicBezTo>
                <a:cubicBezTo>
                  <a:pt x="277" y="353"/>
                  <a:pt x="267" y="362"/>
                  <a:pt x="256" y="362"/>
                </a:cubicBezTo>
                <a:close/>
                <a:moveTo>
                  <a:pt x="405" y="266"/>
                </a:moveTo>
                <a:cubicBezTo>
                  <a:pt x="106" y="266"/>
                  <a:pt x="106" y="266"/>
                  <a:pt x="106" y="266"/>
                </a:cubicBezTo>
                <a:cubicBezTo>
                  <a:pt x="100" y="266"/>
                  <a:pt x="96" y="262"/>
                  <a:pt x="96" y="256"/>
                </a:cubicBezTo>
                <a:cubicBezTo>
                  <a:pt x="96" y="250"/>
                  <a:pt x="100" y="245"/>
                  <a:pt x="106" y="245"/>
                </a:cubicBezTo>
                <a:cubicBezTo>
                  <a:pt x="405" y="245"/>
                  <a:pt x="405" y="245"/>
                  <a:pt x="405" y="245"/>
                </a:cubicBezTo>
                <a:cubicBezTo>
                  <a:pt x="411" y="245"/>
                  <a:pt x="416" y="250"/>
                  <a:pt x="416" y="256"/>
                </a:cubicBezTo>
                <a:cubicBezTo>
                  <a:pt x="416" y="262"/>
                  <a:pt x="411" y="266"/>
                  <a:pt x="405" y="26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1" name="Group 308">
            <a:extLst>
              <a:ext uri="{FF2B5EF4-FFF2-40B4-BE49-F238E27FC236}">
                <a16:creationId xmlns:a16="http://schemas.microsoft.com/office/drawing/2014/main" id="{260E0139-ADE2-40B3-A97A-296C8E27CEEF}"/>
              </a:ext>
            </a:extLst>
          </p:cNvPr>
          <p:cNvGrpSpPr>
            <a:grpSpLocks noChangeAspect="1"/>
          </p:cNvGrpSpPr>
          <p:nvPr/>
        </p:nvGrpSpPr>
        <p:grpSpPr bwMode="auto">
          <a:xfrm>
            <a:off x="914762" y="3285438"/>
            <a:ext cx="367631" cy="367631"/>
            <a:chOff x="1924" y="1137"/>
            <a:chExt cx="340" cy="340"/>
          </a:xfrm>
          <a:solidFill>
            <a:schemeClr val="accent4"/>
          </a:solidFill>
        </p:grpSpPr>
        <p:sp>
          <p:nvSpPr>
            <p:cNvPr id="572" name="Freeform 309">
              <a:extLst>
                <a:ext uri="{FF2B5EF4-FFF2-40B4-BE49-F238E27FC236}">
                  <a16:creationId xmlns:a16="http://schemas.microsoft.com/office/drawing/2014/main" id="{7AD9ED70-E102-4A28-AC0B-3B3AA3F60B6D}"/>
                </a:ext>
              </a:extLst>
            </p:cNvPr>
            <p:cNvSpPr>
              <a:spLocks noEditPoints="1"/>
            </p:cNvSpPr>
            <p:nvPr/>
          </p:nvSpPr>
          <p:spPr bwMode="auto">
            <a:xfrm>
              <a:off x="1924"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3" name="Freeform 310">
              <a:extLst>
                <a:ext uri="{FF2B5EF4-FFF2-40B4-BE49-F238E27FC236}">
                  <a16:creationId xmlns:a16="http://schemas.microsoft.com/office/drawing/2014/main" id="{C5C108C7-552A-475B-9FE1-ADB56C40B85D}"/>
                </a:ext>
              </a:extLst>
            </p:cNvPr>
            <p:cNvSpPr>
              <a:spLocks noEditPoints="1"/>
            </p:cNvSpPr>
            <p:nvPr/>
          </p:nvSpPr>
          <p:spPr bwMode="auto">
            <a:xfrm>
              <a:off x="1988" y="1236"/>
              <a:ext cx="212" cy="141"/>
            </a:xfrm>
            <a:custGeom>
              <a:avLst/>
              <a:gdLst>
                <a:gd name="T0" fmla="*/ 181 w 320"/>
                <a:gd name="T1" fmla="*/ 21 h 213"/>
                <a:gd name="T2" fmla="*/ 160 w 320"/>
                <a:gd name="T3" fmla="*/ 43 h 213"/>
                <a:gd name="T4" fmla="*/ 138 w 320"/>
                <a:gd name="T5" fmla="*/ 21 h 213"/>
                <a:gd name="T6" fmla="*/ 160 w 320"/>
                <a:gd name="T7" fmla="*/ 0 h 213"/>
                <a:gd name="T8" fmla="*/ 181 w 320"/>
                <a:gd name="T9" fmla="*/ 21 h 213"/>
                <a:gd name="T10" fmla="*/ 160 w 320"/>
                <a:gd name="T11" fmla="*/ 171 h 213"/>
                <a:gd name="T12" fmla="*/ 138 w 320"/>
                <a:gd name="T13" fmla="*/ 192 h 213"/>
                <a:gd name="T14" fmla="*/ 160 w 320"/>
                <a:gd name="T15" fmla="*/ 213 h 213"/>
                <a:gd name="T16" fmla="*/ 181 w 320"/>
                <a:gd name="T17" fmla="*/ 192 h 213"/>
                <a:gd name="T18" fmla="*/ 160 w 320"/>
                <a:gd name="T19" fmla="*/ 171 h 213"/>
                <a:gd name="T20" fmla="*/ 320 w 320"/>
                <a:gd name="T21" fmla="*/ 107 h 213"/>
                <a:gd name="T22" fmla="*/ 309 w 320"/>
                <a:gd name="T23" fmla="*/ 96 h 213"/>
                <a:gd name="T24" fmla="*/ 10 w 320"/>
                <a:gd name="T25" fmla="*/ 96 h 213"/>
                <a:gd name="T26" fmla="*/ 0 w 320"/>
                <a:gd name="T27" fmla="*/ 107 h 213"/>
                <a:gd name="T28" fmla="*/ 10 w 320"/>
                <a:gd name="T29" fmla="*/ 117 h 213"/>
                <a:gd name="T30" fmla="*/ 309 w 320"/>
                <a:gd name="T31" fmla="*/ 117 h 213"/>
                <a:gd name="T32" fmla="*/ 320 w 320"/>
                <a:gd name="T33" fmla="*/ 10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13">
                  <a:moveTo>
                    <a:pt x="181" y="21"/>
                  </a:moveTo>
                  <a:cubicBezTo>
                    <a:pt x="181" y="33"/>
                    <a:pt x="171" y="43"/>
                    <a:pt x="160" y="43"/>
                  </a:cubicBezTo>
                  <a:cubicBezTo>
                    <a:pt x="148" y="43"/>
                    <a:pt x="138" y="33"/>
                    <a:pt x="138" y="21"/>
                  </a:cubicBezTo>
                  <a:cubicBezTo>
                    <a:pt x="138" y="10"/>
                    <a:pt x="148" y="0"/>
                    <a:pt x="160" y="0"/>
                  </a:cubicBezTo>
                  <a:cubicBezTo>
                    <a:pt x="171" y="0"/>
                    <a:pt x="181" y="10"/>
                    <a:pt x="181" y="21"/>
                  </a:cubicBezTo>
                  <a:close/>
                  <a:moveTo>
                    <a:pt x="160" y="171"/>
                  </a:moveTo>
                  <a:cubicBezTo>
                    <a:pt x="148" y="171"/>
                    <a:pt x="138" y="180"/>
                    <a:pt x="138" y="192"/>
                  </a:cubicBezTo>
                  <a:cubicBezTo>
                    <a:pt x="138" y="204"/>
                    <a:pt x="148" y="213"/>
                    <a:pt x="160" y="213"/>
                  </a:cubicBezTo>
                  <a:cubicBezTo>
                    <a:pt x="171" y="213"/>
                    <a:pt x="181" y="204"/>
                    <a:pt x="181" y="192"/>
                  </a:cubicBezTo>
                  <a:cubicBezTo>
                    <a:pt x="181" y="180"/>
                    <a:pt x="171" y="171"/>
                    <a:pt x="160" y="171"/>
                  </a:cubicBezTo>
                  <a:close/>
                  <a:moveTo>
                    <a:pt x="320" y="107"/>
                  </a:moveTo>
                  <a:cubicBezTo>
                    <a:pt x="320" y="101"/>
                    <a:pt x="315" y="96"/>
                    <a:pt x="309" y="96"/>
                  </a:cubicBezTo>
                  <a:cubicBezTo>
                    <a:pt x="10" y="96"/>
                    <a:pt x="10" y="96"/>
                    <a:pt x="10" y="96"/>
                  </a:cubicBezTo>
                  <a:cubicBezTo>
                    <a:pt x="4" y="96"/>
                    <a:pt x="0" y="101"/>
                    <a:pt x="0" y="107"/>
                  </a:cubicBezTo>
                  <a:cubicBezTo>
                    <a:pt x="0" y="113"/>
                    <a:pt x="4" y="117"/>
                    <a:pt x="10" y="117"/>
                  </a:cubicBezTo>
                  <a:cubicBezTo>
                    <a:pt x="309" y="117"/>
                    <a:pt x="309" y="117"/>
                    <a:pt x="309" y="117"/>
                  </a:cubicBezTo>
                  <a:cubicBezTo>
                    <a:pt x="315" y="117"/>
                    <a:pt x="320" y="113"/>
                    <a:pt x="320"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4" name="Freeform 54">
            <a:extLst>
              <a:ext uri="{FF2B5EF4-FFF2-40B4-BE49-F238E27FC236}">
                <a16:creationId xmlns:a16="http://schemas.microsoft.com/office/drawing/2014/main" id="{462C6EE9-6465-4FCF-9DB2-92517BB1F267}"/>
              </a:ext>
            </a:extLst>
          </p:cNvPr>
          <p:cNvSpPr>
            <a:spLocks noChangeAspect="1" noEditPoints="1"/>
          </p:cNvSpPr>
          <p:nvPr/>
        </p:nvSpPr>
        <p:spPr bwMode="auto">
          <a:xfrm>
            <a:off x="3964298" y="3285438"/>
            <a:ext cx="367631" cy="367631"/>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5" name="Group 57">
            <a:extLst>
              <a:ext uri="{FF2B5EF4-FFF2-40B4-BE49-F238E27FC236}">
                <a16:creationId xmlns:a16="http://schemas.microsoft.com/office/drawing/2014/main" id="{77382626-7694-4BBC-83BB-9227747B5797}"/>
              </a:ext>
            </a:extLst>
          </p:cNvPr>
          <p:cNvGrpSpPr>
            <a:grpSpLocks noChangeAspect="1"/>
          </p:cNvGrpSpPr>
          <p:nvPr/>
        </p:nvGrpSpPr>
        <p:grpSpPr bwMode="auto">
          <a:xfrm>
            <a:off x="4399946" y="3285438"/>
            <a:ext cx="367631" cy="367631"/>
            <a:chOff x="3880" y="2160"/>
            <a:chExt cx="340" cy="340"/>
          </a:xfrm>
          <a:solidFill>
            <a:schemeClr val="accent1"/>
          </a:solidFill>
        </p:grpSpPr>
        <p:sp>
          <p:nvSpPr>
            <p:cNvPr id="576" name="Freeform 58">
              <a:extLst>
                <a:ext uri="{FF2B5EF4-FFF2-40B4-BE49-F238E27FC236}">
                  <a16:creationId xmlns:a16="http://schemas.microsoft.com/office/drawing/2014/main" id="{081C3B08-724C-4C83-B1A3-42CEBA18BC97}"/>
                </a:ext>
              </a:extLst>
            </p:cNvPr>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7" name="Freeform 59">
              <a:extLst>
                <a:ext uri="{FF2B5EF4-FFF2-40B4-BE49-F238E27FC236}">
                  <a16:creationId xmlns:a16="http://schemas.microsoft.com/office/drawing/2014/main" id="{4A4AA742-80AD-49CD-B49F-7304C39468F6}"/>
                </a:ext>
              </a:extLst>
            </p:cNvPr>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8" name="Oval 60">
              <a:extLst>
                <a:ext uri="{FF2B5EF4-FFF2-40B4-BE49-F238E27FC236}">
                  <a16:creationId xmlns:a16="http://schemas.microsoft.com/office/drawing/2014/main" id="{924B3FB3-10A6-45B8-B408-BA6D03661569}"/>
                </a:ext>
              </a:extLst>
            </p:cNvPr>
            <p:cNvSpPr>
              <a:spLocks noChangeArrowheads="1"/>
            </p:cNvSpPr>
            <p:nvPr/>
          </p:nvSpPr>
          <p:spPr bwMode="auto">
            <a:xfrm>
              <a:off x="4014" y="2315"/>
              <a:ext cx="15"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9" name="Oval 61">
              <a:extLst>
                <a:ext uri="{FF2B5EF4-FFF2-40B4-BE49-F238E27FC236}">
                  <a16:creationId xmlns:a16="http://schemas.microsoft.com/office/drawing/2014/main" id="{12CA9607-62C0-46E7-9F3D-8A87AFBE583F}"/>
                </a:ext>
              </a:extLst>
            </p:cNvPr>
            <p:cNvSpPr>
              <a:spLocks noChangeArrowheads="1"/>
            </p:cNvSpPr>
            <p:nvPr/>
          </p:nvSpPr>
          <p:spPr bwMode="auto">
            <a:xfrm>
              <a:off x="4043" y="231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0" name="Oval 62">
              <a:extLst>
                <a:ext uri="{FF2B5EF4-FFF2-40B4-BE49-F238E27FC236}">
                  <a16:creationId xmlns:a16="http://schemas.microsoft.com/office/drawing/2014/main" id="{7F9FDCC8-1522-4666-9803-623FC544EB69}"/>
                </a:ext>
              </a:extLst>
            </p:cNvPr>
            <p:cNvSpPr>
              <a:spLocks noChangeArrowheads="1"/>
            </p:cNvSpPr>
            <p:nvPr/>
          </p:nvSpPr>
          <p:spPr bwMode="auto">
            <a:xfrm>
              <a:off x="4071" y="231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1" name="Freeform 232">
            <a:extLst>
              <a:ext uri="{FF2B5EF4-FFF2-40B4-BE49-F238E27FC236}">
                <a16:creationId xmlns:a16="http://schemas.microsoft.com/office/drawing/2014/main" id="{74D9DB16-7E24-4195-B17C-2A22547D4825}"/>
              </a:ext>
            </a:extLst>
          </p:cNvPr>
          <p:cNvSpPr>
            <a:spLocks noChangeAspect="1" noEditPoints="1"/>
          </p:cNvSpPr>
          <p:nvPr/>
        </p:nvSpPr>
        <p:spPr bwMode="auto">
          <a:xfrm>
            <a:off x="10901125" y="252768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73 h 512"/>
              <a:gd name="T12" fmla="*/ 373 w 512"/>
              <a:gd name="T13" fmla="*/ 384 h 512"/>
              <a:gd name="T14" fmla="*/ 138 w 512"/>
              <a:gd name="T15" fmla="*/ 384 h 512"/>
              <a:gd name="T16" fmla="*/ 128 w 512"/>
              <a:gd name="T17" fmla="*/ 373 h 512"/>
              <a:gd name="T18" fmla="*/ 128 w 512"/>
              <a:gd name="T19" fmla="*/ 138 h 512"/>
              <a:gd name="T20" fmla="*/ 138 w 512"/>
              <a:gd name="T21" fmla="*/ 128 h 512"/>
              <a:gd name="T22" fmla="*/ 373 w 512"/>
              <a:gd name="T23" fmla="*/ 128 h 512"/>
              <a:gd name="T24" fmla="*/ 384 w 512"/>
              <a:gd name="T25" fmla="*/ 138 h 512"/>
              <a:gd name="T26" fmla="*/ 384 w 512"/>
              <a:gd name="T27" fmla="*/ 373 h 512"/>
              <a:gd name="T28" fmla="*/ 149 w 512"/>
              <a:gd name="T29" fmla="*/ 362 h 512"/>
              <a:gd name="T30" fmla="*/ 362 w 512"/>
              <a:gd name="T31" fmla="*/ 362 h 512"/>
              <a:gd name="T32" fmla="*/ 362 w 512"/>
              <a:gd name="T33" fmla="*/ 149 h 512"/>
              <a:gd name="T34" fmla="*/ 149 w 512"/>
              <a:gd name="T35" fmla="*/ 149 h 512"/>
              <a:gd name="T36" fmla="*/ 149 w 512"/>
              <a:gd name="T37" fmla="*/ 362 h 512"/>
              <a:gd name="T38" fmla="*/ 309 w 512"/>
              <a:gd name="T39" fmla="*/ 170 h 512"/>
              <a:gd name="T40" fmla="*/ 330 w 512"/>
              <a:gd name="T41" fmla="*/ 192 h 512"/>
              <a:gd name="T42" fmla="*/ 309 w 512"/>
              <a:gd name="T43" fmla="*/ 213 h 512"/>
              <a:gd name="T44" fmla="*/ 288 w 512"/>
              <a:gd name="T45" fmla="*/ 192 h 512"/>
              <a:gd name="T46" fmla="*/ 309 w 512"/>
              <a:gd name="T47" fmla="*/ 170 h 512"/>
              <a:gd name="T48" fmla="*/ 309 w 512"/>
              <a:gd name="T49" fmla="*/ 234 h 512"/>
              <a:gd name="T50" fmla="*/ 330 w 512"/>
              <a:gd name="T51" fmla="*/ 256 h 512"/>
              <a:gd name="T52" fmla="*/ 309 w 512"/>
              <a:gd name="T53" fmla="*/ 277 h 512"/>
              <a:gd name="T54" fmla="*/ 288 w 512"/>
              <a:gd name="T55" fmla="*/ 256 h 512"/>
              <a:gd name="T56" fmla="*/ 309 w 512"/>
              <a:gd name="T57" fmla="*/ 234 h 512"/>
              <a:gd name="T58" fmla="*/ 309 w 512"/>
              <a:gd name="T59" fmla="*/ 298 h 512"/>
              <a:gd name="T60" fmla="*/ 330 w 512"/>
              <a:gd name="T61" fmla="*/ 320 h 512"/>
              <a:gd name="T62" fmla="*/ 309 w 512"/>
              <a:gd name="T63" fmla="*/ 341 h 512"/>
              <a:gd name="T64" fmla="*/ 288 w 512"/>
              <a:gd name="T65" fmla="*/ 320 h 512"/>
              <a:gd name="T66" fmla="*/ 309 w 512"/>
              <a:gd name="T67" fmla="*/ 298 h 512"/>
              <a:gd name="T68" fmla="*/ 202 w 512"/>
              <a:gd name="T69" fmla="*/ 170 h 512"/>
              <a:gd name="T70" fmla="*/ 224 w 512"/>
              <a:gd name="T71" fmla="*/ 192 h 512"/>
              <a:gd name="T72" fmla="*/ 202 w 512"/>
              <a:gd name="T73" fmla="*/ 213 h 512"/>
              <a:gd name="T74" fmla="*/ 181 w 512"/>
              <a:gd name="T75" fmla="*/ 192 h 512"/>
              <a:gd name="T76" fmla="*/ 202 w 512"/>
              <a:gd name="T77" fmla="*/ 170 h 512"/>
              <a:gd name="T78" fmla="*/ 202 w 512"/>
              <a:gd name="T79" fmla="*/ 234 h 512"/>
              <a:gd name="T80" fmla="*/ 224 w 512"/>
              <a:gd name="T81" fmla="*/ 256 h 512"/>
              <a:gd name="T82" fmla="*/ 202 w 512"/>
              <a:gd name="T83" fmla="*/ 277 h 512"/>
              <a:gd name="T84" fmla="*/ 181 w 512"/>
              <a:gd name="T85" fmla="*/ 256 h 512"/>
              <a:gd name="T86" fmla="*/ 202 w 512"/>
              <a:gd name="T87" fmla="*/ 234 h 512"/>
              <a:gd name="T88" fmla="*/ 202 w 512"/>
              <a:gd name="T89" fmla="*/ 298 h 512"/>
              <a:gd name="T90" fmla="*/ 224 w 512"/>
              <a:gd name="T91" fmla="*/ 320 h 512"/>
              <a:gd name="T92" fmla="*/ 202 w 512"/>
              <a:gd name="T93" fmla="*/ 341 h 512"/>
              <a:gd name="T94" fmla="*/ 181 w 512"/>
              <a:gd name="T95" fmla="*/ 320 h 512"/>
              <a:gd name="T96" fmla="*/ 202 w 512"/>
              <a:gd name="T9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73"/>
                </a:moveTo>
                <a:cubicBezTo>
                  <a:pt x="384" y="379"/>
                  <a:pt x="379" y="384"/>
                  <a:pt x="373" y="384"/>
                </a:cubicBezTo>
                <a:cubicBezTo>
                  <a:pt x="138" y="384"/>
                  <a:pt x="138" y="384"/>
                  <a:pt x="138" y="384"/>
                </a:cubicBezTo>
                <a:cubicBezTo>
                  <a:pt x="132" y="384"/>
                  <a:pt x="128" y="379"/>
                  <a:pt x="128" y="373"/>
                </a:cubicBezTo>
                <a:cubicBezTo>
                  <a:pt x="128" y="138"/>
                  <a:pt x="128" y="138"/>
                  <a:pt x="128" y="138"/>
                </a:cubicBezTo>
                <a:cubicBezTo>
                  <a:pt x="128" y="132"/>
                  <a:pt x="132" y="128"/>
                  <a:pt x="138" y="128"/>
                </a:cubicBezTo>
                <a:cubicBezTo>
                  <a:pt x="373" y="128"/>
                  <a:pt x="373" y="128"/>
                  <a:pt x="373" y="128"/>
                </a:cubicBezTo>
                <a:cubicBezTo>
                  <a:pt x="379" y="128"/>
                  <a:pt x="384" y="132"/>
                  <a:pt x="384" y="138"/>
                </a:cubicBezTo>
                <a:lnTo>
                  <a:pt x="384" y="373"/>
                </a:lnTo>
                <a:close/>
                <a:moveTo>
                  <a:pt x="149" y="362"/>
                </a:moveTo>
                <a:cubicBezTo>
                  <a:pt x="362" y="362"/>
                  <a:pt x="362" y="362"/>
                  <a:pt x="362" y="362"/>
                </a:cubicBezTo>
                <a:cubicBezTo>
                  <a:pt x="362" y="149"/>
                  <a:pt x="362" y="149"/>
                  <a:pt x="362" y="149"/>
                </a:cubicBezTo>
                <a:cubicBezTo>
                  <a:pt x="149" y="149"/>
                  <a:pt x="149" y="149"/>
                  <a:pt x="149" y="149"/>
                </a:cubicBezTo>
                <a:lnTo>
                  <a:pt x="149" y="362"/>
                </a:lnTo>
                <a:close/>
                <a:moveTo>
                  <a:pt x="309" y="170"/>
                </a:moveTo>
                <a:cubicBezTo>
                  <a:pt x="321" y="170"/>
                  <a:pt x="330" y="180"/>
                  <a:pt x="330" y="192"/>
                </a:cubicBezTo>
                <a:cubicBezTo>
                  <a:pt x="330" y="203"/>
                  <a:pt x="321" y="213"/>
                  <a:pt x="309" y="213"/>
                </a:cubicBezTo>
                <a:cubicBezTo>
                  <a:pt x="297" y="213"/>
                  <a:pt x="288" y="203"/>
                  <a:pt x="288" y="192"/>
                </a:cubicBezTo>
                <a:cubicBezTo>
                  <a:pt x="288" y="180"/>
                  <a:pt x="297" y="170"/>
                  <a:pt x="309" y="170"/>
                </a:cubicBezTo>
                <a:close/>
                <a:moveTo>
                  <a:pt x="309" y="234"/>
                </a:moveTo>
                <a:cubicBezTo>
                  <a:pt x="321" y="234"/>
                  <a:pt x="330" y="244"/>
                  <a:pt x="330" y="256"/>
                </a:cubicBezTo>
                <a:cubicBezTo>
                  <a:pt x="330" y="267"/>
                  <a:pt x="321" y="277"/>
                  <a:pt x="309" y="277"/>
                </a:cubicBezTo>
                <a:cubicBezTo>
                  <a:pt x="297" y="277"/>
                  <a:pt x="288" y="267"/>
                  <a:pt x="288" y="256"/>
                </a:cubicBezTo>
                <a:cubicBezTo>
                  <a:pt x="288" y="244"/>
                  <a:pt x="297" y="234"/>
                  <a:pt x="309" y="234"/>
                </a:cubicBezTo>
                <a:close/>
                <a:moveTo>
                  <a:pt x="309" y="298"/>
                </a:moveTo>
                <a:cubicBezTo>
                  <a:pt x="321" y="298"/>
                  <a:pt x="330" y="308"/>
                  <a:pt x="330" y="320"/>
                </a:cubicBezTo>
                <a:cubicBezTo>
                  <a:pt x="330" y="331"/>
                  <a:pt x="321" y="341"/>
                  <a:pt x="309" y="341"/>
                </a:cubicBezTo>
                <a:cubicBezTo>
                  <a:pt x="297" y="341"/>
                  <a:pt x="288" y="331"/>
                  <a:pt x="288" y="320"/>
                </a:cubicBezTo>
                <a:cubicBezTo>
                  <a:pt x="288" y="308"/>
                  <a:pt x="297" y="298"/>
                  <a:pt x="309" y="298"/>
                </a:cubicBezTo>
                <a:close/>
                <a:moveTo>
                  <a:pt x="202" y="170"/>
                </a:moveTo>
                <a:cubicBezTo>
                  <a:pt x="214" y="170"/>
                  <a:pt x="224" y="180"/>
                  <a:pt x="224" y="192"/>
                </a:cubicBezTo>
                <a:cubicBezTo>
                  <a:pt x="224" y="203"/>
                  <a:pt x="214" y="213"/>
                  <a:pt x="202" y="213"/>
                </a:cubicBezTo>
                <a:cubicBezTo>
                  <a:pt x="191" y="213"/>
                  <a:pt x="181" y="203"/>
                  <a:pt x="181" y="192"/>
                </a:cubicBezTo>
                <a:cubicBezTo>
                  <a:pt x="181" y="180"/>
                  <a:pt x="191" y="170"/>
                  <a:pt x="202" y="170"/>
                </a:cubicBezTo>
                <a:close/>
                <a:moveTo>
                  <a:pt x="202" y="234"/>
                </a:moveTo>
                <a:cubicBezTo>
                  <a:pt x="214" y="234"/>
                  <a:pt x="224" y="244"/>
                  <a:pt x="224" y="256"/>
                </a:cubicBezTo>
                <a:cubicBezTo>
                  <a:pt x="224" y="267"/>
                  <a:pt x="214" y="277"/>
                  <a:pt x="202" y="277"/>
                </a:cubicBezTo>
                <a:cubicBezTo>
                  <a:pt x="191" y="277"/>
                  <a:pt x="181" y="267"/>
                  <a:pt x="181" y="256"/>
                </a:cubicBezTo>
                <a:cubicBezTo>
                  <a:pt x="181" y="244"/>
                  <a:pt x="191" y="234"/>
                  <a:pt x="202" y="234"/>
                </a:cubicBezTo>
                <a:close/>
                <a:moveTo>
                  <a:pt x="202" y="298"/>
                </a:moveTo>
                <a:cubicBezTo>
                  <a:pt x="214" y="298"/>
                  <a:pt x="224" y="308"/>
                  <a:pt x="224" y="320"/>
                </a:cubicBezTo>
                <a:cubicBezTo>
                  <a:pt x="224" y="331"/>
                  <a:pt x="214" y="341"/>
                  <a:pt x="202" y="341"/>
                </a:cubicBezTo>
                <a:cubicBezTo>
                  <a:pt x="191" y="341"/>
                  <a:pt x="181" y="331"/>
                  <a:pt x="181" y="320"/>
                </a:cubicBezTo>
                <a:cubicBezTo>
                  <a:pt x="181" y="308"/>
                  <a:pt x="191" y="298"/>
                  <a:pt x="202" y="29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2" name="Group 235">
            <a:extLst>
              <a:ext uri="{FF2B5EF4-FFF2-40B4-BE49-F238E27FC236}">
                <a16:creationId xmlns:a16="http://schemas.microsoft.com/office/drawing/2014/main" id="{0E5CAAE6-EA72-49C8-A02D-9113B6860241}"/>
              </a:ext>
            </a:extLst>
          </p:cNvPr>
          <p:cNvGrpSpPr>
            <a:grpSpLocks noChangeAspect="1"/>
          </p:cNvGrpSpPr>
          <p:nvPr/>
        </p:nvGrpSpPr>
        <p:grpSpPr bwMode="auto">
          <a:xfrm>
            <a:off x="11334204" y="2512096"/>
            <a:ext cx="368712" cy="367631"/>
            <a:chOff x="3811" y="1259"/>
            <a:chExt cx="341" cy="340"/>
          </a:xfrm>
          <a:solidFill>
            <a:schemeClr val="accent3"/>
          </a:solidFill>
        </p:grpSpPr>
        <p:sp>
          <p:nvSpPr>
            <p:cNvPr id="583" name="Freeform 236">
              <a:extLst>
                <a:ext uri="{FF2B5EF4-FFF2-40B4-BE49-F238E27FC236}">
                  <a16:creationId xmlns:a16="http://schemas.microsoft.com/office/drawing/2014/main" id="{1CF2FACA-83F1-4AC4-BC1D-0D4E8AC15F94}"/>
                </a:ext>
              </a:extLst>
            </p:cNvPr>
            <p:cNvSpPr>
              <a:spLocks noEditPoints="1"/>
            </p:cNvSpPr>
            <p:nvPr/>
          </p:nvSpPr>
          <p:spPr bwMode="auto">
            <a:xfrm>
              <a:off x="3896" y="1344"/>
              <a:ext cx="171" cy="170"/>
            </a:xfrm>
            <a:custGeom>
              <a:avLst/>
              <a:gdLst>
                <a:gd name="T0" fmla="*/ 245 w 256"/>
                <a:gd name="T1" fmla="*/ 0 h 256"/>
                <a:gd name="T2" fmla="*/ 10 w 256"/>
                <a:gd name="T3" fmla="*/ 0 h 256"/>
                <a:gd name="T4" fmla="*/ 0 w 256"/>
                <a:gd name="T5" fmla="*/ 10 h 256"/>
                <a:gd name="T6" fmla="*/ 0 w 256"/>
                <a:gd name="T7" fmla="*/ 245 h 256"/>
                <a:gd name="T8" fmla="*/ 10 w 256"/>
                <a:gd name="T9" fmla="*/ 256 h 256"/>
                <a:gd name="T10" fmla="*/ 245 w 256"/>
                <a:gd name="T11" fmla="*/ 256 h 256"/>
                <a:gd name="T12" fmla="*/ 256 w 256"/>
                <a:gd name="T13" fmla="*/ 245 h 256"/>
                <a:gd name="T14" fmla="*/ 256 w 256"/>
                <a:gd name="T15" fmla="*/ 10 h 256"/>
                <a:gd name="T16" fmla="*/ 245 w 256"/>
                <a:gd name="T17" fmla="*/ 0 h 256"/>
                <a:gd name="T18" fmla="*/ 234 w 256"/>
                <a:gd name="T19" fmla="*/ 234 h 256"/>
                <a:gd name="T20" fmla="*/ 21 w 256"/>
                <a:gd name="T21" fmla="*/ 234 h 256"/>
                <a:gd name="T22" fmla="*/ 21 w 256"/>
                <a:gd name="T23" fmla="*/ 21 h 256"/>
                <a:gd name="T24" fmla="*/ 234 w 256"/>
                <a:gd name="T25" fmla="*/ 21 h 256"/>
                <a:gd name="T26" fmla="*/ 234 w 256"/>
                <a:gd name="T27" fmla="*/ 234 h 256"/>
                <a:gd name="T28" fmla="*/ 160 w 256"/>
                <a:gd name="T29" fmla="*/ 64 h 256"/>
                <a:gd name="T30" fmla="*/ 181 w 256"/>
                <a:gd name="T31" fmla="*/ 42 h 256"/>
                <a:gd name="T32" fmla="*/ 202 w 256"/>
                <a:gd name="T33" fmla="*/ 64 h 256"/>
                <a:gd name="T34" fmla="*/ 181 w 256"/>
                <a:gd name="T35" fmla="*/ 85 h 256"/>
                <a:gd name="T36" fmla="*/ 160 w 256"/>
                <a:gd name="T37" fmla="*/ 64 h 256"/>
                <a:gd name="T38" fmla="*/ 160 w 256"/>
                <a:gd name="T39" fmla="*/ 128 h 256"/>
                <a:gd name="T40" fmla="*/ 181 w 256"/>
                <a:gd name="T41" fmla="*/ 106 h 256"/>
                <a:gd name="T42" fmla="*/ 202 w 256"/>
                <a:gd name="T43" fmla="*/ 128 h 256"/>
                <a:gd name="T44" fmla="*/ 181 w 256"/>
                <a:gd name="T45" fmla="*/ 149 h 256"/>
                <a:gd name="T46" fmla="*/ 160 w 256"/>
                <a:gd name="T47" fmla="*/ 128 h 256"/>
                <a:gd name="T48" fmla="*/ 160 w 256"/>
                <a:gd name="T49" fmla="*/ 192 h 256"/>
                <a:gd name="T50" fmla="*/ 181 w 256"/>
                <a:gd name="T51" fmla="*/ 170 h 256"/>
                <a:gd name="T52" fmla="*/ 202 w 256"/>
                <a:gd name="T53" fmla="*/ 192 h 256"/>
                <a:gd name="T54" fmla="*/ 181 w 256"/>
                <a:gd name="T55" fmla="*/ 213 h 256"/>
                <a:gd name="T56" fmla="*/ 160 w 256"/>
                <a:gd name="T57" fmla="*/ 192 h 256"/>
                <a:gd name="T58" fmla="*/ 53 w 256"/>
                <a:gd name="T59" fmla="*/ 192 h 256"/>
                <a:gd name="T60" fmla="*/ 74 w 256"/>
                <a:gd name="T61" fmla="*/ 170 h 256"/>
                <a:gd name="T62" fmla="*/ 96 w 256"/>
                <a:gd name="T63" fmla="*/ 192 h 256"/>
                <a:gd name="T64" fmla="*/ 74 w 256"/>
                <a:gd name="T65" fmla="*/ 213 h 256"/>
                <a:gd name="T66" fmla="*/ 53 w 256"/>
                <a:gd name="T67" fmla="*/ 192 h 256"/>
                <a:gd name="T68" fmla="*/ 53 w 256"/>
                <a:gd name="T69" fmla="*/ 128 h 256"/>
                <a:gd name="T70" fmla="*/ 74 w 256"/>
                <a:gd name="T71" fmla="*/ 106 h 256"/>
                <a:gd name="T72" fmla="*/ 96 w 256"/>
                <a:gd name="T73" fmla="*/ 128 h 256"/>
                <a:gd name="T74" fmla="*/ 74 w 256"/>
                <a:gd name="T75" fmla="*/ 149 h 256"/>
                <a:gd name="T76" fmla="*/ 53 w 256"/>
                <a:gd name="T77" fmla="*/ 128 h 256"/>
                <a:gd name="T78" fmla="*/ 53 w 256"/>
                <a:gd name="T79" fmla="*/ 64 h 256"/>
                <a:gd name="T80" fmla="*/ 74 w 256"/>
                <a:gd name="T81" fmla="*/ 42 h 256"/>
                <a:gd name="T82" fmla="*/ 96 w 256"/>
                <a:gd name="T83" fmla="*/ 64 h 256"/>
                <a:gd name="T84" fmla="*/ 74 w 256"/>
                <a:gd name="T85" fmla="*/ 85 h 256"/>
                <a:gd name="T86" fmla="*/ 53 w 256"/>
                <a:gd name="T87" fmla="*/ 6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6" h="256">
                  <a:moveTo>
                    <a:pt x="245" y="0"/>
                  </a:moveTo>
                  <a:cubicBezTo>
                    <a:pt x="10" y="0"/>
                    <a:pt x="10" y="0"/>
                    <a:pt x="10" y="0"/>
                  </a:cubicBezTo>
                  <a:cubicBezTo>
                    <a:pt x="4" y="0"/>
                    <a:pt x="0" y="4"/>
                    <a:pt x="0" y="10"/>
                  </a:cubicBezTo>
                  <a:cubicBezTo>
                    <a:pt x="0" y="245"/>
                    <a:pt x="0" y="245"/>
                    <a:pt x="0" y="245"/>
                  </a:cubicBezTo>
                  <a:cubicBezTo>
                    <a:pt x="0" y="251"/>
                    <a:pt x="4" y="256"/>
                    <a:pt x="10" y="256"/>
                  </a:cubicBezTo>
                  <a:cubicBezTo>
                    <a:pt x="245" y="256"/>
                    <a:pt x="245" y="256"/>
                    <a:pt x="245" y="256"/>
                  </a:cubicBezTo>
                  <a:cubicBezTo>
                    <a:pt x="251" y="256"/>
                    <a:pt x="256" y="251"/>
                    <a:pt x="256" y="245"/>
                  </a:cubicBezTo>
                  <a:cubicBezTo>
                    <a:pt x="256" y="10"/>
                    <a:pt x="256" y="10"/>
                    <a:pt x="256" y="10"/>
                  </a:cubicBezTo>
                  <a:cubicBezTo>
                    <a:pt x="256" y="4"/>
                    <a:pt x="251" y="0"/>
                    <a:pt x="245" y="0"/>
                  </a:cubicBezTo>
                  <a:close/>
                  <a:moveTo>
                    <a:pt x="234" y="234"/>
                  </a:moveTo>
                  <a:cubicBezTo>
                    <a:pt x="21" y="234"/>
                    <a:pt x="21" y="234"/>
                    <a:pt x="21" y="234"/>
                  </a:cubicBezTo>
                  <a:cubicBezTo>
                    <a:pt x="21" y="21"/>
                    <a:pt x="21" y="21"/>
                    <a:pt x="21" y="21"/>
                  </a:cubicBezTo>
                  <a:cubicBezTo>
                    <a:pt x="234" y="21"/>
                    <a:pt x="234" y="21"/>
                    <a:pt x="234" y="21"/>
                  </a:cubicBezTo>
                  <a:lnTo>
                    <a:pt x="234" y="234"/>
                  </a:lnTo>
                  <a:close/>
                  <a:moveTo>
                    <a:pt x="160" y="64"/>
                  </a:moveTo>
                  <a:cubicBezTo>
                    <a:pt x="160" y="52"/>
                    <a:pt x="169" y="42"/>
                    <a:pt x="181" y="42"/>
                  </a:cubicBezTo>
                  <a:cubicBezTo>
                    <a:pt x="193" y="42"/>
                    <a:pt x="202" y="52"/>
                    <a:pt x="202" y="64"/>
                  </a:cubicBezTo>
                  <a:cubicBezTo>
                    <a:pt x="202" y="75"/>
                    <a:pt x="193" y="85"/>
                    <a:pt x="181" y="85"/>
                  </a:cubicBezTo>
                  <a:cubicBezTo>
                    <a:pt x="169" y="85"/>
                    <a:pt x="160" y="75"/>
                    <a:pt x="160" y="64"/>
                  </a:cubicBezTo>
                  <a:close/>
                  <a:moveTo>
                    <a:pt x="160" y="128"/>
                  </a:moveTo>
                  <a:cubicBezTo>
                    <a:pt x="160" y="116"/>
                    <a:pt x="169" y="106"/>
                    <a:pt x="181" y="106"/>
                  </a:cubicBezTo>
                  <a:cubicBezTo>
                    <a:pt x="193" y="106"/>
                    <a:pt x="202" y="116"/>
                    <a:pt x="202" y="128"/>
                  </a:cubicBezTo>
                  <a:cubicBezTo>
                    <a:pt x="202" y="139"/>
                    <a:pt x="193" y="149"/>
                    <a:pt x="181" y="149"/>
                  </a:cubicBezTo>
                  <a:cubicBezTo>
                    <a:pt x="169" y="149"/>
                    <a:pt x="160" y="139"/>
                    <a:pt x="160" y="128"/>
                  </a:cubicBezTo>
                  <a:close/>
                  <a:moveTo>
                    <a:pt x="160" y="192"/>
                  </a:moveTo>
                  <a:cubicBezTo>
                    <a:pt x="160" y="180"/>
                    <a:pt x="169" y="170"/>
                    <a:pt x="181" y="170"/>
                  </a:cubicBezTo>
                  <a:cubicBezTo>
                    <a:pt x="193" y="170"/>
                    <a:pt x="202" y="180"/>
                    <a:pt x="202" y="192"/>
                  </a:cubicBezTo>
                  <a:cubicBezTo>
                    <a:pt x="202" y="203"/>
                    <a:pt x="193" y="213"/>
                    <a:pt x="181" y="213"/>
                  </a:cubicBezTo>
                  <a:cubicBezTo>
                    <a:pt x="169" y="213"/>
                    <a:pt x="160" y="203"/>
                    <a:pt x="160" y="192"/>
                  </a:cubicBezTo>
                  <a:close/>
                  <a:moveTo>
                    <a:pt x="53" y="192"/>
                  </a:moveTo>
                  <a:cubicBezTo>
                    <a:pt x="53" y="180"/>
                    <a:pt x="63" y="170"/>
                    <a:pt x="74" y="170"/>
                  </a:cubicBezTo>
                  <a:cubicBezTo>
                    <a:pt x="86" y="170"/>
                    <a:pt x="96" y="180"/>
                    <a:pt x="96" y="192"/>
                  </a:cubicBezTo>
                  <a:cubicBezTo>
                    <a:pt x="96" y="203"/>
                    <a:pt x="86" y="213"/>
                    <a:pt x="74" y="213"/>
                  </a:cubicBezTo>
                  <a:cubicBezTo>
                    <a:pt x="63" y="213"/>
                    <a:pt x="53" y="203"/>
                    <a:pt x="53" y="192"/>
                  </a:cubicBezTo>
                  <a:close/>
                  <a:moveTo>
                    <a:pt x="53" y="128"/>
                  </a:moveTo>
                  <a:cubicBezTo>
                    <a:pt x="53" y="116"/>
                    <a:pt x="63" y="106"/>
                    <a:pt x="74" y="106"/>
                  </a:cubicBezTo>
                  <a:cubicBezTo>
                    <a:pt x="86" y="106"/>
                    <a:pt x="96" y="116"/>
                    <a:pt x="96" y="128"/>
                  </a:cubicBezTo>
                  <a:cubicBezTo>
                    <a:pt x="96" y="139"/>
                    <a:pt x="86" y="149"/>
                    <a:pt x="74" y="149"/>
                  </a:cubicBezTo>
                  <a:cubicBezTo>
                    <a:pt x="63" y="149"/>
                    <a:pt x="53" y="139"/>
                    <a:pt x="53" y="128"/>
                  </a:cubicBezTo>
                  <a:close/>
                  <a:moveTo>
                    <a:pt x="53" y="64"/>
                  </a:moveTo>
                  <a:cubicBezTo>
                    <a:pt x="53" y="52"/>
                    <a:pt x="63" y="42"/>
                    <a:pt x="74" y="42"/>
                  </a:cubicBezTo>
                  <a:cubicBezTo>
                    <a:pt x="86" y="42"/>
                    <a:pt x="96" y="52"/>
                    <a:pt x="96" y="64"/>
                  </a:cubicBezTo>
                  <a:cubicBezTo>
                    <a:pt x="96" y="75"/>
                    <a:pt x="86" y="85"/>
                    <a:pt x="74" y="85"/>
                  </a:cubicBezTo>
                  <a:cubicBezTo>
                    <a:pt x="63" y="85"/>
                    <a:pt x="53" y="75"/>
                    <a:pt x="53"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4" name="Freeform 237">
              <a:extLst>
                <a:ext uri="{FF2B5EF4-FFF2-40B4-BE49-F238E27FC236}">
                  <a16:creationId xmlns:a16="http://schemas.microsoft.com/office/drawing/2014/main" id="{7A5177F0-C64F-4EE0-972F-2672F062EC6E}"/>
                </a:ext>
              </a:extLst>
            </p:cNvPr>
            <p:cNvSpPr>
              <a:spLocks noEditPoints="1"/>
            </p:cNvSpPr>
            <p:nvPr/>
          </p:nvSpPr>
          <p:spPr bwMode="auto">
            <a:xfrm>
              <a:off x="3811" y="125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5" name="Freeform 395">
            <a:extLst>
              <a:ext uri="{FF2B5EF4-FFF2-40B4-BE49-F238E27FC236}">
                <a16:creationId xmlns:a16="http://schemas.microsoft.com/office/drawing/2014/main" id="{26CC2272-3401-4EA9-9BA6-0AFB048D1D23}"/>
              </a:ext>
            </a:extLst>
          </p:cNvPr>
          <p:cNvSpPr>
            <a:spLocks noChangeAspect="1" noEditPoints="1"/>
          </p:cNvSpPr>
          <p:nvPr/>
        </p:nvSpPr>
        <p:spPr bwMode="auto">
          <a:xfrm>
            <a:off x="6578186" y="3285438"/>
            <a:ext cx="367631" cy="367631"/>
          </a:xfrm>
          <a:custGeom>
            <a:avLst/>
            <a:gdLst>
              <a:gd name="T0" fmla="*/ 245 w 512"/>
              <a:gd name="T1" fmla="*/ 192 h 512"/>
              <a:gd name="T2" fmla="*/ 224 w 512"/>
              <a:gd name="T3" fmla="*/ 213 h 512"/>
              <a:gd name="T4" fmla="*/ 266 w 512"/>
              <a:gd name="T5" fmla="*/ 320 h 512"/>
              <a:gd name="T6" fmla="*/ 288 w 512"/>
              <a:gd name="T7" fmla="*/ 298 h 512"/>
              <a:gd name="T8" fmla="*/ 266 w 512"/>
              <a:gd name="T9" fmla="*/ 320 h 512"/>
              <a:gd name="T10" fmla="*/ 256 w 512"/>
              <a:gd name="T11" fmla="*/ 512 h 512"/>
              <a:gd name="T12" fmla="*/ 256 w 512"/>
              <a:gd name="T13" fmla="*/ 0 h 512"/>
              <a:gd name="T14" fmla="*/ 181 w 512"/>
              <a:gd name="T15" fmla="*/ 181 h 512"/>
              <a:gd name="T16" fmla="*/ 139 w 512"/>
              <a:gd name="T17" fmla="*/ 170 h 512"/>
              <a:gd name="T18" fmla="*/ 181 w 512"/>
              <a:gd name="T19" fmla="*/ 126 h 512"/>
              <a:gd name="T20" fmla="*/ 117 w 512"/>
              <a:gd name="T21" fmla="*/ 181 h 512"/>
              <a:gd name="T22" fmla="*/ 128 w 512"/>
              <a:gd name="T23" fmla="*/ 234 h 512"/>
              <a:gd name="T24" fmla="*/ 181 w 512"/>
              <a:gd name="T25" fmla="*/ 224 h 512"/>
              <a:gd name="T26" fmla="*/ 213 w 512"/>
              <a:gd name="T27" fmla="*/ 234 h 512"/>
              <a:gd name="T28" fmla="*/ 266 w 512"/>
              <a:gd name="T29" fmla="*/ 224 h 512"/>
              <a:gd name="T30" fmla="*/ 256 w 512"/>
              <a:gd name="T31" fmla="*/ 170 h 512"/>
              <a:gd name="T32" fmla="*/ 257 w 512"/>
              <a:gd name="T33" fmla="*/ 138 h 512"/>
              <a:gd name="T34" fmla="*/ 254 w 512"/>
              <a:gd name="T35" fmla="*/ 117 h 512"/>
              <a:gd name="T36" fmla="*/ 202 w 512"/>
              <a:gd name="T37" fmla="*/ 224 h 512"/>
              <a:gd name="T38" fmla="*/ 309 w 512"/>
              <a:gd name="T39" fmla="*/ 288 h 512"/>
              <a:gd name="T40" fmla="*/ 256 w 512"/>
              <a:gd name="T41" fmla="*/ 277 h 512"/>
              <a:gd name="T42" fmla="*/ 245 w 512"/>
              <a:gd name="T43" fmla="*/ 330 h 512"/>
              <a:gd name="T44" fmla="*/ 287 w 512"/>
              <a:gd name="T45" fmla="*/ 341 h 512"/>
              <a:gd name="T46" fmla="*/ 245 w 512"/>
              <a:gd name="T47" fmla="*/ 385 h 512"/>
              <a:gd name="T48" fmla="*/ 257 w 512"/>
              <a:gd name="T49" fmla="*/ 394 h 512"/>
              <a:gd name="T50" fmla="*/ 309 w 512"/>
              <a:gd name="T51" fmla="*/ 288 h 512"/>
              <a:gd name="T52" fmla="*/ 384 w 512"/>
              <a:gd name="T53" fmla="*/ 277 h 512"/>
              <a:gd name="T54" fmla="*/ 330 w 512"/>
              <a:gd name="T55" fmla="*/ 288 h 512"/>
              <a:gd name="T56" fmla="*/ 341 w 512"/>
              <a:gd name="T57" fmla="*/ 341 h 512"/>
              <a:gd name="T58" fmla="*/ 340 w 512"/>
              <a:gd name="T59" fmla="*/ 373 h 512"/>
              <a:gd name="T60" fmla="*/ 341 w 512"/>
              <a:gd name="T61" fmla="*/ 394 h 512"/>
              <a:gd name="T62" fmla="*/ 394 w 512"/>
              <a:gd name="T63" fmla="*/ 330 h 512"/>
              <a:gd name="T64" fmla="*/ 138 w 512"/>
              <a:gd name="T65" fmla="*/ 213 h 512"/>
              <a:gd name="T66" fmla="*/ 160 w 512"/>
              <a:gd name="T67" fmla="*/ 192 h 512"/>
              <a:gd name="T68" fmla="*/ 138 w 512"/>
              <a:gd name="T69" fmla="*/ 213 h 512"/>
              <a:gd name="T70" fmla="*/ 373 w 512"/>
              <a:gd name="T71" fmla="*/ 320 h 512"/>
              <a:gd name="T72" fmla="*/ 352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24" y="192"/>
                </a:moveTo>
                <a:cubicBezTo>
                  <a:pt x="245" y="192"/>
                  <a:pt x="245" y="192"/>
                  <a:pt x="245" y="192"/>
                </a:cubicBezTo>
                <a:cubicBezTo>
                  <a:pt x="245" y="213"/>
                  <a:pt x="245" y="213"/>
                  <a:pt x="245" y="213"/>
                </a:cubicBezTo>
                <a:cubicBezTo>
                  <a:pt x="224" y="213"/>
                  <a:pt x="224" y="213"/>
                  <a:pt x="224" y="213"/>
                </a:cubicBezTo>
                <a:lnTo>
                  <a:pt x="224" y="192"/>
                </a:lnTo>
                <a:close/>
                <a:moveTo>
                  <a:pt x="266" y="320"/>
                </a:moveTo>
                <a:cubicBezTo>
                  <a:pt x="288" y="320"/>
                  <a:pt x="288" y="320"/>
                  <a:pt x="288" y="320"/>
                </a:cubicBezTo>
                <a:cubicBezTo>
                  <a:pt x="288" y="298"/>
                  <a:pt x="288" y="298"/>
                  <a:pt x="288" y="298"/>
                </a:cubicBezTo>
                <a:cubicBezTo>
                  <a:pt x="266" y="298"/>
                  <a:pt x="266" y="298"/>
                  <a:pt x="266" y="298"/>
                </a:cubicBezTo>
                <a:lnTo>
                  <a:pt x="266"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1" y="181"/>
                </a:moveTo>
                <a:cubicBezTo>
                  <a:pt x="181" y="175"/>
                  <a:pt x="176" y="170"/>
                  <a:pt x="170" y="170"/>
                </a:cubicBezTo>
                <a:cubicBezTo>
                  <a:pt x="139" y="170"/>
                  <a:pt x="139" y="170"/>
                  <a:pt x="139" y="170"/>
                </a:cubicBezTo>
                <a:cubicBezTo>
                  <a:pt x="144" y="143"/>
                  <a:pt x="168" y="139"/>
                  <a:pt x="172" y="138"/>
                </a:cubicBezTo>
                <a:cubicBezTo>
                  <a:pt x="177" y="138"/>
                  <a:pt x="182" y="132"/>
                  <a:pt x="181" y="126"/>
                </a:cubicBezTo>
                <a:cubicBezTo>
                  <a:pt x="180" y="121"/>
                  <a:pt x="175" y="117"/>
                  <a:pt x="169" y="117"/>
                </a:cubicBezTo>
                <a:cubicBezTo>
                  <a:pt x="151" y="119"/>
                  <a:pt x="117" y="135"/>
                  <a:pt x="117" y="181"/>
                </a:cubicBezTo>
                <a:cubicBezTo>
                  <a:pt x="117" y="224"/>
                  <a:pt x="117" y="224"/>
                  <a:pt x="117" y="224"/>
                </a:cubicBezTo>
                <a:cubicBezTo>
                  <a:pt x="117" y="230"/>
                  <a:pt x="122" y="234"/>
                  <a:pt x="128" y="234"/>
                </a:cubicBezTo>
                <a:cubicBezTo>
                  <a:pt x="170" y="234"/>
                  <a:pt x="170" y="234"/>
                  <a:pt x="170" y="234"/>
                </a:cubicBezTo>
                <a:cubicBezTo>
                  <a:pt x="176" y="234"/>
                  <a:pt x="181" y="230"/>
                  <a:pt x="181" y="224"/>
                </a:cubicBezTo>
                <a:lnTo>
                  <a:pt x="181" y="181"/>
                </a:lnTo>
                <a:close/>
                <a:moveTo>
                  <a:pt x="213" y="234"/>
                </a:moveTo>
                <a:cubicBezTo>
                  <a:pt x="256" y="234"/>
                  <a:pt x="256" y="234"/>
                  <a:pt x="256" y="234"/>
                </a:cubicBezTo>
                <a:cubicBezTo>
                  <a:pt x="262" y="234"/>
                  <a:pt x="266" y="230"/>
                  <a:pt x="266" y="224"/>
                </a:cubicBezTo>
                <a:cubicBezTo>
                  <a:pt x="266" y="181"/>
                  <a:pt x="266" y="181"/>
                  <a:pt x="266" y="181"/>
                </a:cubicBezTo>
                <a:cubicBezTo>
                  <a:pt x="266" y="175"/>
                  <a:pt x="262" y="170"/>
                  <a:pt x="256" y="170"/>
                </a:cubicBezTo>
                <a:cubicBezTo>
                  <a:pt x="225" y="170"/>
                  <a:pt x="225" y="170"/>
                  <a:pt x="225" y="170"/>
                </a:cubicBezTo>
                <a:cubicBezTo>
                  <a:pt x="230" y="143"/>
                  <a:pt x="254" y="139"/>
                  <a:pt x="257" y="138"/>
                </a:cubicBezTo>
                <a:cubicBezTo>
                  <a:pt x="263" y="138"/>
                  <a:pt x="267" y="132"/>
                  <a:pt x="266" y="126"/>
                </a:cubicBezTo>
                <a:cubicBezTo>
                  <a:pt x="266" y="121"/>
                  <a:pt x="260" y="117"/>
                  <a:pt x="254" y="117"/>
                </a:cubicBezTo>
                <a:cubicBezTo>
                  <a:pt x="236" y="119"/>
                  <a:pt x="202" y="135"/>
                  <a:pt x="202" y="181"/>
                </a:cubicBezTo>
                <a:cubicBezTo>
                  <a:pt x="202" y="224"/>
                  <a:pt x="202" y="224"/>
                  <a:pt x="202" y="224"/>
                </a:cubicBezTo>
                <a:cubicBezTo>
                  <a:pt x="202" y="230"/>
                  <a:pt x="207" y="234"/>
                  <a:pt x="213" y="234"/>
                </a:cubicBezTo>
                <a:close/>
                <a:moveTo>
                  <a:pt x="309" y="288"/>
                </a:moveTo>
                <a:cubicBezTo>
                  <a:pt x="309" y="282"/>
                  <a:pt x="304" y="277"/>
                  <a:pt x="298" y="277"/>
                </a:cubicBezTo>
                <a:cubicBezTo>
                  <a:pt x="256" y="277"/>
                  <a:pt x="256" y="277"/>
                  <a:pt x="256" y="277"/>
                </a:cubicBezTo>
                <a:cubicBezTo>
                  <a:pt x="250" y="277"/>
                  <a:pt x="245" y="282"/>
                  <a:pt x="245" y="288"/>
                </a:cubicBezTo>
                <a:cubicBezTo>
                  <a:pt x="245" y="330"/>
                  <a:pt x="245" y="330"/>
                  <a:pt x="245" y="330"/>
                </a:cubicBezTo>
                <a:cubicBezTo>
                  <a:pt x="245" y="336"/>
                  <a:pt x="250" y="341"/>
                  <a:pt x="256" y="341"/>
                </a:cubicBezTo>
                <a:cubicBezTo>
                  <a:pt x="287" y="341"/>
                  <a:pt x="287" y="341"/>
                  <a:pt x="287" y="341"/>
                </a:cubicBezTo>
                <a:cubicBezTo>
                  <a:pt x="282" y="369"/>
                  <a:pt x="258" y="373"/>
                  <a:pt x="254" y="373"/>
                </a:cubicBezTo>
                <a:cubicBezTo>
                  <a:pt x="249" y="374"/>
                  <a:pt x="244" y="379"/>
                  <a:pt x="245" y="385"/>
                </a:cubicBezTo>
                <a:cubicBezTo>
                  <a:pt x="246" y="390"/>
                  <a:pt x="250" y="394"/>
                  <a:pt x="256" y="394"/>
                </a:cubicBezTo>
                <a:cubicBezTo>
                  <a:pt x="256" y="394"/>
                  <a:pt x="256" y="394"/>
                  <a:pt x="257" y="394"/>
                </a:cubicBezTo>
                <a:cubicBezTo>
                  <a:pt x="275" y="392"/>
                  <a:pt x="309" y="376"/>
                  <a:pt x="309" y="330"/>
                </a:cubicBezTo>
                <a:lnTo>
                  <a:pt x="309" y="288"/>
                </a:lnTo>
                <a:close/>
                <a:moveTo>
                  <a:pt x="394" y="288"/>
                </a:moveTo>
                <a:cubicBezTo>
                  <a:pt x="394" y="282"/>
                  <a:pt x="390" y="277"/>
                  <a:pt x="384" y="277"/>
                </a:cubicBezTo>
                <a:cubicBezTo>
                  <a:pt x="341" y="277"/>
                  <a:pt x="341" y="277"/>
                  <a:pt x="341" y="277"/>
                </a:cubicBezTo>
                <a:cubicBezTo>
                  <a:pt x="335" y="277"/>
                  <a:pt x="330" y="282"/>
                  <a:pt x="330" y="288"/>
                </a:cubicBezTo>
                <a:cubicBezTo>
                  <a:pt x="330" y="330"/>
                  <a:pt x="330" y="330"/>
                  <a:pt x="330" y="330"/>
                </a:cubicBezTo>
                <a:cubicBezTo>
                  <a:pt x="330" y="336"/>
                  <a:pt x="335" y="341"/>
                  <a:pt x="341" y="341"/>
                </a:cubicBezTo>
                <a:cubicBezTo>
                  <a:pt x="372" y="341"/>
                  <a:pt x="372" y="341"/>
                  <a:pt x="372" y="341"/>
                </a:cubicBezTo>
                <a:cubicBezTo>
                  <a:pt x="367" y="369"/>
                  <a:pt x="343" y="373"/>
                  <a:pt x="340" y="373"/>
                </a:cubicBezTo>
                <a:cubicBezTo>
                  <a:pt x="334" y="374"/>
                  <a:pt x="330" y="379"/>
                  <a:pt x="330" y="385"/>
                </a:cubicBezTo>
                <a:cubicBezTo>
                  <a:pt x="331" y="390"/>
                  <a:pt x="336" y="394"/>
                  <a:pt x="341" y="394"/>
                </a:cubicBezTo>
                <a:cubicBezTo>
                  <a:pt x="341" y="394"/>
                  <a:pt x="342" y="394"/>
                  <a:pt x="342" y="394"/>
                </a:cubicBezTo>
                <a:cubicBezTo>
                  <a:pt x="360" y="392"/>
                  <a:pt x="394" y="376"/>
                  <a:pt x="394" y="330"/>
                </a:cubicBezTo>
                <a:lnTo>
                  <a:pt x="394" y="288"/>
                </a:lnTo>
                <a:close/>
                <a:moveTo>
                  <a:pt x="138" y="213"/>
                </a:moveTo>
                <a:cubicBezTo>
                  <a:pt x="160" y="213"/>
                  <a:pt x="160" y="213"/>
                  <a:pt x="160" y="213"/>
                </a:cubicBezTo>
                <a:cubicBezTo>
                  <a:pt x="160" y="192"/>
                  <a:pt x="160" y="192"/>
                  <a:pt x="160" y="192"/>
                </a:cubicBezTo>
                <a:cubicBezTo>
                  <a:pt x="138" y="192"/>
                  <a:pt x="138" y="192"/>
                  <a:pt x="138" y="192"/>
                </a:cubicBezTo>
                <a:lnTo>
                  <a:pt x="138" y="213"/>
                </a:lnTo>
                <a:close/>
                <a:moveTo>
                  <a:pt x="352" y="320"/>
                </a:moveTo>
                <a:cubicBezTo>
                  <a:pt x="373" y="320"/>
                  <a:pt x="373" y="320"/>
                  <a:pt x="373" y="320"/>
                </a:cubicBezTo>
                <a:cubicBezTo>
                  <a:pt x="373" y="298"/>
                  <a:pt x="373" y="298"/>
                  <a:pt x="373" y="298"/>
                </a:cubicBezTo>
                <a:cubicBezTo>
                  <a:pt x="352" y="298"/>
                  <a:pt x="352" y="298"/>
                  <a:pt x="352" y="298"/>
                </a:cubicBezTo>
                <a:lnTo>
                  <a:pt x="352" y="32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6" name="Group 398">
            <a:extLst>
              <a:ext uri="{FF2B5EF4-FFF2-40B4-BE49-F238E27FC236}">
                <a16:creationId xmlns:a16="http://schemas.microsoft.com/office/drawing/2014/main" id="{663BD619-6245-4474-8058-43E8ADB5ED18}"/>
              </a:ext>
            </a:extLst>
          </p:cNvPr>
          <p:cNvGrpSpPr>
            <a:grpSpLocks noChangeAspect="1"/>
          </p:cNvGrpSpPr>
          <p:nvPr/>
        </p:nvGrpSpPr>
        <p:grpSpPr bwMode="auto">
          <a:xfrm>
            <a:off x="7013834" y="3285438"/>
            <a:ext cx="367631" cy="367631"/>
            <a:chOff x="1172" y="1575"/>
            <a:chExt cx="340" cy="340"/>
          </a:xfrm>
          <a:solidFill>
            <a:schemeClr val="accent5"/>
          </a:solidFill>
        </p:grpSpPr>
        <p:sp>
          <p:nvSpPr>
            <p:cNvPr id="587" name="Freeform 399">
              <a:extLst>
                <a:ext uri="{FF2B5EF4-FFF2-40B4-BE49-F238E27FC236}">
                  <a16:creationId xmlns:a16="http://schemas.microsoft.com/office/drawing/2014/main" id="{93206051-D932-488C-AF3C-FAEBA1D9A31C}"/>
                </a:ext>
              </a:extLst>
            </p:cNvPr>
            <p:cNvSpPr>
              <a:spLocks noEditPoints="1"/>
            </p:cNvSpPr>
            <p:nvPr/>
          </p:nvSpPr>
          <p:spPr bwMode="auto">
            <a:xfrm>
              <a:off x="1172" y="157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8" name="Freeform 400">
              <a:extLst>
                <a:ext uri="{FF2B5EF4-FFF2-40B4-BE49-F238E27FC236}">
                  <a16:creationId xmlns:a16="http://schemas.microsoft.com/office/drawing/2014/main" id="{A66B1EB4-4EC0-42CD-9638-60CFD2EFCD2A}"/>
                </a:ext>
              </a:extLst>
            </p:cNvPr>
            <p:cNvSpPr>
              <a:spLocks noEditPoints="1"/>
            </p:cNvSpPr>
            <p:nvPr/>
          </p:nvSpPr>
          <p:spPr bwMode="auto">
            <a:xfrm>
              <a:off x="1250" y="1653"/>
              <a:ext cx="184" cy="184"/>
            </a:xfrm>
            <a:custGeom>
              <a:avLst/>
              <a:gdLst>
                <a:gd name="T0" fmla="*/ 22 w 277"/>
                <a:gd name="T1" fmla="*/ 53 h 277"/>
                <a:gd name="T2" fmla="*/ 64 w 277"/>
                <a:gd name="T3" fmla="*/ 9 h 277"/>
                <a:gd name="T4" fmla="*/ 0 w 277"/>
                <a:gd name="T5" fmla="*/ 64 h 277"/>
                <a:gd name="T6" fmla="*/ 11 w 277"/>
                <a:gd name="T7" fmla="*/ 117 h 277"/>
                <a:gd name="T8" fmla="*/ 64 w 277"/>
                <a:gd name="T9" fmla="*/ 107 h 277"/>
                <a:gd name="T10" fmla="*/ 53 w 277"/>
                <a:gd name="T11" fmla="*/ 53 h 277"/>
                <a:gd name="T12" fmla="*/ 21 w 277"/>
                <a:gd name="T13" fmla="*/ 96 h 277"/>
                <a:gd name="T14" fmla="*/ 43 w 277"/>
                <a:gd name="T15" fmla="*/ 75 h 277"/>
                <a:gd name="T16" fmla="*/ 149 w 277"/>
                <a:gd name="T17" fmla="*/ 107 h 277"/>
                <a:gd name="T18" fmla="*/ 139 w 277"/>
                <a:gd name="T19" fmla="*/ 53 h 277"/>
                <a:gd name="T20" fmla="*/ 140 w 277"/>
                <a:gd name="T21" fmla="*/ 21 h 277"/>
                <a:gd name="T22" fmla="*/ 137 w 277"/>
                <a:gd name="T23" fmla="*/ 0 h 277"/>
                <a:gd name="T24" fmla="*/ 85 w 277"/>
                <a:gd name="T25" fmla="*/ 107 h 277"/>
                <a:gd name="T26" fmla="*/ 139 w 277"/>
                <a:gd name="T27" fmla="*/ 117 h 277"/>
                <a:gd name="T28" fmla="*/ 128 w 277"/>
                <a:gd name="T29" fmla="*/ 96 h 277"/>
                <a:gd name="T30" fmla="*/ 107 w 277"/>
                <a:gd name="T31" fmla="*/ 75 h 277"/>
                <a:gd name="T32" fmla="*/ 128 w 277"/>
                <a:gd name="T33" fmla="*/ 96 h 277"/>
                <a:gd name="T34" fmla="*/ 224 w 277"/>
                <a:gd name="T35" fmla="*/ 160 h 277"/>
                <a:gd name="T36" fmla="*/ 213 w 277"/>
                <a:gd name="T37" fmla="*/ 213 h 277"/>
                <a:gd name="T38" fmla="*/ 255 w 277"/>
                <a:gd name="T39" fmla="*/ 224 h 277"/>
                <a:gd name="T40" fmla="*/ 213 w 277"/>
                <a:gd name="T41" fmla="*/ 268 h 277"/>
                <a:gd name="T42" fmla="*/ 225 w 277"/>
                <a:gd name="T43" fmla="*/ 277 h 277"/>
                <a:gd name="T44" fmla="*/ 277 w 277"/>
                <a:gd name="T45" fmla="*/ 171 h 277"/>
                <a:gd name="T46" fmla="*/ 235 w 277"/>
                <a:gd name="T47" fmla="*/ 181 h 277"/>
                <a:gd name="T48" fmla="*/ 256 w 277"/>
                <a:gd name="T49" fmla="*/ 203 h 277"/>
                <a:gd name="T50" fmla="*/ 235 w 277"/>
                <a:gd name="T51" fmla="*/ 181 h 277"/>
                <a:gd name="T52" fmla="*/ 139 w 277"/>
                <a:gd name="T53" fmla="*/ 160 h 277"/>
                <a:gd name="T54" fmla="*/ 128 w 277"/>
                <a:gd name="T55" fmla="*/ 213 h 277"/>
                <a:gd name="T56" fmla="*/ 170 w 277"/>
                <a:gd name="T57" fmla="*/ 224 h 277"/>
                <a:gd name="T58" fmla="*/ 128 w 277"/>
                <a:gd name="T59" fmla="*/ 268 h 277"/>
                <a:gd name="T60" fmla="*/ 140 w 277"/>
                <a:gd name="T61" fmla="*/ 277 h 277"/>
                <a:gd name="T62" fmla="*/ 192 w 277"/>
                <a:gd name="T63" fmla="*/ 171 h 277"/>
                <a:gd name="T64" fmla="*/ 149 w 277"/>
                <a:gd name="T65" fmla="*/ 181 h 277"/>
                <a:gd name="T66" fmla="*/ 171 w 277"/>
                <a:gd name="T67" fmla="*/ 203 h 277"/>
                <a:gd name="T68" fmla="*/ 149 w 277"/>
                <a:gd name="T69"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277">
                  <a:moveTo>
                    <a:pt x="53" y="53"/>
                  </a:moveTo>
                  <a:cubicBezTo>
                    <a:pt x="22" y="53"/>
                    <a:pt x="22" y="53"/>
                    <a:pt x="22" y="53"/>
                  </a:cubicBezTo>
                  <a:cubicBezTo>
                    <a:pt x="27" y="26"/>
                    <a:pt x="51" y="22"/>
                    <a:pt x="55" y="21"/>
                  </a:cubicBezTo>
                  <a:cubicBezTo>
                    <a:pt x="60" y="21"/>
                    <a:pt x="65" y="15"/>
                    <a:pt x="64" y="9"/>
                  </a:cubicBezTo>
                  <a:cubicBezTo>
                    <a:pt x="63" y="4"/>
                    <a:pt x="58" y="0"/>
                    <a:pt x="52" y="0"/>
                  </a:cubicBezTo>
                  <a:cubicBezTo>
                    <a:pt x="34" y="2"/>
                    <a:pt x="0" y="18"/>
                    <a:pt x="0" y="64"/>
                  </a:cubicBezTo>
                  <a:cubicBezTo>
                    <a:pt x="0" y="107"/>
                    <a:pt x="0" y="107"/>
                    <a:pt x="0" y="107"/>
                  </a:cubicBezTo>
                  <a:cubicBezTo>
                    <a:pt x="0" y="113"/>
                    <a:pt x="5" y="117"/>
                    <a:pt x="11" y="117"/>
                  </a:cubicBezTo>
                  <a:cubicBezTo>
                    <a:pt x="53" y="117"/>
                    <a:pt x="53" y="117"/>
                    <a:pt x="53" y="117"/>
                  </a:cubicBezTo>
                  <a:cubicBezTo>
                    <a:pt x="59" y="117"/>
                    <a:pt x="64" y="113"/>
                    <a:pt x="64" y="107"/>
                  </a:cubicBezTo>
                  <a:cubicBezTo>
                    <a:pt x="64" y="64"/>
                    <a:pt x="64" y="64"/>
                    <a:pt x="64" y="64"/>
                  </a:cubicBezTo>
                  <a:cubicBezTo>
                    <a:pt x="64" y="58"/>
                    <a:pt x="59" y="53"/>
                    <a:pt x="53" y="53"/>
                  </a:cubicBezTo>
                  <a:close/>
                  <a:moveTo>
                    <a:pt x="43" y="96"/>
                  </a:moveTo>
                  <a:cubicBezTo>
                    <a:pt x="21" y="96"/>
                    <a:pt x="21" y="96"/>
                    <a:pt x="21" y="96"/>
                  </a:cubicBezTo>
                  <a:cubicBezTo>
                    <a:pt x="21" y="75"/>
                    <a:pt x="21" y="75"/>
                    <a:pt x="21" y="75"/>
                  </a:cubicBezTo>
                  <a:cubicBezTo>
                    <a:pt x="43" y="75"/>
                    <a:pt x="43" y="75"/>
                    <a:pt x="43" y="75"/>
                  </a:cubicBezTo>
                  <a:lnTo>
                    <a:pt x="43" y="96"/>
                  </a:lnTo>
                  <a:close/>
                  <a:moveTo>
                    <a:pt x="149" y="107"/>
                  </a:moveTo>
                  <a:cubicBezTo>
                    <a:pt x="149" y="64"/>
                    <a:pt x="149" y="64"/>
                    <a:pt x="149" y="64"/>
                  </a:cubicBezTo>
                  <a:cubicBezTo>
                    <a:pt x="149" y="58"/>
                    <a:pt x="145" y="53"/>
                    <a:pt x="139" y="53"/>
                  </a:cubicBezTo>
                  <a:cubicBezTo>
                    <a:pt x="108" y="53"/>
                    <a:pt x="108" y="53"/>
                    <a:pt x="108" y="53"/>
                  </a:cubicBezTo>
                  <a:cubicBezTo>
                    <a:pt x="113" y="26"/>
                    <a:pt x="137" y="22"/>
                    <a:pt x="140" y="21"/>
                  </a:cubicBezTo>
                  <a:cubicBezTo>
                    <a:pt x="146" y="21"/>
                    <a:pt x="150" y="15"/>
                    <a:pt x="149" y="9"/>
                  </a:cubicBezTo>
                  <a:cubicBezTo>
                    <a:pt x="149" y="4"/>
                    <a:pt x="143" y="0"/>
                    <a:pt x="137" y="0"/>
                  </a:cubicBezTo>
                  <a:cubicBezTo>
                    <a:pt x="119" y="2"/>
                    <a:pt x="85" y="18"/>
                    <a:pt x="85" y="64"/>
                  </a:cubicBezTo>
                  <a:cubicBezTo>
                    <a:pt x="85" y="107"/>
                    <a:pt x="85" y="107"/>
                    <a:pt x="85" y="107"/>
                  </a:cubicBezTo>
                  <a:cubicBezTo>
                    <a:pt x="85" y="113"/>
                    <a:pt x="90" y="117"/>
                    <a:pt x="96" y="117"/>
                  </a:cubicBezTo>
                  <a:cubicBezTo>
                    <a:pt x="139" y="117"/>
                    <a:pt x="139" y="117"/>
                    <a:pt x="139" y="117"/>
                  </a:cubicBezTo>
                  <a:cubicBezTo>
                    <a:pt x="145" y="117"/>
                    <a:pt x="149" y="113"/>
                    <a:pt x="149" y="107"/>
                  </a:cubicBezTo>
                  <a:close/>
                  <a:moveTo>
                    <a:pt x="128" y="96"/>
                  </a:moveTo>
                  <a:cubicBezTo>
                    <a:pt x="107" y="96"/>
                    <a:pt x="107" y="96"/>
                    <a:pt x="107" y="96"/>
                  </a:cubicBezTo>
                  <a:cubicBezTo>
                    <a:pt x="107" y="75"/>
                    <a:pt x="107" y="75"/>
                    <a:pt x="107" y="75"/>
                  </a:cubicBezTo>
                  <a:cubicBezTo>
                    <a:pt x="128" y="75"/>
                    <a:pt x="128" y="75"/>
                    <a:pt x="128" y="75"/>
                  </a:cubicBezTo>
                  <a:lnTo>
                    <a:pt x="128" y="96"/>
                  </a:lnTo>
                  <a:close/>
                  <a:moveTo>
                    <a:pt x="267" y="160"/>
                  </a:moveTo>
                  <a:cubicBezTo>
                    <a:pt x="224" y="160"/>
                    <a:pt x="224" y="160"/>
                    <a:pt x="224" y="160"/>
                  </a:cubicBezTo>
                  <a:cubicBezTo>
                    <a:pt x="218" y="160"/>
                    <a:pt x="213" y="165"/>
                    <a:pt x="213" y="171"/>
                  </a:cubicBezTo>
                  <a:cubicBezTo>
                    <a:pt x="213" y="213"/>
                    <a:pt x="213" y="213"/>
                    <a:pt x="213" y="213"/>
                  </a:cubicBezTo>
                  <a:cubicBezTo>
                    <a:pt x="213" y="219"/>
                    <a:pt x="218" y="224"/>
                    <a:pt x="224" y="224"/>
                  </a:cubicBezTo>
                  <a:cubicBezTo>
                    <a:pt x="255" y="224"/>
                    <a:pt x="255" y="224"/>
                    <a:pt x="255" y="224"/>
                  </a:cubicBezTo>
                  <a:cubicBezTo>
                    <a:pt x="250" y="252"/>
                    <a:pt x="226" y="256"/>
                    <a:pt x="223" y="256"/>
                  </a:cubicBezTo>
                  <a:cubicBezTo>
                    <a:pt x="217" y="257"/>
                    <a:pt x="213" y="262"/>
                    <a:pt x="213" y="268"/>
                  </a:cubicBezTo>
                  <a:cubicBezTo>
                    <a:pt x="214" y="273"/>
                    <a:pt x="219" y="277"/>
                    <a:pt x="224" y="277"/>
                  </a:cubicBezTo>
                  <a:cubicBezTo>
                    <a:pt x="224" y="277"/>
                    <a:pt x="225" y="277"/>
                    <a:pt x="225" y="277"/>
                  </a:cubicBezTo>
                  <a:cubicBezTo>
                    <a:pt x="243" y="275"/>
                    <a:pt x="277" y="259"/>
                    <a:pt x="277" y="213"/>
                  </a:cubicBezTo>
                  <a:cubicBezTo>
                    <a:pt x="277" y="171"/>
                    <a:pt x="277" y="171"/>
                    <a:pt x="277" y="171"/>
                  </a:cubicBezTo>
                  <a:cubicBezTo>
                    <a:pt x="277" y="165"/>
                    <a:pt x="273" y="160"/>
                    <a:pt x="267" y="160"/>
                  </a:cubicBezTo>
                  <a:close/>
                  <a:moveTo>
                    <a:pt x="235" y="181"/>
                  </a:moveTo>
                  <a:cubicBezTo>
                    <a:pt x="256" y="181"/>
                    <a:pt x="256" y="181"/>
                    <a:pt x="256" y="181"/>
                  </a:cubicBezTo>
                  <a:cubicBezTo>
                    <a:pt x="256" y="203"/>
                    <a:pt x="256" y="203"/>
                    <a:pt x="256" y="203"/>
                  </a:cubicBezTo>
                  <a:cubicBezTo>
                    <a:pt x="235" y="203"/>
                    <a:pt x="235" y="203"/>
                    <a:pt x="235" y="203"/>
                  </a:cubicBezTo>
                  <a:lnTo>
                    <a:pt x="235" y="181"/>
                  </a:lnTo>
                  <a:close/>
                  <a:moveTo>
                    <a:pt x="181" y="160"/>
                  </a:moveTo>
                  <a:cubicBezTo>
                    <a:pt x="139" y="160"/>
                    <a:pt x="139" y="160"/>
                    <a:pt x="139" y="160"/>
                  </a:cubicBezTo>
                  <a:cubicBezTo>
                    <a:pt x="133" y="160"/>
                    <a:pt x="128" y="165"/>
                    <a:pt x="128" y="171"/>
                  </a:cubicBezTo>
                  <a:cubicBezTo>
                    <a:pt x="128" y="213"/>
                    <a:pt x="128" y="213"/>
                    <a:pt x="128" y="213"/>
                  </a:cubicBezTo>
                  <a:cubicBezTo>
                    <a:pt x="128" y="219"/>
                    <a:pt x="133" y="224"/>
                    <a:pt x="139" y="224"/>
                  </a:cubicBezTo>
                  <a:cubicBezTo>
                    <a:pt x="170" y="224"/>
                    <a:pt x="170" y="224"/>
                    <a:pt x="170" y="224"/>
                  </a:cubicBezTo>
                  <a:cubicBezTo>
                    <a:pt x="165" y="252"/>
                    <a:pt x="141" y="256"/>
                    <a:pt x="137" y="256"/>
                  </a:cubicBezTo>
                  <a:cubicBezTo>
                    <a:pt x="132" y="257"/>
                    <a:pt x="127" y="262"/>
                    <a:pt x="128" y="268"/>
                  </a:cubicBezTo>
                  <a:cubicBezTo>
                    <a:pt x="129" y="273"/>
                    <a:pt x="133" y="277"/>
                    <a:pt x="139" y="277"/>
                  </a:cubicBezTo>
                  <a:cubicBezTo>
                    <a:pt x="139" y="277"/>
                    <a:pt x="139" y="277"/>
                    <a:pt x="140" y="277"/>
                  </a:cubicBezTo>
                  <a:cubicBezTo>
                    <a:pt x="158" y="275"/>
                    <a:pt x="192" y="259"/>
                    <a:pt x="192" y="213"/>
                  </a:cubicBezTo>
                  <a:cubicBezTo>
                    <a:pt x="192" y="171"/>
                    <a:pt x="192" y="171"/>
                    <a:pt x="192" y="171"/>
                  </a:cubicBezTo>
                  <a:cubicBezTo>
                    <a:pt x="192" y="165"/>
                    <a:pt x="187" y="160"/>
                    <a:pt x="181" y="160"/>
                  </a:cubicBezTo>
                  <a:close/>
                  <a:moveTo>
                    <a:pt x="149" y="181"/>
                  </a:moveTo>
                  <a:cubicBezTo>
                    <a:pt x="171" y="181"/>
                    <a:pt x="171" y="181"/>
                    <a:pt x="171" y="181"/>
                  </a:cubicBezTo>
                  <a:cubicBezTo>
                    <a:pt x="171" y="203"/>
                    <a:pt x="171" y="203"/>
                    <a:pt x="171" y="203"/>
                  </a:cubicBezTo>
                  <a:cubicBezTo>
                    <a:pt x="149" y="203"/>
                    <a:pt x="149" y="203"/>
                    <a:pt x="149" y="203"/>
                  </a:cubicBezTo>
                  <a:lnTo>
                    <a:pt x="149"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9" name="TextBox 588">
            <a:extLst>
              <a:ext uri="{FF2B5EF4-FFF2-40B4-BE49-F238E27FC236}">
                <a16:creationId xmlns:a16="http://schemas.microsoft.com/office/drawing/2014/main" id="{866DADA4-056A-4CD6-AEEC-1F5643263686}"/>
              </a:ext>
            </a:extLst>
          </p:cNvPr>
          <p:cNvSpPr txBox="1"/>
          <p:nvPr/>
        </p:nvSpPr>
        <p:spPr>
          <a:xfrm>
            <a:off x="7443262" y="37158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gs</a:t>
            </a:r>
          </a:p>
        </p:txBody>
      </p:sp>
      <p:sp>
        <p:nvSpPr>
          <p:cNvPr id="590" name="Freeform 36">
            <a:extLst>
              <a:ext uri="{FF2B5EF4-FFF2-40B4-BE49-F238E27FC236}">
                <a16:creationId xmlns:a16="http://schemas.microsoft.com/office/drawing/2014/main" id="{1D41ADF7-EC1D-42C1-B85E-7431801AB291}"/>
              </a:ext>
            </a:extLst>
          </p:cNvPr>
          <p:cNvSpPr>
            <a:spLocks noChangeAspect="1" noEditPoints="1"/>
          </p:cNvSpPr>
          <p:nvPr/>
        </p:nvSpPr>
        <p:spPr bwMode="auto">
          <a:xfrm>
            <a:off x="7449482" y="3285438"/>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1" name="Group 39">
            <a:extLst>
              <a:ext uri="{FF2B5EF4-FFF2-40B4-BE49-F238E27FC236}">
                <a16:creationId xmlns:a16="http://schemas.microsoft.com/office/drawing/2014/main" id="{0A1DF198-23AB-49DB-A4B0-DD17B5A61D9B}"/>
              </a:ext>
            </a:extLst>
          </p:cNvPr>
          <p:cNvGrpSpPr>
            <a:grpSpLocks noChangeAspect="1"/>
          </p:cNvGrpSpPr>
          <p:nvPr/>
        </p:nvGrpSpPr>
        <p:grpSpPr bwMode="auto">
          <a:xfrm>
            <a:off x="7885130" y="3285438"/>
            <a:ext cx="367631" cy="367631"/>
            <a:chOff x="3987" y="1509"/>
            <a:chExt cx="340" cy="340"/>
          </a:xfrm>
          <a:solidFill>
            <a:schemeClr val="accent1"/>
          </a:solidFill>
        </p:grpSpPr>
        <p:sp>
          <p:nvSpPr>
            <p:cNvPr id="592" name="Freeform 40">
              <a:extLst>
                <a:ext uri="{FF2B5EF4-FFF2-40B4-BE49-F238E27FC236}">
                  <a16:creationId xmlns:a16="http://schemas.microsoft.com/office/drawing/2014/main" id="{A030A101-0EF6-45B9-8435-532D2AD6E406}"/>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3" name="Freeform 41">
              <a:extLst>
                <a:ext uri="{FF2B5EF4-FFF2-40B4-BE49-F238E27FC236}">
                  <a16:creationId xmlns:a16="http://schemas.microsoft.com/office/drawing/2014/main" id="{53625B11-E25F-4F96-A13B-91F9093726A7}"/>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4" name="TextBox 593">
            <a:extLst>
              <a:ext uri="{FF2B5EF4-FFF2-40B4-BE49-F238E27FC236}">
                <a16:creationId xmlns:a16="http://schemas.microsoft.com/office/drawing/2014/main" id="{AD44D1B9-9B84-4BAD-9BB8-F9352C451123}"/>
              </a:ext>
            </a:extLst>
          </p:cNvPr>
          <p:cNvSpPr txBox="1"/>
          <p:nvPr/>
        </p:nvSpPr>
        <p:spPr>
          <a:xfrm>
            <a:off x="9194319" y="3715825"/>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cument 1</a:t>
            </a:r>
          </a:p>
        </p:txBody>
      </p:sp>
      <p:sp>
        <p:nvSpPr>
          <p:cNvPr id="595" name="TextBox 594">
            <a:extLst>
              <a:ext uri="{FF2B5EF4-FFF2-40B4-BE49-F238E27FC236}">
                <a16:creationId xmlns:a16="http://schemas.microsoft.com/office/drawing/2014/main" id="{B66C41FA-CF6D-4B78-9D92-5D2BABAEB23F}"/>
              </a:ext>
            </a:extLst>
          </p:cNvPr>
          <p:cNvSpPr txBox="1"/>
          <p:nvPr/>
        </p:nvSpPr>
        <p:spPr>
          <a:xfrm>
            <a:off x="10056618" y="37158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cument 2</a:t>
            </a:r>
          </a:p>
        </p:txBody>
      </p:sp>
      <p:sp>
        <p:nvSpPr>
          <p:cNvPr id="596" name="TextBox 595">
            <a:extLst>
              <a:ext uri="{FF2B5EF4-FFF2-40B4-BE49-F238E27FC236}">
                <a16:creationId xmlns:a16="http://schemas.microsoft.com/office/drawing/2014/main" id="{0554977F-3DB2-4A1B-B978-65BEE4BBB93B}"/>
              </a:ext>
            </a:extLst>
          </p:cNvPr>
          <p:cNvSpPr txBox="1"/>
          <p:nvPr/>
        </p:nvSpPr>
        <p:spPr>
          <a:xfrm>
            <a:off x="10933736" y="371582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lobe with stand</a:t>
            </a:r>
          </a:p>
        </p:txBody>
      </p:sp>
      <p:sp>
        <p:nvSpPr>
          <p:cNvPr id="597" name="TextBox 596">
            <a:extLst>
              <a:ext uri="{FF2B5EF4-FFF2-40B4-BE49-F238E27FC236}">
                <a16:creationId xmlns:a16="http://schemas.microsoft.com/office/drawing/2014/main" id="{5860764A-9A70-4049-BB4C-7A782F1825BF}"/>
              </a:ext>
            </a:extLst>
          </p:cNvPr>
          <p:cNvSpPr txBox="1"/>
          <p:nvPr/>
        </p:nvSpPr>
        <p:spPr>
          <a:xfrm>
            <a:off x="1334307"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rid</a:t>
            </a:r>
          </a:p>
        </p:txBody>
      </p:sp>
      <p:sp>
        <p:nvSpPr>
          <p:cNvPr id="598" name="TextBox 597">
            <a:extLst>
              <a:ext uri="{FF2B5EF4-FFF2-40B4-BE49-F238E27FC236}">
                <a16:creationId xmlns:a16="http://schemas.microsoft.com/office/drawing/2014/main" id="{E3EE4D1B-77D8-4191-AFE9-C463D8BDECBC}"/>
              </a:ext>
            </a:extLst>
          </p:cNvPr>
          <p:cNvSpPr txBox="1"/>
          <p:nvPr/>
        </p:nvSpPr>
        <p:spPr>
          <a:xfrm>
            <a:off x="2204383"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shake</a:t>
            </a:r>
          </a:p>
        </p:txBody>
      </p:sp>
      <p:sp>
        <p:nvSpPr>
          <p:cNvPr id="599" name="TextBox 598">
            <a:extLst>
              <a:ext uri="{FF2B5EF4-FFF2-40B4-BE49-F238E27FC236}">
                <a16:creationId xmlns:a16="http://schemas.microsoft.com/office/drawing/2014/main" id="{E9498688-85FC-4499-8953-5B34EDB9ACF1}"/>
              </a:ext>
            </a:extLst>
          </p:cNvPr>
          <p:cNvSpPr txBox="1"/>
          <p:nvPr/>
        </p:nvSpPr>
        <p:spPr>
          <a:xfrm>
            <a:off x="464231"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overnment</a:t>
            </a:r>
          </a:p>
        </p:txBody>
      </p:sp>
      <p:grpSp>
        <p:nvGrpSpPr>
          <p:cNvPr id="600" name="Group 331">
            <a:extLst>
              <a:ext uri="{FF2B5EF4-FFF2-40B4-BE49-F238E27FC236}">
                <a16:creationId xmlns:a16="http://schemas.microsoft.com/office/drawing/2014/main" id="{C3D37FB2-7F2D-4D7D-9B60-EA9FB3D67798}"/>
              </a:ext>
            </a:extLst>
          </p:cNvPr>
          <p:cNvGrpSpPr>
            <a:grpSpLocks noChangeAspect="1"/>
          </p:cNvGrpSpPr>
          <p:nvPr/>
        </p:nvGrpSpPr>
        <p:grpSpPr bwMode="auto">
          <a:xfrm>
            <a:off x="9193156" y="3285438"/>
            <a:ext cx="367631" cy="367631"/>
            <a:chOff x="3832" y="1197"/>
            <a:chExt cx="340" cy="340"/>
          </a:xfrm>
          <a:solidFill>
            <a:schemeClr val="accent4"/>
          </a:solidFill>
        </p:grpSpPr>
        <p:sp>
          <p:nvSpPr>
            <p:cNvPr id="601" name="Freeform 332">
              <a:extLst>
                <a:ext uri="{FF2B5EF4-FFF2-40B4-BE49-F238E27FC236}">
                  <a16:creationId xmlns:a16="http://schemas.microsoft.com/office/drawing/2014/main" id="{C606AF83-6C7A-4BAD-BBE7-03FD1123D1A2}"/>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2" name="Freeform 333">
              <a:extLst>
                <a:ext uri="{FF2B5EF4-FFF2-40B4-BE49-F238E27FC236}">
                  <a16:creationId xmlns:a16="http://schemas.microsoft.com/office/drawing/2014/main" id="{291F0A06-189B-42B4-86A2-B6138860CD77}"/>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03" name="Group 336">
            <a:extLst>
              <a:ext uri="{FF2B5EF4-FFF2-40B4-BE49-F238E27FC236}">
                <a16:creationId xmlns:a16="http://schemas.microsoft.com/office/drawing/2014/main" id="{599D703B-6E55-47C1-8432-24E0C31A1BD5}"/>
              </a:ext>
            </a:extLst>
          </p:cNvPr>
          <p:cNvGrpSpPr>
            <a:grpSpLocks noChangeAspect="1"/>
          </p:cNvGrpSpPr>
          <p:nvPr/>
        </p:nvGrpSpPr>
        <p:grpSpPr bwMode="auto">
          <a:xfrm>
            <a:off x="9628804" y="3285438"/>
            <a:ext cx="367631" cy="367631"/>
            <a:chOff x="4220" y="1197"/>
            <a:chExt cx="340" cy="340"/>
          </a:xfrm>
          <a:solidFill>
            <a:schemeClr val="accent4"/>
          </a:solidFill>
        </p:grpSpPr>
        <p:sp>
          <p:nvSpPr>
            <p:cNvPr id="604" name="Freeform 337">
              <a:extLst>
                <a:ext uri="{FF2B5EF4-FFF2-40B4-BE49-F238E27FC236}">
                  <a16:creationId xmlns:a16="http://schemas.microsoft.com/office/drawing/2014/main" id="{207334FF-BDBD-4851-A2BE-996FBDA989A7}"/>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5" name="Freeform 338">
              <a:extLst>
                <a:ext uri="{FF2B5EF4-FFF2-40B4-BE49-F238E27FC236}">
                  <a16:creationId xmlns:a16="http://schemas.microsoft.com/office/drawing/2014/main" id="{4673B3BE-A2B8-4FC5-8046-8F3F522C71B1}"/>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6" name="Freeform 339">
              <a:extLst>
                <a:ext uri="{FF2B5EF4-FFF2-40B4-BE49-F238E27FC236}">
                  <a16:creationId xmlns:a16="http://schemas.microsoft.com/office/drawing/2014/main" id="{D15AEFF6-75BC-4F35-A06E-18DDEC4C7C7F}"/>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7" name="Freeform 340">
              <a:extLst>
                <a:ext uri="{FF2B5EF4-FFF2-40B4-BE49-F238E27FC236}">
                  <a16:creationId xmlns:a16="http://schemas.microsoft.com/office/drawing/2014/main" id="{65CB6504-307E-4BE4-947C-AA33E5ABFE14}"/>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8" name="Freeform 341">
              <a:extLst>
                <a:ext uri="{FF2B5EF4-FFF2-40B4-BE49-F238E27FC236}">
                  <a16:creationId xmlns:a16="http://schemas.microsoft.com/office/drawing/2014/main" id="{919D633A-0080-4926-B03C-1D8991B36CC9}"/>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9" name="Freeform 342">
              <a:extLst>
                <a:ext uri="{FF2B5EF4-FFF2-40B4-BE49-F238E27FC236}">
                  <a16:creationId xmlns:a16="http://schemas.microsoft.com/office/drawing/2014/main" id="{8782109A-C25F-4C48-B37C-855B7174BE55}"/>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0" name="Freeform 346">
            <a:extLst>
              <a:ext uri="{FF2B5EF4-FFF2-40B4-BE49-F238E27FC236}">
                <a16:creationId xmlns:a16="http://schemas.microsoft.com/office/drawing/2014/main" id="{0960F8B7-8F15-4B6E-A124-A29B4002DAC8}"/>
              </a:ext>
            </a:extLst>
          </p:cNvPr>
          <p:cNvSpPr>
            <a:spLocks noChangeAspect="1" noEditPoints="1"/>
          </p:cNvSpPr>
          <p:nvPr/>
        </p:nvSpPr>
        <p:spPr bwMode="auto">
          <a:xfrm>
            <a:off x="10064452" y="3285438"/>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1" name="Group 349">
            <a:extLst>
              <a:ext uri="{FF2B5EF4-FFF2-40B4-BE49-F238E27FC236}">
                <a16:creationId xmlns:a16="http://schemas.microsoft.com/office/drawing/2014/main" id="{C7E9C22A-15D1-4EDD-B8BC-CAC4388A8084}"/>
              </a:ext>
            </a:extLst>
          </p:cNvPr>
          <p:cNvGrpSpPr>
            <a:grpSpLocks noChangeAspect="1"/>
          </p:cNvGrpSpPr>
          <p:nvPr/>
        </p:nvGrpSpPr>
        <p:grpSpPr bwMode="auto">
          <a:xfrm>
            <a:off x="10500100" y="3285438"/>
            <a:ext cx="367631" cy="367631"/>
            <a:chOff x="5018" y="1229"/>
            <a:chExt cx="340" cy="340"/>
          </a:xfrm>
          <a:solidFill>
            <a:schemeClr val="accent4"/>
          </a:solidFill>
        </p:grpSpPr>
        <p:sp>
          <p:nvSpPr>
            <p:cNvPr id="612" name="Freeform 350">
              <a:extLst>
                <a:ext uri="{FF2B5EF4-FFF2-40B4-BE49-F238E27FC236}">
                  <a16:creationId xmlns:a16="http://schemas.microsoft.com/office/drawing/2014/main" id="{8A97F893-38CA-46E6-BA54-0CD8211428C0}"/>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3" name="Freeform 351">
              <a:extLst>
                <a:ext uri="{FF2B5EF4-FFF2-40B4-BE49-F238E27FC236}">
                  <a16:creationId xmlns:a16="http://schemas.microsoft.com/office/drawing/2014/main" id="{F80843FC-B573-4F2C-8BE9-D91B79182B55}"/>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4" name="Freeform 96">
            <a:extLst>
              <a:ext uri="{FF2B5EF4-FFF2-40B4-BE49-F238E27FC236}">
                <a16:creationId xmlns:a16="http://schemas.microsoft.com/office/drawing/2014/main" id="{41F03B83-3AA6-436B-B027-F936D1B3AD96}"/>
              </a:ext>
            </a:extLst>
          </p:cNvPr>
          <p:cNvSpPr>
            <a:spLocks noChangeAspect="1" noEditPoints="1"/>
          </p:cNvSpPr>
          <p:nvPr/>
        </p:nvSpPr>
        <p:spPr bwMode="auto">
          <a:xfrm>
            <a:off x="10935748" y="3285438"/>
            <a:ext cx="367041" cy="367041"/>
          </a:xfrm>
          <a:custGeom>
            <a:avLst/>
            <a:gdLst>
              <a:gd name="T0" fmla="*/ 340 w 512"/>
              <a:gd name="T1" fmla="*/ 232 h 512"/>
              <a:gd name="T2" fmla="*/ 258 w 512"/>
              <a:gd name="T3" fmla="*/ 315 h 512"/>
              <a:gd name="T4" fmla="*/ 175 w 512"/>
              <a:gd name="T5" fmla="*/ 232 h 512"/>
              <a:gd name="T6" fmla="*/ 258 w 512"/>
              <a:gd name="T7" fmla="*/ 150 h 512"/>
              <a:gd name="T8" fmla="*/ 340 w 512"/>
              <a:gd name="T9" fmla="*/ 23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55 w 512"/>
              <a:gd name="T21" fmla="*/ 320 h 512"/>
              <a:gd name="T22" fmla="*/ 340 w 512"/>
              <a:gd name="T23" fmla="*/ 319 h 512"/>
              <a:gd name="T24" fmla="*/ 258 w 512"/>
              <a:gd name="T25" fmla="*/ 352 h 512"/>
              <a:gd name="T26" fmla="*/ 138 w 512"/>
              <a:gd name="T27" fmla="*/ 232 h 512"/>
              <a:gd name="T28" fmla="*/ 171 w 512"/>
              <a:gd name="T29" fmla="*/ 150 h 512"/>
              <a:gd name="T30" fmla="*/ 170 w 512"/>
              <a:gd name="T31" fmla="*/ 135 h 512"/>
              <a:gd name="T32" fmla="*/ 155 w 512"/>
              <a:gd name="T33" fmla="*/ 136 h 512"/>
              <a:gd name="T34" fmla="*/ 117 w 512"/>
              <a:gd name="T35" fmla="*/ 232 h 512"/>
              <a:gd name="T36" fmla="*/ 245 w 512"/>
              <a:gd name="T37" fmla="*/ 372 h 512"/>
              <a:gd name="T38" fmla="*/ 245 w 512"/>
              <a:gd name="T39" fmla="*/ 394 h 512"/>
              <a:gd name="T40" fmla="*/ 192 w 512"/>
              <a:gd name="T41" fmla="*/ 394 h 512"/>
              <a:gd name="T42" fmla="*/ 181 w 512"/>
              <a:gd name="T43" fmla="*/ 405 h 512"/>
              <a:gd name="T44" fmla="*/ 192 w 512"/>
              <a:gd name="T45" fmla="*/ 416 h 512"/>
              <a:gd name="T46" fmla="*/ 320 w 512"/>
              <a:gd name="T47" fmla="*/ 416 h 512"/>
              <a:gd name="T48" fmla="*/ 330 w 512"/>
              <a:gd name="T49" fmla="*/ 405 h 512"/>
              <a:gd name="T50" fmla="*/ 320 w 512"/>
              <a:gd name="T51" fmla="*/ 394 h 512"/>
              <a:gd name="T52" fmla="*/ 266 w 512"/>
              <a:gd name="T53" fmla="*/ 394 h 512"/>
              <a:gd name="T54" fmla="*/ 266 w 512"/>
              <a:gd name="T55" fmla="*/ 373 h 512"/>
              <a:gd name="T56" fmla="*/ 354 w 512"/>
              <a:gd name="T57" fmla="*/ 335 h 512"/>
              <a:gd name="T58" fmla="*/ 355 w 512"/>
              <a:gd name="T59" fmla="*/ 320 h 512"/>
              <a:gd name="T60" fmla="*/ 362 w 512"/>
              <a:gd name="T61" fmla="*/ 232 h 512"/>
              <a:gd name="T62" fmla="*/ 258 w 512"/>
              <a:gd name="T63" fmla="*/ 128 h 512"/>
              <a:gd name="T64" fmla="*/ 154 w 512"/>
              <a:gd name="T65" fmla="*/ 232 h 512"/>
              <a:gd name="T66" fmla="*/ 258 w 512"/>
              <a:gd name="T67" fmla="*/ 336 h 512"/>
              <a:gd name="T68" fmla="*/ 362 w 512"/>
              <a:gd name="T69" fmla="*/ 2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40" y="232"/>
                </a:moveTo>
                <a:cubicBezTo>
                  <a:pt x="340" y="278"/>
                  <a:pt x="303" y="315"/>
                  <a:pt x="258" y="315"/>
                </a:cubicBezTo>
                <a:cubicBezTo>
                  <a:pt x="212" y="315"/>
                  <a:pt x="175" y="278"/>
                  <a:pt x="175" y="232"/>
                </a:cubicBezTo>
                <a:cubicBezTo>
                  <a:pt x="175" y="187"/>
                  <a:pt x="212" y="150"/>
                  <a:pt x="258" y="150"/>
                </a:cubicBezTo>
                <a:cubicBezTo>
                  <a:pt x="303" y="150"/>
                  <a:pt x="340" y="187"/>
                  <a:pt x="340" y="23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5" y="320"/>
                </a:moveTo>
                <a:cubicBezTo>
                  <a:pt x="351" y="315"/>
                  <a:pt x="344" y="315"/>
                  <a:pt x="340" y="319"/>
                </a:cubicBezTo>
                <a:cubicBezTo>
                  <a:pt x="317" y="340"/>
                  <a:pt x="288" y="352"/>
                  <a:pt x="258" y="352"/>
                </a:cubicBezTo>
                <a:cubicBezTo>
                  <a:pt x="192" y="352"/>
                  <a:pt x="138" y="298"/>
                  <a:pt x="138" y="232"/>
                </a:cubicBezTo>
                <a:cubicBezTo>
                  <a:pt x="138" y="202"/>
                  <a:pt x="150" y="173"/>
                  <a:pt x="171" y="150"/>
                </a:cubicBezTo>
                <a:cubicBezTo>
                  <a:pt x="175" y="146"/>
                  <a:pt x="175" y="139"/>
                  <a:pt x="170" y="135"/>
                </a:cubicBezTo>
                <a:cubicBezTo>
                  <a:pt x="166" y="131"/>
                  <a:pt x="159" y="132"/>
                  <a:pt x="155" y="136"/>
                </a:cubicBezTo>
                <a:cubicBezTo>
                  <a:pt x="131" y="162"/>
                  <a:pt x="117" y="196"/>
                  <a:pt x="117" y="232"/>
                </a:cubicBezTo>
                <a:cubicBezTo>
                  <a:pt x="117" y="306"/>
                  <a:pt x="173" y="366"/>
                  <a:pt x="245" y="372"/>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373"/>
                  <a:pt x="266" y="373"/>
                  <a:pt x="266" y="373"/>
                </a:cubicBezTo>
                <a:cubicBezTo>
                  <a:pt x="299" y="371"/>
                  <a:pt x="330" y="357"/>
                  <a:pt x="354" y="335"/>
                </a:cubicBezTo>
                <a:cubicBezTo>
                  <a:pt x="358" y="331"/>
                  <a:pt x="359" y="324"/>
                  <a:pt x="355" y="320"/>
                </a:cubicBezTo>
                <a:close/>
                <a:moveTo>
                  <a:pt x="362" y="232"/>
                </a:moveTo>
                <a:cubicBezTo>
                  <a:pt x="362" y="175"/>
                  <a:pt x="315" y="128"/>
                  <a:pt x="258" y="128"/>
                </a:cubicBezTo>
                <a:cubicBezTo>
                  <a:pt x="200" y="128"/>
                  <a:pt x="154" y="175"/>
                  <a:pt x="154" y="232"/>
                </a:cubicBezTo>
                <a:cubicBezTo>
                  <a:pt x="154" y="290"/>
                  <a:pt x="200" y="336"/>
                  <a:pt x="258" y="336"/>
                </a:cubicBezTo>
                <a:cubicBezTo>
                  <a:pt x="315" y="336"/>
                  <a:pt x="362" y="290"/>
                  <a:pt x="362" y="2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5" name="Group 99">
            <a:extLst>
              <a:ext uri="{FF2B5EF4-FFF2-40B4-BE49-F238E27FC236}">
                <a16:creationId xmlns:a16="http://schemas.microsoft.com/office/drawing/2014/main" id="{74476ABF-6B8E-4256-934F-3A6383145503}"/>
              </a:ext>
            </a:extLst>
          </p:cNvPr>
          <p:cNvGrpSpPr>
            <a:grpSpLocks noChangeAspect="1"/>
          </p:cNvGrpSpPr>
          <p:nvPr/>
        </p:nvGrpSpPr>
        <p:grpSpPr bwMode="auto">
          <a:xfrm>
            <a:off x="11370802" y="3269852"/>
            <a:ext cx="367041" cy="367041"/>
            <a:chOff x="390" y="346"/>
            <a:chExt cx="340" cy="340"/>
          </a:xfrm>
          <a:solidFill>
            <a:schemeClr val="accent2"/>
          </a:solidFill>
        </p:grpSpPr>
        <p:sp>
          <p:nvSpPr>
            <p:cNvPr id="616" name="Freeform 100">
              <a:extLst>
                <a:ext uri="{FF2B5EF4-FFF2-40B4-BE49-F238E27FC236}">
                  <a16:creationId xmlns:a16="http://schemas.microsoft.com/office/drawing/2014/main" id="{166E2B33-13C2-44BA-9457-A25D07F888A3}"/>
                </a:ext>
              </a:extLst>
            </p:cNvPr>
            <p:cNvSpPr>
              <a:spLocks noEditPoints="1"/>
            </p:cNvSpPr>
            <p:nvPr/>
          </p:nvSpPr>
          <p:spPr bwMode="auto">
            <a:xfrm>
              <a:off x="390" y="34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7" name="Freeform 101">
              <a:extLst>
                <a:ext uri="{FF2B5EF4-FFF2-40B4-BE49-F238E27FC236}">
                  <a16:creationId xmlns:a16="http://schemas.microsoft.com/office/drawing/2014/main" id="{1D53E595-7623-4C9E-9444-6C56FA93274D}"/>
                </a:ext>
              </a:extLst>
            </p:cNvPr>
            <p:cNvSpPr>
              <a:spLocks/>
            </p:cNvSpPr>
            <p:nvPr/>
          </p:nvSpPr>
          <p:spPr bwMode="auto">
            <a:xfrm>
              <a:off x="468" y="433"/>
              <a:ext cx="160" cy="189"/>
            </a:xfrm>
            <a:custGeom>
              <a:avLst/>
              <a:gdLst>
                <a:gd name="T0" fmla="*/ 223 w 242"/>
                <a:gd name="T1" fmla="*/ 188 h 285"/>
                <a:gd name="T2" fmla="*/ 141 w 242"/>
                <a:gd name="T3" fmla="*/ 221 h 285"/>
                <a:gd name="T4" fmla="*/ 21 w 242"/>
                <a:gd name="T5" fmla="*/ 101 h 285"/>
                <a:gd name="T6" fmla="*/ 54 w 242"/>
                <a:gd name="T7" fmla="*/ 19 h 285"/>
                <a:gd name="T8" fmla="*/ 53 w 242"/>
                <a:gd name="T9" fmla="*/ 4 h 285"/>
                <a:gd name="T10" fmla="*/ 38 w 242"/>
                <a:gd name="T11" fmla="*/ 5 h 285"/>
                <a:gd name="T12" fmla="*/ 0 w 242"/>
                <a:gd name="T13" fmla="*/ 101 h 285"/>
                <a:gd name="T14" fmla="*/ 128 w 242"/>
                <a:gd name="T15" fmla="*/ 241 h 285"/>
                <a:gd name="T16" fmla="*/ 128 w 242"/>
                <a:gd name="T17" fmla="*/ 263 h 285"/>
                <a:gd name="T18" fmla="*/ 75 w 242"/>
                <a:gd name="T19" fmla="*/ 263 h 285"/>
                <a:gd name="T20" fmla="*/ 64 w 242"/>
                <a:gd name="T21" fmla="*/ 274 h 285"/>
                <a:gd name="T22" fmla="*/ 75 w 242"/>
                <a:gd name="T23" fmla="*/ 285 h 285"/>
                <a:gd name="T24" fmla="*/ 203 w 242"/>
                <a:gd name="T25" fmla="*/ 285 h 285"/>
                <a:gd name="T26" fmla="*/ 213 w 242"/>
                <a:gd name="T27" fmla="*/ 274 h 285"/>
                <a:gd name="T28" fmla="*/ 203 w 242"/>
                <a:gd name="T29" fmla="*/ 263 h 285"/>
                <a:gd name="T30" fmla="*/ 149 w 242"/>
                <a:gd name="T31" fmla="*/ 263 h 285"/>
                <a:gd name="T32" fmla="*/ 149 w 242"/>
                <a:gd name="T33" fmla="*/ 242 h 285"/>
                <a:gd name="T34" fmla="*/ 237 w 242"/>
                <a:gd name="T35" fmla="*/ 204 h 285"/>
                <a:gd name="T36" fmla="*/ 238 w 242"/>
                <a:gd name="T37" fmla="*/ 189 h 285"/>
                <a:gd name="T38" fmla="*/ 223 w 242"/>
                <a:gd name="T39" fmla="*/ 18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285">
                  <a:moveTo>
                    <a:pt x="223" y="188"/>
                  </a:moveTo>
                  <a:cubicBezTo>
                    <a:pt x="200" y="209"/>
                    <a:pt x="171" y="221"/>
                    <a:pt x="141" y="221"/>
                  </a:cubicBezTo>
                  <a:cubicBezTo>
                    <a:pt x="75" y="221"/>
                    <a:pt x="21" y="167"/>
                    <a:pt x="21" y="101"/>
                  </a:cubicBezTo>
                  <a:cubicBezTo>
                    <a:pt x="21" y="71"/>
                    <a:pt x="33" y="42"/>
                    <a:pt x="54" y="19"/>
                  </a:cubicBezTo>
                  <a:cubicBezTo>
                    <a:pt x="58" y="15"/>
                    <a:pt x="58" y="8"/>
                    <a:pt x="53" y="4"/>
                  </a:cubicBezTo>
                  <a:cubicBezTo>
                    <a:pt x="49" y="0"/>
                    <a:pt x="42" y="1"/>
                    <a:pt x="38" y="5"/>
                  </a:cubicBezTo>
                  <a:cubicBezTo>
                    <a:pt x="14" y="31"/>
                    <a:pt x="0" y="65"/>
                    <a:pt x="0" y="101"/>
                  </a:cubicBezTo>
                  <a:cubicBezTo>
                    <a:pt x="0" y="175"/>
                    <a:pt x="56" y="235"/>
                    <a:pt x="128" y="241"/>
                  </a:cubicBezTo>
                  <a:cubicBezTo>
                    <a:pt x="128" y="263"/>
                    <a:pt x="128" y="263"/>
                    <a:pt x="128" y="263"/>
                  </a:cubicBezTo>
                  <a:cubicBezTo>
                    <a:pt x="75" y="263"/>
                    <a:pt x="75" y="263"/>
                    <a:pt x="75" y="263"/>
                  </a:cubicBezTo>
                  <a:cubicBezTo>
                    <a:pt x="69" y="263"/>
                    <a:pt x="64" y="268"/>
                    <a:pt x="64" y="274"/>
                  </a:cubicBezTo>
                  <a:cubicBezTo>
                    <a:pt x="64" y="280"/>
                    <a:pt x="69" y="285"/>
                    <a:pt x="75" y="285"/>
                  </a:cubicBezTo>
                  <a:cubicBezTo>
                    <a:pt x="203" y="285"/>
                    <a:pt x="203" y="285"/>
                    <a:pt x="203" y="285"/>
                  </a:cubicBezTo>
                  <a:cubicBezTo>
                    <a:pt x="209" y="285"/>
                    <a:pt x="213" y="280"/>
                    <a:pt x="213" y="274"/>
                  </a:cubicBezTo>
                  <a:cubicBezTo>
                    <a:pt x="213" y="268"/>
                    <a:pt x="209" y="263"/>
                    <a:pt x="203" y="263"/>
                  </a:cubicBezTo>
                  <a:cubicBezTo>
                    <a:pt x="149" y="263"/>
                    <a:pt x="149" y="263"/>
                    <a:pt x="149" y="263"/>
                  </a:cubicBezTo>
                  <a:cubicBezTo>
                    <a:pt x="149" y="242"/>
                    <a:pt x="149" y="242"/>
                    <a:pt x="149" y="242"/>
                  </a:cubicBezTo>
                  <a:cubicBezTo>
                    <a:pt x="182" y="240"/>
                    <a:pt x="213" y="226"/>
                    <a:pt x="237" y="204"/>
                  </a:cubicBezTo>
                  <a:cubicBezTo>
                    <a:pt x="241" y="200"/>
                    <a:pt x="242" y="193"/>
                    <a:pt x="238" y="189"/>
                  </a:cubicBezTo>
                  <a:cubicBezTo>
                    <a:pt x="234" y="184"/>
                    <a:pt x="227" y="184"/>
                    <a:pt x="223" y="1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8" name="Freeform 102">
              <a:extLst>
                <a:ext uri="{FF2B5EF4-FFF2-40B4-BE49-F238E27FC236}">
                  <a16:creationId xmlns:a16="http://schemas.microsoft.com/office/drawing/2014/main" id="{6A6F3877-0B8A-4719-A512-966A77428088}"/>
                </a:ext>
              </a:extLst>
            </p:cNvPr>
            <p:cNvSpPr>
              <a:spLocks noEditPoints="1"/>
            </p:cNvSpPr>
            <p:nvPr/>
          </p:nvSpPr>
          <p:spPr bwMode="auto">
            <a:xfrm>
              <a:off x="492" y="431"/>
              <a:ext cx="138" cy="138"/>
            </a:xfrm>
            <a:custGeom>
              <a:avLst/>
              <a:gdLst>
                <a:gd name="T0" fmla="*/ 104 w 208"/>
                <a:gd name="T1" fmla="*/ 208 h 208"/>
                <a:gd name="T2" fmla="*/ 208 w 208"/>
                <a:gd name="T3" fmla="*/ 104 h 208"/>
                <a:gd name="T4" fmla="*/ 104 w 208"/>
                <a:gd name="T5" fmla="*/ 0 h 208"/>
                <a:gd name="T6" fmla="*/ 0 w 208"/>
                <a:gd name="T7" fmla="*/ 104 h 208"/>
                <a:gd name="T8" fmla="*/ 104 w 208"/>
                <a:gd name="T9" fmla="*/ 208 h 208"/>
                <a:gd name="T10" fmla="*/ 104 w 208"/>
                <a:gd name="T11" fmla="*/ 22 h 208"/>
                <a:gd name="T12" fmla="*/ 186 w 208"/>
                <a:gd name="T13" fmla="*/ 104 h 208"/>
                <a:gd name="T14" fmla="*/ 104 w 208"/>
                <a:gd name="T15" fmla="*/ 187 h 208"/>
                <a:gd name="T16" fmla="*/ 21 w 208"/>
                <a:gd name="T17" fmla="*/ 104 h 208"/>
                <a:gd name="T18" fmla="*/ 104 w 208"/>
                <a:gd name="T19" fmla="*/ 2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161" y="208"/>
                    <a:pt x="208" y="162"/>
                    <a:pt x="208" y="104"/>
                  </a:cubicBezTo>
                  <a:cubicBezTo>
                    <a:pt x="208" y="47"/>
                    <a:pt x="161" y="0"/>
                    <a:pt x="104" y="0"/>
                  </a:cubicBezTo>
                  <a:cubicBezTo>
                    <a:pt x="46" y="0"/>
                    <a:pt x="0" y="47"/>
                    <a:pt x="0" y="104"/>
                  </a:cubicBezTo>
                  <a:cubicBezTo>
                    <a:pt x="0" y="162"/>
                    <a:pt x="46" y="208"/>
                    <a:pt x="104" y="208"/>
                  </a:cubicBezTo>
                  <a:close/>
                  <a:moveTo>
                    <a:pt x="104" y="22"/>
                  </a:moveTo>
                  <a:cubicBezTo>
                    <a:pt x="149" y="22"/>
                    <a:pt x="186" y="59"/>
                    <a:pt x="186" y="104"/>
                  </a:cubicBezTo>
                  <a:cubicBezTo>
                    <a:pt x="186" y="150"/>
                    <a:pt x="149" y="187"/>
                    <a:pt x="104" y="187"/>
                  </a:cubicBezTo>
                  <a:cubicBezTo>
                    <a:pt x="58" y="187"/>
                    <a:pt x="21" y="150"/>
                    <a:pt x="21" y="104"/>
                  </a:cubicBezTo>
                  <a:cubicBezTo>
                    <a:pt x="21" y="59"/>
                    <a:pt x="58" y="22"/>
                    <a:pt x="10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9" name="Freeform 106">
            <a:extLst>
              <a:ext uri="{FF2B5EF4-FFF2-40B4-BE49-F238E27FC236}">
                <a16:creationId xmlns:a16="http://schemas.microsoft.com/office/drawing/2014/main" id="{8B8388CB-C831-4E86-8BFD-C1684D59D5D8}"/>
              </a:ext>
            </a:extLst>
          </p:cNvPr>
          <p:cNvSpPr>
            <a:spLocks noChangeAspect="1" noEditPoints="1"/>
          </p:cNvSpPr>
          <p:nvPr/>
        </p:nvSpPr>
        <p:spPr bwMode="auto">
          <a:xfrm>
            <a:off x="479704" y="4113839"/>
            <a:ext cx="367041" cy="368120"/>
          </a:xfrm>
          <a:custGeom>
            <a:avLst/>
            <a:gdLst>
              <a:gd name="T0" fmla="*/ 373 w 512"/>
              <a:gd name="T1" fmla="*/ 362 h 512"/>
              <a:gd name="T2" fmla="*/ 352 w 512"/>
              <a:gd name="T3" fmla="*/ 298 h 512"/>
              <a:gd name="T4" fmla="*/ 330 w 512"/>
              <a:gd name="T5" fmla="*/ 298 h 512"/>
              <a:gd name="T6" fmla="*/ 298 w 512"/>
              <a:gd name="T7" fmla="*/ 323 h 512"/>
              <a:gd name="T8" fmla="*/ 288 w 512"/>
              <a:gd name="T9" fmla="*/ 288 h 512"/>
              <a:gd name="T10" fmla="*/ 277 w 512"/>
              <a:gd name="T11" fmla="*/ 330 h 512"/>
              <a:gd name="T12" fmla="*/ 277 w 512"/>
              <a:gd name="T13" fmla="*/ 333 h 512"/>
              <a:gd name="T14" fmla="*/ 216 w 512"/>
              <a:gd name="T15" fmla="*/ 394 h 512"/>
              <a:gd name="T16" fmla="*/ 234 w 512"/>
              <a:gd name="T17" fmla="*/ 331 h 512"/>
              <a:gd name="T18" fmla="*/ 234 w 512"/>
              <a:gd name="T19" fmla="*/ 298 h 512"/>
              <a:gd name="T20" fmla="*/ 213 w 512"/>
              <a:gd name="T21" fmla="*/ 298 h 512"/>
              <a:gd name="T22" fmla="*/ 181 w 512"/>
              <a:gd name="T23" fmla="*/ 336 h 512"/>
              <a:gd name="T24" fmla="*/ 170 w 512"/>
              <a:gd name="T25" fmla="*/ 288 h 512"/>
              <a:gd name="T26" fmla="*/ 160 w 512"/>
              <a:gd name="T27" fmla="*/ 346 h 512"/>
              <a:gd name="T28" fmla="*/ 138 w 512"/>
              <a:gd name="T29" fmla="*/ 197 h 512"/>
              <a:gd name="T30" fmla="*/ 167 w 512"/>
              <a:gd name="T31" fmla="*/ 187 h 512"/>
              <a:gd name="T32" fmla="*/ 208 w 512"/>
              <a:gd name="T33" fmla="*/ 213 h 512"/>
              <a:gd name="T34" fmla="*/ 218 w 512"/>
              <a:gd name="T35" fmla="*/ 143 h 512"/>
              <a:gd name="T36" fmla="*/ 226 w 512"/>
              <a:gd name="T37" fmla="*/ 135 h 512"/>
              <a:gd name="T38" fmla="*/ 251 w 512"/>
              <a:gd name="T39" fmla="*/ 117 h 512"/>
              <a:gd name="T40" fmla="*/ 283 w 512"/>
              <a:gd name="T41" fmla="*/ 146 h 512"/>
              <a:gd name="T42" fmla="*/ 269 w 512"/>
              <a:gd name="T43" fmla="*/ 163 h 512"/>
              <a:gd name="T44" fmla="*/ 304 w 512"/>
              <a:gd name="T45" fmla="*/ 213 h 512"/>
              <a:gd name="T46" fmla="*/ 344 w 512"/>
              <a:gd name="T47" fmla="*/ 187 h 512"/>
              <a:gd name="T48" fmla="*/ 373 w 512"/>
              <a:gd name="T49" fmla="*/ 197 h 512"/>
              <a:gd name="T50" fmla="*/ 256 w 512"/>
              <a:gd name="T51" fmla="*/ 512 h 512"/>
              <a:gd name="T52" fmla="*/ 256 w 512"/>
              <a:gd name="T53" fmla="*/ 0 h 512"/>
              <a:gd name="T54" fmla="*/ 394 w 512"/>
              <a:gd name="T55" fmla="*/ 197 h 512"/>
              <a:gd name="T56" fmla="*/ 327 w 512"/>
              <a:gd name="T57" fmla="*/ 174 h 512"/>
              <a:gd name="T58" fmla="*/ 304 w 512"/>
              <a:gd name="T59" fmla="*/ 192 h 512"/>
              <a:gd name="T60" fmla="*/ 303 w 512"/>
              <a:gd name="T61" fmla="*/ 152 h 512"/>
              <a:gd name="T62" fmla="*/ 250 w 512"/>
              <a:gd name="T63" fmla="*/ 96 h 512"/>
              <a:gd name="T64" fmla="*/ 211 w 512"/>
              <a:gd name="T65" fmla="*/ 120 h 512"/>
              <a:gd name="T66" fmla="*/ 189 w 512"/>
              <a:gd name="T67" fmla="*/ 141 h 512"/>
              <a:gd name="T68" fmla="*/ 195 w 512"/>
              <a:gd name="T69" fmla="*/ 160 h 512"/>
              <a:gd name="T70" fmla="*/ 208 w 512"/>
              <a:gd name="T71" fmla="*/ 192 h 512"/>
              <a:gd name="T72" fmla="*/ 184 w 512"/>
              <a:gd name="T73" fmla="*/ 175 h 512"/>
              <a:gd name="T74" fmla="*/ 117 w 512"/>
              <a:gd name="T75" fmla="*/ 197 h 512"/>
              <a:gd name="T76" fmla="*/ 123 w 512"/>
              <a:gd name="T77" fmla="*/ 393 h 512"/>
              <a:gd name="T78" fmla="*/ 176 w 512"/>
              <a:gd name="T79" fmla="*/ 361 h 512"/>
              <a:gd name="T80" fmla="*/ 192 w 512"/>
              <a:gd name="T81" fmla="*/ 402 h 512"/>
              <a:gd name="T82" fmla="*/ 202 w 512"/>
              <a:gd name="T83" fmla="*/ 416 h 512"/>
              <a:gd name="T84" fmla="*/ 309 w 512"/>
              <a:gd name="T85" fmla="*/ 416 h 512"/>
              <a:gd name="T86" fmla="*/ 312 w 512"/>
              <a:gd name="T87" fmla="*/ 415 h 512"/>
              <a:gd name="T88" fmla="*/ 304 w 512"/>
              <a:gd name="T89" fmla="*/ 348 h 512"/>
              <a:gd name="T90" fmla="*/ 377 w 512"/>
              <a:gd name="T91" fmla="*/ 392 h 512"/>
              <a:gd name="T92" fmla="*/ 388 w 512"/>
              <a:gd name="T93" fmla="*/ 393 h 512"/>
              <a:gd name="T94" fmla="*/ 394 w 512"/>
              <a:gd name="T95"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73" y="197"/>
                </a:moveTo>
                <a:cubicBezTo>
                  <a:pt x="373" y="362"/>
                  <a:pt x="373" y="362"/>
                  <a:pt x="373" y="362"/>
                </a:cubicBezTo>
                <a:cubicBezTo>
                  <a:pt x="352" y="346"/>
                  <a:pt x="352" y="346"/>
                  <a:pt x="352" y="346"/>
                </a:cubicBezTo>
                <a:cubicBezTo>
                  <a:pt x="352" y="298"/>
                  <a:pt x="352" y="298"/>
                  <a:pt x="352" y="298"/>
                </a:cubicBezTo>
                <a:cubicBezTo>
                  <a:pt x="352" y="292"/>
                  <a:pt x="347" y="288"/>
                  <a:pt x="341" y="288"/>
                </a:cubicBezTo>
                <a:cubicBezTo>
                  <a:pt x="335" y="288"/>
                  <a:pt x="330" y="292"/>
                  <a:pt x="330" y="298"/>
                </a:cubicBezTo>
                <a:cubicBezTo>
                  <a:pt x="330" y="336"/>
                  <a:pt x="330" y="336"/>
                  <a:pt x="330" y="336"/>
                </a:cubicBezTo>
                <a:cubicBezTo>
                  <a:pt x="298" y="323"/>
                  <a:pt x="298" y="323"/>
                  <a:pt x="298" y="323"/>
                </a:cubicBezTo>
                <a:cubicBezTo>
                  <a:pt x="298" y="298"/>
                  <a:pt x="298" y="298"/>
                  <a:pt x="298" y="298"/>
                </a:cubicBezTo>
                <a:cubicBezTo>
                  <a:pt x="298" y="292"/>
                  <a:pt x="294" y="288"/>
                  <a:pt x="288" y="288"/>
                </a:cubicBezTo>
                <a:cubicBezTo>
                  <a:pt x="282" y="288"/>
                  <a:pt x="277" y="292"/>
                  <a:pt x="277" y="298"/>
                </a:cubicBezTo>
                <a:cubicBezTo>
                  <a:pt x="277" y="330"/>
                  <a:pt x="277" y="330"/>
                  <a:pt x="277" y="330"/>
                </a:cubicBezTo>
                <a:cubicBezTo>
                  <a:pt x="277" y="331"/>
                  <a:pt x="277" y="331"/>
                  <a:pt x="277" y="331"/>
                </a:cubicBezTo>
                <a:cubicBezTo>
                  <a:pt x="277" y="332"/>
                  <a:pt x="277" y="332"/>
                  <a:pt x="277" y="333"/>
                </a:cubicBezTo>
                <a:cubicBezTo>
                  <a:pt x="295" y="394"/>
                  <a:pt x="295" y="394"/>
                  <a:pt x="295" y="394"/>
                </a:cubicBezTo>
                <a:cubicBezTo>
                  <a:pt x="216" y="394"/>
                  <a:pt x="216" y="394"/>
                  <a:pt x="216" y="394"/>
                </a:cubicBezTo>
                <a:cubicBezTo>
                  <a:pt x="234" y="333"/>
                  <a:pt x="234" y="333"/>
                  <a:pt x="234" y="333"/>
                </a:cubicBezTo>
                <a:cubicBezTo>
                  <a:pt x="234" y="332"/>
                  <a:pt x="234" y="332"/>
                  <a:pt x="234" y="331"/>
                </a:cubicBezTo>
                <a:cubicBezTo>
                  <a:pt x="234" y="331"/>
                  <a:pt x="234" y="331"/>
                  <a:pt x="234" y="330"/>
                </a:cubicBezTo>
                <a:cubicBezTo>
                  <a:pt x="234" y="298"/>
                  <a:pt x="234" y="298"/>
                  <a:pt x="234" y="298"/>
                </a:cubicBezTo>
                <a:cubicBezTo>
                  <a:pt x="234" y="292"/>
                  <a:pt x="230" y="288"/>
                  <a:pt x="224" y="288"/>
                </a:cubicBezTo>
                <a:cubicBezTo>
                  <a:pt x="218" y="288"/>
                  <a:pt x="213" y="292"/>
                  <a:pt x="213" y="298"/>
                </a:cubicBezTo>
                <a:cubicBezTo>
                  <a:pt x="213" y="323"/>
                  <a:pt x="213" y="323"/>
                  <a:pt x="213" y="323"/>
                </a:cubicBezTo>
                <a:cubicBezTo>
                  <a:pt x="181" y="336"/>
                  <a:pt x="181" y="336"/>
                  <a:pt x="181" y="336"/>
                </a:cubicBezTo>
                <a:cubicBezTo>
                  <a:pt x="181" y="298"/>
                  <a:pt x="181" y="298"/>
                  <a:pt x="181" y="298"/>
                </a:cubicBezTo>
                <a:cubicBezTo>
                  <a:pt x="181" y="292"/>
                  <a:pt x="176" y="288"/>
                  <a:pt x="170" y="288"/>
                </a:cubicBezTo>
                <a:cubicBezTo>
                  <a:pt x="164" y="288"/>
                  <a:pt x="160" y="292"/>
                  <a:pt x="160" y="298"/>
                </a:cubicBezTo>
                <a:cubicBezTo>
                  <a:pt x="160" y="346"/>
                  <a:pt x="160" y="346"/>
                  <a:pt x="160" y="346"/>
                </a:cubicBezTo>
                <a:cubicBezTo>
                  <a:pt x="138" y="362"/>
                  <a:pt x="138" y="362"/>
                  <a:pt x="138" y="362"/>
                </a:cubicBezTo>
                <a:cubicBezTo>
                  <a:pt x="138" y="197"/>
                  <a:pt x="138" y="197"/>
                  <a:pt x="138" y="197"/>
                </a:cubicBezTo>
                <a:cubicBezTo>
                  <a:pt x="138" y="188"/>
                  <a:pt x="146" y="181"/>
                  <a:pt x="154" y="181"/>
                </a:cubicBezTo>
                <a:cubicBezTo>
                  <a:pt x="159" y="181"/>
                  <a:pt x="164" y="183"/>
                  <a:pt x="167" y="187"/>
                </a:cubicBezTo>
                <a:cubicBezTo>
                  <a:pt x="167" y="187"/>
                  <a:pt x="172" y="194"/>
                  <a:pt x="176" y="199"/>
                </a:cubicBezTo>
                <a:cubicBezTo>
                  <a:pt x="187" y="211"/>
                  <a:pt x="198" y="213"/>
                  <a:pt x="208" y="213"/>
                </a:cubicBezTo>
                <a:cubicBezTo>
                  <a:pt x="232" y="213"/>
                  <a:pt x="245" y="198"/>
                  <a:pt x="245" y="170"/>
                </a:cubicBezTo>
                <a:cubicBezTo>
                  <a:pt x="245" y="156"/>
                  <a:pt x="231" y="148"/>
                  <a:pt x="218" y="143"/>
                </a:cubicBezTo>
                <a:cubicBezTo>
                  <a:pt x="221" y="140"/>
                  <a:pt x="221" y="140"/>
                  <a:pt x="221" y="140"/>
                </a:cubicBezTo>
                <a:cubicBezTo>
                  <a:pt x="222" y="139"/>
                  <a:pt x="223" y="138"/>
                  <a:pt x="226" y="135"/>
                </a:cubicBezTo>
                <a:cubicBezTo>
                  <a:pt x="228" y="133"/>
                  <a:pt x="230" y="131"/>
                  <a:pt x="232" y="128"/>
                </a:cubicBezTo>
                <a:cubicBezTo>
                  <a:pt x="239" y="121"/>
                  <a:pt x="242" y="117"/>
                  <a:pt x="251" y="117"/>
                </a:cubicBezTo>
                <a:cubicBezTo>
                  <a:pt x="264" y="117"/>
                  <a:pt x="273" y="120"/>
                  <a:pt x="279" y="127"/>
                </a:cubicBezTo>
                <a:cubicBezTo>
                  <a:pt x="284" y="133"/>
                  <a:pt x="284" y="141"/>
                  <a:pt x="283" y="146"/>
                </a:cubicBezTo>
                <a:cubicBezTo>
                  <a:pt x="281" y="152"/>
                  <a:pt x="274" y="158"/>
                  <a:pt x="271" y="161"/>
                </a:cubicBezTo>
                <a:cubicBezTo>
                  <a:pt x="271" y="162"/>
                  <a:pt x="270" y="162"/>
                  <a:pt x="269" y="163"/>
                </a:cubicBezTo>
                <a:cubicBezTo>
                  <a:pt x="267" y="165"/>
                  <a:pt x="266" y="167"/>
                  <a:pt x="266" y="170"/>
                </a:cubicBezTo>
                <a:cubicBezTo>
                  <a:pt x="266" y="197"/>
                  <a:pt x="286" y="213"/>
                  <a:pt x="304" y="213"/>
                </a:cubicBezTo>
                <a:cubicBezTo>
                  <a:pt x="322" y="213"/>
                  <a:pt x="332" y="204"/>
                  <a:pt x="336" y="198"/>
                </a:cubicBezTo>
                <a:cubicBezTo>
                  <a:pt x="339" y="193"/>
                  <a:pt x="344" y="188"/>
                  <a:pt x="344" y="187"/>
                </a:cubicBezTo>
                <a:cubicBezTo>
                  <a:pt x="347" y="183"/>
                  <a:pt x="352" y="181"/>
                  <a:pt x="357" y="181"/>
                </a:cubicBezTo>
                <a:cubicBezTo>
                  <a:pt x="366" y="181"/>
                  <a:pt x="373" y="188"/>
                  <a:pt x="373" y="1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7"/>
                </a:moveTo>
                <a:cubicBezTo>
                  <a:pt x="394" y="176"/>
                  <a:pt x="378" y="160"/>
                  <a:pt x="357" y="160"/>
                </a:cubicBezTo>
                <a:cubicBezTo>
                  <a:pt x="345" y="160"/>
                  <a:pt x="334" y="165"/>
                  <a:pt x="327" y="174"/>
                </a:cubicBezTo>
                <a:cubicBezTo>
                  <a:pt x="327" y="174"/>
                  <a:pt x="322" y="180"/>
                  <a:pt x="319" y="185"/>
                </a:cubicBezTo>
                <a:cubicBezTo>
                  <a:pt x="316" y="189"/>
                  <a:pt x="311" y="192"/>
                  <a:pt x="304" y="192"/>
                </a:cubicBezTo>
                <a:cubicBezTo>
                  <a:pt x="298" y="192"/>
                  <a:pt x="290" y="186"/>
                  <a:pt x="288" y="175"/>
                </a:cubicBezTo>
                <a:cubicBezTo>
                  <a:pt x="293" y="170"/>
                  <a:pt x="301" y="162"/>
                  <a:pt x="303" y="152"/>
                </a:cubicBezTo>
                <a:cubicBezTo>
                  <a:pt x="306" y="141"/>
                  <a:pt x="305" y="126"/>
                  <a:pt x="295" y="114"/>
                </a:cubicBezTo>
                <a:cubicBezTo>
                  <a:pt x="289" y="105"/>
                  <a:pt x="275" y="95"/>
                  <a:pt x="250" y="96"/>
                </a:cubicBezTo>
                <a:cubicBezTo>
                  <a:pt x="232" y="96"/>
                  <a:pt x="223" y="107"/>
                  <a:pt x="216" y="114"/>
                </a:cubicBezTo>
                <a:cubicBezTo>
                  <a:pt x="214" y="116"/>
                  <a:pt x="213" y="118"/>
                  <a:pt x="211" y="120"/>
                </a:cubicBezTo>
                <a:cubicBezTo>
                  <a:pt x="208" y="123"/>
                  <a:pt x="207" y="124"/>
                  <a:pt x="205" y="125"/>
                </a:cubicBezTo>
                <a:cubicBezTo>
                  <a:pt x="189" y="141"/>
                  <a:pt x="189" y="141"/>
                  <a:pt x="189" y="141"/>
                </a:cubicBezTo>
                <a:cubicBezTo>
                  <a:pt x="187" y="144"/>
                  <a:pt x="186" y="148"/>
                  <a:pt x="187" y="152"/>
                </a:cubicBezTo>
                <a:cubicBezTo>
                  <a:pt x="188" y="156"/>
                  <a:pt x="191" y="159"/>
                  <a:pt x="195" y="160"/>
                </a:cubicBezTo>
                <a:cubicBezTo>
                  <a:pt x="208" y="162"/>
                  <a:pt x="222" y="167"/>
                  <a:pt x="224" y="170"/>
                </a:cubicBezTo>
                <a:cubicBezTo>
                  <a:pt x="224" y="192"/>
                  <a:pt x="214" y="192"/>
                  <a:pt x="208" y="192"/>
                </a:cubicBezTo>
                <a:cubicBezTo>
                  <a:pt x="202" y="192"/>
                  <a:pt x="198" y="191"/>
                  <a:pt x="192" y="185"/>
                </a:cubicBezTo>
                <a:cubicBezTo>
                  <a:pt x="188" y="181"/>
                  <a:pt x="184" y="175"/>
                  <a:pt x="184" y="175"/>
                </a:cubicBezTo>
                <a:cubicBezTo>
                  <a:pt x="177" y="165"/>
                  <a:pt x="166" y="160"/>
                  <a:pt x="154" y="160"/>
                </a:cubicBezTo>
                <a:cubicBezTo>
                  <a:pt x="134" y="160"/>
                  <a:pt x="117" y="176"/>
                  <a:pt x="117" y="197"/>
                </a:cubicBezTo>
                <a:cubicBezTo>
                  <a:pt x="117" y="384"/>
                  <a:pt x="117" y="384"/>
                  <a:pt x="117" y="384"/>
                </a:cubicBezTo>
                <a:cubicBezTo>
                  <a:pt x="117" y="388"/>
                  <a:pt x="119" y="391"/>
                  <a:pt x="123" y="393"/>
                </a:cubicBezTo>
                <a:cubicBezTo>
                  <a:pt x="127" y="395"/>
                  <a:pt x="131" y="395"/>
                  <a:pt x="134" y="392"/>
                </a:cubicBezTo>
                <a:cubicBezTo>
                  <a:pt x="176" y="361"/>
                  <a:pt x="176" y="361"/>
                  <a:pt x="176" y="361"/>
                </a:cubicBezTo>
                <a:cubicBezTo>
                  <a:pt x="207" y="348"/>
                  <a:pt x="207" y="348"/>
                  <a:pt x="207" y="348"/>
                </a:cubicBezTo>
                <a:cubicBezTo>
                  <a:pt x="192" y="402"/>
                  <a:pt x="192" y="402"/>
                  <a:pt x="192" y="402"/>
                </a:cubicBezTo>
                <a:cubicBezTo>
                  <a:pt x="190" y="408"/>
                  <a:pt x="194" y="414"/>
                  <a:pt x="199" y="415"/>
                </a:cubicBezTo>
                <a:cubicBezTo>
                  <a:pt x="200" y="416"/>
                  <a:pt x="201" y="416"/>
                  <a:pt x="202" y="416"/>
                </a:cubicBezTo>
                <a:cubicBezTo>
                  <a:pt x="202" y="416"/>
                  <a:pt x="202" y="416"/>
                  <a:pt x="202" y="416"/>
                </a:cubicBezTo>
                <a:cubicBezTo>
                  <a:pt x="309" y="416"/>
                  <a:pt x="309" y="416"/>
                  <a:pt x="309" y="416"/>
                </a:cubicBezTo>
                <a:cubicBezTo>
                  <a:pt x="309" y="416"/>
                  <a:pt x="309" y="416"/>
                  <a:pt x="309" y="416"/>
                </a:cubicBezTo>
                <a:cubicBezTo>
                  <a:pt x="310" y="416"/>
                  <a:pt x="311" y="416"/>
                  <a:pt x="312" y="415"/>
                </a:cubicBezTo>
                <a:cubicBezTo>
                  <a:pt x="318" y="414"/>
                  <a:pt x="321" y="408"/>
                  <a:pt x="319" y="402"/>
                </a:cubicBezTo>
                <a:cubicBezTo>
                  <a:pt x="304" y="348"/>
                  <a:pt x="304" y="348"/>
                  <a:pt x="304" y="348"/>
                </a:cubicBezTo>
                <a:cubicBezTo>
                  <a:pt x="336" y="361"/>
                  <a:pt x="336" y="361"/>
                  <a:pt x="336" y="361"/>
                </a:cubicBezTo>
                <a:cubicBezTo>
                  <a:pt x="377" y="392"/>
                  <a:pt x="377" y="392"/>
                  <a:pt x="377" y="392"/>
                </a:cubicBezTo>
                <a:cubicBezTo>
                  <a:pt x="379" y="394"/>
                  <a:pt x="381" y="394"/>
                  <a:pt x="384" y="394"/>
                </a:cubicBezTo>
                <a:cubicBezTo>
                  <a:pt x="385" y="394"/>
                  <a:pt x="387" y="394"/>
                  <a:pt x="388" y="393"/>
                </a:cubicBezTo>
                <a:cubicBezTo>
                  <a:pt x="392" y="391"/>
                  <a:pt x="394" y="388"/>
                  <a:pt x="394" y="384"/>
                </a:cubicBezTo>
                <a:lnTo>
                  <a:pt x="394" y="19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0" name="Group 109">
            <a:extLst>
              <a:ext uri="{FF2B5EF4-FFF2-40B4-BE49-F238E27FC236}">
                <a16:creationId xmlns:a16="http://schemas.microsoft.com/office/drawing/2014/main" id="{E8D13A41-9F63-4A2B-B31F-C53B7D603D07}"/>
              </a:ext>
            </a:extLst>
          </p:cNvPr>
          <p:cNvGrpSpPr>
            <a:grpSpLocks noChangeAspect="1"/>
          </p:cNvGrpSpPr>
          <p:nvPr/>
        </p:nvGrpSpPr>
        <p:grpSpPr bwMode="auto">
          <a:xfrm>
            <a:off x="915289" y="4113840"/>
            <a:ext cx="367041" cy="367041"/>
            <a:chOff x="1129" y="363"/>
            <a:chExt cx="340" cy="340"/>
          </a:xfrm>
          <a:solidFill>
            <a:schemeClr val="accent2"/>
          </a:solidFill>
        </p:grpSpPr>
        <p:sp>
          <p:nvSpPr>
            <p:cNvPr id="621" name="Freeform 110">
              <a:extLst>
                <a:ext uri="{FF2B5EF4-FFF2-40B4-BE49-F238E27FC236}">
                  <a16:creationId xmlns:a16="http://schemas.microsoft.com/office/drawing/2014/main" id="{4D3F41F2-8246-4EEE-8AA5-AE709E0EA752}"/>
                </a:ext>
              </a:extLst>
            </p:cNvPr>
            <p:cNvSpPr>
              <a:spLocks noEditPoints="1"/>
            </p:cNvSpPr>
            <p:nvPr/>
          </p:nvSpPr>
          <p:spPr bwMode="auto">
            <a:xfrm>
              <a:off x="1129" y="36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2" name="Freeform 111">
              <a:extLst>
                <a:ext uri="{FF2B5EF4-FFF2-40B4-BE49-F238E27FC236}">
                  <a16:creationId xmlns:a16="http://schemas.microsoft.com/office/drawing/2014/main" id="{45F88A90-C860-421C-B51F-33F298A692DE}"/>
                </a:ext>
              </a:extLst>
            </p:cNvPr>
            <p:cNvSpPr>
              <a:spLocks noEditPoints="1"/>
            </p:cNvSpPr>
            <p:nvPr/>
          </p:nvSpPr>
          <p:spPr bwMode="auto">
            <a:xfrm>
              <a:off x="1207" y="426"/>
              <a:ext cx="184" cy="213"/>
            </a:xfrm>
            <a:custGeom>
              <a:avLst/>
              <a:gdLst>
                <a:gd name="T0" fmla="*/ 210 w 277"/>
                <a:gd name="T1" fmla="*/ 79 h 321"/>
                <a:gd name="T2" fmla="*/ 187 w 277"/>
                <a:gd name="T3" fmla="*/ 97 h 321"/>
                <a:gd name="T4" fmla="*/ 186 w 277"/>
                <a:gd name="T5" fmla="*/ 57 h 321"/>
                <a:gd name="T6" fmla="*/ 133 w 277"/>
                <a:gd name="T7" fmla="*/ 1 h 321"/>
                <a:gd name="T8" fmla="*/ 94 w 277"/>
                <a:gd name="T9" fmla="*/ 25 h 321"/>
                <a:gd name="T10" fmla="*/ 72 w 277"/>
                <a:gd name="T11" fmla="*/ 46 h 321"/>
                <a:gd name="T12" fmla="*/ 78 w 277"/>
                <a:gd name="T13" fmla="*/ 65 h 321"/>
                <a:gd name="T14" fmla="*/ 91 w 277"/>
                <a:gd name="T15" fmla="*/ 97 h 321"/>
                <a:gd name="T16" fmla="*/ 67 w 277"/>
                <a:gd name="T17" fmla="*/ 80 h 321"/>
                <a:gd name="T18" fmla="*/ 0 w 277"/>
                <a:gd name="T19" fmla="*/ 102 h 321"/>
                <a:gd name="T20" fmla="*/ 6 w 277"/>
                <a:gd name="T21" fmla="*/ 298 h 321"/>
                <a:gd name="T22" fmla="*/ 59 w 277"/>
                <a:gd name="T23" fmla="*/ 266 h 321"/>
                <a:gd name="T24" fmla="*/ 75 w 277"/>
                <a:gd name="T25" fmla="*/ 307 h 321"/>
                <a:gd name="T26" fmla="*/ 85 w 277"/>
                <a:gd name="T27" fmla="*/ 321 h 321"/>
                <a:gd name="T28" fmla="*/ 192 w 277"/>
                <a:gd name="T29" fmla="*/ 321 h 321"/>
                <a:gd name="T30" fmla="*/ 195 w 277"/>
                <a:gd name="T31" fmla="*/ 320 h 321"/>
                <a:gd name="T32" fmla="*/ 187 w 277"/>
                <a:gd name="T33" fmla="*/ 253 h 321"/>
                <a:gd name="T34" fmla="*/ 260 w 277"/>
                <a:gd name="T35" fmla="*/ 297 h 321"/>
                <a:gd name="T36" fmla="*/ 271 w 277"/>
                <a:gd name="T37" fmla="*/ 298 h 321"/>
                <a:gd name="T38" fmla="*/ 277 w 277"/>
                <a:gd name="T39" fmla="*/ 102 h 321"/>
                <a:gd name="T40" fmla="*/ 256 w 277"/>
                <a:gd name="T41" fmla="*/ 267 h 321"/>
                <a:gd name="T42" fmla="*/ 235 w 277"/>
                <a:gd name="T43" fmla="*/ 203 h 321"/>
                <a:gd name="T44" fmla="*/ 213 w 277"/>
                <a:gd name="T45" fmla="*/ 203 h 321"/>
                <a:gd name="T46" fmla="*/ 181 w 277"/>
                <a:gd name="T47" fmla="*/ 228 h 321"/>
                <a:gd name="T48" fmla="*/ 171 w 277"/>
                <a:gd name="T49" fmla="*/ 193 h 321"/>
                <a:gd name="T50" fmla="*/ 160 w 277"/>
                <a:gd name="T51" fmla="*/ 235 h 321"/>
                <a:gd name="T52" fmla="*/ 160 w 277"/>
                <a:gd name="T53" fmla="*/ 238 h 321"/>
                <a:gd name="T54" fmla="*/ 99 w 277"/>
                <a:gd name="T55" fmla="*/ 299 h 321"/>
                <a:gd name="T56" fmla="*/ 117 w 277"/>
                <a:gd name="T57" fmla="*/ 236 h 321"/>
                <a:gd name="T58" fmla="*/ 117 w 277"/>
                <a:gd name="T59" fmla="*/ 203 h 321"/>
                <a:gd name="T60" fmla="*/ 96 w 277"/>
                <a:gd name="T61" fmla="*/ 203 h 321"/>
                <a:gd name="T62" fmla="*/ 64 w 277"/>
                <a:gd name="T63" fmla="*/ 241 h 321"/>
                <a:gd name="T64" fmla="*/ 53 w 277"/>
                <a:gd name="T65" fmla="*/ 193 h 321"/>
                <a:gd name="T66" fmla="*/ 43 w 277"/>
                <a:gd name="T67" fmla="*/ 251 h 321"/>
                <a:gd name="T68" fmla="*/ 21 w 277"/>
                <a:gd name="T69" fmla="*/ 102 h 321"/>
                <a:gd name="T70" fmla="*/ 50 w 277"/>
                <a:gd name="T71" fmla="*/ 92 h 321"/>
                <a:gd name="T72" fmla="*/ 91 w 277"/>
                <a:gd name="T73" fmla="*/ 118 h 321"/>
                <a:gd name="T74" fmla="*/ 101 w 277"/>
                <a:gd name="T75" fmla="*/ 48 h 321"/>
                <a:gd name="T76" fmla="*/ 109 w 277"/>
                <a:gd name="T77" fmla="*/ 40 h 321"/>
                <a:gd name="T78" fmla="*/ 134 w 277"/>
                <a:gd name="T79" fmla="*/ 22 h 321"/>
                <a:gd name="T80" fmla="*/ 166 w 277"/>
                <a:gd name="T81" fmla="*/ 51 h 321"/>
                <a:gd name="T82" fmla="*/ 152 w 277"/>
                <a:gd name="T83" fmla="*/ 68 h 321"/>
                <a:gd name="T84" fmla="*/ 187 w 277"/>
                <a:gd name="T85" fmla="*/ 118 h 321"/>
                <a:gd name="T86" fmla="*/ 227 w 277"/>
                <a:gd name="T87" fmla="*/ 92 h 321"/>
                <a:gd name="T88" fmla="*/ 256 w 277"/>
                <a:gd name="T89" fmla="*/ 10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321">
                  <a:moveTo>
                    <a:pt x="240" y="65"/>
                  </a:moveTo>
                  <a:cubicBezTo>
                    <a:pt x="228" y="65"/>
                    <a:pt x="217" y="70"/>
                    <a:pt x="210" y="79"/>
                  </a:cubicBezTo>
                  <a:cubicBezTo>
                    <a:pt x="210" y="79"/>
                    <a:pt x="205" y="85"/>
                    <a:pt x="202" y="90"/>
                  </a:cubicBezTo>
                  <a:cubicBezTo>
                    <a:pt x="199" y="94"/>
                    <a:pt x="194" y="97"/>
                    <a:pt x="187" y="97"/>
                  </a:cubicBezTo>
                  <a:cubicBezTo>
                    <a:pt x="181" y="97"/>
                    <a:pt x="173" y="91"/>
                    <a:pt x="171" y="80"/>
                  </a:cubicBezTo>
                  <a:cubicBezTo>
                    <a:pt x="176" y="75"/>
                    <a:pt x="184" y="67"/>
                    <a:pt x="186" y="57"/>
                  </a:cubicBezTo>
                  <a:cubicBezTo>
                    <a:pt x="189" y="46"/>
                    <a:pt x="188" y="31"/>
                    <a:pt x="178" y="19"/>
                  </a:cubicBezTo>
                  <a:cubicBezTo>
                    <a:pt x="172" y="10"/>
                    <a:pt x="158" y="0"/>
                    <a:pt x="133" y="1"/>
                  </a:cubicBezTo>
                  <a:cubicBezTo>
                    <a:pt x="115" y="1"/>
                    <a:pt x="106" y="12"/>
                    <a:pt x="99" y="19"/>
                  </a:cubicBezTo>
                  <a:cubicBezTo>
                    <a:pt x="97" y="21"/>
                    <a:pt x="96" y="23"/>
                    <a:pt x="94" y="25"/>
                  </a:cubicBezTo>
                  <a:cubicBezTo>
                    <a:pt x="91" y="28"/>
                    <a:pt x="90" y="29"/>
                    <a:pt x="88" y="30"/>
                  </a:cubicBezTo>
                  <a:cubicBezTo>
                    <a:pt x="72" y="46"/>
                    <a:pt x="72" y="46"/>
                    <a:pt x="72" y="46"/>
                  </a:cubicBezTo>
                  <a:cubicBezTo>
                    <a:pt x="70" y="49"/>
                    <a:pt x="69" y="53"/>
                    <a:pt x="70" y="57"/>
                  </a:cubicBezTo>
                  <a:cubicBezTo>
                    <a:pt x="71" y="61"/>
                    <a:pt x="74" y="64"/>
                    <a:pt x="78" y="65"/>
                  </a:cubicBezTo>
                  <a:cubicBezTo>
                    <a:pt x="91" y="67"/>
                    <a:pt x="105" y="72"/>
                    <a:pt x="107" y="75"/>
                  </a:cubicBezTo>
                  <a:cubicBezTo>
                    <a:pt x="107" y="97"/>
                    <a:pt x="97" y="97"/>
                    <a:pt x="91" y="97"/>
                  </a:cubicBezTo>
                  <a:cubicBezTo>
                    <a:pt x="85" y="97"/>
                    <a:pt x="81" y="96"/>
                    <a:pt x="75" y="90"/>
                  </a:cubicBezTo>
                  <a:cubicBezTo>
                    <a:pt x="71" y="86"/>
                    <a:pt x="67" y="80"/>
                    <a:pt x="67" y="80"/>
                  </a:cubicBezTo>
                  <a:cubicBezTo>
                    <a:pt x="60" y="70"/>
                    <a:pt x="49" y="65"/>
                    <a:pt x="37" y="65"/>
                  </a:cubicBezTo>
                  <a:cubicBezTo>
                    <a:pt x="17" y="65"/>
                    <a:pt x="0" y="81"/>
                    <a:pt x="0" y="102"/>
                  </a:cubicBezTo>
                  <a:cubicBezTo>
                    <a:pt x="0" y="289"/>
                    <a:pt x="0" y="289"/>
                    <a:pt x="0" y="289"/>
                  </a:cubicBezTo>
                  <a:cubicBezTo>
                    <a:pt x="0" y="293"/>
                    <a:pt x="2" y="296"/>
                    <a:pt x="6" y="298"/>
                  </a:cubicBezTo>
                  <a:cubicBezTo>
                    <a:pt x="10" y="300"/>
                    <a:pt x="14" y="300"/>
                    <a:pt x="17" y="297"/>
                  </a:cubicBezTo>
                  <a:cubicBezTo>
                    <a:pt x="59" y="266"/>
                    <a:pt x="59" y="266"/>
                    <a:pt x="59" y="266"/>
                  </a:cubicBezTo>
                  <a:cubicBezTo>
                    <a:pt x="90" y="253"/>
                    <a:pt x="90" y="253"/>
                    <a:pt x="90" y="253"/>
                  </a:cubicBezTo>
                  <a:cubicBezTo>
                    <a:pt x="75" y="307"/>
                    <a:pt x="75" y="307"/>
                    <a:pt x="75" y="307"/>
                  </a:cubicBezTo>
                  <a:cubicBezTo>
                    <a:pt x="73" y="313"/>
                    <a:pt x="77" y="319"/>
                    <a:pt x="82" y="320"/>
                  </a:cubicBezTo>
                  <a:cubicBezTo>
                    <a:pt x="83" y="321"/>
                    <a:pt x="84" y="321"/>
                    <a:pt x="85" y="321"/>
                  </a:cubicBezTo>
                  <a:cubicBezTo>
                    <a:pt x="85" y="321"/>
                    <a:pt x="85" y="321"/>
                    <a:pt x="85" y="321"/>
                  </a:cubicBezTo>
                  <a:cubicBezTo>
                    <a:pt x="192" y="321"/>
                    <a:pt x="192" y="321"/>
                    <a:pt x="192" y="321"/>
                  </a:cubicBezTo>
                  <a:cubicBezTo>
                    <a:pt x="192" y="321"/>
                    <a:pt x="192" y="321"/>
                    <a:pt x="192" y="321"/>
                  </a:cubicBezTo>
                  <a:cubicBezTo>
                    <a:pt x="193" y="321"/>
                    <a:pt x="194" y="321"/>
                    <a:pt x="195" y="320"/>
                  </a:cubicBezTo>
                  <a:cubicBezTo>
                    <a:pt x="201" y="319"/>
                    <a:pt x="204" y="313"/>
                    <a:pt x="202" y="307"/>
                  </a:cubicBezTo>
                  <a:cubicBezTo>
                    <a:pt x="187" y="253"/>
                    <a:pt x="187" y="253"/>
                    <a:pt x="187" y="253"/>
                  </a:cubicBezTo>
                  <a:cubicBezTo>
                    <a:pt x="219" y="266"/>
                    <a:pt x="219" y="266"/>
                    <a:pt x="219" y="266"/>
                  </a:cubicBezTo>
                  <a:cubicBezTo>
                    <a:pt x="260" y="297"/>
                    <a:pt x="260" y="297"/>
                    <a:pt x="260" y="297"/>
                  </a:cubicBezTo>
                  <a:cubicBezTo>
                    <a:pt x="262" y="299"/>
                    <a:pt x="264" y="299"/>
                    <a:pt x="267" y="299"/>
                  </a:cubicBezTo>
                  <a:cubicBezTo>
                    <a:pt x="268" y="299"/>
                    <a:pt x="270" y="299"/>
                    <a:pt x="271" y="298"/>
                  </a:cubicBezTo>
                  <a:cubicBezTo>
                    <a:pt x="275" y="296"/>
                    <a:pt x="277" y="293"/>
                    <a:pt x="277" y="289"/>
                  </a:cubicBezTo>
                  <a:cubicBezTo>
                    <a:pt x="277" y="102"/>
                    <a:pt x="277" y="102"/>
                    <a:pt x="277" y="102"/>
                  </a:cubicBezTo>
                  <a:cubicBezTo>
                    <a:pt x="277" y="81"/>
                    <a:pt x="261" y="65"/>
                    <a:pt x="240" y="65"/>
                  </a:cubicBezTo>
                  <a:close/>
                  <a:moveTo>
                    <a:pt x="256" y="267"/>
                  </a:moveTo>
                  <a:cubicBezTo>
                    <a:pt x="235" y="251"/>
                    <a:pt x="235" y="251"/>
                    <a:pt x="235" y="251"/>
                  </a:cubicBezTo>
                  <a:cubicBezTo>
                    <a:pt x="235" y="203"/>
                    <a:pt x="235" y="203"/>
                    <a:pt x="235" y="203"/>
                  </a:cubicBezTo>
                  <a:cubicBezTo>
                    <a:pt x="235" y="197"/>
                    <a:pt x="230" y="193"/>
                    <a:pt x="224" y="193"/>
                  </a:cubicBezTo>
                  <a:cubicBezTo>
                    <a:pt x="218" y="193"/>
                    <a:pt x="213" y="197"/>
                    <a:pt x="213" y="203"/>
                  </a:cubicBezTo>
                  <a:cubicBezTo>
                    <a:pt x="213" y="241"/>
                    <a:pt x="213" y="241"/>
                    <a:pt x="213" y="241"/>
                  </a:cubicBezTo>
                  <a:cubicBezTo>
                    <a:pt x="181" y="228"/>
                    <a:pt x="181" y="228"/>
                    <a:pt x="181" y="228"/>
                  </a:cubicBezTo>
                  <a:cubicBezTo>
                    <a:pt x="181" y="203"/>
                    <a:pt x="181" y="203"/>
                    <a:pt x="181" y="203"/>
                  </a:cubicBezTo>
                  <a:cubicBezTo>
                    <a:pt x="181" y="197"/>
                    <a:pt x="177" y="193"/>
                    <a:pt x="171" y="193"/>
                  </a:cubicBezTo>
                  <a:cubicBezTo>
                    <a:pt x="165" y="193"/>
                    <a:pt x="160" y="197"/>
                    <a:pt x="160" y="203"/>
                  </a:cubicBezTo>
                  <a:cubicBezTo>
                    <a:pt x="160" y="235"/>
                    <a:pt x="160" y="235"/>
                    <a:pt x="160" y="235"/>
                  </a:cubicBezTo>
                  <a:cubicBezTo>
                    <a:pt x="160" y="236"/>
                    <a:pt x="160" y="236"/>
                    <a:pt x="160" y="236"/>
                  </a:cubicBezTo>
                  <a:cubicBezTo>
                    <a:pt x="160" y="237"/>
                    <a:pt x="160" y="237"/>
                    <a:pt x="160" y="238"/>
                  </a:cubicBezTo>
                  <a:cubicBezTo>
                    <a:pt x="178" y="299"/>
                    <a:pt x="178" y="299"/>
                    <a:pt x="178" y="299"/>
                  </a:cubicBezTo>
                  <a:cubicBezTo>
                    <a:pt x="99" y="299"/>
                    <a:pt x="99" y="299"/>
                    <a:pt x="99" y="299"/>
                  </a:cubicBezTo>
                  <a:cubicBezTo>
                    <a:pt x="117" y="238"/>
                    <a:pt x="117" y="238"/>
                    <a:pt x="117" y="238"/>
                  </a:cubicBezTo>
                  <a:cubicBezTo>
                    <a:pt x="117" y="237"/>
                    <a:pt x="117" y="237"/>
                    <a:pt x="117" y="236"/>
                  </a:cubicBezTo>
                  <a:cubicBezTo>
                    <a:pt x="117" y="236"/>
                    <a:pt x="117" y="236"/>
                    <a:pt x="117" y="235"/>
                  </a:cubicBezTo>
                  <a:cubicBezTo>
                    <a:pt x="117" y="203"/>
                    <a:pt x="117" y="203"/>
                    <a:pt x="117" y="203"/>
                  </a:cubicBezTo>
                  <a:cubicBezTo>
                    <a:pt x="117" y="197"/>
                    <a:pt x="113" y="193"/>
                    <a:pt x="107" y="193"/>
                  </a:cubicBezTo>
                  <a:cubicBezTo>
                    <a:pt x="101" y="193"/>
                    <a:pt x="96" y="197"/>
                    <a:pt x="96" y="203"/>
                  </a:cubicBezTo>
                  <a:cubicBezTo>
                    <a:pt x="96" y="228"/>
                    <a:pt x="96" y="228"/>
                    <a:pt x="96" y="228"/>
                  </a:cubicBezTo>
                  <a:cubicBezTo>
                    <a:pt x="64" y="241"/>
                    <a:pt x="64" y="241"/>
                    <a:pt x="64" y="241"/>
                  </a:cubicBezTo>
                  <a:cubicBezTo>
                    <a:pt x="64" y="203"/>
                    <a:pt x="64" y="203"/>
                    <a:pt x="64" y="203"/>
                  </a:cubicBezTo>
                  <a:cubicBezTo>
                    <a:pt x="64" y="197"/>
                    <a:pt x="59" y="193"/>
                    <a:pt x="53" y="193"/>
                  </a:cubicBezTo>
                  <a:cubicBezTo>
                    <a:pt x="47" y="193"/>
                    <a:pt x="43" y="197"/>
                    <a:pt x="43" y="203"/>
                  </a:cubicBezTo>
                  <a:cubicBezTo>
                    <a:pt x="43" y="251"/>
                    <a:pt x="43" y="251"/>
                    <a:pt x="43" y="251"/>
                  </a:cubicBezTo>
                  <a:cubicBezTo>
                    <a:pt x="21" y="267"/>
                    <a:pt x="21" y="267"/>
                    <a:pt x="21" y="267"/>
                  </a:cubicBezTo>
                  <a:cubicBezTo>
                    <a:pt x="21" y="102"/>
                    <a:pt x="21" y="102"/>
                    <a:pt x="21" y="102"/>
                  </a:cubicBezTo>
                  <a:cubicBezTo>
                    <a:pt x="21" y="93"/>
                    <a:pt x="29" y="86"/>
                    <a:pt x="37" y="86"/>
                  </a:cubicBezTo>
                  <a:cubicBezTo>
                    <a:pt x="42" y="86"/>
                    <a:pt x="47" y="88"/>
                    <a:pt x="50" y="92"/>
                  </a:cubicBezTo>
                  <a:cubicBezTo>
                    <a:pt x="50" y="92"/>
                    <a:pt x="55" y="99"/>
                    <a:pt x="59" y="104"/>
                  </a:cubicBezTo>
                  <a:cubicBezTo>
                    <a:pt x="70" y="116"/>
                    <a:pt x="81" y="118"/>
                    <a:pt x="91" y="118"/>
                  </a:cubicBezTo>
                  <a:cubicBezTo>
                    <a:pt x="115" y="118"/>
                    <a:pt x="128" y="103"/>
                    <a:pt x="128" y="75"/>
                  </a:cubicBezTo>
                  <a:cubicBezTo>
                    <a:pt x="128" y="61"/>
                    <a:pt x="114" y="53"/>
                    <a:pt x="101" y="48"/>
                  </a:cubicBezTo>
                  <a:cubicBezTo>
                    <a:pt x="104" y="45"/>
                    <a:pt x="104" y="45"/>
                    <a:pt x="104" y="45"/>
                  </a:cubicBezTo>
                  <a:cubicBezTo>
                    <a:pt x="105" y="44"/>
                    <a:pt x="106" y="43"/>
                    <a:pt x="109" y="40"/>
                  </a:cubicBezTo>
                  <a:cubicBezTo>
                    <a:pt x="111" y="38"/>
                    <a:pt x="113" y="36"/>
                    <a:pt x="115" y="33"/>
                  </a:cubicBezTo>
                  <a:cubicBezTo>
                    <a:pt x="122" y="26"/>
                    <a:pt x="125" y="22"/>
                    <a:pt x="134" y="22"/>
                  </a:cubicBezTo>
                  <a:cubicBezTo>
                    <a:pt x="147" y="22"/>
                    <a:pt x="156" y="25"/>
                    <a:pt x="162" y="32"/>
                  </a:cubicBezTo>
                  <a:cubicBezTo>
                    <a:pt x="167" y="38"/>
                    <a:pt x="167" y="46"/>
                    <a:pt x="166" y="51"/>
                  </a:cubicBezTo>
                  <a:cubicBezTo>
                    <a:pt x="164" y="57"/>
                    <a:pt x="157" y="63"/>
                    <a:pt x="154" y="66"/>
                  </a:cubicBezTo>
                  <a:cubicBezTo>
                    <a:pt x="154" y="67"/>
                    <a:pt x="153" y="67"/>
                    <a:pt x="152" y="68"/>
                  </a:cubicBezTo>
                  <a:cubicBezTo>
                    <a:pt x="150" y="70"/>
                    <a:pt x="149" y="72"/>
                    <a:pt x="149" y="75"/>
                  </a:cubicBezTo>
                  <a:cubicBezTo>
                    <a:pt x="149" y="102"/>
                    <a:pt x="169" y="118"/>
                    <a:pt x="187" y="118"/>
                  </a:cubicBezTo>
                  <a:cubicBezTo>
                    <a:pt x="205" y="118"/>
                    <a:pt x="215" y="109"/>
                    <a:pt x="219" y="103"/>
                  </a:cubicBezTo>
                  <a:cubicBezTo>
                    <a:pt x="222" y="98"/>
                    <a:pt x="227" y="93"/>
                    <a:pt x="227" y="92"/>
                  </a:cubicBezTo>
                  <a:cubicBezTo>
                    <a:pt x="230" y="88"/>
                    <a:pt x="235" y="86"/>
                    <a:pt x="240" y="86"/>
                  </a:cubicBezTo>
                  <a:cubicBezTo>
                    <a:pt x="249" y="86"/>
                    <a:pt x="256" y="93"/>
                    <a:pt x="256" y="102"/>
                  </a:cubicBezTo>
                  <a:lnTo>
                    <a:pt x="256" y="2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23" name="Freeform 115">
            <a:extLst>
              <a:ext uri="{FF2B5EF4-FFF2-40B4-BE49-F238E27FC236}">
                <a16:creationId xmlns:a16="http://schemas.microsoft.com/office/drawing/2014/main" id="{CD3BC9A6-CF62-43F5-9893-74BCFD53BBB7}"/>
              </a:ext>
            </a:extLst>
          </p:cNvPr>
          <p:cNvSpPr>
            <a:spLocks noChangeAspect="1" noEditPoints="1"/>
          </p:cNvSpPr>
          <p:nvPr/>
        </p:nvSpPr>
        <p:spPr bwMode="auto">
          <a:xfrm>
            <a:off x="1350874" y="4113840"/>
            <a:ext cx="367041" cy="367041"/>
          </a:xfrm>
          <a:custGeom>
            <a:avLst/>
            <a:gdLst>
              <a:gd name="T0" fmla="*/ 224 w 512"/>
              <a:gd name="T1" fmla="*/ 309 h 512"/>
              <a:gd name="T2" fmla="*/ 288 w 512"/>
              <a:gd name="T3" fmla="*/ 309 h 512"/>
              <a:gd name="T4" fmla="*/ 288 w 512"/>
              <a:gd name="T5" fmla="*/ 373 h 512"/>
              <a:gd name="T6" fmla="*/ 224 w 512"/>
              <a:gd name="T7" fmla="*/ 373 h 512"/>
              <a:gd name="T8" fmla="*/ 224 w 512"/>
              <a:gd name="T9" fmla="*/ 309 h 512"/>
              <a:gd name="T10" fmla="*/ 224 w 512"/>
              <a:gd name="T11" fmla="*/ 202 h 512"/>
              <a:gd name="T12" fmla="*/ 288 w 512"/>
              <a:gd name="T13" fmla="*/ 202 h 512"/>
              <a:gd name="T14" fmla="*/ 288 w 512"/>
              <a:gd name="T15" fmla="*/ 138 h 512"/>
              <a:gd name="T16" fmla="*/ 224 w 512"/>
              <a:gd name="T17" fmla="*/ 138 h 512"/>
              <a:gd name="T18" fmla="*/ 224 w 512"/>
              <a:gd name="T19" fmla="*/ 202 h 512"/>
              <a:gd name="T20" fmla="*/ 224 w 512"/>
              <a:gd name="T21" fmla="*/ 288 h 512"/>
              <a:gd name="T22" fmla="*/ 288 w 512"/>
              <a:gd name="T23" fmla="*/ 288 h 512"/>
              <a:gd name="T24" fmla="*/ 288 w 512"/>
              <a:gd name="T25" fmla="*/ 224 h 512"/>
              <a:gd name="T26" fmla="*/ 224 w 512"/>
              <a:gd name="T27" fmla="*/ 224 h 512"/>
              <a:gd name="T28" fmla="*/ 224 w 512"/>
              <a:gd name="T29" fmla="*/ 288 h 512"/>
              <a:gd name="T30" fmla="*/ 138 w 512"/>
              <a:gd name="T31" fmla="*/ 288 h 512"/>
              <a:gd name="T32" fmla="*/ 202 w 512"/>
              <a:gd name="T33" fmla="*/ 288 h 512"/>
              <a:gd name="T34" fmla="*/ 202 w 512"/>
              <a:gd name="T35" fmla="*/ 224 h 512"/>
              <a:gd name="T36" fmla="*/ 138 w 512"/>
              <a:gd name="T37" fmla="*/ 224 h 512"/>
              <a:gd name="T38" fmla="*/ 138 w 512"/>
              <a:gd name="T39" fmla="*/ 288 h 512"/>
              <a:gd name="T40" fmla="*/ 138 w 512"/>
              <a:gd name="T41" fmla="*/ 373 h 512"/>
              <a:gd name="T42" fmla="*/ 202 w 512"/>
              <a:gd name="T43" fmla="*/ 373 h 512"/>
              <a:gd name="T44" fmla="*/ 202 w 512"/>
              <a:gd name="T45" fmla="*/ 309 h 512"/>
              <a:gd name="T46" fmla="*/ 138 w 512"/>
              <a:gd name="T47" fmla="*/ 309 h 512"/>
              <a:gd name="T48" fmla="*/ 138 w 512"/>
              <a:gd name="T49" fmla="*/ 373 h 512"/>
              <a:gd name="T50" fmla="*/ 138 w 512"/>
              <a:gd name="T51" fmla="*/ 202 h 512"/>
              <a:gd name="T52" fmla="*/ 202 w 512"/>
              <a:gd name="T53" fmla="*/ 202 h 512"/>
              <a:gd name="T54" fmla="*/ 202 w 512"/>
              <a:gd name="T55" fmla="*/ 138 h 512"/>
              <a:gd name="T56" fmla="*/ 138 w 512"/>
              <a:gd name="T57" fmla="*/ 138 h 512"/>
              <a:gd name="T58" fmla="*/ 138 w 512"/>
              <a:gd name="T59" fmla="*/ 202 h 512"/>
              <a:gd name="T60" fmla="*/ 309 w 512"/>
              <a:gd name="T61" fmla="*/ 202 h 512"/>
              <a:gd name="T62" fmla="*/ 373 w 512"/>
              <a:gd name="T63" fmla="*/ 202 h 512"/>
              <a:gd name="T64" fmla="*/ 373 w 512"/>
              <a:gd name="T65" fmla="*/ 138 h 512"/>
              <a:gd name="T66" fmla="*/ 309 w 512"/>
              <a:gd name="T67" fmla="*/ 138 h 512"/>
              <a:gd name="T68" fmla="*/ 309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394 w 512"/>
              <a:gd name="T81" fmla="*/ 128 h 512"/>
              <a:gd name="T82" fmla="*/ 384 w 512"/>
              <a:gd name="T83" fmla="*/ 117 h 512"/>
              <a:gd name="T84" fmla="*/ 128 w 512"/>
              <a:gd name="T85" fmla="*/ 117 h 512"/>
              <a:gd name="T86" fmla="*/ 117 w 512"/>
              <a:gd name="T87" fmla="*/ 128 h 512"/>
              <a:gd name="T88" fmla="*/ 117 w 512"/>
              <a:gd name="T89" fmla="*/ 384 h 512"/>
              <a:gd name="T90" fmla="*/ 128 w 512"/>
              <a:gd name="T91" fmla="*/ 394 h 512"/>
              <a:gd name="T92" fmla="*/ 384 w 512"/>
              <a:gd name="T93" fmla="*/ 394 h 512"/>
              <a:gd name="T94" fmla="*/ 394 w 512"/>
              <a:gd name="T95" fmla="*/ 384 h 512"/>
              <a:gd name="T96" fmla="*/ 394 w 512"/>
              <a:gd name="T97" fmla="*/ 128 h 512"/>
              <a:gd name="T98" fmla="*/ 309 w 512"/>
              <a:gd name="T99" fmla="*/ 288 h 512"/>
              <a:gd name="T100" fmla="*/ 373 w 512"/>
              <a:gd name="T101" fmla="*/ 288 h 512"/>
              <a:gd name="T102" fmla="*/ 373 w 512"/>
              <a:gd name="T103" fmla="*/ 224 h 512"/>
              <a:gd name="T104" fmla="*/ 309 w 512"/>
              <a:gd name="T105" fmla="*/ 224 h 512"/>
              <a:gd name="T106" fmla="*/ 309 w 512"/>
              <a:gd name="T107" fmla="*/ 288 h 512"/>
              <a:gd name="T108" fmla="*/ 309 w 512"/>
              <a:gd name="T109" fmla="*/ 373 h 512"/>
              <a:gd name="T110" fmla="*/ 373 w 512"/>
              <a:gd name="T111" fmla="*/ 373 h 512"/>
              <a:gd name="T112" fmla="*/ 373 w 512"/>
              <a:gd name="T113" fmla="*/ 309 h 512"/>
              <a:gd name="T114" fmla="*/ 309 w 512"/>
              <a:gd name="T115" fmla="*/ 309 h 512"/>
              <a:gd name="T116" fmla="*/ 309 w 512"/>
              <a:gd name="T11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24" y="309"/>
                </a:moveTo>
                <a:cubicBezTo>
                  <a:pt x="288" y="309"/>
                  <a:pt x="288" y="309"/>
                  <a:pt x="288" y="309"/>
                </a:cubicBezTo>
                <a:cubicBezTo>
                  <a:pt x="288" y="373"/>
                  <a:pt x="288" y="373"/>
                  <a:pt x="288" y="373"/>
                </a:cubicBezTo>
                <a:cubicBezTo>
                  <a:pt x="224" y="373"/>
                  <a:pt x="224" y="373"/>
                  <a:pt x="224" y="373"/>
                </a:cubicBezTo>
                <a:lnTo>
                  <a:pt x="224" y="309"/>
                </a:lnTo>
                <a:close/>
                <a:moveTo>
                  <a:pt x="224" y="202"/>
                </a:moveTo>
                <a:cubicBezTo>
                  <a:pt x="288" y="202"/>
                  <a:pt x="288" y="202"/>
                  <a:pt x="288" y="202"/>
                </a:cubicBezTo>
                <a:cubicBezTo>
                  <a:pt x="288" y="138"/>
                  <a:pt x="288" y="138"/>
                  <a:pt x="288" y="138"/>
                </a:cubicBezTo>
                <a:cubicBezTo>
                  <a:pt x="224" y="138"/>
                  <a:pt x="224" y="138"/>
                  <a:pt x="224" y="138"/>
                </a:cubicBezTo>
                <a:lnTo>
                  <a:pt x="224" y="202"/>
                </a:lnTo>
                <a:close/>
                <a:moveTo>
                  <a:pt x="224" y="288"/>
                </a:moveTo>
                <a:cubicBezTo>
                  <a:pt x="288" y="288"/>
                  <a:pt x="288" y="288"/>
                  <a:pt x="288" y="288"/>
                </a:cubicBezTo>
                <a:cubicBezTo>
                  <a:pt x="288" y="224"/>
                  <a:pt x="288" y="224"/>
                  <a:pt x="288" y="224"/>
                </a:cubicBezTo>
                <a:cubicBezTo>
                  <a:pt x="224" y="224"/>
                  <a:pt x="224" y="224"/>
                  <a:pt x="224" y="224"/>
                </a:cubicBezTo>
                <a:lnTo>
                  <a:pt x="224" y="288"/>
                </a:lnTo>
                <a:close/>
                <a:moveTo>
                  <a:pt x="138" y="288"/>
                </a:moveTo>
                <a:cubicBezTo>
                  <a:pt x="202" y="288"/>
                  <a:pt x="202" y="288"/>
                  <a:pt x="202" y="288"/>
                </a:cubicBezTo>
                <a:cubicBezTo>
                  <a:pt x="202" y="224"/>
                  <a:pt x="202" y="224"/>
                  <a:pt x="202" y="224"/>
                </a:cubicBezTo>
                <a:cubicBezTo>
                  <a:pt x="138" y="224"/>
                  <a:pt x="138" y="224"/>
                  <a:pt x="138" y="224"/>
                </a:cubicBezTo>
                <a:lnTo>
                  <a:pt x="138" y="288"/>
                </a:lnTo>
                <a:close/>
                <a:moveTo>
                  <a:pt x="138" y="373"/>
                </a:moveTo>
                <a:cubicBezTo>
                  <a:pt x="202" y="373"/>
                  <a:pt x="202" y="373"/>
                  <a:pt x="202" y="373"/>
                </a:cubicBezTo>
                <a:cubicBezTo>
                  <a:pt x="202" y="309"/>
                  <a:pt x="202" y="309"/>
                  <a:pt x="202" y="309"/>
                </a:cubicBezTo>
                <a:cubicBezTo>
                  <a:pt x="138" y="309"/>
                  <a:pt x="138" y="309"/>
                  <a:pt x="138" y="309"/>
                </a:cubicBezTo>
                <a:lnTo>
                  <a:pt x="138" y="373"/>
                </a:lnTo>
                <a:close/>
                <a:moveTo>
                  <a:pt x="138" y="202"/>
                </a:moveTo>
                <a:cubicBezTo>
                  <a:pt x="202" y="202"/>
                  <a:pt x="202" y="202"/>
                  <a:pt x="202" y="202"/>
                </a:cubicBezTo>
                <a:cubicBezTo>
                  <a:pt x="202" y="138"/>
                  <a:pt x="202" y="138"/>
                  <a:pt x="202" y="138"/>
                </a:cubicBezTo>
                <a:cubicBezTo>
                  <a:pt x="138" y="138"/>
                  <a:pt x="138" y="138"/>
                  <a:pt x="138" y="138"/>
                </a:cubicBezTo>
                <a:lnTo>
                  <a:pt x="138" y="202"/>
                </a:lnTo>
                <a:close/>
                <a:moveTo>
                  <a:pt x="309" y="202"/>
                </a:moveTo>
                <a:cubicBezTo>
                  <a:pt x="373" y="202"/>
                  <a:pt x="373" y="202"/>
                  <a:pt x="373" y="202"/>
                </a:cubicBezTo>
                <a:cubicBezTo>
                  <a:pt x="373" y="138"/>
                  <a:pt x="373" y="138"/>
                  <a:pt x="373" y="138"/>
                </a:cubicBezTo>
                <a:cubicBezTo>
                  <a:pt x="309" y="138"/>
                  <a:pt x="309" y="138"/>
                  <a:pt x="309" y="138"/>
                </a:cubicBezTo>
                <a:lnTo>
                  <a:pt x="309"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128" y="117"/>
                  <a:pt x="128" y="117"/>
                  <a:pt x="128" y="117"/>
                </a:cubicBezTo>
                <a:cubicBezTo>
                  <a:pt x="122" y="117"/>
                  <a:pt x="117" y="122"/>
                  <a:pt x="117" y="128"/>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128"/>
                </a:lnTo>
                <a:close/>
                <a:moveTo>
                  <a:pt x="309" y="288"/>
                </a:moveTo>
                <a:cubicBezTo>
                  <a:pt x="373" y="288"/>
                  <a:pt x="373" y="288"/>
                  <a:pt x="373" y="288"/>
                </a:cubicBezTo>
                <a:cubicBezTo>
                  <a:pt x="373" y="224"/>
                  <a:pt x="373" y="224"/>
                  <a:pt x="373" y="224"/>
                </a:cubicBezTo>
                <a:cubicBezTo>
                  <a:pt x="309" y="224"/>
                  <a:pt x="309" y="224"/>
                  <a:pt x="309" y="224"/>
                </a:cubicBezTo>
                <a:lnTo>
                  <a:pt x="309" y="288"/>
                </a:lnTo>
                <a:close/>
                <a:moveTo>
                  <a:pt x="309" y="373"/>
                </a:moveTo>
                <a:cubicBezTo>
                  <a:pt x="373" y="373"/>
                  <a:pt x="373" y="373"/>
                  <a:pt x="373" y="373"/>
                </a:cubicBezTo>
                <a:cubicBezTo>
                  <a:pt x="373" y="309"/>
                  <a:pt x="373" y="309"/>
                  <a:pt x="373" y="309"/>
                </a:cubicBezTo>
                <a:cubicBezTo>
                  <a:pt x="309" y="309"/>
                  <a:pt x="309" y="309"/>
                  <a:pt x="309" y="309"/>
                </a:cubicBezTo>
                <a:lnTo>
                  <a:pt x="309"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4" name="Group 118">
            <a:extLst>
              <a:ext uri="{FF2B5EF4-FFF2-40B4-BE49-F238E27FC236}">
                <a16:creationId xmlns:a16="http://schemas.microsoft.com/office/drawing/2014/main" id="{A49FE25D-A013-4A81-A149-649054FBDFCC}"/>
              </a:ext>
            </a:extLst>
          </p:cNvPr>
          <p:cNvGrpSpPr>
            <a:grpSpLocks noChangeAspect="1"/>
          </p:cNvGrpSpPr>
          <p:nvPr/>
        </p:nvGrpSpPr>
        <p:grpSpPr bwMode="auto">
          <a:xfrm>
            <a:off x="1786459" y="4113839"/>
            <a:ext cx="368121" cy="368120"/>
            <a:chOff x="1926" y="383"/>
            <a:chExt cx="341" cy="341"/>
          </a:xfrm>
          <a:solidFill>
            <a:schemeClr val="accent2"/>
          </a:solidFill>
        </p:grpSpPr>
        <p:sp>
          <p:nvSpPr>
            <p:cNvPr id="625" name="Freeform 119">
              <a:extLst>
                <a:ext uri="{FF2B5EF4-FFF2-40B4-BE49-F238E27FC236}">
                  <a16:creationId xmlns:a16="http://schemas.microsoft.com/office/drawing/2014/main" id="{331CB019-D2EB-441D-87D9-9EF0A9664A36}"/>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6" name="Freeform 120">
              <a:extLst>
                <a:ext uri="{FF2B5EF4-FFF2-40B4-BE49-F238E27FC236}">
                  <a16:creationId xmlns:a16="http://schemas.microsoft.com/office/drawing/2014/main" id="{4B6EEC1B-DB80-4AC6-9480-5750A3165D69}"/>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27" name="Freeform 189">
            <a:extLst>
              <a:ext uri="{FF2B5EF4-FFF2-40B4-BE49-F238E27FC236}">
                <a16:creationId xmlns:a16="http://schemas.microsoft.com/office/drawing/2014/main" id="{09F4EBFA-64A7-42A2-93B1-19BB01B58859}"/>
              </a:ext>
            </a:extLst>
          </p:cNvPr>
          <p:cNvSpPr>
            <a:spLocks noChangeAspect="1" noEditPoints="1"/>
          </p:cNvSpPr>
          <p:nvPr/>
        </p:nvSpPr>
        <p:spPr bwMode="auto">
          <a:xfrm>
            <a:off x="2223124" y="4113840"/>
            <a:ext cx="367042" cy="367041"/>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8" name="Group 192">
            <a:extLst>
              <a:ext uri="{FF2B5EF4-FFF2-40B4-BE49-F238E27FC236}">
                <a16:creationId xmlns:a16="http://schemas.microsoft.com/office/drawing/2014/main" id="{7371705B-7D3A-46BF-A338-55E673C96577}"/>
              </a:ext>
            </a:extLst>
          </p:cNvPr>
          <p:cNvGrpSpPr>
            <a:grpSpLocks noChangeAspect="1"/>
          </p:cNvGrpSpPr>
          <p:nvPr/>
        </p:nvGrpSpPr>
        <p:grpSpPr bwMode="auto">
          <a:xfrm>
            <a:off x="2658710" y="4113840"/>
            <a:ext cx="367041" cy="367041"/>
            <a:chOff x="378" y="713"/>
            <a:chExt cx="340" cy="340"/>
          </a:xfrm>
          <a:solidFill>
            <a:schemeClr val="accent3"/>
          </a:solidFill>
        </p:grpSpPr>
        <p:sp>
          <p:nvSpPr>
            <p:cNvPr id="631" name="Freeform 193">
              <a:extLst>
                <a:ext uri="{FF2B5EF4-FFF2-40B4-BE49-F238E27FC236}">
                  <a16:creationId xmlns:a16="http://schemas.microsoft.com/office/drawing/2014/main" id="{D1B0A318-A34B-42B3-9654-6CC4E14BD9BA}"/>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2" name="Freeform 194">
              <a:extLst>
                <a:ext uri="{FF2B5EF4-FFF2-40B4-BE49-F238E27FC236}">
                  <a16:creationId xmlns:a16="http://schemas.microsoft.com/office/drawing/2014/main" id="{9EF1B5AA-D6EC-49DC-B3C6-6B6A74C53EEF}"/>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3" name="TextBox 632">
            <a:extLst>
              <a:ext uri="{FF2B5EF4-FFF2-40B4-BE49-F238E27FC236}">
                <a16:creationId xmlns:a16="http://schemas.microsoft.com/office/drawing/2014/main" id="{69BBE14A-FA72-41EE-A4DD-E8E27DA5490F}"/>
              </a:ext>
            </a:extLst>
          </p:cNvPr>
          <p:cNvSpPr txBox="1"/>
          <p:nvPr/>
        </p:nvSpPr>
        <p:spPr>
          <a:xfrm>
            <a:off x="3944535"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Non-visible</a:t>
            </a:r>
          </a:p>
        </p:txBody>
      </p:sp>
      <p:sp>
        <p:nvSpPr>
          <p:cNvPr id="634" name="TextBox 633">
            <a:extLst>
              <a:ext uri="{FF2B5EF4-FFF2-40B4-BE49-F238E27FC236}">
                <a16:creationId xmlns:a16="http://schemas.microsoft.com/office/drawing/2014/main" id="{740A7777-3F6A-4D83-817E-F136DC9C4AB0}"/>
              </a:ext>
            </a:extLst>
          </p:cNvPr>
          <p:cNvSpPr txBox="1"/>
          <p:nvPr/>
        </p:nvSpPr>
        <p:spPr>
          <a:xfrm>
            <a:off x="3074459"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No entry</a:t>
            </a:r>
          </a:p>
        </p:txBody>
      </p:sp>
      <p:sp>
        <p:nvSpPr>
          <p:cNvPr id="635" name="Freeform 1002">
            <a:extLst>
              <a:ext uri="{FF2B5EF4-FFF2-40B4-BE49-F238E27FC236}">
                <a16:creationId xmlns:a16="http://schemas.microsoft.com/office/drawing/2014/main" id="{3D20AA9D-631C-4101-BDC2-4A4051D475F0}"/>
              </a:ext>
            </a:extLst>
          </p:cNvPr>
          <p:cNvSpPr>
            <a:spLocks noChangeAspect="1" noEditPoints="1"/>
          </p:cNvSpPr>
          <p:nvPr/>
        </p:nvSpPr>
        <p:spPr bwMode="auto">
          <a:xfrm>
            <a:off x="3094295" y="4113840"/>
            <a:ext cx="367041" cy="367041"/>
          </a:xfrm>
          <a:custGeom>
            <a:avLst/>
            <a:gdLst>
              <a:gd name="T0" fmla="*/ 151 w 512"/>
              <a:gd name="T1" fmla="*/ 166 h 512"/>
              <a:gd name="T2" fmla="*/ 346 w 512"/>
              <a:gd name="T3" fmla="*/ 362 h 512"/>
              <a:gd name="T4" fmla="*/ 256 w 512"/>
              <a:gd name="T5" fmla="*/ 395 h 512"/>
              <a:gd name="T6" fmla="*/ 117 w 512"/>
              <a:gd name="T7" fmla="*/ 256 h 512"/>
              <a:gd name="T8" fmla="*/ 151 w 512"/>
              <a:gd name="T9" fmla="*/ 166 h 512"/>
              <a:gd name="T10" fmla="*/ 256 w 512"/>
              <a:gd name="T11" fmla="*/ 118 h 512"/>
              <a:gd name="T12" fmla="*/ 166 w 512"/>
              <a:gd name="T13" fmla="*/ 151 h 512"/>
              <a:gd name="T14" fmla="*/ 361 w 512"/>
              <a:gd name="T15" fmla="*/ 346 h 512"/>
              <a:gd name="T16" fmla="*/ 395 w 512"/>
              <a:gd name="T17" fmla="*/ 256 h 512"/>
              <a:gd name="T18" fmla="*/ 256 w 512"/>
              <a:gd name="T19" fmla="*/ 11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256 h 512"/>
              <a:gd name="T32" fmla="*/ 256 w 512"/>
              <a:gd name="T33" fmla="*/ 96 h 512"/>
              <a:gd name="T34" fmla="*/ 96 w 512"/>
              <a:gd name="T35" fmla="*/ 256 h 512"/>
              <a:gd name="T36" fmla="*/ 256 w 512"/>
              <a:gd name="T37" fmla="*/ 416 h 512"/>
              <a:gd name="T38" fmla="*/ 416 w 512"/>
              <a:gd name="T3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51" y="166"/>
                </a:moveTo>
                <a:cubicBezTo>
                  <a:pt x="346" y="362"/>
                  <a:pt x="346" y="362"/>
                  <a:pt x="346" y="362"/>
                </a:cubicBezTo>
                <a:cubicBezTo>
                  <a:pt x="322" y="382"/>
                  <a:pt x="290" y="395"/>
                  <a:pt x="256" y="395"/>
                </a:cubicBezTo>
                <a:cubicBezTo>
                  <a:pt x="180" y="395"/>
                  <a:pt x="117" y="333"/>
                  <a:pt x="117" y="256"/>
                </a:cubicBezTo>
                <a:cubicBezTo>
                  <a:pt x="117" y="222"/>
                  <a:pt x="130" y="190"/>
                  <a:pt x="151" y="166"/>
                </a:cubicBezTo>
                <a:close/>
                <a:moveTo>
                  <a:pt x="256" y="118"/>
                </a:moveTo>
                <a:cubicBezTo>
                  <a:pt x="222" y="118"/>
                  <a:pt x="190" y="130"/>
                  <a:pt x="166" y="151"/>
                </a:cubicBezTo>
                <a:cubicBezTo>
                  <a:pt x="361" y="346"/>
                  <a:pt x="361" y="346"/>
                  <a:pt x="361" y="346"/>
                </a:cubicBezTo>
                <a:cubicBezTo>
                  <a:pt x="382" y="322"/>
                  <a:pt x="395" y="291"/>
                  <a:pt x="395" y="256"/>
                </a:cubicBezTo>
                <a:cubicBezTo>
                  <a:pt x="395" y="180"/>
                  <a:pt x="332" y="118"/>
                  <a:pt x="256" y="11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256"/>
                </a:moveTo>
                <a:cubicBezTo>
                  <a:pt x="416" y="168"/>
                  <a:pt x="344" y="96"/>
                  <a:pt x="256" y="96"/>
                </a:cubicBezTo>
                <a:cubicBezTo>
                  <a:pt x="168" y="96"/>
                  <a:pt x="96" y="168"/>
                  <a:pt x="96" y="256"/>
                </a:cubicBezTo>
                <a:cubicBezTo>
                  <a:pt x="96" y="345"/>
                  <a:pt x="168" y="416"/>
                  <a:pt x="256" y="416"/>
                </a:cubicBezTo>
                <a:cubicBezTo>
                  <a:pt x="344" y="416"/>
                  <a:pt x="416" y="345"/>
                  <a:pt x="416" y="2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36" name="Group 1005">
            <a:extLst>
              <a:ext uri="{FF2B5EF4-FFF2-40B4-BE49-F238E27FC236}">
                <a16:creationId xmlns:a16="http://schemas.microsoft.com/office/drawing/2014/main" id="{A26C307A-4056-4632-BA61-4492E24D671E}"/>
              </a:ext>
            </a:extLst>
          </p:cNvPr>
          <p:cNvGrpSpPr>
            <a:grpSpLocks noChangeAspect="1"/>
          </p:cNvGrpSpPr>
          <p:nvPr/>
        </p:nvGrpSpPr>
        <p:grpSpPr bwMode="auto">
          <a:xfrm>
            <a:off x="3529880" y="4113840"/>
            <a:ext cx="367041" cy="367041"/>
            <a:chOff x="4268" y="3995"/>
            <a:chExt cx="340" cy="340"/>
          </a:xfrm>
          <a:solidFill>
            <a:schemeClr val="accent5"/>
          </a:solidFill>
        </p:grpSpPr>
        <p:sp>
          <p:nvSpPr>
            <p:cNvPr id="637" name="Freeform 1006">
              <a:extLst>
                <a:ext uri="{FF2B5EF4-FFF2-40B4-BE49-F238E27FC236}">
                  <a16:creationId xmlns:a16="http://schemas.microsoft.com/office/drawing/2014/main" id="{DA48DE05-E950-4D59-BAA9-8D5FF2AD09CA}"/>
                </a:ext>
              </a:extLst>
            </p:cNvPr>
            <p:cNvSpPr>
              <a:spLocks noEditPoints="1"/>
            </p:cNvSpPr>
            <p:nvPr/>
          </p:nvSpPr>
          <p:spPr bwMode="auto">
            <a:xfrm>
              <a:off x="4332" y="4059"/>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99 w 320"/>
                <a:gd name="T11" fmla="*/ 160 h 320"/>
                <a:gd name="T12" fmla="*/ 265 w 320"/>
                <a:gd name="T13" fmla="*/ 250 h 320"/>
                <a:gd name="T14" fmla="*/ 70 w 320"/>
                <a:gd name="T15" fmla="*/ 55 h 320"/>
                <a:gd name="T16" fmla="*/ 160 w 320"/>
                <a:gd name="T17" fmla="*/ 22 h 320"/>
                <a:gd name="T18" fmla="*/ 299 w 320"/>
                <a:gd name="T19" fmla="*/ 160 h 320"/>
                <a:gd name="T20" fmla="*/ 21 w 320"/>
                <a:gd name="T21" fmla="*/ 160 h 320"/>
                <a:gd name="T22" fmla="*/ 55 w 320"/>
                <a:gd name="T23" fmla="*/ 70 h 320"/>
                <a:gd name="T24" fmla="*/ 250 w 320"/>
                <a:gd name="T25" fmla="*/ 266 h 320"/>
                <a:gd name="T26" fmla="*/ 160 w 320"/>
                <a:gd name="T27" fmla="*/ 299 h 320"/>
                <a:gd name="T28" fmla="*/ 21 w 320"/>
                <a:gd name="T29"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0" h="320">
                  <a:moveTo>
                    <a:pt x="160" y="0"/>
                  </a:moveTo>
                  <a:cubicBezTo>
                    <a:pt x="72" y="0"/>
                    <a:pt x="0" y="72"/>
                    <a:pt x="0" y="160"/>
                  </a:cubicBezTo>
                  <a:cubicBezTo>
                    <a:pt x="0" y="249"/>
                    <a:pt x="72" y="320"/>
                    <a:pt x="160" y="320"/>
                  </a:cubicBezTo>
                  <a:cubicBezTo>
                    <a:pt x="248" y="320"/>
                    <a:pt x="320" y="249"/>
                    <a:pt x="320" y="160"/>
                  </a:cubicBezTo>
                  <a:cubicBezTo>
                    <a:pt x="320" y="72"/>
                    <a:pt x="248" y="0"/>
                    <a:pt x="160" y="0"/>
                  </a:cubicBezTo>
                  <a:close/>
                  <a:moveTo>
                    <a:pt x="299" y="160"/>
                  </a:moveTo>
                  <a:cubicBezTo>
                    <a:pt x="299" y="195"/>
                    <a:pt x="286" y="226"/>
                    <a:pt x="265" y="250"/>
                  </a:cubicBezTo>
                  <a:cubicBezTo>
                    <a:pt x="70" y="55"/>
                    <a:pt x="70" y="55"/>
                    <a:pt x="70" y="55"/>
                  </a:cubicBezTo>
                  <a:cubicBezTo>
                    <a:pt x="94" y="34"/>
                    <a:pt x="126" y="22"/>
                    <a:pt x="160" y="22"/>
                  </a:cubicBezTo>
                  <a:cubicBezTo>
                    <a:pt x="236" y="22"/>
                    <a:pt x="299" y="84"/>
                    <a:pt x="299" y="160"/>
                  </a:cubicBezTo>
                  <a:close/>
                  <a:moveTo>
                    <a:pt x="21" y="160"/>
                  </a:moveTo>
                  <a:cubicBezTo>
                    <a:pt x="21" y="126"/>
                    <a:pt x="34" y="94"/>
                    <a:pt x="55" y="70"/>
                  </a:cubicBezTo>
                  <a:cubicBezTo>
                    <a:pt x="250" y="266"/>
                    <a:pt x="250" y="266"/>
                    <a:pt x="250" y="266"/>
                  </a:cubicBezTo>
                  <a:cubicBezTo>
                    <a:pt x="226" y="286"/>
                    <a:pt x="194" y="299"/>
                    <a:pt x="160" y="299"/>
                  </a:cubicBezTo>
                  <a:cubicBezTo>
                    <a:pt x="84" y="299"/>
                    <a:pt x="21" y="237"/>
                    <a:pt x="21"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8" name="Freeform 1007">
              <a:extLst>
                <a:ext uri="{FF2B5EF4-FFF2-40B4-BE49-F238E27FC236}">
                  <a16:creationId xmlns:a16="http://schemas.microsoft.com/office/drawing/2014/main" id="{04B8CB55-8AF1-4DD5-81EF-2345D87F5B34}"/>
                </a:ext>
              </a:extLst>
            </p:cNvPr>
            <p:cNvSpPr>
              <a:spLocks noEditPoints="1"/>
            </p:cNvSpPr>
            <p:nvPr/>
          </p:nvSpPr>
          <p:spPr bwMode="auto">
            <a:xfrm>
              <a:off x="4268" y="399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9" name="Freeform 1011">
            <a:extLst>
              <a:ext uri="{FF2B5EF4-FFF2-40B4-BE49-F238E27FC236}">
                <a16:creationId xmlns:a16="http://schemas.microsoft.com/office/drawing/2014/main" id="{264C0E2C-978A-479E-8AF8-1452DF3A3D8F}"/>
              </a:ext>
            </a:extLst>
          </p:cNvPr>
          <p:cNvSpPr>
            <a:spLocks noChangeAspect="1" noEditPoints="1"/>
          </p:cNvSpPr>
          <p:nvPr/>
        </p:nvSpPr>
        <p:spPr bwMode="auto">
          <a:xfrm>
            <a:off x="3965465" y="4113840"/>
            <a:ext cx="367041" cy="367041"/>
          </a:xfrm>
          <a:custGeom>
            <a:avLst/>
            <a:gdLst>
              <a:gd name="T0" fmla="*/ 211 w 512"/>
              <a:gd name="T1" fmla="*/ 285 h 512"/>
              <a:gd name="T2" fmla="*/ 185 w 512"/>
              <a:gd name="T3" fmla="*/ 311 h 512"/>
              <a:gd name="T4" fmla="*/ 121 w 512"/>
              <a:gd name="T5" fmla="*/ 256 h 512"/>
              <a:gd name="T6" fmla="*/ 257 w 512"/>
              <a:gd name="T7" fmla="*/ 181 h 512"/>
              <a:gd name="T8" fmla="*/ 306 w 512"/>
              <a:gd name="T9" fmla="*/ 190 h 512"/>
              <a:gd name="T10" fmla="*/ 285 w 512"/>
              <a:gd name="T11" fmla="*/ 211 h 512"/>
              <a:gd name="T12" fmla="*/ 256 w 512"/>
              <a:gd name="T13" fmla="*/ 202 h 512"/>
              <a:gd name="T14" fmla="*/ 202 w 512"/>
              <a:gd name="T15" fmla="*/ 256 h 512"/>
              <a:gd name="T16" fmla="*/ 211 w 512"/>
              <a:gd name="T17" fmla="*/ 285 h 512"/>
              <a:gd name="T18" fmla="*/ 224 w 512"/>
              <a:gd name="T19" fmla="*/ 256 h 512"/>
              <a:gd name="T20" fmla="*/ 227 w 512"/>
              <a:gd name="T21" fmla="*/ 269 h 512"/>
              <a:gd name="T22" fmla="*/ 269 w 512"/>
              <a:gd name="T23" fmla="*/ 227 h 512"/>
              <a:gd name="T24" fmla="*/ 256 w 512"/>
              <a:gd name="T25" fmla="*/ 224 h 512"/>
              <a:gd name="T26" fmla="*/ 224 w 512"/>
              <a:gd name="T27" fmla="*/ 256 h 512"/>
              <a:gd name="T28" fmla="*/ 288 w 512"/>
              <a:gd name="T29" fmla="*/ 256 h 512"/>
              <a:gd name="T30" fmla="*/ 284 w 512"/>
              <a:gd name="T31" fmla="*/ 242 h 512"/>
              <a:gd name="T32" fmla="*/ 242 w 512"/>
              <a:gd name="T33" fmla="*/ 284 h 512"/>
              <a:gd name="T34" fmla="*/ 256 w 512"/>
              <a:gd name="T35" fmla="*/ 288 h 512"/>
              <a:gd name="T36" fmla="*/ 288 w 512"/>
              <a:gd name="T37" fmla="*/ 256 h 512"/>
              <a:gd name="T38" fmla="*/ 327 w 512"/>
              <a:gd name="T39" fmla="*/ 199 h 512"/>
              <a:gd name="T40" fmla="*/ 300 w 512"/>
              <a:gd name="T41" fmla="*/ 226 h 512"/>
              <a:gd name="T42" fmla="*/ 309 w 512"/>
              <a:gd name="T43" fmla="*/ 256 h 512"/>
              <a:gd name="T44" fmla="*/ 256 w 512"/>
              <a:gd name="T45" fmla="*/ 309 h 512"/>
              <a:gd name="T46" fmla="*/ 226 w 512"/>
              <a:gd name="T47" fmla="*/ 300 h 512"/>
              <a:gd name="T48" fmla="*/ 206 w 512"/>
              <a:gd name="T49" fmla="*/ 321 h 512"/>
              <a:gd name="T50" fmla="*/ 257 w 512"/>
              <a:gd name="T51" fmla="*/ 330 h 512"/>
              <a:gd name="T52" fmla="*/ 392 w 512"/>
              <a:gd name="T53" fmla="*/ 256 h 512"/>
              <a:gd name="T54" fmla="*/ 327 w 512"/>
              <a:gd name="T55" fmla="*/ 199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5 w 512"/>
              <a:gd name="T67" fmla="*/ 255 h 512"/>
              <a:gd name="T68" fmla="*/ 414 w 512"/>
              <a:gd name="T69" fmla="*/ 250 h 512"/>
              <a:gd name="T70" fmla="*/ 343 w 512"/>
              <a:gd name="T71" fmla="*/ 184 h 512"/>
              <a:gd name="T72" fmla="*/ 381 w 512"/>
              <a:gd name="T73" fmla="*/ 146 h 512"/>
              <a:gd name="T74" fmla="*/ 381 w 512"/>
              <a:gd name="T75" fmla="*/ 131 h 512"/>
              <a:gd name="T76" fmla="*/ 365 w 512"/>
              <a:gd name="T77" fmla="*/ 131 h 512"/>
              <a:gd name="T78" fmla="*/ 323 w 512"/>
              <a:gd name="T79" fmla="*/ 174 h 512"/>
              <a:gd name="T80" fmla="*/ 257 w 512"/>
              <a:gd name="T81" fmla="*/ 160 h 512"/>
              <a:gd name="T82" fmla="*/ 99 w 512"/>
              <a:gd name="T83" fmla="*/ 249 h 512"/>
              <a:gd name="T84" fmla="*/ 98 w 512"/>
              <a:gd name="T85" fmla="*/ 256 h 512"/>
              <a:gd name="T86" fmla="*/ 99 w 512"/>
              <a:gd name="T87" fmla="*/ 261 h 512"/>
              <a:gd name="T88" fmla="*/ 169 w 512"/>
              <a:gd name="T89" fmla="*/ 327 h 512"/>
              <a:gd name="T90" fmla="*/ 131 w 512"/>
              <a:gd name="T91" fmla="*/ 365 h 512"/>
              <a:gd name="T92" fmla="*/ 131 w 512"/>
              <a:gd name="T93" fmla="*/ 381 h 512"/>
              <a:gd name="T94" fmla="*/ 138 w 512"/>
              <a:gd name="T95" fmla="*/ 384 h 512"/>
              <a:gd name="T96" fmla="*/ 146 w 512"/>
              <a:gd name="T97" fmla="*/ 381 h 512"/>
              <a:gd name="T98" fmla="*/ 189 w 512"/>
              <a:gd name="T99" fmla="*/ 337 h 512"/>
              <a:gd name="T100" fmla="*/ 257 w 512"/>
              <a:gd name="T101" fmla="*/ 352 h 512"/>
              <a:gd name="T102" fmla="*/ 414 w 512"/>
              <a:gd name="T103" fmla="*/ 262 h 512"/>
              <a:gd name="T104" fmla="*/ 415 w 512"/>
              <a:gd name="T105"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11" y="285"/>
                </a:moveTo>
                <a:cubicBezTo>
                  <a:pt x="185" y="311"/>
                  <a:pt x="185" y="311"/>
                  <a:pt x="185" y="311"/>
                </a:cubicBezTo>
                <a:cubicBezTo>
                  <a:pt x="156" y="296"/>
                  <a:pt x="134" y="273"/>
                  <a:pt x="121" y="256"/>
                </a:cubicBezTo>
                <a:cubicBezTo>
                  <a:pt x="148" y="218"/>
                  <a:pt x="197" y="181"/>
                  <a:pt x="257" y="181"/>
                </a:cubicBezTo>
                <a:cubicBezTo>
                  <a:pt x="274" y="181"/>
                  <a:pt x="291" y="184"/>
                  <a:pt x="306" y="190"/>
                </a:cubicBezTo>
                <a:cubicBezTo>
                  <a:pt x="285" y="211"/>
                  <a:pt x="285" y="211"/>
                  <a:pt x="285" y="211"/>
                </a:cubicBezTo>
                <a:cubicBezTo>
                  <a:pt x="277" y="206"/>
                  <a:pt x="267" y="202"/>
                  <a:pt x="256" y="202"/>
                </a:cubicBezTo>
                <a:cubicBezTo>
                  <a:pt x="226" y="202"/>
                  <a:pt x="202" y="226"/>
                  <a:pt x="202" y="256"/>
                </a:cubicBezTo>
                <a:cubicBezTo>
                  <a:pt x="202" y="267"/>
                  <a:pt x="206" y="277"/>
                  <a:pt x="211" y="285"/>
                </a:cubicBezTo>
                <a:close/>
                <a:moveTo>
                  <a:pt x="224" y="256"/>
                </a:moveTo>
                <a:cubicBezTo>
                  <a:pt x="224" y="261"/>
                  <a:pt x="225" y="265"/>
                  <a:pt x="227" y="269"/>
                </a:cubicBezTo>
                <a:cubicBezTo>
                  <a:pt x="269" y="227"/>
                  <a:pt x="269" y="227"/>
                  <a:pt x="269" y="227"/>
                </a:cubicBezTo>
                <a:cubicBezTo>
                  <a:pt x="265" y="225"/>
                  <a:pt x="261" y="224"/>
                  <a:pt x="256" y="224"/>
                </a:cubicBezTo>
                <a:cubicBezTo>
                  <a:pt x="238" y="224"/>
                  <a:pt x="224" y="238"/>
                  <a:pt x="224" y="256"/>
                </a:cubicBezTo>
                <a:close/>
                <a:moveTo>
                  <a:pt x="288" y="256"/>
                </a:moveTo>
                <a:cubicBezTo>
                  <a:pt x="288" y="251"/>
                  <a:pt x="286" y="246"/>
                  <a:pt x="284" y="242"/>
                </a:cubicBezTo>
                <a:cubicBezTo>
                  <a:pt x="242" y="284"/>
                  <a:pt x="242" y="284"/>
                  <a:pt x="242" y="284"/>
                </a:cubicBezTo>
                <a:cubicBezTo>
                  <a:pt x="246" y="286"/>
                  <a:pt x="251" y="288"/>
                  <a:pt x="256" y="288"/>
                </a:cubicBezTo>
                <a:cubicBezTo>
                  <a:pt x="273" y="288"/>
                  <a:pt x="288" y="273"/>
                  <a:pt x="288" y="256"/>
                </a:cubicBezTo>
                <a:close/>
                <a:moveTo>
                  <a:pt x="327" y="199"/>
                </a:moveTo>
                <a:cubicBezTo>
                  <a:pt x="300" y="226"/>
                  <a:pt x="300" y="226"/>
                  <a:pt x="300" y="226"/>
                </a:cubicBezTo>
                <a:cubicBezTo>
                  <a:pt x="306" y="235"/>
                  <a:pt x="309" y="245"/>
                  <a:pt x="309" y="256"/>
                </a:cubicBezTo>
                <a:cubicBezTo>
                  <a:pt x="309" y="285"/>
                  <a:pt x="285" y="309"/>
                  <a:pt x="256" y="309"/>
                </a:cubicBezTo>
                <a:cubicBezTo>
                  <a:pt x="245" y="309"/>
                  <a:pt x="235" y="306"/>
                  <a:pt x="226" y="300"/>
                </a:cubicBezTo>
                <a:cubicBezTo>
                  <a:pt x="206" y="321"/>
                  <a:pt x="206" y="321"/>
                  <a:pt x="206" y="321"/>
                </a:cubicBezTo>
                <a:cubicBezTo>
                  <a:pt x="221" y="327"/>
                  <a:pt x="238" y="330"/>
                  <a:pt x="257" y="330"/>
                </a:cubicBezTo>
                <a:cubicBezTo>
                  <a:pt x="316" y="330"/>
                  <a:pt x="365" y="293"/>
                  <a:pt x="392" y="256"/>
                </a:cubicBezTo>
                <a:cubicBezTo>
                  <a:pt x="379" y="238"/>
                  <a:pt x="357" y="215"/>
                  <a:pt x="327" y="19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401" y="230"/>
                  <a:pt x="376" y="203"/>
                  <a:pt x="343" y="184"/>
                </a:cubicBezTo>
                <a:cubicBezTo>
                  <a:pt x="381" y="146"/>
                  <a:pt x="381" y="146"/>
                  <a:pt x="381" y="146"/>
                </a:cubicBezTo>
                <a:cubicBezTo>
                  <a:pt x="385" y="142"/>
                  <a:pt x="385" y="135"/>
                  <a:pt x="381" y="131"/>
                </a:cubicBezTo>
                <a:cubicBezTo>
                  <a:pt x="376" y="127"/>
                  <a:pt x="370" y="127"/>
                  <a:pt x="365" y="131"/>
                </a:cubicBezTo>
                <a:cubicBezTo>
                  <a:pt x="323" y="174"/>
                  <a:pt x="323" y="174"/>
                  <a:pt x="323" y="174"/>
                </a:cubicBezTo>
                <a:cubicBezTo>
                  <a:pt x="303" y="165"/>
                  <a:pt x="281" y="160"/>
                  <a:pt x="257" y="160"/>
                </a:cubicBezTo>
                <a:cubicBezTo>
                  <a:pt x="186" y="160"/>
                  <a:pt x="129" y="206"/>
                  <a:pt x="99" y="249"/>
                </a:cubicBezTo>
                <a:cubicBezTo>
                  <a:pt x="98" y="251"/>
                  <a:pt x="98" y="254"/>
                  <a:pt x="98" y="256"/>
                </a:cubicBezTo>
                <a:cubicBezTo>
                  <a:pt x="98" y="258"/>
                  <a:pt x="98" y="260"/>
                  <a:pt x="99" y="261"/>
                </a:cubicBezTo>
                <a:cubicBezTo>
                  <a:pt x="112" y="281"/>
                  <a:pt x="136" y="308"/>
                  <a:pt x="169" y="327"/>
                </a:cubicBezTo>
                <a:cubicBezTo>
                  <a:pt x="131" y="365"/>
                  <a:pt x="131" y="365"/>
                  <a:pt x="131" y="365"/>
                </a:cubicBezTo>
                <a:cubicBezTo>
                  <a:pt x="127" y="370"/>
                  <a:pt x="127" y="376"/>
                  <a:pt x="131" y="381"/>
                </a:cubicBezTo>
                <a:cubicBezTo>
                  <a:pt x="133" y="383"/>
                  <a:pt x="136" y="384"/>
                  <a:pt x="138" y="384"/>
                </a:cubicBezTo>
                <a:cubicBezTo>
                  <a:pt x="141" y="384"/>
                  <a:pt x="144" y="383"/>
                  <a:pt x="146" y="381"/>
                </a:cubicBezTo>
                <a:cubicBezTo>
                  <a:pt x="189" y="337"/>
                  <a:pt x="189" y="337"/>
                  <a:pt x="189" y="337"/>
                </a:cubicBezTo>
                <a:cubicBezTo>
                  <a:pt x="209" y="346"/>
                  <a:pt x="232" y="352"/>
                  <a:pt x="257" y="352"/>
                </a:cubicBezTo>
                <a:cubicBezTo>
                  <a:pt x="327" y="352"/>
                  <a:pt x="384" y="305"/>
                  <a:pt x="414" y="262"/>
                </a:cubicBezTo>
                <a:cubicBezTo>
                  <a:pt x="415" y="260"/>
                  <a:pt x="416" y="258"/>
                  <a:pt x="415" y="25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40" name="Group 1014">
            <a:extLst>
              <a:ext uri="{FF2B5EF4-FFF2-40B4-BE49-F238E27FC236}">
                <a16:creationId xmlns:a16="http://schemas.microsoft.com/office/drawing/2014/main" id="{5E9A5AC9-B582-4D8D-AC2B-600DF4DF9D97}"/>
              </a:ext>
            </a:extLst>
          </p:cNvPr>
          <p:cNvGrpSpPr>
            <a:grpSpLocks noChangeAspect="1"/>
          </p:cNvGrpSpPr>
          <p:nvPr/>
        </p:nvGrpSpPr>
        <p:grpSpPr bwMode="auto">
          <a:xfrm>
            <a:off x="4401050" y="4113840"/>
            <a:ext cx="367041" cy="367041"/>
            <a:chOff x="5069" y="3987"/>
            <a:chExt cx="340" cy="340"/>
          </a:xfrm>
          <a:solidFill>
            <a:schemeClr val="accent5"/>
          </a:solidFill>
        </p:grpSpPr>
        <p:sp>
          <p:nvSpPr>
            <p:cNvPr id="641" name="Freeform 1015">
              <a:extLst>
                <a:ext uri="{FF2B5EF4-FFF2-40B4-BE49-F238E27FC236}">
                  <a16:creationId xmlns:a16="http://schemas.microsoft.com/office/drawing/2014/main" id="{C5297F7D-EB98-42DA-A077-B9BD67415D34}"/>
                </a:ext>
              </a:extLst>
            </p:cNvPr>
            <p:cNvSpPr>
              <a:spLocks noEditPoints="1"/>
            </p:cNvSpPr>
            <p:nvPr/>
          </p:nvSpPr>
          <p:spPr bwMode="auto">
            <a:xfrm>
              <a:off x="5069" y="39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2" name="Freeform 1016">
              <a:extLst>
                <a:ext uri="{FF2B5EF4-FFF2-40B4-BE49-F238E27FC236}">
                  <a16:creationId xmlns:a16="http://schemas.microsoft.com/office/drawing/2014/main" id="{14EE4728-C8CE-4B31-9510-5422E8BFA9A8}"/>
                </a:ext>
              </a:extLst>
            </p:cNvPr>
            <p:cNvSpPr>
              <a:spLocks noEditPoints="1"/>
            </p:cNvSpPr>
            <p:nvPr/>
          </p:nvSpPr>
          <p:spPr bwMode="auto">
            <a:xfrm>
              <a:off x="5134" y="4071"/>
              <a:ext cx="211" cy="171"/>
            </a:xfrm>
            <a:custGeom>
              <a:avLst/>
              <a:gdLst>
                <a:gd name="T0" fmla="*/ 316 w 318"/>
                <a:gd name="T1" fmla="*/ 123 h 257"/>
                <a:gd name="T2" fmla="*/ 245 w 318"/>
                <a:gd name="T3" fmla="*/ 57 h 257"/>
                <a:gd name="T4" fmla="*/ 283 w 318"/>
                <a:gd name="T5" fmla="*/ 19 h 257"/>
                <a:gd name="T6" fmla="*/ 283 w 318"/>
                <a:gd name="T7" fmla="*/ 4 h 257"/>
                <a:gd name="T8" fmla="*/ 267 w 318"/>
                <a:gd name="T9" fmla="*/ 4 h 257"/>
                <a:gd name="T10" fmla="*/ 225 w 318"/>
                <a:gd name="T11" fmla="*/ 47 h 257"/>
                <a:gd name="T12" fmla="*/ 159 w 318"/>
                <a:gd name="T13" fmla="*/ 33 h 257"/>
                <a:gd name="T14" fmla="*/ 1 w 318"/>
                <a:gd name="T15" fmla="*/ 122 h 257"/>
                <a:gd name="T16" fmla="*/ 0 w 318"/>
                <a:gd name="T17" fmla="*/ 129 h 257"/>
                <a:gd name="T18" fmla="*/ 1 w 318"/>
                <a:gd name="T19" fmla="*/ 134 h 257"/>
                <a:gd name="T20" fmla="*/ 71 w 318"/>
                <a:gd name="T21" fmla="*/ 200 h 257"/>
                <a:gd name="T22" fmla="*/ 33 w 318"/>
                <a:gd name="T23" fmla="*/ 238 h 257"/>
                <a:gd name="T24" fmla="*/ 33 w 318"/>
                <a:gd name="T25" fmla="*/ 254 h 257"/>
                <a:gd name="T26" fmla="*/ 40 w 318"/>
                <a:gd name="T27" fmla="*/ 257 h 257"/>
                <a:gd name="T28" fmla="*/ 48 w 318"/>
                <a:gd name="T29" fmla="*/ 254 h 257"/>
                <a:gd name="T30" fmla="*/ 91 w 318"/>
                <a:gd name="T31" fmla="*/ 210 h 257"/>
                <a:gd name="T32" fmla="*/ 159 w 318"/>
                <a:gd name="T33" fmla="*/ 225 h 257"/>
                <a:gd name="T34" fmla="*/ 316 w 318"/>
                <a:gd name="T35" fmla="*/ 135 h 257"/>
                <a:gd name="T36" fmla="*/ 317 w 318"/>
                <a:gd name="T37" fmla="*/ 128 h 257"/>
                <a:gd name="T38" fmla="*/ 316 w 318"/>
                <a:gd name="T39" fmla="*/ 123 h 257"/>
                <a:gd name="T40" fmla="*/ 23 w 318"/>
                <a:gd name="T41" fmla="*/ 129 h 257"/>
                <a:gd name="T42" fmla="*/ 159 w 318"/>
                <a:gd name="T43" fmla="*/ 54 h 257"/>
                <a:gd name="T44" fmla="*/ 208 w 318"/>
                <a:gd name="T45" fmla="*/ 63 h 257"/>
                <a:gd name="T46" fmla="*/ 187 w 318"/>
                <a:gd name="T47" fmla="*/ 84 h 257"/>
                <a:gd name="T48" fmla="*/ 158 w 318"/>
                <a:gd name="T49" fmla="*/ 75 h 257"/>
                <a:gd name="T50" fmla="*/ 104 w 318"/>
                <a:gd name="T51" fmla="*/ 129 h 257"/>
                <a:gd name="T52" fmla="*/ 113 w 318"/>
                <a:gd name="T53" fmla="*/ 158 h 257"/>
                <a:gd name="T54" fmla="*/ 87 w 318"/>
                <a:gd name="T55" fmla="*/ 184 h 257"/>
                <a:gd name="T56" fmla="*/ 23 w 318"/>
                <a:gd name="T57" fmla="*/ 129 h 257"/>
                <a:gd name="T58" fmla="*/ 190 w 318"/>
                <a:gd name="T59" fmla="*/ 129 h 257"/>
                <a:gd name="T60" fmla="*/ 158 w 318"/>
                <a:gd name="T61" fmla="*/ 161 h 257"/>
                <a:gd name="T62" fmla="*/ 144 w 318"/>
                <a:gd name="T63" fmla="*/ 157 h 257"/>
                <a:gd name="T64" fmla="*/ 186 w 318"/>
                <a:gd name="T65" fmla="*/ 115 h 257"/>
                <a:gd name="T66" fmla="*/ 190 w 318"/>
                <a:gd name="T67" fmla="*/ 129 h 257"/>
                <a:gd name="T68" fmla="*/ 126 w 318"/>
                <a:gd name="T69" fmla="*/ 129 h 257"/>
                <a:gd name="T70" fmla="*/ 158 w 318"/>
                <a:gd name="T71" fmla="*/ 97 h 257"/>
                <a:gd name="T72" fmla="*/ 171 w 318"/>
                <a:gd name="T73" fmla="*/ 100 h 257"/>
                <a:gd name="T74" fmla="*/ 129 w 318"/>
                <a:gd name="T75" fmla="*/ 142 h 257"/>
                <a:gd name="T76" fmla="*/ 126 w 318"/>
                <a:gd name="T77" fmla="*/ 129 h 257"/>
                <a:gd name="T78" fmla="*/ 159 w 318"/>
                <a:gd name="T79" fmla="*/ 203 h 257"/>
                <a:gd name="T80" fmla="*/ 108 w 318"/>
                <a:gd name="T81" fmla="*/ 194 h 257"/>
                <a:gd name="T82" fmla="*/ 128 w 318"/>
                <a:gd name="T83" fmla="*/ 173 h 257"/>
                <a:gd name="T84" fmla="*/ 158 w 318"/>
                <a:gd name="T85" fmla="*/ 182 h 257"/>
                <a:gd name="T86" fmla="*/ 211 w 318"/>
                <a:gd name="T87" fmla="*/ 129 h 257"/>
                <a:gd name="T88" fmla="*/ 202 w 318"/>
                <a:gd name="T89" fmla="*/ 99 h 257"/>
                <a:gd name="T90" fmla="*/ 229 w 318"/>
                <a:gd name="T91" fmla="*/ 72 h 257"/>
                <a:gd name="T92" fmla="*/ 294 w 318"/>
                <a:gd name="T93" fmla="*/ 129 h 257"/>
                <a:gd name="T94" fmla="*/ 159 w 318"/>
                <a:gd name="T95" fmla="*/ 20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8" h="257">
                  <a:moveTo>
                    <a:pt x="316" y="123"/>
                  </a:moveTo>
                  <a:cubicBezTo>
                    <a:pt x="303" y="103"/>
                    <a:pt x="278" y="76"/>
                    <a:pt x="245" y="57"/>
                  </a:cubicBezTo>
                  <a:cubicBezTo>
                    <a:pt x="283" y="19"/>
                    <a:pt x="283" y="19"/>
                    <a:pt x="283" y="19"/>
                  </a:cubicBezTo>
                  <a:cubicBezTo>
                    <a:pt x="287" y="15"/>
                    <a:pt x="287" y="8"/>
                    <a:pt x="283" y="4"/>
                  </a:cubicBezTo>
                  <a:cubicBezTo>
                    <a:pt x="278" y="0"/>
                    <a:pt x="272" y="0"/>
                    <a:pt x="267" y="4"/>
                  </a:cubicBezTo>
                  <a:cubicBezTo>
                    <a:pt x="225" y="47"/>
                    <a:pt x="225" y="47"/>
                    <a:pt x="225" y="47"/>
                  </a:cubicBezTo>
                  <a:cubicBezTo>
                    <a:pt x="205" y="38"/>
                    <a:pt x="183" y="33"/>
                    <a:pt x="159" y="33"/>
                  </a:cubicBezTo>
                  <a:cubicBezTo>
                    <a:pt x="88" y="33"/>
                    <a:pt x="31" y="79"/>
                    <a:pt x="1" y="122"/>
                  </a:cubicBezTo>
                  <a:cubicBezTo>
                    <a:pt x="0" y="124"/>
                    <a:pt x="0" y="127"/>
                    <a:pt x="0" y="129"/>
                  </a:cubicBezTo>
                  <a:cubicBezTo>
                    <a:pt x="0" y="131"/>
                    <a:pt x="0" y="133"/>
                    <a:pt x="1" y="134"/>
                  </a:cubicBezTo>
                  <a:cubicBezTo>
                    <a:pt x="14" y="154"/>
                    <a:pt x="38" y="181"/>
                    <a:pt x="71" y="200"/>
                  </a:cubicBezTo>
                  <a:cubicBezTo>
                    <a:pt x="33" y="238"/>
                    <a:pt x="33" y="238"/>
                    <a:pt x="33" y="238"/>
                  </a:cubicBezTo>
                  <a:cubicBezTo>
                    <a:pt x="29" y="243"/>
                    <a:pt x="29" y="249"/>
                    <a:pt x="33" y="254"/>
                  </a:cubicBezTo>
                  <a:cubicBezTo>
                    <a:pt x="35" y="256"/>
                    <a:pt x="38" y="257"/>
                    <a:pt x="40" y="257"/>
                  </a:cubicBezTo>
                  <a:cubicBezTo>
                    <a:pt x="43" y="257"/>
                    <a:pt x="46" y="256"/>
                    <a:pt x="48" y="254"/>
                  </a:cubicBezTo>
                  <a:cubicBezTo>
                    <a:pt x="91" y="210"/>
                    <a:pt x="91" y="210"/>
                    <a:pt x="91" y="210"/>
                  </a:cubicBezTo>
                  <a:cubicBezTo>
                    <a:pt x="111" y="219"/>
                    <a:pt x="134" y="225"/>
                    <a:pt x="159" y="225"/>
                  </a:cubicBezTo>
                  <a:cubicBezTo>
                    <a:pt x="229" y="225"/>
                    <a:pt x="286" y="178"/>
                    <a:pt x="316" y="135"/>
                  </a:cubicBezTo>
                  <a:cubicBezTo>
                    <a:pt x="317" y="133"/>
                    <a:pt x="318" y="131"/>
                    <a:pt x="317" y="128"/>
                  </a:cubicBezTo>
                  <a:cubicBezTo>
                    <a:pt x="317" y="127"/>
                    <a:pt x="317" y="125"/>
                    <a:pt x="316" y="123"/>
                  </a:cubicBezTo>
                  <a:close/>
                  <a:moveTo>
                    <a:pt x="23" y="129"/>
                  </a:moveTo>
                  <a:cubicBezTo>
                    <a:pt x="50" y="91"/>
                    <a:pt x="99" y="54"/>
                    <a:pt x="159" y="54"/>
                  </a:cubicBezTo>
                  <a:cubicBezTo>
                    <a:pt x="176" y="54"/>
                    <a:pt x="193" y="57"/>
                    <a:pt x="208" y="63"/>
                  </a:cubicBezTo>
                  <a:cubicBezTo>
                    <a:pt x="187" y="84"/>
                    <a:pt x="187" y="84"/>
                    <a:pt x="187" y="84"/>
                  </a:cubicBezTo>
                  <a:cubicBezTo>
                    <a:pt x="179" y="79"/>
                    <a:pt x="169" y="75"/>
                    <a:pt x="158" y="75"/>
                  </a:cubicBezTo>
                  <a:cubicBezTo>
                    <a:pt x="128" y="75"/>
                    <a:pt x="104" y="99"/>
                    <a:pt x="104" y="129"/>
                  </a:cubicBezTo>
                  <a:cubicBezTo>
                    <a:pt x="104" y="140"/>
                    <a:pt x="108" y="150"/>
                    <a:pt x="113" y="158"/>
                  </a:cubicBezTo>
                  <a:cubicBezTo>
                    <a:pt x="87" y="184"/>
                    <a:pt x="87" y="184"/>
                    <a:pt x="87" y="184"/>
                  </a:cubicBezTo>
                  <a:cubicBezTo>
                    <a:pt x="58" y="169"/>
                    <a:pt x="36" y="146"/>
                    <a:pt x="23" y="129"/>
                  </a:cubicBezTo>
                  <a:close/>
                  <a:moveTo>
                    <a:pt x="190" y="129"/>
                  </a:moveTo>
                  <a:cubicBezTo>
                    <a:pt x="190" y="146"/>
                    <a:pt x="175" y="161"/>
                    <a:pt x="158" y="161"/>
                  </a:cubicBezTo>
                  <a:cubicBezTo>
                    <a:pt x="153" y="161"/>
                    <a:pt x="148" y="159"/>
                    <a:pt x="144" y="157"/>
                  </a:cubicBezTo>
                  <a:cubicBezTo>
                    <a:pt x="186" y="115"/>
                    <a:pt x="186" y="115"/>
                    <a:pt x="186" y="115"/>
                  </a:cubicBezTo>
                  <a:cubicBezTo>
                    <a:pt x="188" y="119"/>
                    <a:pt x="190" y="124"/>
                    <a:pt x="190" y="129"/>
                  </a:cubicBezTo>
                  <a:close/>
                  <a:moveTo>
                    <a:pt x="126" y="129"/>
                  </a:moveTo>
                  <a:cubicBezTo>
                    <a:pt x="126" y="111"/>
                    <a:pt x="140" y="97"/>
                    <a:pt x="158" y="97"/>
                  </a:cubicBezTo>
                  <a:cubicBezTo>
                    <a:pt x="163" y="97"/>
                    <a:pt x="167" y="98"/>
                    <a:pt x="171" y="100"/>
                  </a:cubicBezTo>
                  <a:cubicBezTo>
                    <a:pt x="129" y="142"/>
                    <a:pt x="129" y="142"/>
                    <a:pt x="129" y="142"/>
                  </a:cubicBezTo>
                  <a:cubicBezTo>
                    <a:pt x="127" y="138"/>
                    <a:pt x="126" y="134"/>
                    <a:pt x="126" y="129"/>
                  </a:cubicBezTo>
                  <a:close/>
                  <a:moveTo>
                    <a:pt x="159" y="203"/>
                  </a:moveTo>
                  <a:cubicBezTo>
                    <a:pt x="140" y="203"/>
                    <a:pt x="123" y="200"/>
                    <a:pt x="108" y="194"/>
                  </a:cubicBezTo>
                  <a:cubicBezTo>
                    <a:pt x="128" y="173"/>
                    <a:pt x="128" y="173"/>
                    <a:pt x="128" y="173"/>
                  </a:cubicBezTo>
                  <a:cubicBezTo>
                    <a:pt x="137" y="179"/>
                    <a:pt x="147" y="182"/>
                    <a:pt x="158" y="182"/>
                  </a:cubicBezTo>
                  <a:cubicBezTo>
                    <a:pt x="187" y="182"/>
                    <a:pt x="211" y="158"/>
                    <a:pt x="211" y="129"/>
                  </a:cubicBezTo>
                  <a:cubicBezTo>
                    <a:pt x="211" y="118"/>
                    <a:pt x="208" y="108"/>
                    <a:pt x="202" y="99"/>
                  </a:cubicBezTo>
                  <a:cubicBezTo>
                    <a:pt x="229" y="72"/>
                    <a:pt x="229" y="72"/>
                    <a:pt x="229" y="72"/>
                  </a:cubicBezTo>
                  <a:cubicBezTo>
                    <a:pt x="259" y="88"/>
                    <a:pt x="281" y="111"/>
                    <a:pt x="294" y="129"/>
                  </a:cubicBezTo>
                  <a:cubicBezTo>
                    <a:pt x="267" y="166"/>
                    <a:pt x="218" y="203"/>
                    <a:pt x="159"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43" name="TextBox 642">
            <a:extLst>
              <a:ext uri="{FF2B5EF4-FFF2-40B4-BE49-F238E27FC236}">
                <a16:creationId xmlns:a16="http://schemas.microsoft.com/office/drawing/2014/main" id="{1A33B4B4-29BA-4341-94F6-5B5297953FA6}"/>
              </a:ext>
            </a:extLst>
          </p:cNvPr>
          <p:cNvSpPr txBox="1"/>
          <p:nvPr/>
        </p:nvSpPr>
        <p:spPr>
          <a:xfrm>
            <a:off x="8317203" y="3715825"/>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e extinguisher</a:t>
            </a:r>
          </a:p>
        </p:txBody>
      </p:sp>
      <p:sp>
        <p:nvSpPr>
          <p:cNvPr id="644" name="Freeform 801">
            <a:extLst>
              <a:ext uri="{FF2B5EF4-FFF2-40B4-BE49-F238E27FC236}">
                <a16:creationId xmlns:a16="http://schemas.microsoft.com/office/drawing/2014/main" id="{01DBBB3E-9F50-4B67-B476-0F36D0F5072B}"/>
              </a:ext>
            </a:extLst>
          </p:cNvPr>
          <p:cNvSpPr>
            <a:spLocks noChangeAspect="1" noEditPoints="1"/>
          </p:cNvSpPr>
          <p:nvPr/>
        </p:nvSpPr>
        <p:spPr bwMode="auto">
          <a:xfrm>
            <a:off x="8320778" y="3285438"/>
            <a:ext cx="367631" cy="367631"/>
          </a:xfrm>
          <a:custGeom>
            <a:avLst/>
            <a:gdLst>
              <a:gd name="T0" fmla="*/ 266 w 512"/>
              <a:gd name="T1" fmla="*/ 277 h 512"/>
              <a:gd name="T2" fmla="*/ 288 w 512"/>
              <a:gd name="T3" fmla="*/ 277 h 512"/>
              <a:gd name="T4" fmla="*/ 288 w 512"/>
              <a:gd name="T5" fmla="*/ 341 h 512"/>
              <a:gd name="T6" fmla="*/ 266 w 512"/>
              <a:gd name="T7" fmla="*/ 341 h 512"/>
              <a:gd name="T8" fmla="*/ 266 w 512"/>
              <a:gd name="T9" fmla="*/ 277 h 512"/>
              <a:gd name="T10" fmla="*/ 224 w 512"/>
              <a:gd name="T11" fmla="*/ 213 h 512"/>
              <a:gd name="T12" fmla="*/ 224 w 512"/>
              <a:gd name="T13" fmla="*/ 394 h 512"/>
              <a:gd name="T14" fmla="*/ 288 w 512"/>
              <a:gd name="T15" fmla="*/ 394 h 512"/>
              <a:gd name="T16" fmla="*/ 288 w 512"/>
              <a:gd name="T17" fmla="*/ 362 h 512"/>
              <a:gd name="T18" fmla="*/ 256 w 512"/>
              <a:gd name="T19" fmla="*/ 362 h 512"/>
              <a:gd name="T20" fmla="*/ 245 w 512"/>
              <a:gd name="T21" fmla="*/ 352 h 512"/>
              <a:gd name="T22" fmla="*/ 245 w 512"/>
              <a:gd name="T23" fmla="*/ 266 h 512"/>
              <a:gd name="T24" fmla="*/ 256 w 512"/>
              <a:gd name="T25" fmla="*/ 256 h 512"/>
              <a:gd name="T26" fmla="*/ 288 w 512"/>
              <a:gd name="T27" fmla="*/ 256 h 512"/>
              <a:gd name="T28" fmla="*/ 288 w 512"/>
              <a:gd name="T29" fmla="*/ 213 h 512"/>
              <a:gd name="T30" fmla="*/ 256 w 512"/>
              <a:gd name="T31" fmla="*/ 181 h 512"/>
              <a:gd name="T32" fmla="*/ 224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00 w 512"/>
              <a:gd name="T45" fmla="*/ 117 h 512"/>
              <a:gd name="T46" fmla="*/ 330 w 512"/>
              <a:gd name="T47" fmla="*/ 117 h 512"/>
              <a:gd name="T48" fmla="*/ 341 w 512"/>
              <a:gd name="T49" fmla="*/ 106 h 512"/>
              <a:gd name="T50" fmla="*/ 330 w 512"/>
              <a:gd name="T51" fmla="*/ 96 h 512"/>
              <a:gd name="T52" fmla="*/ 256 w 512"/>
              <a:gd name="T53" fmla="*/ 96 h 512"/>
              <a:gd name="T54" fmla="*/ 245 w 512"/>
              <a:gd name="T55" fmla="*/ 106 h 512"/>
              <a:gd name="T56" fmla="*/ 245 w 512"/>
              <a:gd name="T57" fmla="*/ 117 h 512"/>
              <a:gd name="T58" fmla="*/ 213 w 512"/>
              <a:gd name="T59" fmla="*/ 117 h 512"/>
              <a:gd name="T60" fmla="*/ 160 w 512"/>
              <a:gd name="T61" fmla="*/ 170 h 512"/>
              <a:gd name="T62" fmla="*/ 160 w 512"/>
              <a:gd name="T63" fmla="*/ 362 h 512"/>
              <a:gd name="T64" fmla="*/ 170 w 512"/>
              <a:gd name="T65" fmla="*/ 373 h 512"/>
              <a:gd name="T66" fmla="*/ 181 w 512"/>
              <a:gd name="T67" fmla="*/ 362 h 512"/>
              <a:gd name="T68" fmla="*/ 181 w 512"/>
              <a:gd name="T69" fmla="*/ 170 h 512"/>
              <a:gd name="T70" fmla="*/ 213 w 512"/>
              <a:gd name="T71" fmla="*/ 138 h 512"/>
              <a:gd name="T72" fmla="*/ 245 w 512"/>
              <a:gd name="T73" fmla="*/ 138 h 512"/>
              <a:gd name="T74" fmla="*/ 245 w 512"/>
              <a:gd name="T75" fmla="*/ 161 h 512"/>
              <a:gd name="T76" fmla="*/ 202 w 512"/>
              <a:gd name="T77" fmla="*/ 213 h 512"/>
              <a:gd name="T78" fmla="*/ 202 w 512"/>
              <a:gd name="T79" fmla="*/ 405 h 512"/>
              <a:gd name="T80" fmla="*/ 213 w 512"/>
              <a:gd name="T81" fmla="*/ 416 h 512"/>
              <a:gd name="T82" fmla="*/ 298 w 512"/>
              <a:gd name="T83" fmla="*/ 416 h 512"/>
              <a:gd name="T84" fmla="*/ 309 w 512"/>
              <a:gd name="T85" fmla="*/ 405 h 512"/>
              <a:gd name="T86" fmla="*/ 309 w 512"/>
              <a:gd name="T87" fmla="*/ 213 h 512"/>
              <a:gd name="T88" fmla="*/ 266 w 512"/>
              <a:gd name="T89" fmla="*/ 161 h 512"/>
              <a:gd name="T90" fmla="*/ 266 w 512"/>
              <a:gd name="T91" fmla="*/ 129 h 512"/>
              <a:gd name="T92" fmla="*/ 327 w 512"/>
              <a:gd name="T93" fmla="*/ 147 h 512"/>
              <a:gd name="T94" fmla="*/ 330 w 512"/>
              <a:gd name="T95" fmla="*/ 148 h 512"/>
              <a:gd name="T96" fmla="*/ 341 w 512"/>
              <a:gd name="T97" fmla="*/ 140 h 512"/>
              <a:gd name="T98" fmla="*/ 333 w 512"/>
              <a:gd name="T99" fmla="*/ 127 h 512"/>
              <a:gd name="T100" fmla="*/ 300 w 512"/>
              <a:gd name="T101"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6" y="277"/>
                </a:moveTo>
                <a:cubicBezTo>
                  <a:pt x="288" y="277"/>
                  <a:pt x="288" y="277"/>
                  <a:pt x="288" y="277"/>
                </a:cubicBezTo>
                <a:cubicBezTo>
                  <a:pt x="288" y="341"/>
                  <a:pt x="288" y="341"/>
                  <a:pt x="288" y="341"/>
                </a:cubicBezTo>
                <a:cubicBezTo>
                  <a:pt x="266" y="341"/>
                  <a:pt x="266" y="341"/>
                  <a:pt x="266" y="341"/>
                </a:cubicBezTo>
                <a:lnTo>
                  <a:pt x="266" y="277"/>
                </a:lnTo>
                <a:close/>
                <a:moveTo>
                  <a:pt x="224" y="213"/>
                </a:moveTo>
                <a:cubicBezTo>
                  <a:pt x="224" y="394"/>
                  <a:pt x="224" y="394"/>
                  <a:pt x="224" y="394"/>
                </a:cubicBezTo>
                <a:cubicBezTo>
                  <a:pt x="288" y="394"/>
                  <a:pt x="288" y="394"/>
                  <a:pt x="288" y="394"/>
                </a:cubicBezTo>
                <a:cubicBezTo>
                  <a:pt x="288" y="362"/>
                  <a:pt x="288" y="362"/>
                  <a:pt x="288" y="362"/>
                </a:cubicBezTo>
                <a:cubicBezTo>
                  <a:pt x="256" y="362"/>
                  <a:pt x="256" y="362"/>
                  <a:pt x="256" y="362"/>
                </a:cubicBezTo>
                <a:cubicBezTo>
                  <a:pt x="250" y="362"/>
                  <a:pt x="245" y="358"/>
                  <a:pt x="245" y="352"/>
                </a:cubicBezTo>
                <a:cubicBezTo>
                  <a:pt x="245" y="266"/>
                  <a:pt x="245" y="266"/>
                  <a:pt x="245" y="266"/>
                </a:cubicBezTo>
                <a:cubicBezTo>
                  <a:pt x="245" y="260"/>
                  <a:pt x="250" y="256"/>
                  <a:pt x="256" y="256"/>
                </a:cubicBezTo>
                <a:cubicBezTo>
                  <a:pt x="288" y="256"/>
                  <a:pt x="288" y="256"/>
                  <a:pt x="288" y="256"/>
                </a:cubicBezTo>
                <a:cubicBezTo>
                  <a:pt x="288" y="213"/>
                  <a:pt x="288" y="213"/>
                  <a:pt x="288" y="213"/>
                </a:cubicBezTo>
                <a:cubicBezTo>
                  <a:pt x="288" y="195"/>
                  <a:pt x="273" y="181"/>
                  <a:pt x="256" y="181"/>
                </a:cubicBezTo>
                <a:cubicBezTo>
                  <a:pt x="238" y="181"/>
                  <a:pt x="224" y="195"/>
                  <a:pt x="224"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0" y="117"/>
                </a:moveTo>
                <a:cubicBezTo>
                  <a:pt x="330" y="117"/>
                  <a:pt x="330" y="117"/>
                  <a:pt x="330" y="117"/>
                </a:cubicBezTo>
                <a:cubicBezTo>
                  <a:pt x="336" y="117"/>
                  <a:pt x="341" y="112"/>
                  <a:pt x="341" y="106"/>
                </a:cubicBezTo>
                <a:cubicBezTo>
                  <a:pt x="341" y="100"/>
                  <a:pt x="336" y="96"/>
                  <a:pt x="330" y="96"/>
                </a:cubicBezTo>
                <a:cubicBezTo>
                  <a:pt x="256" y="96"/>
                  <a:pt x="256" y="96"/>
                  <a:pt x="256" y="96"/>
                </a:cubicBezTo>
                <a:cubicBezTo>
                  <a:pt x="250" y="96"/>
                  <a:pt x="245" y="100"/>
                  <a:pt x="245" y="106"/>
                </a:cubicBezTo>
                <a:cubicBezTo>
                  <a:pt x="245" y="117"/>
                  <a:pt x="245" y="117"/>
                  <a:pt x="245" y="117"/>
                </a:cubicBezTo>
                <a:cubicBezTo>
                  <a:pt x="213" y="117"/>
                  <a:pt x="213" y="117"/>
                  <a:pt x="213" y="117"/>
                </a:cubicBezTo>
                <a:cubicBezTo>
                  <a:pt x="184" y="117"/>
                  <a:pt x="160" y="141"/>
                  <a:pt x="160" y="170"/>
                </a:cubicBezTo>
                <a:cubicBezTo>
                  <a:pt x="160" y="362"/>
                  <a:pt x="160" y="362"/>
                  <a:pt x="160" y="362"/>
                </a:cubicBezTo>
                <a:cubicBezTo>
                  <a:pt x="160" y="368"/>
                  <a:pt x="164" y="373"/>
                  <a:pt x="170" y="373"/>
                </a:cubicBezTo>
                <a:cubicBezTo>
                  <a:pt x="176" y="373"/>
                  <a:pt x="181" y="368"/>
                  <a:pt x="181" y="362"/>
                </a:cubicBezTo>
                <a:cubicBezTo>
                  <a:pt x="181" y="170"/>
                  <a:pt x="181" y="170"/>
                  <a:pt x="181" y="170"/>
                </a:cubicBezTo>
                <a:cubicBezTo>
                  <a:pt x="181" y="153"/>
                  <a:pt x="195" y="138"/>
                  <a:pt x="213" y="138"/>
                </a:cubicBezTo>
                <a:cubicBezTo>
                  <a:pt x="245" y="138"/>
                  <a:pt x="245" y="138"/>
                  <a:pt x="245" y="138"/>
                </a:cubicBezTo>
                <a:cubicBezTo>
                  <a:pt x="245" y="161"/>
                  <a:pt x="245" y="161"/>
                  <a:pt x="245" y="161"/>
                </a:cubicBezTo>
                <a:cubicBezTo>
                  <a:pt x="221" y="166"/>
                  <a:pt x="202" y="187"/>
                  <a:pt x="202" y="213"/>
                </a:cubicBezTo>
                <a:cubicBezTo>
                  <a:pt x="202" y="405"/>
                  <a:pt x="202" y="405"/>
                  <a:pt x="202" y="405"/>
                </a:cubicBezTo>
                <a:cubicBezTo>
                  <a:pt x="202" y="411"/>
                  <a:pt x="207" y="416"/>
                  <a:pt x="213" y="416"/>
                </a:cubicBezTo>
                <a:cubicBezTo>
                  <a:pt x="298" y="416"/>
                  <a:pt x="298" y="416"/>
                  <a:pt x="298" y="416"/>
                </a:cubicBezTo>
                <a:cubicBezTo>
                  <a:pt x="304" y="416"/>
                  <a:pt x="309" y="411"/>
                  <a:pt x="309" y="405"/>
                </a:cubicBezTo>
                <a:cubicBezTo>
                  <a:pt x="309" y="213"/>
                  <a:pt x="309" y="213"/>
                  <a:pt x="309" y="213"/>
                </a:cubicBezTo>
                <a:cubicBezTo>
                  <a:pt x="309" y="187"/>
                  <a:pt x="291" y="166"/>
                  <a:pt x="266" y="161"/>
                </a:cubicBezTo>
                <a:cubicBezTo>
                  <a:pt x="266" y="129"/>
                  <a:pt x="266" y="129"/>
                  <a:pt x="266" y="129"/>
                </a:cubicBezTo>
                <a:cubicBezTo>
                  <a:pt x="327" y="147"/>
                  <a:pt x="327" y="147"/>
                  <a:pt x="327" y="147"/>
                </a:cubicBezTo>
                <a:cubicBezTo>
                  <a:pt x="328" y="148"/>
                  <a:pt x="329" y="148"/>
                  <a:pt x="330" y="148"/>
                </a:cubicBezTo>
                <a:cubicBezTo>
                  <a:pt x="335" y="148"/>
                  <a:pt x="339" y="145"/>
                  <a:pt x="341" y="140"/>
                </a:cubicBezTo>
                <a:cubicBezTo>
                  <a:pt x="342" y="134"/>
                  <a:pt x="339" y="128"/>
                  <a:pt x="333" y="127"/>
                </a:cubicBezTo>
                <a:lnTo>
                  <a:pt x="300" y="11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45" name="Group 804">
            <a:extLst>
              <a:ext uri="{FF2B5EF4-FFF2-40B4-BE49-F238E27FC236}">
                <a16:creationId xmlns:a16="http://schemas.microsoft.com/office/drawing/2014/main" id="{49EA56A2-6B4B-4FA9-A039-47ECBF653AEF}"/>
              </a:ext>
            </a:extLst>
          </p:cNvPr>
          <p:cNvGrpSpPr>
            <a:grpSpLocks noChangeAspect="1"/>
          </p:cNvGrpSpPr>
          <p:nvPr/>
        </p:nvGrpSpPr>
        <p:grpSpPr bwMode="auto">
          <a:xfrm>
            <a:off x="8756426" y="3285438"/>
            <a:ext cx="368713" cy="367631"/>
            <a:chOff x="1182" y="3195"/>
            <a:chExt cx="341" cy="340"/>
          </a:xfrm>
          <a:solidFill>
            <a:schemeClr val="accent3"/>
          </a:solidFill>
        </p:grpSpPr>
        <p:sp>
          <p:nvSpPr>
            <p:cNvPr id="646" name="Freeform 805">
              <a:extLst>
                <a:ext uri="{FF2B5EF4-FFF2-40B4-BE49-F238E27FC236}">
                  <a16:creationId xmlns:a16="http://schemas.microsoft.com/office/drawing/2014/main" id="{4B3E2905-40C3-4488-8844-EEDA7CF2AF63}"/>
                </a:ext>
              </a:extLst>
            </p:cNvPr>
            <p:cNvSpPr>
              <a:spLocks noEditPoints="1"/>
            </p:cNvSpPr>
            <p:nvPr/>
          </p:nvSpPr>
          <p:spPr bwMode="auto">
            <a:xfrm>
              <a:off x="1182" y="319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7" name="Freeform 806">
              <a:extLst>
                <a:ext uri="{FF2B5EF4-FFF2-40B4-BE49-F238E27FC236}">
                  <a16:creationId xmlns:a16="http://schemas.microsoft.com/office/drawing/2014/main" id="{7429FB13-D61B-4956-84F4-1273BF978435}"/>
                </a:ext>
              </a:extLst>
            </p:cNvPr>
            <p:cNvSpPr>
              <a:spLocks noEditPoints="1"/>
            </p:cNvSpPr>
            <p:nvPr/>
          </p:nvSpPr>
          <p:spPr bwMode="auto">
            <a:xfrm>
              <a:off x="1289" y="3259"/>
              <a:ext cx="121" cy="212"/>
            </a:xfrm>
            <a:custGeom>
              <a:avLst/>
              <a:gdLst>
                <a:gd name="T0" fmla="*/ 173 w 182"/>
                <a:gd name="T1" fmla="*/ 31 h 320"/>
                <a:gd name="T2" fmla="*/ 140 w 182"/>
                <a:gd name="T3" fmla="*/ 21 h 320"/>
                <a:gd name="T4" fmla="*/ 170 w 182"/>
                <a:gd name="T5" fmla="*/ 21 h 320"/>
                <a:gd name="T6" fmla="*/ 181 w 182"/>
                <a:gd name="T7" fmla="*/ 10 h 320"/>
                <a:gd name="T8" fmla="*/ 170 w 182"/>
                <a:gd name="T9" fmla="*/ 0 h 320"/>
                <a:gd name="T10" fmla="*/ 96 w 182"/>
                <a:gd name="T11" fmla="*/ 0 h 320"/>
                <a:gd name="T12" fmla="*/ 85 w 182"/>
                <a:gd name="T13" fmla="*/ 10 h 320"/>
                <a:gd name="T14" fmla="*/ 85 w 182"/>
                <a:gd name="T15" fmla="*/ 21 h 320"/>
                <a:gd name="T16" fmla="*/ 53 w 182"/>
                <a:gd name="T17" fmla="*/ 21 h 320"/>
                <a:gd name="T18" fmla="*/ 0 w 182"/>
                <a:gd name="T19" fmla="*/ 74 h 320"/>
                <a:gd name="T20" fmla="*/ 0 w 182"/>
                <a:gd name="T21" fmla="*/ 266 h 320"/>
                <a:gd name="T22" fmla="*/ 10 w 182"/>
                <a:gd name="T23" fmla="*/ 277 h 320"/>
                <a:gd name="T24" fmla="*/ 21 w 182"/>
                <a:gd name="T25" fmla="*/ 266 h 320"/>
                <a:gd name="T26" fmla="*/ 21 w 182"/>
                <a:gd name="T27" fmla="*/ 74 h 320"/>
                <a:gd name="T28" fmla="*/ 53 w 182"/>
                <a:gd name="T29" fmla="*/ 42 h 320"/>
                <a:gd name="T30" fmla="*/ 85 w 182"/>
                <a:gd name="T31" fmla="*/ 42 h 320"/>
                <a:gd name="T32" fmla="*/ 85 w 182"/>
                <a:gd name="T33" fmla="*/ 65 h 320"/>
                <a:gd name="T34" fmla="*/ 42 w 182"/>
                <a:gd name="T35" fmla="*/ 117 h 320"/>
                <a:gd name="T36" fmla="*/ 42 w 182"/>
                <a:gd name="T37" fmla="*/ 309 h 320"/>
                <a:gd name="T38" fmla="*/ 53 w 182"/>
                <a:gd name="T39" fmla="*/ 320 h 320"/>
                <a:gd name="T40" fmla="*/ 138 w 182"/>
                <a:gd name="T41" fmla="*/ 320 h 320"/>
                <a:gd name="T42" fmla="*/ 149 w 182"/>
                <a:gd name="T43" fmla="*/ 309 h 320"/>
                <a:gd name="T44" fmla="*/ 149 w 182"/>
                <a:gd name="T45" fmla="*/ 117 h 320"/>
                <a:gd name="T46" fmla="*/ 106 w 182"/>
                <a:gd name="T47" fmla="*/ 65 h 320"/>
                <a:gd name="T48" fmla="*/ 106 w 182"/>
                <a:gd name="T49" fmla="*/ 33 h 320"/>
                <a:gd name="T50" fmla="*/ 167 w 182"/>
                <a:gd name="T51" fmla="*/ 51 h 320"/>
                <a:gd name="T52" fmla="*/ 170 w 182"/>
                <a:gd name="T53" fmla="*/ 52 h 320"/>
                <a:gd name="T54" fmla="*/ 181 w 182"/>
                <a:gd name="T55" fmla="*/ 44 h 320"/>
                <a:gd name="T56" fmla="*/ 173 w 182"/>
                <a:gd name="T57" fmla="*/ 31 h 320"/>
                <a:gd name="T58" fmla="*/ 106 w 182"/>
                <a:gd name="T59" fmla="*/ 181 h 320"/>
                <a:gd name="T60" fmla="*/ 128 w 182"/>
                <a:gd name="T61" fmla="*/ 181 h 320"/>
                <a:gd name="T62" fmla="*/ 128 w 182"/>
                <a:gd name="T63" fmla="*/ 245 h 320"/>
                <a:gd name="T64" fmla="*/ 106 w 182"/>
                <a:gd name="T65" fmla="*/ 245 h 320"/>
                <a:gd name="T66" fmla="*/ 106 w 182"/>
                <a:gd name="T67" fmla="*/ 181 h 320"/>
                <a:gd name="T68" fmla="*/ 128 w 182"/>
                <a:gd name="T69" fmla="*/ 117 h 320"/>
                <a:gd name="T70" fmla="*/ 128 w 182"/>
                <a:gd name="T71" fmla="*/ 160 h 320"/>
                <a:gd name="T72" fmla="*/ 96 w 182"/>
                <a:gd name="T73" fmla="*/ 160 h 320"/>
                <a:gd name="T74" fmla="*/ 85 w 182"/>
                <a:gd name="T75" fmla="*/ 170 h 320"/>
                <a:gd name="T76" fmla="*/ 85 w 182"/>
                <a:gd name="T77" fmla="*/ 256 h 320"/>
                <a:gd name="T78" fmla="*/ 96 w 182"/>
                <a:gd name="T79" fmla="*/ 266 h 320"/>
                <a:gd name="T80" fmla="*/ 128 w 182"/>
                <a:gd name="T81" fmla="*/ 266 h 320"/>
                <a:gd name="T82" fmla="*/ 128 w 182"/>
                <a:gd name="T83" fmla="*/ 298 h 320"/>
                <a:gd name="T84" fmla="*/ 64 w 182"/>
                <a:gd name="T85" fmla="*/ 298 h 320"/>
                <a:gd name="T86" fmla="*/ 64 w 182"/>
                <a:gd name="T87" fmla="*/ 117 h 320"/>
                <a:gd name="T88" fmla="*/ 96 w 182"/>
                <a:gd name="T89" fmla="*/ 85 h 320"/>
                <a:gd name="T90" fmla="*/ 128 w 182"/>
                <a:gd name="T91"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320">
                  <a:moveTo>
                    <a:pt x="173" y="31"/>
                  </a:moveTo>
                  <a:cubicBezTo>
                    <a:pt x="140" y="21"/>
                    <a:pt x="140" y="21"/>
                    <a:pt x="140" y="21"/>
                  </a:cubicBezTo>
                  <a:cubicBezTo>
                    <a:pt x="170" y="21"/>
                    <a:pt x="170" y="21"/>
                    <a:pt x="170" y="21"/>
                  </a:cubicBezTo>
                  <a:cubicBezTo>
                    <a:pt x="176" y="21"/>
                    <a:pt x="181" y="16"/>
                    <a:pt x="181" y="10"/>
                  </a:cubicBezTo>
                  <a:cubicBezTo>
                    <a:pt x="181" y="4"/>
                    <a:pt x="176" y="0"/>
                    <a:pt x="170" y="0"/>
                  </a:cubicBezTo>
                  <a:cubicBezTo>
                    <a:pt x="96" y="0"/>
                    <a:pt x="96" y="0"/>
                    <a:pt x="96" y="0"/>
                  </a:cubicBezTo>
                  <a:cubicBezTo>
                    <a:pt x="90" y="0"/>
                    <a:pt x="85" y="4"/>
                    <a:pt x="85" y="10"/>
                  </a:cubicBezTo>
                  <a:cubicBezTo>
                    <a:pt x="85" y="21"/>
                    <a:pt x="85" y="21"/>
                    <a:pt x="85" y="21"/>
                  </a:cubicBezTo>
                  <a:cubicBezTo>
                    <a:pt x="53" y="21"/>
                    <a:pt x="53" y="21"/>
                    <a:pt x="53" y="21"/>
                  </a:cubicBezTo>
                  <a:cubicBezTo>
                    <a:pt x="24" y="21"/>
                    <a:pt x="0" y="45"/>
                    <a:pt x="0" y="74"/>
                  </a:cubicBezTo>
                  <a:cubicBezTo>
                    <a:pt x="0" y="266"/>
                    <a:pt x="0" y="266"/>
                    <a:pt x="0" y="266"/>
                  </a:cubicBezTo>
                  <a:cubicBezTo>
                    <a:pt x="0" y="272"/>
                    <a:pt x="4" y="277"/>
                    <a:pt x="10" y="277"/>
                  </a:cubicBezTo>
                  <a:cubicBezTo>
                    <a:pt x="16" y="277"/>
                    <a:pt x="21" y="272"/>
                    <a:pt x="21" y="266"/>
                  </a:cubicBezTo>
                  <a:cubicBezTo>
                    <a:pt x="21" y="74"/>
                    <a:pt x="21" y="74"/>
                    <a:pt x="21" y="74"/>
                  </a:cubicBezTo>
                  <a:cubicBezTo>
                    <a:pt x="21" y="57"/>
                    <a:pt x="35" y="42"/>
                    <a:pt x="53" y="42"/>
                  </a:cubicBezTo>
                  <a:cubicBezTo>
                    <a:pt x="85" y="42"/>
                    <a:pt x="85" y="42"/>
                    <a:pt x="85" y="42"/>
                  </a:cubicBezTo>
                  <a:cubicBezTo>
                    <a:pt x="85" y="65"/>
                    <a:pt x="85" y="65"/>
                    <a:pt x="85" y="65"/>
                  </a:cubicBezTo>
                  <a:cubicBezTo>
                    <a:pt x="61" y="70"/>
                    <a:pt x="42" y="91"/>
                    <a:pt x="42" y="117"/>
                  </a:cubicBezTo>
                  <a:cubicBezTo>
                    <a:pt x="42" y="309"/>
                    <a:pt x="42" y="309"/>
                    <a:pt x="42" y="309"/>
                  </a:cubicBezTo>
                  <a:cubicBezTo>
                    <a:pt x="42" y="315"/>
                    <a:pt x="47" y="320"/>
                    <a:pt x="53" y="320"/>
                  </a:cubicBezTo>
                  <a:cubicBezTo>
                    <a:pt x="138" y="320"/>
                    <a:pt x="138" y="320"/>
                    <a:pt x="138" y="320"/>
                  </a:cubicBezTo>
                  <a:cubicBezTo>
                    <a:pt x="144" y="320"/>
                    <a:pt x="149" y="315"/>
                    <a:pt x="149" y="309"/>
                  </a:cubicBezTo>
                  <a:cubicBezTo>
                    <a:pt x="149" y="117"/>
                    <a:pt x="149" y="117"/>
                    <a:pt x="149" y="117"/>
                  </a:cubicBezTo>
                  <a:cubicBezTo>
                    <a:pt x="149" y="91"/>
                    <a:pt x="131" y="70"/>
                    <a:pt x="106" y="65"/>
                  </a:cubicBezTo>
                  <a:cubicBezTo>
                    <a:pt x="106" y="33"/>
                    <a:pt x="106" y="33"/>
                    <a:pt x="106" y="33"/>
                  </a:cubicBezTo>
                  <a:cubicBezTo>
                    <a:pt x="167" y="51"/>
                    <a:pt x="167" y="51"/>
                    <a:pt x="167" y="51"/>
                  </a:cubicBezTo>
                  <a:cubicBezTo>
                    <a:pt x="168" y="52"/>
                    <a:pt x="169" y="52"/>
                    <a:pt x="170" y="52"/>
                  </a:cubicBezTo>
                  <a:cubicBezTo>
                    <a:pt x="175" y="52"/>
                    <a:pt x="179" y="49"/>
                    <a:pt x="181" y="44"/>
                  </a:cubicBezTo>
                  <a:cubicBezTo>
                    <a:pt x="182" y="38"/>
                    <a:pt x="179" y="32"/>
                    <a:pt x="173" y="31"/>
                  </a:cubicBezTo>
                  <a:close/>
                  <a:moveTo>
                    <a:pt x="106" y="181"/>
                  </a:moveTo>
                  <a:cubicBezTo>
                    <a:pt x="128" y="181"/>
                    <a:pt x="128" y="181"/>
                    <a:pt x="128" y="181"/>
                  </a:cubicBezTo>
                  <a:cubicBezTo>
                    <a:pt x="128" y="245"/>
                    <a:pt x="128" y="245"/>
                    <a:pt x="128" y="245"/>
                  </a:cubicBezTo>
                  <a:cubicBezTo>
                    <a:pt x="106" y="245"/>
                    <a:pt x="106" y="245"/>
                    <a:pt x="106" y="245"/>
                  </a:cubicBezTo>
                  <a:lnTo>
                    <a:pt x="106" y="181"/>
                  </a:lnTo>
                  <a:close/>
                  <a:moveTo>
                    <a:pt x="128" y="117"/>
                  </a:moveTo>
                  <a:cubicBezTo>
                    <a:pt x="128" y="160"/>
                    <a:pt x="128" y="160"/>
                    <a:pt x="128" y="160"/>
                  </a:cubicBezTo>
                  <a:cubicBezTo>
                    <a:pt x="96" y="160"/>
                    <a:pt x="96" y="160"/>
                    <a:pt x="96" y="160"/>
                  </a:cubicBezTo>
                  <a:cubicBezTo>
                    <a:pt x="90" y="160"/>
                    <a:pt x="85" y="164"/>
                    <a:pt x="85" y="170"/>
                  </a:cubicBezTo>
                  <a:cubicBezTo>
                    <a:pt x="85" y="256"/>
                    <a:pt x="85" y="256"/>
                    <a:pt x="85" y="256"/>
                  </a:cubicBezTo>
                  <a:cubicBezTo>
                    <a:pt x="85" y="262"/>
                    <a:pt x="90" y="266"/>
                    <a:pt x="96" y="266"/>
                  </a:cubicBezTo>
                  <a:cubicBezTo>
                    <a:pt x="128" y="266"/>
                    <a:pt x="128" y="266"/>
                    <a:pt x="128" y="266"/>
                  </a:cubicBezTo>
                  <a:cubicBezTo>
                    <a:pt x="128" y="298"/>
                    <a:pt x="128" y="298"/>
                    <a:pt x="128" y="298"/>
                  </a:cubicBezTo>
                  <a:cubicBezTo>
                    <a:pt x="64" y="298"/>
                    <a:pt x="64" y="298"/>
                    <a:pt x="64" y="298"/>
                  </a:cubicBezTo>
                  <a:cubicBezTo>
                    <a:pt x="64" y="117"/>
                    <a:pt x="64" y="117"/>
                    <a:pt x="64" y="117"/>
                  </a:cubicBezTo>
                  <a:cubicBezTo>
                    <a:pt x="64" y="99"/>
                    <a:pt x="78" y="85"/>
                    <a:pt x="96" y="85"/>
                  </a:cubicBezTo>
                  <a:cubicBezTo>
                    <a:pt x="113" y="85"/>
                    <a:pt x="128" y="99"/>
                    <a:pt x="128"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48" name="TextBox 647">
            <a:extLst>
              <a:ext uri="{FF2B5EF4-FFF2-40B4-BE49-F238E27FC236}">
                <a16:creationId xmlns:a16="http://schemas.microsoft.com/office/drawing/2014/main" id="{7C384397-629F-48A0-815E-10241161BF67}"/>
              </a:ext>
            </a:extLst>
          </p:cNvPr>
          <p:cNvSpPr txBox="1"/>
          <p:nvPr/>
        </p:nvSpPr>
        <p:spPr>
          <a:xfrm>
            <a:off x="4814609" y="450934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pen box</a:t>
            </a:r>
          </a:p>
        </p:txBody>
      </p:sp>
      <p:grpSp>
        <p:nvGrpSpPr>
          <p:cNvPr id="649" name="Group 4">
            <a:extLst>
              <a:ext uri="{FF2B5EF4-FFF2-40B4-BE49-F238E27FC236}">
                <a16:creationId xmlns:a16="http://schemas.microsoft.com/office/drawing/2014/main" id="{F54A2098-0AE9-4711-9476-F1E1555FA818}"/>
              </a:ext>
            </a:extLst>
          </p:cNvPr>
          <p:cNvGrpSpPr>
            <a:grpSpLocks noChangeAspect="1"/>
          </p:cNvGrpSpPr>
          <p:nvPr/>
        </p:nvGrpSpPr>
        <p:grpSpPr bwMode="auto">
          <a:xfrm>
            <a:off x="4836635" y="4113840"/>
            <a:ext cx="369887" cy="371475"/>
            <a:chOff x="5057" y="739"/>
            <a:chExt cx="233" cy="234"/>
          </a:xfrm>
          <a:solidFill>
            <a:schemeClr val="accent1"/>
          </a:solidFill>
        </p:grpSpPr>
        <p:sp>
          <p:nvSpPr>
            <p:cNvPr id="650" name="Freeform 5">
              <a:extLst>
                <a:ext uri="{FF2B5EF4-FFF2-40B4-BE49-F238E27FC236}">
                  <a16:creationId xmlns:a16="http://schemas.microsoft.com/office/drawing/2014/main" id="{8916CF56-D39D-444D-BDD9-2C2A05538EDF}"/>
                </a:ext>
              </a:extLst>
            </p:cNvPr>
            <p:cNvSpPr>
              <a:spLocks/>
            </p:cNvSpPr>
            <p:nvPr/>
          </p:nvSpPr>
          <p:spPr bwMode="auto">
            <a:xfrm>
              <a:off x="5136" y="818"/>
              <a:ext cx="75" cy="37"/>
            </a:xfrm>
            <a:custGeom>
              <a:avLst/>
              <a:gdLst>
                <a:gd name="T0" fmla="*/ 37 w 75"/>
                <a:gd name="T1" fmla="*/ 0 h 37"/>
                <a:gd name="T2" fmla="*/ 0 w 75"/>
                <a:gd name="T3" fmla="*/ 19 h 37"/>
                <a:gd name="T4" fmla="*/ 37 w 75"/>
                <a:gd name="T5" fmla="*/ 37 h 37"/>
                <a:gd name="T6" fmla="*/ 75 w 75"/>
                <a:gd name="T7" fmla="*/ 19 h 37"/>
                <a:gd name="T8" fmla="*/ 37 w 75"/>
                <a:gd name="T9" fmla="*/ 0 h 37"/>
              </a:gdLst>
              <a:ahLst/>
              <a:cxnLst>
                <a:cxn ang="0">
                  <a:pos x="T0" y="T1"/>
                </a:cxn>
                <a:cxn ang="0">
                  <a:pos x="T2" y="T3"/>
                </a:cxn>
                <a:cxn ang="0">
                  <a:pos x="T4" y="T5"/>
                </a:cxn>
                <a:cxn ang="0">
                  <a:pos x="T6" y="T7"/>
                </a:cxn>
                <a:cxn ang="0">
                  <a:pos x="T8" y="T9"/>
                </a:cxn>
              </a:cxnLst>
              <a:rect l="0" t="0" r="r" b="b"/>
              <a:pathLst>
                <a:path w="75" h="37">
                  <a:moveTo>
                    <a:pt x="37" y="0"/>
                  </a:moveTo>
                  <a:lnTo>
                    <a:pt x="0" y="19"/>
                  </a:lnTo>
                  <a:lnTo>
                    <a:pt x="37" y="37"/>
                  </a:lnTo>
                  <a:lnTo>
                    <a:pt x="75" y="19"/>
                  </a:lnTo>
                  <a:lnTo>
                    <a:pt x="3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1" name="Freeform 6">
              <a:extLst>
                <a:ext uri="{FF2B5EF4-FFF2-40B4-BE49-F238E27FC236}">
                  <a16:creationId xmlns:a16="http://schemas.microsoft.com/office/drawing/2014/main" id="{D6A39914-59A2-4C0A-8728-702BB2405E93}"/>
                </a:ext>
              </a:extLst>
            </p:cNvPr>
            <p:cNvSpPr>
              <a:spLocks/>
            </p:cNvSpPr>
            <p:nvPr/>
          </p:nvSpPr>
          <p:spPr bwMode="auto">
            <a:xfrm>
              <a:off x="5130" y="874"/>
              <a:ext cx="39" cy="42"/>
            </a:xfrm>
            <a:custGeom>
              <a:avLst/>
              <a:gdLst>
                <a:gd name="T0" fmla="*/ 36 w 64"/>
                <a:gd name="T1" fmla="*/ 25 h 69"/>
                <a:gd name="T2" fmla="*/ 0 w 64"/>
                <a:gd name="T3" fmla="*/ 7 h 69"/>
                <a:gd name="T4" fmla="*/ 0 w 64"/>
                <a:gd name="T5" fmla="*/ 37 h 69"/>
                <a:gd name="T6" fmla="*/ 64 w 64"/>
                <a:gd name="T7" fmla="*/ 69 h 69"/>
                <a:gd name="T8" fmla="*/ 64 w 64"/>
                <a:gd name="T9" fmla="*/ 0 h 69"/>
                <a:gd name="T10" fmla="*/ 46 w 64"/>
                <a:gd name="T11" fmla="*/ 23 h 69"/>
                <a:gd name="T12" fmla="*/ 36 w 64"/>
                <a:gd name="T13" fmla="*/ 25 h 69"/>
              </a:gdLst>
              <a:ahLst/>
              <a:cxnLst>
                <a:cxn ang="0">
                  <a:pos x="T0" y="T1"/>
                </a:cxn>
                <a:cxn ang="0">
                  <a:pos x="T2" y="T3"/>
                </a:cxn>
                <a:cxn ang="0">
                  <a:pos x="T4" y="T5"/>
                </a:cxn>
                <a:cxn ang="0">
                  <a:pos x="T6" y="T7"/>
                </a:cxn>
                <a:cxn ang="0">
                  <a:pos x="T8" y="T9"/>
                </a:cxn>
                <a:cxn ang="0">
                  <a:pos x="T10" y="T11"/>
                </a:cxn>
                <a:cxn ang="0">
                  <a:pos x="T12" y="T13"/>
                </a:cxn>
              </a:cxnLst>
              <a:rect l="0" t="0" r="r" b="b"/>
              <a:pathLst>
                <a:path w="64" h="69">
                  <a:moveTo>
                    <a:pt x="36" y="25"/>
                  </a:moveTo>
                  <a:cubicBezTo>
                    <a:pt x="0" y="7"/>
                    <a:pt x="0" y="7"/>
                    <a:pt x="0" y="7"/>
                  </a:cubicBezTo>
                  <a:cubicBezTo>
                    <a:pt x="0" y="37"/>
                    <a:pt x="0" y="37"/>
                    <a:pt x="0" y="37"/>
                  </a:cubicBezTo>
                  <a:cubicBezTo>
                    <a:pt x="64" y="69"/>
                    <a:pt x="64" y="69"/>
                    <a:pt x="64" y="69"/>
                  </a:cubicBezTo>
                  <a:cubicBezTo>
                    <a:pt x="64" y="0"/>
                    <a:pt x="64" y="0"/>
                    <a:pt x="64" y="0"/>
                  </a:cubicBezTo>
                  <a:cubicBezTo>
                    <a:pt x="46" y="23"/>
                    <a:pt x="46" y="23"/>
                    <a:pt x="46" y="23"/>
                  </a:cubicBezTo>
                  <a:cubicBezTo>
                    <a:pt x="44" y="26"/>
                    <a:pt x="39" y="27"/>
                    <a:pt x="36"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2" name="Freeform 7">
              <a:extLst>
                <a:ext uri="{FF2B5EF4-FFF2-40B4-BE49-F238E27FC236}">
                  <a16:creationId xmlns:a16="http://schemas.microsoft.com/office/drawing/2014/main" id="{62142580-DD86-490C-BB56-AE8C072418C8}"/>
                </a:ext>
              </a:extLst>
            </p:cNvPr>
            <p:cNvSpPr>
              <a:spLocks noEditPoints="1"/>
            </p:cNvSpPr>
            <p:nvPr/>
          </p:nvSpPr>
          <p:spPr bwMode="auto">
            <a:xfrm>
              <a:off x="5057" y="739"/>
              <a:ext cx="233" cy="234"/>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310 w 384"/>
                <a:gd name="T11" fmla="*/ 195 h 384"/>
                <a:gd name="T12" fmla="*/ 311 w 384"/>
                <a:gd name="T13" fmla="*/ 201 h 384"/>
                <a:gd name="T14" fmla="*/ 307 w 384"/>
                <a:gd name="T15" fmla="*/ 207 h 384"/>
                <a:gd name="T16" fmla="*/ 280 w 384"/>
                <a:gd name="T17" fmla="*/ 221 h 384"/>
                <a:gd name="T18" fmla="*/ 280 w 384"/>
                <a:gd name="T19" fmla="*/ 264 h 384"/>
                <a:gd name="T20" fmla="*/ 275 w 384"/>
                <a:gd name="T21" fmla="*/ 271 h 384"/>
                <a:gd name="T22" fmla="*/ 195 w 384"/>
                <a:gd name="T23" fmla="*/ 311 h 384"/>
                <a:gd name="T24" fmla="*/ 195 w 384"/>
                <a:gd name="T25" fmla="*/ 311 h 384"/>
                <a:gd name="T26" fmla="*/ 192 w 384"/>
                <a:gd name="T27" fmla="*/ 312 h 384"/>
                <a:gd name="T28" fmla="*/ 188 w 384"/>
                <a:gd name="T29" fmla="*/ 311 h 384"/>
                <a:gd name="T30" fmla="*/ 188 w 384"/>
                <a:gd name="T31" fmla="*/ 311 h 384"/>
                <a:gd name="T32" fmla="*/ 108 w 384"/>
                <a:gd name="T33" fmla="*/ 271 h 384"/>
                <a:gd name="T34" fmla="*/ 104 w 384"/>
                <a:gd name="T35" fmla="*/ 264 h 384"/>
                <a:gd name="T36" fmla="*/ 104 w 384"/>
                <a:gd name="T37" fmla="*/ 221 h 384"/>
                <a:gd name="T38" fmla="*/ 76 w 384"/>
                <a:gd name="T39" fmla="*/ 207 h 384"/>
                <a:gd name="T40" fmla="*/ 72 w 384"/>
                <a:gd name="T41" fmla="*/ 201 h 384"/>
                <a:gd name="T42" fmla="*/ 73 w 384"/>
                <a:gd name="T43" fmla="*/ 195 h 384"/>
                <a:gd name="T44" fmla="*/ 101 w 384"/>
                <a:gd name="T45" fmla="*/ 160 h 384"/>
                <a:gd name="T46" fmla="*/ 73 w 384"/>
                <a:gd name="T47" fmla="*/ 125 h 384"/>
                <a:gd name="T48" fmla="*/ 72 w 384"/>
                <a:gd name="T49" fmla="*/ 118 h 384"/>
                <a:gd name="T50" fmla="*/ 76 w 384"/>
                <a:gd name="T51" fmla="*/ 113 h 384"/>
                <a:gd name="T52" fmla="*/ 156 w 384"/>
                <a:gd name="T53" fmla="*/ 73 h 384"/>
                <a:gd name="T54" fmla="*/ 166 w 384"/>
                <a:gd name="T55" fmla="*/ 75 h 384"/>
                <a:gd name="T56" fmla="*/ 192 w 384"/>
                <a:gd name="T57" fmla="*/ 107 h 384"/>
                <a:gd name="T58" fmla="*/ 217 w 384"/>
                <a:gd name="T59" fmla="*/ 75 h 384"/>
                <a:gd name="T60" fmla="*/ 227 w 384"/>
                <a:gd name="T61" fmla="*/ 73 h 384"/>
                <a:gd name="T62" fmla="*/ 307 w 384"/>
                <a:gd name="T63" fmla="*/ 113 h 384"/>
                <a:gd name="T64" fmla="*/ 311 w 384"/>
                <a:gd name="T65" fmla="*/ 118 h 384"/>
                <a:gd name="T66" fmla="*/ 310 w 384"/>
                <a:gd name="T67" fmla="*/ 125 h 384"/>
                <a:gd name="T68" fmla="*/ 282 w 384"/>
                <a:gd name="T69" fmla="*/ 160 h 384"/>
                <a:gd name="T70" fmla="*/ 310 w 384"/>
                <a:gd name="T71" fmla="*/ 19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310" y="195"/>
                  </a:moveTo>
                  <a:cubicBezTo>
                    <a:pt x="311" y="197"/>
                    <a:pt x="312" y="199"/>
                    <a:pt x="311" y="201"/>
                  </a:cubicBezTo>
                  <a:cubicBezTo>
                    <a:pt x="311" y="204"/>
                    <a:pt x="309" y="206"/>
                    <a:pt x="307" y="207"/>
                  </a:cubicBezTo>
                  <a:cubicBezTo>
                    <a:pt x="280" y="221"/>
                    <a:pt x="280" y="221"/>
                    <a:pt x="280" y="221"/>
                  </a:cubicBezTo>
                  <a:cubicBezTo>
                    <a:pt x="280" y="264"/>
                    <a:pt x="280" y="264"/>
                    <a:pt x="280" y="264"/>
                  </a:cubicBezTo>
                  <a:cubicBezTo>
                    <a:pt x="280" y="267"/>
                    <a:pt x="278" y="269"/>
                    <a:pt x="275" y="271"/>
                  </a:cubicBezTo>
                  <a:cubicBezTo>
                    <a:pt x="195" y="311"/>
                    <a:pt x="195" y="311"/>
                    <a:pt x="195" y="311"/>
                  </a:cubicBezTo>
                  <a:cubicBezTo>
                    <a:pt x="195" y="311"/>
                    <a:pt x="195" y="311"/>
                    <a:pt x="195" y="311"/>
                  </a:cubicBezTo>
                  <a:cubicBezTo>
                    <a:pt x="194" y="311"/>
                    <a:pt x="193" y="312"/>
                    <a:pt x="192" y="312"/>
                  </a:cubicBezTo>
                  <a:cubicBezTo>
                    <a:pt x="191" y="312"/>
                    <a:pt x="189" y="311"/>
                    <a:pt x="188" y="311"/>
                  </a:cubicBezTo>
                  <a:cubicBezTo>
                    <a:pt x="188" y="311"/>
                    <a:pt x="188" y="311"/>
                    <a:pt x="188" y="311"/>
                  </a:cubicBezTo>
                  <a:cubicBezTo>
                    <a:pt x="108" y="271"/>
                    <a:pt x="108" y="271"/>
                    <a:pt x="108" y="271"/>
                  </a:cubicBezTo>
                  <a:cubicBezTo>
                    <a:pt x="105" y="269"/>
                    <a:pt x="104" y="267"/>
                    <a:pt x="104" y="264"/>
                  </a:cubicBezTo>
                  <a:cubicBezTo>
                    <a:pt x="104" y="221"/>
                    <a:pt x="104" y="221"/>
                    <a:pt x="104" y="221"/>
                  </a:cubicBezTo>
                  <a:cubicBezTo>
                    <a:pt x="76" y="207"/>
                    <a:pt x="76" y="207"/>
                    <a:pt x="76" y="207"/>
                  </a:cubicBezTo>
                  <a:cubicBezTo>
                    <a:pt x="74" y="206"/>
                    <a:pt x="72" y="204"/>
                    <a:pt x="72" y="201"/>
                  </a:cubicBezTo>
                  <a:cubicBezTo>
                    <a:pt x="71" y="199"/>
                    <a:pt x="72" y="197"/>
                    <a:pt x="73" y="195"/>
                  </a:cubicBezTo>
                  <a:cubicBezTo>
                    <a:pt x="101" y="160"/>
                    <a:pt x="101" y="160"/>
                    <a:pt x="101" y="160"/>
                  </a:cubicBezTo>
                  <a:cubicBezTo>
                    <a:pt x="73" y="125"/>
                    <a:pt x="73" y="125"/>
                    <a:pt x="73" y="125"/>
                  </a:cubicBezTo>
                  <a:cubicBezTo>
                    <a:pt x="72" y="123"/>
                    <a:pt x="71" y="120"/>
                    <a:pt x="72" y="118"/>
                  </a:cubicBezTo>
                  <a:cubicBezTo>
                    <a:pt x="72" y="116"/>
                    <a:pt x="74" y="114"/>
                    <a:pt x="76" y="113"/>
                  </a:cubicBezTo>
                  <a:cubicBezTo>
                    <a:pt x="156" y="73"/>
                    <a:pt x="156" y="73"/>
                    <a:pt x="156" y="73"/>
                  </a:cubicBezTo>
                  <a:cubicBezTo>
                    <a:pt x="159" y="71"/>
                    <a:pt x="164" y="72"/>
                    <a:pt x="166" y="75"/>
                  </a:cubicBezTo>
                  <a:cubicBezTo>
                    <a:pt x="192" y="107"/>
                    <a:pt x="192" y="107"/>
                    <a:pt x="192" y="107"/>
                  </a:cubicBezTo>
                  <a:cubicBezTo>
                    <a:pt x="217" y="75"/>
                    <a:pt x="217" y="75"/>
                    <a:pt x="217" y="75"/>
                  </a:cubicBezTo>
                  <a:cubicBezTo>
                    <a:pt x="220" y="72"/>
                    <a:pt x="224" y="71"/>
                    <a:pt x="227" y="73"/>
                  </a:cubicBezTo>
                  <a:cubicBezTo>
                    <a:pt x="307" y="113"/>
                    <a:pt x="307" y="113"/>
                    <a:pt x="307" y="113"/>
                  </a:cubicBezTo>
                  <a:cubicBezTo>
                    <a:pt x="309" y="114"/>
                    <a:pt x="311" y="116"/>
                    <a:pt x="311" y="118"/>
                  </a:cubicBezTo>
                  <a:cubicBezTo>
                    <a:pt x="312" y="120"/>
                    <a:pt x="311" y="123"/>
                    <a:pt x="310" y="125"/>
                  </a:cubicBezTo>
                  <a:cubicBezTo>
                    <a:pt x="282" y="160"/>
                    <a:pt x="282" y="160"/>
                    <a:pt x="282" y="160"/>
                  </a:cubicBezTo>
                  <a:lnTo>
                    <a:pt x="310"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3" name="Freeform 8">
              <a:extLst>
                <a:ext uri="{FF2B5EF4-FFF2-40B4-BE49-F238E27FC236}">
                  <a16:creationId xmlns:a16="http://schemas.microsoft.com/office/drawing/2014/main" id="{AB671F33-4A2E-4B2D-B5E0-15F03D56D0B8}"/>
                </a:ext>
              </a:extLst>
            </p:cNvPr>
            <p:cNvSpPr>
              <a:spLocks/>
            </p:cNvSpPr>
            <p:nvPr/>
          </p:nvSpPr>
          <p:spPr bwMode="auto">
            <a:xfrm>
              <a:off x="5178" y="874"/>
              <a:ext cx="39" cy="42"/>
            </a:xfrm>
            <a:custGeom>
              <a:avLst/>
              <a:gdLst>
                <a:gd name="T0" fmla="*/ 24 w 64"/>
                <a:gd name="T1" fmla="*/ 26 h 69"/>
                <a:gd name="T2" fmla="*/ 24 w 64"/>
                <a:gd name="T3" fmla="*/ 26 h 69"/>
                <a:gd name="T4" fmla="*/ 23 w 64"/>
                <a:gd name="T5" fmla="*/ 26 h 69"/>
                <a:gd name="T6" fmla="*/ 21 w 64"/>
                <a:gd name="T7" fmla="*/ 25 h 69"/>
                <a:gd name="T8" fmla="*/ 20 w 64"/>
                <a:gd name="T9" fmla="*/ 25 h 69"/>
                <a:gd name="T10" fmla="*/ 17 w 64"/>
                <a:gd name="T11" fmla="*/ 23 h 69"/>
                <a:gd name="T12" fmla="*/ 0 w 64"/>
                <a:gd name="T13" fmla="*/ 0 h 69"/>
                <a:gd name="T14" fmla="*/ 0 w 64"/>
                <a:gd name="T15" fmla="*/ 69 h 69"/>
                <a:gd name="T16" fmla="*/ 64 w 64"/>
                <a:gd name="T17" fmla="*/ 37 h 69"/>
                <a:gd name="T18" fmla="*/ 64 w 64"/>
                <a:gd name="T19" fmla="*/ 7 h 69"/>
                <a:gd name="T20" fmla="*/ 27 w 64"/>
                <a:gd name="T21" fmla="*/ 25 h 69"/>
                <a:gd name="T22" fmla="*/ 24 w 64"/>
                <a:gd name="T23" fmla="*/ 2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69">
                  <a:moveTo>
                    <a:pt x="24" y="26"/>
                  </a:moveTo>
                  <a:cubicBezTo>
                    <a:pt x="24" y="26"/>
                    <a:pt x="24" y="26"/>
                    <a:pt x="24" y="26"/>
                  </a:cubicBezTo>
                  <a:cubicBezTo>
                    <a:pt x="23" y="26"/>
                    <a:pt x="23" y="26"/>
                    <a:pt x="23" y="26"/>
                  </a:cubicBezTo>
                  <a:cubicBezTo>
                    <a:pt x="22" y="25"/>
                    <a:pt x="22" y="25"/>
                    <a:pt x="21" y="25"/>
                  </a:cubicBezTo>
                  <a:cubicBezTo>
                    <a:pt x="21" y="25"/>
                    <a:pt x="20" y="25"/>
                    <a:pt x="20" y="25"/>
                  </a:cubicBezTo>
                  <a:cubicBezTo>
                    <a:pt x="19" y="24"/>
                    <a:pt x="18" y="24"/>
                    <a:pt x="17" y="23"/>
                  </a:cubicBezTo>
                  <a:cubicBezTo>
                    <a:pt x="0" y="0"/>
                    <a:pt x="0" y="0"/>
                    <a:pt x="0" y="0"/>
                  </a:cubicBezTo>
                  <a:cubicBezTo>
                    <a:pt x="0" y="69"/>
                    <a:pt x="0" y="69"/>
                    <a:pt x="0" y="69"/>
                  </a:cubicBezTo>
                  <a:cubicBezTo>
                    <a:pt x="64" y="37"/>
                    <a:pt x="64" y="37"/>
                    <a:pt x="64" y="37"/>
                  </a:cubicBezTo>
                  <a:cubicBezTo>
                    <a:pt x="64" y="7"/>
                    <a:pt x="64" y="7"/>
                    <a:pt x="64" y="7"/>
                  </a:cubicBezTo>
                  <a:cubicBezTo>
                    <a:pt x="27" y="25"/>
                    <a:pt x="27" y="25"/>
                    <a:pt x="27" y="25"/>
                  </a:cubicBezTo>
                  <a:cubicBezTo>
                    <a:pt x="26" y="25"/>
                    <a:pt x="25" y="26"/>
                    <a:pt x="24"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4" name="Freeform 9">
              <a:extLst>
                <a:ext uri="{FF2B5EF4-FFF2-40B4-BE49-F238E27FC236}">
                  <a16:creationId xmlns:a16="http://schemas.microsoft.com/office/drawing/2014/main" id="{E283CC69-4496-4BB6-9552-C2852B120F66}"/>
                </a:ext>
              </a:extLst>
            </p:cNvPr>
            <p:cNvSpPr>
              <a:spLocks/>
            </p:cNvSpPr>
            <p:nvPr/>
          </p:nvSpPr>
          <p:spPr bwMode="auto">
            <a:xfrm>
              <a:off x="5113" y="843"/>
              <a:ext cx="53" cy="36"/>
            </a:xfrm>
            <a:custGeom>
              <a:avLst/>
              <a:gdLst>
                <a:gd name="T0" fmla="*/ 87 w 87"/>
                <a:gd name="T1" fmla="*/ 32 h 59"/>
                <a:gd name="T2" fmla="*/ 22 w 87"/>
                <a:gd name="T3" fmla="*/ 0 h 59"/>
                <a:gd name="T4" fmla="*/ 0 w 87"/>
                <a:gd name="T5" fmla="*/ 27 h 59"/>
                <a:gd name="T6" fmla="*/ 23 w 87"/>
                <a:gd name="T7" fmla="*/ 38 h 59"/>
                <a:gd name="T8" fmla="*/ 23 w 87"/>
                <a:gd name="T9" fmla="*/ 38 h 59"/>
                <a:gd name="T10" fmla="*/ 65 w 87"/>
                <a:gd name="T11" fmla="*/ 59 h 59"/>
                <a:gd name="T12" fmla="*/ 87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87" y="32"/>
                  </a:moveTo>
                  <a:cubicBezTo>
                    <a:pt x="22" y="0"/>
                    <a:pt x="22" y="0"/>
                    <a:pt x="22" y="0"/>
                  </a:cubicBezTo>
                  <a:cubicBezTo>
                    <a:pt x="0" y="27"/>
                    <a:pt x="0" y="27"/>
                    <a:pt x="0" y="27"/>
                  </a:cubicBezTo>
                  <a:cubicBezTo>
                    <a:pt x="23" y="38"/>
                    <a:pt x="23" y="38"/>
                    <a:pt x="23" y="38"/>
                  </a:cubicBezTo>
                  <a:cubicBezTo>
                    <a:pt x="23" y="38"/>
                    <a:pt x="23" y="38"/>
                    <a:pt x="23" y="38"/>
                  </a:cubicBezTo>
                  <a:cubicBezTo>
                    <a:pt x="65" y="59"/>
                    <a:pt x="65" y="59"/>
                    <a:pt x="65" y="59"/>
                  </a:cubicBezTo>
                  <a:lnTo>
                    <a:pt x="87" y="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5" name="Freeform 10">
              <a:extLst>
                <a:ext uri="{FF2B5EF4-FFF2-40B4-BE49-F238E27FC236}">
                  <a16:creationId xmlns:a16="http://schemas.microsoft.com/office/drawing/2014/main" id="{1CE9F768-0B26-4706-984F-93F892B5FD4A}"/>
                </a:ext>
              </a:extLst>
            </p:cNvPr>
            <p:cNvSpPr>
              <a:spLocks/>
            </p:cNvSpPr>
            <p:nvPr/>
          </p:nvSpPr>
          <p:spPr bwMode="auto">
            <a:xfrm>
              <a:off x="5113" y="794"/>
              <a:ext cx="53" cy="36"/>
            </a:xfrm>
            <a:custGeom>
              <a:avLst/>
              <a:gdLst>
                <a:gd name="T0" fmla="*/ 53 w 53"/>
                <a:gd name="T1" fmla="*/ 16 h 36"/>
                <a:gd name="T2" fmla="*/ 39 w 53"/>
                <a:gd name="T3" fmla="*/ 0 h 36"/>
                <a:gd name="T4" fmla="*/ 0 w 53"/>
                <a:gd name="T5" fmla="*/ 19 h 36"/>
                <a:gd name="T6" fmla="*/ 13 w 53"/>
                <a:gd name="T7" fmla="*/ 36 h 36"/>
                <a:gd name="T8" fmla="*/ 53 w 53"/>
                <a:gd name="T9" fmla="*/ 16 h 36"/>
              </a:gdLst>
              <a:ahLst/>
              <a:cxnLst>
                <a:cxn ang="0">
                  <a:pos x="T0" y="T1"/>
                </a:cxn>
                <a:cxn ang="0">
                  <a:pos x="T2" y="T3"/>
                </a:cxn>
                <a:cxn ang="0">
                  <a:pos x="T4" y="T5"/>
                </a:cxn>
                <a:cxn ang="0">
                  <a:pos x="T6" y="T7"/>
                </a:cxn>
                <a:cxn ang="0">
                  <a:pos x="T8" y="T9"/>
                </a:cxn>
              </a:cxnLst>
              <a:rect l="0" t="0" r="r" b="b"/>
              <a:pathLst>
                <a:path w="53" h="36">
                  <a:moveTo>
                    <a:pt x="53" y="16"/>
                  </a:moveTo>
                  <a:lnTo>
                    <a:pt x="39" y="0"/>
                  </a:lnTo>
                  <a:lnTo>
                    <a:pt x="0" y="19"/>
                  </a:lnTo>
                  <a:lnTo>
                    <a:pt x="13" y="36"/>
                  </a:lnTo>
                  <a:lnTo>
                    <a:pt x="53"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6" name="Freeform 11">
              <a:extLst>
                <a:ext uri="{FF2B5EF4-FFF2-40B4-BE49-F238E27FC236}">
                  <a16:creationId xmlns:a16="http://schemas.microsoft.com/office/drawing/2014/main" id="{B59B0516-8688-4704-AF60-EC4FAB90693A}"/>
                </a:ext>
              </a:extLst>
            </p:cNvPr>
            <p:cNvSpPr>
              <a:spLocks/>
            </p:cNvSpPr>
            <p:nvPr/>
          </p:nvSpPr>
          <p:spPr bwMode="auto">
            <a:xfrm>
              <a:off x="5181" y="843"/>
              <a:ext cx="53" cy="36"/>
            </a:xfrm>
            <a:custGeom>
              <a:avLst/>
              <a:gdLst>
                <a:gd name="T0" fmla="*/ 0 w 87"/>
                <a:gd name="T1" fmla="*/ 32 h 59"/>
                <a:gd name="T2" fmla="*/ 22 w 87"/>
                <a:gd name="T3" fmla="*/ 59 h 59"/>
                <a:gd name="T4" fmla="*/ 64 w 87"/>
                <a:gd name="T5" fmla="*/ 38 h 59"/>
                <a:gd name="T6" fmla="*/ 64 w 87"/>
                <a:gd name="T7" fmla="*/ 38 h 59"/>
                <a:gd name="T8" fmla="*/ 87 w 87"/>
                <a:gd name="T9" fmla="*/ 26 h 59"/>
                <a:gd name="T10" fmla="*/ 65 w 87"/>
                <a:gd name="T11" fmla="*/ 0 h 59"/>
                <a:gd name="T12" fmla="*/ 0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0" y="32"/>
                  </a:moveTo>
                  <a:cubicBezTo>
                    <a:pt x="22" y="59"/>
                    <a:pt x="22" y="59"/>
                    <a:pt x="22" y="59"/>
                  </a:cubicBezTo>
                  <a:cubicBezTo>
                    <a:pt x="64" y="38"/>
                    <a:pt x="64" y="38"/>
                    <a:pt x="64" y="38"/>
                  </a:cubicBezTo>
                  <a:cubicBezTo>
                    <a:pt x="64" y="38"/>
                    <a:pt x="64" y="38"/>
                    <a:pt x="64" y="38"/>
                  </a:cubicBezTo>
                  <a:cubicBezTo>
                    <a:pt x="87" y="26"/>
                    <a:pt x="87" y="26"/>
                    <a:pt x="87" y="26"/>
                  </a:cubicBezTo>
                  <a:cubicBezTo>
                    <a:pt x="65" y="0"/>
                    <a:pt x="65" y="0"/>
                    <a:pt x="65" y="0"/>
                  </a:cubicBezTo>
                  <a:lnTo>
                    <a:pt x="0" y="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7" name="Freeform 12">
              <a:extLst>
                <a:ext uri="{FF2B5EF4-FFF2-40B4-BE49-F238E27FC236}">
                  <a16:creationId xmlns:a16="http://schemas.microsoft.com/office/drawing/2014/main" id="{AE878C60-40EA-4105-A381-2B4E2F9DDCF0}"/>
                </a:ext>
              </a:extLst>
            </p:cNvPr>
            <p:cNvSpPr>
              <a:spLocks/>
            </p:cNvSpPr>
            <p:nvPr/>
          </p:nvSpPr>
          <p:spPr bwMode="auto">
            <a:xfrm>
              <a:off x="5181" y="794"/>
              <a:ext cx="53" cy="36"/>
            </a:xfrm>
            <a:custGeom>
              <a:avLst/>
              <a:gdLst>
                <a:gd name="T0" fmla="*/ 0 w 53"/>
                <a:gd name="T1" fmla="*/ 16 h 36"/>
                <a:gd name="T2" fmla="*/ 39 w 53"/>
                <a:gd name="T3" fmla="*/ 36 h 36"/>
                <a:gd name="T4" fmla="*/ 53 w 53"/>
                <a:gd name="T5" fmla="*/ 19 h 36"/>
                <a:gd name="T6" fmla="*/ 13 w 53"/>
                <a:gd name="T7" fmla="*/ 0 h 36"/>
                <a:gd name="T8" fmla="*/ 0 w 53"/>
                <a:gd name="T9" fmla="*/ 16 h 36"/>
              </a:gdLst>
              <a:ahLst/>
              <a:cxnLst>
                <a:cxn ang="0">
                  <a:pos x="T0" y="T1"/>
                </a:cxn>
                <a:cxn ang="0">
                  <a:pos x="T2" y="T3"/>
                </a:cxn>
                <a:cxn ang="0">
                  <a:pos x="T4" y="T5"/>
                </a:cxn>
                <a:cxn ang="0">
                  <a:pos x="T6" y="T7"/>
                </a:cxn>
                <a:cxn ang="0">
                  <a:pos x="T8" y="T9"/>
                </a:cxn>
              </a:cxnLst>
              <a:rect l="0" t="0" r="r" b="b"/>
              <a:pathLst>
                <a:path w="53" h="36">
                  <a:moveTo>
                    <a:pt x="0" y="16"/>
                  </a:moveTo>
                  <a:lnTo>
                    <a:pt x="39" y="36"/>
                  </a:lnTo>
                  <a:lnTo>
                    <a:pt x="53" y="19"/>
                  </a:lnTo>
                  <a:lnTo>
                    <a:pt x="13" y="0"/>
                  </a:lnTo>
                  <a:lnTo>
                    <a:pt x="0"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58" name="Group 20">
            <a:extLst>
              <a:ext uri="{FF2B5EF4-FFF2-40B4-BE49-F238E27FC236}">
                <a16:creationId xmlns:a16="http://schemas.microsoft.com/office/drawing/2014/main" id="{0224CD83-96D2-468E-A043-C5D2977B47F4}"/>
              </a:ext>
            </a:extLst>
          </p:cNvPr>
          <p:cNvGrpSpPr>
            <a:grpSpLocks noChangeAspect="1"/>
          </p:cNvGrpSpPr>
          <p:nvPr/>
        </p:nvGrpSpPr>
        <p:grpSpPr bwMode="auto">
          <a:xfrm>
            <a:off x="5275068" y="4113840"/>
            <a:ext cx="369887" cy="371475"/>
            <a:chOff x="3885" y="823"/>
            <a:chExt cx="233" cy="234"/>
          </a:xfrm>
          <a:solidFill>
            <a:schemeClr val="accent1"/>
          </a:solidFill>
        </p:grpSpPr>
        <p:sp>
          <p:nvSpPr>
            <p:cNvPr id="659" name="Freeform 21">
              <a:extLst>
                <a:ext uri="{FF2B5EF4-FFF2-40B4-BE49-F238E27FC236}">
                  <a16:creationId xmlns:a16="http://schemas.microsoft.com/office/drawing/2014/main" id="{4C8C0C52-A6C2-4CBB-A90E-8F91966CD545}"/>
                </a:ext>
              </a:extLst>
            </p:cNvPr>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0" name="Freeform 22">
              <a:extLst>
                <a:ext uri="{FF2B5EF4-FFF2-40B4-BE49-F238E27FC236}">
                  <a16:creationId xmlns:a16="http://schemas.microsoft.com/office/drawing/2014/main" id="{8B489A07-19FB-4A6A-96A7-0E95F68ED234}"/>
                </a:ext>
              </a:extLst>
            </p:cNvPr>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80" name="Group 279">
            <a:extLst>
              <a:ext uri="{FF2B5EF4-FFF2-40B4-BE49-F238E27FC236}">
                <a16:creationId xmlns:a16="http://schemas.microsoft.com/office/drawing/2014/main" id="{3FB93CD9-9C76-4AC3-8CB1-3CFA73AA061B}"/>
              </a:ext>
            </a:extLst>
          </p:cNvPr>
          <p:cNvGrpSpPr/>
          <p:nvPr/>
        </p:nvGrpSpPr>
        <p:grpSpPr>
          <a:xfrm>
            <a:off x="5704734" y="4123829"/>
            <a:ext cx="809675" cy="377721"/>
            <a:chOff x="2207788" y="3366668"/>
            <a:chExt cx="6067426" cy="2830513"/>
          </a:xfrm>
          <a:solidFill>
            <a:schemeClr val="bg2"/>
          </a:solidFill>
        </p:grpSpPr>
        <p:grpSp>
          <p:nvGrpSpPr>
            <p:cNvPr id="281" name="Group 280">
              <a:extLst>
                <a:ext uri="{FF2B5EF4-FFF2-40B4-BE49-F238E27FC236}">
                  <a16:creationId xmlns:a16="http://schemas.microsoft.com/office/drawing/2014/main" id="{15372136-82E1-4C4C-B822-603602F6B773}"/>
                </a:ext>
              </a:extLst>
            </p:cNvPr>
            <p:cNvGrpSpPr/>
            <p:nvPr/>
          </p:nvGrpSpPr>
          <p:grpSpPr>
            <a:xfrm>
              <a:off x="5441526" y="3366668"/>
              <a:ext cx="2833688" cy="2830513"/>
              <a:chOff x="6294438" y="2017713"/>
              <a:chExt cx="2833688" cy="2830513"/>
            </a:xfrm>
            <a:grpFill/>
          </p:grpSpPr>
          <p:sp>
            <p:nvSpPr>
              <p:cNvPr id="294" name="Freeform 5">
                <a:extLst>
                  <a:ext uri="{FF2B5EF4-FFF2-40B4-BE49-F238E27FC236}">
                    <a16:creationId xmlns:a16="http://schemas.microsoft.com/office/drawing/2014/main" id="{9F2EE5DC-2694-4EE5-AB16-A7C50F60D6ED}"/>
                  </a:ext>
                </a:extLst>
              </p:cNvPr>
              <p:cNvSpPr>
                <a:spLocks/>
              </p:cNvSpPr>
              <p:nvPr/>
            </p:nvSpPr>
            <p:spPr bwMode="auto">
              <a:xfrm>
                <a:off x="7535863" y="3967163"/>
                <a:ext cx="884238" cy="117475"/>
              </a:xfrm>
              <a:custGeom>
                <a:avLst/>
                <a:gdLst>
                  <a:gd name="T0" fmla="*/ 881 w 927"/>
                  <a:gd name="T1" fmla="*/ 0 h 123"/>
                  <a:gd name="T2" fmla="*/ 881 w 927"/>
                  <a:gd name="T3" fmla="*/ 0 h 123"/>
                  <a:gd name="T4" fmla="*/ 46 w 927"/>
                  <a:gd name="T5" fmla="*/ 0 h 123"/>
                  <a:gd name="T6" fmla="*/ 0 w 927"/>
                  <a:gd name="T7" fmla="*/ 65 h 123"/>
                  <a:gd name="T8" fmla="*/ 46 w 927"/>
                  <a:gd name="T9" fmla="*/ 123 h 123"/>
                  <a:gd name="T10" fmla="*/ 881 w 927"/>
                  <a:gd name="T11" fmla="*/ 123 h 123"/>
                  <a:gd name="T12" fmla="*/ 927 w 927"/>
                  <a:gd name="T13" fmla="*/ 65 h 123"/>
                  <a:gd name="T14" fmla="*/ 881 w 927"/>
                  <a:gd name="T15" fmla="*/ 0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7" h="123">
                    <a:moveTo>
                      <a:pt x="881" y="0"/>
                    </a:moveTo>
                    <a:lnTo>
                      <a:pt x="881" y="0"/>
                    </a:lnTo>
                    <a:lnTo>
                      <a:pt x="46" y="0"/>
                    </a:lnTo>
                    <a:cubicBezTo>
                      <a:pt x="18" y="0"/>
                      <a:pt x="0" y="30"/>
                      <a:pt x="0" y="65"/>
                    </a:cubicBezTo>
                    <a:cubicBezTo>
                      <a:pt x="0" y="99"/>
                      <a:pt x="18" y="123"/>
                      <a:pt x="46" y="123"/>
                    </a:cubicBezTo>
                    <a:lnTo>
                      <a:pt x="881" y="123"/>
                    </a:lnTo>
                    <a:cubicBezTo>
                      <a:pt x="909" y="123"/>
                      <a:pt x="927" y="99"/>
                      <a:pt x="927" y="65"/>
                    </a:cubicBezTo>
                    <a:cubicBezTo>
                      <a:pt x="927" y="30"/>
                      <a:pt x="909" y="0"/>
                      <a:pt x="8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6">
                <a:extLst>
                  <a:ext uri="{FF2B5EF4-FFF2-40B4-BE49-F238E27FC236}">
                    <a16:creationId xmlns:a16="http://schemas.microsoft.com/office/drawing/2014/main" id="{C2482048-F489-4D3C-B107-FCB6F485A2BA}"/>
                  </a:ext>
                </a:extLst>
              </p:cNvPr>
              <p:cNvSpPr>
                <a:spLocks/>
              </p:cNvSpPr>
              <p:nvPr/>
            </p:nvSpPr>
            <p:spPr bwMode="auto">
              <a:xfrm>
                <a:off x="7535863" y="3417888"/>
                <a:ext cx="884238" cy="119063"/>
              </a:xfrm>
              <a:custGeom>
                <a:avLst/>
                <a:gdLst>
                  <a:gd name="T0" fmla="*/ 881 w 927"/>
                  <a:gd name="T1" fmla="*/ 0 h 124"/>
                  <a:gd name="T2" fmla="*/ 881 w 927"/>
                  <a:gd name="T3" fmla="*/ 0 h 124"/>
                  <a:gd name="T4" fmla="*/ 46 w 927"/>
                  <a:gd name="T5" fmla="*/ 0 h 124"/>
                  <a:gd name="T6" fmla="*/ 0 w 927"/>
                  <a:gd name="T7" fmla="*/ 65 h 124"/>
                  <a:gd name="T8" fmla="*/ 46 w 927"/>
                  <a:gd name="T9" fmla="*/ 124 h 124"/>
                  <a:gd name="T10" fmla="*/ 881 w 927"/>
                  <a:gd name="T11" fmla="*/ 124 h 124"/>
                  <a:gd name="T12" fmla="*/ 927 w 927"/>
                  <a:gd name="T13" fmla="*/ 65 h 124"/>
                  <a:gd name="T14" fmla="*/ 881 w 927"/>
                  <a:gd name="T15" fmla="*/ 0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7" h="124">
                    <a:moveTo>
                      <a:pt x="881" y="0"/>
                    </a:moveTo>
                    <a:lnTo>
                      <a:pt x="881" y="0"/>
                    </a:lnTo>
                    <a:lnTo>
                      <a:pt x="46" y="0"/>
                    </a:lnTo>
                    <a:cubicBezTo>
                      <a:pt x="18" y="0"/>
                      <a:pt x="0" y="30"/>
                      <a:pt x="0" y="65"/>
                    </a:cubicBezTo>
                    <a:cubicBezTo>
                      <a:pt x="0" y="100"/>
                      <a:pt x="18" y="124"/>
                      <a:pt x="46" y="124"/>
                    </a:cubicBezTo>
                    <a:lnTo>
                      <a:pt x="881" y="124"/>
                    </a:lnTo>
                    <a:cubicBezTo>
                      <a:pt x="909" y="124"/>
                      <a:pt x="927" y="100"/>
                      <a:pt x="927" y="65"/>
                    </a:cubicBezTo>
                    <a:cubicBezTo>
                      <a:pt x="927" y="30"/>
                      <a:pt x="909" y="0"/>
                      <a:pt x="8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7">
                <a:extLst>
                  <a:ext uri="{FF2B5EF4-FFF2-40B4-BE49-F238E27FC236}">
                    <a16:creationId xmlns:a16="http://schemas.microsoft.com/office/drawing/2014/main" id="{7FBAB889-A267-41C2-9383-EA8D0ECCE746}"/>
                  </a:ext>
                </a:extLst>
              </p:cNvPr>
              <p:cNvSpPr>
                <a:spLocks/>
              </p:cNvSpPr>
              <p:nvPr/>
            </p:nvSpPr>
            <p:spPr bwMode="auto">
              <a:xfrm>
                <a:off x="7535863" y="2905125"/>
                <a:ext cx="884238" cy="117475"/>
              </a:xfrm>
              <a:custGeom>
                <a:avLst/>
                <a:gdLst>
                  <a:gd name="T0" fmla="*/ 46 w 927"/>
                  <a:gd name="T1" fmla="*/ 123 h 123"/>
                  <a:gd name="T2" fmla="*/ 46 w 927"/>
                  <a:gd name="T3" fmla="*/ 123 h 123"/>
                  <a:gd name="T4" fmla="*/ 881 w 927"/>
                  <a:gd name="T5" fmla="*/ 123 h 123"/>
                  <a:gd name="T6" fmla="*/ 927 w 927"/>
                  <a:gd name="T7" fmla="*/ 64 h 123"/>
                  <a:gd name="T8" fmla="*/ 881 w 927"/>
                  <a:gd name="T9" fmla="*/ 0 h 123"/>
                  <a:gd name="T10" fmla="*/ 46 w 927"/>
                  <a:gd name="T11" fmla="*/ 0 h 123"/>
                  <a:gd name="T12" fmla="*/ 0 w 927"/>
                  <a:gd name="T13" fmla="*/ 64 h 123"/>
                  <a:gd name="T14" fmla="*/ 46 w 927"/>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7" h="123">
                    <a:moveTo>
                      <a:pt x="46" y="123"/>
                    </a:moveTo>
                    <a:lnTo>
                      <a:pt x="46" y="123"/>
                    </a:lnTo>
                    <a:lnTo>
                      <a:pt x="881" y="123"/>
                    </a:lnTo>
                    <a:cubicBezTo>
                      <a:pt x="909" y="123"/>
                      <a:pt x="927" y="99"/>
                      <a:pt x="927" y="64"/>
                    </a:cubicBezTo>
                    <a:cubicBezTo>
                      <a:pt x="927" y="30"/>
                      <a:pt x="909" y="0"/>
                      <a:pt x="881" y="0"/>
                    </a:cubicBezTo>
                    <a:lnTo>
                      <a:pt x="46" y="0"/>
                    </a:lnTo>
                    <a:cubicBezTo>
                      <a:pt x="18" y="0"/>
                      <a:pt x="0" y="30"/>
                      <a:pt x="0" y="64"/>
                    </a:cubicBezTo>
                    <a:cubicBezTo>
                      <a:pt x="0" y="99"/>
                      <a:pt x="18" y="123"/>
                      <a:pt x="46" y="12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8">
                <a:extLst>
                  <a:ext uri="{FF2B5EF4-FFF2-40B4-BE49-F238E27FC236}">
                    <a16:creationId xmlns:a16="http://schemas.microsoft.com/office/drawing/2014/main" id="{D30462F1-7518-43D6-B60C-1CF023504150}"/>
                  </a:ext>
                </a:extLst>
              </p:cNvPr>
              <p:cNvSpPr>
                <a:spLocks noEditPoints="1"/>
              </p:cNvSpPr>
              <p:nvPr/>
            </p:nvSpPr>
            <p:spPr bwMode="auto">
              <a:xfrm>
                <a:off x="6294438" y="2017713"/>
                <a:ext cx="2833688" cy="2830513"/>
              </a:xfrm>
              <a:custGeom>
                <a:avLst/>
                <a:gdLst>
                  <a:gd name="T0" fmla="*/ 1485 w 2971"/>
                  <a:gd name="T1" fmla="*/ 0 h 2958"/>
                  <a:gd name="T2" fmla="*/ 1485 w 2971"/>
                  <a:gd name="T3" fmla="*/ 0 h 2958"/>
                  <a:gd name="T4" fmla="*/ 0 w 2971"/>
                  <a:gd name="T5" fmla="*/ 1478 h 2958"/>
                  <a:gd name="T6" fmla="*/ 1485 w 2971"/>
                  <a:gd name="T7" fmla="*/ 2958 h 2958"/>
                  <a:gd name="T8" fmla="*/ 2971 w 2971"/>
                  <a:gd name="T9" fmla="*/ 1478 h 2958"/>
                  <a:gd name="T10" fmla="*/ 1485 w 2971"/>
                  <a:gd name="T11" fmla="*/ 0 h 2958"/>
                  <a:gd name="T12" fmla="*/ 1485 w 2971"/>
                  <a:gd name="T13" fmla="*/ 120 h 2958"/>
                  <a:gd name="T14" fmla="*/ 1485 w 2971"/>
                  <a:gd name="T15" fmla="*/ 120 h 2958"/>
                  <a:gd name="T16" fmla="*/ 2843 w 2971"/>
                  <a:gd name="T17" fmla="*/ 1478 h 2958"/>
                  <a:gd name="T18" fmla="*/ 1485 w 2971"/>
                  <a:gd name="T19" fmla="*/ 2830 h 2958"/>
                  <a:gd name="T20" fmla="*/ 122 w 2971"/>
                  <a:gd name="T21" fmla="*/ 1478 h 2958"/>
                  <a:gd name="T22" fmla="*/ 1485 w 2971"/>
                  <a:gd name="T23" fmla="*/ 120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71" h="2958">
                    <a:moveTo>
                      <a:pt x="1485" y="0"/>
                    </a:moveTo>
                    <a:lnTo>
                      <a:pt x="1485" y="0"/>
                    </a:lnTo>
                    <a:cubicBezTo>
                      <a:pt x="661" y="0"/>
                      <a:pt x="0" y="658"/>
                      <a:pt x="0" y="1478"/>
                    </a:cubicBezTo>
                    <a:cubicBezTo>
                      <a:pt x="0" y="2293"/>
                      <a:pt x="661" y="2958"/>
                      <a:pt x="1485" y="2958"/>
                    </a:cubicBezTo>
                    <a:cubicBezTo>
                      <a:pt x="2303" y="2958"/>
                      <a:pt x="2971" y="2293"/>
                      <a:pt x="2971" y="1478"/>
                    </a:cubicBezTo>
                    <a:cubicBezTo>
                      <a:pt x="2971" y="658"/>
                      <a:pt x="2303" y="0"/>
                      <a:pt x="1485" y="0"/>
                    </a:cubicBezTo>
                    <a:close/>
                    <a:moveTo>
                      <a:pt x="1485" y="120"/>
                    </a:moveTo>
                    <a:lnTo>
                      <a:pt x="1485" y="120"/>
                    </a:lnTo>
                    <a:cubicBezTo>
                      <a:pt x="2234" y="120"/>
                      <a:pt x="2843" y="728"/>
                      <a:pt x="2843" y="1478"/>
                    </a:cubicBezTo>
                    <a:cubicBezTo>
                      <a:pt x="2843" y="2224"/>
                      <a:pt x="2234" y="2830"/>
                      <a:pt x="1485" y="2830"/>
                    </a:cubicBezTo>
                    <a:cubicBezTo>
                      <a:pt x="731" y="2830"/>
                      <a:pt x="122" y="2224"/>
                      <a:pt x="122" y="1478"/>
                    </a:cubicBezTo>
                    <a:cubicBezTo>
                      <a:pt x="122" y="728"/>
                      <a:pt x="731" y="120"/>
                      <a:pt x="1485" y="1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9">
                <a:extLst>
                  <a:ext uri="{FF2B5EF4-FFF2-40B4-BE49-F238E27FC236}">
                    <a16:creationId xmlns:a16="http://schemas.microsoft.com/office/drawing/2014/main" id="{F312C649-C4B2-4F61-8760-5103F8D4FE14}"/>
                  </a:ext>
                </a:extLst>
              </p:cNvPr>
              <p:cNvSpPr>
                <a:spLocks noEditPoints="1"/>
              </p:cNvSpPr>
              <p:nvPr/>
            </p:nvSpPr>
            <p:spPr bwMode="auto">
              <a:xfrm>
                <a:off x="7034213" y="2527300"/>
                <a:ext cx="558800" cy="495300"/>
              </a:xfrm>
              <a:custGeom>
                <a:avLst/>
                <a:gdLst>
                  <a:gd name="T0" fmla="*/ 358 w 586"/>
                  <a:gd name="T1" fmla="*/ 375 h 518"/>
                  <a:gd name="T2" fmla="*/ 358 w 586"/>
                  <a:gd name="T3" fmla="*/ 375 h 518"/>
                  <a:gd name="T4" fmla="*/ 289 w 586"/>
                  <a:gd name="T5" fmla="*/ 444 h 518"/>
                  <a:gd name="T6" fmla="*/ 143 w 586"/>
                  <a:gd name="T7" fmla="*/ 444 h 518"/>
                  <a:gd name="T8" fmla="*/ 74 w 586"/>
                  <a:gd name="T9" fmla="*/ 375 h 518"/>
                  <a:gd name="T10" fmla="*/ 74 w 586"/>
                  <a:gd name="T11" fmla="*/ 293 h 518"/>
                  <a:gd name="T12" fmla="*/ 185 w 586"/>
                  <a:gd name="T13" fmla="*/ 404 h 518"/>
                  <a:gd name="T14" fmla="*/ 188 w 586"/>
                  <a:gd name="T15" fmla="*/ 406 h 518"/>
                  <a:gd name="T16" fmla="*/ 214 w 586"/>
                  <a:gd name="T17" fmla="*/ 414 h 518"/>
                  <a:gd name="T18" fmla="*/ 241 w 586"/>
                  <a:gd name="T19" fmla="*/ 406 h 518"/>
                  <a:gd name="T20" fmla="*/ 243 w 586"/>
                  <a:gd name="T21" fmla="*/ 404 h 518"/>
                  <a:gd name="T22" fmla="*/ 358 w 586"/>
                  <a:gd name="T23" fmla="*/ 290 h 518"/>
                  <a:gd name="T24" fmla="*/ 358 w 586"/>
                  <a:gd name="T25" fmla="*/ 375 h 518"/>
                  <a:gd name="T26" fmla="*/ 358 w 586"/>
                  <a:gd name="T27" fmla="*/ 375 h 518"/>
                  <a:gd name="T28" fmla="*/ 143 w 586"/>
                  <a:gd name="T29" fmla="*/ 160 h 518"/>
                  <a:gd name="T30" fmla="*/ 143 w 586"/>
                  <a:gd name="T31" fmla="*/ 160 h 518"/>
                  <a:gd name="T32" fmla="*/ 289 w 586"/>
                  <a:gd name="T33" fmla="*/ 160 h 518"/>
                  <a:gd name="T34" fmla="*/ 343 w 586"/>
                  <a:gd name="T35" fmla="*/ 184 h 518"/>
                  <a:gd name="T36" fmla="*/ 214 w 586"/>
                  <a:gd name="T37" fmla="*/ 311 h 518"/>
                  <a:gd name="T38" fmla="*/ 129 w 586"/>
                  <a:gd name="T39" fmla="*/ 227 h 518"/>
                  <a:gd name="T40" fmla="*/ 74 w 586"/>
                  <a:gd name="T41" fmla="*/ 224 h 518"/>
                  <a:gd name="T42" fmla="*/ 143 w 586"/>
                  <a:gd name="T43" fmla="*/ 160 h 518"/>
                  <a:gd name="T44" fmla="*/ 143 w 586"/>
                  <a:gd name="T45" fmla="*/ 160 h 518"/>
                  <a:gd name="T46" fmla="*/ 586 w 586"/>
                  <a:gd name="T47" fmla="*/ 46 h 518"/>
                  <a:gd name="T48" fmla="*/ 586 w 586"/>
                  <a:gd name="T49" fmla="*/ 46 h 518"/>
                  <a:gd name="T50" fmla="*/ 573 w 586"/>
                  <a:gd name="T51" fmla="*/ 16 h 518"/>
                  <a:gd name="T52" fmla="*/ 573 w 586"/>
                  <a:gd name="T53" fmla="*/ 16 h 518"/>
                  <a:gd name="T54" fmla="*/ 513 w 586"/>
                  <a:gd name="T55" fmla="*/ 16 h 518"/>
                  <a:gd name="T56" fmla="*/ 396 w 586"/>
                  <a:gd name="T57" fmla="*/ 132 h 518"/>
                  <a:gd name="T58" fmla="*/ 289 w 586"/>
                  <a:gd name="T59" fmla="*/ 86 h 518"/>
                  <a:gd name="T60" fmla="*/ 143 w 586"/>
                  <a:gd name="T61" fmla="*/ 86 h 518"/>
                  <a:gd name="T62" fmla="*/ 0 w 586"/>
                  <a:gd name="T63" fmla="*/ 229 h 518"/>
                  <a:gd name="T64" fmla="*/ 0 w 586"/>
                  <a:gd name="T65" fmla="*/ 375 h 518"/>
                  <a:gd name="T66" fmla="*/ 143 w 586"/>
                  <a:gd name="T67" fmla="*/ 518 h 518"/>
                  <a:gd name="T68" fmla="*/ 289 w 586"/>
                  <a:gd name="T69" fmla="*/ 518 h 518"/>
                  <a:gd name="T70" fmla="*/ 432 w 586"/>
                  <a:gd name="T71" fmla="*/ 375 h 518"/>
                  <a:gd name="T72" fmla="*/ 432 w 586"/>
                  <a:gd name="T73" fmla="*/ 229 h 518"/>
                  <a:gd name="T74" fmla="*/ 431 w 586"/>
                  <a:gd name="T75" fmla="*/ 218 h 518"/>
                  <a:gd name="T76" fmla="*/ 573 w 586"/>
                  <a:gd name="T77" fmla="*/ 77 h 518"/>
                  <a:gd name="T78" fmla="*/ 586 w 586"/>
                  <a:gd name="T79" fmla="*/ 4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6" h="518">
                    <a:moveTo>
                      <a:pt x="358" y="375"/>
                    </a:moveTo>
                    <a:lnTo>
                      <a:pt x="358" y="375"/>
                    </a:lnTo>
                    <a:cubicBezTo>
                      <a:pt x="358" y="438"/>
                      <a:pt x="305" y="443"/>
                      <a:pt x="289" y="444"/>
                    </a:cubicBezTo>
                    <a:lnTo>
                      <a:pt x="143" y="444"/>
                    </a:lnTo>
                    <a:cubicBezTo>
                      <a:pt x="80" y="444"/>
                      <a:pt x="74" y="391"/>
                      <a:pt x="74" y="375"/>
                    </a:cubicBezTo>
                    <a:lnTo>
                      <a:pt x="74" y="293"/>
                    </a:lnTo>
                    <a:lnTo>
                      <a:pt x="185" y="404"/>
                    </a:lnTo>
                    <a:lnTo>
                      <a:pt x="188" y="406"/>
                    </a:lnTo>
                    <a:cubicBezTo>
                      <a:pt x="194" y="409"/>
                      <a:pt x="202" y="414"/>
                      <a:pt x="214" y="414"/>
                    </a:cubicBezTo>
                    <a:cubicBezTo>
                      <a:pt x="225" y="414"/>
                      <a:pt x="234" y="410"/>
                      <a:pt x="241" y="406"/>
                    </a:cubicBezTo>
                    <a:lnTo>
                      <a:pt x="243" y="404"/>
                    </a:lnTo>
                    <a:lnTo>
                      <a:pt x="358" y="290"/>
                    </a:lnTo>
                    <a:lnTo>
                      <a:pt x="358" y="375"/>
                    </a:lnTo>
                    <a:lnTo>
                      <a:pt x="358" y="375"/>
                    </a:lnTo>
                    <a:close/>
                    <a:moveTo>
                      <a:pt x="143" y="160"/>
                    </a:moveTo>
                    <a:lnTo>
                      <a:pt x="143" y="160"/>
                    </a:lnTo>
                    <a:lnTo>
                      <a:pt x="289" y="160"/>
                    </a:lnTo>
                    <a:cubicBezTo>
                      <a:pt x="317" y="160"/>
                      <a:pt x="334" y="170"/>
                      <a:pt x="343" y="184"/>
                    </a:cubicBezTo>
                    <a:lnTo>
                      <a:pt x="214" y="311"/>
                    </a:lnTo>
                    <a:lnTo>
                      <a:pt x="129" y="227"/>
                    </a:lnTo>
                    <a:cubicBezTo>
                      <a:pt x="114" y="213"/>
                      <a:pt x="91" y="212"/>
                      <a:pt x="74" y="224"/>
                    </a:cubicBezTo>
                    <a:cubicBezTo>
                      <a:pt x="77" y="166"/>
                      <a:pt x="127" y="160"/>
                      <a:pt x="143" y="160"/>
                    </a:cubicBezTo>
                    <a:lnTo>
                      <a:pt x="143" y="160"/>
                    </a:lnTo>
                    <a:close/>
                    <a:moveTo>
                      <a:pt x="586" y="46"/>
                    </a:moveTo>
                    <a:lnTo>
                      <a:pt x="586" y="46"/>
                    </a:lnTo>
                    <a:cubicBezTo>
                      <a:pt x="586" y="35"/>
                      <a:pt x="581" y="24"/>
                      <a:pt x="573" y="16"/>
                    </a:cubicBezTo>
                    <a:lnTo>
                      <a:pt x="573" y="16"/>
                    </a:lnTo>
                    <a:cubicBezTo>
                      <a:pt x="557" y="0"/>
                      <a:pt x="529" y="0"/>
                      <a:pt x="513" y="16"/>
                    </a:cubicBezTo>
                    <a:lnTo>
                      <a:pt x="396" y="132"/>
                    </a:lnTo>
                    <a:cubicBezTo>
                      <a:pt x="373" y="105"/>
                      <a:pt x="339" y="86"/>
                      <a:pt x="289" y="86"/>
                    </a:cubicBezTo>
                    <a:lnTo>
                      <a:pt x="143" y="86"/>
                    </a:lnTo>
                    <a:cubicBezTo>
                      <a:pt x="85" y="86"/>
                      <a:pt x="0" y="124"/>
                      <a:pt x="0" y="229"/>
                    </a:cubicBezTo>
                    <a:lnTo>
                      <a:pt x="0" y="375"/>
                    </a:lnTo>
                    <a:cubicBezTo>
                      <a:pt x="0" y="432"/>
                      <a:pt x="38" y="518"/>
                      <a:pt x="143" y="518"/>
                    </a:cubicBezTo>
                    <a:lnTo>
                      <a:pt x="289" y="518"/>
                    </a:lnTo>
                    <a:cubicBezTo>
                      <a:pt x="346" y="518"/>
                      <a:pt x="432" y="480"/>
                      <a:pt x="432" y="375"/>
                    </a:cubicBezTo>
                    <a:lnTo>
                      <a:pt x="432" y="229"/>
                    </a:lnTo>
                    <a:cubicBezTo>
                      <a:pt x="432" y="225"/>
                      <a:pt x="431" y="221"/>
                      <a:pt x="431" y="218"/>
                    </a:cubicBezTo>
                    <a:lnTo>
                      <a:pt x="573" y="77"/>
                    </a:lnTo>
                    <a:cubicBezTo>
                      <a:pt x="581" y="69"/>
                      <a:pt x="586" y="58"/>
                      <a:pt x="586" y="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0">
                <a:extLst>
                  <a:ext uri="{FF2B5EF4-FFF2-40B4-BE49-F238E27FC236}">
                    <a16:creationId xmlns:a16="http://schemas.microsoft.com/office/drawing/2014/main" id="{7BB6143F-34A6-4EAB-8B87-9BE924E7C7FB}"/>
                  </a:ext>
                </a:extLst>
              </p:cNvPr>
              <p:cNvSpPr>
                <a:spLocks noEditPoints="1"/>
              </p:cNvSpPr>
              <p:nvPr/>
            </p:nvSpPr>
            <p:spPr bwMode="auto">
              <a:xfrm>
                <a:off x="7034213" y="3589338"/>
                <a:ext cx="558800" cy="495300"/>
              </a:xfrm>
              <a:custGeom>
                <a:avLst/>
                <a:gdLst>
                  <a:gd name="T0" fmla="*/ 358 w 586"/>
                  <a:gd name="T1" fmla="*/ 375 h 517"/>
                  <a:gd name="T2" fmla="*/ 358 w 586"/>
                  <a:gd name="T3" fmla="*/ 375 h 517"/>
                  <a:gd name="T4" fmla="*/ 289 w 586"/>
                  <a:gd name="T5" fmla="*/ 443 h 517"/>
                  <a:gd name="T6" fmla="*/ 143 w 586"/>
                  <a:gd name="T7" fmla="*/ 443 h 517"/>
                  <a:gd name="T8" fmla="*/ 74 w 586"/>
                  <a:gd name="T9" fmla="*/ 375 h 517"/>
                  <a:gd name="T10" fmla="*/ 74 w 586"/>
                  <a:gd name="T11" fmla="*/ 293 h 517"/>
                  <a:gd name="T12" fmla="*/ 185 w 586"/>
                  <a:gd name="T13" fmla="*/ 404 h 517"/>
                  <a:gd name="T14" fmla="*/ 188 w 586"/>
                  <a:gd name="T15" fmla="*/ 406 h 517"/>
                  <a:gd name="T16" fmla="*/ 214 w 586"/>
                  <a:gd name="T17" fmla="*/ 414 h 517"/>
                  <a:gd name="T18" fmla="*/ 241 w 586"/>
                  <a:gd name="T19" fmla="*/ 405 h 517"/>
                  <a:gd name="T20" fmla="*/ 243 w 586"/>
                  <a:gd name="T21" fmla="*/ 404 h 517"/>
                  <a:gd name="T22" fmla="*/ 358 w 586"/>
                  <a:gd name="T23" fmla="*/ 290 h 517"/>
                  <a:gd name="T24" fmla="*/ 358 w 586"/>
                  <a:gd name="T25" fmla="*/ 375 h 517"/>
                  <a:gd name="T26" fmla="*/ 358 w 586"/>
                  <a:gd name="T27" fmla="*/ 375 h 517"/>
                  <a:gd name="T28" fmla="*/ 143 w 586"/>
                  <a:gd name="T29" fmla="*/ 160 h 517"/>
                  <a:gd name="T30" fmla="*/ 143 w 586"/>
                  <a:gd name="T31" fmla="*/ 160 h 517"/>
                  <a:gd name="T32" fmla="*/ 289 w 586"/>
                  <a:gd name="T33" fmla="*/ 160 h 517"/>
                  <a:gd name="T34" fmla="*/ 343 w 586"/>
                  <a:gd name="T35" fmla="*/ 183 h 517"/>
                  <a:gd name="T36" fmla="*/ 214 w 586"/>
                  <a:gd name="T37" fmla="*/ 311 h 517"/>
                  <a:gd name="T38" fmla="*/ 129 w 586"/>
                  <a:gd name="T39" fmla="*/ 227 h 517"/>
                  <a:gd name="T40" fmla="*/ 74 w 586"/>
                  <a:gd name="T41" fmla="*/ 223 h 517"/>
                  <a:gd name="T42" fmla="*/ 143 w 586"/>
                  <a:gd name="T43" fmla="*/ 160 h 517"/>
                  <a:gd name="T44" fmla="*/ 143 w 586"/>
                  <a:gd name="T45" fmla="*/ 160 h 517"/>
                  <a:gd name="T46" fmla="*/ 586 w 586"/>
                  <a:gd name="T47" fmla="*/ 46 h 517"/>
                  <a:gd name="T48" fmla="*/ 586 w 586"/>
                  <a:gd name="T49" fmla="*/ 46 h 517"/>
                  <a:gd name="T50" fmla="*/ 573 w 586"/>
                  <a:gd name="T51" fmla="*/ 16 h 517"/>
                  <a:gd name="T52" fmla="*/ 573 w 586"/>
                  <a:gd name="T53" fmla="*/ 16 h 517"/>
                  <a:gd name="T54" fmla="*/ 513 w 586"/>
                  <a:gd name="T55" fmla="*/ 16 h 517"/>
                  <a:gd name="T56" fmla="*/ 396 w 586"/>
                  <a:gd name="T57" fmla="*/ 132 h 517"/>
                  <a:gd name="T58" fmla="*/ 289 w 586"/>
                  <a:gd name="T59" fmla="*/ 86 h 517"/>
                  <a:gd name="T60" fmla="*/ 143 w 586"/>
                  <a:gd name="T61" fmla="*/ 86 h 517"/>
                  <a:gd name="T62" fmla="*/ 0 w 586"/>
                  <a:gd name="T63" fmla="*/ 228 h 517"/>
                  <a:gd name="T64" fmla="*/ 0 w 586"/>
                  <a:gd name="T65" fmla="*/ 375 h 517"/>
                  <a:gd name="T66" fmla="*/ 143 w 586"/>
                  <a:gd name="T67" fmla="*/ 517 h 517"/>
                  <a:gd name="T68" fmla="*/ 289 w 586"/>
                  <a:gd name="T69" fmla="*/ 517 h 517"/>
                  <a:gd name="T70" fmla="*/ 432 w 586"/>
                  <a:gd name="T71" fmla="*/ 375 h 517"/>
                  <a:gd name="T72" fmla="*/ 432 w 586"/>
                  <a:gd name="T73" fmla="*/ 228 h 517"/>
                  <a:gd name="T74" fmla="*/ 431 w 586"/>
                  <a:gd name="T75" fmla="*/ 217 h 517"/>
                  <a:gd name="T76" fmla="*/ 573 w 586"/>
                  <a:gd name="T77" fmla="*/ 76 h 517"/>
                  <a:gd name="T78" fmla="*/ 586 w 586"/>
                  <a:gd name="T79" fmla="*/ 46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6" h="517">
                    <a:moveTo>
                      <a:pt x="358" y="375"/>
                    </a:moveTo>
                    <a:lnTo>
                      <a:pt x="358" y="375"/>
                    </a:lnTo>
                    <a:cubicBezTo>
                      <a:pt x="358" y="437"/>
                      <a:pt x="305" y="443"/>
                      <a:pt x="289" y="443"/>
                    </a:cubicBezTo>
                    <a:lnTo>
                      <a:pt x="143" y="443"/>
                    </a:lnTo>
                    <a:cubicBezTo>
                      <a:pt x="80" y="443"/>
                      <a:pt x="74" y="391"/>
                      <a:pt x="74" y="375"/>
                    </a:cubicBezTo>
                    <a:lnTo>
                      <a:pt x="74" y="293"/>
                    </a:lnTo>
                    <a:lnTo>
                      <a:pt x="185" y="404"/>
                    </a:lnTo>
                    <a:lnTo>
                      <a:pt x="188" y="406"/>
                    </a:lnTo>
                    <a:cubicBezTo>
                      <a:pt x="194" y="409"/>
                      <a:pt x="202" y="414"/>
                      <a:pt x="214" y="414"/>
                    </a:cubicBezTo>
                    <a:cubicBezTo>
                      <a:pt x="225" y="414"/>
                      <a:pt x="234" y="410"/>
                      <a:pt x="241" y="405"/>
                    </a:cubicBezTo>
                    <a:lnTo>
                      <a:pt x="243" y="404"/>
                    </a:lnTo>
                    <a:lnTo>
                      <a:pt x="358" y="290"/>
                    </a:lnTo>
                    <a:lnTo>
                      <a:pt x="358" y="375"/>
                    </a:lnTo>
                    <a:lnTo>
                      <a:pt x="358" y="375"/>
                    </a:lnTo>
                    <a:close/>
                    <a:moveTo>
                      <a:pt x="143" y="160"/>
                    </a:moveTo>
                    <a:lnTo>
                      <a:pt x="143" y="160"/>
                    </a:lnTo>
                    <a:lnTo>
                      <a:pt x="289" y="160"/>
                    </a:lnTo>
                    <a:cubicBezTo>
                      <a:pt x="317" y="160"/>
                      <a:pt x="334" y="170"/>
                      <a:pt x="343" y="183"/>
                    </a:cubicBezTo>
                    <a:lnTo>
                      <a:pt x="214" y="311"/>
                    </a:lnTo>
                    <a:lnTo>
                      <a:pt x="129" y="227"/>
                    </a:lnTo>
                    <a:cubicBezTo>
                      <a:pt x="114" y="213"/>
                      <a:pt x="91" y="212"/>
                      <a:pt x="74" y="223"/>
                    </a:cubicBezTo>
                    <a:cubicBezTo>
                      <a:pt x="77" y="166"/>
                      <a:pt x="127" y="160"/>
                      <a:pt x="143" y="160"/>
                    </a:cubicBezTo>
                    <a:lnTo>
                      <a:pt x="143" y="160"/>
                    </a:lnTo>
                    <a:close/>
                    <a:moveTo>
                      <a:pt x="586" y="46"/>
                    </a:moveTo>
                    <a:lnTo>
                      <a:pt x="586" y="46"/>
                    </a:lnTo>
                    <a:cubicBezTo>
                      <a:pt x="586" y="35"/>
                      <a:pt x="581" y="24"/>
                      <a:pt x="573" y="16"/>
                    </a:cubicBezTo>
                    <a:lnTo>
                      <a:pt x="573" y="16"/>
                    </a:lnTo>
                    <a:cubicBezTo>
                      <a:pt x="557" y="0"/>
                      <a:pt x="529" y="0"/>
                      <a:pt x="513" y="16"/>
                    </a:cubicBezTo>
                    <a:lnTo>
                      <a:pt x="396" y="132"/>
                    </a:lnTo>
                    <a:cubicBezTo>
                      <a:pt x="373" y="105"/>
                      <a:pt x="339" y="86"/>
                      <a:pt x="289" y="86"/>
                    </a:cubicBezTo>
                    <a:lnTo>
                      <a:pt x="143" y="86"/>
                    </a:lnTo>
                    <a:cubicBezTo>
                      <a:pt x="85" y="86"/>
                      <a:pt x="0" y="124"/>
                      <a:pt x="0" y="228"/>
                    </a:cubicBezTo>
                    <a:lnTo>
                      <a:pt x="0" y="375"/>
                    </a:lnTo>
                    <a:cubicBezTo>
                      <a:pt x="0" y="432"/>
                      <a:pt x="38" y="517"/>
                      <a:pt x="143" y="517"/>
                    </a:cubicBezTo>
                    <a:lnTo>
                      <a:pt x="289" y="517"/>
                    </a:lnTo>
                    <a:cubicBezTo>
                      <a:pt x="346" y="517"/>
                      <a:pt x="432" y="479"/>
                      <a:pt x="432" y="375"/>
                    </a:cubicBezTo>
                    <a:lnTo>
                      <a:pt x="432" y="228"/>
                    </a:lnTo>
                    <a:cubicBezTo>
                      <a:pt x="432" y="225"/>
                      <a:pt x="431" y="221"/>
                      <a:pt x="431" y="217"/>
                    </a:cubicBezTo>
                    <a:lnTo>
                      <a:pt x="573" y="76"/>
                    </a:lnTo>
                    <a:cubicBezTo>
                      <a:pt x="581" y="68"/>
                      <a:pt x="586" y="57"/>
                      <a:pt x="586" y="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1">
                <a:extLst>
                  <a:ext uri="{FF2B5EF4-FFF2-40B4-BE49-F238E27FC236}">
                    <a16:creationId xmlns:a16="http://schemas.microsoft.com/office/drawing/2014/main" id="{22C72EA2-CDDF-424D-94AA-234691B5F11A}"/>
                  </a:ext>
                </a:extLst>
              </p:cNvPr>
              <p:cNvSpPr>
                <a:spLocks noEditPoints="1"/>
              </p:cNvSpPr>
              <p:nvPr/>
            </p:nvSpPr>
            <p:spPr bwMode="auto">
              <a:xfrm>
                <a:off x="7034213" y="3057525"/>
                <a:ext cx="558800" cy="495300"/>
              </a:xfrm>
              <a:custGeom>
                <a:avLst/>
                <a:gdLst>
                  <a:gd name="T0" fmla="*/ 358 w 586"/>
                  <a:gd name="T1" fmla="*/ 376 h 518"/>
                  <a:gd name="T2" fmla="*/ 358 w 586"/>
                  <a:gd name="T3" fmla="*/ 376 h 518"/>
                  <a:gd name="T4" fmla="*/ 289 w 586"/>
                  <a:gd name="T5" fmla="*/ 444 h 518"/>
                  <a:gd name="T6" fmla="*/ 143 w 586"/>
                  <a:gd name="T7" fmla="*/ 444 h 518"/>
                  <a:gd name="T8" fmla="*/ 74 w 586"/>
                  <a:gd name="T9" fmla="*/ 376 h 518"/>
                  <a:gd name="T10" fmla="*/ 74 w 586"/>
                  <a:gd name="T11" fmla="*/ 294 h 518"/>
                  <a:gd name="T12" fmla="*/ 185 w 586"/>
                  <a:gd name="T13" fmla="*/ 405 h 518"/>
                  <a:gd name="T14" fmla="*/ 188 w 586"/>
                  <a:gd name="T15" fmla="*/ 407 h 518"/>
                  <a:gd name="T16" fmla="*/ 214 w 586"/>
                  <a:gd name="T17" fmla="*/ 415 h 518"/>
                  <a:gd name="T18" fmla="*/ 241 w 586"/>
                  <a:gd name="T19" fmla="*/ 406 h 518"/>
                  <a:gd name="T20" fmla="*/ 243 w 586"/>
                  <a:gd name="T21" fmla="*/ 405 h 518"/>
                  <a:gd name="T22" fmla="*/ 358 w 586"/>
                  <a:gd name="T23" fmla="*/ 291 h 518"/>
                  <a:gd name="T24" fmla="*/ 358 w 586"/>
                  <a:gd name="T25" fmla="*/ 376 h 518"/>
                  <a:gd name="T26" fmla="*/ 358 w 586"/>
                  <a:gd name="T27" fmla="*/ 376 h 518"/>
                  <a:gd name="T28" fmla="*/ 143 w 586"/>
                  <a:gd name="T29" fmla="*/ 161 h 518"/>
                  <a:gd name="T30" fmla="*/ 143 w 586"/>
                  <a:gd name="T31" fmla="*/ 161 h 518"/>
                  <a:gd name="T32" fmla="*/ 289 w 586"/>
                  <a:gd name="T33" fmla="*/ 161 h 518"/>
                  <a:gd name="T34" fmla="*/ 343 w 586"/>
                  <a:gd name="T35" fmla="*/ 184 h 518"/>
                  <a:gd name="T36" fmla="*/ 214 w 586"/>
                  <a:gd name="T37" fmla="*/ 312 h 518"/>
                  <a:gd name="T38" fmla="*/ 129 w 586"/>
                  <a:gd name="T39" fmla="*/ 228 h 518"/>
                  <a:gd name="T40" fmla="*/ 74 w 586"/>
                  <a:gd name="T41" fmla="*/ 224 h 518"/>
                  <a:gd name="T42" fmla="*/ 143 w 586"/>
                  <a:gd name="T43" fmla="*/ 161 h 518"/>
                  <a:gd name="T44" fmla="*/ 143 w 586"/>
                  <a:gd name="T45" fmla="*/ 161 h 518"/>
                  <a:gd name="T46" fmla="*/ 586 w 586"/>
                  <a:gd name="T47" fmla="*/ 47 h 518"/>
                  <a:gd name="T48" fmla="*/ 586 w 586"/>
                  <a:gd name="T49" fmla="*/ 47 h 518"/>
                  <a:gd name="T50" fmla="*/ 573 w 586"/>
                  <a:gd name="T51" fmla="*/ 17 h 518"/>
                  <a:gd name="T52" fmla="*/ 573 w 586"/>
                  <a:gd name="T53" fmla="*/ 17 h 518"/>
                  <a:gd name="T54" fmla="*/ 513 w 586"/>
                  <a:gd name="T55" fmla="*/ 17 h 518"/>
                  <a:gd name="T56" fmla="*/ 396 w 586"/>
                  <a:gd name="T57" fmla="*/ 132 h 518"/>
                  <a:gd name="T58" fmla="*/ 289 w 586"/>
                  <a:gd name="T59" fmla="*/ 87 h 518"/>
                  <a:gd name="T60" fmla="*/ 143 w 586"/>
                  <a:gd name="T61" fmla="*/ 87 h 518"/>
                  <a:gd name="T62" fmla="*/ 0 w 586"/>
                  <a:gd name="T63" fmla="*/ 229 h 518"/>
                  <a:gd name="T64" fmla="*/ 0 w 586"/>
                  <a:gd name="T65" fmla="*/ 376 h 518"/>
                  <a:gd name="T66" fmla="*/ 143 w 586"/>
                  <a:gd name="T67" fmla="*/ 518 h 518"/>
                  <a:gd name="T68" fmla="*/ 289 w 586"/>
                  <a:gd name="T69" fmla="*/ 518 h 518"/>
                  <a:gd name="T70" fmla="*/ 432 w 586"/>
                  <a:gd name="T71" fmla="*/ 376 h 518"/>
                  <a:gd name="T72" fmla="*/ 432 w 586"/>
                  <a:gd name="T73" fmla="*/ 229 h 518"/>
                  <a:gd name="T74" fmla="*/ 431 w 586"/>
                  <a:gd name="T75" fmla="*/ 218 h 518"/>
                  <a:gd name="T76" fmla="*/ 573 w 586"/>
                  <a:gd name="T77" fmla="*/ 77 h 518"/>
                  <a:gd name="T78" fmla="*/ 586 w 586"/>
                  <a:gd name="T79" fmla="*/ 4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6" h="518">
                    <a:moveTo>
                      <a:pt x="358" y="376"/>
                    </a:moveTo>
                    <a:lnTo>
                      <a:pt x="358" y="376"/>
                    </a:lnTo>
                    <a:cubicBezTo>
                      <a:pt x="358" y="438"/>
                      <a:pt x="305" y="444"/>
                      <a:pt x="289" y="444"/>
                    </a:cubicBezTo>
                    <a:lnTo>
                      <a:pt x="143" y="444"/>
                    </a:lnTo>
                    <a:cubicBezTo>
                      <a:pt x="80" y="444"/>
                      <a:pt x="74" y="391"/>
                      <a:pt x="74" y="376"/>
                    </a:cubicBezTo>
                    <a:lnTo>
                      <a:pt x="74" y="294"/>
                    </a:lnTo>
                    <a:lnTo>
                      <a:pt x="185" y="405"/>
                    </a:lnTo>
                    <a:lnTo>
                      <a:pt x="188" y="407"/>
                    </a:lnTo>
                    <a:cubicBezTo>
                      <a:pt x="194" y="410"/>
                      <a:pt x="202" y="415"/>
                      <a:pt x="214" y="415"/>
                    </a:cubicBezTo>
                    <a:cubicBezTo>
                      <a:pt x="225" y="415"/>
                      <a:pt x="234" y="411"/>
                      <a:pt x="241" y="406"/>
                    </a:cubicBezTo>
                    <a:lnTo>
                      <a:pt x="243" y="405"/>
                    </a:lnTo>
                    <a:lnTo>
                      <a:pt x="358" y="291"/>
                    </a:lnTo>
                    <a:lnTo>
                      <a:pt x="358" y="376"/>
                    </a:lnTo>
                    <a:lnTo>
                      <a:pt x="358" y="376"/>
                    </a:lnTo>
                    <a:close/>
                    <a:moveTo>
                      <a:pt x="143" y="161"/>
                    </a:moveTo>
                    <a:lnTo>
                      <a:pt x="143" y="161"/>
                    </a:lnTo>
                    <a:lnTo>
                      <a:pt x="289" y="161"/>
                    </a:lnTo>
                    <a:cubicBezTo>
                      <a:pt x="317" y="161"/>
                      <a:pt x="334" y="171"/>
                      <a:pt x="343" y="184"/>
                    </a:cubicBezTo>
                    <a:lnTo>
                      <a:pt x="214" y="312"/>
                    </a:lnTo>
                    <a:lnTo>
                      <a:pt x="129" y="228"/>
                    </a:lnTo>
                    <a:cubicBezTo>
                      <a:pt x="114" y="214"/>
                      <a:pt x="91" y="213"/>
                      <a:pt x="74" y="224"/>
                    </a:cubicBezTo>
                    <a:cubicBezTo>
                      <a:pt x="77" y="166"/>
                      <a:pt x="127" y="161"/>
                      <a:pt x="143" y="161"/>
                    </a:cubicBezTo>
                    <a:lnTo>
                      <a:pt x="143" y="161"/>
                    </a:lnTo>
                    <a:close/>
                    <a:moveTo>
                      <a:pt x="586" y="47"/>
                    </a:moveTo>
                    <a:lnTo>
                      <a:pt x="586" y="47"/>
                    </a:lnTo>
                    <a:cubicBezTo>
                      <a:pt x="586" y="36"/>
                      <a:pt x="581" y="25"/>
                      <a:pt x="573" y="17"/>
                    </a:cubicBezTo>
                    <a:lnTo>
                      <a:pt x="573" y="17"/>
                    </a:lnTo>
                    <a:cubicBezTo>
                      <a:pt x="557" y="0"/>
                      <a:pt x="529" y="0"/>
                      <a:pt x="513" y="17"/>
                    </a:cubicBezTo>
                    <a:lnTo>
                      <a:pt x="396" y="132"/>
                    </a:lnTo>
                    <a:cubicBezTo>
                      <a:pt x="373" y="106"/>
                      <a:pt x="339" y="87"/>
                      <a:pt x="289" y="87"/>
                    </a:cubicBezTo>
                    <a:lnTo>
                      <a:pt x="143" y="87"/>
                    </a:lnTo>
                    <a:cubicBezTo>
                      <a:pt x="85" y="87"/>
                      <a:pt x="0" y="125"/>
                      <a:pt x="0" y="229"/>
                    </a:cubicBezTo>
                    <a:lnTo>
                      <a:pt x="0" y="376"/>
                    </a:lnTo>
                    <a:cubicBezTo>
                      <a:pt x="0" y="433"/>
                      <a:pt x="38" y="518"/>
                      <a:pt x="143" y="518"/>
                    </a:cubicBezTo>
                    <a:lnTo>
                      <a:pt x="289" y="518"/>
                    </a:lnTo>
                    <a:cubicBezTo>
                      <a:pt x="346" y="518"/>
                      <a:pt x="432" y="480"/>
                      <a:pt x="432" y="376"/>
                    </a:cubicBezTo>
                    <a:lnTo>
                      <a:pt x="432" y="229"/>
                    </a:lnTo>
                    <a:cubicBezTo>
                      <a:pt x="432" y="226"/>
                      <a:pt x="431" y="222"/>
                      <a:pt x="431" y="218"/>
                    </a:cubicBezTo>
                    <a:lnTo>
                      <a:pt x="573" y="77"/>
                    </a:lnTo>
                    <a:cubicBezTo>
                      <a:pt x="581" y="69"/>
                      <a:pt x="586" y="58"/>
                      <a:pt x="586" y="4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82" name="Group 281">
              <a:extLst>
                <a:ext uri="{FF2B5EF4-FFF2-40B4-BE49-F238E27FC236}">
                  <a16:creationId xmlns:a16="http://schemas.microsoft.com/office/drawing/2014/main" id="{485CD677-5807-4615-8111-7F7F7FE521C2}"/>
                </a:ext>
              </a:extLst>
            </p:cNvPr>
            <p:cNvGrpSpPr/>
            <p:nvPr/>
          </p:nvGrpSpPr>
          <p:grpSpPr>
            <a:xfrm>
              <a:off x="2207788" y="3366668"/>
              <a:ext cx="2833688" cy="2830513"/>
              <a:chOff x="3060700" y="2017713"/>
              <a:chExt cx="2833688" cy="2830513"/>
            </a:xfrm>
            <a:grpFill/>
          </p:grpSpPr>
          <p:sp>
            <p:nvSpPr>
              <p:cNvPr id="283" name="Freeform 12">
                <a:extLst>
                  <a:ext uri="{FF2B5EF4-FFF2-40B4-BE49-F238E27FC236}">
                    <a16:creationId xmlns:a16="http://schemas.microsoft.com/office/drawing/2014/main" id="{FCBC3026-FE2F-4F94-9EF5-F8BC33BD6DD4}"/>
                  </a:ext>
                </a:extLst>
              </p:cNvPr>
              <p:cNvSpPr>
                <a:spLocks/>
              </p:cNvSpPr>
              <p:nvPr/>
            </p:nvSpPr>
            <p:spPr bwMode="auto">
              <a:xfrm>
                <a:off x="3870325" y="3867150"/>
                <a:ext cx="271463" cy="146050"/>
              </a:xfrm>
              <a:custGeom>
                <a:avLst/>
                <a:gdLst>
                  <a:gd name="T0" fmla="*/ 167 w 284"/>
                  <a:gd name="T1" fmla="*/ 115 h 153"/>
                  <a:gd name="T2" fmla="*/ 167 w 284"/>
                  <a:gd name="T3" fmla="*/ 115 h 153"/>
                  <a:gd name="T4" fmla="*/ 140 w 284"/>
                  <a:gd name="T5" fmla="*/ 124 h 153"/>
                  <a:gd name="T6" fmla="*/ 114 w 284"/>
                  <a:gd name="T7" fmla="*/ 116 h 153"/>
                  <a:gd name="T8" fmla="*/ 112 w 284"/>
                  <a:gd name="T9" fmla="*/ 114 h 153"/>
                  <a:gd name="T10" fmla="*/ 0 w 284"/>
                  <a:gd name="T11" fmla="*/ 3 h 153"/>
                  <a:gd name="T12" fmla="*/ 0 w 284"/>
                  <a:gd name="T13" fmla="*/ 85 h 153"/>
                  <a:gd name="T14" fmla="*/ 69 w 284"/>
                  <a:gd name="T15" fmla="*/ 153 h 153"/>
                  <a:gd name="T16" fmla="*/ 215 w 284"/>
                  <a:gd name="T17" fmla="*/ 153 h 153"/>
                  <a:gd name="T18" fmla="*/ 284 w 284"/>
                  <a:gd name="T19" fmla="*/ 85 h 153"/>
                  <a:gd name="T20" fmla="*/ 284 w 284"/>
                  <a:gd name="T21" fmla="*/ 0 h 153"/>
                  <a:gd name="T22" fmla="*/ 169 w 284"/>
                  <a:gd name="T23" fmla="*/ 114 h 153"/>
                  <a:gd name="T24" fmla="*/ 167 w 284"/>
                  <a:gd name="T25" fmla="*/ 11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4" h="153">
                    <a:moveTo>
                      <a:pt x="167" y="115"/>
                    </a:moveTo>
                    <a:lnTo>
                      <a:pt x="167" y="115"/>
                    </a:lnTo>
                    <a:cubicBezTo>
                      <a:pt x="160" y="120"/>
                      <a:pt x="152" y="124"/>
                      <a:pt x="140" y="124"/>
                    </a:cubicBezTo>
                    <a:cubicBezTo>
                      <a:pt x="128" y="124"/>
                      <a:pt x="120" y="119"/>
                      <a:pt x="114" y="116"/>
                    </a:cubicBezTo>
                    <a:lnTo>
                      <a:pt x="112" y="114"/>
                    </a:lnTo>
                    <a:lnTo>
                      <a:pt x="0" y="3"/>
                    </a:lnTo>
                    <a:lnTo>
                      <a:pt x="0" y="85"/>
                    </a:lnTo>
                    <a:cubicBezTo>
                      <a:pt x="1" y="101"/>
                      <a:pt x="6" y="153"/>
                      <a:pt x="69" y="153"/>
                    </a:cubicBezTo>
                    <a:lnTo>
                      <a:pt x="215" y="153"/>
                    </a:lnTo>
                    <a:cubicBezTo>
                      <a:pt x="231" y="153"/>
                      <a:pt x="284" y="147"/>
                      <a:pt x="284" y="85"/>
                    </a:cubicBezTo>
                    <a:lnTo>
                      <a:pt x="284" y="0"/>
                    </a:lnTo>
                    <a:lnTo>
                      <a:pt x="169" y="114"/>
                    </a:lnTo>
                    <a:lnTo>
                      <a:pt x="167" y="1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3">
                <a:extLst>
                  <a:ext uri="{FF2B5EF4-FFF2-40B4-BE49-F238E27FC236}">
                    <a16:creationId xmlns:a16="http://schemas.microsoft.com/office/drawing/2014/main" id="{15C08BAF-494D-4D1B-8124-4000D2152EEC}"/>
                  </a:ext>
                </a:extLst>
              </p:cNvPr>
              <p:cNvSpPr>
                <a:spLocks/>
              </p:cNvSpPr>
              <p:nvPr/>
            </p:nvSpPr>
            <p:spPr bwMode="auto">
              <a:xfrm>
                <a:off x="3871913" y="3743325"/>
                <a:ext cx="255588" cy="144463"/>
              </a:xfrm>
              <a:custGeom>
                <a:avLst/>
                <a:gdLst>
                  <a:gd name="T0" fmla="*/ 54 w 269"/>
                  <a:gd name="T1" fmla="*/ 67 h 151"/>
                  <a:gd name="T2" fmla="*/ 54 w 269"/>
                  <a:gd name="T3" fmla="*/ 67 h 151"/>
                  <a:gd name="T4" fmla="*/ 139 w 269"/>
                  <a:gd name="T5" fmla="*/ 151 h 151"/>
                  <a:gd name="T6" fmla="*/ 269 w 269"/>
                  <a:gd name="T7" fmla="*/ 23 h 151"/>
                  <a:gd name="T8" fmla="*/ 214 w 269"/>
                  <a:gd name="T9" fmla="*/ 0 h 151"/>
                  <a:gd name="T10" fmla="*/ 68 w 269"/>
                  <a:gd name="T11" fmla="*/ 0 h 151"/>
                  <a:gd name="T12" fmla="*/ 0 w 269"/>
                  <a:gd name="T13" fmla="*/ 63 h 151"/>
                  <a:gd name="T14" fmla="*/ 54 w 269"/>
                  <a:gd name="T15" fmla="*/ 67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9" h="151">
                    <a:moveTo>
                      <a:pt x="54" y="67"/>
                    </a:moveTo>
                    <a:lnTo>
                      <a:pt x="54" y="67"/>
                    </a:lnTo>
                    <a:lnTo>
                      <a:pt x="139" y="151"/>
                    </a:lnTo>
                    <a:lnTo>
                      <a:pt x="269" y="23"/>
                    </a:lnTo>
                    <a:cubicBezTo>
                      <a:pt x="259" y="10"/>
                      <a:pt x="242" y="0"/>
                      <a:pt x="214" y="0"/>
                    </a:cubicBezTo>
                    <a:lnTo>
                      <a:pt x="68" y="0"/>
                    </a:lnTo>
                    <a:cubicBezTo>
                      <a:pt x="52" y="0"/>
                      <a:pt x="2" y="6"/>
                      <a:pt x="0" y="63"/>
                    </a:cubicBezTo>
                    <a:cubicBezTo>
                      <a:pt x="16" y="52"/>
                      <a:pt x="40" y="53"/>
                      <a:pt x="54" y="6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4">
                <a:extLst>
                  <a:ext uri="{FF2B5EF4-FFF2-40B4-BE49-F238E27FC236}">
                    <a16:creationId xmlns:a16="http://schemas.microsoft.com/office/drawing/2014/main" id="{F7B84ACD-8725-448A-9890-0B9E926F5064}"/>
                  </a:ext>
                </a:extLst>
              </p:cNvPr>
              <p:cNvSpPr>
                <a:spLocks/>
              </p:cNvSpPr>
              <p:nvPr/>
            </p:nvSpPr>
            <p:spPr bwMode="auto">
              <a:xfrm>
                <a:off x="3870325" y="3336925"/>
                <a:ext cx="271463" cy="146050"/>
              </a:xfrm>
              <a:custGeom>
                <a:avLst/>
                <a:gdLst>
                  <a:gd name="T0" fmla="*/ 69 w 284"/>
                  <a:gd name="T1" fmla="*/ 153 h 153"/>
                  <a:gd name="T2" fmla="*/ 69 w 284"/>
                  <a:gd name="T3" fmla="*/ 153 h 153"/>
                  <a:gd name="T4" fmla="*/ 215 w 284"/>
                  <a:gd name="T5" fmla="*/ 153 h 153"/>
                  <a:gd name="T6" fmla="*/ 284 w 284"/>
                  <a:gd name="T7" fmla="*/ 85 h 153"/>
                  <a:gd name="T8" fmla="*/ 284 w 284"/>
                  <a:gd name="T9" fmla="*/ 0 h 153"/>
                  <a:gd name="T10" fmla="*/ 169 w 284"/>
                  <a:gd name="T11" fmla="*/ 114 h 153"/>
                  <a:gd name="T12" fmla="*/ 167 w 284"/>
                  <a:gd name="T13" fmla="*/ 115 h 153"/>
                  <a:gd name="T14" fmla="*/ 140 w 284"/>
                  <a:gd name="T15" fmla="*/ 124 h 153"/>
                  <a:gd name="T16" fmla="*/ 114 w 284"/>
                  <a:gd name="T17" fmla="*/ 116 h 153"/>
                  <a:gd name="T18" fmla="*/ 112 w 284"/>
                  <a:gd name="T19" fmla="*/ 114 h 153"/>
                  <a:gd name="T20" fmla="*/ 0 w 284"/>
                  <a:gd name="T21" fmla="*/ 3 h 153"/>
                  <a:gd name="T22" fmla="*/ 0 w 284"/>
                  <a:gd name="T23" fmla="*/ 85 h 153"/>
                  <a:gd name="T24" fmla="*/ 69 w 284"/>
                  <a:gd name="T25"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4" h="153">
                    <a:moveTo>
                      <a:pt x="69" y="153"/>
                    </a:moveTo>
                    <a:lnTo>
                      <a:pt x="69" y="153"/>
                    </a:lnTo>
                    <a:lnTo>
                      <a:pt x="215" y="153"/>
                    </a:lnTo>
                    <a:cubicBezTo>
                      <a:pt x="231" y="153"/>
                      <a:pt x="284" y="147"/>
                      <a:pt x="284" y="85"/>
                    </a:cubicBezTo>
                    <a:lnTo>
                      <a:pt x="284" y="0"/>
                    </a:lnTo>
                    <a:lnTo>
                      <a:pt x="169" y="114"/>
                    </a:lnTo>
                    <a:lnTo>
                      <a:pt x="167" y="115"/>
                    </a:lnTo>
                    <a:cubicBezTo>
                      <a:pt x="160" y="120"/>
                      <a:pt x="152" y="124"/>
                      <a:pt x="140" y="124"/>
                    </a:cubicBezTo>
                    <a:cubicBezTo>
                      <a:pt x="128" y="124"/>
                      <a:pt x="120" y="119"/>
                      <a:pt x="114" y="116"/>
                    </a:cubicBezTo>
                    <a:lnTo>
                      <a:pt x="112" y="114"/>
                    </a:lnTo>
                    <a:lnTo>
                      <a:pt x="0" y="3"/>
                    </a:lnTo>
                    <a:lnTo>
                      <a:pt x="0" y="85"/>
                    </a:lnTo>
                    <a:cubicBezTo>
                      <a:pt x="1" y="100"/>
                      <a:pt x="6" y="153"/>
                      <a:pt x="69" y="15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5">
                <a:extLst>
                  <a:ext uri="{FF2B5EF4-FFF2-40B4-BE49-F238E27FC236}">
                    <a16:creationId xmlns:a16="http://schemas.microsoft.com/office/drawing/2014/main" id="{1F12D802-8F68-48E4-86F0-D27337A882C9}"/>
                  </a:ext>
                </a:extLst>
              </p:cNvPr>
              <p:cNvSpPr>
                <a:spLocks/>
              </p:cNvSpPr>
              <p:nvPr/>
            </p:nvSpPr>
            <p:spPr bwMode="auto">
              <a:xfrm>
                <a:off x="3870325" y="2803525"/>
                <a:ext cx="271463" cy="147638"/>
              </a:xfrm>
              <a:custGeom>
                <a:avLst/>
                <a:gdLst>
                  <a:gd name="T0" fmla="*/ 69 w 284"/>
                  <a:gd name="T1" fmla="*/ 154 h 154"/>
                  <a:gd name="T2" fmla="*/ 69 w 284"/>
                  <a:gd name="T3" fmla="*/ 154 h 154"/>
                  <a:gd name="T4" fmla="*/ 215 w 284"/>
                  <a:gd name="T5" fmla="*/ 154 h 154"/>
                  <a:gd name="T6" fmla="*/ 284 w 284"/>
                  <a:gd name="T7" fmla="*/ 85 h 154"/>
                  <a:gd name="T8" fmla="*/ 284 w 284"/>
                  <a:gd name="T9" fmla="*/ 0 h 154"/>
                  <a:gd name="T10" fmla="*/ 169 w 284"/>
                  <a:gd name="T11" fmla="*/ 114 h 154"/>
                  <a:gd name="T12" fmla="*/ 167 w 284"/>
                  <a:gd name="T13" fmla="*/ 116 h 154"/>
                  <a:gd name="T14" fmla="*/ 140 w 284"/>
                  <a:gd name="T15" fmla="*/ 124 h 154"/>
                  <a:gd name="T16" fmla="*/ 114 w 284"/>
                  <a:gd name="T17" fmla="*/ 116 h 154"/>
                  <a:gd name="T18" fmla="*/ 112 w 284"/>
                  <a:gd name="T19" fmla="*/ 114 h 154"/>
                  <a:gd name="T20" fmla="*/ 0 w 284"/>
                  <a:gd name="T21" fmla="*/ 3 h 154"/>
                  <a:gd name="T22" fmla="*/ 0 w 284"/>
                  <a:gd name="T23" fmla="*/ 85 h 154"/>
                  <a:gd name="T24" fmla="*/ 69 w 284"/>
                  <a:gd name="T2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4" h="154">
                    <a:moveTo>
                      <a:pt x="69" y="154"/>
                    </a:moveTo>
                    <a:lnTo>
                      <a:pt x="69" y="154"/>
                    </a:lnTo>
                    <a:lnTo>
                      <a:pt x="215" y="154"/>
                    </a:lnTo>
                    <a:cubicBezTo>
                      <a:pt x="231" y="153"/>
                      <a:pt x="284" y="148"/>
                      <a:pt x="284" y="85"/>
                    </a:cubicBezTo>
                    <a:lnTo>
                      <a:pt x="284" y="0"/>
                    </a:lnTo>
                    <a:lnTo>
                      <a:pt x="169" y="114"/>
                    </a:lnTo>
                    <a:lnTo>
                      <a:pt x="167" y="116"/>
                    </a:lnTo>
                    <a:cubicBezTo>
                      <a:pt x="160" y="120"/>
                      <a:pt x="152" y="124"/>
                      <a:pt x="140" y="124"/>
                    </a:cubicBezTo>
                    <a:cubicBezTo>
                      <a:pt x="128" y="124"/>
                      <a:pt x="120" y="119"/>
                      <a:pt x="114" y="116"/>
                    </a:cubicBezTo>
                    <a:lnTo>
                      <a:pt x="112" y="114"/>
                    </a:lnTo>
                    <a:lnTo>
                      <a:pt x="0" y="3"/>
                    </a:lnTo>
                    <a:lnTo>
                      <a:pt x="0" y="85"/>
                    </a:lnTo>
                    <a:cubicBezTo>
                      <a:pt x="1" y="101"/>
                      <a:pt x="6" y="154"/>
                      <a:pt x="69" y="15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
                <a:extLst>
                  <a:ext uri="{FF2B5EF4-FFF2-40B4-BE49-F238E27FC236}">
                    <a16:creationId xmlns:a16="http://schemas.microsoft.com/office/drawing/2014/main" id="{D60E430B-EF1C-4DFB-A596-514E742837E9}"/>
                  </a:ext>
                </a:extLst>
              </p:cNvPr>
              <p:cNvSpPr>
                <a:spLocks/>
              </p:cNvSpPr>
              <p:nvPr/>
            </p:nvSpPr>
            <p:spPr bwMode="auto">
              <a:xfrm>
                <a:off x="3871913" y="2679700"/>
                <a:ext cx="255588" cy="144463"/>
              </a:xfrm>
              <a:custGeom>
                <a:avLst/>
                <a:gdLst>
                  <a:gd name="T0" fmla="*/ 54 w 269"/>
                  <a:gd name="T1" fmla="*/ 67 h 151"/>
                  <a:gd name="T2" fmla="*/ 54 w 269"/>
                  <a:gd name="T3" fmla="*/ 67 h 151"/>
                  <a:gd name="T4" fmla="*/ 139 w 269"/>
                  <a:gd name="T5" fmla="*/ 151 h 151"/>
                  <a:gd name="T6" fmla="*/ 269 w 269"/>
                  <a:gd name="T7" fmla="*/ 24 h 151"/>
                  <a:gd name="T8" fmla="*/ 214 w 269"/>
                  <a:gd name="T9" fmla="*/ 0 h 151"/>
                  <a:gd name="T10" fmla="*/ 68 w 269"/>
                  <a:gd name="T11" fmla="*/ 0 h 151"/>
                  <a:gd name="T12" fmla="*/ 0 w 269"/>
                  <a:gd name="T13" fmla="*/ 64 h 151"/>
                  <a:gd name="T14" fmla="*/ 54 w 269"/>
                  <a:gd name="T15" fmla="*/ 67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9" h="151">
                    <a:moveTo>
                      <a:pt x="54" y="67"/>
                    </a:moveTo>
                    <a:lnTo>
                      <a:pt x="54" y="67"/>
                    </a:lnTo>
                    <a:lnTo>
                      <a:pt x="139" y="151"/>
                    </a:lnTo>
                    <a:lnTo>
                      <a:pt x="269" y="24"/>
                    </a:lnTo>
                    <a:cubicBezTo>
                      <a:pt x="259" y="10"/>
                      <a:pt x="242" y="0"/>
                      <a:pt x="214" y="0"/>
                    </a:cubicBezTo>
                    <a:lnTo>
                      <a:pt x="68" y="0"/>
                    </a:lnTo>
                    <a:cubicBezTo>
                      <a:pt x="52" y="0"/>
                      <a:pt x="2" y="6"/>
                      <a:pt x="0" y="64"/>
                    </a:cubicBezTo>
                    <a:cubicBezTo>
                      <a:pt x="16" y="52"/>
                      <a:pt x="40" y="53"/>
                      <a:pt x="54" y="6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7">
                <a:extLst>
                  <a:ext uri="{FF2B5EF4-FFF2-40B4-BE49-F238E27FC236}">
                    <a16:creationId xmlns:a16="http://schemas.microsoft.com/office/drawing/2014/main" id="{2504CF01-36AD-424E-A3CF-B7F830292B17}"/>
                  </a:ext>
                </a:extLst>
              </p:cNvPr>
              <p:cNvSpPr>
                <a:spLocks/>
              </p:cNvSpPr>
              <p:nvPr/>
            </p:nvSpPr>
            <p:spPr bwMode="auto">
              <a:xfrm>
                <a:off x="3871913" y="3211513"/>
                <a:ext cx="255588" cy="144463"/>
              </a:xfrm>
              <a:custGeom>
                <a:avLst/>
                <a:gdLst>
                  <a:gd name="T0" fmla="*/ 54 w 269"/>
                  <a:gd name="T1" fmla="*/ 67 h 151"/>
                  <a:gd name="T2" fmla="*/ 54 w 269"/>
                  <a:gd name="T3" fmla="*/ 67 h 151"/>
                  <a:gd name="T4" fmla="*/ 139 w 269"/>
                  <a:gd name="T5" fmla="*/ 151 h 151"/>
                  <a:gd name="T6" fmla="*/ 269 w 269"/>
                  <a:gd name="T7" fmla="*/ 23 h 151"/>
                  <a:gd name="T8" fmla="*/ 214 w 269"/>
                  <a:gd name="T9" fmla="*/ 0 h 151"/>
                  <a:gd name="T10" fmla="*/ 68 w 269"/>
                  <a:gd name="T11" fmla="*/ 0 h 151"/>
                  <a:gd name="T12" fmla="*/ 0 w 269"/>
                  <a:gd name="T13" fmla="*/ 63 h 151"/>
                  <a:gd name="T14" fmla="*/ 54 w 269"/>
                  <a:gd name="T15" fmla="*/ 67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9" h="151">
                    <a:moveTo>
                      <a:pt x="54" y="67"/>
                    </a:moveTo>
                    <a:lnTo>
                      <a:pt x="54" y="67"/>
                    </a:lnTo>
                    <a:lnTo>
                      <a:pt x="139" y="151"/>
                    </a:lnTo>
                    <a:lnTo>
                      <a:pt x="269" y="23"/>
                    </a:lnTo>
                    <a:cubicBezTo>
                      <a:pt x="259" y="10"/>
                      <a:pt x="242" y="0"/>
                      <a:pt x="214" y="0"/>
                    </a:cubicBezTo>
                    <a:lnTo>
                      <a:pt x="68" y="0"/>
                    </a:lnTo>
                    <a:cubicBezTo>
                      <a:pt x="52" y="0"/>
                      <a:pt x="2" y="5"/>
                      <a:pt x="0" y="63"/>
                    </a:cubicBezTo>
                    <a:cubicBezTo>
                      <a:pt x="16" y="52"/>
                      <a:pt x="40" y="53"/>
                      <a:pt x="54" y="6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8">
                <a:extLst>
                  <a:ext uri="{FF2B5EF4-FFF2-40B4-BE49-F238E27FC236}">
                    <a16:creationId xmlns:a16="http://schemas.microsoft.com/office/drawing/2014/main" id="{515BF849-D06D-4989-B653-C9DCB40F6280}"/>
                  </a:ext>
                </a:extLst>
              </p:cNvPr>
              <p:cNvSpPr>
                <a:spLocks noEditPoints="1"/>
              </p:cNvSpPr>
              <p:nvPr/>
            </p:nvSpPr>
            <p:spPr bwMode="auto">
              <a:xfrm>
                <a:off x="3060700" y="2017713"/>
                <a:ext cx="2833688" cy="2830513"/>
              </a:xfrm>
              <a:custGeom>
                <a:avLst/>
                <a:gdLst>
                  <a:gd name="T0" fmla="*/ 2182 w 2970"/>
                  <a:gd name="T1" fmla="*/ 1050 h 2958"/>
                  <a:gd name="T2" fmla="*/ 1300 w 2970"/>
                  <a:gd name="T3" fmla="*/ 991 h 2958"/>
                  <a:gd name="T4" fmla="*/ 2182 w 2970"/>
                  <a:gd name="T5" fmla="*/ 927 h 2958"/>
                  <a:gd name="T6" fmla="*/ 2182 w 2970"/>
                  <a:gd name="T7" fmla="*/ 1050 h 2958"/>
                  <a:gd name="T8" fmla="*/ 2182 w 2970"/>
                  <a:gd name="T9" fmla="*/ 1588 h 2958"/>
                  <a:gd name="T10" fmla="*/ 1346 w 2970"/>
                  <a:gd name="T11" fmla="*/ 1588 h 2958"/>
                  <a:gd name="T12" fmla="*/ 1346 w 2970"/>
                  <a:gd name="T13" fmla="*/ 1464 h 2958"/>
                  <a:gd name="T14" fmla="*/ 2227 w 2970"/>
                  <a:gd name="T15" fmla="*/ 1529 h 2958"/>
                  <a:gd name="T16" fmla="*/ 2182 w 2970"/>
                  <a:gd name="T17" fmla="*/ 1588 h 2958"/>
                  <a:gd name="T18" fmla="*/ 2182 w 2970"/>
                  <a:gd name="T19" fmla="*/ 2160 h 2958"/>
                  <a:gd name="T20" fmla="*/ 1300 w 2970"/>
                  <a:gd name="T21" fmla="*/ 2102 h 2958"/>
                  <a:gd name="T22" fmla="*/ 2182 w 2970"/>
                  <a:gd name="T23" fmla="*/ 2037 h 2958"/>
                  <a:gd name="T24" fmla="*/ 2182 w 2970"/>
                  <a:gd name="T25" fmla="*/ 2160 h 2958"/>
                  <a:gd name="T26" fmla="*/ 1207 w 2970"/>
                  <a:gd name="T27" fmla="*/ 2018 h 2958"/>
                  <a:gd name="T28" fmla="*/ 1064 w 2970"/>
                  <a:gd name="T29" fmla="*/ 2160 h 2958"/>
                  <a:gd name="T30" fmla="*/ 775 w 2970"/>
                  <a:gd name="T31" fmla="*/ 2018 h 2958"/>
                  <a:gd name="T32" fmla="*/ 918 w 2970"/>
                  <a:gd name="T33" fmla="*/ 1729 h 2958"/>
                  <a:gd name="T34" fmla="*/ 1171 w 2970"/>
                  <a:gd name="T35" fmla="*/ 1775 h 2958"/>
                  <a:gd name="T36" fmla="*/ 1349 w 2970"/>
                  <a:gd name="T37" fmla="*/ 1659 h 2958"/>
                  <a:gd name="T38" fmla="*/ 1361 w 2970"/>
                  <a:gd name="T39" fmla="*/ 1689 h 2958"/>
                  <a:gd name="T40" fmla="*/ 1207 w 2970"/>
                  <a:gd name="T41" fmla="*/ 1860 h 2958"/>
                  <a:gd name="T42" fmla="*/ 1207 w 2970"/>
                  <a:gd name="T43" fmla="*/ 2018 h 2958"/>
                  <a:gd name="T44" fmla="*/ 775 w 2970"/>
                  <a:gd name="T45" fmla="*/ 1316 h 2958"/>
                  <a:gd name="T46" fmla="*/ 918 w 2970"/>
                  <a:gd name="T47" fmla="*/ 1174 h 2958"/>
                  <a:gd name="T48" fmla="*/ 1171 w 2970"/>
                  <a:gd name="T49" fmla="*/ 1219 h 2958"/>
                  <a:gd name="T50" fmla="*/ 1349 w 2970"/>
                  <a:gd name="T51" fmla="*/ 1104 h 2958"/>
                  <a:gd name="T52" fmla="*/ 1361 w 2970"/>
                  <a:gd name="T53" fmla="*/ 1134 h 2958"/>
                  <a:gd name="T54" fmla="*/ 1207 w 2970"/>
                  <a:gd name="T55" fmla="*/ 1305 h 2958"/>
                  <a:gd name="T56" fmla="*/ 1207 w 2970"/>
                  <a:gd name="T57" fmla="*/ 1463 h 2958"/>
                  <a:gd name="T58" fmla="*/ 918 w 2970"/>
                  <a:gd name="T59" fmla="*/ 1605 h 2958"/>
                  <a:gd name="T60" fmla="*/ 775 w 2970"/>
                  <a:gd name="T61" fmla="*/ 1316 h 2958"/>
                  <a:gd name="T62" fmla="*/ 775 w 2970"/>
                  <a:gd name="T63" fmla="*/ 761 h 2958"/>
                  <a:gd name="T64" fmla="*/ 918 w 2970"/>
                  <a:gd name="T65" fmla="*/ 618 h 2958"/>
                  <a:gd name="T66" fmla="*/ 1171 w 2970"/>
                  <a:gd name="T67" fmla="*/ 664 h 2958"/>
                  <a:gd name="T68" fmla="*/ 1349 w 2970"/>
                  <a:gd name="T69" fmla="*/ 548 h 2958"/>
                  <a:gd name="T70" fmla="*/ 1361 w 2970"/>
                  <a:gd name="T71" fmla="*/ 578 h 2958"/>
                  <a:gd name="T72" fmla="*/ 1207 w 2970"/>
                  <a:gd name="T73" fmla="*/ 750 h 2958"/>
                  <a:gd name="T74" fmla="*/ 1207 w 2970"/>
                  <a:gd name="T75" fmla="*/ 907 h 2958"/>
                  <a:gd name="T76" fmla="*/ 918 w 2970"/>
                  <a:gd name="T77" fmla="*/ 1050 h 2958"/>
                  <a:gd name="T78" fmla="*/ 775 w 2970"/>
                  <a:gd name="T79" fmla="*/ 761 h 2958"/>
                  <a:gd name="T80" fmla="*/ 1485 w 2970"/>
                  <a:gd name="T81" fmla="*/ 0 h 2958"/>
                  <a:gd name="T82" fmla="*/ 0 w 2970"/>
                  <a:gd name="T83" fmla="*/ 1478 h 2958"/>
                  <a:gd name="T84" fmla="*/ 2970 w 2970"/>
                  <a:gd name="T85" fmla="*/ 1478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70" h="2958">
                    <a:moveTo>
                      <a:pt x="2182" y="1050"/>
                    </a:moveTo>
                    <a:lnTo>
                      <a:pt x="2182" y="1050"/>
                    </a:lnTo>
                    <a:lnTo>
                      <a:pt x="1346" y="1050"/>
                    </a:lnTo>
                    <a:cubicBezTo>
                      <a:pt x="1319" y="1050"/>
                      <a:pt x="1300" y="1026"/>
                      <a:pt x="1300" y="991"/>
                    </a:cubicBezTo>
                    <a:cubicBezTo>
                      <a:pt x="1300" y="957"/>
                      <a:pt x="1319" y="927"/>
                      <a:pt x="1346" y="927"/>
                    </a:cubicBezTo>
                    <a:lnTo>
                      <a:pt x="2182" y="927"/>
                    </a:lnTo>
                    <a:cubicBezTo>
                      <a:pt x="2209" y="927"/>
                      <a:pt x="2228" y="957"/>
                      <a:pt x="2228" y="991"/>
                    </a:cubicBezTo>
                    <a:cubicBezTo>
                      <a:pt x="2228" y="1026"/>
                      <a:pt x="2209" y="1050"/>
                      <a:pt x="2182" y="1050"/>
                    </a:cubicBezTo>
                    <a:lnTo>
                      <a:pt x="2182" y="1050"/>
                    </a:lnTo>
                    <a:close/>
                    <a:moveTo>
                      <a:pt x="2182" y="1588"/>
                    </a:moveTo>
                    <a:lnTo>
                      <a:pt x="2182" y="1588"/>
                    </a:lnTo>
                    <a:lnTo>
                      <a:pt x="1346" y="1588"/>
                    </a:lnTo>
                    <a:cubicBezTo>
                      <a:pt x="1319" y="1588"/>
                      <a:pt x="1300" y="1564"/>
                      <a:pt x="1300" y="1529"/>
                    </a:cubicBezTo>
                    <a:cubicBezTo>
                      <a:pt x="1300" y="1494"/>
                      <a:pt x="1319" y="1464"/>
                      <a:pt x="1346" y="1464"/>
                    </a:cubicBezTo>
                    <a:lnTo>
                      <a:pt x="2182" y="1464"/>
                    </a:lnTo>
                    <a:cubicBezTo>
                      <a:pt x="2209" y="1464"/>
                      <a:pt x="2227" y="1494"/>
                      <a:pt x="2227" y="1529"/>
                    </a:cubicBezTo>
                    <a:cubicBezTo>
                      <a:pt x="2227" y="1564"/>
                      <a:pt x="2209" y="1588"/>
                      <a:pt x="2182" y="1588"/>
                    </a:cubicBezTo>
                    <a:lnTo>
                      <a:pt x="2182" y="1588"/>
                    </a:lnTo>
                    <a:close/>
                    <a:moveTo>
                      <a:pt x="2182" y="2160"/>
                    </a:moveTo>
                    <a:lnTo>
                      <a:pt x="2182" y="2160"/>
                    </a:lnTo>
                    <a:lnTo>
                      <a:pt x="1346" y="2160"/>
                    </a:lnTo>
                    <a:cubicBezTo>
                      <a:pt x="1319" y="2160"/>
                      <a:pt x="1300" y="2136"/>
                      <a:pt x="1300" y="2102"/>
                    </a:cubicBezTo>
                    <a:cubicBezTo>
                      <a:pt x="1300" y="2067"/>
                      <a:pt x="1319" y="2037"/>
                      <a:pt x="1346" y="2037"/>
                    </a:cubicBezTo>
                    <a:lnTo>
                      <a:pt x="2182" y="2037"/>
                    </a:lnTo>
                    <a:cubicBezTo>
                      <a:pt x="2209" y="2037"/>
                      <a:pt x="2227" y="2067"/>
                      <a:pt x="2227" y="2102"/>
                    </a:cubicBezTo>
                    <a:cubicBezTo>
                      <a:pt x="2227" y="2136"/>
                      <a:pt x="2209" y="2160"/>
                      <a:pt x="2182" y="2160"/>
                    </a:cubicBezTo>
                    <a:lnTo>
                      <a:pt x="2182" y="2160"/>
                    </a:lnTo>
                    <a:close/>
                    <a:moveTo>
                      <a:pt x="1207" y="2018"/>
                    </a:moveTo>
                    <a:lnTo>
                      <a:pt x="1207" y="2018"/>
                    </a:lnTo>
                    <a:cubicBezTo>
                      <a:pt x="1207" y="2122"/>
                      <a:pt x="1122" y="2160"/>
                      <a:pt x="1064" y="2160"/>
                    </a:cubicBezTo>
                    <a:lnTo>
                      <a:pt x="918" y="2160"/>
                    </a:lnTo>
                    <a:cubicBezTo>
                      <a:pt x="813" y="2160"/>
                      <a:pt x="775" y="2075"/>
                      <a:pt x="775" y="2018"/>
                    </a:cubicBezTo>
                    <a:lnTo>
                      <a:pt x="775" y="1871"/>
                    </a:lnTo>
                    <a:cubicBezTo>
                      <a:pt x="775" y="1767"/>
                      <a:pt x="861" y="1729"/>
                      <a:pt x="918" y="1729"/>
                    </a:cubicBezTo>
                    <a:lnTo>
                      <a:pt x="1064" y="1729"/>
                    </a:lnTo>
                    <a:cubicBezTo>
                      <a:pt x="1114" y="1729"/>
                      <a:pt x="1149" y="1748"/>
                      <a:pt x="1171" y="1775"/>
                    </a:cubicBezTo>
                    <a:lnTo>
                      <a:pt x="1288" y="1659"/>
                    </a:lnTo>
                    <a:cubicBezTo>
                      <a:pt x="1305" y="1643"/>
                      <a:pt x="1332" y="1643"/>
                      <a:pt x="1349" y="1659"/>
                    </a:cubicBezTo>
                    <a:lnTo>
                      <a:pt x="1349" y="1659"/>
                    </a:lnTo>
                    <a:cubicBezTo>
                      <a:pt x="1357" y="1667"/>
                      <a:pt x="1361" y="1678"/>
                      <a:pt x="1361" y="1689"/>
                    </a:cubicBezTo>
                    <a:cubicBezTo>
                      <a:pt x="1361" y="1700"/>
                      <a:pt x="1357" y="1711"/>
                      <a:pt x="1349" y="1719"/>
                    </a:cubicBezTo>
                    <a:lnTo>
                      <a:pt x="1207" y="1860"/>
                    </a:lnTo>
                    <a:cubicBezTo>
                      <a:pt x="1207" y="1864"/>
                      <a:pt x="1207" y="1868"/>
                      <a:pt x="1207" y="1871"/>
                    </a:cubicBezTo>
                    <a:lnTo>
                      <a:pt x="1207" y="2018"/>
                    </a:lnTo>
                    <a:lnTo>
                      <a:pt x="1207" y="2018"/>
                    </a:lnTo>
                    <a:close/>
                    <a:moveTo>
                      <a:pt x="775" y="1316"/>
                    </a:moveTo>
                    <a:lnTo>
                      <a:pt x="775" y="1316"/>
                    </a:lnTo>
                    <a:cubicBezTo>
                      <a:pt x="775" y="1212"/>
                      <a:pt x="861" y="1174"/>
                      <a:pt x="918" y="1174"/>
                    </a:cubicBezTo>
                    <a:lnTo>
                      <a:pt x="1064" y="1174"/>
                    </a:lnTo>
                    <a:cubicBezTo>
                      <a:pt x="1114" y="1174"/>
                      <a:pt x="1149" y="1193"/>
                      <a:pt x="1171" y="1219"/>
                    </a:cubicBezTo>
                    <a:lnTo>
                      <a:pt x="1288" y="1104"/>
                    </a:lnTo>
                    <a:cubicBezTo>
                      <a:pt x="1305" y="1087"/>
                      <a:pt x="1332" y="1087"/>
                      <a:pt x="1349" y="1104"/>
                    </a:cubicBezTo>
                    <a:lnTo>
                      <a:pt x="1349" y="1104"/>
                    </a:lnTo>
                    <a:cubicBezTo>
                      <a:pt x="1357" y="1112"/>
                      <a:pt x="1361" y="1123"/>
                      <a:pt x="1361" y="1134"/>
                    </a:cubicBezTo>
                    <a:cubicBezTo>
                      <a:pt x="1361" y="1145"/>
                      <a:pt x="1357" y="1156"/>
                      <a:pt x="1349" y="1164"/>
                    </a:cubicBezTo>
                    <a:lnTo>
                      <a:pt x="1207" y="1305"/>
                    </a:lnTo>
                    <a:cubicBezTo>
                      <a:pt x="1207" y="1309"/>
                      <a:pt x="1207" y="1313"/>
                      <a:pt x="1207" y="1316"/>
                    </a:cubicBezTo>
                    <a:lnTo>
                      <a:pt x="1207" y="1463"/>
                    </a:lnTo>
                    <a:cubicBezTo>
                      <a:pt x="1207" y="1567"/>
                      <a:pt x="1122" y="1605"/>
                      <a:pt x="1064" y="1605"/>
                    </a:cubicBezTo>
                    <a:lnTo>
                      <a:pt x="918" y="1605"/>
                    </a:lnTo>
                    <a:cubicBezTo>
                      <a:pt x="813" y="1605"/>
                      <a:pt x="775" y="1520"/>
                      <a:pt x="775" y="1463"/>
                    </a:cubicBezTo>
                    <a:lnTo>
                      <a:pt x="775" y="1316"/>
                    </a:lnTo>
                    <a:lnTo>
                      <a:pt x="775" y="1316"/>
                    </a:lnTo>
                    <a:close/>
                    <a:moveTo>
                      <a:pt x="775" y="761"/>
                    </a:moveTo>
                    <a:lnTo>
                      <a:pt x="775" y="761"/>
                    </a:lnTo>
                    <a:cubicBezTo>
                      <a:pt x="775" y="656"/>
                      <a:pt x="861" y="618"/>
                      <a:pt x="918" y="618"/>
                    </a:cubicBezTo>
                    <a:lnTo>
                      <a:pt x="1064" y="618"/>
                    </a:lnTo>
                    <a:cubicBezTo>
                      <a:pt x="1114" y="618"/>
                      <a:pt x="1149" y="637"/>
                      <a:pt x="1171" y="664"/>
                    </a:cubicBezTo>
                    <a:lnTo>
                      <a:pt x="1288" y="548"/>
                    </a:lnTo>
                    <a:cubicBezTo>
                      <a:pt x="1305" y="532"/>
                      <a:pt x="1332" y="532"/>
                      <a:pt x="1349" y="548"/>
                    </a:cubicBezTo>
                    <a:lnTo>
                      <a:pt x="1349" y="548"/>
                    </a:lnTo>
                    <a:cubicBezTo>
                      <a:pt x="1357" y="556"/>
                      <a:pt x="1361" y="567"/>
                      <a:pt x="1361" y="578"/>
                    </a:cubicBezTo>
                    <a:cubicBezTo>
                      <a:pt x="1361" y="590"/>
                      <a:pt x="1357" y="601"/>
                      <a:pt x="1349" y="609"/>
                    </a:cubicBezTo>
                    <a:lnTo>
                      <a:pt x="1207" y="750"/>
                    </a:lnTo>
                    <a:cubicBezTo>
                      <a:pt x="1207" y="753"/>
                      <a:pt x="1207" y="757"/>
                      <a:pt x="1207" y="761"/>
                    </a:cubicBezTo>
                    <a:lnTo>
                      <a:pt x="1207" y="907"/>
                    </a:lnTo>
                    <a:cubicBezTo>
                      <a:pt x="1207" y="1012"/>
                      <a:pt x="1122" y="1050"/>
                      <a:pt x="1064" y="1050"/>
                    </a:cubicBezTo>
                    <a:lnTo>
                      <a:pt x="918" y="1050"/>
                    </a:lnTo>
                    <a:cubicBezTo>
                      <a:pt x="813" y="1050"/>
                      <a:pt x="775" y="964"/>
                      <a:pt x="775" y="907"/>
                    </a:cubicBezTo>
                    <a:lnTo>
                      <a:pt x="775" y="761"/>
                    </a:lnTo>
                    <a:lnTo>
                      <a:pt x="775" y="761"/>
                    </a:lnTo>
                    <a:close/>
                    <a:moveTo>
                      <a:pt x="1485" y="0"/>
                    </a:moveTo>
                    <a:lnTo>
                      <a:pt x="1485" y="0"/>
                    </a:lnTo>
                    <a:cubicBezTo>
                      <a:pt x="661" y="0"/>
                      <a:pt x="0" y="658"/>
                      <a:pt x="0" y="1478"/>
                    </a:cubicBezTo>
                    <a:cubicBezTo>
                      <a:pt x="0" y="2293"/>
                      <a:pt x="661" y="2958"/>
                      <a:pt x="1485" y="2958"/>
                    </a:cubicBezTo>
                    <a:cubicBezTo>
                      <a:pt x="2303" y="2958"/>
                      <a:pt x="2970" y="2293"/>
                      <a:pt x="2970" y="1478"/>
                    </a:cubicBezTo>
                    <a:cubicBezTo>
                      <a:pt x="2970" y="658"/>
                      <a:pt x="2303" y="0"/>
                      <a:pt x="14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301" name="TextBox 300">
            <a:extLst>
              <a:ext uri="{FF2B5EF4-FFF2-40B4-BE49-F238E27FC236}">
                <a16:creationId xmlns:a16="http://schemas.microsoft.com/office/drawing/2014/main" id="{D75D46A8-5679-44C0-AEF9-78A328069669}"/>
              </a:ext>
            </a:extLst>
          </p:cNvPr>
          <p:cNvSpPr txBox="1"/>
          <p:nvPr/>
        </p:nvSpPr>
        <p:spPr>
          <a:xfrm>
            <a:off x="5677522" y="4566719"/>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Checklist</a:t>
            </a:r>
            <a:br>
              <a:rPr lang="en-US" sz="1100" dirty="0">
                <a:solidFill>
                  <a:srgbClr val="313131"/>
                </a:solidFill>
              </a:rPr>
            </a:br>
            <a:r>
              <a:rPr lang="en-US" sz="1100" dirty="0">
                <a:solidFill>
                  <a:srgbClr val="313131"/>
                </a:solidFill>
              </a:rPr>
              <a:t>Survey</a:t>
            </a:r>
          </a:p>
        </p:txBody>
      </p:sp>
    </p:spTree>
    <p:extLst>
      <p:ext uri="{BB962C8B-B14F-4D97-AF65-F5344CB8AC3E}">
        <p14:creationId xmlns:p14="http://schemas.microsoft.com/office/powerpoint/2010/main" val="1794631516"/>
      </p:ext>
    </p:extLst>
  </p:cSld>
  <p:clrMapOvr>
    <a:masterClrMapping/>
  </p:clrMapOvr>
  <p:transition>
    <p:fade/>
  </p:transition>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General use</a:t>
            </a:r>
            <a:endParaRPr lang="en-GB" dirty="0"/>
          </a:p>
        </p:txBody>
      </p:sp>
      <p:sp>
        <p:nvSpPr>
          <p:cNvPr id="4" name="Title 3"/>
          <p:cNvSpPr>
            <a:spLocks noGrp="1"/>
          </p:cNvSpPr>
          <p:nvPr>
            <p:ph type="title"/>
          </p:nvPr>
        </p:nvSpPr>
        <p:spPr/>
        <p:txBody>
          <a:bodyPr/>
          <a:lstStyle/>
          <a:p>
            <a:r>
              <a:rPr lang="en-GB" dirty="0"/>
              <a:t>Iconography</a:t>
            </a:r>
          </a:p>
        </p:txBody>
      </p:sp>
      <p:sp>
        <p:nvSpPr>
          <p:cNvPr id="246" name="TextBox 245">
            <a:extLst>
              <a:ext uri="{FF2B5EF4-FFF2-40B4-BE49-F238E27FC236}">
                <a16:creationId xmlns:a16="http://schemas.microsoft.com/office/drawing/2014/main" id="{83879010-9377-482A-B6A0-4ECE0BA4FE57}"/>
              </a:ext>
            </a:extLst>
          </p:cNvPr>
          <p:cNvSpPr txBox="1"/>
          <p:nvPr/>
        </p:nvSpPr>
        <p:spPr>
          <a:xfrm>
            <a:off x="1320780" y="210028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3D</a:t>
            </a:r>
          </a:p>
        </p:txBody>
      </p:sp>
      <p:sp>
        <p:nvSpPr>
          <p:cNvPr id="247" name="TextBox 246">
            <a:extLst>
              <a:ext uri="{FF2B5EF4-FFF2-40B4-BE49-F238E27FC236}">
                <a16:creationId xmlns:a16="http://schemas.microsoft.com/office/drawing/2014/main" id="{39489E9E-A104-4894-8487-7EACE4A27CEF}"/>
              </a:ext>
            </a:extLst>
          </p:cNvPr>
          <p:cNvSpPr txBox="1"/>
          <p:nvPr/>
        </p:nvSpPr>
        <p:spPr>
          <a:xfrm>
            <a:off x="219494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larm clock</a:t>
            </a:r>
          </a:p>
        </p:txBody>
      </p:sp>
      <p:sp>
        <p:nvSpPr>
          <p:cNvPr id="248" name="TextBox 247">
            <a:extLst>
              <a:ext uri="{FF2B5EF4-FFF2-40B4-BE49-F238E27FC236}">
                <a16:creationId xmlns:a16="http://schemas.microsoft.com/office/drawing/2014/main" id="{B7457F80-66E3-4A8E-99DD-8205A60B79FF}"/>
              </a:ext>
            </a:extLst>
          </p:cNvPr>
          <p:cNvSpPr txBox="1"/>
          <p:nvPr/>
        </p:nvSpPr>
        <p:spPr>
          <a:xfrm>
            <a:off x="393691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sterisk</a:t>
            </a:r>
          </a:p>
        </p:txBody>
      </p:sp>
      <p:sp>
        <p:nvSpPr>
          <p:cNvPr id="249" name="TextBox 248">
            <a:extLst>
              <a:ext uri="{FF2B5EF4-FFF2-40B4-BE49-F238E27FC236}">
                <a16:creationId xmlns:a16="http://schemas.microsoft.com/office/drawing/2014/main" id="{457D1E07-2358-47BC-A94C-EE0F0C8BA5C9}"/>
              </a:ext>
            </a:extLst>
          </p:cNvPr>
          <p:cNvSpPr txBox="1"/>
          <p:nvPr/>
        </p:nvSpPr>
        <p:spPr>
          <a:xfrm>
            <a:off x="4807895"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sketball</a:t>
            </a:r>
          </a:p>
        </p:txBody>
      </p:sp>
      <p:sp>
        <p:nvSpPr>
          <p:cNvPr id="250" name="TextBox 249">
            <a:extLst>
              <a:ext uri="{FF2B5EF4-FFF2-40B4-BE49-F238E27FC236}">
                <a16:creationId xmlns:a16="http://schemas.microsoft.com/office/drawing/2014/main" id="{0453ED8C-BB8A-448C-940F-9BB42213B451}"/>
              </a:ext>
            </a:extLst>
          </p:cNvPr>
          <p:cNvSpPr txBox="1"/>
          <p:nvPr/>
        </p:nvSpPr>
        <p:spPr>
          <a:xfrm>
            <a:off x="3065925"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xe</a:t>
            </a:r>
          </a:p>
        </p:txBody>
      </p:sp>
      <p:sp>
        <p:nvSpPr>
          <p:cNvPr id="251" name="TextBox 250">
            <a:extLst>
              <a:ext uri="{FF2B5EF4-FFF2-40B4-BE49-F238E27FC236}">
                <a16:creationId xmlns:a16="http://schemas.microsoft.com/office/drawing/2014/main" id="{7EE71CE3-DFB6-429E-9E55-9139B1DCB2DE}"/>
              </a:ext>
            </a:extLst>
          </p:cNvPr>
          <p:cNvSpPr txBox="1"/>
          <p:nvPr/>
        </p:nvSpPr>
        <p:spPr>
          <a:xfrm>
            <a:off x="567888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ell</a:t>
            </a:r>
          </a:p>
        </p:txBody>
      </p:sp>
      <p:sp>
        <p:nvSpPr>
          <p:cNvPr id="252" name="TextBox 251">
            <a:extLst>
              <a:ext uri="{FF2B5EF4-FFF2-40B4-BE49-F238E27FC236}">
                <a16:creationId xmlns:a16="http://schemas.microsoft.com/office/drawing/2014/main" id="{3118A63A-0346-46CF-BD3F-CD650650617A}"/>
              </a:ext>
            </a:extLst>
          </p:cNvPr>
          <p:cNvSpPr txBox="1"/>
          <p:nvPr/>
        </p:nvSpPr>
        <p:spPr>
          <a:xfrm>
            <a:off x="742085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okmark 2</a:t>
            </a:r>
          </a:p>
        </p:txBody>
      </p:sp>
      <p:sp>
        <p:nvSpPr>
          <p:cNvPr id="253" name="TextBox 252">
            <a:extLst>
              <a:ext uri="{FF2B5EF4-FFF2-40B4-BE49-F238E27FC236}">
                <a16:creationId xmlns:a16="http://schemas.microsoft.com/office/drawing/2014/main" id="{BE24C8DA-920A-462C-BFC4-76A7DB307A97}"/>
              </a:ext>
            </a:extLst>
          </p:cNvPr>
          <p:cNvSpPr txBox="1"/>
          <p:nvPr/>
        </p:nvSpPr>
        <p:spPr>
          <a:xfrm>
            <a:off x="6549865"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okmark 1</a:t>
            </a:r>
          </a:p>
        </p:txBody>
      </p:sp>
      <p:sp>
        <p:nvSpPr>
          <p:cNvPr id="254" name="TextBox 253">
            <a:extLst>
              <a:ext uri="{FF2B5EF4-FFF2-40B4-BE49-F238E27FC236}">
                <a16:creationId xmlns:a16="http://schemas.microsoft.com/office/drawing/2014/main" id="{B374243E-8CF8-42A9-A2D3-F3C0B914AF28}"/>
              </a:ext>
            </a:extLst>
          </p:cNvPr>
          <p:cNvSpPr txBox="1"/>
          <p:nvPr/>
        </p:nvSpPr>
        <p:spPr>
          <a:xfrm>
            <a:off x="10033805"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ullseye</a:t>
            </a:r>
          </a:p>
        </p:txBody>
      </p:sp>
      <p:sp>
        <p:nvSpPr>
          <p:cNvPr id="255" name="TextBox 254">
            <a:extLst>
              <a:ext uri="{FF2B5EF4-FFF2-40B4-BE49-F238E27FC236}">
                <a16:creationId xmlns:a16="http://schemas.microsoft.com/office/drawing/2014/main" id="{77F53622-29E0-4663-9D3F-80F410C2A601}"/>
              </a:ext>
            </a:extLst>
          </p:cNvPr>
          <p:cNvSpPr txBox="1"/>
          <p:nvPr/>
        </p:nvSpPr>
        <p:spPr>
          <a:xfrm>
            <a:off x="431242" y="29597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ctus</a:t>
            </a:r>
          </a:p>
        </p:txBody>
      </p:sp>
      <p:sp>
        <p:nvSpPr>
          <p:cNvPr id="256" name="TextBox 255">
            <a:extLst>
              <a:ext uri="{FF2B5EF4-FFF2-40B4-BE49-F238E27FC236}">
                <a16:creationId xmlns:a16="http://schemas.microsoft.com/office/drawing/2014/main" id="{A8E8275C-A50B-44B5-A568-8E2DA472622A}"/>
              </a:ext>
            </a:extLst>
          </p:cNvPr>
          <p:cNvSpPr txBox="1"/>
          <p:nvPr/>
        </p:nvSpPr>
        <p:spPr>
          <a:xfrm>
            <a:off x="1306214" y="295976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endar minus</a:t>
            </a:r>
          </a:p>
        </p:txBody>
      </p:sp>
      <p:sp>
        <p:nvSpPr>
          <p:cNvPr id="258" name="TextBox 257">
            <a:extLst>
              <a:ext uri="{FF2B5EF4-FFF2-40B4-BE49-F238E27FC236}">
                <a16:creationId xmlns:a16="http://schemas.microsoft.com/office/drawing/2014/main" id="{232CA663-CD11-4217-98E9-922B3242E30B}"/>
              </a:ext>
            </a:extLst>
          </p:cNvPr>
          <p:cNvSpPr txBox="1"/>
          <p:nvPr/>
        </p:nvSpPr>
        <p:spPr>
          <a:xfrm>
            <a:off x="1090479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st</a:t>
            </a:r>
          </a:p>
        </p:txBody>
      </p:sp>
      <p:sp>
        <p:nvSpPr>
          <p:cNvPr id="259" name="TextBox 258">
            <a:extLst>
              <a:ext uri="{FF2B5EF4-FFF2-40B4-BE49-F238E27FC236}">
                <a16:creationId xmlns:a16="http://schemas.microsoft.com/office/drawing/2014/main" id="{8D4BFE9C-CBB8-4301-A0F8-ED047ABDB013}"/>
              </a:ext>
            </a:extLst>
          </p:cNvPr>
          <p:cNvSpPr txBox="1"/>
          <p:nvPr/>
        </p:nvSpPr>
        <p:spPr>
          <a:xfrm>
            <a:off x="2181186" y="295976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endar multiply</a:t>
            </a:r>
          </a:p>
        </p:txBody>
      </p:sp>
      <p:sp>
        <p:nvSpPr>
          <p:cNvPr id="260" name="TextBox 259">
            <a:extLst>
              <a:ext uri="{FF2B5EF4-FFF2-40B4-BE49-F238E27FC236}">
                <a16:creationId xmlns:a16="http://schemas.microsoft.com/office/drawing/2014/main" id="{F8F8968D-F885-4F0E-843B-D2097A00750F}"/>
              </a:ext>
            </a:extLst>
          </p:cNvPr>
          <p:cNvSpPr txBox="1"/>
          <p:nvPr/>
        </p:nvSpPr>
        <p:spPr>
          <a:xfrm>
            <a:off x="4806102" y="29597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endar</a:t>
            </a:r>
          </a:p>
        </p:txBody>
      </p:sp>
      <p:sp>
        <p:nvSpPr>
          <p:cNvPr id="282" name="TextBox 281">
            <a:extLst>
              <a:ext uri="{FF2B5EF4-FFF2-40B4-BE49-F238E27FC236}">
                <a16:creationId xmlns:a16="http://schemas.microsoft.com/office/drawing/2014/main" id="{F0085F4F-A943-442D-AC3E-25BD89F98DF0}"/>
              </a:ext>
            </a:extLst>
          </p:cNvPr>
          <p:cNvSpPr txBox="1"/>
          <p:nvPr/>
        </p:nvSpPr>
        <p:spPr>
          <a:xfrm>
            <a:off x="3931130" y="295976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endar tick</a:t>
            </a:r>
          </a:p>
        </p:txBody>
      </p:sp>
      <p:sp>
        <p:nvSpPr>
          <p:cNvPr id="283" name="TextBox 282">
            <a:extLst>
              <a:ext uri="{FF2B5EF4-FFF2-40B4-BE49-F238E27FC236}">
                <a16:creationId xmlns:a16="http://schemas.microsoft.com/office/drawing/2014/main" id="{6BFE4441-2555-405E-B975-EC3080E9BD1B}"/>
              </a:ext>
            </a:extLst>
          </p:cNvPr>
          <p:cNvSpPr txBox="1"/>
          <p:nvPr/>
        </p:nvSpPr>
        <p:spPr>
          <a:xfrm>
            <a:off x="3056158" y="295976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endar plus</a:t>
            </a:r>
          </a:p>
        </p:txBody>
      </p:sp>
      <p:sp>
        <p:nvSpPr>
          <p:cNvPr id="284" name="TextBox 283">
            <a:extLst>
              <a:ext uri="{FF2B5EF4-FFF2-40B4-BE49-F238E27FC236}">
                <a16:creationId xmlns:a16="http://schemas.microsoft.com/office/drawing/2014/main" id="{283F8144-877F-4366-A0BF-555200B40BCB}"/>
              </a:ext>
            </a:extLst>
          </p:cNvPr>
          <p:cNvSpPr txBox="1"/>
          <p:nvPr/>
        </p:nvSpPr>
        <p:spPr>
          <a:xfrm>
            <a:off x="5681074" y="2975704"/>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ndle</a:t>
            </a:r>
          </a:p>
        </p:txBody>
      </p:sp>
      <p:sp>
        <p:nvSpPr>
          <p:cNvPr id="285" name="TextBox 284">
            <a:extLst>
              <a:ext uri="{FF2B5EF4-FFF2-40B4-BE49-F238E27FC236}">
                <a16:creationId xmlns:a16="http://schemas.microsoft.com/office/drawing/2014/main" id="{2691F87E-8260-45F0-AAE6-02B19E9CDD38}"/>
              </a:ext>
            </a:extLst>
          </p:cNvPr>
          <p:cNvSpPr txBox="1"/>
          <p:nvPr/>
        </p:nvSpPr>
        <p:spPr>
          <a:xfrm>
            <a:off x="6544404" y="2975704"/>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king</a:t>
            </a:r>
          </a:p>
        </p:txBody>
      </p:sp>
      <p:sp>
        <p:nvSpPr>
          <p:cNvPr id="292" name="TextBox 291">
            <a:extLst>
              <a:ext uri="{FF2B5EF4-FFF2-40B4-BE49-F238E27FC236}">
                <a16:creationId xmlns:a16="http://schemas.microsoft.com/office/drawing/2014/main" id="{4ED8641A-9E4F-411A-B5DC-A2C0A183A005}"/>
              </a:ext>
            </a:extLst>
          </p:cNvPr>
          <p:cNvSpPr txBox="1"/>
          <p:nvPr/>
        </p:nvSpPr>
        <p:spPr>
          <a:xfrm>
            <a:off x="7422551" y="29757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knight</a:t>
            </a:r>
          </a:p>
        </p:txBody>
      </p:sp>
      <p:sp>
        <p:nvSpPr>
          <p:cNvPr id="293" name="TextBox 292">
            <a:extLst>
              <a:ext uri="{FF2B5EF4-FFF2-40B4-BE49-F238E27FC236}">
                <a16:creationId xmlns:a16="http://schemas.microsoft.com/office/drawing/2014/main" id="{7EBCFD77-9FA5-4BC4-B9A6-7CCA6664FC3E}"/>
              </a:ext>
            </a:extLst>
          </p:cNvPr>
          <p:cNvSpPr txBox="1"/>
          <p:nvPr/>
        </p:nvSpPr>
        <p:spPr>
          <a:xfrm>
            <a:off x="9172495" y="29757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queen</a:t>
            </a:r>
          </a:p>
        </p:txBody>
      </p:sp>
      <p:sp>
        <p:nvSpPr>
          <p:cNvPr id="294" name="TextBox 293">
            <a:extLst>
              <a:ext uri="{FF2B5EF4-FFF2-40B4-BE49-F238E27FC236}">
                <a16:creationId xmlns:a16="http://schemas.microsoft.com/office/drawing/2014/main" id="{E0C9EC9C-4025-4ED8-B095-A19C2EDD9BF2}"/>
              </a:ext>
            </a:extLst>
          </p:cNvPr>
          <p:cNvSpPr txBox="1"/>
          <p:nvPr/>
        </p:nvSpPr>
        <p:spPr>
          <a:xfrm>
            <a:off x="468951"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ck</a:t>
            </a:r>
          </a:p>
        </p:txBody>
      </p:sp>
      <p:sp>
        <p:nvSpPr>
          <p:cNvPr id="295" name="TextBox 294">
            <a:extLst>
              <a:ext uri="{FF2B5EF4-FFF2-40B4-BE49-F238E27FC236}">
                <a16:creationId xmlns:a16="http://schemas.microsoft.com/office/drawing/2014/main" id="{300CD88C-6CBF-49D6-BB0C-91C3138BD855}"/>
              </a:ext>
            </a:extLst>
          </p:cNvPr>
          <p:cNvSpPr txBox="1"/>
          <p:nvPr/>
        </p:nvSpPr>
        <p:spPr>
          <a:xfrm>
            <a:off x="8297523" y="29757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pawn</a:t>
            </a:r>
          </a:p>
        </p:txBody>
      </p:sp>
      <p:sp>
        <p:nvSpPr>
          <p:cNvPr id="296" name="TextBox 295">
            <a:extLst>
              <a:ext uri="{FF2B5EF4-FFF2-40B4-BE49-F238E27FC236}">
                <a16:creationId xmlns:a16="http://schemas.microsoft.com/office/drawing/2014/main" id="{8F8614E8-E5B7-4705-9DE6-BB567E65D518}"/>
              </a:ext>
            </a:extLst>
          </p:cNvPr>
          <p:cNvSpPr txBox="1"/>
          <p:nvPr/>
        </p:nvSpPr>
        <p:spPr>
          <a:xfrm>
            <a:off x="10047467" y="297570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bishop</a:t>
            </a:r>
          </a:p>
        </p:txBody>
      </p:sp>
      <p:sp>
        <p:nvSpPr>
          <p:cNvPr id="297" name="TextBox 296">
            <a:extLst>
              <a:ext uri="{FF2B5EF4-FFF2-40B4-BE49-F238E27FC236}">
                <a16:creationId xmlns:a16="http://schemas.microsoft.com/office/drawing/2014/main" id="{8C3E3E2F-D957-411C-97BB-9565BEB13ADE}"/>
              </a:ext>
            </a:extLst>
          </p:cNvPr>
          <p:cNvSpPr txBox="1"/>
          <p:nvPr/>
        </p:nvSpPr>
        <p:spPr>
          <a:xfrm>
            <a:off x="2207713"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lock</a:t>
            </a:r>
          </a:p>
        </p:txBody>
      </p:sp>
      <p:sp>
        <p:nvSpPr>
          <p:cNvPr id="298" name="TextBox 297">
            <a:extLst>
              <a:ext uri="{FF2B5EF4-FFF2-40B4-BE49-F238E27FC236}">
                <a16:creationId xmlns:a16="http://schemas.microsoft.com/office/drawing/2014/main" id="{89BBB720-24DE-442A-8F4C-6B525DF7EE47}"/>
              </a:ext>
            </a:extLst>
          </p:cNvPr>
          <p:cNvSpPr txBox="1"/>
          <p:nvPr/>
        </p:nvSpPr>
        <p:spPr>
          <a:xfrm>
            <a:off x="1338332"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lipboard</a:t>
            </a:r>
          </a:p>
        </p:txBody>
      </p:sp>
      <p:sp>
        <p:nvSpPr>
          <p:cNvPr id="299" name="TextBox 298">
            <a:extLst>
              <a:ext uri="{FF2B5EF4-FFF2-40B4-BE49-F238E27FC236}">
                <a16:creationId xmlns:a16="http://schemas.microsoft.com/office/drawing/2014/main" id="{34A1E506-781C-433E-8B97-E866B481383A}"/>
              </a:ext>
            </a:extLst>
          </p:cNvPr>
          <p:cNvSpPr txBox="1"/>
          <p:nvPr/>
        </p:nvSpPr>
        <p:spPr>
          <a:xfrm>
            <a:off x="10922439" y="295542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ss castle</a:t>
            </a:r>
          </a:p>
        </p:txBody>
      </p:sp>
      <p:sp>
        <p:nvSpPr>
          <p:cNvPr id="370" name="TextBox 369">
            <a:extLst>
              <a:ext uri="{FF2B5EF4-FFF2-40B4-BE49-F238E27FC236}">
                <a16:creationId xmlns:a16="http://schemas.microsoft.com/office/drawing/2014/main" id="{F273B45E-B52D-47D9-AAEA-FBB597E75EDE}"/>
              </a:ext>
            </a:extLst>
          </p:cNvPr>
          <p:cNvSpPr txBox="1"/>
          <p:nvPr/>
        </p:nvSpPr>
        <p:spPr>
          <a:xfrm>
            <a:off x="9162820"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ter</a:t>
            </a:r>
          </a:p>
        </p:txBody>
      </p:sp>
      <p:sp>
        <p:nvSpPr>
          <p:cNvPr id="371" name="TextBox 370">
            <a:extLst>
              <a:ext uri="{FF2B5EF4-FFF2-40B4-BE49-F238E27FC236}">
                <a16:creationId xmlns:a16="http://schemas.microsoft.com/office/drawing/2014/main" id="{03075216-DEF7-42DC-9DBB-44143EC427C0}"/>
              </a:ext>
            </a:extLst>
          </p:cNvPr>
          <p:cNvSpPr txBox="1"/>
          <p:nvPr/>
        </p:nvSpPr>
        <p:spPr>
          <a:xfrm>
            <a:off x="446620" y="210028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ucet</a:t>
            </a:r>
          </a:p>
        </p:txBody>
      </p:sp>
      <p:sp>
        <p:nvSpPr>
          <p:cNvPr id="372" name="TextBox 371">
            <a:extLst>
              <a:ext uri="{FF2B5EF4-FFF2-40B4-BE49-F238E27FC236}">
                <a16:creationId xmlns:a16="http://schemas.microsoft.com/office/drawing/2014/main" id="{0F2850AA-8B97-475D-B99D-99D151C2A59B}"/>
              </a:ext>
            </a:extLst>
          </p:cNvPr>
          <p:cNvSpPr txBox="1"/>
          <p:nvPr/>
        </p:nvSpPr>
        <p:spPr>
          <a:xfrm>
            <a:off x="8291835" y="210028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eather</a:t>
            </a:r>
          </a:p>
        </p:txBody>
      </p:sp>
      <p:sp>
        <p:nvSpPr>
          <p:cNvPr id="373" name="Freeform 19">
            <a:extLst>
              <a:ext uri="{FF2B5EF4-FFF2-40B4-BE49-F238E27FC236}">
                <a16:creationId xmlns:a16="http://schemas.microsoft.com/office/drawing/2014/main" id="{8E9684E3-2618-4F96-9B66-834C6DFAB656}"/>
              </a:ext>
            </a:extLst>
          </p:cNvPr>
          <p:cNvSpPr>
            <a:spLocks noChangeAspect="1" noEditPoints="1"/>
          </p:cNvSpPr>
          <p:nvPr/>
        </p:nvSpPr>
        <p:spPr bwMode="auto">
          <a:xfrm>
            <a:off x="1341332" y="1700213"/>
            <a:ext cx="368152" cy="368152"/>
          </a:xfrm>
          <a:custGeom>
            <a:avLst/>
            <a:gdLst>
              <a:gd name="T0" fmla="*/ 266 w 512"/>
              <a:gd name="T1" fmla="*/ 252 h 512"/>
              <a:gd name="T2" fmla="*/ 394 w 512"/>
              <a:gd name="T3" fmla="*/ 197 h 512"/>
              <a:gd name="T4" fmla="*/ 394 w 512"/>
              <a:gd name="T5" fmla="*/ 334 h 512"/>
              <a:gd name="T6" fmla="*/ 266 w 512"/>
              <a:gd name="T7" fmla="*/ 389 h 512"/>
              <a:gd name="T8" fmla="*/ 266 w 512"/>
              <a:gd name="T9" fmla="*/ 252 h 512"/>
              <a:gd name="T10" fmla="*/ 117 w 512"/>
              <a:gd name="T11" fmla="*/ 324 h 512"/>
              <a:gd name="T12" fmla="*/ 245 w 512"/>
              <a:gd name="T13" fmla="*/ 388 h 512"/>
              <a:gd name="T14" fmla="*/ 245 w 512"/>
              <a:gd name="T15" fmla="*/ 252 h 512"/>
              <a:gd name="T16" fmla="*/ 117 w 512"/>
              <a:gd name="T17" fmla="*/ 197 h 512"/>
              <a:gd name="T18" fmla="*/ 117 w 512"/>
              <a:gd name="T19" fmla="*/ 324 h 512"/>
              <a:gd name="T20" fmla="*/ 256 w 512"/>
              <a:gd name="T21" fmla="*/ 129 h 512"/>
              <a:gd name="T22" fmla="*/ 133 w 512"/>
              <a:gd name="T23" fmla="*/ 181 h 512"/>
              <a:gd name="T24" fmla="*/ 256 w 512"/>
              <a:gd name="T25" fmla="*/ 233 h 512"/>
              <a:gd name="T26" fmla="*/ 378 w 512"/>
              <a:gd name="T27" fmla="*/ 181 h 512"/>
              <a:gd name="T28" fmla="*/ 256 w 512"/>
              <a:gd name="T29" fmla="*/ 129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415 w 512"/>
              <a:gd name="T43" fmla="*/ 177 h 512"/>
              <a:gd name="T44" fmla="*/ 414 w 512"/>
              <a:gd name="T45" fmla="*/ 176 h 512"/>
              <a:gd name="T46" fmla="*/ 413 w 512"/>
              <a:gd name="T47" fmla="*/ 174 h 512"/>
              <a:gd name="T48" fmla="*/ 412 w 512"/>
              <a:gd name="T49" fmla="*/ 173 h 512"/>
              <a:gd name="T50" fmla="*/ 409 w 512"/>
              <a:gd name="T51" fmla="*/ 171 h 512"/>
              <a:gd name="T52" fmla="*/ 409 w 512"/>
              <a:gd name="T53" fmla="*/ 171 h 512"/>
              <a:gd name="T54" fmla="*/ 409 w 512"/>
              <a:gd name="T55" fmla="*/ 171 h 512"/>
              <a:gd name="T56" fmla="*/ 260 w 512"/>
              <a:gd name="T57" fmla="*/ 107 h 512"/>
              <a:gd name="T58" fmla="*/ 251 w 512"/>
              <a:gd name="T59" fmla="*/ 107 h 512"/>
              <a:gd name="T60" fmla="*/ 102 w 512"/>
              <a:gd name="T61" fmla="*/ 171 h 512"/>
              <a:gd name="T62" fmla="*/ 96 w 512"/>
              <a:gd name="T63" fmla="*/ 181 h 512"/>
              <a:gd name="T64" fmla="*/ 96 w 512"/>
              <a:gd name="T65" fmla="*/ 330 h 512"/>
              <a:gd name="T66" fmla="*/ 102 w 512"/>
              <a:gd name="T67" fmla="*/ 340 h 512"/>
              <a:gd name="T68" fmla="*/ 251 w 512"/>
              <a:gd name="T69" fmla="*/ 415 h 512"/>
              <a:gd name="T70" fmla="*/ 251 w 512"/>
              <a:gd name="T71" fmla="*/ 415 h 512"/>
              <a:gd name="T72" fmla="*/ 256 w 512"/>
              <a:gd name="T73" fmla="*/ 416 h 512"/>
              <a:gd name="T74" fmla="*/ 256 w 512"/>
              <a:gd name="T75" fmla="*/ 416 h 512"/>
              <a:gd name="T76" fmla="*/ 256 w 512"/>
              <a:gd name="T77" fmla="*/ 416 h 512"/>
              <a:gd name="T78" fmla="*/ 256 w 512"/>
              <a:gd name="T79" fmla="*/ 416 h 512"/>
              <a:gd name="T80" fmla="*/ 256 w 512"/>
              <a:gd name="T81" fmla="*/ 416 h 512"/>
              <a:gd name="T82" fmla="*/ 259 w 512"/>
              <a:gd name="T83" fmla="*/ 415 h 512"/>
              <a:gd name="T84" fmla="*/ 260 w 512"/>
              <a:gd name="T85" fmla="*/ 415 h 512"/>
              <a:gd name="T86" fmla="*/ 409 w 512"/>
              <a:gd name="T87" fmla="*/ 351 h 512"/>
              <a:gd name="T88" fmla="*/ 416 w 512"/>
              <a:gd name="T89" fmla="*/ 341 h 512"/>
              <a:gd name="T90" fmla="*/ 416 w 512"/>
              <a:gd name="T9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66" y="252"/>
                </a:moveTo>
                <a:cubicBezTo>
                  <a:pt x="394" y="197"/>
                  <a:pt x="394" y="197"/>
                  <a:pt x="394" y="197"/>
                </a:cubicBezTo>
                <a:cubicBezTo>
                  <a:pt x="394" y="334"/>
                  <a:pt x="394" y="334"/>
                  <a:pt x="394" y="334"/>
                </a:cubicBezTo>
                <a:cubicBezTo>
                  <a:pt x="266" y="389"/>
                  <a:pt x="266" y="389"/>
                  <a:pt x="266" y="389"/>
                </a:cubicBezTo>
                <a:lnTo>
                  <a:pt x="266" y="252"/>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256" y="129"/>
                </a:moveTo>
                <a:cubicBezTo>
                  <a:pt x="133" y="181"/>
                  <a:pt x="133" y="181"/>
                  <a:pt x="133" y="181"/>
                </a:cubicBezTo>
                <a:cubicBezTo>
                  <a:pt x="256" y="233"/>
                  <a:pt x="256" y="233"/>
                  <a:pt x="256" y="233"/>
                </a:cubicBezTo>
                <a:cubicBezTo>
                  <a:pt x="378" y="181"/>
                  <a:pt x="378" y="181"/>
                  <a:pt x="378" y="181"/>
                </a:cubicBezTo>
                <a:lnTo>
                  <a:pt x="256" y="12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80"/>
                  <a:pt x="415" y="178"/>
                  <a:pt x="415" y="177"/>
                </a:cubicBezTo>
                <a:cubicBezTo>
                  <a:pt x="415" y="177"/>
                  <a:pt x="415" y="177"/>
                  <a:pt x="414" y="176"/>
                </a:cubicBezTo>
                <a:cubicBezTo>
                  <a:pt x="414" y="175"/>
                  <a:pt x="414" y="175"/>
                  <a:pt x="413" y="174"/>
                </a:cubicBezTo>
                <a:cubicBezTo>
                  <a:pt x="413" y="174"/>
                  <a:pt x="412" y="173"/>
                  <a:pt x="412" y="173"/>
                </a:cubicBezTo>
                <a:cubicBezTo>
                  <a:pt x="411" y="172"/>
                  <a:pt x="410" y="172"/>
                  <a:pt x="409" y="171"/>
                </a:cubicBezTo>
                <a:cubicBezTo>
                  <a:pt x="409" y="171"/>
                  <a:pt x="409" y="171"/>
                  <a:pt x="409" y="171"/>
                </a:cubicBezTo>
                <a:cubicBezTo>
                  <a:pt x="409" y="171"/>
                  <a:pt x="409" y="171"/>
                  <a:pt x="409" y="171"/>
                </a:cubicBezTo>
                <a:cubicBezTo>
                  <a:pt x="260" y="107"/>
                  <a:pt x="260" y="107"/>
                  <a:pt x="260" y="107"/>
                </a:cubicBezTo>
                <a:cubicBezTo>
                  <a:pt x="257" y="106"/>
                  <a:pt x="254" y="106"/>
                  <a:pt x="251" y="107"/>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1" y="415"/>
                  <a:pt x="251" y="415"/>
                  <a:pt x="251" y="415"/>
                </a:cubicBezTo>
                <a:cubicBezTo>
                  <a:pt x="253" y="415"/>
                  <a:pt x="254" y="416"/>
                  <a:pt x="256" y="416"/>
                </a:cubicBezTo>
                <a:cubicBezTo>
                  <a:pt x="256" y="416"/>
                  <a:pt x="256"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4" name="Group 373">
            <a:extLst>
              <a:ext uri="{FF2B5EF4-FFF2-40B4-BE49-F238E27FC236}">
                <a16:creationId xmlns:a16="http://schemas.microsoft.com/office/drawing/2014/main" id="{3D1FE9F3-976D-41C8-A72F-C49A4996F97C}"/>
              </a:ext>
            </a:extLst>
          </p:cNvPr>
          <p:cNvGrpSpPr>
            <a:grpSpLocks noChangeAspect="1"/>
          </p:cNvGrpSpPr>
          <p:nvPr/>
        </p:nvGrpSpPr>
        <p:grpSpPr bwMode="auto">
          <a:xfrm>
            <a:off x="1776509" y="1700213"/>
            <a:ext cx="368152" cy="368152"/>
            <a:chOff x="3219" y="626"/>
            <a:chExt cx="3635" cy="3635"/>
          </a:xfrm>
          <a:solidFill>
            <a:schemeClr val="accent3"/>
          </a:solidFill>
        </p:grpSpPr>
        <p:sp>
          <p:nvSpPr>
            <p:cNvPr id="375" name="Freeform 28">
              <a:extLst>
                <a:ext uri="{FF2B5EF4-FFF2-40B4-BE49-F238E27FC236}">
                  <a16:creationId xmlns:a16="http://schemas.microsoft.com/office/drawing/2014/main" id="{6311E47A-70AA-4986-8C3C-1A85CC033A39}"/>
                </a:ext>
              </a:extLst>
            </p:cNvPr>
            <p:cNvSpPr>
              <a:spLocks noEditPoints="1"/>
            </p:cNvSpPr>
            <p:nvPr/>
          </p:nvSpPr>
          <p:spPr bwMode="auto">
            <a:xfrm>
              <a:off x="3219" y="626"/>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6" name="Freeform 29">
              <a:extLst>
                <a:ext uri="{FF2B5EF4-FFF2-40B4-BE49-F238E27FC236}">
                  <a16:creationId xmlns:a16="http://schemas.microsoft.com/office/drawing/2014/main" id="{17BF6C1C-30B3-4783-AD0E-34A1504C5D91}"/>
                </a:ext>
              </a:extLst>
            </p:cNvPr>
            <p:cNvSpPr>
              <a:spLocks noEditPoints="1"/>
            </p:cNvSpPr>
            <p:nvPr/>
          </p:nvSpPr>
          <p:spPr bwMode="auto">
            <a:xfrm>
              <a:off x="3900" y="1378"/>
              <a:ext cx="2272" cy="2201"/>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7" name="Freeform 37">
            <a:extLst>
              <a:ext uri="{FF2B5EF4-FFF2-40B4-BE49-F238E27FC236}">
                <a16:creationId xmlns:a16="http://schemas.microsoft.com/office/drawing/2014/main" id="{61612E63-F5F1-4944-93E5-704CFC1EBC24}"/>
              </a:ext>
            </a:extLst>
          </p:cNvPr>
          <p:cNvSpPr>
            <a:spLocks noChangeAspect="1" noEditPoints="1"/>
          </p:cNvSpPr>
          <p:nvPr/>
        </p:nvSpPr>
        <p:spPr bwMode="auto">
          <a:xfrm>
            <a:off x="2211686" y="1700213"/>
            <a:ext cx="368051" cy="368152"/>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8" name="Group 40">
            <a:extLst>
              <a:ext uri="{FF2B5EF4-FFF2-40B4-BE49-F238E27FC236}">
                <a16:creationId xmlns:a16="http://schemas.microsoft.com/office/drawing/2014/main" id="{AD95C212-3E14-4501-9CC0-A755464D8246}"/>
              </a:ext>
            </a:extLst>
          </p:cNvPr>
          <p:cNvGrpSpPr>
            <a:grpSpLocks noChangeAspect="1"/>
          </p:cNvGrpSpPr>
          <p:nvPr/>
        </p:nvGrpSpPr>
        <p:grpSpPr bwMode="auto">
          <a:xfrm>
            <a:off x="2646762" y="1700213"/>
            <a:ext cx="368152" cy="368152"/>
            <a:chOff x="880" y="418"/>
            <a:chExt cx="3635" cy="3635"/>
          </a:xfrm>
          <a:solidFill>
            <a:schemeClr val="accent1"/>
          </a:solidFill>
        </p:grpSpPr>
        <p:sp>
          <p:nvSpPr>
            <p:cNvPr id="379" name="Freeform 41">
              <a:extLst>
                <a:ext uri="{FF2B5EF4-FFF2-40B4-BE49-F238E27FC236}">
                  <a16:creationId xmlns:a16="http://schemas.microsoft.com/office/drawing/2014/main" id="{A769606E-F9E4-4CD3-8939-6E4907E42525}"/>
                </a:ext>
              </a:extLst>
            </p:cNvPr>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0" name="Freeform 42">
              <a:extLst>
                <a:ext uri="{FF2B5EF4-FFF2-40B4-BE49-F238E27FC236}">
                  <a16:creationId xmlns:a16="http://schemas.microsoft.com/office/drawing/2014/main" id="{F7C0512A-6EBB-4FCF-9590-1E7BCF7DC764}"/>
                </a:ext>
              </a:extLst>
            </p:cNvPr>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1" name="Freeform 274">
            <a:extLst>
              <a:ext uri="{FF2B5EF4-FFF2-40B4-BE49-F238E27FC236}">
                <a16:creationId xmlns:a16="http://schemas.microsoft.com/office/drawing/2014/main" id="{3C88F838-2191-4E09-80F2-9EB648BD4AFE}"/>
              </a:ext>
            </a:extLst>
          </p:cNvPr>
          <p:cNvSpPr>
            <a:spLocks noChangeAspect="1" noEditPoints="1"/>
          </p:cNvSpPr>
          <p:nvPr/>
        </p:nvSpPr>
        <p:spPr bwMode="auto">
          <a:xfrm>
            <a:off x="3951953" y="1700213"/>
            <a:ext cx="369064"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266 h 512"/>
              <a:gd name="T12" fmla="*/ 281 w 512"/>
              <a:gd name="T13" fmla="*/ 266 h 512"/>
              <a:gd name="T14" fmla="*/ 359 w 512"/>
              <a:gd name="T15" fmla="*/ 344 h 512"/>
              <a:gd name="T16" fmla="*/ 359 w 512"/>
              <a:gd name="T17" fmla="*/ 359 h 512"/>
              <a:gd name="T18" fmla="*/ 352 w 512"/>
              <a:gd name="T19" fmla="*/ 362 h 512"/>
              <a:gd name="T20" fmla="*/ 344 w 512"/>
              <a:gd name="T21" fmla="*/ 359 h 512"/>
              <a:gd name="T22" fmla="*/ 266 w 512"/>
              <a:gd name="T23" fmla="*/ 281 h 512"/>
              <a:gd name="T24" fmla="*/ 266 w 512"/>
              <a:gd name="T25" fmla="*/ 394 h 512"/>
              <a:gd name="T26" fmla="*/ 256 w 512"/>
              <a:gd name="T27" fmla="*/ 405 h 512"/>
              <a:gd name="T28" fmla="*/ 245 w 512"/>
              <a:gd name="T29" fmla="*/ 394 h 512"/>
              <a:gd name="T30" fmla="*/ 245 w 512"/>
              <a:gd name="T31" fmla="*/ 281 h 512"/>
              <a:gd name="T32" fmla="*/ 167 w 512"/>
              <a:gd name="T33" fmla="*/ 359 h 512"/>
              <a:gd name="T34" fmla="*/ 160 w 512"/>
              <a:gd name="T35" fmla="*/ 362 h 512"/>
              <a:gd name="T36" fmla="*/ 152 w 512"/>
              <a:gd name="T37" fmla="*/ 359 h 512"/>
              <a:gd name="T38" fmla="*/ 152 w 512"/>
              <a:gd name="T39" fmla="*/ 344 h 512"/>
              <a:gd name="T40" fmla="*/ 230 w 512"/>
              <a:gd name="T41" fmla="*/ 266 h 512"/>
              <a:gd name="T42" fmla="*/ 117 w 512"/>
              <a:gd name="T43" fmla="*/ 266 h 512"/>
              <a:gd name="T44" fmla="*/ 106 w 512"/>
              <a:gd name="T45" fmla="*/ 256 h 512"/>
              <a:gd name="T46" fmla="*/ 117 w 512"/>
              <a:gd name="T47" fmla="*/ 245 h 512"/>
              <a:gd name="T48" fmla="*/ 230 w 512"/>
              <a:gd name="T49" fmla="*/ 245 h 512"/>
              <a:gd name="T50" fmla="*/ 152 w 512"/>
              <a:gd name="T51" fmla="*/ 167 h 512"/>
              <a:gd name="T52" fmla="*/ 152 w 512"/>
              <a:gd name="T53" fmla="*/ 152 h 512"/>
              <a:gd name="T54" fmla="*/ 167 w 512"/>
              <a:gd name="T55" fmla="*/ 152 h 512"/>
              <a:gd name="T56" fmla="*/ 245 w 512"/>
              <a:gd name="T57" fmla="*/ 230 h 512"/>
              <a:gd name="T58" fmla="*/ 245 w 512"/>
              <a:gd name="T59" fmla="*/ 117 h 512"/>
              <a:gd name="T60" fmla="*/ 256 w 512"/>
              <a:gd name="T61" fmla="*/ 106 h 512"/>
              <a:gd name="T62" fmla="*/ 266 w 512"/>
              <a:gd name="T63" fmla="*/ 117 h 512"/>
              <a:gd name="T64" fmla="*/ 266 w 512"/>
              <a:gd name="T65" fmla="*/ 230 h 512"/>
              <a:gd name="T66" fmla="*/ 344 w 512"/>
              <a:gd name="T67" fmla="*/ 152 h 512"/>
              <a:gd name="T68" fmla="*/ 359 w 512"/>
              <a:gd name="T69" fmla="*/ 152 h 512"/>
              <a:gd name="T70" fmla="*/ 359 w 512"/>
              <a:gd name="T71" fmla="*/ 167 h 512"/>
              <a:gd name="T72" fmla="*/ 281 w 512"/>
              <a:gd name="T73" fmla="*/ 245 h 512"/>
              <a:gd name="T74" fmla="*/ 394 w 512"/>
              <a:gd name="T75" fmla="*/ 245 h 512"/>
              <a:gd name="T76" fmla="*/ 405 w 512"/>
              <a:gd name="T77" fmla="*/ 256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266"/>
                </a:moveTo>
                <a:cubicBezTo>
                  <a:pt x="281" y="266"/>
                  <a:pt x="281" y="266"/>
                  <a:pt x="281" y="266"/>
                </a:cubicBezTo>
                <a:cubicBezTo>
                  <a:pt x="359" y="344"/>
                  <a:pt x="359" y="344"/>
                  <a:pt x="359" y="344"/>
                </a:cubicBezTo>
                <a:cubicBezTo>
                  <a:pt x="363" y="348"/>
                  <a:pt x="363" y="355"/>
                  <a:pt x="359" y="359"/>
                </a:cubicBezTo>
                <a:cubicBezTo>
                  <a:pt x="357" y="361"/>
                  <a:pt x="354" y="362"/>
                  <a:pt x="352" y="362"/>
                </a:cubicBezTo>
                <a:cubicBezTo>
                  <a:pt x="349" y="362"/>
                  <a:pt x="346" y="361"/>
                  <a:pt x="344" y="359"/>
                </a:cubicBezTo>
                <a:cubicBezTo>
                  <a:pt x="266" y="281"/>
                  <a:pt x="266" y="281"/>
                  <a:pt x="266" y="281"/>
                </a:cubicBezTo>
                <a:cubicBezTo>
                  <a:pt x="266" y="394"/>
                  <a:pt x="266" y="394"/>
                  <a:pt x="266" y="394"/>
                </a:cubicBezTo>
                <a:cubicBezTo>
                  <a:pt x="266" y="400"/>
                  <a:pt x="262" y="405"/>
                  <a:pt x="256" y="405"/>
                </a:cubicBezTo>
                <a:cubicBezTo>
                  <a:pt x="250" y="405"/>
                  <a:pt x="245" y="400"/>
                  <a:pt x="245" y="394"/>
                </a:cubicBezTo>
                <a:cubicBezTo>
                  <a:pt x="245" y="281"/>
                  <a:pt x="245" y="281"/>
                  <a:pt x="245" y="281"/>
                </a:cubicBezTo>
                <a:cubicBezTo>
                  <a:pt x="167" y="359"/>
                  <a:pt x="167" y="359"/>
                  <a:pt x="167" y="359"/>
                </a:cubicBezTo>
                <a:cubicBezTo>
                  <a:pt x="165" y="361"/>
                  <a:pt x="162" y="362"/>
                  <a:pt x="160" y="362"/>
                </a:cubicBezTo>
                <a:cubicBezTo>
                  <a:pt x="157" y="362"/>
                  <a:pt x="154" y="361"/>
                  <a:pt x="152" y="359"/>
                </a:cubicBezTo>
                <a:cubicBezTo>
                  <a:pt x="148" y="355"/>
                  <a:pt x="148" y="348"/>
                  <a:pt x="152" y="344"/>
                </a:cubicBezTo>
                <a:cubicBezTo>
                  <a:pt x="230" y="266"/>
                  <a:pt x="230" y="266"/>
                  <a:pt x="230" y="266"/>
                </a:cubicBezTo>
                <a:cubicBezTo>
                  <a:pt x="117" y="266"/>
                  <a:pt x="117" y="266"/>
                  <a:pt x="117" y="266"/>
                </a:cubicBezTo>
                <a:cubicBezTo>
                  <a:pt x="111" y="266"/>
                  <a:pt x="106" y="262"/>
                  <a:pt x="106" y="256"/>
                </a:cubicBezTo>
                <a:cubicBezTo>
                  <a:pt x="106" y="250"/>
                  <a:pt x="111" y="245"/>
                  <a:pt x="117" y="245"/>
                </a:cubicBezTo>
                <a:cubicBezTo>
                  <a:pt x="230" y="245"/>
                  <a:pt x="230" y="245"/>
                  <a:pt x="230" y="245"/>
                </a:cubicBezTo>
                <a:cubicBezTo>
                  <a:pt x="152" y="167"/>
                  <a:pt x="152" y="167"/>
                  <a:pt x="152" y="167"/>
                </a:cubicBezTo>
                <a:cubicBezTo>
                  <a:pt x="148" y="163"/>
                  <a:pt x="148" y="156"/>
                  <a:pt x="152" y="152"/>
                </a:cubicBezTo>
                <a:cubicBezTo>
                  <a:pt x="156" y="148"/>
                  <a:pt x="163" y="148"/>
                  <a:pt x="167" y="152"/>
                </a:cubicBezTo>
                <a:cubicBezTo>
                  <a:pt x="245" y="230"/>
                  <a:pt x="245" y="230"/>
                  <a:pt x="245" y="230"/>
                </a:cubicBezTo>
                <a:cubicBezTo>
                  <a:pt x="245" y="117"/>
                  <a:pt x="245" y="117"/>
                  <a:pt x="245" y="117"/>
                </a:cubicBezTo>
                <a:cubicBezTo>
                  <a:pt x="245" y="111"/>
                  <a:pt x="250" y="106"/>
                  <a:pt x="256" y="106"/>
                </a:cubicBezTo>
                <a:cubicBezTo>
                  <a:pt x="262" y="106"/>
                  <a:pt x="266" y="111"/>
                  <a:pt x="266" y="117"/>
                </a:cubicBezTo>
                <a:cubicBezTo>
                  <a:pt x="266" y="230"/>
                  <a:pt x="266" y="230"/>
                  <a:pt x="266" y="230"/>
                </a:cubicBezTo>
                <a:cubicBezTo>
                  <a:pt x="344" y="152"/>
                  <a:pt x="344" y="152"/>
                  <a:pt x="344" y="152"/>
                </a:cubicBezTo>
                <a:cubicBezTo>
                  <a:pt x="348" y="148"/>
                  <a:pt x="355" y="148"/>
                  <a:pt x="359" y="152"/>
                </a:cubicBezTo>
                <a:cubicBezTo>
                  <a:pt x="363" y="156"/>
                  <a:pt x="363" y="163"/>
                  <a:pt x="359" y="167"/>
                </a:cubicBezTo>
                <a:cubicBezTo>
                  <a:pt x="281" y="245"/>
                  <a:pt x="281" y="245"/>
                  <a:pt x="281" y="245"/>
                </a:cubicBezTo>
                <a:cubicBezTo>
                  <a:pt x="394" y="245"/>
                  <a:pt x="394" y="245"/>
                  <a:pt x="394" y="245"/>
                </a:cubicBezTo>
                <a:cubicBezTo>
                  <a:pt x="400" y="245"/>
                  <a:pt x="405" y="250"/>
                  <a:pt x="405" y="256"/>
                </a:cubicBezTo>
                <a:cubicBezTo>
                  <a:pt x="405" y="262"/>
                  <a:pt x="400" y="266"/>
                  <a:pt x="394" y="2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2" name="Group 277">
            <a:extLst>
              <a:ext uri="{FF2B5EF4-FFF2-40B4-BE49-F238E27FC236}">
                <a16:creationId xmlns:a16="http://schemas.microsoft.com/office/drawing/2014/main" id="{31D2766E-7B04-4FE2-8E23-80657E58F4CC}"/>
              </a:ext>
            </a:extLst>
          </p:cNvPr>
          <p:cNvGrpSpPr>
            <a:grpSpLocks noChangeAspect="1"/>
          </p:cNvGrpSpPr>
          <p:nvPr/>
        </p:nvGrpSpPr>
        <p:grpSpPr bwMode="auto">
          <a:xfrm>
            <a:off x="4388042" y="1700213"/>
            <a:ext cx="369064" cy="367982"/>
            <a:chOff x="2910" y="2160"/>
            <a:chExt cx="341" cy="340"/>
          </a:xfrm>
          <a:solidFill>
            <a:schemeClr val="accent3"/>
          </a:solidFill>
        </p:grpSpPr>
        <p:sp>
          <p:nvSpPr>
            <p:cNvPr id="383" name="Freeform 278">
              <a:extLst>
                <a:ext uri="{FF2B5EF4-FFF2-40B4-BE49-F238E27FC236}">
                  <a16:creationId xmlns:a16="http://schemas.microsoft.com/office/drawing/2014/main" id="{A3D3431A-1A73-43B1-90C6-BA00E9073667}"/>
                </a:ext>
              </a:extLst>
            </p:cNvPr>
            <p:cNvSpPr>
              <a:spLocks/>
            </p:cNvSpPr>
            <p:nvPr/>
          </p:nvSpPr>
          <p:spPr bwMode="auto">
            <a:xfrm>
              <a:off x="2981" y="2230"/>
              <a:ext cx="199" cy="199"/>
            </a:xfrm>
            <a:custGeom>
              <a:avLst/>
              <a:gdLst>
                <a:gd name="T0" fmla="*/ 299 w 299"/>
                <a:gd name="T1" fmla="*/ 150 h 299"/>
                <a:gd name="T2" fmla="*/ 288 w 299"/>
                <a:gd name="T3" fmla="*/ 160 h 299"/>
                <a:gd name="T4" fmla="*/ 175 w 299"/>
                <a:gd name="T5" fmla="*/ 160 h 299"/>
                <a:gd name="T6" fmla="*/ 253 w 299"/>
                <a:gd name="T7" fmla="*/ 238 h 299"/>
                <a:gd name="T8" fmla="*/ 253 w 299"/>
                <a:gd name="T9" fmla="*/ 253 h 299"/>
                <a:gd name="T10" fmla="*/ 246 w 299"/>
                <a:gd name="T11" fmla="*/ 256 h 299"/>
                <a:gd name="T12" fmla="*/ 238 w 299"/>
                <a:gd name="T13" fmla="*/ 253 h 299"/>
                <a:gd name="T14" fmla="*/ 160 w 299"/>
                <a:gd name="T15" fmla="*/ 175 h 299"/>
                <a:gd name="T16" fmla="*/ 160 w 299"/>
                <a:gd name="T17" fmla="*/ 288 h 299"/>
                <a:gd name="T18" fmla="*/ 150 w 299"/>
                <a:gd name="T19" fmla="*/ 299 h 299"/>
                <a:gd name="T20" fmla="*/ 139 w 299"/>
                <a:gd name="T21" fmla="*/ 288 h 299"/>
                <a:gd name="T22" fmla="*/ 139 w 299"/>
                <a:gd name="T23" fmla="*/ 175 h 299"/>
                <a:gd name="T24" fmla="*/ 61 w 299"/>
                <a:gd name="T25" fmla="*/ 253 h 299"/>
                <a:gd name="T26" fmla="*/ 54 w 299"/>
                <a:gd name="T27" fmla="*/ 256 h 299"/>
                <a:gd name="T28" fmla="*/ 46 w 299"/>
                <a:gd name="T29" fmla="*/ 253 h 299"/>
                <a:gd name="T30" fmla="*/ 46 w 299"/>
                <a:gd name="T31" fmla="*/ 238 h 299"/>
                <a:gd name="T32" fmla="*/ 124 w 299"/>
                <a:gd name="T33" fmla="*/ 160 h 299"/>
                <a:gd name="T34" fmla="*/ 11 w 299"/>
                <a:gd name="T35" fmla="*/ 160 h 299"/>
                <a:gd name="T36" fmla="*/ 0 w 299"/>
                <a:gd name="T37" fmla="*/ 150 h 299"/>
                <a:gd name="T38" fmla="*/ 11 w 299"/>
                <a:gd name="T39" fmla="*/ 139 h 299"/>
                <a:gd name="T40" fmla="*/ 124 w 299"/>
                <a:gd name="T41" fmla="*/ 139 h 299"/>
                <a:gd name="T42" fmla="*/ 46 w 299"/>
                <a:gd name="T43" fmla="*/ 61 h 299"/>
                <a:gd name="T44" fmla="*/ 46 w 299"/>
                <a:gd name="T45" fmla="*/ 46 h 299"/>
                <a:gd name="T46" fmla="*/ 61 w 299"/>
                <a:gd name="T47" fmla="*/ 46 h 299"/>
                <a:gd name="T48" fmla="*/ 139 w 299"/>
                <a:gd name="T49" fmla="*/ 124 h 299"/>
                <a:gd name="T50" fmla="*/ 139 w 299"/>
                <a:gd name="T51" fmla="*/ 11 h 299"/>
                <a:gd name="T52" fmla="*/ 150 w 299"/>
                <a:gd name="T53" fmla="*/ 0 h 299"/>
                <a:gd name="T54" fmla="*/ 160 w 299"/>
                <a:gd name="T55" fmla="*/ 11 h 299"/>
                <a:gd name="T56" fmla="*/ 160 w 299"/>
                <a:gd name="T57" fmla="*/ 124 h 299"/>
                <a:gd name="T58" fmla="*/ 238 w 299"/>
                <a:gd name="T59" fmla="*/ 46 h 299"/>
                <a:gd name="T60" fmla="*/ 253 w 299"/>
                <a:gd name="T61" fmla="*/ 46 h 299"/>
                <a:gd name="T62" fmla="*/ 253 w 299"/>
                <a:gd name="T63" fmla="*/ 61 h 299"/>
                <a:gd name="T64" fmla="*/ 175 w 299"/>
                <a:gd name="T65" fmla="*/ 139 h 299"/>
                <a:gd name="T66" fmla="*/ 288 w 299"/>
                <a:gd name="T67" fmla="*/ 139 h 299"/>
                <a:gd name="T68" fmla="*/ 299 w 299"/>
                <a:gd name="T69" fmla="*/ 15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299">
                  <a:moveTo>
                    <a:pt x="299" y="150"/>
                  </a:moveTo>
                  <a:cubicBezTo>
                    <a:pt x="299" y="156"/>
                    <a:pt x="294" y="160"/>
                    <a:pt x="288" y="160"/>
                  </a:cubicBezTo>
                  <a:cubicBezTo>
                    <a:pt x="175" y="160"/>
                    <a:pt x="175" y="160"/>
                    <a:pt x="175" y="160"/>
                  </a:cubicBezTo>
                  <a:cubicBezTo>
                    <a:pt x="253" y="238"/>
                    <a:pt x="253" y="238"/>
                    <a:pt x="253" y="238"/>
                  </a:cubicBezTo>
                  <a:cubicBezTo>
                    <a:pt x="257" y="242"/>
                    <a:pt x="257" y="249"/>
                    <a:pt x="253" y="253"/>
                  </a:cubicBezTo>
                  <a:cubicBezTo>
                    <a:pt x="251" y="255"/>
                    <a:pt x="248" y="256"/>
                    <a:pt x="246" y="256"/>
                  </a:cubicBezTo>
                  <a:cubicBezTo>
                    <a:pt x="243" y="256"/>
                    <a:pt x="240" y="255"/>
                    <a:pt x="238" y="253"/>
                  </a:cubicBezTo>
                  <a:cubicBezTo>
                    <a:pt x="160" y="175"/>
                    <a:pt x="160" y="175"/>
                    <a:pt x="160" y="175"/>
                  </a:cubicBezTo>
                  <a:cubicBezTo>
                    <a:pt x="160" y="288"/>
                    <a:pt x="160" y="288"/>
                    <a:pt x="160" y="288"/>
                  </a:cubicBezTo>
                  <a:cubicBezTo>
                    <a:pt x="160" y="294"/>
                    <a:pt x="156" y="299"/>
                    <a:pt x="150" y="299"/>
                  </a:cubicBezTo>
                  <a:cubicBezTo>
                    <a:pt x="144" y="299"/>
                    <a:pt x="139" y="294"/>
                    <a:pt x="139" y="288"/>
                  </a:cubicBezTo>
                  <a:cubicBezTo>
                    <a:pt x="139" y="175"/>
                    <a:pt x="139" y="175"/>
                    <a:pt x="139" y="175"/>
                  </a:cubicBezTo>
                  <a:cubicBezTo>
                    <a:pt x="61" y="253"/>
                    <a:pt x="61" y="253"/>
                    <a:pt x="61" y="253"/>
                  </a:cubicBezTo>
                  <a:cubicBezTo>
                    <a:pt x="59" y="255"/>
                    <a:pt x="56" y="256"/>
                    <a:pt x="54" y="256"/>
                  </a:cubicBezTo>
                  <a:cubicBezTo>
                    <a:pt x="51" y="256"/>
                    <a:pt x="48" y="255"/>
                    <a:pt x="46" y="253"/>
                  </a:cubicBezTo>
                  <a:cubicBezTo>
                    <a:pt x="42" y="249"/>
                    <a:pt x="42" y="242"/>
                    <a:pt x="46" y="238"/>
                  </a:cubicBezTo>
                  <a:cubicBezTo>
                    <a:pt x="124" y="160"/>
                    <a:pt x="124" y="160"/>
                    <a:pt x="124" y="160"/>
                  </a:cubicBezTo>
                  <a:cubicBezTo>
                    <a:pt x="11" y="160"/>
                    <a:pt x="11" y="160"/>
                    <a:pt x="11" y="160"/>
                  </a:cubicBezTo>
                  <a:cubicBezTo>
                    <a:pt x="5" y="160"/>
                    <a:pt x="0" y="156"/>
                    <a:pt x="0" y="150"/>
                  </a:cubicBezTo>
                  <a:cubicBezTo>
                    <a:pt x="0" y="144"/>
                    <a:pt x="5" y="139"/>
                    <a:pt x="11" y="139"/>
                  </a:cubicBezTo>
                  <a:cubicBezTo>
                    <a:pt x="124" y="139"/>
                    <a:pt x="124" y="139"/>
                    <a:pt x="124" y="139"/>
                  </a:cubicBezTo>
                  <a:cubicBezTo>
                    <a:pt x="46" y="61"/>
                    <a:pt x="46" y="61"/>
                    <a:pt x="46" y="61"/>
                  </a:cubicBezTo>
                  <a:cubicBezTo>
                    <a:pt x="42" y="57"/>
                    <a:pt x="42" y="50"/>
                    <a:pt x="46" y="46"/>
                  </a:cubicBezTo>
                  <a:cubicBezTo>
                    <a:pt x="50" y="42"/>
                    <a:pt x="57" y="42"/>
                    <a:pt x="61" y="46"/>
                  </a:cubicBezTo>
                  <a:cubicBezTo>
                    <a:pt x="139" y="124"/>
                    <a:pt x="139" y="124"/>
                    <a:pt x="139" y="124"/>
                  </a:cubicBezTo>
                  <a:cubicBezTo>
                    <a:pt x="139" y="11"/>
                    <a:pt x="139" y="11"/>
                    <a:pt x="139" y="11"/>
                  </a:cubicBezTo>
                  <a:cubicBezTo>
                    <a:pt x="139" y="5"/>
                    <a:pt x="144" y="0"/>
                    <a:pt x="150" y="0"/>
                  </a:cubicBezTo>
                  <a:cubicBezTo>
                    <a:pt x="156" y="0"/>
                    <a:pt x="160" y="5"/>
                    <a:pt x="160" y="11"/>
                  </a:cubicBezTo>
                  <a:cubicBezTo>
                    <a:pt x="160" y="124"/>
                    <a:pt x="160" y="124"/>
                    <a:pt x="160" y="124"/>
                  </a:cubicBezTo>
                  <a:cubicBezTo>
                    <a:pt x="238" y="46"/>
                    <a:pt x="238" y="46"/>
                    <a:pt x="238" y="46"/>
                  </a:cubicBezTo>
                  <a:cubicBezTo>
                    <a:pt x="242" y="42"/>
                    <a:pt x="249" y="42"/>
                    <a:pt x="253" y="46"/>
                  </a:cubicBezTo>
                  <a:cubicBezTo>
                    <a:pt x="257" y="50"/>
                    <a:pt x="257" y="57"/>
                    <a:pt x="253" y="61"/>
                  </a:cubicBezTo>
                  <a:cubicBezTo>
                    <a:pt x="175" y="139"/>
                    <a:pt x="175" y="139"/>
                    <a:pt x="175" y="139"/>
                  </a:cubicBezTo>
                  <a:cubicBezTo>
                    <a:pt x="288" y="139"/>
                    <a:pt x="288" y="139"/>
                    <a:pt x="288" y="139"/>
                  </a:cubicBezTo>
                  <a:cubicBezTo>
                    <a:pt x="294" y="139"/>
                    <a:pt x="299" y="144"/>
                    <a:pt x="299"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4" name="Freeform 279">
              <a:extLst>
                <a:ext uri="{FF2B5EF4-FFF2-40B4-BE49-F238E27FC236}">
                  <a16:creationId xmlns:a16="http://schemas.microsoft.com/office/drawing/2014/main" id="{3049A356-04CE-437E-943D-BF3F204E4341}"/>
                </a:ext>
              </a:extLst>
            </p:cNvPr>
            <p:cNvSpPr>
              <a:spLocks noEditPoints="1"/>
            </p:cNvSpPr>
            <p:nvPr/>
          </p:nvSpPr>
          <p:spPr bwMode="auto">
            <a:xfrm>
              <a:off x="2910" y="216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5" name="Freeform 301">
            <a:extLst>
              <a:ext uri="{FF2B5EF4-FFF2-40B4-BE49-F238E27FC236}">
                <a16:creationId xmlns:a16="http://schemas.microsoft.com/office/drawing/2014/main" id="{936320EE-EC95-43B5-8750-27309EA4760F}"/>
              </a:ext>
            </a:extLst>
          </p:cNvPr>
          <p:cNvSpPr>
            <a:spLocks noChangeAspect="1" noEditPoints="1"/>
          </p:cNvSpPr>
          <p:nvPr/>
        </p:nvSpPr>
        <p:spPr bwMode="auto">
          <a:xfrm>
            <a:off x="3081939" y="1700213"/>
            <a:ext cx="367982" cy="367982"/>
          </a:xfrm>
          <a:custGeom>
            <a:avLst/>
            <a:gdLst>
              <a:gd name="T0" fmla="*/ 266 w 512"/>
              <a:gd name="T1" fmla="*/ 251 h 512"/>
              <a:gd name="T2" fmla="*/ 288 w 512"/>
              <a:gd name="T3" fmla="*/ 246 h 512"/>
              <a:gd name="T4" fmla="*/ 288 w 512"/>
              <a:gd name="T5" fmla="*/ 384 h 512"/>
              <a:gd name="T6" fmla="*/ 277 w 512"/>
              <a:gd name="T7" fmla="*/ 394 h 512"/>
              <a:gd name="T8" fmla="*/ 266 w 512"/>
              <a:gd name="T9" fmla="*/ 384 h 512"/>
              <a:gd name="T10" fmla="*/ 266 w 512"/>
              <a:gd name="T11" fmla="*/ 251 h 512"/>
              <a:gd name="T12" fmla="*/ 288 w 512"/>
              <a:gd name="T13" fmla="*/ 128 h 512"/>
              <a:gd name="T14" fmla="*/ 277 w 512"/>
              <a:gd name="T15" fmla="*/ 117 h 512"/>
              <a:gd name="T16" fmla="*/ 266 w 512"/>
              <a:gd name="T17" fmla="*/ 128 h 512"/>
              <a:gd name="T18" fmla="*/ 266 w 512"/>
              <a:gd name="T19" fmla="*/ 132 h 512"/>
              <a:gd name="T20" fmla="*/ 288 w 512"/>
              <a:gd name="T21" fmla="*/ 137 h 512"/>
              <a:gd name="T22" fmla="*/ 288 w 512"/>
              <a:gd name="T23" fmla="*/ 128 h 512"/>
              <a:gd name="T24" fmla="*/ 155 w 512"/>
              <a:gd name="T25" fmla="*/ 254 h 512"/>
              <a:gd name="T26" fmla="*/ 330 w 512"/>
              <a:gd name="T27" fmla="*/ 215 h 512"/>
              <a:gd name="T28" fmla="*/ 330 w 512"/>
              <a:gd name="T29" fmla="*/ 168 h 512"/>
              <a:gd name="T30" fmla="*/ 155 w 512"/>
              <a:gd name="T31" fmla="*/ 129 h 512"/>
              <a:gd name="T32" fmla="*/ 155 w 512"/>
              <a:gd name="T33" fmla="*/ 25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52 w 512"/>
              <a:gd name="T45" fmla="*/ 160 h 512"/>
              <a:gd name="T46" fmla="*/ 343 w 512"/>
              <a:gd name="T47" fmla="*/ 149 h 512"/>
              <a:gd name="T48" fmla="*/ 309 w 512"/>
              <a:gd name="T49" fmla="*/ 142 h 512"/>
              <a:gd name="T50" fmla="*/ 309 w 512"/>
              <a:gd name="T51" fmla="*/ 128 h 512"/>
              <a:gd name="T52" fmla="*/ 277 w 512"/>
              <a:gd name="T53" fmla="*/ 96 h 512"/>
              <a:gd name="T54" fmla="*/ 245 w 512"/>
              <a:gd name="T55" fmla="*/ 127 h 512"/>
              <a:gd name="T56" fmla="*/ 151 w 512"/>
              <a:gd name="T57" fmla="*/ 107 h 512"/>
              <a:gd name="T58" fmla="*/ 140 w 512"/>
              <a:gd name="T59" fmla="*/ 112 h 512"/>
              <a:gd name="T60" fmla="*/ 140 w 512"/>
              <a:gd name="T61" fmla="*/ 272 h 512"/>
              <a:gd name="T62" fmla="*/ 149 w 512"/>
              <a:gd name="T63" fmla="*/ 277 h 512"/>
              <a:gd name="T64" fmla="*/ 151 w 512"/>
              <a:gd name="T65" fmla="*/ 277 h 512"/>
              <a:gd name="T66" fmla="*/ 245 w 512"/>
              <a:gd name="T67" fmla="*/ 256 h 512"/>
              <a:gd name="T68" fmla="*/ 245 w 512"/>
              <a:gd name="T69" fmla="*/ 384 h 512"/>
              <a:gd name="T70" fmla="*/ 277 w 512"/>
              <a:gd name="T71" fmla="*/ 416 h 512"/>
              <a:gd name="T72" fmla="*/ 309 w 512"/>
              <a:gd name="T73" fmla="*/ 384 h 512"/>
              <a:gd name="T74" fmla="*/ 309 w 512"/>
              <a:gd name="T75" fmla="*/ 242 h 512"/>
              <a:gd name="T76" fmla="*/ 343 w 512"/>
              <a:gd name="T77" fmla="*/ 234 h 512"/>
              <a:gd name="T78" fmla="*/ 352 w 512"/>
              <a:gd name="T79" fmla="*/ 224 h 512"/>
              <a:gd name="T80" fmla="*/ 352 w 512"/>
              <a:gd name="T8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66" y="251"/>
                </a:moveTo>
                <a:cubicBezTo>
                  <a:pt x="288" y="246"/>
                  <a:pt x="288" y="246"/>
                  <a:pt x="288" y="246"/>
                </a:cubicBezTo>
                <a:cubicBezTo>
                  <a:pt x="288" y="384"/>
                  <a:pt x="288" y="384"/>
                  <a:pt x="288" y="384"/>
                </a:cubicBezTo>
                <a:cubicBezTo>
                  <a:pt x="288" y="390"/>
                  <a:pt x="283" y="394"/>
                  <a:pt x="277" y="394"/>
                </a:cubicBezTo>
                <a:cubicBezTo>
                  <a:pt x="271" y="394"/>
                  <a:pt x="266" y="390"/>
                  <a:pt x="266" y="384"/>
                </a:cubicBezTo>
                <a:lnTo>
                  <a:pt x="266" y="251"/>
                </a:lnTo>
                <a:close/>
                <a:moveTo>
                  <a:pt x="288" y="128"/>
                </a:moveTo>
                <a:cubicBezTo>
                  <a:pt x="288" y="122"/>
                  <a:pt x="283" y="117"/>
                  <a:pt x="277" y="117"/>
                </a:cubicBezTo>
                <a:cubicBezTo>
                  <a:pt x="271" y="117"/>
                  <a:pt x="266" y="122"/>
                  <a:pt x="266" y="128"/>
                </a:cubicBezTo>
                <a:cubicBezTo>
                  <a:pt x="266" y="132"/>
                  <a:pt x="266" y="132"/>
                  <a:pt x="266" y="132"/>
                </a:cubicBezTo>
                <a:cubicBezTo>
                  <a:pt x="288" y="137"/>
                  <a:pt x="288" y="137"/>
                  <a:pt x="288" y="137"/>
                </a:cubicBezTo>
                <a:lnTo>
                  <a:pt x="288" y="128"/>
                </a:lnTo>
                <a:close/>
                <a:moveTo>
                  <a:pt x="155" y="254"/>
                </a:moveTo>
                <a:cubicBezTo>
                  <a:pt x="330" y="215"/>
                  <a:pt x="330" y="215"/>
                  <a:pt x="330" y="215"/>
                </a:cubicBezTo>
                <a:cubicBezTo>
                  <a:pt x="330" y="168"/>
                  <a:pt x="330" y="168"/>
                  <a:pt x="330" y="168"/>
                </a:cubicBezTo>
                <a:cubicBezTo>
                  <a:pt x="155" y="129"/>
                  <a:pt x="155" y="129"/>
                  <a:pt x="155" y="129"/>
                </a:cubicBezTo>
                <a:cubicBezTo>
                  <a:pt x="147" y="148"/>
                  <a:pt x="129" y="202"/>
                  <a:pt x="155" y="25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60"/>
                </a:moveTo>
                <a:cubicBezTo>
                  <a:pt x="352" y="155"/>
                  <a:pt x="348" y="150"/>
                  <a:pt x="343" y="149"/>
                </a:cubicBezTo>
                <a:cubicBezTo>
                  <a:pt x="309" y="142"/>
                  <a:pt x="309" y="142"/>
                  <a:pt x="309" y="142"/>
                </a:cubicBezTo>
                <a:cubicBezTo>
                  <a:pt x="309" y="128"/>
                  <a:pt x="309" y="128"/>
                  <a:pt x="309" y="128"/>
                </a:cubicBezTo>
                <a:cubicBezTo>
                  <a:pt x="309" y="110"/>
                  <a:pt x="295" y="96"/>
                  <a:pt x="277" y="96"/>
                </a:cubicBezTo>
                <a:cubicBezTo>
                  <a:pt x="259" y="96"/>
                  <a:pt x="245" y="110"/>
                  <a:pt x="245" y="127"/>
                </a:cubicBezTo>
                <a:cubicBezTo>
                  <a:pt x="151" y="107"/>
                  <a:pt x="151" y="107"/>
                  <a:pt x="151" y="107"/>
                </a:cubicBezTo>
                <a:cubicBezTo>
                  <a:pt x="147" y="106"/>
                  <a:pt x="142" y="108"/>
                  <a:pt x="140" y="112"/>
                </a:cubicBezTo>
                <a:cubicBezTo>
                  <a:pt x="138" y="115"/>
                  <a:pt x="97" y="194"/>
                  <a:pt x="140" y="272"/>
                </a:cubicBezTo>
                <a:cubicBezTo>
                  <a:pt x="142" y="275"/>
                  <a:pt x="145" y="277"/>
                  <a:pt x="149" y="277"/>
                </a:cubicBezTo>
                <a:cubicBezTo>
                  <a:pt x="150" y="277"/>
                  <a:pt x="151" y="277"/>
                  <a:pt x="151" y="277"/>
                </a:cubicBezTo>
                <a:cubicBezTo>
                  <a:pt x="245" y="256"/>
                  <a:pt x="245" y="256"/>
                  <a:pt x="245" y="256"/>
                </a:cubicBezTo>
                <a:cubicBezTo>
                  <a:pt x="245" y="384"/>
                  <a:pt x="245" y="384"/>
                  <a:pt x="245" y="384"/>
                </a:cubicBezTo>
                <a:cubicBezTo>
                  <a:pt x="245" y="401"/>
                  <a:pt x="259" y="416"/>
                  <a:pt x="277" y="416"/>
                </a:cubicBezTo>
                <a:cubicBezTo>
                  <a:pt x="295" y="416"/>
                  <a:pt x="309" y="401"/>
                  <a:pt x="309" y="384"/>
                </a:cubicBezTo>
                <a:cubicBezTo>
                  <a:pt x="309" y="242"/>
                  <a:pt x="309" y="242"/>
                  <a:pt x="309" y="242"/>
                </a:cubicBezTo>
                <a:cubicBezTo>
                  <a:pt x="343" y="234"/>
                  <a:pt x="343" y="234"/>
                  <a:pt x="343" y="234"/>
                </a:cubicBezTo>
                <a:cubicBezTo>
                  <a:pt x="348" y="233"/>
                  <a:pt x="352" y="229"/>
                  <a:pt x="352" y="224"/>
                </a:cubicBezTo>
                <a:lnTo>
                  <a:pt x="352" y="16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6" name="Group 385">
            <a:extLst>
              <a:ext uri="{FF2B5EF4-FFF2-40B4-BE49-F238E27FC236}">
                <a16:creationId xmlns:a16="http://schemas.microsoft.com/office/drawing/2014/main" id="{EBFF1FF1-6922-440D-8190-1F917E40AEAC}"/>
              </a:ext>
            </a:extLst>
          </p:cNvPr>
          <p:cNvGrpSpPr>
            <a:grpSpLocks noChangeAspect="1"/>
          </p:cNvGrpSpPr>
          <p:nvPr/>
        </p:nvGrpSpPr>
        <p:grpSpPr bwMode="auto">
          <a:xfrm>
            <a:off x="3516946" y="1700213"/>
            <a:ext cx="367982" cy="367982"/>
            <a:chOff x="3136" y="1779"/>
            <a:chExt cx="340" cy="340"/>
          </a:xfrm>
          <a:solidFill>
            <a:schemeClr val="accent4"/>
          </a:solidFill>
        </p:grpSpPr>
        <p:sp>
          <p:nvSpPr>
            <p:cNvPr id="387" name="Freeform 305">
              <a:extLst>
                <a:ext uri="{FF2B5EF4-FFF2-40B4-BE49-F238E27FC236}">
                  <a16:creationId xmlns:a16="http://schemas.microsoft.com/office/drawing/2014/main" id="{DF55E866-51FF-4811-8098-2A0D59790E66}"/>
                </a:ext>
              </a:extLst>
            </p:cNvPr>
            <p:cNvSpPr>
              <a:spLocks noEditPoints="1"/>
            </p:cNvSpPr>
            <p:nvPr/>
          </p:nvSpPr>
          <p:spPr bwMode="auto">
            <a:xfrm>
              <a:off x="3136" y="1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8" name="Freeform 306">
              <a:extLst>
                <a:ext uri="{FF2B5EF4-FFF2-40B4-BE49-F238E27FC236}">
                  <a16:creationId xmlns:a16="http://schemas.microsoft.com/office/drawing/2014/main" id="{39F9DDF8-E0FB-42A3-8FF2-DB8EEAA55F36}"/>
                </a:ext>
              </a:extLst>
            </p:cNvPr>
            <p:cNvSpPr>
              <a:spLocks noEditPoints="1"/>
            </p:cNvSpPr>
            <p:nvPr/>
          </p:nvSpPr>
          <p:spPr bwMode="auto">
            <a:xfrm>
              <a:off x="3200" y="1843"/>
              <a:ext cx="170" cy="212"/>
            </a:xfrm>
            <a:custGeom>
              <a:avLst/>
              <a:gdLst>
                <a:gd name="T0" fmla="*/ 246 w 255"/>
                <a:gd name="T1" fmla="*/ 53 h 320"/>
                <a:gd name="T2" fmla="*/ 212 w 255"/>
                <a:gd name="T3" fmla="*/ 46 h 320"/>
                <a:gd name="T4" fmla="*/ 212 w 255"/>
                <a:gd name="T5" fmla="*/ 32 h 320"/>
                <a:gd name="T6" fmla="*/ 180 w 255"/>
                <a:gd name="T7" fmla="*/ 0 h 320"/>
                <a:gd name="T8" fmla="*/ 148 w 255"/>
                <a:gd name="T9" fmla="*/ 31 h 320"/>
                <a:gd name="T10" fmla="*/ 54 w 255"/>
                <a:gd name="T11" fmla="*/ 11 h 320"/>
                <a:gd name="T12" fmla="*/ 43 w 255"/>
                <a:gd name="T13" fmla="*/ 16 h 320"/>
                <a:gd name="T14" fmla="*/ 43 w 255"/>
                <a:gd name="T15" fmla="*/ 176 h 320"/>
                <a:gd name="T16" fmla="*/ 52 w 255"/>
                <a:gd name="T17" fmla="*/ 181 h 320"/>
                <a:gd name="T18" fmla="*/ 54 w 255"/>
                <a:gd name="T19" fmla="*/ 181 h 320"/>
                <a:gd name="T20" fmla="*/ 148 w 255"/>
                <a:gd name="T21" fmla="*/ 160 h 320"/>
                <a:gd name="T22" fmla="*/ 148 w 255"/>
                <a:gd name="T23" fmla="*/ 288 h 320"/>
                <a:gd name="T24" fmla="*/ 180 w 255"/>
                <a:gd name="T25" fmla="*/ 320 h 320"/>
                <a:gd name="T26" fmla="*/ 212 w 255"/>
                <a:gd name="T27" fmla="*/ 288 h 320"/>
                <a:gd name="T28" fmla="*/ 212 w 255"/>
                <a:gd name="T29" fmla="*/ 146 h 320"/>
                <a:gd name="T30" fmla="*/ 246 w 255"/>
                <a:gd name="T31" fmla="*/ 138 h 320"/>
                <a:gd name="T32" fmla="*/ 255 w 255"/>
                <a:gd name="T33" fmla="*/ 128 h 320"/>
                <a:gd name="T34" fmla="*/ 255 w 255"/>
                <a:gd name="T35" fmla="*/ 64 h 320"/>
                <a:gd name="T36" fmla="*/ 246 w 255"/>
                <a:gd name="T37" fmla="*/ 53 h 320"/>
                <a:gd name="T38" fmla="*/ 169 w 255"/>
                <a:gd name="T39" fmla="*/ 32 h 320"/>
                <a:gd name="T40" fmla="*/ 180 w 255"/>
                <a:gd name="T41" fmla="*/ 21 h 320"/>
                <a:gd name="T42" fmla="*/ 191 w 255"/>
                <a:gd name="T43" fmla="*/ 32 h 320"/>
                <a:gd name="T44" fmla="*/ 191 w 255"/>
                <a:gd name="T45" fmla="*/ 41 h 320"/>
                <a:gd name="T46" fmla="*/ 169 w 255"/>
                <a:gd name="T47" fmla="*/ 36 h 320"/>
                <a:gd name="T48" fmla="*/ 169 w 255"/>
                <a:gd name="T49" fmla="*/ 32 h 320"/>
                <a:gd name="T50" fmla="*/ 191 w 255"/>
                <a:gd name="T51" fmla="*/ 288 h 320"/>
                <a:gd name="T52" fmla="*/ 180 w 255"/>
                <a:gd name="T53" fmla="*/ 298 h 320"/>
                <a:gd name="T54" fmla="*/ 169 w 255"/>
                <a:gd name="T55" fmla="*/ 288 h 320"/>
                <a:gd name="T56" fmla="*/ 169 w 255"/>
                <a:gd name="T57" fmla="*/ 155 h 320"/>
                <a:gd name="T58" fmla="*/ 191 w 255"/>
                <a:gd name="T59" fmla="*/ 150 h 320"/>
                <a:gd name="T60" fmla="*/ 191 w 255"/>
                <a:gd name="T61" fmla="*/ 288 h 320"/>
                <a:gd name="T62" fmla="*/ 233 w 255"/>
                <a:gd name="T63" fmla="*/ 119 h 320"/>
                <a:gd name="T64" fmla="*/ 58 w 255"/>
                <a:gd name="T65" fmla="*/ 158 h 320"/>
                <a:gd name="T66" fmla="*/ 58 w 255"/>
                <a:gd name="T67" fmla="*/ 33 h 320"/>
                <a:gd name="T68" fmla="*/ 233 w 255"/>
                <a:gd name="T69" fmla="*/ 72 h 320"/>
                <a:gd name="T70" fmla="*/ 233 w 255"/>
                <a:gd name="T71" fmla="*/ 11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320">
                  <a:moveTo>
                    <a:pt x="246" y="53"/>
                  </a:moveTo>
                  <a:cubicBezTo>
                    <a:pt x="212" y="46"/>
                    <a:pt x="212" y="46"/>
                    <a:pt x="212" y="46"/>
                  </a:cubicBezTo>
                  <a:cubicBezTo>
                    <a:pt x="212" y="32"/>
                    <a:pt x="212" y="32"/>
                    <a:pt x="212" y="32"/>
                  </a:cubicBezTo>
                  <a:cubicBezTo>
                    <a:pt x="212" y="14"/>
                    <a:pt x="198" y="0"/>
                    <a:pt x="180" y="0"/>
                  </a:cubicBezTo>
                  <a:cubicBezTo>
                    <a:pt x="162" y="0"/>
                    <a:pt x="148" y="14"/>
                    <a:pt x="148" y="31"/>
                  </a:cubicBezTo>
                  <a:cubicBezTo>
                    <a:pt x="54" y="11"/>
                    <a:pt x="54" y="11"/>
                    <a:pt x="54" y="11"/>
                  </a:cubicBezTo>
                  <a:cubicBezTo>
                    <a:pt x="50" y="10"/>
                    <a:pt x="45" y="12"/>
                    <a:pt x="43" y="16"/>
                  </a:cubicBezTo>
                  <a:cubicBezTo>
                    <a:pt x="41" y="19"/>
                    <a:pt x="0" y="98"/>
                    <a:pt x="43" y="176"/>
                  </a:cubicBezTo>
                  <a:cubicBezTo>
                    <a:pt x="45" y="179"/>
                    <a:pt x="48" y="181"/>
                    <a:pt x="52" y="181"/>
                  </a:cubicBezTo>
                  <a:cubicBezTo>
                    <a:pt x="53" y="181"/>
                    <a:pt x="54" y="181"/>
                    <a:pt x="54" y="181"/>
                  </a:cubicBezTo>
                  <a:cubicBezTo>
                    <a:pt x="148" y="160"/>
                    <a:pt x="148" y="160"/>
                    <a:pt x="148" y="160"/>
                  </a:cubicBezTo>
                  <a:cubicBezTo>
                    <a:pt x="148" y="288"/>
                    <a:pt x="148" y="288"/>
                    <a:pt x="148" y="288"/>
                  </a:cubicBezTo>
                  <a:cubicBezTo>
                    <a:pt x="148" y="305"/>
                    <a:pt x="162" y="320"/>
                    <a:pt x="180" y="320"/>
                  </a:cubicBezTo>
                  <a:cubicBezTo>
                    <a:pt x="198" y="320"/>
                    <a:pt x="212" y="305"/>
                    <a:pt x="212" y="288"/>
                  </a:cubicBezTo>
                  <a:cubicBezTo>
                    <a:pt x="212" y="146"/>
                    <a:pt x="212" y="146"/>
                    <a:pt x="212" y="146"/>
                  </a:cubicBezTo>
                  <a:cubicBezTo>
                    <a:pt x="246" y="138"/>
                    <a:pt x="246" y="138"/>
                    <a:pt x="246" y="138"/>
                  </a:cubicBezTo>
                  <a:cubicBezTo>
                    <a:pt x="251" y="137"/>
                    <a:pt x="255" y="133"/>
                    <a:pt x="255" y="128"/>
                  </a:cubicBezTo>
                  <a:cubicBezTo>
                    <a:pt x="255" y="64"/>
                    <a:pt x="255" y="64"/>
                    <a:pt x="255" y="64"/>
                  </a:cubicBezTo>
                  <a:cubicBezTo>
                    <a:pt x="255" y="59"/>
                    <a:pt x="251" y="54"/>
                    <a:pt x="246" y="53"/>
                  </a:cubicBezTo>
                  <a:close/>
                  <a:moveTo>
                    <a:pt x="169" y="32"/>
                  </a:moveTo>
                  <a:cubicBezTo>
                    <a:pt x="169" y="26"/>
                    <a:pt x="174" y="21"/>
                    <a:pt x="180" y="21"/>
                  </a:cubicBezTo>
                  <a:cubicBezTo>
                    <a:pt x="186" y="21"/>
                    <a:pt x="191" y="26"/>
                    <a:pt x="191" y="32"/>
                  </a:cubicBezTo>
                  <a:cubicBezTo>
                    <a:pt x="191" y="41"/>
                    <a:pt x="191" y="41"/>
                    <a:pt x="191" y="41"/>
                  </a:cubicBezTo>
                  <a:cubicBezTo>
                    <a:pt x="169" y="36"/>
                    <a:pt x="169" y="36"/>
                    <a:pt x="169" y="36"/>
                  </a:cubicBezTo>
                  <a:lnTo>
                    <a:pt x="169" y="32"/>
                  </a:lnTo>
                  <a:close/>
                  <a:moveTo>
                    <a:pt x="191" y="288"/>
                  </a:moveTo>
                  <a:cubicBezTo>
                    <a:pt x="191" y="294"/>
                    <a:pt x="186" y="298"/>
                    <a:pt x="180" y="298"/>
                  </a:cubicBezTo>
                  <a:cubicBezTo>
                    <a:pt x="174" y="298"/>
                    <a:pt x="169" y="294"/>
                    <a:pt x="169" y="288"/>
                  </a:cubicBezTo>
                  <a:cubicBezTo>
                    <a:pt x="169" y="155"/>
                    <a:pt x="169" y="155"/>
                    <a:pt x="169" y="155"/>
                  </a:cubicBezTo>
                  <a:cubicBezTo>
                    <a:pt x="191" y="150"/>
                    <a:pt x="191" y="150"/>
                    <a:pt x="191" y="150"/>
                  </a:cubicBezTo>
                  <a:lnTo>
                    <a:pt x="191" y="288"/>
                  </a:lnTo>
                  <a:close/>
                  <a:moveTo>
                    <a:pt x="233" y="119"/>
                  </a:moveTo>
                  <a:cubicBezTo>
                    <a:pt x="58" y="158"/>
                    <a:pt x="58" y="158"/>
                    <a:pt x="58" y="158"/>
                  </a:cubicBezTo>
                  <a:cubicBezTo>
                    <a:pt x="32" y="106"/>
                    <a:pt x="50" y="52"/>
                    <a:pt x="58" y="33"/>
                  </a:cubicBezTo>
                  <a:cubicBezTo>
                    <a:pt x="233" y="72"/>
                    <a:pt x="233" y="72"/>
                    <a:pt x="233" y="72"/>
                  </a:cubicBezTo>
                  <a:lnTo>
                    <a:pt x="233"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9" name="Freeform 382">
            <a:extLst>
              <a:ext uri="{FF2B5EF4-FFF2-40B4-BE49-F238E27FC236}">
                <a16:creationId xmlns:a16="http://schemas.microsoft.com/office/drawing/2014/main" id="{DB628438-BCDD-4EBE-9909-71FAE4FBF9DD}"/>
              </a:ext>
            </a:extLst>
          </p:cNvPr>
          <p:cNvSpPr>
            <a:spLocks noChangeAspect="1" noEditPoints="1"/>
          </p:cNvSpPr>
          <p:nvPr/>
        </p:nvSpPr>
        <p:spPr bwMode="auto">
          <a:xfrm>
            <a:off x="4824131" y="1700213"/>
            <a:ext cx="369064" cy="367982"/>
          </a:xfrm>
          <a:custGeom>
            <a:avLst/>
            <a:gdLst>
              <a:gd name="T0" fmla="*/ 195 w 512"/>
              <a:gd name="T1" fmla="*/ 195 h 512"/>
              <a:gd name="T2" fmla="*/ 119 w 512"/>
              <a:gd name="T3" fmla="*/ 234 h 512"/>
              <a:gd name="T4" fmla="*/ 158 w 512"/>
              <a:gd name="T5" fmla="*/ 158 h 512"/>
              <a:gd name="T6" fmla="*/ 234 w 512"/>
              <a:gd name="T7" fmla="*/ 119 h 512"/>
              <a:gd name="T8" fmla="*/ 195 w 512"/>
              <a:gd name="T9" fmla="*/ 195 h 512"/>
              <a:gd name="T10" fmla="*/ 277 w 512"/>
              <a:gd name="T11" fmla="*/ 393 h 512"/>
              <a:gd name="T12" fmla="*/ 354 w 512"/>
              <a:gd name="T13" fmla="*/ 354 h 512"/>
              <a:gd name="T14" fmla="*/ 393 w 512"/>
              <a:gd name="T15" fmla="*/ 277 h 512"/>
              <a:gd name="T16" fmla="*/ 316 w 512"/>
              <a:gd name="T17" fmla="*/ 316 h 512"/>
              <a:gd name="T18" fmla="*/ 277 w 512"/>
              <a:gd name="T19" fmla="*/ 393 h 512"/>
              <a:gd name="T20" fmla="*/ 256 w 512"/>
              <a:gd name="T21" fmla="*/ 117 h 512"/>
              <a:gd name="T22" fmla="*/ 256 w 512"/>
              <a:gd name="T23" fmla="*/ 118 h 512"/>
              <a:gd name="T24" fmla="*/ 210 w 512"/>
              <a:gd name="T25" fmla="*/ 210 h 512"/>
              <a:gd name="T26" fmla="*/ 117 w 512"/>
              <a:gd name="T27" fmla="*/ 256 h 512"/>
              <a:gd name="T28" fmla="*/ 150 w 512"/>
              <a:gd name="T29" fmla="*/ 346 h 512"/>
              <a:gd name="T30" fmla="*/ 346 w 512"/>
              <a:gd name="T31" fmla="*/ 150 h 512"/>
              <a:gd name="T32" fmla="*/ 256 w 512"/>
              <a:gd name="T33" fmla="*/ 117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56 h 512"/>
              <a:gd name="T46" fmla="*/ 369 w 512"/>
              <a:gd name="T47" fmla="*/ 143 h 512"/>
              <a:gd name="T48" fmla="*/ 256 w 512"/>
              <a:gd name="T49" fmla="*/ 96 h 512"/>
              <a:gd name="T50" fmla="*/ 143 w 512"/>
              <a:gd name="T51" fmla="*/ 143 h 512"/>
              <a:gd name="T52" fmla="*/ 96 w 512"/>
              <a:gd name="T53" fmla="*/ 256 h 512"/>
              <a:gd name="T54" fmla="*/ 143 w 512"/>
              <a:gd name="T55" fmla="*/ 369 h 512"/>
              <a:gd name="T56" fmla="*/ 256 w 512"/>
              <a:gd name="T57" fmla="*/ 416 h 512"/>
              <a:gd name="T58" fmla="*/ 369 w 512"/>
              <a:gd name="T59" fmla="*/ 369 h 512"/>
              <a:gd name="T60" fmla="*/ 416 w 512"/>
              <a:gd name="T61" fmla="*/ 256 h 512"/>
              <a:gd name="T62" fmla="*/ 166 w 512"/>
              <a:gd name="T63" fmla="*/ 361 h 512"/>
              <a:gd name="T64" fmla="*/ 255 w 512"/>
              <a:gd name="T65" fmla="*/ 394 h 512"/>
              <a:gd name="T66" fmla="*/ 301 w 512"/>
              <a:gd name="T67" fmla="*/ 301 h 512"/>
              <a:gd name="T68" fmla="*/ 394 w 512"/>
              <a:gd name="T69" fmla="*/ 255 h 512"/>
              <a:gd name="T70" fmla="*/ 361 w 512"/>
              <a:gd name="T71" fmla="*/ 166 h 512"/>
              <a:gd name="T72" fmla="*/ 166 w 512"/>
              <a:gd name="T73"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95" y="195"/>
                </a:moveTo>
                <a:cubicBezTo>
                  <a:pt x="174" y="216"/>
                  <a:pt x="148" y="230"/>
                  <a:pt x="119" y="234"/>
                </a:cubicBezTo>
                <a:cubicBezTo>
                  <a:pt x="123" y="205"/>
                  <a:pt x="137" y="179"/>
                  <a:pt x="158" y="158"/>
                </a:cubicBezTo>
                <a:cubicBezTo>
                  <a:pt x="179" y="137"/>
                  <a:pt x="205" y="123"/>
                  <a:pt x="234" y="119"/>
                </a:cubicBezTo>
                <a:cubicBezTo>
                  <a:pt x="230" y="148"/>
                  <a:pt x="216" y="174"/>
                  <a:pt x="195" y="195"/>
                </a:cubicBezTo>
                <a:close/>
                <a:moveTo>
                  <a:pt x="277" y="393"/>
                </a:moveTo>
                <a:cubicBezTo>
                  <a:pt x="306" y="388"/>
                  <a:pt x="333" y="375"/>
                  <a:pt x="354" y="354"/>
                </a:cubicBezTo>
                <a:cubicBezTo>
                  <a:pt x="375" y="333"/>
                  <a:pt x="388" y="306"/>
                  <a:pt x="393" y="277"/>
                </a:cubicBezTo>
                <a:cubicBezTo>
                  <a:pt x="364" y="282"/>
                  <a:pt x="337" y="295"/>
                  <a:pt x="316" y="316"/>
                </a:cubicBezTo>
                <a:cubicBezTo>
                  <a:pt x="295" y="337"/>
                  <a:pt x="282" y="364"/>
                  <a:pt x="277" y="393"/>
                </a:cubicBezTo>
                <a:close/>
                <a:moveTo>
                  <a:pt x="256" y="117"/>
                </a:moveTo>
                <a:cubicBezTo>
                  <a:pt x="256" y="117"/>
                  <a:pt x="256" y="118"/>
                  <a:pt x="256" y="118"/>
                </a:cubicBezTo>
                <a:cubicBezTo>
                  <a:pt x="251" y="153"/>
                  <a:pt x="236" y="185"/>
                  <a:pt x="210" y="210"/>
                </a:cubicBezTo>
                <a:cubicBezTo>
                  <a:pt x="185" y="236"/>
                  <a:pt x="152" y="252"/>
                  <a:pt x="117" y="256"/>
                </a:cubicBezTo>
                <a:cubicBezTo>
                  <a:pt x="117" y="289"/>
                  <a:pt x="129" y="321"/>
                  <a:pt x="150" y="346"/>
                </a:cubicBezTo>
                <a:cubicBezTo>
                  <a:pt x="346" y="150"/>
                  <a:pt x="346" y="150"/>
                  <a:pt x="346" y="150"/>
                </a:cubicBezTo>
                <a:cubicBezTo>
                  <a:pt x="321" y="129"/>
                  <a:pt x="289"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13"/>
                  <a:pt x="399" y="173"/>
                  <a:pt x="369" y="143"/>
                </a:cubicBezTo>
                <a:cubicBezTo>
                  <a:pt x="339" y="112"/>
                  <a:pt x="298" y="96"/>
                  <a:pt x="256" y="96"/>
                </a:cubicBezTo>
                <a:cubicBezTo>
                  <a:pt x="213" y="96"/>
                  <a:pt x="173" y="112"/>
                  <a:pt x="143" y="143"/>
                </a:cubicBezTo>
                <a:cubicBezTo>
                  <a:pt x="112" y="173"/>
                  <a:pt x="96" y="213"/>
                  <a:pt x="96" y="256"/>
                </a:cubicBezTo>
                <a:cubicBezTo>
                  <a:pt x="96" y="298"/>
                  <a:pt x="112" y="339"/>
                  <a:pt x="143" y="369"/>
                </a:cubicBezTo>
                <a:cubicBezTo>
                  <a:pt x="173" y="399"/>
                  <a:pt x="213" y="416"/>
                  <a:pt x="256" y="416"/>
                </a:cubicBezTo>
                <a:cubicBezTo>
                  <a:pt x="298" y="416"/>
                  <a:pt x="339" y="399"/>
                  <a:pt x="369" y="369"/>
                </a:cubicBezTo>
                <a:cubicBezTo>
                  <a:pt x="399" y="339"/>
                  <a:pt x="416" y="298"/>
                  <a:pt x="416" y="256"/>
                </a:cubicBezTo>
                <a:close/>
                <a:moveTo>
                  <a:pt x="166" y="361"/>
                </a:moveTo>
                <a:cubicBezTo>
                  <a:pt x="191" y="382"/>
                  <a:pt x="222" y="394"/>
                  <a:pt x="255" y="394"/>
                </a:cubicBezTo>
                <a:cubicBezTo>
                  <a:pt x="260" y="359"/>
                  <a:pt x="276" y="326"/>
                  <a:pt x="301" y="301"/>
                </a:cubicBezTo>
                <a:cubicBezTo>
                  <a:pt x="326" y="276"/>
                  <a:pt x="359" y="260"/>
                  <a:pt x="394" y="255"/>
                </a:cubicBezTo>
                <a:cubicBezTo>
                  <a:pt x="394" y="222"/>
                  <a:pt x="382" y="191"/>
                  <a:pt x="361" y="166"/>
                </a:cubicBezTo>
                <a:lnTo>
                  <a:pt x="166" y="36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0" name="Freeform 386">
            <a:extLst>
              <a:ext uri="{FF2B5EF4-FFF2-40B4-BE49-F238E27FC236}">
                <a16:creationId xmlns:a16="http://schemas.microsoft.com/office/drawing/2014/main" id="{E0A28E22-26D0-47C0-8BF1-7ED7DCC79F9C}"/>
              </a:ext>
            </a:extLst>
          </p:cNvPr>
          <p:cNvSpPr>
            <a:spLocks noChangeAspect="1" noEditPoints="1"/>
          </p:cNvSpPr>
          <p:nvPr/>
        </p:nvSpPr>
        <p:spPr bwMode="auto">
          <a:xfrm>
            <a:off x="5260220" y="1700213"/>
            <a:ext cx="367982" cy="36906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9 w 512"/>
              <a:gd name="T21" fmla="*/ 143 h 512"/>
              <a:gd name="T22" fmla="*/ 256 w 512"/>
              <a:gd name="T23" fmla="*/ 96 h 512"/>
              <a:gd name="T24" fmla="*/ 143 w 512"/>
              <a:gd name="T25" fmla="*/ 143 h 512"/>
              <a:gd name="T26" fmla="*/ 96 w 512"/>
              <a:gd name="T27" fmla="*/ 256 h 512"/>
              <a:gd name="T28" fmla="*/ 143 w 512"/>
              <a:gd name="T29" fmla="*/ 369 h 512"/>
              <a:gd name="T30" fmla="*/ 256 w 512"/>
              <a:gd name="T31" fmla="*/ 416 h 512"/>
              <a:gd name="T32" fmla="*/ 369 w 512"/>
              <a:gd name="T33" fmla="*/ 369 h 512"/>
              <a:gd name="T34" fmla="*/ 416 w 512"/>
              <a:gd name="T35" fmla="*/ 256 h 512"/>
              <a:gd name="T36" fmla="*/ 369 w 512"/>
              <a:gd name="T37" fmla="*/ 143 h 512"/>
              <a:gd name="T38" fmla="*/ 255 w 512"/>
              <a:gd name="T39" fmla="*/ 394 h 512"/>
              <a:gd name="T40" fmla="*/ 166 w 512"/>
              <a:gd name="T41" fmla="*/ 361 h 512"/>
              <a:gd name="T42" fmla="*/ 361 w 512"/>
              <a:gd name="T43" fmla="*/ 166 h 512"/>
              <a:gd name="T44" fmla="*/ 394 w 512"/>
              <a:gd name="T45" fmla="*/ 255 h 512"/>
              <a:gd name="T46" fmla="*/ 301 w 512"/>
              <a:gd name="T47" fmla="*/ 301 h 512"/>
              <a:gd name="T48" fmla="*/ 255 w 512"/>
              <a:gd name="T49" fmla="*/ 394 h 512"/>
              <a:gd name="T50" fmla="*/ 117 w 512"/>
              <a:gd name="T51" fmla="*/ 256 h 512"/>
              <a:gd name="T52" fmla="*/ 210 w 512"/>
              <a:gd name="T53" fmla="*/ 210 h 512"/>
              <a:gd name="T54" fmla="*/ 256 w 512"/>
              <a:gd name="T55" fmla="*/ 118 h 512"/>
              <a:gd name="T56" fmla="*/ 256 w 512"/>
              <a:gd name="T57" fmla="*/ 117 h 512"/>
              <a:gd name="T58" fmla="*/ 346 w 512"/>
              <a:gd name="T59" fmla="*/ 150 h 512"/>
              <a:gd name="T60" fmla="*/ 150 w 512"/>
              <a:gd name="T61" fmla="*/ 346 h 512"/>
              <a:gd name="T62" fmla="*/ 117 w 512"/>
              <a:gd name="T63" fmla="*/ 256 h 512"/>
              <a:gd name="T64" fmla="*/ 158 w 512"/>
              <a:gd name="T65" fmla="*/ 158 h 512"/>
              <a:gd name="T66" fmla="*/ 234 w 512"/>
              <a:gd name="T67" fmla="*/ 119 h 512"/>
              <a:gd name="T68" fmla="*/ 195 w 512"/>
              <a:gd name="T69" fmla="*/ 195 h 512"/>
              <a:gd name="T70" fmla="*/ 119 w 512"/>
              <a:gd name="T71" fmla="*/ 234 h 512"/>
              <a:gd name="T72" fmla="*/ 158 w 512"/>
              <a:gd name="T73" fmla="*/ 158 h 512"/>
              <a:gd name="T74" fmla="*/ 354 w 512"/>
              <a:gd name="T75" fmla="*/ 354 h 512"/>
              <a:gd name="T76" fmla="*/ 277 w 512"/>
              <a:gd name="T77" fmla="*/ 393 h 512"/>
              <a:gd name="T78" fmla="*/ 316 w 512"/>
              <a:gd name="T79" fmla="*/ 316 h 512"/>
              <a:gd name="T80" fmla="*/ 393 w 512"/>
              <a:gd name="T81" fmla="*/ 277 h 512"/>
              <a:gd name="T82" fmla="*/ 354 w 512"/>
              <a:gd name="T83" fmla="*/ 3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9" y="143"/>
                </a:moveTo>
                <a:cubicBezTo>
                  <a:pt x="339" y="112"/>
                  <a:pt x="298" y="96"/>
                  <a:pt x="256" y="96"/>
                </a:cubicBezTo>
                <a:cubicBezTo>
                  <a:pt x="213" y="96"/>
                  <a:pt x="173" y="112"/>
                  <a:pt x="143" y="143"/>
                </a:cubicBezTo>
                <a:cubicBezTo>
                  <a:pt x="112" y="173"/>
                  <a:pt x="96" y="213"/>
                  <a:pt x="96" y="256"/>
                </a:cubicBezTo>
                <a:cubicBezTo>
                  <a:pt x="96" y="298"/>
                  <a:pt x="112" y="339"/>
                  <a:pt x="143" y="369"/>
                </a:cubicBezTo>
                <a:cubicBezTo>
                  <a:pt x="173" y="399"/>
                  <a:pt x="213" y="416"/>
                  <a:pt x="256" y="416"/>
                </a:cubicBezTo>
                <a:cubicBezTo>
                  <a:pt x="298" y="416"/>
                  <a:pt x="339" y="399"/>
                  <a:pt x="369" y="369"/>
                </a:cubicBezTo>
                <a:cubicBezTo>
                  <a:pt x="399" y="339"/>
                  <a:pt x="416" y="298"/>
                  <a:pt x="416" y="256"/>
                </a:cubicBezTo>
                <a:cubicBezTo>
                  <a:pt x="416" y="213"/>
                  <a:pt x="399" y="173"/>
                  <a:pt x="369" y="143"/>
                </a:cubicBezTo>
                <a:close/>
                <a:moveTo>
                  <a:pt x="255" y="394"/>
                </a:moveTo>
                <a:cubicBezTo>
                  <a:pt x="222" y="394"/>
                  <a:pt x="191" y="382"/>
                  <a:pt x="166" y="361"/>
                </a:cubicBezTo>
                <a:cubicBezTo>
                  <a:pt x="361" y="166"/>
                  <a:pt x="361" y="166"/>
                  <a:pt x="361" y="166"/>
                </a:cubicBezTo>
                <a:cubicBezTo>
                  <a:pt x="382" y="191"/>
                  <a:pt x="394" y="222"/>
                  <a:pt x="394" y="255"/>
                </a:cubicBezTo>
                <a:cubicBezTo>
                  <a:pt x="359" y="260"/>
                  <a:pt x="326" y="276"/>
                  <a:pt x="301" y="301"/>
                </a:cubicBezTo>
                <a:cubicBezTo>
                  <a:pt x="276" y="326"/>
                  <a:pt x="260" y="359"/>
                  <a:pt x="255" y="394"/>
                </a:cubicBezTo>
                <a:close/>
                <a:moveTo>
                  <a:pt x="117" y="256"/>
                </a:moveTo>
                <a:cubicBezTo>
                  <a:pt x="152" y="252"/>
                  <a:pt x="185" y="236"/>
                  <a:pt x="210" y="210"/>
                </a:cubicBezTo>
                <a:cubicBezTo>
                  <a:pt x="236" y="185"/>
                  <a:pt x="251" y="153"/>
                  <a:pt x="256" y="118"/>
                </a:cubicBezTo>
                <a:cubicBezTo>
                  <a:pt x="256" y="118"/>
                  <a:pt x="256" y="117"/>
                  <a:pt x="256" y="117"/>
                </a:cubicBezTo>
                <a:cubicBezTo>
                  <a:pt x="289" y="117"/>
                  <a:pt x="321" y="129"/>
                  <a:pt x="346" y="150"/>
                </a:cubicBezTo>
                <a:cubicBezTo>
                  <a:pt x="150" y="346"/>
                  <a:pt x="150" y="346"/>
                  <a:pt x="150" y="346"/>
                </a:cubicBezTo>
                <a:cubicBezTo>
                  <a:pt x="129" y="321"/>
                  <a:pt x="117" y="289"/>
                  <a:pt x="117" y="256"/>
                </a:cubicBezTo>
                <a:close/>
                <a:moveTo>
                  <a:pt x="158" y="158"/>
                </a:moveTo>
                <a:cubicBezTo>
                  <a:pt x="179" y="137"/>
                  <a:pt x="205" y="123"/>
                  <a:pt x="234" y="119"/>
                </a:cubicBezTo>
                <a:cubicBezTo>
                  <a:pt x="230" y="148"/>
                  <a:pt x="216" y="174"/>
                  <a:pt x="195" y="195"/>
                </a:cubicBezTo>
                <a:cubicBezTo>
                  <a:pt x="174" y="216"/>
                  <a:pt x="148" y="230"/>
                  <a:pt x="119" y="234"/>
                </a:cubicBezTo>
                <a:cubicBezTo>
                  <a:pt x="123" y="205"/>
                  <a:pt x="137" y="179"/>
                  <a:pt x="158" y="158"/>
                </a:cubicBezTo>
                <a:close/>
                <a:moveTo>
                  <a:pt x="354" y="354"/>
                </a:moveTo>
                <a:cubicBezTo>
                  <a:pt x="333" y="375"/>
                  <a:pt x="306" y="388"/>
                  <a:pt x="277" y="393"/>
                </a:cubicBezTo>
                <a:cubicBezTo>
                  <a:pt x="282" y="364"/>
                  <a:pt x="295" y="337"/>
                  <a:pt x="316" y="316"/>
                </a:cubicBezTo>
                <a:cubicBezTo>
                  <a:pt x="337" y="295"/>
                  <a:pt x="364" y="282"/>
                  <a:pt x="393" y="277"/>
                </a:cubicBezTo>
                <a:cubicBezTo>
                  <a:pt x="388" y="306"/>
                  <a:pt x="375" y="333"/>
                  <a:pt x="354" y="35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1" name="Freeform 489">
            <a:extLst>
              <a:ext uri="{FF2B5EF4-FFF2-40B4-BE49-F238E27FC236}">
                <a16:creationId xmlns:a16="http://schemas.microsoft.com/office/drawing/2014/main" id="{E9F4E678-1106-467C-8933-1B4FE4BC6827}"/>
              </a:ext>
            </a:extLst>
          </p:cNvPr>
          <p:cNvSpPr>
            <a:spLocks noChangeAspect="1" noEditPoints="1"/>
          </p:cNvSpPr>
          <p:nvPr/>
        </p:nvSpPr>
        <p:spPr bwMode="auto">
          <a:xfrm>
            <a:off x="5695227" y="1700213"/>
            <a:ext cx="367982" cy="367982"/>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56 w 512"/>
              <a:gd name="T11" fmla="*/ 160 h 512"/>
              <a:gd name="T12" fmla="*/ 181 w 512"/>
              <a:gd name="T13" fmla="*/ 234 h 512"/>
              <a:gd name="T14" fmla="*/ 162 w 512"/>
              <a:gd name="T15" fmla="*/ 345 h 512"/>
              <a:gd name="T16" fmla="*/ 349 w 512"/>
              <a:gd name="T17" fmla="*/ 345 h 512"/>
              <a:gd name="T18" fmla="*/ 330 w 512"/>
              <a:gd name="T19" fmla="*/ 234 h 512"/>
              <a:gd name="T20" fmla="*/ 256 w 512"/>
              <a:gd name="T21" fmla="*/ 160 h 512"/>
              <a:gd name="T22" fmla="*/ 236 w 512"/>
              <a:gd name="T23" fmla="*/ 380 h 512"/>
              <a:gd name="T24" fmla="*/ 256 w 512"/>
              <a:gd name="T25" fmla="*/ 394 h 512"/>
              <a:gd name="T26" fmla="*/ 276 w 512"/>
              <a:gd name="T27" fmla="*/ 379 h 512"/>
              <a:gd name="T28" fmla="*/ 249 w 512"/>
              <a:gd name="T29" fmla="*/ 381 h 512"/>
              <a:gd name="T30" fmla="*/ 236 w 512"/>
              <a:gd name="T31" fmla="*/ 380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2 w 512"/>
              <a:gd name="T43" fmla="*/ 348 h 512"/>
              <a:gd name="T44" fmla="*/ 352 w 512"/>
              <a:gd name="T45" fmla="*/ 234 h 512"/>
              <a:gd name="T46" fmla="*/ 284 w 512"/>
              <a:gd name="T47" fmla="*/ 142 h 512"/>
              <a:gd name="T48" fmla="*/ 288 w 512"/>
              <a:gd name="T49" fmla="*/ 128 h 512"/>
              <a:gd name="T50" fmla="*/ 256 w 512"/>
              <a:gd name="T51" fmla="*/ 96 h 512"/>
              <a:gd name="T52" fmla="*/ 224 w 512"/>
              <a:gd name="T53" fmla="*/ 128 h 512"/>
              <a:gd name="T54" fmla="*/ 227 w 512"/>
              <a:gd name="T55" fmla="*/ 142 h 512"/>
              <a:gd name="T56" fmla="*/ 160 w 512"/>
              <a:gd name="T57" fmla="*/ 234 h 512"/>
              <a:gd name="T58" fmla="*/ 139 w 512"/>
              <a:gd name="T59" fmla="*/ 348 h 512"/>
              <a:gd name="T60" fmla="*/ 144 w 512"/>
              <a:gd name="T61" fmla="*/ 361 h 512"/>
              <a:gd name="T62" fmla="*/ 214 w 512"/>
              <a:gd name="T63" fmla="*/ 379 h 512"/>
              <a:gd name="T64" fmla="*/ 256 w 512"/>
              <a:gd name="T65" fmla="*/ 416 h 512"/>
              <a:gd name="T66" fmla="*/ 298 w 512"/>
              <a:gd name="T67" fmla="*/ 377 h 512"/>
              <a:gd name="T68" fmla="*/ 366 w 512"/>
              <a:gd name="T69" fmla="*/ 362 h 512"/>
              <a:gd name="T70" fmla="*/ 372 w 512"/>
              <a:gd name="T71" fmla="*/ 357 h 512"/>
              <a:gd name="T72" fmla="*/ 372 w 512"/>
              <a:gd name="T73" fmla="*/ 3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56" y="160"/>
                </a:moveTo>
                <a:cubicBezTo>
                  <a:pt x="212" y="160"/>
                  <a:pt x="181" y="190"/>
                  <a:pt x="181" y="234"/>
                </a:cubicBezTo>
                <a:cubicBezTo>
                  <a:pt x="181" y="278"/>
                  <a:pt x="168" y="325"/>
                  <a:pt x="162" y="345"/>
                </a:cubicBezTo>
                <a:cubicBezTo>
                  <a:pt x="185" y="354"/>
                  <a:pt x="253" y="372"/>
                  <a:pt x="349" y="345"/>
                </a:cubicBezTo>
                <a:cubicBezTo>
                  <a:pt x="343" y="324"/>
                  <a:pt x="330" y="277"/>
                  <a:pt x="330" y="234"/>
                </a:cubicBezTo>
                <a:cubicBezTo>
                  <a:pt x="330" y="190"/>
                  <a:pt x="300" y="160"/>
                  <a:pt x="256" y="160"/>
                </a:cubicBezTo>
                <a:close/>
                <a:moveTo>
                  <a:pt x="236" y="380"/>
                </a:moveTo>
                <a:cubicBezTo>
                  <a:pt x="239" y="388"/>
                  <a:pt x="246" y="394"/>
                  <a:pt x="256" y="394"/>
                </a:cubicBezTo>
                <a:cubicBezTo>
                  <a:pt x="265" y="394"/>
                  <a:pt x="273" y="388"/>
                  <a:pt x="276" y="379"/>
                </a:cubicBezTo>
                <a:cubicBezTo>
                  <a:pt x="266" y="380"/>
                  <a:pt x="257" y="381"/>
                  <a:pt x="249" y="381"/>
                </a:cubicBezTo>
                <a:cubicBezTo>
                  <a:pt x="244" y="381"/>
                  <a:pt x="240" y="380"/>
                  <a:pt x="236" y="3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48"/>
                </a:moveTo>
                <a:cubicBezTo>
                  <a:pt x="372" y="348"/>
                  <a:pt x="352" y="286"/>
                  <a:pt x="352" y="234"/>
                </a:cubicBezTo>
                <a:cubicBezTo>
                  <a:pt x="352" y="189"/>
                  <a:pt x="324" y="153"/>
                  <a:pt x="284" y="142"/>
                </a:cubicBezTo>
                <a:cubicBezTo>
                  <a:pt x="286" y="138"/>
                  <a:pt x="288" y="133"/>
                  <a:pt x="288" y="128"/>
                </a:cubicBezTo>
                <a:cubicBezTo>
                  <a:pt x="288" y="110"/>
                  <a:pt x="273" y="96"/>
                  <a:pt x="256" y="96"/>
                </a:cubicBezTo>
                <a:cubicBezTo>
                  <a:pt x="238" y="96"/>
                  <a:pt x="224" y="110"/>
                  <a:pt x="224" y="128"/>
                </a:cubicBezTo>
                <a:cubicBezTo>
                  <a:pt x="224" y="133"/>
                  <a:pt x="225" y="138"/>
                  <a:pt x="227" y="142"/>
                </a:cubicBezTo>
                <a:cubicBezTo>
                  <a:pt x="187" y="153"/>
                  <a:pt x="160" y="189"/>
                  <a:pt x="160" y="234"/>
                </a:cubicBezTo>
                <a:cubicBezTo>
                  <a:pt x="160" y="286"/>
                  <a:pt x="139" y="348"/>
                  <a:pt x="139" y="348"/>
                </a:cubicBezTo>
                <a:cubicBezTo>
                  <a:pt x="137" y="353"/>
                  <a:pt x="139" y="359"/>
                  <a:pt x="144" y="361"/>
                </a:cubicBezTo>
                <a:cubicBezTo>
                  <a:pt x="146" y="362"/>
                  <a:pt x="171" y="374"/>
                  <a:pt x="214" y="379"/>
                </a:cubicBezTo>
                <a:cubicBezTo>
                  <a:pt x="216" y="399"/>
                  <a:pt x="234" y="416"/>
                  <a:pt x="256" y="416"/>
                </a:cubicBezTo>
                <a:cubicBezTo>
                  <a:pt x="278" y="416"/>
                  <a:pt x="296" y="399"/>
                  <a:pt x="298" y="377"/>
                </a:cubicBezTo>
                <a:cubicBezTo>
                  <a:pt x="319" y="374"/>
                  <a:pt x="341" y="369"/>
                  <a:pt x="366" y="362"/>
                </a:cubicBezTo>
                <a:cubicBezTo>
                  <a:pt x="368" y="361"/>
                  <a:pt x="371" y="359"/>
                  <a:pt x="372" y="357"/>
                </a:cubicBezTo>
                <a:cubicBezTo>
                  <a:pt x="373" y="354"/>
                  <a:pt x="373" y="351"/>
                  <a:pt x="372" y="34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92" name="Group 492">
            <a:extLst>
              <a:ext uri="{FF2B5EF4-FFF2-40B4-BE49-F238E27FC236}">
                <a16:creationId xmlns:a16="http://schemas.microsoft.com/office/drawing/2014/main" id="{958D8617-78B1-44F9-9D87-D8A520473A8E}"/>
              </a:ext>
            </a:extLst>
          </p:cNvPr>
          <p:cNvGrpSpPr>
            <a:grpSpLocks noChangeAspect="1"/>
          </p:cNvGrpSpPr>
          <p:nvPr/>
        </p:nvGrpSpPr>
        <p:grpSpPr bwMode="auto">
          <a:xfrm>
            <a:off x="6130234" y="1700213"/>
            <a:ext cx="367982" cy="367982"/>
            <a:chOff x="4513" y="3037"/>
            <a:chExt cx="340" cy="340"/>
          </a:xfrm>
          <a:solidFill>
            <a:schemeClr val="accent6"/>
          </a:solidFill>
        </p:grpSpPr>
        <p:sp>
          <p:nvSpPr>
            <p:cNvPr id="393" name="Freeform 493">
              <a:extLst>
                <a:ext uri="{FF2B5EF4-FFF2-40B4-BE49-F238E27FC236}">
                  <a16:creationId xmlns:a16="http://schemas.microsoft.com/office/drawing/2014/main" id="{9BD70FD8-2A1D-4F14-A6F3-10AAED7B4352}"/>
                </a:ext>
              </a:extLst>
            </p:cNvPr>
            <p:cNvSpPr>
              <a:spLocks noEditPoints="1"/>
            </p:cNvSpPr>
            <p:nvPr/>
          </p:nvSpPr>
          <p:spPr bwMode="auto">
            <a:xfrm>
              <a:off x="4513" y="30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Freeform 494">
              <a:extLst>
                <a:ext uri="{FF2B5EF4-FFF2-40B4-BE49-F238E27FC236}">
                  <a16:creationId xmlns:a16="http://schemas.microsoft.com/office/drawing/2014/main" id="{5156F5C1-5C83-436F-8B5E-37DEDA506CC5}"/>
                </a:ext>
              </a:extLst>
            </p:cNvPr>
            <p:cNvSpPr>
              <a:spLocks noEditPoints="1"/>
            </p:cNvSpPr>
            <p:nvPr/>
          </p:nvSpPr>
          <p:spPr bwMode="auto">
            <a:xfrm>
              <a:off x="4604" y="3101"/>
              <a:ext cx="157" cy="212"/>
            </a:xfrm>
            <a:custGeom>
              <a:avLst/>
              <a:gdLst>
                <a:gd name="T0" fmla="*/ 235 w 236"/>
                <a:gd name="T1" fmla="*/ 252 h 320"/>
                <a:gd name="T2" fmla="*/ 215 w 236"/>
                <a:gd name="T3" fmla="*/ 138 h 320"/>
                <a:gd name="T4" fmla="*/ 147 w 236"/>
                <a:gd name="T5" fmla="*/ 46 h 320"/>
                <a:gd name="T6" fmla="*/ 151 w 236"/>
                <a:gd name="T7" fmla="*/ 32 h 320"/>
                <a:gd name="T8" fmla="*/ 119 w 236"/>
                <a:gd name="T9" fmla="*/ 0 h 320"/>
                <a:gd name="T10" fmla="*/ 87 w 236"/>
                <a:gd name="T11" fmla="*/ 32 h 320"/>
                <a:gd name="T12" fmla="*/ 90 w 236"/>
                <a:gd name="T13" fmla="*/ 46 h 320"/>
                <a:gd name="T14" fmla="*/ 23 w 236"/>
                <a:gd name="T15" fmla="*/ 138 h 320"/>
                <a:gd name="T16" fmla="*/ 2 w 236"/>
                <a:gd name="T17" fmla="*/ 252 h 320"/>
                <a:gd name="T18" fmla="*/ 7 w 236"/>
                <a:gd name="T19" fmla="*/ 265 h 320"/>
                <a:gd name="T20" fmla="*/ 77 w 236"/>
                <a:gd name="T21" fmla="*/ 283 h 320"/>
                <a:gd name="T22" fmla="*/ 119 w 236"/>
                <a:gd name="T23" fmla="*/ 320 h 320"/>
                <a:gd name="T24" fmla="*/ 161 w 236"/>
                <a:gd name="T25" fmla="*/ 281 h 320"/>
                <a:gd name="T26" fmla="*/ 229 w 236"/>
                <a:gd name="T27" fmla="*/ 266 h 320"/>
                <a:gd name="T28" fmla="*/ 235 w 236"/>
                <a:gd name="T29" fmla="*/ 261 h 320"/>
                <a:gd name="T30" fmla="*/ 235 w 236"/>
                <a:gd name="T31" fmla="*/ 252 h 320"/>
                <a:gd name="T32" fmla="*/ 108 w 236"/>
                <a:gd name="T33" fmla="*/ 32 h 320"/>
                <a:gd name="T34" fmla="*/ 119 w 236"/>
                <a:gd name="T35" fmla="*/ 21 h 320"/>
                <a:gd name="T36" fmla="*/ 129 w 236"/>
                <a:gd name="T37" fmla="*/ 32 h 320"/>
                <a:gd name="T38" fmla="*/ 119 w 236"/>
                <a:gd name="T39" fmla="*/ 42 h 320"/>
                <a:gd name="T40" fmla="*/ 108 w 236"/>
                <a:gd name="T41" fmla="*/ 32 h 320"/>
                <a:gd name="T42" fmla="*/ 119 w 236"/>
                <a:gd name="T43" fmla="*/ 298 h 320"/>
                <a:gd name="T44" fmla="*/ 99 w 236"/>
                <a:gd name="T45" fmla="*/ 284 h 320"/>
                <a:gd name="T46" fmla="*/ 112 w 236"/>
                <a:gd name="T47" fmla="*/ 285 h 320"/>
                <a:gd name="T48" fmla="*/ 139 w 236"/>
                <a:gd name="T49" fmla="*/ 283 h 320"/>
                <a:gd name="T50" fmla="*/ 119 w 236"/>
                <a:gd name="T51" fmla="*/ 298 h 320"/>
                <a:gd name="T52" fmla="*/ 25 w 236"/>
                <a:gd name="T53" fmla="*/ 249 h 320"/>
                <a:gd name="T54" fmla="*/ 44 w 236"/>
                <a:gd name="T55" fmla="*/ 138 h 320"/>
                <a:gd name="T56" fmla="*/ 119 w 236"/>
                <a:gd name="T57" fmla="*/ 64 h 320"/>
                <a:gd name="T58" fmla="*/ 193 w 236"/>
                <a:gd name="T59" fmla="*/ 138 h 320"/>
                <a:gd name="T60" fmla="*/ 212 w 236"/>
                <a:gd name="T61" fmla="*/ 249 h 320"/>
                <a:gd name="T62" fmla="*/ 25 w 236"/>
                <a:gd name="T63" fmla="*/ 2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6" h="320">
                  <a:moveTo>
                    <a:pt x="235" y="252"/>
                  </a:moveTo>
                  <a:cubicBezTo>
                    <a:pt x="235" y="252"/>
                    <a:pt x="215" y="190"/>
                    <a:pt x="215" y="138"/>
                  </a:cubicBezTo>
                  <a:cubicBezTo>
                    <a:pt x="215" y="93"/>
                    <a:pt x="187" y="57"/>
                    <a:pt x="147" y="46"/>
                  </a:cubicBezTo>
                  <a:cubicBezTo>
                    <a:pt x="149" y="42"/>
                    <a:pt x="151" y="37"/>
                    <a:pt x="151" y="32"/>
                  </a:cubicBezTo>
                  <a:cubicBezTo>
                    <a:pt x="151" y="14"/>
                    <a:pt x="136" y="0"/>
                    <a:pt x="119" y="0"/>
                  </a:cubicBezTo>
                  <a:cubicBezTo>
                    <a:pt x="101" y="0"/>
                    <a:pt x="87" y="14"/>
                    <a:pt x="87" y="32"/>
                  </a:cubicBezTo>
                  <a:cubicBezTo>
                    <a:pt x="87" y="37"/>
                    <a:pt x="88" y="42"/>
                    <a:pt x="90" y="46"/>
                  </a:cubicBezTo>
                  <a:cubicBezTo>
                    <a:pt x="50" y="57"/>
                    <a:pt x="23" y="93"/>
                    <a:pt x="23" y="138"/>
                  </a:cubicBezTo>
                  <a:cubicBezTo>
                    <a:pt x="23" y="190"/>
                    <a:pt x="2" y="252"/>
                    <a:pt x="2" y="252"/>
                  </a:cubicBezTo>
                  <a:cubicBezTo>
                    <a:pt x="0" y="257"/>
                    <a:pt x="2" y="263"/>
                    <a:pt x="7" y="265"/>
                  </a:cubicBezTo>
                  <a:cubicBezTo>
                    <a:pt x="9" y="266"/>
                    <a:pt x="34" y="278"/>
                    <a:pt x="77" y="283"/>
                  </a:cubicBezTo>
                  <a:cubicBezTo>
                    <a:pt x="79" y="303"/>
                    <a:pt x="97" y="320"/>
                    <a:pt x="119" y="320"/>
                  </a:cubicBezTo>
                  <a:cubicBezTo>
                    <a:pt x="141" y="320"/>
                    <a:pt x="159" y="303"/>
                    <a:pt x="161" y="281"/>
                  </a:cubicBezTo>
                  <a:cubicBezTo>
                    <a:pt x="182" y="278"/>
                    <a:pt x="204" y="273"/>
                    <a:pt x="229" y="266"/>
                  </a:cubicBezTo>
                  <a:cubicBezTo>
                    <a:pt x="231" y="265"/>
                    <a:pt x="234" y="263"/>
                    <a:pt x="235" y="261"/>
                  </a:cubicBezTo>
                  <a:cubicBezTo>
                    <a:pt x="236" y="258"/>
                    <a:pt x="236" y="255"/>
                    <a:pt x="235" y="252"/>
                  </a:cubicBezTo>
                  <a:close/>
                  <a:moveTo>
                    <a:pt x="108" y="32"/>
                  </a:moveTo>
                  <a:cubicBezTo>
                    <a:pt x="108" y="26"/>
                    <a:pt x="113" y="21"/>
                    <a:pt x="119" y="21"/>
                  </a:cubicBezTo>
                  <a:cubicBezTo>
                    <a:pt x="125" y="21"/>
                    <a:pt x="129" y="26"/>
                    <a:pt x="129" y="32"/>
                  </a:cubicBezTo>
                  <a:cubicBezTo>
                    <a:pt x="129" y="38"/>
                    <a:pt x="125" y="42"/>
                    <a:pt x="119" y="42"/>
                  </a:cubicBezTo>
                  <a:cubicBezTo>
                    <a:pt x="113" y="42"/>
                    <a:pt x="108" y="38"/>
                    <a:pt x="108" y="32"/>
                  </a:cubicBezTo>
                  <a:close/>
                  <a:moveTo>
                    <a:pt x="119" y="298"/>
                  </a:moveTo>
                  <a:cubicBezTo>
                    <a:pt x="109" y="298"/>
                    <a:pt x="102" y="292"/>
                    <a:pt x="99" y="284"/>
                  </a:cubicBezTo>
                  <a:cubicBezTo>
                    <a:pt x="103" y="284"/>
                    <a:pt x="107" y="285"/>
                    <a:pt x="112" y="285"/>
                  </a:cubicBezTo>
                  <a:cubicBezTo>
                    <a:pt x="120" y="285"/>
                    <a:pt x="129" y="284"/>
                    <a:pt x="139" y="283"/>
                  </a:cubicBezTo>
                  <a:cubicBezTo>
                    <a:pt x="136" y="292"/>
                    <a:pt x="128" y="298"/>
                    <a:pt x="119" y="298"/>
                  </a:cubicBezTo>
                  <a:close/>
                  <a:moveTo>
                    <a:pt x="25" y="249"/>
                  </a:moveTo>
                  <a:cubicBezTo>
                    <a:pt x="31" y="229"/>
                    <a:pt x="44" y="182"/>
                    <a:pt x="44" y="138"/>
                  </a:cubicBezTo>
                  <a:cubicBezTo>
                    <a:pt x="44" y="94"/>
                    <a:pt x="75" y="64"/>
                    <a:pt x="119" y="64"/>
                  </a:cubicBezTo>
                  <a:cubicBezTo>
                    <a:pt x="163" y="64"/>
                    <a:pt x="193" y="94"/>
                    <a:pt x="193" y="138"/>
                  </a:cubicBezTo>
                  <a:cubicBezTo>
                    <a:pt x="193" y="181"/>
                    <a:pt x="206" y="228"/>
                    <a:pt x="212" y="249"/>
                  </a:cubicBezTo>
                  <a:cubicBezTo>
                    <a:pt x="116" y="276"/>
                    <a:pt x="48" y="258"/>
                    <a:pt x="25" y="2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5" name="Freeform 598">
            <a:extLst>
              <a:ext uri="{FF2B5EF4-FFF2-40B4-BE49-F238E27FC236}">
                <a16:creationId xmlns:a16="http://schemas.microsoft.com/office/drawing/2014/main" id="{49A088C4-43F7-4E9D-AF6E-F6ACB6886C93}"/>
              </a:ext>
            </a:extLst>
          </p:cNvPr>
          <p:cNvSpPr>
            <a:spLocks noChangeAspect="1" noEditPoints="1"/>
          </p:cNvSpPr>
          <p:nvPr/>
        </p:nvSpPr>
        <p:spPr bwMode="auto">
          <a:xfrm>
            <a:off x="6565241" y="1700213"/>
            <a:ext cx="367982" cy="367982"/>
          </a:xfrm>
          <a:custGeom>
            <a:avLst/>
            <a:gdLst>
              <a:gd name="T0" fmla="*/ 160 w 512"/>
              <a:gd name="T1" fmla="*/ 128 h 512"/>
              <a:gd name="T2" fmla="*/ 352 w 512"/>
              <a:gd name="T3" fmla="*/ 128 h 512"/>
              <a:gd name="T4" fmla="*/ 352 w 512"/>
              <a:gd name="T5" fmla="*/ 372 h 512"/>
              <a:gd name="T6" fmla="*/ 262 w 512"/>
              <a:gd name="T7" fmla="*/ 301 h 512"/>
              <a:gd name="T8" fmla="*/ 256 w 512"/>
              <a:gd name="T9" fmla="*/ 298 h 512"/>
              <a:gd name="T10" fmla="*/ 249 w 512"/>
              <a:gd name="T11" fmla="*/ 301 h 512"/>
              <a:gd name="T12" fmla="*/ 160 w 512"/>
              <a:gd name="T13" fmla="*/ 372 h 512"/>
              <a:gd name="T14" fmla="*/ 160 w 512"/>
              <a:gd name="T15" fmla="*/ 12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117 h 512"/>
              <a:gd name="T28" fmla="*/ 362 w 512"/>
              <a:gd name="T29" fmla="*/ 106 h 512"/>
              <a:gd name="T30" fmla="*/ 149 w 512"/>
              <a:gd name="T31" fmla="*/ 106 h 512"/>
              <a:gd name="T32" fmla="*/ 138 w 512"/>
              <a:gd name="T33" fmla="*/ 117 h 512"/>
              <a:gd name="T34" fmla="*/ 138 w 512"/>
              <a:gd name="T35" fmla="*/ 394 h 512"/>
              <a:gd name="T36" fmla="*/ 144 w 512"/>
              <a:gd name="T37" fmla="*/ 404 h 512"/>
              <a:gd name="T38" fmla="*/ 156 w 512"/>
              <a:gd name="T39" fmla="*/ 403 h 512"/>
              <a:gd name="T40" fmla="*/ 256 w 512"/>
              <a:gd name="T41" fmla="*/ 323 h 512"/>
              <a:gd name="T42" fmla="*/ 356 w 512"/>
              <a:gd name="T43" fmla="*/ 403 h 512"/>
              <a:gd name="T44" fmla="*/ 362 w 512"/>
              <a:gd name="T45" fmla="*/ 405 h 512"/>
              <a:gd name="T46" fmla="*/ 367 w 512"/>
              <a:gd name="T47" fmla="*/ 404 h 512"/>
              <a:gd name="T48" fmla="*/ 373 w 512"/>
              <a:gd name="T49" fmla="*/ 394 h 512"/>
              <a:gd name="T50" fmla="*/ 373 w 512"/>
              <a:gd name="T51"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160" y="128"/>
                </a:moveTo>
                <a:cubicBezTo>
                  <a:pt x="352" y="128"/>
                  <a:pt x="352" y="128"/>
                  <a:pt x="352" y="128"/>
                </a:cubicBezTo>
                <a:cubicBezTo>
                  <a:pt x="352" y="372"/>
                  <a:pt x="352" y="372"/>
                  <a:pt x="352" y="372"/>
                </a:cubicBezTo>
                <a:cubicBezTo>
                  <a:pt x="262" y="301"/>
                  <a:pt x="262" y="301"/>
                  <a:pt x="262" y="301"/>
                </a:cubicBezTo>
                <a:cubicBezTo>
                  <a:pt x="260" y="299"/>
                  <a:pt x="258" y="298"/>
                  <a:pt x="256" y="298"/>
                </a:cubicBezTo>
                <a:cubicBezTo>
                  <a:pt x="253" y="298"/>
                  <a:pt x="251" y="299"/>
                  <a:pt x="249" y="301"/>
                </a:cubicBezTo>
                <a:cubicBezTo>
                  <a:pt x="160" y="372"/>
                  <a:pt x="160" y="372"/>
                  <a:pt x="160" y="372"/>
                </a:cubicBezTo>
                <a:lnTo>
                  <a:pt x="160" y="12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149" y="106"/>
                  <a:pt x="149" y="106"/>
                  <a:pt x="149" y="106"/>
                </a:cubicBezTo>
                <a:cubicBezTo>
                  <a:pt x="143" y="106"/>
                  <a:pt x="138" y="111"/>
                  <a:pt x="138" y="117"/>
                </a:cubicBezTo>
                <a:cubicBezTo>
                  <a:pt x="138" y="394"/>
                  <a:pt x="138" y="394"/>
                  <a:pt x="138" y="394"/>
                </a:cubicBezTo>
                <a:cubicBezTo>
                  <a:pt x="138" y="398"/>
                  <a:pt x="141" y="402"/>
                  <a:pt x="144" y="404"/>
                </a:cubicBezTo>
                <a:cubicBezTo>
                  <a:pt x="148" y="406"/>
                  <a:pt x="152" y="405"/>
                  <a:pt x="156" y="403"/>
                </a:cubicBezTo>
                <a:cubicBezTo>
                  <a:pt x="256" y="323"/>
                  <a:pt x="256" y="323"/>
                  <a:pt x="256" y="323"/>
                </a:cubicBezTo>
                <a:cubicBezTo>
                  <a:pt x="356" y="403"/>
                  <a:pt x="356" y="403"/>
                  <a:pt x="356" y="403"/>
                </a:cubicBezTo>
                <a:cubicBezTo>
                  <a:pt x="358" y="404"/>
                  <a:pt x="360" y="405"/>
                  <a:pt x="362" y="405"/>
                </a:cubicBezTo>
                <a:cubicBezTo>
                  <a:pt x="364" y="405"/>
                  <a:pt x="365" y="405"/>
                  <a:pt x="367" y="404"/>
                </a:cubicBezTo>
                <a:cubicBezTo>
                  <a:pt x="371" y="402"/>
                  <a:pt x="373" y="398"/>
                  <a:pt x="373" y="394"/>
                </a:cubicBezTo>
                <a:lnTo>
                  <a:pt x="373" y="1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6" name="Freeform 602">
            <a:extLst>
              <a:ext uri="{FF2B5EF4-FFF2-40B4-BE49-F238E27FC236}">
                <a16:creationId xmlns:a16="http://schemas.microsoft.com/office/drawing/2014/main" id="{4A406998-AB9D-4184-B701-753E07EF63D6}"/>
              </a:ext>
            </a:extLst>
          </p:cNvPr>
          <p:cNvSpPr>
            <a:spLocks noChangeAspect="1" noEditPoints="1"/>
          </p:cNvSpPr>
          <p:nvPr/>
        </p:nvSpPr>
        <p:spPr bwMode="auto">
          <a:xfrm>
            <a:off x="7000248" y="1700213"/>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405 h 512"/>
              <a:gd name="T22" fmla="*/ 356 w 512"/>
              <a:gd name="T23" fmla="*/ 403 h 512"/>
              <a:gd name="T24" fmla="*/ 256 w 512"/>
              <a:gd name="T25" fmla="*/ 323 h 512"/>
              <a:gd name="T26" fmla="*/ 156 w 512"/>
              <a:gd name="T27" fmla="*/ 403 h 512"/>
              <a:gd name="T28" fmla="*/ 144 w 512"/>
              <a:gd name="T29" fmla="*/ 404 h 512"/>
              <a:gd name="T30" fmla="*/ 138 w 512"/>
              <a:gd name="T31" fmla="*/ 394 h 512"/>
              <a:gd name="T32" fmla="*/ 138 w 512"/>
              <a:gd name="T33" fmla="*/ 117 h 512"/>
              <a:gd name="T34" fmla="*/ 149 w 512"/>
              <a:gd name="T35" fmla="*/ 106 h 512"/>
              <a:gd name="T36" fmla="*/ 362 w 512"/>
              <a:gd name="T37" fmla="*/ 106 h 512"/>
              <a:gd name="T38" fmla="*/ 373 w 512"/>
              <a:gd name="T39" fmla="*/ 117 h 512"/>
              <a:gd name="T40" fmla="*/ 373 w 512"/>
              <a:gd name="T41" fmla="*/ 394 h 512"/>
              <a:gd name="T42" fmla="*/ 367 w 512"/>
              <a:gd name="T43" fmla="*/ 404 h 512"/>
              <a:gd name="T44" fmla="*/ 362 w 512"/>
              <a:gd name="T45" fmla="*/ 405 h 512"/>
              <a:gd name="T46" fmla="*/ 256 w 512"/>
              <a:gd name="T47" fmla="*/ 298 h 512"/>
              <a:gd name="T48" fmla="*/ 262 w 512"/>
              <a:gd name="T49" fmla="*/ 301 h 512"/>
              <a:gd name="T50" fmla="*/ 352 w 512"/>
              <a:gd name="T51" fmla="*/ 372 h 512"/>
              <a:gd name="T52" fmla="*/ 352 w 512"/>
              <a:gd name="T53" fmla="*/ 128 h 512"/>
              <a:gd name="T54" fmla="*/ 160 w 512"/>
              <a:gd name="T55" fmla="*/ 128 h 512"/>
              <a:gd name="T56" fmla="*/ 160 w 512"/>
              <a:gd name="T57" fmla="*/ 372 h 512"/>
              <a:gd name="T58" fmla="*/ 249 w 512"/>
              <a:gd name="T59" fmla="*/ 301 h 512"/>
              <a:gd name="T60" fmla="*/ 256 w 512"/>
              <a:gd name="T6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405"/>
                </a:moveTo>
                <a:cubicBezTo>
                  <a:pt x="360" y="405"/>
                  <a:pt x="358" y="404"/>
                  <a:pt x="356" y="403"/>
                </a:cubicBezTo>
                <a:cubicBezTo>
                  <a:pt x="256" y="323"/>
                  <a:pt x="256" y="323"/>
                  <a:pt x="256" y="323"/>
                </a:cubicBezTo>
                <a:cubicBezTo>
                  <a:pt x="156" y="403"/>
                  <a:pt x="156" y="403"/>
                  <a:pt x="156" y="403"/>
                </a:cubicBezTo>
                <a:cubicBezTo>
                  <a:pt x="152" y="405"/>
                  <a:pt x="148" y="406"/>
                  <a:pt x="144" y="404"/>
                </a:cubicBezTo>
                <a:cubicBezTo>
                  <a:pt x="141" y="402"/>
                  <a:pt x="138" y="398"/>
                  <a:pt x="138" y="394"/>
                </a:cubicBezTo>
                <a:cubicBezTo>
                  <a:pt x="138" y="117"/>
                  <a:pt x="138" y="117"/>
                  <a:pt x="138" y="117"/>
                </a:cubicBezTo>
                <a:cubicBezTo>
                  <a:pt x="138" y="111"/>
                  <a:pt x="143" y="106"/>
                  <a:pt x="149" y="106"/>
                </a:cubicBezTo>
                <a:cubicBezTo>
                  <a:pt x="362" y="106"/>
                  <a:pt x="362" y="106"/>
                  <a:pt x="362" y="106"/>
                </a:cubicBezTo>
                <a:cubicBezTo>
                  <a:pt x="368" y="106"/>
                  <a:pt x="373" y="111"/>
                  <a:pt x="373" y="117"/>
                </a:cubicBezTo>
                <a:cubicBezTo>
                  <a:pt x="373" y="394"/>
                  <a:pt x="373" y="394"/>
                  <a:pt x="373" y="394"/>
                </a:cubicBezTo>
                <a:cubicBezTo>
                  <a:pt x="373" y="398"/>
                  <a:pt x="371" y="402"/>
                  <a:pt x="367" y="404"/>
                </a:cubicBezTo>
                <a:cubicBezTo>
                  <a:pt x="365" y="405"/>
                  <a:pt x="364" y="405"/>
                  <a:pt x="362" y="405"/>
                </a:cubicBezTo>
                <a:close/>
                <a:moveTo>
                  <a:pt x="256" y="298"/>
                </a:moveTo>
                <a:cubicBezTo>
                  <a:pt x="258" y="298"/>
                  <a:pt x="260" y="299"/>
                  <a:pt x="262" y="301"/>
                </a:cubicBezTo>
                <a:cubicBezTo>
                  <a:pt x="352" y="372"/>
                  <a:pt x="352" y="372"/>
                  <a:pt x="352" y="372"/>
                </a:cubicBezTo>
                <a:cubicBezTo>
                  <a:pt x="352" y="128"/>
                  <a:pt x="352" y="128"/>
                  <a:pt x="352" y="128"/>
                </a:cubicBezTo>
                <a:cubicBezTo>
                  <a:pt x="160" y="128"/>
                  <a:pt x="160" y="128"/>
                  <a:pt x="160" y="128"/>
                </a:cubicBezTo>
                <a:cubicBezTo>
                  <a:pt x="160" y="372"/>
                  <a:pt x="160" y="372"/>
                  <a:pt x="160" y="372"/>
                </a:cubicBezTo>
                <a:cubicBezTo>
                  <a:pt x="249" y="301"/>
                  <a:pt x="249" y="301"/>
                  <a:pt x="249" y="301"/>
                </a:cubicBezTo>
                <a:cubicBezTo>
                  <a:pt x="251" y="299"/>
                  <a:pt x="253" y="298"/>
                  <a:pt x="256" y="29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7" name="Freeform 606">
            <a:extLst>
              <a:ext uri="{FF2B5EF4-FFF2-40B4-BE49-F238E27FC236}">
                <a16:creationId xmlns:a16="http://schemas.microsoft.com/office/drawing/2014/main" id="{B2AA1661-EF4A-47CC-960F-DA571D23D915}"/>
              </a:ext>
            </a:extLst>
          </p:cNvPr>
          <p:cNvSpPr>
            <a:spLocks noChangeAspect="1" noEditPoints="1"/>
          </p:cNvSpPr>
          <p:nvPr/>
        </p:nvSpPr>
        <p:spPr bwMode="auto">
          <a:xfrm>
            <a:off x="7435255" y="1700213"/>
            <a:ext cx="367982" cy="367982"/>
          </a:xfrm>
          <a:custGeom>
            <a:avLst/>
            <a:gdLst>
              <a:gd name="T0" fmla="*/ 330 w 512"/>
              <a:gd name="T1" fmla="*/ 117 h 512"/>
              <a:gd name="T2" fmla="*/ 352 w 512"/>
              <a:gd name="T3" fmla="*/ 117 h 512"/>
              <a:gd name="T4" fmla="*/ 352 w 512"/>
              <a:gd name="T5" fmla="*/ 394 h 512"/>
              <a:gd name="T6" fmla="*/ 160 w 512"/>
              <a:gd name="T7" fmla="*/ 394 h 512"/>
              <a:gd name="T8" fmla="*/ 160 w 512"/>
              <a:gd name="T9" fmla="*/ 117 h 512"/>
              <a:gd name="T10" fmla="*/ 245 w 512"/>
              <a:gd name="T11" fmla="*/ 117 h 512"/>
              <a:gd name="T12" fmla="*/ 245 w 512"/>
              <a:gd name="T13" fmla="*/ 288 h 512"/>
              <a:gd name="T14" fmla="*/ 252 w 512"/>
              <a:gd name="T15" fmla="*/ 298 h 512"/>
              <a:gd name="T16" fmla="*/ 263 w 512"/>
              <a:gd name="T17" fmla="*/ 295 h 512"/>
              <a:gd name="T18" fmla="*/ 288 w 512"/>
              <a:gd name="T19" fmla="*/ 271 h 512"/>
              <a:gd name="T20" fmla="*/ 312 w 512"/>
              <a:gd name="T21" fmla="*/ 295 h 512"/>
              <a:gd name="T22" fmla="*/ 320 w 512"/>
              <a:gd name="T23" fmla="*/ 298 h 512"/>
              <a:gd name="T24" fmla="*/ 324 w 512"/>
              <a:gd name="T25" fmla="*/ 298 h 512"/>
              <a:gd name="T26" fmla="*/ 330 w 512"/>
              <a:gd name="T27" fmla="*/ 288 h 512"/>
              <a:gd name="T28" fmla="*/ 330 w 512"/>
              <a:gd name="T29" fmla="*/ 117 h 512"/>
              <a:gd name="T30" fmla="*/ 295 w 512"/>
              <a:gd name="T31" fmla="*/ 248 h 512"/>
              <a:gd name="T32" fmla="*/ 309 w 512"/>
              <a:gd name="T33" fmla="*/ 262 h 512"/>
              <a:gd name="T34" fmla="*/ 309 w 512"/>
              <a:gd name="T35" fmla="*/ 117 h 512"/>
              <a:gd name="T36" fmla="*/ 266 w 512"/>
              <a:gd name="T37" fmla="*/ 117 h 512"/>
              <a:gd name="T38" fmla="*/ 266 w 512"/>
              <a:gd name="T39" fmla="*/ 262 h 512"/>
              <a:gd name="T40" fmla="*/ 280 w 512"/>
              <a:gd name="T41" fmla="*/ 248 h 512"/>
              <a:gd name="T42" fmla="*/ 295 w 512"/>
              <a:gd name="T43" fmla="*/ 248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73 w 512"/>
              <a:gd name="T55" fmla="*/ 106 h 512"/>
              <a:gd name="T56" fmla="*/ 362 w 512"/>
              <a:gd name="T57" fmla="*/ 96 h 512"/>
              <a:gd name="T58" fmla="*/ 149 w 512"/>
              <a:gd name="T59" fmla="*/ 96 h 512"/>
              <a:gd name="T60" fmla="*/ 138 w 512"/>
              <a:gd name="T61" fmla="*/ 106 h 512"/>
              <a:gd name="T62" fmla="*/ 138 w 512"/>
              <a:gd name="T63" fmla="*/ 405 h 512"/>
              <a:gd name="T64" fmla="*/ 149 w 512"/>
              <a:gd name="T65" fmla="*/ 416 h 512"/>
              <a:gd name="T66" fmla="*/ 362 w 512"/>
              <a:gd name="T67" fmla="*/ 416 h 512"/>
              <a:gd name="T68" fmla="*/ 373 w 512"/>
              <a:gd name="T69" fmla="*/ 405 h 512"/>
              <a:gd name="T70" fmla="*/ 373 w 512"/>
              <a:gd name="T71"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30" y="117"/>
                </a:moveTo>
                <a:cubicBezTo>
                  <a:pt x="352" y="117"/>
                  <a:pt x="352" y="117"/>
                  <a:pt x="352" y="117"/>
                </a:cubicBezTo>
                <a:cubicBezTo>
                  <a:pt x="352" y="394"/>
                  <a:pt x="352" y="394"/>
                  <a:pt x="352" y="394"/>
                </a:cubicBezTo>
                <a:cubicBezTo>
                  <a:pt x="160" y="394"/>
                  <a:pt x="160" y="394"/>
                  <a:pt x="160" y="394"/>
                </a:cubicBezTo>
                <a:cubicBezTo>
                  <a:pt x="160" y="117"/>
                  <a:pt x="160" y="117"/>
                  <a:pt x="160" y="117"/>
                </a:cubicBezTo>
                <a:cubicBezTo>
                  <a:pt x="245" y="117"/>
                  <a:pt x="245" y="117"/>
                  <a:pt x="245" y="117"/>
                </a:cubicBezTo>
                <a:cubicBezTo>
                  <a:pt x="245" y="288"/>
                  <a:pt x="245" y="288"/>
                  <a:pt x="245" y="288"/>
                </a:cubicBezTo>
                <a:cubicBezTo>
                  <a:pt x="245" y="292"/>
                  <a:pt x="248" y="296"/>
                  <a:pt x="252" y="298"/>
                </a:cubicBezTo>
                <a:cubicBezTo>
                  <a:pt x="256" y="299"/>
                  <a:pt x="260" y="298"/>
                  <a:pt x="263" y="295"/>
                </a:cubicBezTo>
                <a:cubicBezTo>
                  <a:pt x="288" y="271"/>
                  <a:pt x="288" y="271"/>
                  <a:pt x="288" y="271"/>
                </a:cubicBezTo>
                <a:cubicBezTo>
                  <a:pt x="312" y="295"/>
                  <a:pt x="312" y="295"/>
                  <a:pt x="312" y="295"/>
                </a:cubicBezTo>
                <a:cubicBezTo>
                  <a:pt x="314" y="297"/>
                  <a:pt x="317" y="298"/>
                  <a:pt x="320" y="298"/>
                </a:cubicBezTo>
                <a:cubicBezTo>
                  <a:pt x="321" y="298"/>
                  <a:pt x="322" y="298"/>
                  <a:pt x="324" y="298"/>
                </a:cubicBezTo>
                <a:cubicBezTo>
                  <a:pt x="328" y="296"/>
                  <a:pt x="330" y="292"/>
                  <a:pt x="330" y="288"/>
                </a:cubicBezTo>
                <a:lnTo>
                  <a:pt x="330" y="117"/>
                </a:lnTo>
                <a:close/>
                <a:moveTo>
                  <a:pt x="295" y="248"/>
                </a:moveTo>
                <a:cubicBezTo>
                  <a:pt x="309" y="262"/>
                  <a:pt x="309" y="262"/>
                  <a:pt x="309" y="262"/>
                </a:cubicBezTo>
                <a:cubicBezTo>
                  <a:pt x="309" y="117"/>
                  <a:pt x="309" y="117"/>
                  <a:pt x="309" y="117"/>
                </a:cubicBezTo>
                <a:cubicBezTo>
                  <a:pt x="266" y="117"/>
                  <a:pt x="266" y="117"/>
                  <a:pt x="266" y="117"/>
                </a:cubicBezTo>
                <a:cubicBezTo>
                  <a:pt x="266" y="262"/>
                  <a:pt x="266" y="262"/>
                  <a:pt x="266" y="262"/>
                </a:cubicBezTo>
                <a:cubicBezTo>
                  <a:pt x="280" y="248"/>
                  <a:pt x="280" y="248"/>
                  <a:pt x="280" y="248"/>
                </a:cubicBezTo>
                <a:cubicBezTo>
                  <a:pt x="284" y="244"/>
                  <a:pt x="291" y="244"/>
                  <a:pt x="295" y="24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98" name="Group 609">
            <a:extLst>
              <a:ext uri="{FF2B5EF4-FFF2-40B4-BE49-F238E27FC236}">
                <a16:creationId xmlns:a16="http://schemas.microsoft.com/office/drawing/2014/main" id="{D1811B8B-0213-4C37-8865-32E17067ECCD}"/>
              </a:ext>
            </a:extLst>
          </p:cNvPr>
          <p:cNvGrpSpPr>
            <a:grpSpLocks noChangeAspect="1"/>
          </p:cNvGrpSpPr>
          <p:nvPr/>
        </p:nvGrpSpPr>
        <p:grpSpPr bwMode="auto">
          <a:xfrm>
            <a:off x="7870262" y="1700213"/>
            <a:ext cx="367982" cy="367982"/>
            <a:chOff x="3724" y="2689"/>
            <a:chExt cx="340" cy="340"/>
          </a:xfrm>
          <a:solidFill>
            <a:schemeClr val="accent1"/>
          </a:solidFill>
        </p:grpSpPr>
        <p:sp>
          <p:nvSpPr>
            <p:cNvPr id="399" name="Freeform 289">
              <a:extLst>
                <a:ext uri="{FF2B5EF4-FFF2-40B4-BE49-F238E27FC236}">
                  <a16:creationId xmlns:a16="http://schemas.microsoft.com/office/drawing/2014/main" id="{3802D05F-12C6-4116-B013-4A3A4DAB6686}"/>
                </a:ext>
              </a:extLst>
            </p:cNvPr>
            <p:cNvSpPr>
              <a:spLocks noEditPoints="1"/>
            </p:cNvSpPr>
            <p:nvPr/>
          </p:nvSpPr>
          <p:spPr bwMode="auto">
            <a:xfrm>
              <a:off x="3816" y="2753"/>
              <a:ext cx="156" cy="212"/>
            </a:xfrm>
            <a:custGeom>
              <a:avLst/>
              <a:gdLst>
                <a:gd name="T0" fmla="*/ 224 w 235"/>
                <a:gd name="T1" fmla="*/ 0 h 320"/>
                <a:gd name="T2" fmla="*/ 11 w 235"/>
                <a:gd name="T3" fmla="*/ 0 h 320"/>
                <a:gd name="T4" fmla="*/ 0 w 235"/>
                <a:gd name="T5" fmla="*/ 10 h 320"/>
                <a:gd name="T6" fmla="*/ 0 w 235"/>
                <a:gd name="T7" fmla="*/ 309 h 320"/>
                <a:gd name="T8" fmla="*/ 11 w 235"/>
                <a:gd name="T9" fmla="*/ 320 h 320"/>
                <a:gd name="T10" fmla="*/ 224 w 235"/>
                <a:gd name="T11" fmla="*/ 320 h 320"/>
                <a:gd name="T12" fmla="*/ 235 w 235"/>
                <a:gd name="T13" fmla="*/ 309 h 320"/>
                <a:gd name="T14" fmla="*/ 235 w 235"/>
                <a:gd name="T15" fmla="*/ 10 h 320"/>
                <a:gd name="T16" fmla="*/ 224 w 235"/>
                <a:gd name="T17" fmla="*/ 0 h 320"/>
                <a:gd name="T18" fmla="*/ 128 w 235"/>
                <a:gd name="T19" fmla="*/ 21 h 320"/>
                <a:gd name="T20" fmla="*/ 171 w 235"/>
                <a:gd name="T21" fmla="*/ 21 h 320"/>
                <a:gd name="T22" fmla="*/ 171 w 235"/>
                <a:gd name="T23" fmla="*/ 166 h 320"/>
                <a:gd name="T24" fmla="*/ 157 w 235"/>
                <a:gd name="T25" fmla="*/ 152 h 320"/>
                <a:gd name="T26" fmla="*/ 142 w 235"/>
                <a:gd name="T27" fmla="*/ 152 h 320"/>
                <a:gd name="T28" fmla="*/ 128 w 235"/>
                <a:gd name="T29" fmla="*/ 166 h 320"/>
                <a:gd name="T30" fmla="*/ 128 w 235"/>
                <a:gd name="T31" fmla="*/ 21 h 320"/>
                <a:gd name="T32" fmla="*/ 214 w 235"/>
                <a:gd name="T33" fmla="*/ 298 h 320"/>
                <a:gd name="T34" fmla="*/ 22 w 235"/>
                <a:gd name="T35" fmla="*/ 298 h 320"/>
                <a:gd name="T36" fmla="*/ 22 w 235"/>
                <a:gd name="T37" fmla="*/ 21 h 320"/>
                <a:gd name="T38" fmla="*/ 107 w 235"/>
                <a:gd name="T39" fmla="*/ 21 h 320"/>
                <a:gd name="T40" fmla="*/ 107 w 235"/>
                <a:gd name="T41" fmla="*/ 192 h 320"/>
                <a:gd name="T42" fmla="*/ 114 w 235"/>
                <a:gd name="T43" fmla="*/ 202 h 320"/>
                <a:gd name="T44" fmla="*/ 125 w 235"/>
                <a:gd name="T45" fmla="*/ 199 h 320"/>
                <a:gd name="T46" fmla="*/ 150 w 235"/>
                <a:gd name="T47" fmla="*/ 175 h 320"/>
                <a:gd name="T48" fmla="*/ 174 w 235"/>
                <a:gd name="T49" fmla="*/ 199 h 320"/>
                <a:gd name="T50" fmla="*/ 182 w 235"/>
                <a:gd name="T51" fmla="*/ 202 h 320"/>
                <a:gd name="T52" fmla="*/ 186 w 235"/>
                <a:gd name="T53" fmla="*/ 202 h 320"/>
                <a:gd name="T54" fmla="*/ 192 w 235"/>
                <a:gd name="T55" fmla="*/ 192 h 320"/>
                <a:gd name="T56" fmla="*/ 192 w 235"/>
                <a:gd name="T57" fmla="*/ 21 h 320"/>
                <a:gd name="T58" fmla="*/ 214 w 235"/>
                <a:gd name="T59" fmla="*/ 21 h 320"/>
                <a:gd name="T60" fmla="*/ 214 w 235"/>
                <a:gd name="T6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128" y="21"/>
                  </a:moveTo>
                  <a:cubicBezTo>
                    <a:pt x="171" y="21"/>
                    <a:pt x="171" y="21"/>
                    <a:pt x="171" y="21"/>
                  </a:cubicBezTo>
                  <a:cubicBezTo>
                    <a:pt x="171" y="166"/>
                    <a:pt x="171" y="166"/>
                    <a:pt x="171" y="166"/>
                  </a:cubicBezTo>
                  <a:cubicBezTo>
                    <a:pt x="157" y="152"/>
                    <a:pt x="157" y="152"/>
                    <a:pt x="157" y="152"/>
                  </a:cubicBezTo>
                  <a:cubicBezTo>
                    <a:pt x="153" y="148"/>
                    <a:pt x="146" y="148"/>
                    <a:pt x="142" y="152"/>
                  </a:cubicBezTo>
                  <a:cubicBezTo>
                    <a:pt x="128" y="166"/>
                    <a:pt x="128" y="166"/>
                    <a:pt x="128" y="166"/>
                  </a:cubicBezTo>
                  <a:lnTo>
                    <a:pt x="128" y="21"/>
                  </a:lnTo>
                  <a:close/>
                  <a:moveTo>
                    <a:pt x="214" y="298"/>
                  </a:moveTo>
                  <a:cubicBezTo>
                    <a:pt x="22" y="298"/>
                    <a:pt x="22" y="298"/>
                    <a:pt x="22" y="298"/>
                  </a:cubicBezTo>
                  <a:cubicBezTo>
                    <a:pt x="22" y="21"/>
                    <a:pt x="22" y="21"/>
                    <a:pt x="22" y="21"/>
                  </a:cubicBezTo>
                  <a:cubicBezTo>
                    <a:pt x="107" y="21"/>
                    <a:pt x="107" y="21"/>
                    <a:pt x="107" y="21"/>
                  </a:cubicBezTo>
                  <a:cubicBezTo>
                    <a:pt x="107" y="192"/>
                    <a:pt x="107" y="192"/>
                    <a:pt x="107" y="192"/>
                  </a:cubicBezTo>
                  <a:cubicBezTo>
                    <a:pt x="107" y="196"/>
                    <a:pt x="110" y="200"/>
                    <a:pt x="114" y="202"/>
                  </a:cubicBezTo>
                  <a:cubicBezTo>
                    <a:pt x="118" y="203"/>
                    <a:pt x="122" y="202"/>
                    <a:pt x="125" y="199"/>
                  </a:cubicBezTo>
                  <a:cubicBezTo>
                    <a:pt x="150" y="175"/>
                    <a:pt x="150" y="175"/>
                    <a:pt x="150" y="175"/>
                  </a:cubicBezTo>
                  <a:cubicBezTo>
                    <a:pt x="174" y="199"/>
                    <a:pt x="174" y="199"/>
                    <a:pt x="174" y="199"/>
                  </a:cubicBezTo>
                  <a:cubicBezTo>
                    <a:pt x="176" y="201"/>
                    <a:pt x="179" y="202"/>
                    <a:pt x="182" y="202"/>
                  </a:cubicBezTo>
                  <a:cubicBezTo>
                    <a:pt x="183" y="202"/>
                    <a:pt x="184" y="202"/>
                    <a:pt x="186" y="202"/>
                  </a:cubicBezTo>
                  <a:cubicBezTo>
                    <a:pt x="190" y="200"/>
                    <a:pt x="192" y="196"/>
                    <a:pt x="192" y="192"/>
                  </a:cubicBezTo>
                  <a:cubicBezTo>
                    <a:pt x="192" y="21"/>
                    <a:pt x="192" y="21"/>
                    <a:pt x="192" y="21"/>
                  </a:cubicBezTo>
                  <a:cubicBezTo>
                    <a:pt x="214" y="21"/>
                    <a:pt x="214" y="21"/>
                    <a:pt x="214" y="21"/>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0" name="Freeform 290">
              <a:extLst>
                <a:ext uri="{FF2B5EF4-FFF2-40B4-BE49-F238E27FC236}">
                  <a16:creationId xmlns:a16="http://schemas.microsoft.com/office/drawing/2014/main" id="{0DD319A6-8D38-470B-AFB8-63741CDC9E00}"/>
                </a:ext>
              </a:extLst>
            </p:cNvPr>
            <p:cNvSpPr>
              <a:spLocks noEditPoints="1"/>
            </p:cNvSpPr>
            <p:nvPr/>
          </p:nvSpPr>
          <p:spPr bwMode="auto">
            <a:xfrm>
              <a:off x="3724" y="26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1" name="Freeform 723">
            <a:extLst>
              <a:ext uri="{FF2B5EF4-FFF2-40B4-BE49-F238E27FC236}">
                <a16:creationId xmlns:a16="http://schemas.microsoft.com/office/drawing/2014/main" id="{18A7B831-47C1-4E46-8EC4-FCFB5A9F82B7}"/>
              </a:ext>
            </a:extLst>
          </p:cNvPr>
          <p:cNvSpPr>
            <a:spLocks noChangeAspect="1" noEditPoints="1"/>
          </p:cNvSpPr>
          <p:nvPr/>
        </p:nvSpPr>
        <p:spPr bwMode="auto">
          <a:xfrm>
            <a:off x="10046056" y="1700213"/>
            <a:ext cx="367982" cy="367982"/>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2" name="Group 726">
            <a:extLst>
              <a:ext uri="{FF2B5EF4-FFF2-40B4-BE49-F238E27FC236}">
                <a16:creationId xmlns:a16="http://schemas.microsoft.com/office/drawing/2014/main" id="{5EE0A62C-9F60-473D-8FAA-2F55012F9763}"/>
              </a:ext>
            </a:extLst>
          </p:cNvPr>
          <p:cNvGrpSpPr>
            <a:grpSpLocks noChangeAspect="1"/>
          </p:cNvGrpSpPr>
          <p:nvPr/>
        </p:nvGrpSpPr>
        <p:grpSpPr bwMode="auto">
          <a:xfrm>
            <a:off x="10481063" y="1700213"/>
            <a:ext cx="367982" cy="367982"/>
            <a:chOff x="5022" y="3403"/>
            <a:chExt cx="340" cy="340"/>
          </a:xfrm>
          <a:solidFill>
            <a:schemeClr val="accent2"/>
          </a:solidFill>
        </p:grpSpPr>
        <p:sp>
          <p:nvSpPr>
            <p:cNvPr id="403" name="Freeform 727">
              <a:extLst>
                <a:ext uri="{FF2B5EF4-FFF2-40B4-BE49-F238E27FC236}">
                  <a16:creationId xmlns:a16="http://schemas.microsoft.com/office/drawing/2014/main" id="{549885C2-0EBE-4A97-979A-139A9D846216}"/>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4" name="Freeform 728">
              <a:extLst>
                <a:ext uri="{FF2B5EF4-FFF2-40B4-BE49-F238E27FC236}">
                  <a16:creationId xmlns:a16="http://schemas.microsoft.com/office/drawing/2014/main" id="{583471FE-56C6-4A66-9E1C-D9DA98084EFE}"/>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5" name="Freeform 732">
            <a:extLst>
              <a:ext uri="{FF2B5EF4-FFF2-40B4-BE49-F238E27FC236}">
                <a16:creationId xmlns:a16="http://schemas.microsoft.com/office/drawing/2014/main" id="{192FFA40-E054-41CB-AC99-0E2CFE43626E}"/>
              </a:ext>
            </a:extLst>
          </p:cNvPr>
          <p:cNvSpPr>
            <a:spLocks noChangeAspect="1" noEditPoints="1"/>
          </p:cNvSpPr>
          <p:nvPr/>
        </p:nvSpPr>
        <p:spPr bwMode="auto">
          <a:xfrm>
            <a:off x="10916070" y="170021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128 w 512"/>
              <a:gd name="T13" fmla="*/ 352 h 512"/>
              <a:gd name="T14" fmla="*/ 117 w 512"/>
              <a:gd name="T15" fmla="*/ 341 h 512"/>
              <a:gd name="T16" fmla="*/ 128 w 512"/>
              <a:gd name="T17" fmla="*/ 330 h 512"/>
              <a:gd name="T18" fmla="*/ 384 w 512"/>
              <a:gd name="T19" fmla="*/ 330 h 512"/>
              <a:gd name="T20" fmla="*/ 394 w 512"/>
              <a:gd name="T21" fmla="*/ 341 h 512"/>
              <a:gd name="T22" fmla="*/ 384 w 512"/>
              <a:gd name="T23" fmla="*/ 352 h 512"/>
              <a:gd name="T24" fmla="*/ 384 w 512"/>
              <a:gd name="T25" fmla="*/ 266 h 512"/>
              <a:gd name="T26" fmla="*/ 128 w 512"/>
              <a:gd name="T27" fmla="*/ 266 h 512"/>
              <a:gd name="T28" fmla="*/ 117 w 512"/>
              <a:gd name="T29" fmla="*/ 256 h 512"/>
              <a:gd name="T30" fmla="*/ 128 w 512"/>
              <a:gd name="T31" fmla="*/ 245 h 512"/>
              <a:gd name="T32" fmla="*/ 384 w 512"/>
              <a:gd name="T33" fmla="*/ 245 h 512"/>
              <a:gd name="T34" fmla="*/ 394 w 512"/>
              <a:gd name="T35" fmla="*/ 256 h 512"/>
              <a:gd name="T36" fmla="*/ 384 w 512"/>
              <a:gd name="T37" fmla="*/ 266 h 512"/>
              <a:gd name="T38" fmla="*/ 384 w 512"/>
              <a:gd name="T39" fmla="*/ 181 h 512"/>
              <a:gd name="T40" fmla="*/ 128 w 512"/>
              <a:gd name="T41" fmla="*/ 181 h 512"/>
              <a:gd name="T42" fmla="*/ 117 w 512"/>
              <a:gd name="T43" fmla="*/ 170 h 512"/>
              <a:gd name="T44" fmla="*/ 128 w 512"/>
              <a:gd name="T45" fmla="*/ 160 h 512"/>
              <a:gd name="T46" fmla="*/ 384 w 512"/>
              <a:gd name="T47" fmla="*/ 160 h 512"/>
              <a:gd name="T48" fmla="*/ 394 w 512"/>
              <a:gd name="T49" fmla="*/ 170 h 512"/>
              <a:gd name="T50" fmla="*/ 384 w 512"/>
              <a:gd name="T5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128" y="352"/>
                  <a:pt x="128" y="352"/>
                  <a:pt x="128" y="352"/>
                </a:cubicBezTo>
                <a:cubicBezTo>
                  <a:pt x="122" y="352"/>
                  <a:pt x="117" y="347"/>
                  <a:pt x="117" y="341"/>
                </a:cubicBezTo>
                <a:cubicBezTo>
                  <a:pt x="117" y="335"/>
                  <a:pt x="122" y="330"/>
                  <a:pt x="128" y="330"/>
                </a:cubicBezTo>
                <a:cubicBezTo>
                  <a:pt x="384" y="330"/>
                  <a:pt x="384" y="330"/>
                  <a:pt x="384" y="330"/>
                </a:cubicBezTo>
                <a:cubicBezTo>
                  <a:pt x="390" y="330"/>
                  <a:pt x="394" y="335"/>
                  <a:pt x="394" y="341"/>
                </a:cubicBezTo>
                <a:cubicBezTo>
                  <a:pt x="394" y="347"/>
                  <a:pt x="390" y="352"/>
                  <a:pt x="384" y="352"/>
                </a:cubicBezTo>
                <a:close/>
                <a:moveTo>
                  <a:pt x="384" y="266"/>
                </a:moveTo>
                <a:cubicBezTo>
                  <a:pt x="128" y="266"/>
                  <a:pt x="128" y="266"/>
                  <a:pt x="128" y="266"/>
                </a:cubicBezTo>
                <a:cubicBezTo>
                  <a:pt x="122" y="266"/>
                  <a:pt x="117" y="262"/>
                  <a:pt x="117" y="256"/>
                </a:cubicBezTo>
                <a:cubicBezTo>
                  <a:pt x="117" y="250"/>
                  <a:pt x="122" y="245"/>
                  <a:pt x="128" y="245"/>
                </a:cubicBezTo>
                <a:cubicBezTo>
                  <a:pt x="384" y="245"/>
                  <a:pt x="384" y="245"/>
                  <a:pt x="384" y="245"/>
                </a:cubicBezTo>
                <a:cubicBezTo>
                  <a:pt x="390" y="245"/>
                  <a:pt x="394" y="250"/>
                  <a:pt x="394" y="256"/>
                </a:cubicBezTo>
                <a:cubicBezTo>
                  <a:pt x="394" y="262"/>
                  <a:pt x="390" y="266"/>
                  <a:pt x="384" y="266"/>
                </a:cubicBezTo>
                <a:close/>
                <a:moveTo>
                  <a:pt x="384" y="181"/>
                </a:moveTo>
                <a:cubicBezTo>
                  <a:pt x="128" y="181"/>
                  <a:pt x="128" y="181"/>
                  <a:pt x="128" y="181"/>
                </a:cubicBezTo>
                <a:cubicBezTo>
                  <a:pt x="122" y="181"/>
                  <a:pt x="117" y="176"/>
                  <a:pt x="117" y="170"/>
                </a:cubicBezTo>
                <a:cubicBezTo>
                  <a:pt x="117" y="164"/>
                  <a:pt x="122" y="160"/>
                  <a:pt x="128" y="160"/>
                </a:cubicBezTo>
                <a:cubicBezTo>
                  <a:pt x="384" y="160"/>
                  <a:pt x="384" y="160"/>
                  <a:pt x="384" y="160"/>
                </a:cubicBezTo>
                <a:cubicBezTo>
                  <a:pt x="390" y="160"/>
                  <a:pt x="394" y="164"/>
                  <a:pt x="394" y="170"/>
                </a:cubicBezTo>
                <a:cubicBezTo>
                  <a:pt x="394" y="176"/>
                  <a:pt x="390" y="181"/>
                  <a:pt x="384" y="18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6" name="Group 735">
            <a:extLst>
              <a:ext uri="{FF2B5EF4-FFF2-40B4-BE49-F238E27FC236}">
                <a16:creationId xmlns:a16="http://schemas.microsoft.com/office/drawing/2014/main" id="{705370D2-0FD5-4E7A-BB26-406BC2DC9E86}"/>
              </a:ext>
            </a:extLst>
          </p:cNvPr>
          <p:cNvGrpSpPr>
            <a:grpSpLocks noChangeAspect="1"/>
          </p:cNvGrpSpPr>
          <p:nvPr/>
        </p:nvGrpSpPr>
        <p:grpSpPr bwMode="auto">
          <a:xfrm>
            <a:off x="11351087" y="1700213"/>
            <a:ext cx="367982" cy="369064"/>
            <a:chOff x="5238" y="3487"/>
            <a:chExt cx="340" cy="341"/>
          </a:xfrm>
          <a:solidFill>
            <a:schemeClr val="accent2"/>
          </a:solidFill>
        </p:grpSpPr>
        <p:sp>
          <p:nvSpPr>
            <p:cNvPr id="407" name="Freeform 736">
              <a:extLst>
                <a:ext uri="{FF2B5EF4-FFF2-40B4-BE49-F238E27FC236}">
                  <a16:creationId xmlns:a16="http://schemas.microsoft.com/office/drawing/2014/main" id="{5A07CED4-1CCE-4827-87FB-0225CA399930}"/>
                </a:ext>
              </a:extLst>
            </p:cNvPr>
            <p:cNvSpPr>
              <a:spLocks/>
            </p:cNvSpPr>
            <p:nvPr/>
          </p:nvSpPr>
          <p:spPr bwMode="auto">
            <a:xfrm>
              <a:off x="5316" y="3650"/>
              <a:ext cx="184" cy="14"/>
            </a:xfrm>
            <a:custGeom>
              <a:avLst/>
              <a:gdLst>
                <a:gd name="T0" fmla="*/ 267 w 277"/>
                <a:gd name="T1" fmla="*/ 0 h 21"/>
                <a:gd name="T2" fmla="*/ 11 w 277"/>
                <a:gd name="T3" fmla="*/ 0 h 21"/>
                <a:gd name="T4" fmla="*/ 0 w 277"/>
                <a:gd name="T5" fmla="*/ 11 h 21"/>
                <a:gd name="T6" fmla="*/ 11 w 277"/>
                <a:gd name="T7" fmla="*/ 21 h 21"/>
                <a:gd name="T8" fmla="*/ 267 w 277"/>
                <a:gd name="T9" fmla="*/ 21 h 21"/>
                <a:gd name="T10" fmla="*/ 277 w 277"/>
                <a:gd name="T11" fmla="*/ 11 h 21"/>
                <a:gd name="T12" fmla="*/ 267 w 277"/>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267" y="0"/>
                  </a:moveTo>
                  <a:cubicBezTo>
                    <a:pt x="11" y="0"/>
                    <a:pt x="11" y="0"/>
                    <a:pt x="11" y="0"/>
                  </a:cubicBezTo>
                  <a:cubicBezTo>
                    <a:pt x="5" y="0"/>
                    <a:pt x="0" y="5"/>
                    <a:pt x="0" y="11"/>
                  </a:cubicBezTo>
                  <a:cubicBezTo>
                    <a:pt x="0" y="17"/>
                    <a:pt x="5" y="21"/>
                    <a:pt x="11" y="21"/>
                  </a:cubicBezTo>
                  <a:cubicBezTo>
                    <a:pt x="267" y="21"/>
                    <a:pt x="267" y="21"/>
                    <a:pt x="267" y="21"/>
                  </a:cubicBezTo>
                  <a:cubicBezTo>
                    <a:pt x="273" y="21"/>
                    <a:pt x="277" y="17"/>
                    <a:pt x="277" y="11"/>
                  </a:cubicBezTo>
                  <a:cubicBezTo>
                    <a:pt x="277" y="5"/>
                    <a:pt x="273" y="0"/>
                    <a:pt x="26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8" name="Freeform 737">
              <a:extLst>
                <a:ext uri="{FF2B5EF4-FFF2-40B4-BE49-F238E27FC236}">
                  <a16:creationId xmlns:a16="http://schemas.microsoft.com/office/drawing/2014/main" id="{809EB93C-5727-4AE9-B963-09AF8D435F76}"/>
                </a:ext>
              </a:extLst>
            </p:cNvPr>
            <p:cNvSpPr>
              <a:spLocks/>
            </p:cNvSpPr>
            <p:nvPr/>
          </p:nvSpPr>
          <p:spPr bwMode="auto">
            <a:xfrm>
              <a:off x="5316" y="3594"/>
              <a:ext cx="184" cy="14"/>
            </a:xfrm>
            <a:custGeom>
              <a:avLst/>
              <a:gdLst>
                <a:gd name="T0" fmla="*/ 11 w 277"/>
                <a:gd name="T1" fmla="*/ 21 h 21"/>
                <a:gd name="T2" fmla="*/ 267 w 277"/>
                <a:gd name="T3" fmla="*/ 21 h 21"/>
                <a:gd name="T4" fmla="*/ 277 w 277"/>
                <a:gd name="T5" fmla="*/ 10 h 21"/>
                <a:gd name="T6" fmla="*/ 267 w 277"/>
                <a:gd name="T7" fmla="*/ 0 h 21"/>
                <a:gd name="T8" fmla="*/ 11 w 277"/>
                <a:gd name="T9" fmla="*/ 0 h 21"/>
                <a:gd name="T10" fmla="*/ 0 w 277"/>
                <a:gd name="T11" fmla="*/ 10 h 21"/>
                <a:gd name="T12" fmla="*/ 11 w 277"/>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9" name="Freeform 738">
              <a:extLst>
                <a:ext uri="{FF2B5EF4-FFF2-40B4-BE49-F238E27FC236}">
                  <a16:creationId xmlns:a16="http://schemas.microsoft.com/office/drawing/2014/main" id="{7E68601C-5187-408F-B269-F86AB5A59567}"/>
                </a:ext>
              </a:extLst>
            </p:cNvPr>
            <p:cNvSpPr>
              <a:spLocks/>
            </p:cNvSpPr>
            <p:nvPr/>
          </p:nvSpPr>
          <p:spPr bwMode="auto">
            <a:xfrm>
              <a:off x="5316" y="3707"/>
              <a:ext cx="184" cy="14"/>
            </a:xfrm>
            <a:custGeom>
              <a:avLst/>
              <a:gdLst>
                <a:gd name="T0" fmla="*/ 267 w 277"/>
                <a:gd name="T1" fmla="*/ 0 h 22"/>
                <a:gd name="T2" fmla="*/ 11 w 277"/>
                <a:gd name="T3" fmla="*/ 0 h 22"/>
                <a:gd name="T4" fmla="*/ 0 w 277"/>
                <a:gd name="T5" fmla="*/ 11 h 22"/>
                <a:gd name="T6" fmla="*/ 11 w 277"/>
                <a:gd name="T7" fmla="*/ 22 h 22"/>
                <a:gd name="T8" fmla="*/ 267 w 277"/>
                <a:gd name="T9" fmla="*/ 22 h 22"/>
                <a:gd name="T10" fmla="*/ 277 w 277"/>
                <a:gd name="T11" fmla="*/ 11 h 22"/>
                <a:gd name="T12" fmla="*/ 267 w 27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77" h="22">
                  <a:moveTo>
                    <a:pt x="267" y="0"/>
                  </a:moveTo>
                  <a:cubicBezTo>
                    <a:pt x="11" y="0"/>
                    <a:pt x="11" y="0"/>
                    <a:pt x="11" y="0"/>
                  </a:cubicBezTo>
                  <a:cubicBezTo>
                    <a:pt x="5" y="0"/>
                    <a:pt x="0" y="5"/>
                    <a:pt x="0" y="11"/>
                  </a:cubicBezTo>
                  <a:cubicBezTo>
                    <a:pt x="0" y="17"/>
                    <a:pt x="5" y="22"/>
                    <a:pt x="11" y="22"/>
                  </a:cubicBezTo>
                  <a:cubicBezTo>
                    <a:pt x="267" y="22"/>
                    <a:pt x="267" y="22"/>
                    <a:pt x="267" y="22"/>
                  </a:cubicBezTo>
                  <a:cubicBezTo>
                    <a:pt x="273" y="22"/>
                    <a:pt x="277" y="17"/>
                    <a:pt x="277" y="11"/>
                  </a:cubicBezTo>
                  <a:cubicBezTo>
                    <a:pt x="277" y="5"/>
                    <a:pt x="273" y="0"/>
                    <a:pt x="26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0" name="Freeform 739">
              <a:extLst>
                <a:ext uri="{FF2B5EF4-FFF2-40B4-BE49-F238E27FC236}">
                  <a16:creationId xmlns:a16="http://schemas.microsoft.com/office/drawing/2014/main" id="{12A1471F-D647-45EA-A7C5-3678191E2F89}"/>
                </a:ext>
              </a:extLst>
            </p:cNvPr>
            <p:cNvSpPr>
              <a:spLocks noEditPoints="1"/>
            </p:cNvSpPr>
            <p:nvPr/>
          </p:nvSpPr>
          <p:spPr bwMode="auto">
            <a:xfrm>
              <a:off x="5238" y="34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1" name="Freeform 743">
            <a:extLst>
              <a:ext uri="{FF2B5EF4-FFF2-40B4-BE49-F238E27FC236}">
                <a16:creationId xmlns:a16="http://schemas.microsoft.com/office/drawing/2014/main" id="{AF647749-7692-4E04-8B58-701BA6B30034}"/>
              </a:ext>
            </a:extLst>
          </p:cNvPr>
          <p:cNvSpPr>
            <a:spLocks noChangeAspect="1" noEditPoints="1"/>
          </p:cNvSpPr>
          <p:nvPr/>
        </p:nvSpPr>
        <p:spPr bwMode="auto">
          <a:xfrm>
            <a:off x="472020" y="2523383"/>
            <a:ext cx="367982" cy="367982"/>
          </a:xfrm>
          <a:custGeom>
            <a:avLst/>
            <a:gdLst>
              <a:gd name="T0" fmla="*/ 277 w 512"/>
              <a:gd name="T1" fmla="*/ 234 h 512"/>
              <a:gd name="T2" fmla="*/ 277 w 512"/>
              <a:gd name="T3" fmla="*/ 394 h 512"/>
              <a:gd name="T4" fmla="*/ 234 w 512"/>
              <a:gd name="T5" fmla="*/ 320 h 512"/>
              <a:gd name="T6" fmla="*/ 234 w 512"/>
              <a:gd name="T7" fmla="*/ 138 h 512"/>
              <a:gd name="T8" fmla="*/ 277 w 512"/>
              <a:gd name="T9" fmla="*/ 138 h 512"/>
              <a:gd name="T10" fmla="*/ 341 w 512"/>
              <a:gd name="T11" fmla="*/ 181 h 512"/>
              <a:gd name="T12" fmla="*/ 330 w 512"/>
              <a:gd name="T13" fmla="*/ 245 h 512"/>
              <a:gd name="T14" fmla="*/ 298 w 512"/>
              <a:gd name="T15" fmla="*/ 266 h 512"/>
              <a:gd name="T16" fmla="*/ 362 w 512"/>
              <a:gd name="T17" fmla="*/ 256 h 512"/>
              <a:gd name="T18" fmla="*/ 352 w 512"/>
              <a:gd name="T19" fmla="*/ 170 h 512"/>
              <a:gd name="T20" fmla="*/ 170 w 512"/>
              <a:gd name="T21" fmla="*/ 277 h 512"/>
              <a:gd name="T22" fmla="*/ 160 w 512"/>
              <a:gd name="T23" fmla="*/ 181 h 512"/>
              <a:gd name="T24" fmla="*/ 149 w 512"/>
              <a:gd name="T25" fmla="*/ 298 h 512"/>
              <a:gd name="T26" fmla="*/ 213 w 512"/>
              <a:gd name="T27" fmla="*/ 309 h 512"/>
              <a:gd name="T28" fmla="*/ 181 w 512"/>
              <a:gd name="T29" fmla="*/ 288 h 512"/>
              <a:gd name="T30" fmla="*/ 256 w 512"/>
              <a:gd name="T31" fmla="*/ 512 h 512"/>
              <a:gd name="T32" fmla="*/ 256 w 512"/>
              <a:gd name="T33" fmla="*/ 0 h 512"/>
              <a:gd name="T34" fmla="*/ 384 w 512"/>
              <a:gd name="T35" fmla="*/ 181 h 512"/>
              <a:gd name="T36" fmla="*/ 320 w 512"/>
              <a:gd name="T37" fmla="*/ 181 h 512"/>
              <a:gd name="T38" fmla="*/ 298 w 512"/>
              <a:gd name="T39" fmla="*/ 224 h 512"/>
              <a:gd name="T40" fmla="*/ 256 w 512"/>
              <a:gd name="T41" fmla="*/ 96 h 512"/>
              <a:gd name="T42" fmla="*/ 213 w 512"/>
              <a:gd name="T43" fmla="*/ 266 h 512"/>
              <a:gd name="T44" fmla="*/ 192 w 512"/>
              <a:gd name="T45" fmla="*/ 192 h 512"/>
              <a:gd name="T46" fmla="*/ 128 w 512"/>
              <a:gd name="T47" fmla="*/ 192 h 512"/>
              <a:gd name="T48" fmla="*/ 160 w 512"/>
              <a:gd name="T49" fmla="*/ 330 h 512"/>
              <a:gd name="T50" fmla="*/ 213 w 512"/>
              <a:gd name="T51" fmla="*/ 394 h 512"/>
              <a:gd name="T52" fmla="*/ 192 w 512"/>
              <a:gd name="T53" fmla="*/ 405 h 512"/>
              <a:gd name="T54" fmla="*/ 224 w 512"/>
              <a:gd name="T55" fmla="*/ 416 h 512"/>
              <a:gd name="T56" fmla="*/ 309 w 512"/>
              <a:gd name="T57" fmla="*/ 416 h 512"/>
              <a:gd name="T58" fmla="*/ 309 w 512"/>
              <a:gd name="T59" fmla="*/ 394 h 512"/>
              <a:gd name="T60" fmla="*/ 298 w 512"/>
              <a:gd name="T61" fmla="*/ 288 h 512"/>
              <a:gd name="T62" fmla="*/ 384 w 512"/>
              <a:gd name="T6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77" y="138"/>
                </a:moveTo>
                <a:cubicBezTo>
                  <a:pt x="277" y="234"/>
                  <a:pt x="277" y="234"/>
                  <a:pt x="277" y="234"/>
                </a:cubicBezTo>
                <a:cubicBezTo>
                  <a:pt x="277" y="277"/>
                  <a:pt x="277" y="277"/>
                  <a:pt x="277" y="277"/>
                </a:cubicBezTo>
                <a:cubicBezTo>
                  <a:pt x="277" y="394"/>
                  <a:pt x="277" y="394"/>
                  <a:pt x="277" y="394"/>
                </a:cubicBezTo>
                <a:cubicBezTo>
                  <a:pt x="234" y="394"/>
                  <a:pt x="234" y="394"/>
                  <a:pt x="234" y="394"/>
                </a:cubicBezTo>
                <a:cubicBezTo>
                  <a:pt x="234" y="320"/>
                  <a:pt x="234" y="320"/>
                  <a:pt x="234" y="320"/>
                </a:cubicBezTo>
                <a:cubicBezTo>
                  <a:pt x="234" y="277"/>
                  <a:pt x="234" y="277"/>
                  <a:pt x="234" y="277"/>
                </a:cubicBezTo>
                <a:cubicBezTo>
                  <a:pt x="234" y="138"/>
                  <a:pt x="234" y="138"/>
                  <a:pt x="234" y="138"/>
                </a:cubicBezTo>
                <a:cubicBezTo>
                  <a:pt x="234" y="127"/>
                  <a:pt x="244" y="117"/>
                  <a:pt x="256" y="117"/>
                </a:cubicBezTo>
                <a:cubicBezTo>
                  <a:pt x="267" y="117"/>
                  <a:pt x="277" y="127"/>
                  <a:pt x="277" y="138"/>
                </a:cubicBezTo>
                <a:close/>
                <a:moveTo>
                  <a:pt x="352" y="170"/>
                </a:moveTo>
                <a:cubicBezTo>
                  <a:pt x="346" y="170"/>
                  <a:pt x="341" y="175"/>
                  <a:pt x="341" y="181"/>
                </a:cubicBezTo>
                <a:cubicBezTo>
                  <a:pt x="341" y="234"/>
                  <a:pt x="341" y="234"/>
                  <a:pt x="341" y="234"/>
                </a:cubicBezTo>
                <a:cubicBezTo>
                  <a:pt x="341" y="240"/>
                  <a:pt x="336" y="245"/>
                  <a:pt x="330" y="245"/>
                </a:cubicBezTo>
                <a:cubicBezTo>
                  <a:pt x="298" y="245"/>
                  <a:pt x="298" y="245"/>
                  <a:pt x="298" y="245"/>
                </a:cubicBezTo>
                <a:cubicBezTo>
                  <a:pt x="298" y="266"/>
                  <a:pt x="298" y="266"/>
                  <a:pt x="298" y="266"/>
                </a:cubicBezTo>
                <a:cubicBezTo>
                  <a:pt x="352" y="266"/>
                  <a:pt x="352" y="266"/>
                  <a:pt x="352" y="266"/>
                </a:cubicBezTo>
                <a:cubicBezTo>
                  <a:pt x="358" y="266"/>
                  <a:pt x="362" y="262"/>
                  <a:pt x="362" y="256"/>
                </a:cubicBezTo>
                <a:cubicBezTo>
                  <a:pt x="362" y="181"/>
                  <a:pt x="362" y="181"/>
                  <a:pt x="362" y="181"/>
                </a:cubicBezTo>
                <a:cubicBezTo>
                  <a:pt x="362" y="175"/>
                  <a:pt x="358" y="170"/>
                  <a:pt x="352" y="170"/>
                </a:cubicBezTo>
                <a:close/>
                <a:moveTo>
                  <a:pt x="181" y="288"/>
                </a:moveTo>
                <a:cubicBezTo>
                  <a:pt x="175" y="288"/>
                  <a:pt x="170" y="283"/>
                  <a:pt x="170" y="277"/>
                </a:cubicBezTo>
                <a:cubicBezTo>
                  <a:pt x="170" y="192"/>
                  <a:pt x="170" y="192"/>
                  <a:pt x="170" y="192"/>
                </a:cubicBezTo>
                <a:cubicBezTo>
                  <a:pt x="170" y="186"/>
                  <a:pt x="166" y="181"/>
                  <a:pt x="160" y="181"/>
                </a:cubicBezTo>
                <a:cubicBezTo>
                  <a:pt x="154" y="181"/>
                  <a:pt x="149" y="186"/>
                  <a:pt x="149" y="192"/>
                </a:cubicBezTo>
                <a:cubicBezTo>
                  <a:pt x="149" y="298"/>
                  <a:pt x="149" y="298"/>
                  <a:pt x="149" y="298"/>
                </a:cubicBezTo>
                <a:cubicBezTo>
                  <a:pt x="149" y="304"/>
                  <a:pt x="154" y="309"/>
                  <a:pt x="160" y="309"/>
                </a:cubicBezTo>
                <a:cubicBezTo>
                  <a:pt x="213" y="309"/>
                  <a:pt x="213" y="309"/>
                  <a:pt x="213" y="309"/>
                </a:cubicBezTo>
                <a:cubicBezTo>
                  <a:pt x="213" y="288"/>
                  <a:pt x="213" y="288"/>
                  <a:pt x="213" y="288"/>
                </a:cubicBezTo>
                <a:lnTo>
                  <a:pt x="181"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81"/>
                </a:moveTo>
                <a:cubicBezTo>
                  <a:pt x="384" y="163"/>
                  <a:pt x="369" y="149"/>
                  <a:pt x="352" y="149"/>
                </a:cubicBezTo>
                <a:cubicBezTo>
                  <a:pt x="334" y="149"/>
                  <a:pt x="320" y="163"/>
                  <a:pt x="320" y="181"/>
                </a:cubicBezTo>
                <a:cubicBezTo>
                  <a:pt x="320" y="224"/>
                  <a:pt x="320" y="224"/>
                  <a:pt x="320" y="224"/>
                </a:cubicBezTo>
                <a:cubicBezTo>
                  <a:pt x="298" y="224"/>
                  <a:pt x="298" y="224"/>
                  <a:pt x="298" y="224"/>
                </a:cubicBezTo>
                <a:cubicBezTo>
                  <a:pt x="298" y="138"/>
                  <a:pt x="298" y="138"/>
                  <a:pt x="298" y="138"/>
                </a:cubicBezTo>
                <a:cubicBezTo>
                  <a:pt x="298" y="115"/>
                  <a:pt x="279" y="96"/>
                  <a:pt x="256" y="96"/>
                </a:cubicBezTo>
                <a:cubicBezTo>
                  <a:pt x="232" y="96"/>
                  <a:pt x="213" y="115"/>
                  <a:pt x="213" y="138"/>
                </a:cubicBezTo>
                <a:cubicBezTo>
                  <a:pt x="213" y="266"/>
                  <a:pt x="213" y="266"/>
                  <a:pt x="213" y="266"/>
                </a:cubicBezTo>
                <a:cubicBezTo>
                  <a:pt x="192" y="266"/>
                  <a:pt x="192" y="266"/>
                  <a:pt x="192" y="266"/>
                </a:cubicBezTo>
                <a:cubicBezTo>
                  <a:pt x="192" y="192"/>
                  <a:pt x="192" y="192"/>
                  <a:pt x="192" y="192"/>
                </a:cubicBezTo>
                <a:cubicBezTo>
                  <a:pt x="192" y="174"/>
                  <a:pt x="177" y="160"/>
                  <a:pt x="160" y="160"/>
                </a:cubicBezTo>
                <a:cubicBezTo>
                  <a:pt x="142" y="160"/>
                  <a:pt x="128" y="174"/>
                  <a:pt x="128" y="192"/>
                </a:cubicBezTo>
                <a:cubicBezTo>
                  <a:pt x="128" y="298"/>
                  <a:pt x="128" y="298"/>
                  <a:pt x="128" y="298"/>
                </a:cubicBezTo>
                <a:cubicBezTo>
                  <a:pt x="128" y="316"/>
                  <a:pt x="142" y="330"/>
                  <a:pt x="160" y="330"/>
                </a:cubicBezTo>
                <a:cubicBezTo>
                  <a:pt x="213" y="330"/>
                  <a:pt x="213" y="330"/>
                  <a:pt x="213" y="330"/>
                </a:cubicBezTo>
                <a:cubicBezTo>
                  <a:pt x="213" y="394"/>
                  <a:pt x="213" y="394"/>
                  <a:pt x="213" y="394"/>
                </a:cubicBezTo>
                <a:cubicBezTo>
                  <a:pt x="202" y="394"/>
                  <a:pt x="202" y="394"/>
                  <a:pt x="202" y="394"/>
                </a:cubicBezTo>
                <a:cubicBezTo>
                  <a:pt x="196" y="394"/>
                  <a:pt x="192" y="399"/>
                  <a:pt x="192" y="405"/>
                </a:cubicBezTo>
                <a:cubicBezTo>
                  <a:pt x="192" y="411"/>
                  <a:pt x="196" y="416"/>
                  <a:pt x="202" y="416"/>
                </a:cubicBezTo>
                <a:cubicBezTo>
                  <a:pt x="224" y="416"/>
                  <a:pt x="224" y="416"/>
                  <a:pt x="224" y="416"/>
                </a:cubicBezTo>
                <a:cubicBezTo>
                  <a:pt x="288" y="416"/>
                  <a:pt x="288" y="416"/>
                  <a:pt x="288" y="416"/>
                </a:cubicBezTo>
                <a:cubicBezTo>
                  <a:pt x="309" y="416"/>
                  <a:pt x="309" y="416"/>
                  <a:pt x="309" y="416"/>
                </a:cubicBezTo>
                <a:cubicBezTo>
                  <a:pt x="315" y="416"/>
                  <a:pt x="320" y="411"/>
                  <a:pt x="320" y="405"/>
                </a:cubicBezTo>
                <a:cubicBezTo>
                  <a:pt x="320" y="399"/>
                  <a:pt x="315" y="394"/>
                  <a:pt x="309" y="394"/>
                </a:cubicBezTo>
                <a:cubicBezTo>
                  <a:pt x="298" y="394"/>
                  <a:pt x="298" y="394"/>
                  <a:pt x="298" y="394"/>
                </a:cubicBezTo>
                <a:cubicBezTo>
                  <a:pt x="298" y="288"/>
                  <a:pt x="298" y="288"/>
                  <a:pt x="298" y="288"/>
                </a:cubicBezTo>
                <a:cubicBezTo>
                  <a:pt x="352" y="288"/>
                  <a:pt x="352" y="288"/>
                  <a:pt x="352" y="288"/>
                </a:cubicBezTo>
                <a:cubicBezTo>
                  <a:pt x="369" y="288"/>
                  <a:pt x="384" y="273"/>
                  <a:pt x="384" y="256"/>
                </a:cubicBezTo>
                <a:lnTo>
                  <a:pt x="384" y="18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2" name="Freeform 310">
            <a:extLst>
              <a:ext uri="{FF2B5EF4-FFF2-40B4-BE49-F238E27FC236}">
                <a16:creationId xmlns:a16="http://schemas.microsoft.com/office/drawing/2014/main" id="{C2311D1F-5F79-42F9-80D7-A47EB89F2075}"/>
              </a:ext>
            </a:extLst>
          </p:cNvPr>
          <p:cNvSpPr>
            <a:spLocks noChangeAspect="1" noEditPoints="1"/>
          </p:cNvSpPr>
          <p:nvPr/>
        </p:nvSpPr>
        <p:spPr bwMode="auto">
          <a:xfrm>
            <a:off x="907096" y="2523383"/>
            <a:ext cx="367982" cy="367982"/>
          </a:xfrm>
          <a:custGeom>
            <a:avLst/>
            <a:gdLst>
              <a:gd name="T0" fmla="*/ 0 w 512"/>
              <a:gd name="T1" fmla="*/ 256 h 512"/>
              <a:gd name="T2" fmla="*/ 512 w 512"/>
              <a:gd name="T3" fmla="*/ 256 h 512"/>
              <a:gd name="T4" fmla="*/ 256 w 512"/>
              <a:gd name="T5" fmla="*/ 490 h 512"/>
              <a:gd name="T6" fmla="*/ 256 w 512"/>
              <a:gd name="T7" fmla="*/ 21 h 512"/>
              <a:gd name="T8" fmla="*/ 256 w 512"/>
              <a:gd name="T9" fmla="*/ 490 h 512"/>
              <a:gd name="T10" fmla="*/ 320 w 512"/>
              <a:gd name="T11" fmla="*/ 181 h 512"/>
              <a:gd name="T12" fmla="*/ 298 w 512"/>
              <a:gd name="T13" fmla="*/ 224 h 512"/>
              <a:gd name="T14" fmla="*/ 256 w 512"/>
              <a:gd name="T15" fmla="*/ 96 h 512"/>
              <a:gd name="T16" fmla="*/ 213 w 512"/>
              <a:gd name="T17" fmla="*/ 266 h 512"/>
              <a:gd name="T18" fmla="*/ 192 w 512"/>
              <a:gd name="T19" fmla="*/ 192 h 512"/>
              <a:gd name="T20" fmla="*/ 128 w 512"/>
              <a:gd name="T21" fmla="*/ 192 h 512"/>
              <a:gd name="T22" fmla="*/ 160 w 512"/>
              <a:gd name="T23" fmla="*/ 330 h 512"/>
              <a:gd name="T24" fmla="*/ 213 w 512"/>
              <a:gd name="T25" fmla="*/ 394 h 512"/>
              <a:gd name="T26" fmla="*/ 192 w 512"/>
              <a:gd name="T27" fmla="*/ 405 h 512"/>
              <a:gd name="T28" fmla="*/ 224 w 512"/>
              <a:gd name="T29" fmla="*/ 416 h 512"/>
              <a:gd name="T30" fmla="*/ 309 w 512"/>
              <a:gd name="T31" fmla="*/ 416 h 512"/>
              <a:gd name="T32" fmla="*/ 309 w 512"/>
              <a:gd name="T33" fmla="*/ 394 h 512"/>
              <a:gd name="T34" fmla="*/ 298 w 512"/>
              <a:gd name="T35" fmla="*/ 288 h 512"/>
              <a:gd name="T36" fmla="*/ 384 w 512"/>
              <a:gd name="T37" fmla="*/ 256 h 512"/>
              <a:gd name="T38" fmla="*/ 352 w 512"/>
              <a:gd name="T39" fmla="*/ 149 h 512"/>
              <a:gd name="T40" fmla="*/ 160 w 512"/>
              <a:gd name="T41" fmla="*/ 309 h 512"/>
              <a:gd name="T42" fmla="*/ 149 w 512"/>
              <a:gd name="T43" fmla="*/ 192 h 512"/>
              <a:gd name="T44" fmla="*/ 170 w 512"/>
              <a:gd name="T45" fmla="*/ 192 h 512"/>
              <a:gd name="T46" fmla="*/ 181 w 512"/>
              <a:gd name="T47" fmla="*/ 288 h 512"/>
              <a:gd name="T48" fmla="*/ 213 w 512"/>
              <a:gd name="T49" fmla="*/ 309 h 512"/>
              <a:gd name="T50" fmla="*/ 277 w 512"/>
              <a:gd name="T51" fmla="*/ 277 h 512"/>
              <a:gd name="T52" fmla="*/ 234 w 512"/>
              <a:gd name="T53" fmla="*/ 394 h 512"/>
              <a:gd name="T54" fmla="*/ 234 w 512"/>
              <a:gd name="T55" fmla="*/ 277 h 512"/>
              <a:gd name="T56" fmla="*/ 256 w 512"/>
              <a:gd name="T57" fmla="*/ 117 h 512"/>
              <a:gd name="T58" fmla="*/ 277 w 512"/>
              <a:gd name="T59" fmla="*/ 234 h 512"/>
              <a:gd name="T60" fmla="*/ 352 w 512"/>
              <a:gd name="T61" fmla="*/ 266 h 512"/>
              <a:gd name="T62" fmla="*/ 298 w 512"/>
              <a:gd name="T63" fmla="*/ 245 h 512"/>
              <a:gd name="T64" fmla="*/ 341 w 512"/>
              <a:gd name="T65" fmla="*/ 234 h 512"/>
              <a:gd name="T66" fmla="*/ 352 w 512"/>
              <a:gd name="T67" fmla="*/ 170 h 512"/>
              <a:gd name="T68" fmla="*/ 362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52" y="149"/>
                </a:moveTo>
                <a:cubicBezTo>
                  <a:pt x="334" y="149"/>
                  <a:pt x="320" y="163"/>
                  <a:pt x="320" y="181"/>
                </a:cubicBezTo>
                <a:cubicBezTo>
                  <a:pt x="320" y="224"/>
                  <a:pt x="320" y="224"/>
                  <a:pt x="320" y="224"/>
                </a:cubicBezTo>
                <a:cubicBezTo>
                  <a:pt x="298" y="224"/>
                  <a:pt x="298" y="224"/>
                  <a:pt x="298" y="224"/>
                </a:cubicBezTo>
                <a:cubicBezTo>
                  <a:pt x="298" y="138"/>
                  <a:pt x="298" y="138"/>
                  <a:pt x="298" y="138"/>
                </a:cubicBezTo>
                <a:cubicBezTo>
                  <a:pt x="298" y="115"/>
                  <a:pt x="279" y="96"/>
                  <a:pt x="256" y="96"/>
                </a:cubicBezTo>
                <a:cubicBezTo>
                  <a:pt x="232" y="96"/>
                  <a:pt x="213" y="115"/>
                  <a:pt x="213" y="138"/>
                </a:cubicBezTo>
                <a:cubicBezTo>
                  <a:pt x="213" y="266"/>
                  <a:pt x="213" y="266"/>
                  <a:pt x="213" y="266"/>
                </a:cubicBezTo>
                <a:cubicBezTo>
                  <a:pt x="192" y="266"/>
                  <a:pt x="192" y="266"/>
                  <a:pt x="192" y="266"/>
                </a:cubicBezTo>
                <a:cubicBezTo>
                  <a:pt x="192" y="192"/>
                  <a:pt x="192" y="192"/>
                  <a:pt x="192" y="192"/>
                </a:cubicBezTo>
                <a:cubicBezTo>
                  <a:pt x="192" y="174"/>
                  <a:pt x="177" y="160"/>
                  <a:pt x="160" y="160"/>
                </a:cubicBezTo>
                <a:cubicBezTo>
                  <a:pt x="142" y="160"/>
                  <a:pt x="128" y="174"/>
                  <a:pt x="128" y="192"/>
                </a:cubicBezTo>
                <a:cubicBezTo>
                  <a:pt x="128" y="298"/>
                  <a:pt x="128" y="298"/>
                  <a:pt x="128" y="298"/>
                </a:cubicBezTo>
                <a:cubicBezTo>
                  <a:pt x="128" y="316"/>
                  <a:pt x="142" y="330"/>
                  <a:pt x="160" y="330"/>
                </a:cubicBezTo>
                <a:cubicBezTo>
                  <a:pt x="213" y="330"/>
                  <a:pt x="213" y="330"/>
                  <a:pt x="213" y="330"/>
                </a:cubicBezTo>
                <a:cubicBezTo>
                  <a:pt x="213" y="394"/>
                  <a:pt x="213" y="394"/>
                  <a:pt x="213" y="394"/>
                </a:cubicBezTo>
                <a:cubicBezTo>
                  <a:pt x="202" y="394"/>
                  <a:pt x="202" y="394"/>
                  <a:pt x="202" y="394"/>
                </a:cubicBezTo>
                <a:cubicBezTo>
                  <a:pt x="196" y="394"/>
                  <a:pt x="192" y="399"/>
                  <a:pt x="192" y="405"/>
                </a:cubicBezTo>
                <a:cubicBezTo>
                  <a:pt x="192" y="411"/>
                  <a:pt x="196" y="416"/>
                  <a:pt x="202" y="416"/>
                </a:cubicBezTo>
                <a:cubicBezTo>
                  <a:pt x="224" y="416"/>
                  <a:pt x="224" y="416"/>
                  <a:pt x="224" y="416"/>
                </a:cubicBezTo>
                <a:cubicBezTo>
                  <a:pt x="288" y="416"/>
                  <a:pt x="288" y="416"/>
                  <a:pt x="288" y="416"/>
                </a:cubicBezTo>
                <a:cubicBezTo>
                  <a:pt x="309" y="416"/>
                  <a:pt x="309" y="416"/>
                  <a:pt x="309" y="416"/>
                </a:cubicBezTo>
                <a:cubicBezTo>
                  <a:pt x="315" y="416"/>
                  <a:pt x="320" y="411"/>
                  <a:pt x="320" y="405"/>
                </a:cubicBezTo>
                <a:cubicBezTo>
                  <a:pt x="320" y="399"/>
                  <a:pt x="315" y="394"/>
                  <a:pt x="309" y="394"/>
                </a:cubicBezTo>
                <a:cubicBezTo>
                  <a:pt x="298" y="394"/>
                  <a:pt x="298" y="394"/>
                  <a:pt x="298" y="394"/>
                </a:cubicBezTo>
                <a:cubicBezTo>
                  <a:pt x="298" y="288"/>
                  <a:pt x="298" y="288"/>
                  <a:pt x="298" y="288"/>
                </a:cubicBezTo>
                <a:cubicBezTo>
                  <a:pt x="352" y="288"/>
                  <a:pt x="352" y="288"/>
                  <a:pt x="352" y="288"/>
                </a:cubicBezTo>
                <a:cubicBezTo>
                  <a:pt x="369" y="288"/>
                  <a:pt x="384" y="273"/>
                  <a:pt x="384" y="256"/>
                </a:cubicBezTo>
                <a:cubicBezTo>
                  <a:pt x="384" y="181"/>
                  <a:pt x="384" y="181"/>
                  <a:pt x="384" y="181"/>
                </a:cubicBezTo>
                <a:cubicBezTo>
                  <a:pt x="384" y="163"/>
                  <a:pt x="369" y="149"/>
                  <a:pt x="352" y="149"/>
                </a:cubicBezTo>
                <a:close/>
                <a:moveTo>
                  <a:pt x="213" y="309"/>
                </a:moveTo>
                <a:cubicBezTo>
                  <a:pt x="160" y="309"/>
                  <a:pt x="160" y="309"/>
                  <a:pt x="160" y="309"/>
                </a:cubicBezTo>
                <a:cubicBezTo>
                  <a:pt x="154" y="309"/>
                  <a:pt x="149" y="304"/>
                  <a:pt x="149" y="298"/>
                </a:cubicBezTo>
                <a:cubicBezTo>
                  <a:pt x="149" y="192"/>
                  <a:pt x="149" y="192"/>
                  <a:pt x="149" y="192"/>
                </a:cubicBezTo>
                <a:cubicBezTo>
                  <a:pt x="149" y="186"/>
                  <a:pt x="154" y="181"/>
                  <a:pt x="160" y="181"/>
                </a:cubicBezTo>
                <a:cubicBezTo>
                  <a:pt x="166" y="181"/>
                  <a:pt x="170" y="186"/>
                  <a:pt x="170" y="192"/>
                </a:cubicBezTo>
                <a:cubicBezTo>
                  <a:pt x="170" y="277"/>
                  <a:pt x="170" y="277"/>
                  <a:pt x="170" y="277"/>
                </a:cubicBezTo>
                <a:cubicBezTo>
                  <a:pt x="170" y="283"/>
                  <a:pt x="175" y="288"/>
                  <a:pt x="181" y="288"/>
                </a:cubicBezTo>
                <a:cubicBezTo>
                  <a:pt x="213" y="288"/>
                  <a:pt x="213" y="288"/>
                  <a:pt x="213" y="288"/>
                </a:cubicBezTo>
                <a:lnTo>
                  <a:pt x="213" y="309"/>
                </a:lnTo>
                <a:close/>
                <a:moveTo>
                  <a:pt x="277" y="234"/>
                </a:moveTo>
                <a:cubicBezTo>
                  <a:pt x="277" y="277"/>
                  <a:pt x="277" y="277"/>
                  <a:pt x="277" y="277"/>
                </a:cubicBezTo>
                <a:cubicBezTo>
                  <a:pt x="277" y="394"/>
                  <a:pt x="277" y="394"/>
                  <a:pt x="277" y="394"/>
                </a:cubicBezTo>
                <a:cubicBezTo>
                  <a:pt x="234" y="394"/>
                  <a:pt x="234" y="394"/>
                  <a:pt x="234" y="394"/>
                </a:cubicBezTo>
                <a:cubicBezTo>
                  <a:pt x="234" y="320"/>
                  <a:pt x="234" y="320"/>
                  <a:pt x="234" y="320"/>
                </a:cubicBezTo>
                <a:cubicBezTo>
                  <a:pt x="234" y="277"/>
                  <a:pt x="234" y="277"/>
                  <a:pt x="234" y="277"/>
                </a:cubicBezTo>
                <a:cubicBezTo>
                  <a:pt x="234" y="138"/>
                  <a:pt x="234" y="138"/>
                  <a:pt x="234" y="138"/>
                </a:cubicBezTo>
                <a:cubicBezTo>
                  <a:pt x="234" y="127"/>
                  <a:pt x="244" y="117"/>
                  <a:pt x="256" y="117"/>
                </a:cubicBezTo>
                <a:cubicBezTo>
                  <a:pt x="267" y="117"/>
                  <a:pt x="277" y="127"/>
                  <a:pt x="277" y="138"/>
                </a:cubicBezTo>
                <a:lnTo>
                  <a:pt x="277" y="234"/>
                </a:lnTo>
                <a:close/>
                <a:moveTo>
                  <a:pt x="362" y="256"/>
                </a:moveTo>
                <a:cubicBezTo>
                  <a:pt x="362" y="262"/>
                  <a:pt x="358" y="266"/>
                  <a:pt x="352" y="266"/>
                </a:cubicBezTo>
                <a:cubicBezTo>
                  <a:pt x="298" y="266"/>
                  <a:pt x="298" y="266"/>
                  <a:pt x="298" y="266"/>
                </a:cubicBezTo>
                <a:cubicBezTo>
                  <a:pt x="298" y="245"/>
                  <a:pt x="298" y="245"/>
                  <a:pt x="298" y="245"/>
                </a:cubicBezTo>
                <a:cubicBezTo>
                  <a:pt x="330" y="245"/>
                  <a:pt x="330" y="245"/>
                  <a:pt x="330" y="245"/>
                </a:cubicBezTo>
                <a:cubicBezTo>
                  <a:pt x="336" y="245"/>
                  <a:pt x="341" y="240"/>
                  <a:pt x="341" y="234"/>
                </a:cubicBezTo>
                <a:cubicBezTo>
                  <a:pt x="341" y="181"/>
                  <a:pt x="341" y="181"/>
                  <a:pt x="341" y="181"/>
                </a:cubicBezTo>
                <a:cubicBezTo>
                  <a:pt x="341" y="175"/>
                  <a:pt x="346" y="170"/>
                  <a:pt x="352" y="170"/>
                </a:cubicBezTo>
                <a:cubicBezTo>
                  <a:pt x="358" y="170"/>
                  <a:pt x="362" y="175"/>
                  <a:pt x="362" y="181"/>
                </a:cubicBezTo>
                <a:lnTo>
                  <a:pt x="362" y="25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3" name="Freeform 769">
            <a:extLst>
              <a:ext uri="{FF2B5EF4-FFF2-40B4-BE49-F238E27FC236}">
                <a16:creationId xmlns:a16="http://schemas.microsoft.com/office/drawing/2014/main" id="{D2BE415F-CFB6-4F96-8637-D6C9DE0589C6}"/>
              </a:ext>
            </a:extLst>
          </p:cNvPr>
          <p:cNvSpPr>
            <a:spLocks noChangeAspect="1" noEditPoints="1"/>
          </p:cNvSpPr>
          <p:nvPr/>
        </p:nvSpPr>
        <p:spPr bwMode="auto">
          <a:xfrm>
            <a:off x="1342172" y="2523383"/>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02 w 512"/>
              <a:gd name="T33" fmla="*/ 266 h 512"/>
              <a:gd name="T34" fmla="*/ 192 w 512"/>
              <a:gd name="T35" fmla="*/ 256 h 512"/>
              <a:gd name="T36" fmla="*/ 202 w 512"/>
              <a:gd name="T37" fmla="*/ 245 h 512"/>
              <a:gd name="T38" fmla="*/ 309 w 512"/>
              <a:gd name="T39" fmla="*/ 245 h 512"/>
              <a:gd name="T40" fmla="*/ 320 w 512"/>
              <a:gd name="T41" fmla="*/ 256 h 512"/>
              <a:gd name="T42" fmla="*/ 309 w 512"/>
              <a:gd name="T43" fmla="*/ 266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94 w 512"/>
              <a:gd name="T55" fmla="*/ 384 h 512"/>
              <a:gd name="T56" fmla="*/ 384 w 512"/>
              <a:gd name="T57" fmla="*/ 394 h 512"/>
              <a:gd name="T58" fmla="*/ 128 w 512"/>
              <a:gd name="T59" fmla="*/ 394 h 512"/>
              <a:gd name="T60" fmla="*/ 117 w 512"/>
              <a:gd name="T61" fmla="*/ 384 h 512"/>
              <a:gd name="T62" fmla="*/ 117 w 512"/>
              <a:gd name="T63" fmla="*/ 128 h 512"/>
              <a:gd name="T64" fmla="*/ 128 w 512"/>
              <a:gd name="T65" fmla="*/ 117 h 512"/>
              <a:gd name="T66" fmla="*/ 181 w 512"/>
              <a:gd name="T67" fmla="*/ 117 h 512"/>
              <a:gd name="T68" fmla="*/ 181 w 512"/>
              <a:gd name="T69" fmla="*/ 106 h 512"/>
              <a:gd name="T70" fmla="*/ 192 w 512"/>
              <a:gd name="T71" fmla="*/ 96 h 512"/>
              <a:gd name="T72" fmla="*/ 202 w 512"/>
              <a:gd name="T73" fmla="*/ 106 h 512"/>
              <a:gd name="T74" fmla="*/ 202 w 512"/>
              <a:gd name="T75" fmla="*/ 117 h 512"/>
              <a:gd name="T76" fmla="*/ 309 w 512"/>
              <a:gd name="T77" fmla="*/ 117 h 512"/>
              <a:gd name="T78" fmla="*/ 309 w 512"/>
              <a:gd name="T79" fmla="*/ 106 h 512"/>
              <a:gd name="T80" fmla="*/ 320 w 512"/>
              <a:gd name="T81" fmla="*/ 96 h 512"/>
              <a:gd name="T82" fmla="*/ 330 w 512"/>
              <a:gd name="T83" fmla="*/ 106 h 512"/>
              <a:gd name="T84" fmla="*/ 330 w 512"/>
              <a:gd name="T85" fmla="*/ 117 h 512"/>
              <a:gd name="T86" fmla="*/ 384 w 512"/>
              <a:gd name="T87" fmla="*/ 117 h 512"/>
              <a:gd name="T88" fmla="*/ 394 w 512"/>
              <a:gd name="T89" fmla="*/ 128 h 512"/>
              <a:gd name="T90" fmla="*/ 394 w 512"/>
              <a:gd name="T9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02" y="266"/>
                  <a:pt x="202" y="266"/>
                  <a:pt x="202" y="266"/>
                </a:cubicBezTo>
                <a:cubicBezTo>
                  <a:pt x="196" y="266"/>
                  <a:pt x="192" y="262"/>
                  <a:pt x="192" y="256"/>
                </a:cubicBezTo>
                <a:cubicBezTo>
                  <a:pt x="192" y="250"/>
                  <a:pt x="196" y="245"/>
                  <a:pt x="202"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4" name="Group 772">
            <a:extLst>
              <a:ext uri="{FF2B5EF4-FFF2-40B4-BE49-F238E27FC236}">
                <a16:creationId xmlns:a16="http://schemas.microsoft.com/office/drawing/2014/main" id="{A61CD8CB-CC01-41D7-903A-C16E175062EE}"/>
              </a:ext>
            </a:extLst>
          </p:cNvPr>
          <p:cNvGrpSpPr>
            <a:grpSpLocks noChangeAspect="1"/>
          </p:cNvGrpSpPr>
          <p:nvPr/>
        </p:nvGrpSpPr>
        <p:grpSpPr bwMode="auto">
          <a:xfrm>
            <a:off x="1778330" y="2523383"/>
            <a:ext cx="367982" cy="367982"/>
            <a:chOff x="3547" y="3177"/>
            <a:chExt cx="340" cy="340"/>
          </a:xfrm>
          <a:solidFill>
            <a:schemeClr val="accent3"/>
          </a:solidFill>
        </p:grpSpPr>
        <p:sp>
          <p:nvSpPr>
            <p:cNvPr id="415" name="Freeform 773">
              <a:extLst>
                <a:ext uri="{FF2B5EF4-FFF2-40B4-BE49-F238E27FC236}">
                  <a16:creationId xmlns:a16="http://schemas.microsoft.com/office/drawing/2014/main" id="{1C17AEE6-A28C-4F24-8514-29BE7B21551C}"/>
                </a:ext>
              </a:extLst>
            </p:cNvPr>
            <p:cNvSpPr>
              <a:spLocks noEditPoints="1"/>
            </p:cNvSpPr>
            <p:nvPr/>
          </p:nvSpPr>
          <p:spPr bwMode="auto">
            <a:xfrm>
              <a:off x="3547"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6" name="Freeform 774">
              <a:extLst>
                <a:ext uri="{FF2B5EF4-FFF2-40B4-BE49-F238E27FC236}">
                  <a16:creationId xmlns:a16="http://schemas.microsoft.com/office/drawing/2014/main" id="{1A8F7E96-7C92-47E5-B0FB-209D008278C6}"/>
                </a:ext>
              </a:extLst>
            </p:cNvPr>
            <p:cNvSpPr>
              <a:spLocks noEditPoints="1"/>
            </p:cNvSpPr>
            <p:nvPr/>
          </p:nvSpPr>
          <p:spPr bwMode="auto">
            <a:xfrm>
              <a:off x="3625" y="324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85 w 277"/>
                <a:gd name="T73" fmla="*/ 170 h 298"/>
                <a:gd name="T74" fmla="*/ 75 w 277"/>
                <a:gd name="T75" fmla="*/ 160 h 298"/>
                <a:gd name="T76" fmla="*/ 85 w 277"/>
                <a:gd name="T77" fmla="*/ 149 h 298"/>
                <a:gd name="T78" fmla="*/ 192 w 277"/>
                <a:gd name="T79" fmla="*/ 149 h 298"/>
                <a:gd name="T80" fmla="*/ 203 w 277"/>
                <a:gd name="T8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85" y="170"/>
                    <a:pt x="85" y="170"/>
                    <a:pt x="85" y="170"/>
                  </a:cubicBezTo>
                  <a:cubicBezTo>
                    <a:pt x="79" y="170"/>
                    <a:pt x="75" y="166"/>
                    <a:pt x="75" y="160"/>
                  </a:cubicBezTo>
                  <a:cubicBezTo>
                    <a:pt x="75" y="154"/>
                    <a:pt x="79" y="149"/>
                    <a:pt x="85" y="149"/>
                  </a:cubicBezTo>
                  <a:cubicBezTo>
                    <a:pt x="192" y="149"/>
                    <a:pt x="192" y="149"/>
                    <a:pt x="192" y="149"/>
                  </a:cubicBezTo>
                  <a:cubicBezTo>
                    <a:pt x="198" y="149"/>
                    <a:pt x="203" y="154"/>
                    <a:pt x="203"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7" name="Freeform 778">
            <a:extLst>
              <a:ext uri="{FF2B5EF4-FFF2-40B4-BE49-F238E27FC236}">
                <a16:creationId xmlns:a16="http://schemas.microsoft.com/office/drawing/2014/main" id="{5D343722-8C9B-47E7-A6D3-A1E373C3CB5A}"/>
              </a:ext>
            </a:extLst>
          </p:cNvPr>
          <p:cNvSpPr>
            <a:spLocks noChangeAspect="1" noEditPoints="1"/>
          </p:cNvSpPr>
          <p:nvPr/>
        </p:nvSpPr>
        <p:spPr bwMode="auto">
          <a:xfrm>
            <a:off x="2213406" y="2523383"/>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1 w 512"/>
              <a:gd name="T31" fmla="*/ 286 h 512"/>
              <a:gd name="T32" fmla="*/ 301 w 512"/>
              <a:gd name="T33" fmla="*/ 301 h 512"/>
              <a:gd name="T34" fmla="*/ 293 w 512"/>
              <a:gd name="T35" fmla="*/ 304 h 512"/>
              <a:gd name="T36" fmla="*/ 286 w 512"/>
              <a:gd name="T37" fmla="*/ 301 h 512"/>
              <a:gd name="T38" fmla="*/ 256 w 512"/>
              <a:gd name="T39" fmla="*/ 271 h 512"/>
              <a:gd name="T40" fmla="*/ 225 w 512"/>
              <a:gd name="T41" fmla="*/ 301 h 512"/>
              <a:gd name="T42" fmla="*/ 218 w 512"/>
              <a:gd name="T43" fmla="*/ 304 h 512"/>
              <a:gd name="T44" fmla="*/ 210 w 512"/>
              <a:gd name="T45" fmla="*/ 301 h 512"/>
              <a:gd name="T46" fmla="*/ 210 w 512"/>
              <a:gd name="T47" fmla="*/ 286 h 512"/>
              <a:gd name="T48" fmla="*/ 241 w 512"/>
              <a:gd name="T49" fmla="*/ 256 h 512"/>
              <a:gd name="T50" fmla="*/ 210 w 512"/>
              <a:gd name="T51" fmla="*/ 226 h 512"/>
              <a:gd name="T52" fmla="*/ 210 w 512"/>
              <a:gd name="T53" fmla="*/ 210 h 512"/>
              <a:gd name="T54" fmla="*/ 225 w 512"/>
              <a:gd name="T55" fmla="*/ 210 h 512"/>
              <a:gd name="T56" fmla="*/ 256 w 512"/>
              <a:gd name="T57" fmla="*/ 241 h 512"/>
              <a:gd name="T58" fmla="*/ 286 w 512"/>
              <a:gd name="T59" fmla="*/ 210 h 512"/>
              <a:gd name="T60" fmla="*/ 301 w 512"/>
              <a:gd name="T61" fmla="*/ 210 h 512"/>
              <a:gd name="T62" fmla="*/ 301 w 512"/>
              <a:gd name="T63" fmla="*/ 226 h 512"/>
              <a:gd name="T64" fmla="*/ 271 w 512"/>
              <a:gd name="T65" fmla="*/ 256 h 512"/>
              <a:gd name="T66" fmla="*/ 301 w 512"/>
              <a:gd name="T67" fmla="*/ 286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394 w 512"/>
              <a:gd name="T79" fmla="*/ 384 h 512"/>
              <a:gd name="T80" fmla="*/ 384 w 512"/>
              <a:gd name="T81" fmla="*/ 394 h 512"/>
              <a:gd name="T82" fmla="*/ 128 w 512"/>
              <a:gd name="T83" fmla="*/ 394 h 512"/>
              <a:gd name="T84" fmla="*/ 117 w 512"/>
              <a:gd name="T85" fmla="*/ 384 h 512"/>
              <a:gd name="T86" fmla="*/ 117 w 512"/>
              <a:gd name="T87" fmla="*/ 128 h 512"/>
              <a:gd name="T88" fmla="*/ 128 w 512"/>
              <a:gd name="T89" fmla="*/ 117 h 512"/>
              <a:gd name="T90" fmla="*/ 181 w 512"/>
              <a:gd name="T91" fmla="*/ 117 h 512"/>
              <a:gd name="T92" fmla="*/ 181 w 512"/>
              <a:gd name="T93" fmla="*/ 106 h 512"/>
              <a:gd name="T94" fmla="*/ 192 w 512"/>
              <a:gd name="T95" fmla="*/ 96 h 512"/>
              <a:gd name="T96" fmla="*/ 202 w 512"/>
              <a:gd name="T97" fmla="*/ 106 h 512"/>
              <a:gd name="T98" fmla="*/ 202 w 512"/>
              <a:gd name="T99" fmla="*/ 117 h 512"/>
              <a:gd name="T100" fmla="*/ 309 w 512"/>
              <a:gd name="T101" fmla="*/ 117 h 512"/>
              <a:gd name="T102" fmla="*/ 309 w 512"/>
              <a:gd name="T103" fmla="*/ 106 h 512"/>
              <a:gd name="T104" fmla="*/ 320 w 512"/>
              <a:gd name="T105" fmla="*/ 96 h 512"/>
              <a:gd name="T106" fmla="*/ 330 w 512"/>
              <a:gd name="T107" fmla="*/ 106 h 512"/>
              <a:gd name="T108" fmla="*/ 330 w 512"/>
              <a:gd name="T109" fmla="*/ 117 h 512"/>
              <a:gd name="T110" fmla="*/ 384 w 512"/>
              <a:gd name="T111" fmla="*/ 117 h 512"/>
              <a:gd name="T112" fmla="*/ 394 w 512"/>
              <a:gd name="T113" fmla="*/ 128 h 512"/>
              <a:gd name="T114" fmla="*/ 394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1" y="286"/>
                </a:moveTo>
                <a:cubicBezTo>
                  <a:pt x="305" y="290"/>
                  <a:pt x="305" y="297"/>
                  <a:pt x="301" y="301"/>
                </a:cubicBezTo>
                <a:cubicBezTo>
                  <a:pt x="299" y="303"/>
                  <a:pt x="296" y="304"/>
                  <a:pt x="293" y="304"/>
                </a:cubicBezTo>
                <a:cubicBezTo>
                  <a:pt x="291" y="304"/>
                  <a:pt x="288" y="303"/>
                  <a:pt x="286" y="301"/>
                </a:cubicBezTo>
                <a:cubicBezTo>
                  <a:pt x="256" y="271"/>
                  <a:pt x="256" y="271"/>
                  <a:pt x="256" y="271"/>
                </a:cubicBezTo>
                <a:cubicBezTo>
                  <a:pt x="225" y="301"/>
                  <a:pt x="225" y="301"/>
                  <a:pt x="225" y="301"/>
                </a:cubicBezTo>
                <a:cubicBezTo>
                  <a:pt x="223" y="303"/>
                  <a:pt x="221" y="304"/>
                  <a:pt x="218" y="304"/>
                </a:cubicBezTo>
                <a:cubicBezTo>
                  <a:pt x="215" y="304"/>
                  <a:pt x="212" y="303"/>
                  <a:pt x="210" y="301"/>
                </a:cubicBezTo>
                <a:cubicBezTo>
                  <a:pt x="206" y="297"/>
                  <a:pt x="206" y="290"/>
                  <a:pt x="210" y="286"/>
                </a:cubicBezTo>
                <a:cubicBezTo>
                  <a:pt x="241" y="256"/>
                  <a:pt x="241" y="256"/>
                  <a:pt x="241" y="256"/>
                </a:cubicBezTo>
                <a:cubicBezTo>
                  <a:pt x="210" y="226"/>
                  <a:pt x="210" y="226"/>
                  <a:pt x="210" y="226"/>
                </a:cubicBezTo>
                <a:cubicBezTo>
                  <a:pt x="206" y="221"/>
                  <a:pt x="206" y="215"/>
                  <a:pt x="210" y="210"/>
                </a:cubicBezTo>
                <a:cubicBezTo>
                  <a:pt x="215" y="206"/>
                  <a:pt x="221" y="206"/>
                  <a:pt x="225" y="210"/>
                </a:cubicBezTo>
                <a:cubicBezTo>
                  <a:pt x="256" y="241"/>
                  <a:pt x="256" y="241"/>
                  <a:pt x="256" y="241"/>
                </a:cubicBezTo>
                <a:cubicBezTo>
                  <a:pt x="286" y="210"/>
                  <a:pt x="286" y="210"/>
                  <a:pt x="286" y="210"/>
                </a:cubicBezTo>
                <a:cubicBezTo>
                  <a:pt x="290" y="206"/>
                  <a:pt x="297" y="206"/>
                  <a:pt x="301" y="210"/>
                </a:cubicBezTo>
                <a:cubicBezTo>
                  <a:pt x="305" y="215"/>
                  <a:pt x="305" y="221"/>
                  <a:pt x="301" y="226"/>
                </a:cubicBezTo>
                <a:cubicBezTo>
                  <a:pt x="271" y="256"/>
                  <a:pt x="271" y="256"/>
                  <a:pt x="271" y="256"/>
                </a:cubicBezTo>
                <a:lnTo>
                  <a:pt x="301" y="28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8" name="Group 781">
            <a:extLst>
              <a:ext uri="{FF2B5EF4-FFF2-40B4-BE49-F238E27FC236}">
                <a16:creationId xmlns:a16="http://schemas.microsoft.com/office/drawing/2014/main" id="{2F4ED1F4-D0B5-4E0B-BD2C-480A00160B14}"/>
              </a:ext>
            </a:extLst>
          </p:cNvPr>
          <p:cNvGrpSpPr>
            <a:grpSpLocks noChangeAspect="1"/>
          </p:cNvGrpSpPr>
          <p:nvPr/>
        </p:nvGrpSpPr>
        <p:grpSpPr bwMode="auto">
          <a:xfrm>
            <a:off x="2649564" y="2523383"/>
            <a:ext cx="367982" cy="367982"/>
            <a:chOff x="3805" y="3387"/>
            <a:chExt cx="340" cy="340"/>
          </a:xfrm>
          <a:solidFill>
            <a:schemeClr val="accent1"/>
          </a:solidFill>
        </p:grpSpPr>
        <p:sp>
          <p:nvSpPr>
            <p:cNvPr id="419" name="Freeform 782">
              <a:extLst>
                <a:ext uri="{FF2B5EF4-FFF2-40B4-BE49-F238E27FC236}">
                  <a16:creationId xmlns:a16="http://schemas.microsoft.com/office/drawing/2014/main" id="{7D05A0D6-4F91-4462-83AF-7CA2481EE404}"/>
                </a:ext>
              </a:extLst>
            </p:cNvPr>
            <p:cNvSpPr>
              <a:spLocks noEditPoints="1"/>
            </p:cNvSpPr>
            <p:nvPr/>
          </p:nvSpPr>
          <p:spPr bwMode="auto">
            <a:xfrm>
              <a:off x="3805" y="33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0" name="Freeform 783">
              <a:extLst>
                <a:ext uri="{FF2B5EF4-FFF2-40B4-BE49-F238E27FC236}">
                  <a16:creationId xmlns:a16="http://schemas.microsoft.com/office/drawing/2014/main" id="{AB385991-7E90-46C8-9D70-151A1B14EB8D}"/>
                </a:ext>
              </a:extLst>
            </p:cNvPr>
            <p:cNvSpPr>
              <a:spLocks noEditPoints="1"/>
            </p:cNvSpPr>
            <p:nvPr/>
          </p:nvSpPr>
          <p:spPr bwMode="auto">
            <a:xfrm>
              <a:off x="3883" y="345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184 w 277"/>
                <a:gd name="T69" fmla="*/ 130 h 298"/>
                <a:gd name="T70" fmla="*/ 154 w 277"/>
                <a:gd name="T71" fmla="*/ 160 h 298"/>
                <a:gd name="T72" fmla="*/ 184 w 277"/>
                <a:gd name="T73" fmla="*/ 190 h 298"/>
                <a:gd name="T74" fmla="*/ 184 w 277"/>
                <a:gd name="T75" fmla="*/ 205 h 298"/>
                <a:gd name="T76" fmla="*/ 176 w 277"/>
                <a:gd name="T77" fmla="*/ 208 h 298"/>
                <a:gd name="T78" fmla="*/ 169 w 277"/>
                <a:gd name="T79" fmla="*/ 205 h 298"/>
                <a:gd name="T80" fmla="*/ 139 w 277"/>
                <a:gd name="T81" fmla="*/ 175 h 298"/>
                <a:gd name="T82" fmla="*/ 108 w 277"/>
                <a:gd name="T83" fmla="*/ 205 h 298"/>
                <a:gd name="T84" fmla="*/ 101 w 277"/>
                <a:gd name="T85" fmla="*/ 208 h 298"/>
                <a:gd name="T86" fmla="*/ 93 w 277"/>
                <a:gd name="T87" fmla="*/ 205 h 298"/>
                <a:gd name="T88" fmla="*/ 93 w 277"/>
                <a:gd name="T89" fmla="*/ 190 h 298"/>
                <a:gd name="T90" fmla="*/ 124 w 277"/>
                <a:gd name="T91" fmla="*/ 160 h 298"/>
                <a:gd name="T92" fmla="*/ 93 w 277"/>
                <a:gd name="T93" fmla="*/ 130 h 298"/>
                <a:gd name="T94" fmla="*/ 93 w 277"/>
                <a:gd name="T95" fmla="*/ 114 h 298"/>
                <a:gd name="T96" fmla="*/ 108 w 277"/>
                <a:gd name="T97" fmla="*/ 114 h 298"/>
                <a:gd name="T98" fmla="*/ 139 w 277"/>
                <a:gd name="T99" fmla="*/ 145 h 298"/>
                <a:gd name="T100" fmla="*/ 169 w 277"/>
                <a:gd name="T101" fmla="*/ 114 h 298"/>
                <a:gd name="T102" fmla="*/ 184 w 277"/>
                <a:gd name="T103" fmla="*/ 114 h 298"/>
                <a:gd name="T104" fmla="*/ 184 w 277"/>
                <a:gd name="T105" fmla="*/ 13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184" y="130"/>
                  </a:moveTo>
                  <a:cubicBezTo>
                    <a:pt x="154" y="160"/>
                    <a:pt x="154" y="160"/>
                    <a:pt x="154" y="160"/>
                  </a:cubicBezTo>
                  <a:cubicBezTo>
                    <a:pt x="184" y="190"/>
                    <a:pt x="184" y="190"/>
                    <a:pt x="184" y="190"/>
                  </a:cubicBezTo>
                  <a:cubicBezTo>
                    <a:pt x="188" y="194"/>
                    <a:pt x="188" y="201"/>
                    <a:pt x="184" y="205"/>
                  </a:cubicBezTo>
                  <a:cubicBezTo>
                    <a:pt x="182" y="207"/>
                    <a:pt x="179" y="208"/>
                    <a:pt x="176" y="208"/>
                  </a:cubicBezTo>
                  <a:cubicBezTo>
                    <a:pt x="174" y="208"/>
                    <a:pt x="171" y="207"/>
                    <a:pt x="169" y="205"/>
                  </a:cubicBezTo>
                  <a:cubicBezTo>
                    <a:pt x="139" y="175"/>
                    <a:pt x="139" y="175"/>
                    <a:pt x="139" y="175"/>
                  </a:cubicBezTo>
                  <a:cubicBezTo>
                    <a:pt x="108" y="205"/>
                    <a:pt x="108" y="205"/>
                    <a:pt x="108" y="205"/>
                  </a:cubicBezTo>
                  <a:cubicBezTo>
                    <a:pt x="106" y="207"/>
                    <a:pt x="104" y="208"/>
                    <a:pt x="101" y="208"/>
                  </a:cubicBezTo>
                  <a:cubicBezTo>
                    <a:pt x="98" y="208"/>
                    <a:pt x="95" y="207"/>
                    <a:pt x="93" y="205"/>
                  </a:cubicBezTo>
                  <a:cubicBezTo>
                    <a:pt x="89" y="201"/>
                    <a:pt x="89" y="194"/>
                    <a:pt x="93" y="190"/>
                  </a:cubicBezTo>
                  <a:cubicBezTo>
                    <a:pt x="124" y="160"/>
                    <a:pt x="124" y="160"/>
                    <a:pt x="124" y="160"/>
                  </a:cubicBezTo>
                  <a:cubicBezTo>
                    <a:pt x="93" y="130"/>
                    <a:pt x="93" y="130"/>
                    <a:pt x="93" y="130"/>
                  </a:cubicBezTo>
                  <a:cubicBezTo>
                    <a:pt x="89" y="125"/>
                    <a:pt x="89" y="119"/>
                    <a:pt x="93" y="114"/>
                  </a:cubicBezTo>
                  <a:cubicBezTo>
                    <a:pt x="98" y="110"/>
                    <a:pt x="104" y="110"/>
                    <a:pt x="108" y="114"/>
                  </a:cubicBezTo>
                  <a:cubicBezTo>
                    <a:pt x="139" y="145"/>
                    <a:pt x="139" y="145"/>
                    <a:pt x="139" y="145"/>
                  </a:cubicBezTo>
                  <a:cubicBezTo>
                    <a:pt x="169" y="114"/>
                    <a:pt x="169" y="114"/>
                    <a:pt x="169" y="114"/>
                  </a:cubicBezTo>
                  <a:cubicBezTo>
                    <a:pt x="173" y="110"/>
                    <a:pt x="180" y="110"/>
                    <a:pt x="184" y="114"/>
                  </a:cubicBezTo>
                  <a:cubicBezTo>
                    <a:pt x="188" y="119"/>
                    <a:pt x="188" y="125"/>
                    <a:pt x="184" y="1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21" name="Freeform 787">
            <a:extLst>
              <a:ext uri="{FF2B5EF4-FFF2-40B4-BE49-F238E27FC236}">
                <a16:creationId xmlns:a16="http://schemas.microsoft.com/office/drawing/2014/main" id="{90684952-F44C-4175-99CF-7456427ADFB1}"/>
              </a:ext>
            </a:extLst>
          </p:cNvPr>
          <p:cNvSpPr>
            <a:spLocks noChangeAspect="1" noEditPoints="1"/>
          </p:cNvSpPr>
          <p:nvPr/>
        </p:nvSpPr>
        <p:spPr bwMode="auto">
          <a:xfrm>
            <a:off x="3084640" y="2523383"/>
            <a:ext cx="367982"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22" name="Group 790">
            <a:extLst>
              <a:ext uri="{FF2B5EF4-FFF2-40B4-BE49-F238E27FC236}">
                <a16:creationId xmlns:a16="http://schemas.microsoft.com/office/drawing/2014/main" id="{A5640E37-FA07-4B29-B865-610EA6350235}"/>
              </a:ext>
            </a:extLst>
          </p:cNvPr>
          <p:cNvGrpSpPr>
            <a:grpSpLocks noChangeAspect="1"/>
          </p:cNvGrpSpPr>
          <p:nvPr/>
        </p:nvGrpSpPr>
        <p:grpSpPr bwMode="auto">
          <a:xfrm>
            <a:off x="3519716" y="2523383"/>
            <a:ext cx="367982" cy="367982"/>
            <a:chOff x="3489" y="3105"/>
            <a:chExt cx="340" cy="340"/>
          </a:xfrm>
          <a:solidFill>
            <a:schemeClr val="accent3"/>
          </a:solidFill>
        </p:grpSpPr>
        <p:sp>
          <p:nvSpPr>
            <p:cNvPr id="431" name="Freeform 321">
              <a:extLst>
                <a:ext uri="{FF2B5EF4-FFF2-40B4-BE49-F238E27FC236}">
                  <a16:creationId xmlns:a16="http://schemas.microsoft.com/office/drawing/2014/main" id="{690A1D19-C64C-4BF1-BF86-F6F3466FDD87}"/>
                </a:ext>
              </a:extLst>
            </p:cNvPr>
            <p:cNvSpPr>
              <a:spLocks noEditPoints="1"/>
            </p:cNvSpPr>
            <p:nvPr/>
          </p:nvSpPr>
          <p:spPr bwMode="auto">
            <a:xfrm>
              <a:off x="3489" y="310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2" name="Freeform 322">
              <a:extLst>
                <a:ext uri="{FF2B5EF4-FFF2-40B4-BE49-F238E27FC236}">
                  <a16:creationId xmlns:a16="http://schemas.microsoft.com/office/drawing/2014/main" id="{307BE79D-BBAE-4934-A358-EEE2C7887B85}"/>
                </a:ext>
              </a:extLst>
            </p:cNvPr>
            <p:cNvSpPr>
              <a:spLocks noEditPoints="1"/>
            </p:cNvSpPr>
            <p:nvPr/>
          </p:nvSpPr>
          <p:spPr bwMode="auto">
            <a:xfrm>
              <a:off x="3567" y="3169"/>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149 w 277"/>
                <a:gd name="T73" fmla="*/ 170 h 298"/>
                <a:gd name="T74" fmla="*/ 149 w 277"/>
                <a:gd name="T75" fmla="*/ 213 h 298"/>
                <a:gd name="T76" fmla="*/ 139 w 277"/>
                <a:gd name="T77" fmla="*/ 224 h 298"/>
                <a:gd name="T78" fmla="*/ 128 w 277"/>
                <a:gd name="T79" fmla="*/ 213 h 298"/>
                <a:gd name="T80" fmla="*/ 128 w 277"/>
                <a:gd name="T81" fmla="*/ 170 h 298"/>
                <a:gd name="T82" fmla="*/ 85 w 277"/>
                <a:gd name="T83" fmla="*/ 170 h 298"/>
                <a:gd name="T84" fmla="*/ 75 w 277"/>
                <a:gd name="T85" fmla="*/ 160 h 298"/>
                <a:gd name="T86" fmla="*/ 85 w 277"/>
                <a:gd name="T87" fmla="*/ 149 h 298"/>
                <a:gd name="T88" fmla="*/ 128 w 277"/>
                <a:gd name="T89" fmla="*/ 149 h 298"/>
                <a:gd name="T90" fmla="*/ 128 w 277"/>
                <a:gd name="T91" fmla="*/ 106 h 298"/>
                <a:gd name="T92" fmla="*/ 139 w 277"/>
                <a:gd name="T93" fmla="*/ 96 h 298"/>
                <a:gd name="T94" fmla="*/ 149 w 277"/>
                <a:gd name="T95" fmla="*/ 106 h 298"/>
                <a:gd name="T96" fmla="*/ 149 w 277"/>
                <a:gd name="T97" fmla="*/ 149 h 298"/>
                <a:gd name="T98" fmla="*/ 192 w 277"/>
                <a:gd name="T99" fmla="*/ 149 h 298"/>
                <a:gd name="T100" fmla="*/ 203 w 277"/>
                <a:gd name="T10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149" y="170"/>
                    <a:pt x="149" y="170"/>
                    <a:pt x="149" y="170"/>
                  </a:cubicBezTo>
                  <a:cubicBezTo>
                    <a:pt x="149" y="213"/>
                    <a:pt x="149" y="213"/>
                    <a:pt x="149" y="213"/>
                  </a:cubicBezTo>
                  <a:cubicBezTo>
                    <a:pt x="149" y="219"/>
                    <a:pt x="145" y="224"/>
                    <a:pt x="139" y="224"/>
                  </a:cubicBezTo>
                  <a:cubicBezTo>
                    <a:pt x="133" y="224"/>
                    <a:pt x="128" y="219"/>
                    <a:pt x="128" y="213"/>
                  </a:cubicBezTo>
                  <a:cubicBezTo>
                    <a:pt x="128" y="170"/>
                    <a:pt x="128" y="170"/>
                    <a:pt x="128" y="170"/>
                  </a:cubicBezTo>
                  <a:cubicBezTo>
                    <a:pt x="85" y="170"/>
                    <a:pt x="85" y="170"/>
                    <a:pt x="85" y="170"/>
                  </a:cubicBezTo>
                  <a:cubicBezTo>
                    <a:pt x="79" y="170"/>
                    <a:pt x="75" y="166"/>
                    <a:pt x="75" y="160"/>
                  </a:cubicBezTo>
                  <a:cubicBezTo>
                    <a:pt x="75" y="154"/>
                    <a:pt x="79" y="149"/>
                    <a:pt x="85" y="149"/>
                  </a:cubicBezTo>
                  <a:cubicBezTo>
                    <a:pt x="128" y="149"/>
                    <a:pt x="128" y="149"/>
                    <a:pt x="128" y="149"/>
                  </a:cubicBezTo>
                  <a:cubicBezTo>
                    <a:pt x="128" y="106"/>
                    <a:pt x="128" y="106"/>
                    <a:pt x="128" y="106"/>
                  </a:cubicBezTo>
                  <a:cubicBezTo>
                    <a:pt x="128" y="100"/>
                    <a:pt x="133" y="96"/>
                    <a:pt x="139" y="96"/>
                  </a:cubicBezTo>
                  <a:cubicBezTo>
                    <a:pt x="145" y="96"/>
                    <a:pt x="149" y="100"/>
                    <a:pt x="149" y="106"/>
                  </a:cubicBezTo>
                  <a:cubicBezTo>
                    <a:pt x="149" y="149"/>
                    <a:pt x="149" y="149"/>
                    <a:pt x="149" y="149"/>
                  </a:cubicBezTo>
                  <a:cubicBezTo>
                    <a:pt x="192" y="149"/>
                    <a:pt x="192" y="149"/>
                    <a:pt x="192" y="149"/>
                  </a:cubicBezTo>
                  <a:cubicBezTo>
                    <a:pt x="198" y="149"/>
                    <a:pt x="203" y="154"/>
                    <a:pt x="203"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3" name="Freeform 796">
            <a:extLst>
              <a:ext uri="{FF2B5EF4-FFF2-40B4-BE49-F238E27FC236}">
                <a16:creationId xmlns:a16="http://schemas.microsoft.com/office/drawing/2014/main" id="{E49A63E8-8B75-4041-83F6-4B99587572D9}"/>
              </a:ext>
            </a:extLst>
          </p:cNvPr>
          <p:cNvSpPr>
            <a:spLocks noChangeAspect="1" noEditPoints="1"/>
          </p:cNvSpPr>
          <p:nvPr/>
        </p:nvSpPr>
        <p:spPr bwMode="auto">
          <a:xfrm>
            <a:off x="3954792" y="2523383"/>
            <a:ext cx="367982"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181 w 512"/>
              <a:gd name="T23" fmla="*/ 117 h 512"/>
              <a:gd name="T24" fmla="*/ 181 w 512"/>
              <a:gd name="T25" fmla="*/ 106 h 512"/>
              <a:gd name="T26" fmla="*/ 192 w 512"/>
              <a:gd name="T27" fmla="*/ 96 h 512"/>
              <a:gd name="T28" fmla="*/ 202 w 512"/>
              <a:gd name="T29" fmla="*/ 106 h 512"/>
              <a:gd name="T30" fmla="*/ 202 w 512"/>
              <a:gd name="T31" fmla="*/ 117 h 512"/>
              <a:gd name="T32" fmla="*/ 309 w 512"/>
              <a:gd name="T33" fmla="*/ 117 h 512"/>
              <a:gd name="T34" fmla="*/ 309 w 512"/>
              <a:gd name="T35" fmla="*/ 106 h 512"/>
              <a:gd name="T36" fmla="*/ 320 w 512"/>
              <a:gd name="T37" fmla="*/ 96 h 512"/>
              <a:gd name="T38" fmla="*/ 330 w 512"/>
              <a:gd name="T39" fmla="*/ 106 h 512"/>
              <a:gd name="T40" fmla="*/ 330 w 512"/>
              <a:gd name="T41" fmla="*/ 117 h 512"/>
              <a:gd name="T42" fmla="*/ 384 w 512"/>
              <a:gd name="T43" fmla="*/ 117 h 512"/>
              <a:gd name="T44" fmla="*/ 394 w 512"/>
              <a:gd name="T45" fmla="*/ 128 h 512"/>
              <a:gd name="T46" fmla="*/ 394 w 512"/>
              <a:gd name="T47" fmla="*/ 384 h 512"/>
              <a:gd name="T48" fmla="*/ 330 w 512"/>
              <a:gd name="T49" fmla="*/ 149 h 512"/>
              <a:gd name="T50" fmla="*/ 320 w 512"/>
              <a:gd name="T51" fmla="*/ 160 h 512"/>
              <a:gd name="T52" fmla="*/ 309 w 512"/>
              <a:gd name="T53" fmla="*/ 149 h 512"/>
              <a:gd name="T54" fmla="*/ 309 w 512"/>
              <a:gd name="T55" fmla="*/ 138 h 512"/>
              <a:gd name="T56" fmla="*/ 202 w 512"/>
              <a:gd name="T57" fmla="*/ 138 h 512"/>
              <a:gd name="T58" fmla="*/ 202 w 512"/>
              <a:gd name="T59" fmla="*/ 149 h 512"/>
              <a:gd name="T60" fmla="*/ 192 w 512"/>
              <a:gd name="T61" fmla="*/ 160 h 512"/>
              <a:gd name="T62" fmla="*/ 181 w 512"/>
              <a:gd name="T63" fmla="*/ 149 h 512"/>
              <a:gd name="T64" fmla="*/ 181 w 512"/>
              <a:gd name="T65" fmla="*/ 138 h 512"/>
              <a:gd name="T66" fmla="*/ 138 w 512"/>
              <a:gd name="T67" fmla="*/ 138 h 512"/>
              <a:gd name="T68" fmla="*/ 138 w 512"/>
              <a:gd name="T69" fmla="*/ 373 h 512"/>
              <a:gd name="T70" fmla="*/ 373 w 512"/>
              <a:gd name="T71" fmla="*/ 373 h 512"/>
              <a:gd name="T72" fmla="*/ 373 w 512"/>
              <a:gd name="T73" fmla="*/ 138 h 512"/>
              <a:gd name="T74" fmla="*/ 330 w 512"/>
              <a:gd name="T75" fmla="*/ 138 h 512"/>
              <a:gd name="T76" fmla="*/ 330 w 512"/>
              <a:gd name="T77" fmla="*/ 149 h 512"/>
              <a:gd name="T78" fmla="*/ 327 w 512"/>
              <a:gd name="T79" fmla="*/ 221 h 512"/>
              <a:gd name="T80" fmla="*/ 242 w 512"/>
              <a:gd name="T81" fmla="*/ 306 h 512"/>
              <a:gd name="T82" fmla="*/ 234 w 512"/>
              <a:gd name="T83" fmla="*/ 309 h 512"/>
              <a:gd name="T84" fmla="*/ 227 w 512"/>
              <a:gd name="T85" fmla="*/ 306 h 512"/>
              <a:gd name="T86" fmla="*/ 184 w 512"/>
              <a:gd name="T87" fmla="*/ 263 h 512"/>
              <a:gd name="T88" fmla="*/ 184 w 512"/>
              <a:gd name="T89" fmla="*/ 248 h 512"/>
              <a:gd name="T90" fmla="*/ 199 w 512"/>
              <a:gd name="T91" fmla="*/ 248 h 512"/>
              <a:gd name="T92" fmla="*/ 234 w 512"/>
              <a:gd name="T93" fmla="*/ 283 h 512"/>
              <a:gd name="T94" fmla="*/ 312 w 512"/>
              <a:gd name="T95" fmla="*/ 205 h 512"/>
              <a:gd name="T96" fmla="*/ 327 w 512"/>
              <a:gd name="T97" fmla="*/ 205 h 512"/>
              <a:gd name="T98" fmla="*/ 327 w 512"/>
              <a:gd name="T9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27" y="221"/>
                </a:moveTo>
                <a:cubicBezTo>
                  <a:pt x="242" y="306"/>
                  <a:pt x="242" y="306"/>
                  <a:pt x="242" y="306"/>
                </a:cubicBezTo>
                <a:cubicBezTo>
                  <a:pt x="240" y="308"/>
                  <a:pt x="237" y="309"/>
                  <a:pt x="234" y="309"/>
                </a:cubicBezTo>
                <a:cubicBezTo>
                  <a:pt x="232" y="309"/>
                  <a:pt x="229" y="308"/>
                  <a:pt x="227" y="306"/>
                </a:cubicBezTo>
                <a:cubicBezTo>
                  <a:pt x="184" y="263"/>
                  <a:pt x="184" y="263"/>
                  <a:pt x="184" y="263"/>
                </a:cubicBezTo>
                <a:cubicBezTo>
                  <a:pt x="180" y="259"/>
                  <a:pt x="180" y="252"/>
                  <a:pt x="184" y="248"/>
                </a:cubicBezTo>
                <a:cubicBezTo>
                  <a:pt x="188" y="244"/>
                  <a:pt x="195" y="244"/>
                  <a:pt x="199" y="248"/>
                </a:cubicBezTo>
                <a:cubicBezTo>
                  <a:pt x="234" y="283"/>
                  <a:pt x="234" y="283"/>
                  <a:pt x="234" y="283"/>
                </a:cubicBezTo>
                <a:cubicBezTo>
                  <a:pt x="312" y="205"/>
                  <a:pt x="312" y="205"/>
                  <a:pt x="312" y="205"/>
                </a:cubicBezTo>
                <a:cubicBezTo>
                  <a:pt x="316" y="201"/>
                  <a:pt x="323" y="201"/>
                  <a:pt x="327" y="205"/>
                </a:cubicBezTo>
                <a:cubicBezTo>
                  <a:pt x="331" y="210"/>
                  <a:pt x="331" y="216"/>
                  <a:pt x="327" y="2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4" name="Group 799">
            <a:extLst>
              <a:ext uri="{FF2B5EF4-FFF2-40B4-BE49-F238E27FC236}">
                <a16:creationId xmlns:a16="http://schemas.microsoft.com/office/drawing/2014/main" id="{33E6976A-77AA-4D7B-83B7-D063944A9C4D}"/>
              </a:ext>
            </a:extLst>
          </p:cNvPr>
          <p:cNvGrpSpPr>
            <a:grpSpLocks noChangeAspect="1"/>
          </p:cNvGrpSpPr>
          <p:nvPr/>
        </p:nvGrpSpPr>
        <p:grpSpPr bwMode="auto">
          <a:xfrm>
            <a:off x="4389868" y="2523383"/>
            <a:ext cx="367982" cy="367982"/>
            <a:chOff x="5187" y="3469"/>
            <a:chExt cx="340" cy="340"/>
          </a:xfrm>
          <a:solidFill>
            <a:schemeClr val="accent4"/>
          </a:solidFill>
        </p:grpSpPr>
        <p:sp>
          <p:nvSpPr>
            <p:cNvPr id="435" name="Freeform 800">
              <a:extLst>
                <a:ext uri="{FF2B5EF4-FFF2-40B4-BE49-F238E27FC236}">
                  <a16:creationId xmlns:a16="http://schemas.microsoft.com/office/drawing/2014/main" id="{25110A9E-3438-4D5A-BD15-28B11652A268}"/>
                </a:ext>
              </a:extLst>
            </p:cNvPr>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6" name="Freeform 801">
              <a:extLst>
                <a:ext uri="{FF2B5EF4-FFF2-40B4-BE49-F238E27FC236}">
                  <a16:creationId xmlns:a16="http://schemas.microsoft.com/office/drawing/2014/main" id="{C15B2EF3-BF1D-4974-AC48-E73A28951128}"/>
                </a:ext>
              </a:extLst>
            </p:cNvPr>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7" name="Freeform 805">
            <a:extLst>
              <a:ext uri="{FF2B5EF4-FFF2-40B4-BE49-F238E27FC236}">
                <a16:creationId xmlns:a16="http://schemas.microsoft.com/office/drawing/2014/main" id="{02D9512D-7E0B-4956-8D4A-6FDFC9E3D4EA}"/>
              </a:ext>
            </a:extLst>
          </p:cNvPr>
          <p:cNvSpPr>
            <a:spLocks noChangeAspect="1" noEditPoints="1"/>
          </p:cNvSpPr>
          <p:nvPr/>
        </p:nvSpPr>
        <p:spPr bwMode="auto">
          <a:xfrm>
            <a:off x="4824944" y="2523383"/>
            <a:ext cx="367982" cy="367982"/>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8" name="Group 808">
            <a:extLst>
              <a:ext uri="{FF2B5EF4-FFF2-40B4-BE49-F238E27FC236}">
                <a16:creationId xmlns:a16="http://schemas.microsoft.com/office/drawing/2014/main" id="{67301156-AA9F-4858-84AD-7DBDC53D1A60}"/>
              </a:ext>
            </a:extLst>
          </p:cNvPr>
          <p:cNvGrpSpPr>
            <a:grpSpLocks noChangeAspect="1"/>
          </p:cNvGrpSpPr>
          <p:nvPr/>
        </p:nvGrpSpPr>
        <p:grpSpPr bwMode="auto">
          <a:xfrm>
            <a:off x="5260020" y="2523383"/>
            <a:ext cx="367982" cy="369064"/>
            <a:chOff x="5376" y="3657"/>
            <a:chExt cx="340" cy="341"/>
          </a:xfrm>
          <a:solidFill>
            <a:schemeClr val="accent3"/>
          </a:solidFill>
        </p:grpSpPr>
        <p:sp>
          <p:nvSpPr>
            <p:cNvPr id="439" name="Freeform 809">
              <a:extLst>
                <a:ext uri="{FF2B5EF4-FFF2-40B4-BE49-F238E27FC236}">
                  <a16:creationId xmlns:a16="http://schemas.microsoft.com/office/drawing/2014/main" id="{6CAE02BA-6423-49AB-9A7A-C63081E62B9F}"/>
                </a:ext>
              </a:extLst>
            </p:cNvPr>
            <p:cNvSpPr>
              <a:spLocks noEditPoints="1"/>
            </p:cNvSpPr>
            <p:nvPr/>
          </p:nvSpPr>
          <p:spPr bwMode="auto">
            <a:xfrm>
              <a:off x="5454" y="3721"/>
              <a:ext cx="184" cy="198"/>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0" name="Freeform 810">
              <a:extLst>
                <a:ext uri="{FF2B5EF4-FFF2-40B4-BE49-F238E27FC236}">
                  <a16:creationId xmlns:a16="http://schemas.microsoft.com/office/drawing/2014/main" id="{F800DE9B-925F-448E-9B45-8C24FCA6C725}"/>
                </a:ext>
              </a:extLst>
            </p:cNvPr>
            <p:cNvSpPr>
              <a:spLocks noEditPoints="1"/>
            </p:cNvSpPr>
            <p:nvPr/>
          </p:nvSpPr>
          <p:spPr bwMode="auto">
            <a:xfrm>
              <a:off x="5376" y="36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41" name="Group 440">
            <a:extLst>
              <a:ext uri="{FF2B5EF4-FFF2-40B4-BE49-F238E27FC236}">
                <a16:creationId xmlns:a16="http://schemas.microsoft.com/office/drawing/2014/main" id="{6F078F48-D524-4FF4-8719-B84543875825}"/>
              </a:ext>
            </a:extLst>
          </p:cNvPr>
          <p:cNvGrpSpPr>
            <a:grpSpLocks noChangeAspect="1"/>
          </p:cNvGrpSpPr>
          <p:nvPr/>
        </p:nvGrpSpPr>
        <p:grpSpPr bwMode="auto">
          <a:xfrm>
            <a:off x="6130172" y="2523383"/>
            <a:ext cx="367982" cy="367982"/>
            <a:chOff x="6579" y="3604"/>
            <a:chExt cx="340" cy="340"/>
          </a:xfrm>
          <a:solidFill>
            <a:schemeClr val="accent3"/>
          </a:solidFill>
        </p:grpSpPr>
        <p:sp>
          <p:nvSpPr>
            <p:cNvPr id="442" name="Freeform 823">
              <a:extLst>
                <a:ext uri="{FF2B5EF4-FFF2-40B4-BE49-F238E27FC236}">
                  <a16:creationId xmlns:a16="http://schemas.microsoft.com/office/drawing/2014/main" id="{2E6E68CB-B967-4D19-A712-9AD4F340BB02}"/>
                </a:ext>
              </a:extLst>
            </p:cNvPr>
            <p:cNvSpPr>
              <a:spLocks noEditPoints="1"/>
            </p:cNvSpPr>
            <p:nvPr/>
          </p:nvSpPr>
          <p:spPr bwMode="auto">
            <a:xfrm>
              <a:off x="6579" y="36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3" name="Freeform 824">
              <a:extLst>
                <a:ext uri="{FF2B5EF4-FFF2-40B4-BE49-F238E27FC236}">
                  <a16:creationId xmlns:a16="http://schemas.microsoft.com/office/drawing/2014/main" id="{449A6278-D528-47D6-852E-717DCBBCB0CC}"/>
                </a:ext>
              </a:extLst>
            </p:cNvPr>
            <p:cNvSpPr>
              <a:spLocks noEditPoints="1"/>
            </p:cNvSpPr>
            <p:nvPr/>
          </p:nvSpPr>
          <p:spPr bwMode="auto">
            <a:xfrm>
              <a:off x="6663" y="3668"/>
              <a:ext cx="172" cy="212"/>
            </a:xfrm>
            <a:custGeom>
              <a:avLst/>
              <a:gdLst>
                <a:gd name="T0" fmla="*/ 246 w 258"/>
                <a:gd name="T1" fmla="*/ 256 h 320"/>
                <a:gd name="T2" fmla="*/ 182 w 258"/>
                <a:gd name="T3" fmla="*/ 117 h 320"/>
                <a:gd name="T4" fmla="*/ 86 w 258"/>
                <a:gd name="T5" fmla="*/ 106 h 320"/>
                <a:gd name="T6" fmla="*/ 75 w 258"/>
                <a:gd name="T7" fmla="*/ 256 h 320"/>
                <a:gd name="T8" fmla="*/ 1 w 258"/>
                <a:gd name="T9" fmla="*/ 262 h 320"/>
                <a:gd name="T10" fmla="*/ 46 w 258"/>
                <a:gd name="T11" fmla="*/ 317 h 320"/>
                <a:gd name="T12" fmla="*/ 203 w 258"/>
                <a:gd name="T13" fmla="*/ 320 h 320"/>
                <a:gd name="T14" fmla="*/ 254 w 258"/>
                <a:gd name="T15" fmla="*/ 274 h 320"/>
                <a:gd name="T16" fmla="*/ 97 w 258"/>
                <a:gd name="T17" fmla="*/ 128 h 320"/>
                <a:gd name="T18" fmla="*/ 161 w 258"/>
                <a:gd name="T19" fmla="*/ 256 h 320"/>
                <a:gd name="T20" fmla="*/ 139 w 258"/>
                <a:gd name="T21" fmla="*/ 213 h 320"/>
                <a:gd name="T22" fmla="*/ 118 w 258"/>
                <a:gd name="T23" fmla="*/ 213 h 320"/>
                <a:gd name="T24" fmla="*/ 97 w 258"/>
                <a:gd name="T25" fmla="*/ 256 h 320"/>
                <a:gd name="T26" fmla="*/ 199 w 258"/>
                <a:gd name="T27" fmla="*/ 298 h 320"/>
                <a:gd name="T28" fmla="*/ 37 w 258"/>
                <a:gd name="T29" fmla="*/ 277 h 320"/>
                <a:gd name="T30" fmla="*/ 199 w 258"/>
                <a:gd name="T31" fmla="*/ 298 h 320"/>
                <a:gd name="T32" fmla="*/ 127 w 258"/>
                <a:gd name="T33" fmla="*/ 85 h 320"/>
                <a:gd name="T34" fmla="*/ 130 w 258"/>
                <a:gd name="T35" fmla="*/ 85 h 320"/>
                <a:gd name="T36" fmla="*/ 134 w 258"/>
                <a:gd name="T37" fmla="*/ 85 h 320"/>
                <a:gd name="T38" fmla="*/ 160 w 258"/>
                <a:gd name="T39" fmla="*/ 41 h 320"/>
                <a:gd name="T40" fmla="*/ 157 w 258"/>
                <a:gd name="T41" fmla="*/ 35 h 320"/>
                <a:gd name="T42" fmla="*/ 148 w 258"/>
                <a:gd name="T43" fmla="*/ 24 h 320"/>
                <a:gd name="T44" fmla="*/ 130 w 258"/>
                <a:gd name="T45" fmla="*/ 0 h 320"/>
                <a:gd name="T46" fmla="*/ 125 w 258"/>
                <a:gd name="T47" fmla="*/ 0 h 320"/>
                <a:gd name="T48" fmla="*/ 112 w 258"/>
                <a:gd name="T49" fmla="*/ 23 h 320"/>
                <a:gd name="T50" fmla="*/ 103 w 258"/>
                <a:gd name="T51" fmla="*/ 35 h 320"/>
                <a:gd name="T52" fmla="*/ 101 w 258"/>
                <a:gd name="T53" fmla="*/ 41 h 320"/>
                <a:gd name="T54" fmla="*/ 126 w 258"/>
                <a:gd name="T55" fmla="*/ 85 h 320"/>
                <a:gd name="T56" fmla="*/ 131 w 258"/>
                <a:gd name="T57" fmla="*/ 64 h 320"/>
                <a:gd name="T58" fmla="*/ 130 w 258"/>
                <a:gd name="T59" fmla="*/ 64 h 320"/>
                <a:gd name="T60" fmla="*/ 129 w 258"/>
                <a:gd name="T61" fmla="*/ 64 h 320"/>
                <a:gd name="T62" fmla="*/ 119 w 258"/>
                <a:gd name="T63" fmla="*/ 53 h 320"/>
                <a:gd name="T64" fmla="*/ 122 w 258"/>
                <a:gd name="T65" fmla="*/ 47 h 320"/>
                <a:gd name="T66" fmla="*/ 130 w 258"/>
                <a:gd name="T67" fmla="*/ 36 h 320"/>
                <a:gd name="T68" fmla="*/ 141 w 258"/>
                <a:gd name="T69" fmla="*/ 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8" h="320">
                  <a:moveTo>
                    <a:pt x="256" y="262"/>
                  </a:moveTo>
                  <a:cubicBezTo>
                    <a:pt x="254" y="258"/>
                    <a:pt x="250" y="256"/>
                    <a:pt x="246" y="256"/>
                  </a:cubicBezTo>
                  <a:cubicBezTo>
                    <a:pt x="182" y="256"/>
                    <a:pt x="182" y="256"/>
                    <a:pt x="182" y="256"/>
                  </a:cubicBezTo>
                  <a:cubicBezTo>
                    <a:pt x="182" y="117"/>
                    <a:pt x="182" y="117"/>
                    <a:pt x="182" y="117"/>
                  </a:cubicBezTo>
                  <a:cubicBezTo>
                    <a:pt x="182" y="111"/>
                    <a:pt x="177" y="106"/>
                    <a:pt x="171" y="106"/>
                  </a:cubicBezTo>
                  <a:cubicBezTo>
                    <a:pt x="86" y="106"/>
                    <a:pt x="86" y="106"/>
                    <a:pt x="86" y="106"/>
                  </a:cubicBezTo>
                  <a:cubicBezTo>
                    <a:pt x="80" y="106"/>
                    <a:pt x="75" y="111"/>
                    <a:pt x="75" y="117"/>
                  </a:cubicBezTo>
                  <a:cubicBezTo>
                    <a:pt x="75" y="256"/>
                    <a:pt x="75" y="256"/>
                    <a:pt x="75" y="256"/>
                  </a:cubicBezTo>
                  <a:cubicBezTo>
                    <a:pt x="11" y="256"/>
                    <a:pt x="11" y="256"/>
                    <a:pt x="11" y="256"/>
                  </a:cubicBezTo>
                  <a:cubicBezTo>
                    <a:pt x="7" y="256"/>
                    <a:pt x="3" y="258"/>
                    <a:pt x="1" y="262"/>
                  </a:cubicBezTo>
                  <a:cubicBezTo>
                    <a:pt x="0" y="266"/>
                    <a:pt x="1" y="271"/>
                    <a:pt x="4" y="274"/>
                  </a:cubicBezTo>
                  <a:cubicBezTo>
                    <a:pt x="46" y="317"/>
                    <a:pt x="46" y="317"/>
                    <a:pt x="46" y="317"/>
                  </a:cubicBezTo>
                  <a:cubicBezTo>
                    <a:pt x="48" y="319"/>
                    <a:pt x="51" y="320"/>
                    <a:pt x="54" y="320"/>
                  </a:cubicBezTo>
                  <a:cubicBezTo>
                    <a:pt x="203" y="320"/>
                    <a:pt x="203" y="320"/>
                    <a:pt x="203" y="320"/>
                  </a:cubicBezTo>
                  <a:cubicBezTo>
                    <a:pt x="206" y="320"/>
                    <a:pt x="209" y="319"/>
                    <a:pt x="211" y="317"/>
                  </a:cubicBezTo>
                  <a:cubicBezTo>
                    <a:pt x="254" y="274"/>
                    <a:pt x="254" y="274"/>
                    <a:pt x="254" y="274"/>
                  </a:cubicBezTo>
                  <a:cubicBezTo>
                    <a:pt x="257" y="271"/>
                    <a:pt x="258" y="266"/>
                    <a:pt x="256" y="262"/>
                  </a:cubicBezTo>
                  <a:close/>
                  <a:moveTo>
                    <a:pt x="97" y="128"/>
                  </a:moveTo>
                  <a:cubicBezTo>
                    <a:pt x="161" y="128"/>
                    <a:pt x="161" y="128"/>
                    <a:pt x="161" y="128"/>
                  </a:cubicBezTo>
                  <a:cubicBezTo>
                    <a:pt x="161" y="256"/>
                    <a:pt x="161" y="256"/>
                    <a:pt x="161" y="256"/>
                  </a:cubicBezTo>
                  <a:cubicBezTo>
                    <a:pt x="139" y="256"/>
                    <a:pt x="139" y="256"/>
                    <a:pt x="139" y="256"/>
                  </a:cubicBezTo>
                  <a:cubicBezTo>
                    <a:pt x="139" y="213"/>
                    <a:pt x="139" y="213"/>
                    <a:pt x="139" y="213"/>
                  </a:cubicBezTo>
                  <a:cubicBezTo>
                    <a:pt x="139" y="207"/>
                    <a:pt x="135" y="202"/>
                    <a:pt x="129" y="202"/>
                  </a:cubicBezTo>
                  <a:cubicBezTo>
                    <a:pt x="123" y="202"/>
                    <a:pt x="118" y="207"/>
                    <a:pt x="118" y="213"/>
                  </a:cubicBezTo>
                  <a:cubicBezTo>
                    <a:pt x="118" y="256"/>
                    <a:pt x="118" y="256"/>
                    <a:pt x="118" y="256"/>
                  </a:cubicBezTo>
                  <a:cubicBezTo>
                    <a:pt x="97" y="256"/>
                    <a:pt x="97" y="256"/>
                    <a:pt x="97" y="256"/>
                  </a:cubicBezTo>
                  <a:lnTo>
                    <a:pt x="97" y="128"/>
                  </a:lnTo>
                  <a:close/>
                  <a:moveTo>
                    <a:pt x="199" y="298"/>
                  </a:moveTo>
                  <a:cubicBezTo>
                    <a:pt x="58" y="298"/>
                    <a:pt x="58" y="298"/>
                    <a:pt x="58" y="298"/>
                  </a:cubicBezTo>
                  <a:cubicBezTo>
                    <a:pt x="37" y="277"/>
                    <a:pt x="37" y="277"/>
                    <a:pt x="37" y="277"/>
                  </a:cubicBezTo>
                  <a:cubicBezTo>
                    <a:pt x="220" y="277"/>
                    <a:pt x="220" y="277"/>
                    <a:pt x="220" y="277"/>
                  </a:cubicBezTo>
                  <a:lnTo>
                    <a:pt x="199" y="298"/>
                  </a:lnTo>
                  <a:close/>
                  <a:moveTo>
                    <a:pt x="126" y="85"/>
                  </a:moveTo>
                  <a:cubicBezTo>
                    <a:pt x="127" y="85"/>
                    <a:pt x="127" y="85"/>
                    <a:pt x="127" y="85"/>
                  </a:cubicBezTo>
                  <a:cubicBezTo>
                    <a:pt x="128" y="85"/>
                    <a:pt x="128" y="85"/>
                    <a:pt x="129" y="85"/>
                  </a:cubicBezTo>
                  <a:cubicBezTo>
                    <a:pt x="130" y="85"/>
                    <a:pt x="130" y="85"/>
                    <a:pt x="130" y="85"/>
                  </a:cubicBezTo>
                  <a:cubicBezTo>
                    <a:pt x="130" y="85"/>
                    <a:pt x="130" y="85"/>
                    <a:pt x="130" y="85"/>
                  </a:cubicBezTo>
                  <a:cubicBezTo>
                    <a:pt x="132" y="85"/>
                    <a:pt x="133" y="85"/>
                    <a:pt x="134" y="85"/>
                  </a:cubicBezTo>
                  <a:cubicBezTo>
                    <a:pt x="150" y="83"/>
                    <a:pt x="163" y="69"/>
                    <a:pt x="163" y="53"/>
                  </a:cubicBezTo>
                  <a:cubicBezTo>
                    <a:pt x="163" y="49"/>
                    <a:pt x="162" y="45"/>
                    <a:pt x="160" y="41"/>
                  </a:cubicBezTo>
                  <a:cubicBezTo>
                    <a:pt x="160" y="40"/>
                    <a:pt x="160" y="40"/>
                    <a:pt x="160" y="39"/>
                  </a:cubicBezTo>
                  <a:cubicBezTo>
                    <a:pt x="157" y="35"/>
                    <a:pt x="157" y="35"/>
                    <a:pt x="157" y="35"/>
                  </a:cubicBezTo>
                  <a:cubicBezTo>
                    <a:pt x="157" y="35"/>
                    <a:pt x="157" y="34"/>
                    <a:pt x="156" y="34"/>
                  </a:cubicBezTo>
                  <a:cubicBezTo>
                    <a:pt x="156" y="34"/>
                    <a:pt x="151" y="28"/>
                    <a:pt x="148" y="24"/>
                  </a:cubicBezTo>
                  <a:cubicBezTo>
                    <a:pt x="145" y="19"/>
                    <a:pt x="143" y="15"/>
                    <a:pt x="143" y="12"/>
                  </a:cubicBezTo>
                  <a:cubicBezTo>
                    <a:pt x="142" y="5"/>
                    <a:pt x="137" y="0"/>
                    <a:pt x="130" y="0"/>
                  </a:cubicBezTo>
                  <a:cubicBezTo>
                    <a:pt x="130" y="0"/>
                    <a:pt x="130" y="0"/>
                    <a:pt x="129" y="0"/>
                  </a:cubicBezTo>
                  <a:cubicBezTo>
                    <a:pt x="128" y="0"/>
                    <a:pt x="127" y="0"/>
                    <a:pt x="125" y="0"/>
                  </a:cubicBezTo>
                  <a:cubicBezTo>
                    <a:pt x="121" y="2"/>
                    <a:pt x="117" y="6"/>
                    <a:pt x="117" y="12"/>
                  </a:cubicBezTo>
                  <a:cubicBezTo>
                    <a:pt x="117" y="15"/>
                    <a:pt x="115" y="19"/>
                    <a:pt x="112" y="23"/>
                  </a:cubicBezTo>
                  <a:cubicBezTo>
                    <a:pt x="109" y="28"/>
                    <a:pt x="104" y="34"/>
                    <a:pt x="104" y="34"/>
                  </a:cubicBezTo>
                  <a:cubicBezTo>
                    <a:pt x="104" y="34"/>
                    <a:pt x="104" y="35"/>
                    <a:pt x="103" y="35"/>
                  </a:cubicBezTo>
                  <a:cubicBezTo>
                    <a:pt x="101" y="40"/>
                    <a:pt x="101" y="40"/>
                    <a:pt x="101" y="40"/>
                  </a:cubicBezTo>
                  <a:cubicBezTo>
                    <a:pt x="101" y="40"/>
                    <a:pt x="101" y="40"/>
                    <a:pt x="101" y="41"/>
                  </a:cubicBezTo>
                  <a:cubicBezTo>
                    <a:pt x="99" y="45"/>
                    <a:pt x="98" y="49"/>
                    <a:pt x="98" y="53"/>
                  </a:cubicBezTo>
                  <a:cubicBezTo>
                    <a:pt x="98" y="69"/>
                    <a:pt x="110" y="83"/>
                    <a:pt x="126" y="85"/>
                  </a:cubicBezTo>
                  <a:close/>
                  <a:moveTo>
                    <a:pt x="141" y="53"/>
                  </a:moveTo>
                  <a:cubicBezTo>
                    <a:pt x="141" y="58"/>
                    <a:pt x="137" y="63"/>
                    <a:pt x="131" y="64"/>
                  </a:cubicBezTo>
                  <a:cubicBezTo>
                    <a:pt x="131" y="64"/>
                    <a:pt x="131" y="64"/>
                    <a:pt x="130" y="64"/>
                  </a:cubicBezTo>
                  <a:cubicBezTo>
                    <a:pt x="130" y="64"/>
                    <a:pt x="130" y="64"/>
                    <a:pt x="130" y="64"/>
                  </a:cubicBezTo>
                  <a:cubicBezTo>
                    <a:pt x="130" y="64"/>
                    <a:pt x="130" y="64"/>
                    <a:pt x="130" y="64"/>
                  </a:cubicBezTo>
                  <a:cubicBezTo>
                    <a:pt x="130" y="64"/>
                    <a:pt x="129" y="64"/>
                    <a:pt x="129" y="64"/>
                  </a:cubicBezTo>
                  <a:cubicBezTo>
                    <a:pt x="129" y="64"/>
                    <a:pt x="129" y="64"/>
                    <a:pt x="129" y="64"/>
                  </a:cubicBezTo>
                  <a:cubicBezTo>
                    <a:pt x="124" y="63"/>
                    <a:pt x="119" y="58"/>
                    <a:pt x="119" y="53"/>
                  </a:cubicBezTo>
                  <a:cubicBezTo>
                    <a:pt x="119" y="52"/>
                    <a:pt x="120" y="51"/>
                    <a:pt x="120" y="49"/>
                  </a:cubicBezTo>
                  <a:cubicBezTo>
                    <a:pt x="122" y="47"/>
                    <a:pt x="122" y="47"/>
                    <a:pt x="122" y="47"/>
                  </a:cubicBezTo>
                  <a:cubicBezTo>
                    <a:pt x="123" y="45"/>
                    <a:pt x="127" y="40"/>
                    <a:pt x="130" y="35"/>
                  </a:cubicBezTo>
                  <a:cubicBezTo>
                    <a:pt x="130" y="35"/>
                    <a:pt x="130" y="35"/>
                    <a:pt x="130" y="36"/>
                  </a:cubicBezTo>
                  <a:cubicBezTo>
                    <a:pt x="134" y="40"/>
                    <a:pt x="138" y="45"/>
                    <a:pt x="139" y="47"/>
                  </a:cubicBezTo>
                  <a:cubicBezTo>
                    <a:pt x="141" y="50"/>
                    <a:pt x="141" y="50"/>
                    <a:pt x="141" y="50"/>
                  </a:cubicBezTo>
                  <a:cubicBezTo>
                    <a:pt x="141" y="51"/>
                    <a:pt x="141" y="52"/>
                    <a:pt x="141"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4" name="Freeform 334">
            <a:extLst>
              <a:ext uri="{FF2B5EF4-FFF2-40B4-BE49-F238E27FC236}">
                <a16:creationId xmlns:a16="http://schemas.microsoft.com/office/drawing/2014/main" id="{A1B6E4F9-725C-45FD-8F77-AC008FBB7104}"/>
              </a:ext>
            </a:extLst>
          </p:cNvPr>
          <p:cNvSpPr>
            <a:spLocks noChangeAspect="1" noEditPoints="1"/>
          </p:cNvSpPr>
          <p:nvPr/>
        </p:nvSpPr>
        <p:spPr bwMode="auto">
          <a:xfrm>
            <a:off x="5695096" y="2523383"/>
            <a:ext cx="367982" cy="367982"/>
          </a:xfrm>
          <a:custGeom>
            <a:avLst/>
            <a:gdLst>
              <a:gd name="T0" fmla="*/ 247 w 512"/>
              <a:gd name="T1" fmla="*/ 145 h 512"/>
              <a:gd name="T2" fmla="*/ 257 w 512"/>
              <a:gd name="T3" fmla="*/ 131 h 512"/>
              <a:gd name="T4" fmla="*/ 266 w 512"/>
              <a:gd name="T5" fmla="*/ 143 h 512"/>
              <a:gd name="T6" fmla="*/ 268 w 512"/>
              <a:gd name="T7" fmla="*/ 149 h 512"/>
              <a:gd name="T8" fmla="*/ 257 w 512"/>
              <a:gd name="T9" fmla="*/ 160 h 512"/>
              <a:gd name="T10" fmla="*/ 257 w 512"/>
              <a:gd name="T11" fmla="*/ 160 h 512"/>
              <a:gd name="T12" fmla="*/ 256 w 512"/>
              <a:gd name="T13" fmla="*/ 160 h 512"/>
              <a:gd name="T14" fmla="*/ 245 w 512"/>
              <a:gd name="T15" fmla="*/ 309 h 512"/>
              <a:gd name="T16" fmla="*/ 266 w 512"/>
              <a:gd name="T17" fmla="*/ 309 h 512"/>
              <a:gd name="T18" fmla="*/ 288 w 512"/>
              <a:gd name="T19" fmla="*/ 352 h 512"/>
              <a:gd name="T20" fmla="*/ 224 w 512"/>
              <a:gd name="T21" fmla="*/ 224 h 512"/>
              <a:gd name="T22" fmla="*/ 245 w 512"/>
              <a:gd name="T23" fmla="*/ 352 h 512"/>
              <a:gd name="T24" fmla="*/ 185 w 512"/>
              <a:gd name="T25" fmla="*/ 394 h 512"/>
              <a:gd name="T26" fmla="*/ 347 w 512"/>
              <a:gd name="T27" fmla="*/ 373 h 512"/>
              <a:gd name="T28" fmla="*/ 185 w 512"/>
              <a:gd name="T29" fmla="*/ 394 h 512"/>
              <a:gd name="T30" fmla="*/ 256 w 512"/>
              <a:gd name="T31" fmla="*/ 512 h 512"/>
              <a:gd name="T32" fmla="*/ 256 w 512"/>
              <a:gd name="T33" fmla="*/ 0 h 512"/>
              <a:gd name="T34" fmla="*/ 225 w 512"/>
              <a:gd name="T35" fmla="*/ 149 h 512"/>
              <a:gd name="T36" fmla="*/ 254 w 512"/>
              <a:gd name="T37" fmla="*/ 181 h 512"/>
              <a:gd name="T38" fmla="*/ 257 w 512"/>
              <a:gd name="T39" fmla="*/ 181 h 512"/>
              <a:gd name="T40" fmla="*/ 261 w 512"/>
              <a:gd name="T41" fmla="*/ 181 h 512"/>
              <a:gd name="T42" fmla="*/ 287 w 512"/>
              <a:gd name="T43" fmla="*/ 137 h 512"/>
              <a:gd name="T44" fmla="*/ 284 w 512"/>
              <a:gd name="T45" fmla="*/ 131 h 512"/>
              <a:gd name="T46" fmla="*/ 275 w 512"/>
              <a:gd name="T47" fmla="*/ 120 h 512"/>
              <a:gd name="T48" fmla="*/ 257 w 512"/>
              <a:gd name="T49" fmla="*/ 96 h 512"/>
              <a:gd name="T50" fmla="*/ 252 w 512"/>
              <a:gd name="T51" fmla="*/ 96 h 512"/>
              <a:gd name="T52" fmla="*/ 239 w 512"/>
              <a:gd name="T53" fmla="*/ 119 h 512"/>
              <a:gd name="T54" fmla="*/ 230 w 512"/>
              <a:gd name="T55" fmla="*/ 131 h 512"/>
              <a:gd name="T56" fmla="*/ 228 w 512"/>
              <a:gd name="T57" fmla="*/ 137 h 512"/>
              <a:gd name="T58" fmla="*/ 383 w 512"/>
              <a:gd name="T59" fmla="*/ 358 h 512"/>
              <a:gd name="T60" fmla="*/ 309 w 512"/>
              <a:gd name="T61" fmla="*/ 352 h 512"/>
              <a:gd name="T62" fmla="*/ 298 w 512"/>
              <a:gd name="T63" fmla="*/ 202 h 512"/>
              <a:gd name="T64" fmla="*/ 202 w 512"/>
              <a:gd name="T65" fmla="*/ 213 h 512"/>
              <a:gd name="T66" fmla="*/ 138 w 512"/>
              <a:gd name="T67" fmla="*/ 352 h 512"/>
              <a:gd name="T68" fmla="*/ 131 w 512"/>
              <a:gd name="T69" fmla="*/ 370 h 512"/>
              <a:gd name="T70" fmla="*/ 181 w 512"/>
              <a:gd name="T71" fmla="*/ 416 h 512"/>
              <a:gd name="T72" fmla="*/ 338 w 512"/>
              <a:gd name="T73" fmla="*/ 413 h 512"/>
              <a:gd name="T74" fmla="*/ 383 w 512"/>
              <a:gd name="T75" fmla="*/ 3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46" y="149"/>
                </a:moveTo>
                <a:cubicBezTo>
                  <a:pt x="246" y="148"/>
                  <a:pt x="247" y="147"/>
                  <a:pt x="247" y="145"/>
                </a:cubicBezTo>
                <a:cubicBezTo>
                  <a:pt x="249" y="143"/>
                  <a:pt x="249" y="143"/>
                  <a:pt x="249" y="143"/>
                </a:cubicBezTo>
                <a:cubicBezTo>
                  <a:pt x="250" y="141"/>
                  <a:pt x="254" y="136"/>
                  <a:pt x="257" y="131"/>
                </a:cubicBezTo>
                <a:cubicBezTo>
                  <a:pt x="257" y="131"/>
                  <a:pt x="257" y="131"/>
                  <a:pt x="257" y="132"/>
                </a:cubicBezTo>
                <a:cubicBezTo>
                  <a:pt x="261" y="136"/>
                  <a:pt x="265" y="141"/>
                  <a:pt x="266" y="143"/>
                </a:cubicBezTo>
                <a:cubicBezTo>
                  <a:pt x="268" y="146"/>
                  <a:pt x="268" y="146"/>
                  <a:pt x="268" y="146"/>
                </a:cubicBezTo>
                <a:cubicBezTo>
                  <a:pt x="268" y="147"/>
                  <a:pt x="268" y="148"/>
                  <a:pt x="268" y="149"/>
                </a:cubicBezTo>
                <a:cubicBezTo>
                  <a:pt x="268" y="154"/>
                  <a:pt x="264" y="159"/>
                  <a:pt x="258" y="160"/>
                </a:cubicBezTo>
                <a:cubicBezTo>
                  <a:pt x="258" y="160"/>
                  <a:pt x="258" y="160"/>
                  <a:pt x="257" y="160"/>
                </a:cubicBezTo>
                <a:cubicBezTo>
                  <a:pt x="257" y="160"/>
                  <a:pt x="257" y="160"/>
                  <a:pt x="257" y="160"/>
                </a:cubicBezTo>
                <a:cubicBezTo>
                  <a:pt x="257" y="160"/>
                  <a:pt x="257" y="160"/>
                  <a:pt x="257" y="160"/>
                </a:cubicBezTo>
                <a:cubicBezTo>
                  <a:pt x="257" y="160"/>
                  <a:pt x="256" y="160"/>
                  <a:pt x="256" y="160"/>
                </a:cubicBezTo>
                <a:cubicBezTo>
                  <a:pt x="256" y="160"/>
                  <a:pt x="256" y="160"/>
                  <a:pt x="256" y="160"/>
                </a:cubicBezTo>
                <a:cubicBezTo>
                  <a:pt x="251" y="159"/>
                  <a:pt x="246" y="154"/>
                  <a:pt x="246" y="149"/>
                </a:cubicBezTo>
                <a:close/>
                <a:moveTo>
                  <a:pt x="245" y="309"/>
                </a:moveTo>
                <a:cubicBezTo>
                  <a:pt x="245" y="303"/>
                  <a:pt x="250" y="298"/>
                  <a:pt x="256" y="298"/>
                </a:cubicBezTo>
                <a:cubicBezTo>
                  <a:pt x="262" y="298"/>
                  <a:pt x="266" y="303"/>
                  <a:pt x="266" y="309"/>
                </a:cubicBezTo>
                <a:cubicBezTo>
                  <a:pt x="266" y="352"/>
                  <a:pt x="266" y="352"/>
                  <a:pt x="266" y="352"/>
                </a:cubicBezTo>
                <a:cubicBezTo>
                  <a:pt x="288" y="352"/>
                  <a:pt x="288" y="352"/>
                  <a:pt x="288" y="352"/>
                </a:cubicBezTo>
                <a:cubicBezTo>
                  <a:pt x="288" y="224"/>
                  <a:pt x="288" y="224"/>
                  <a:pt x="288" y="224"/>
                </a:cubicBezTo>
                <a:cubicBezTo>
                  <a:pt x="224" y="224"/>
                  <a:pt x="224" y="224"/>
                  <a:pt x="224" y="224"/>
                </a:cubicBezTo>
                <a:cubicBezTo>
                  <a:pt x="224" y="352"/>
                  <a:pt x="224" y="352"/>
                  <a:pt x="224" y="352"/>
                </a:cubicBezTo>
                <a:cubicBezTo>
                  <a:pt x="245" y="352"/>
                  <a:pt x="245" y="352"/>
                  <a:pt x="245" y="352"/>
                </a:cubicBezTo>
                <a:lnTo>
                  <a:pt x="245" y="309"/>
                </a:lnTo>
                <a:close/>
                <a:moveTo>
                  <a:pt x="185" y="394"/>
                </a:moveTo>
                <a:cubicBezTo>
                  <a:pt x="326" y="394"/>
                  <a:pt x="326" y="394"/>
                  <a:pt x="326" y="394"/>
                </a:cubicBezTo>
                <a:cubicBezTo>
                  <a:pt x="347" y="373"/>
                  <a:pt x="347" y="373"/>
                  <a:pt x="347" y="373"/>
                </a:cubicBezTo>
                <a:cubicBezTo>
                  <a:pt x="164" y="373"/>
                  <a:pt x="164" y="373"/>
                  <a:pt x="164" y="373"/>
                </a:cubicBezTo>
                <a:lnTo>
                  <a:pt x="18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5" y="149"/>
                </a:moveTo>
                <a:cubicBezTo>
                  <a:pt x="225" y="165"/>
                  <a:pt x="237" y="179"/>
                  <a:pt x="253" y="181"/>
                </a:cubicBezTo>
                <a:cubicBezTo>
                  <a:pt x="254" y="181"/>
                  <a:pt x="254" y="181"/>
                  <a:pt x="254" y="181"/>
                </a:cubicBezTo>
                <a:cubicBezTo>
                  <a:pt x="255" y="181"/>
                  <a:pt x="255" y="181"/>
                  <a:pt x="256" y="181"/>
                </a:cubicBezTo>
                <a:cubicBezTo>
                  <a:pt x="257" y="181"/>
                  <a:pt x="257" y="181"/>
                  <a:pt x="257" y="181"/>
                </a:cubicBezTo>
                <a:cubicBezTo>
                  <a:pt x="257" y="181"/>
                  <a:pt x="257" y="181"/>
                  <a:pt x="257" y="181"/>
                </a:cubicBezTo>
                <a:cubicBezTo>
                  <a:pt x="259" y="181"/>
                  <a:pt x="260" y="181"/>
                  <a:pt x="261" y="181"/>
                </a:cubicBezTo>
                <a:cubicBezTo>
                  <a:pt x="277" y="179"/>
                  <a:pt x="290" y="165"/>
                  <a:pt x="290" y="149"/>
                </a:cubicBezTo>
                <a:cubicBezTo>
                  <a:pt x="290" y="145"/>
                  <a:pt x="289" y="141"/>
                  <a:pt x="287" y="137"/>
                </a:cubicBezTo>
                <a:cubicBezTo>
                  <a:pt x="287" y="136"/>
                  <a:pt x="287" y="136"/>
                  <a:pt x="287" y="135"/>
                </a:cubicBezTo>
                <a:cubicBezTo>
                  <a:pt x="284" y="131"/>
                  <a:pt x="284" y="131"/>
                  <a:pt x="284" y="131"/>
                </a:cubicBezTo>
                <a:cubicBezTo>
                  <a:pt x="284" y="131"/>
                  <a:pt x="284" y="130"/>
                  <a:pt x="283" y="130"/>
                </a:cubicBezTo>
                <a:cubicBezTo>
                  <a:pt x="283" y="130"/>
                  <a:pt x="278" y="124"/>
                  <a:pt x="275" y="120"/>
                </a:cubicBezTo>
                <a:cubicBezTo>
                  <a:pt x="272" y="115"/>
                  <a:pt x="270" y="111"/>
                  <a:pt x="270" y="108"/>
                </a:cubicBezTo>
                <a:cubicBezTo>
                  <a:pt x="269" y="101"/>
                  <a:pt x="264" y="96"/>
                  <a:pt x="257" y="96"/>
                </a:cubicBezTo>
                <a:cubicBezTo>
                  <a:pt x="257" y="96"/>
                  <a:pt x="257" y="96"/>
                  <a:pt x="256" y="96"/>
                </a:cubicBezTo>
                <a:cubicBezTo>
                  <a:pt x="255" y="96"/>
                  <a:pt x="254" y="96"/>
                  <a:pt x="252" y="96"/>
                </a:cubicBezTo>
                <a:cubicBezTo>
                  <a:pt x="248" y="98"/>
                  <a:pt x="244" y="102"/>
                  <a:pt x="244" y="108"/>
                </a:cubicBezTo>
                <a:cubicBezTo>
                  <a:pt x="244" y="111"/>
                  <a:pt x="242" y="115"/>
                  <a:pt x="239" y="119"/>
                </a:cubicBezTo>
                <a:cubicBezTo>
                  <a:pt x="236" y="124"/>
                  <a:pt x="231" y="130"/>
                  <a:pt x="231" y="130"/>
                </a:cubicBezTo>
                <a:cubicBezTo>
                  <a:pt x="231" y="130"/>
                  <a:pt x="231" y="131"/>
                  <a:pt x="230" y="131"/>
                </a:cubicBezTo>
                <a:cubicBezTo>
                  <a:pt x="228" y="136"/>
                  <a:pt x="228" y="136"/>
                  <a:pt x="228" y="136"/>
                </a:cubicBezTo>
                <a:cubicBezTo>
                  <a:pt x="228" y="136"/>
                  <a:pt x="228" y="136"/>
                  <a:pt x="228" y="137"/>
                </a:cubicBezTo>
                <a:cubicBezTo>
                  <a:pt x="226" y="141"/>
                  <a:pt x="225" y="145"/>
                  <a:pt x="225" y="149"/>
                </a:cubicBezTo>
                <a:close/>
                <a:moveTo>
                  <a:pt x="383" y="358"/>
                </a:moveTo>
                <a:cubicBezTo>
                  <a:pt x="381" y="354"/>
                  <a:pt x="377" y="352"/>
                  <a:pt x="373" y="352"/>
                </a:cubicBezTo>
                <a:cubicBezTo>
                  <a:pt x="309" y="352"/>
                  <a:pt x="309" y="352"/>
                  <a:pt x="309" y="352"/>
                </a:cubicBezTo>
                <a:cubicBezTo>
                  <a:pt x="309" y="213"/>
                  <a:pt x="309" y="213"/>
                  <a:pt x="309" y="213"/>
                </a:cubicBezTo>
                <a:cubicBezTo>
                  <a:pt x="309" y="207"/>
                  <a:pt x="304" y="202"/>
                  <a:pt x="298" y="202"/>
                </a:cubicBezTo>
                <a:cubicBezTo>
                  <a:pt x="213" y="202"/>
                  <a:pt x="213" y="202"/>
                  <a:pt x="213" y="202"/>
                </a:cubicBezTo>
                <a:cubicBezTo>
                  <a:pt x="207" y="202"/>
                  <a:pt x="202" y="207"/>
                  <a:pt x="202" y="213"/>
                </a:cubicBezTo>
                <a:cubicBezTo>
                  <a:pt x="202" y="352"/>
                  <a:pt x="202" y="352"/>
                  <a:pt x="202" y="352"/>
                </a:cubicBezTo>
                <a:cubicBezTo>
                  <a:pt x="138" y="352"/>
                  <a:pt x="138" y="352"/>
                  <a:pt x="138" y="352"/>
                </a:cubicBezTo>
                <a:cubicBezTo>
                  <a:pt x="134" y="352"/>
                  <a:pt x="130" y="354"/>
                  <a:pt x="128" y="358"/>
                </a:cubicBezTo>
                <a:cubicBezTo>
                  <a:pt x="127" y="362"/>
                  <a:pt x="128" y="367"/>
                  <a:pt x="131" y="370"/>
                </a:cubicBezTo>
                <a:cubicBezTo>
                  <a:pt x="173" y="413"/>
                  <a:pt x="173" y="413"/>
                  <a:pt x="173" y="413"/>
                </a:cubicBezTo>
                <a:cubicBezTo>
                  <a:pt x="175" y="415"/>
                  <a:pt x="178" y="416"/>
                  <a:pt x="181" y="416"/>
                </a:cubicBezTo>
                <a:cubicBezTo>
                  <a:pt x="330" y="416"/>
                  <a:pt x="330" y="416"/>
                  <a:pt x="330" y="416"/>
                </a:cubicBezTo>
                <a:cubicBezTo>
                  <a:pt x="333" y="416"/>
                  <a:pt x="336" y="415"/>
                  <a:pt x="338" y="413"/>
                </a:cubicBezTo>
                <a:cubicBezTo>
                  <a:pt x="381" y="370"/>
                  <a:pt x="381" y="370"/>
                  <a:pt x="381" y="370"/>
                </a:cubicBezTo>
                <a:cubicBezTo>
                  <a:pt x="384" y="367"/>
                  <a:pt x="385" y="362"/>
                  <a:pt x="383" y="35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45" name="Freeform 899">
            <a:extLst>
              <a:ext uri="{FF2B5EF4-FFF2-40B4-BE49-F238E27FC236}">
                <a16:creationId xmlns:a16="http://schemas.microsoft.com/office/drawing/2014/main" id="{D4B3CAEE-C241-4E79-8FC5-EF205D82FAAD}"/>
              </a:ext>
            </a:extLst>
          </p:cNvPr>
          <p:cNvSpPr>
            <a:spLocks noChangeAspect="1" noEditPoints="1"/>
          </p:cNvSpPr>
          <p:nvPr/>
        </p:nvSpPr>
        <p:spPr bwMode="auto">
          <a:xfrm>
            <a:off x="472020" y="3298170"/>
            <a:ext cx="367982" cy="367982"/>
          </a:xfrm>
          <a:custGeom>
            <a:avLst/>
            <a:gdLst>
              <a:gd name="T0" fmla="*/ 138 w 512"/>
              <a:gd name="T1" fmla="*/ 160 h 512"/>
              <a:gd name="T2" fmla="*/ 341 w 512"/>
              <a:gd name="T3" fmla="*/ 160 h 512"/>
              <a:gd name="T4" fmla="*/ 341 w 512"/>
              <a:gd name="T5" fmla="*/ 212 h 512"/>
              <a:gd name="T6" fmla="*/ 236 w 512"/>
              <a:gd name="T7" fmla="*/ 304 h 512"/>
              <a:gd name="T8" fmla="*/ 189 w 512"/>
              <a:gd name="T9" fmla="*/ 249 h 512"/>
              <a:gd name="T10" fmla="*/ 174 w 512"/>
              <a:gd name="T11" fmla="*/ 247 h 512"/>
              <a:gd name="T12" fmla="*/ 173 w 512"/>
              <a:gd name="T13" fmla="*/ 263 h 512"/>
              <a:gd name="T14" fmla="*/ 226 w 512"/>
              <a:gd name="T15" fmla="*/ 327 h 512"/>
              <a:gd name="T16" fmla="*/ 226 w 512"/>
              <a:gd name="T17" fmla="*/ 327 h 512"/>
              <a:gd name="T18" fmla="*/ 234 w 512"/>
              <a:gd name="T19" fmla="*/ 330 h 512"/>
              <a:gd name="T20" fmla="*/ 241 w 512"/>
              <a:gd name="T21" fmla="*/ 328 h 512"/>
              <a:gd name="T22" fmla="*/ 341 w 512"/>
              <a:gd name="T23" fmla="*/ 241 h 512"/>
              <a:gd name="T24" fmla="*/ 341 w 512"/>
              <a:gd name="T25" fmla="*/ 362 h 512"/>
              <a:gd name="T26" fmla="*/ 138 w 512"/>
              <a:gd name="T27" fmla="*/ 362 h 512"/>
              <a:gd name="T28" fmla="*/ 138 w 512"/>
              <a:gd name="T29" fmla="*/ 16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3 w 512"/>
              <a:gd name="T41" fmla="*/ 163 h 512"/>
              <a:gd name="T42" fmla="*/ 398 w 512"/>
              <a:gd name="T43" fmla="*/ 162 h 512"/>
              <a:gd name="T44" fmla="*/ 362 w 512"/>
              <a:gd name="T45" fmla="*/ 193 h 512"/>
              <a:gd name="T46" fmla="*/ 362 w 512"/>
              <a:gd name="T47" fmla="*/ 149 h 512"/>
              <a:gd name="T48" fmla="*/ 352 w 512"/>
              <a:gd name="T49" fmla="*/ 138 h 512"/>
              <a:gd name="T50" fmla="*/ 128 w 512"/>
              <a:gd name="T51" fmla="*/ 138 h 512"/>
              <a:gd name="T52" fmla="*/ 117 w 512"/>
              <a:gd name="T53" fmla="*/ 149 h 512"/>
              <a:gd name="T54" fmla="*/ 117 w 512"/>
              <a:gd name="T55" fmla="*/ 373 h 512"/>
              <a:gd name="T56" fmla="*/ 128 w 512"/>
              <a:gd name="T57" fmla="*/ 384 h 512"/>
              <a:gd name="T58" fmla="*/ 352 w 512"/>
              <a:gd name="T59" fmla="*/ 384 h 512"/>
              <a:gd name="T60" fmla="*/ 362 w 512"/>
              <a:gd name="T61" fmla="*/ 373 h 512"/>
              <a:gd name="T62" fmla="*/ 362 w 512"/>
              <a:gd name="T63" fmla="*/ 222 h 512"/>
              <a:gd name="T64" fmla="*/ 412 w 512"/>
              <a:gd name="T65" fmla="*/ 178 h 512"/>
              <a:gd name="T66" fmla="*/ 413 w 512"/>
              <a:gd name="T67"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160"/>
                </a:moveTo>
                <a:cubicBezTo>
                  <a:pt x="341" y="160"/>
                  <a:pt x="341" y="160"/>
                  <a:pt x="341" y="160"/>
                </a:cubicBezTo>
                <a:cubicBezTo>
                  <a:pt x="341" y="212"/>
                  <a:pt x="341" y="212"/>
                  <a:pt x="341" y="212"/>
                </a:cubicBezTo>
                <a:cubicBezTo>
                  <a:pt x="236" y="304"/>
                  <a:pt x="236" y="304"/>
                  <a:pt x="236" y="304"/>
                </a:cubicBezTo>
                <a:cubicBezTo>
                  <a:pt x="189" y="249"/>
                  <a:pt x="189" y="249"/>
                  <a:pt x="189" y="249"/>
                </a:cubicBezTo>
                <a:cubicBezTo>
                  <a:pt x="185" y="244"/>
                  <a:pt x="179" y="244"/>
                  <a:pt x="174" y="247"/>
                </a:cubicBezTo>
                <a:cubicBezTo>
                  <a:pt x="170" y="251"/>
                  <a:pt x="169" y="258"/>
                  <a:pt x="173" y="263"/>
                </a:cubicBezTo>
                <a:cubicBezTo>
                  <a:pt x="226" y="327"/>
                  <a:pt x="226" y="327"/>
                  <a:pt x="226" y="327"/>
                </a:cubicBezTo>
                <a:cubicBezTo>
                  <a:pt x="226" y="327"/>
                  <a:pt x="226" y="327"/>
                  <a:pt x="226" y="327"/>
                </a:cubicBezTo>
                <a:cubicBezTo>
                  <a:pt x="228" y="329"/>
                  <a:pt x="231" y="330"/>
                  <a:pt x="234" y="330"/>
                </a:cubicBezTo>
                <a:cubicBezTo>
                  <a:pt x="237" y="330"/>
                  <a:pt x="239" y="329"/>
                  <a:pt x="241" y="328"/>
                </a:cubicBezTo>
                <a:cubicBezTo>
                  <a:pt x="341" y="241"/>
                  <a:pt x="341" y="241"/>
                  <a:pt x="341" y="241"/>
                </a:cubicBezTo>
                <a:cubicBezTo>
                  <a:pt x="341" y="362"/>
                  <a:pt x="341" y="362"/>
                  <a:pt x="341" y="362"/>
                </a:cubicBezTo>
                <a:cubicBezTo>
                  <a:pt x="138" y="362"/>
                  <a:pt x="138" y="362"/>
                  <a:pt x="138" y="362"/>
                </a:cubicBezTo>
                <a:lnTo>
                  <a:pt x="138"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63"/>
                </a:moveTo>
                <a:cubicBezTo>
                  <a:pt x="409" y="159"/>
                  <a:pt x="402" y="158"/>
                  <a:pt x="398" y="162"/>
                </a:cubicBezTo>
                <a:cubicBezTo>
                  <a:pt x="362" y="193"/>
                  <a:pt x="362" y="193"/>
                  <a:pt x="362" y="193"/>
                </a:cubicBezTo>
                <a:cubicBezTo>
                  <a:pt x="362" y="149"/>
                  <a:pt x="362" y="149"/>
                  <a:pt x="362" y="149"/>
                </a:cubicBezTo>
                <a:cubicBezTo>
                  <a:pt x="362" y="143"/>
                  <a:pt x="358" y="138"/>
                  <a:pt x="352" y="138"/>
                </a:cubicBezTo>
                <a:cubicBezTo>
                  <a:pt x="128" y="138"/>
                  <a:pt x="128" y="138"/>
                  <a:pt x="128" y="138"/>
                </a:cubicBezTo>
                <a:cubicBezTo>
                  <a:pt x="122" y="138"/>
                  <a:pt x="117" y="143"/>
                  <a:pt x="117" y="149"/>
                </a:cubicBezTo>
                <a:cubicBezTo>
                  <a:pt x="117" y="373"/>
                  <a:pt x="117" y="373"/>
                  <a:pt x="117" y="373"/>
                </a:cubicBezTo>
                <a:cubicBezTo>
                  <a:pt x="117" y="379"/>
                  <a:pt x="122" y="384"/>
                  <a:pt x="128" y="384"/>
                </a:cubicBezTo>
                <a:cubicBezTo>
                  <a:pt x="352" y="384"/>
                  <a:pt x="352" y="384"/>
                  <a:pt x="352" y="384"/>
                </a:cubicBezTo>
                <a:cubicBezTo>
                  <a:pt x="358" y="384"/>
                  <a:pt x="362" y="379"/>
                  <a:pt x="362" y="373"/>
                </a:cubicBezTo>
                <a:cubicBezTo>
                  <a:pt x="362" y="222"/>
                  <a:pt x="362" y="222"/>
                  <a:pt x="362" y="222"/>
                </a:cubicBezTo>
                <a:cubicBezTo>
                  <a:pt x="412" y="178"/>
                  <a:pt x="412" y="178"/>
                  <a:pt x="412" y="178"/>
                </a:cubicBezTo>
                <a:cubicBezTo>
                  <a:pt x="416" y="174"/>
                  <a:pt x="417" y="168"/>
                  <a:pt x="413" y="16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6" name="Group 902">
            <a:extLst>
              <a:ext uri="{FF2B5EF4-FFF2-40B4-BE49-F238E27FC236}">
                <a16:creationId xmlns:a16="http://schemas.microsoft.com/office/drawing/2014/main" id="{91887731-8091-4B52-A87D-6B4A8D2CF91C}"/>
              </a:ext>
            </a:extLst>
          </p:cNvPr>
          <p:cNvGrpSpPr>
            <a:grpSpLocks noChangeAspect="1"/>
          </p:cNvGrpSpPr>
          <p:nvPr/>
        </p:nvGrpSpPr>
        <p:grpSpPr bwMode="auto">
          <a:xfrm>
            <a:off x="907395" y="3298170"/>
            <a:ext cx="367982" cy="367982"/>
            <a:chOff x="4880" y="3759"/>
            <a:chExt cx="340" cy="340"/>
          </a:xfrm>
          <a:solidFill>
            <a:schemeClr val="accent4"/>
          </a:solidFill>
        </p:grpSpPr>
        <p:sp>
          <p:nvSpPr>
            <p:cNvPr id="447" name="Freeform 903">
              <a:extLst>
                <a:ext uri="{FF2B5EF4-FFF2-40B4-BE49-F238E27FC236}">
                  <a16:creationId xmlns:a16="http://schemas.microsoft.com/office/drawing/2014/main" id="{EEB8C514-2FE6-4814-B552-49C286096E3C}"/>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8" name="Freeform 904">
              <a:extLst>
                <a:ext uri="{FF2B5EF4-FFF2-40B4-BE49-F238E27FC236}">
                  <a16:creationId xmlns:a16="http://schemas.microsoft.com/office/drawing/2014/main" id="{F6EB0076-BF01-4E4E-B3D6-0CDA7B01C5DF}"/>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9" name="Freeform 917">
            <a:extLst>
              <a:ext uri="{FF2B5EF4-FFF2-40B4-BE49-F238E27FC236}">
                <a16:creationId xmlns:a16="http://schemas.microsoft.com/office/drawing/2014/main" id="{234DCD2C-54AD-4DB5-908D-498B85D69124}"/>
              </a:ext>
            </a:extLst>
          </p:cNvPr>
          <p:cNvSpPr>
            <a:spLocks noChangeAspect="1" noEditPoints="1"/>
          </p:cNvSpPr>
          <p:nvPr/>
        </p:nvSpPr>
        <p:spPr bwMode="auto">
          <a:xfrm>
            <a:off x="10045856" y="2523383"/>
            <a:ext cx="367982" cy="367982"/>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0" name="Group 920">
            <a:extLst>
              <a:ext uri="{FF2B5EF4-FFF2-40B4-BE49-F238E27FC236}">
                <a16:creationId xmlns:a16="http://schemas.microsoft.com/office/drawing/2014/main" id="{508E2AE3-8622-43F1-AD40-313876E85E8A}"/>
              </a:ext>
            </a:extLst>
          </p:cNvPr>
          <p:cNvGrpSpPr>
            <a:grpSpLocks noChangeAspect="1"/>
          </p:cNvGrpSpPr>
          <p:nvPr/>
        </p:nvGrpSpPr>
        <p:grpSpPr bwMode="auto">
          <a:xfrm>
            <a:off x="10480932" y="2523383"/>
            <a:ext cx="367982" cy="367982"/>
            <a:chOff x="5645" y="4510"/>
            <a:chExt cx="340" cy="340"/>
          </a:xfrm>
          <a:solidFill>
            <a:schemeClr val="accent4"/>
          </a:solidFill>
        </p:grpSpPr>
        <p:sp>
          <p:nvSpPr>
            <p:cNvPr id="451" name="Freeform 921">
              <a:extLst>
                <a:ext uri="{FF2B5EF4-FFF2-40B4-BE49-F238E27FC236}">
                  <a16:creationId xmlns:a16="http://schemas.microsoft.com/office/drawing/2014/main" id="{0E6C3917-5B46-4218-BB80-C95267A2ACEE}"/>
                </a:ext>
              </a:extLst>
            </p:cNvPr>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2" name="Freeform 922">
              <a:extLst>
                <a:ext uri="{FF2B5EF4-FFF2-40B4-BE49-F238E27FC236}">
                  <a16:creationId xmlns:a16="http://schemas.microsoft.com/office/drawing/2014/main" id="{ABEA6195-421A-41C9-A64F-A9C02680FDF4}"/>
                </a:ext>
              </a:extLst>
            </p:cNvPr>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3" name="Freeform 926">
            <a:extLst>
              <a:ext uri="{FF2B5EF4-FFF2-40B4-BE49-F238E27FC236}">
                <a16:creationId xmlns:a16="http://schemas.microsoft.com/office/drawing/2014/main" id="{6E6F28A2-18A7-4BFD-982A-C7B22EB85E1D}"/>
              </a:ext>
            </a:extLst>
          </p:cNvPr>
          <p:cNvSpPr>
            <a:spLocks noChangeAspect="1" noEditPoints="1"/>
          </p:cNvSpPr>
          <p:nvPr/>
        </p:nvSpPr>
        <p:spPr bwMode="auto">
          <a:xfrm>
            <a:off x="10916008" y="2523383"/>
            <a:ext cx="367982" cy="367982"/>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4" name="Group 929">
            <a:extLst>
              <a:ext uri="{FF2B5EF4-FFF2-40B4-BE49-F238E27FC236}">
                <a16:creationId xmlns:a16="http://schemas.microsoft.com/office/drawing/2014/main" id="{1F555602-CC49-4C17-BF3A-8D38D51F2560}"/>
              </a:ext>
            </a:extLst>
          </p:cNvPr>
          <p:cNvGrpSpPr>
            <a:grpSpLocks noChangeAspect="1"/>
          </p:cNvGrpSpPr>
          <p:nvPr/>
        </p:nvGrpSpPr>
        <p:grpSpPr bwMode="auto">
          <a:xfrm>
            <a:off x="11351087" y="2523383"/>
            <a:ext cx="367982" cy="367982"/>
            <a:chOff x="5834" y="4699"/>
            <a:chExt cx="340" cy="340"/>
          </a:xfrm>
          <a:solidFill>
            <a:schemeClr val="accent6"/>
          </a:solidFill>
        </p:grpSpPr>
        <p:sp>
          <p:nvSpPr>
            <p:cNvPr id="455" name="Freeform 345">
              <a:extLst>
                <a:ext uri="{FF2B5EF4-FFF2-40B4-BE49-F238E27FC236}">
                  <a16:creationId xmlns:a16="http://schemas.microsoft.com/office/drawing/2014/main" id="{23D9A708-6820-420D-8084-0229C76D519C}"/>
                </a:ext>
              </a:extLst>
            </p:cNvPr>
            <p:cNvSpPr>
              <a:spLocks noEditPoints="1"/>
            </p:cNvSpPr>
            <p:nvPr/>
          </p:nvSpPr>
          <p:spPr bwMode="auto">
            <a:xfrm>
              <a:off x="5953" y="4761"/>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6" name="Freeform 346">
              <a:extLst>
                <a:ext uri="{FF2B5EF4-FFF2-40B4-BE49-F238E27FC236}">
                  <a16:creationId xmlns:a16="http://schemas.microsoft.com/office/drawing/2014/main" id="{B21BD9C0-5E17-41ED-854F-2713F16F8B18}"/>
                </a:ext>
              </a:extLst>
            </p:cNvPr>
            <p:cNvSpPr>
              <a:spLocks noEditPoints="1"/>
            </p:cNvSpPr>
            <p:nvPr/>
          </p:nvSpPr>
          <p:spPr bwMode="auto">
            <a:xfrm>
              <a:off x="5834" y="46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7" name="Freeform 935">
            <a:extLst>
              <a:ext uri="{FF2B5EF4-FFF2-40B4-BE49-F238E27FC236}">
                <a16:creationId xmlns:a16="http://schemas.microsoft.com/office/drawing/2014/main" id="{85DA3B3D-41C1-430A-99FA-18DC74F0B5BC}"/>
              </a:ext>
            </a:extLst>
          </p:cNvPr>
          <p:cNvSpPr>
            <a:spLocks noChangeAspect="1" noEditPoints="1"/>
          </p:cNvSpPr>
          <p:nvPr/>
        </p:nvSpPr>
        <p:spPr bwMode="auto">
          <a:xfrm>
            <a:off x="6565248" y="2523383"/>
            <a:ext cx="367982" cy="367982"/>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268 w 512"/>
              <a:gd name="T11" fmla="*/ 266 h 512"/>
              <a:gd name="T12" fmla="*/ 243 w 512"/>
              <a:gd name="T13" fmla="*/ 266 h 512"/>
              <a:gd name="T14" fmla="*/ 226 w 512"/>
              <a:gd name="T15" fmla="*/ 352 h 512"/>
              <a:gd name="T16" fmla="*/ 285 w 512"/>
              <a:gd name="T17" fmla="*/ 352 h 512"/>
              <a:gd name="T18" fmla="*/ 268 w 512"/>
              <a:gd name="T19" fmla="*/ 266 h 512"/>
              <a:gd name="T20" fmla="*/ 269 w 512"/>
              <a:gd name="T21" fmla="*/ 245 h 512"/>
              <a:gd name="T22" fmla="*/ 285 w 512"/>
              <a:gd name="T23" fmla="*/ 181 h 512"/>
              <a:gd name="T24" fmla="*/ 227 w 512"/>
              <a:gd name="T25" fmla="*/ 181 h 512"/>
              <a:gd name="T26" fmla="*/ 243 w 512"/>
              <a:gd name="T27" fmla="*/ 245 h 512"/>
              <a:gd name="T28" fmla="*/ 269 w 512"/>
              <a:gd name="T29" fmla="*/ 245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07 w 512"/>
              <a:gd name="T45" fmla="*/ 352 h 512"/>
              <a:gd name="T46" fmla="*/ 288 w 512"/>
              <a:gd name="T47" fmla="*/ 256 h 512"/>
              <a:gd name="T48" fmla="*/ 309 w 512"/>
              <a:gd name="T49" fmla="*/ 173 h 512"/>
              <a:gd name="T50" fmla="*/ 307 w 512"/>
              <a:gd name="T51" fmla="*/ 164 h 512"/>
              <a:gd name="T52" fmla="*/ 298 w 512"/>
              <a:gd name="T53" fmla="*/ 160 h 512"/>
              <a:gd name="T54" fmla="*/ 266 w 512"/>
              <a:gd name="T55" fmla="*/ 160 h 512"/>
              <a:gd name="T56" fmla="*/ 266 w 512"/>
              <a:gd name="T57" fmla="*/ 138 h 512"/>
              <a:gd name="T58" fmla="*/ 277 w 512"/>
              <a:gd name="T59" fmla="*/ 138 h 512"/>
              <a:gd name="T60" fmla="*/ 288 w 512"/>
              <a:gd name="T61" fmla="*/ 128 h 512"/>
              <a:gd name="T62" fmla="*/ 277 w 512"/>
              <a:gd name="T63" fmla="*/ 117 h 512"/>
              <a:gd name="T64" fmla="*/ 266 w 512"/>
              <a:gd name="T65" fmla="*/ 117 h 512"/>
              <a:gd name="T66" fmla="*/ 266 w 512"/>
              <a:gd name="T67" fmla="*/ 106 h 512"/>
              <a:gd name="T68" fmla="*/ 256 w 512"/>
              <a:gd name="T69" fmla="*/ 96 h 512"/>
              <a:gd name="T70" fmla="*/ 245 w 512"/>
              <a:gd name="T71" fmla="*/ 106 h 512"/>
              <a:gd name="T72" fmla="*/ 245 w 512"/>
              <a:gd name="T73" fmla="*/ 117 h 512"/>
              <a:gd name="T74" fmla="*/ 234 w 512"/>
              <a:gd name="T75" fmla="*/ 117 h 512"/>
              <a:gd name="T76" fmla="*/ 224 w 512"/>
              <a:gd name="T77" fmla="*/ 128 h 512"/>
              <a:gd name="T78" fmla="*/ 234 w 512"/>
              <a:gd name="T79" fmla="*/ 138 h 512"/>
              <a:gd name="T80" fmla="*/ 245 w 512"/>
              <a:gd name="T81" fmla="*/ 138 h 512"/>
              <a:gd name="T82" fmla="*/ 245 w 512"/>
              <a:gd name="T83" fmla="*/ 160 h 512"/>
              <a:gd name="T84" fmla="*/ 213 w 512"/>
              <a:gd name="T85" fmla="*/ 160 h 512"/>
              <a:gd name="T86" fmla="*/ 205 w 512"/>
              <a:gd name="T87" fmla="*/ 164 h 512"/>
              <a:gd name="T88" fmla="*/ 203 w 512"/>
              <a:gd name="T89" fmla="*/ 173 h 512"/>
              <a:gd name="T90" fmla="*/ 223 w 512"/>
              <a:gd name="T91" fmla="*/ 256 h 512"/>
              <a:gd name="T92" fmla="*/ 204 w 512"/>
              <a:gd name="T93" fmla="*/ 352 h 512"/>
              <a:gd name="T94" fmla="*/ 192 w 512"/>
              <a:gd name="T95" fmla="*/ 352 h 512"/>
              <a:gd name="T96" fmla="*/ 181 w 512"/>
              <a:gd name="T97" fmla="*/ 362 h 512"/>
              <a:gd name="T98" fmla="*/ 181 w 512"/>
              <a:gd name="T99" fmla="*/ 405 h 512"/>
              <a:gd name="T100" fmla="*/ 192 w 512"/>
              <a:gd name="T101" fmla="*/ 416 h 512"/>
              <a:gd name="T102" fmla="*/ 320 w 512"/>
              <a:gd name="T103" fmla="*/ 416 h 512"/>
              <a:gd name="T104" fmla="*/ 330 w 512"/>
              <a:gd name="T105" fmla="*/ 405 h 512"/>
              <a:gd name="T106" fmla="*/ 330 w 512"/>
              <a:gd name="T10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268" y="266"/>
                </a:moveTo>
                <a:cubicBezTo>
                  <a:pt x="243" y="266"/>
                  <a:pt x="243" y="266"/>
                  <a:pt x="243" y="266"/>
                </a:cubicBezTo>
                <a:cubicBezTo>
                  <a:pt x="226" y="352"/>
                  <a:pt x="226" y="352"/>
                  <a:pt x="226" y="352"/>
                </a:cubicBezTo>
                <a:cubicBezTo>
                  <a:pt x="285" y="352"/>
                  <a:pt x="285" y="352"/>
                  <a:pt x="285" y="352"/>
                </a:cubicBezTo>
                <a:lnTo>
                  <a:pt x="268" y="266"/>
                </a:lnTo>
                <a:close/>
                <a:moveTo>
                  <a:pt x="269" y="245"/>
                </a:moveTo>
                <a:cubicBezTo>
                  <a:pt x="285" y="181"/>
                  <a:pt x="285" y="181"/>
                  <a:pt x="285" y="181"/>
                </a:cubicBezTo>
                <a:cubicBezTo>
                  <a:pt x="227" y="181"/>
                  <a:pt x="227" y="181"/>
                  <a:pt x="227" y="181"/>
                </a:cubicBezTo>
                <a:cubicBezTo>
                  <a:pt x="243" y="245"/>
                  <a:pt x="243" y="245"/>
                  <a:pt x="243" y="245"/>
                </a:cubicBezTo>
                <a:lnTo>
                  <a:pt x="269"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07" y="352"/>
                  <a:pt x="307" y="352"/>
                  <a:pt x="307" y="352"/>
                </a:cubicBezTo>
                <a:cubicBezTo>
                  <a:pt x="288" y="256"/>
                  <a:pt x="288" y="256"/>
                  <a:pt x="288" y="256"/>
                </a:cubicBezTo>
                <a:cubicBezTo>
                  <a:pt x="309" y="173"/>
                  <a:pt x="309" y="173"/>
                  <a:pt x="309" y="173"/>
                </a:cubicBezTo>
                <a:cubicBezTo>
                  <a:pt x="309" y="170"/>
                  <a:pt x="309" y="166"/>
                  <a:pt x="307" y="164"/>
                </a:cubicBezTo>
                <a:cubicBezTo>
                  <a:pt x="305" y="161"/>
                  <a:pt x="302" y="160"/>
                  <a:pt x="298" y="160"/>
                </a:cubicBezTo>
                <a:cubicBezTo>
                  <a:pt x="266" y="160"/>
                  <a:pt x="266" y="160"/>
                  <a:pt x="266" y="160"/>
                </a:cubicBezTo>
                <a:cubicBezTo>
                  <a:pt x="266" y="138"/>
                  <a:pt x="266" y="138"/>
                  <a:pt x="266" y="138"/>
                </a:cubicBezTo>
                <a:cubicBezTo>
                  <a:pt x="277" y="138"/>
                  <a:pt x="277" y="138"/>
                  <a:pt x="277" y="138"/>
                </a:cubicBezTo>
                <a:cubicBezTo>
                  <a:pt x="283" y="138"/>
                  <a:pt x="288" y="134"/>
                  <a:pt x="288" y="128"/>
                </a:cubicBezTo>
                <a:cubicBezTo>
                  <a:pt x="288" y="122"/>
                  <a:pt x="283" y="117"/>
                  <a:pt x="277"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234" y="117"/>
                  <a:pt x="234" y="117"/>
                  <a:pt x="234" y="117"/>
                </a:cubicBezTo>
                <a:cubicBezTo>
                  <a:pt x="228" y="117"/>
                  <a:pt x="224" y="122"/>
                  <a:pt x="224" y="128"/>
                </a:cubicBezTo>
                <a:cubicBezTo>
                  <a:pt x="224" y="134"/>
                  <a:pt x="228" y="138"/>
                  <a:pt x="234" y="138"/>
                </a:cubicBezTo>
                <a:cubicBezTo>
                  <a:pt x="245" y="138"/>
                  <a:pt x="245" y="138"/>
                  <a:pt x="245" y="138"/>
                </a:cubicBezTo>
                <a:cubicBezTo>
                  <a:pt x="245" y="160"/>
                  <a:pt x="245" y="160"/>
                  <a:pt x="245" y="160"/>
                </a:cubicBezTo>
                <a:cubicBezTo>
                  <a:pt x="213" y="160"/>
                  <a:pt x="213" y="160"/>
                  <a:pt x="213" y="160"/>
                </a:cubicBezTo>
                <a:cubicBezTo>
                  <a:pt x="210" y="160"/>
                  <a:pt x="207" y="161"/>
                  <a:pt x="205" y="164"/>
                </a:cubicBezTo>
                <a:cubicBezTo>
                  <a:pt x="203" y="166"/>
                  <a:pt x="202" y="170"/>
                  <a:pt x="203" y="173"/>
                </a:cubicBezTo>
                <a:cubicBezTo>
                  <a:pt x="223" y="256"/>
                  <a:pt x="223" y="256"/>
                  <a:pt x="223" y="256"/>
                </a:cubicBezTo>
                <a:cubicBezTo>
                  <a:pt x="204" y="352"/>
                  <a:pt x="204" y="352"/>
                  <a:pt x="20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8" name="Group 938">
            <a:extLst>
              <a:ext uri="{FF2B5EF4-FFF2-40B4-BE49-F238E27FC236}">
                <a16:creationId xmlns:a16="http://schemas.microsoft.com/office/drawing/2014/main" id="{3A58900F-E7B0-4B68-8E01-B4BB63AED602}"/>
              </a:ext>
            </a:extLst>
          </p:cNvPr>
          <p:cNvGrpSpPr>
            <a:grpSpLocks noChangeAspect="1"/>
          </p:cNvGrpSpPr>
          <p:nvPr/>
        </p:nvGrpSpPr>
        <p:grpSpPr bwMode="auto">
          <a:xfrm>
            <a:off x="7000324" y="2523383"/>
            <a:ext cx="367982" cy="367982"/>
            <a:chOff x="942" y="3861"/>
            <a:chExt cx="340" cy="340"/>
          </a:xfrm>
          <a:solidFill>
            <a:schemeClr val="accent5"/>
          </a:solidFill>
        </p:grpSpPr>
        <p:sp>
          <p:nvSpPr>
            <p:cNvPr id="459" name="Freeform 939">
              <a:extLst>
                <a:ext uri="{FF2B5EF4-FFF2-40B4-BE49-F238E27FC236}">
                  <a16:creationId xmlns:a16="http://schemas.microsoft.com/office/drawing/2014/main" id="{13DFD802-C0E0-4DA4-B99B-3A32D4F18FF3}"/>
                </a:ext>
              </a:extLst>
            </p:cNvPr>
            <p:cNvSpPr>
              <a:spLocks noEditPoints="1"/>
            </p:cNvSpPr>
            <p:nvPr/>
          </p:nvSpPr>
          <p:spPr bwMode="auto">
            <a:xfrm>
              <a:off x="1062" y="3925"/>
              <a:ext cx="99" cy="212"/>
            </a:xfrm>
            <a:custGeom>
              <a:avLst/>
              <a:gdLst>
                <a:gd name="T0" fmla="*/ 139 w 149"/>
                <a:gd name="T1" fmla="*/ 256 h 320"/>
                <a:gd name="T2" fmla="*/ 126 w 149"/>
                <a:gd name="T3" fmla="*/ 256 h 320"/>
                <a:gd name="T4" fmla="*/ 107 w 149"/>
                <a:gd name="T5" fmla="*/ 160 h 320"/>
                <a:gd name="T6" fmla="*/ 128 w 149"/>
                <a:gd name="T7" fmla="*/ 77 h 320"/>
                <a:gd name="T8" fmla="*/ 126 w 149"/>
                <a:gd name="T9" fmla="*/ 68 h 320"/>
                <a:gd name="T10" fmla="*/ 117 w 149"/>
                <a:gd name="T11" fmla="*/ 64 h 320"/>
                <a:gd name="T12" fmla="*/ 85 w 149"/>
                <a:gd name="T13" fmla="*/ 64 h 320"/>
                <a:gd name="T14" fmla="*/ 85 w 149"/>
                <a:gd name="T15" fmla="*/ 42 h 320"/>
                <a:gd name="T16" fmla="*/ 96 w 149"/>
                <a:gd name="T17" fmla="*/ 42 h 320"/>
                <a:gd name="T18" fmla="*/ 107 w 149"/>
                <a:gd name="T19" fmla="*/ 32 h 320"/>
                <a:gd name="T20" fmla="*/ 96 w 149"/>
                <a:gd name="T21" fmla="*/ 21 h 320"/>
                <a:gd name="T22" fmla="*/ 85 w 149"/>
                <a:gd name="T23" fmla="*/ 21 h 320"/>
                <a:gd name="T24" fmla="*/ 85 w 149"/>
                <a:gd name="T25" fmla="*/ 10 h 320"/>
                <a:gd name="T26" fmla="*/ 75 w 149"/>
                <a:gd name="T27" fmla="*/ 0 h 320"/>
                <a:gd name="T28" fmla="*/ 64 w 149"/>
                <a:gd name="T29" fmla="*/ 10 h 320"/>
                <a:gd name="T30" fmla="*/ 64 w 149"/>
                <a:gd name="T31" fmla="*/ 21 h 320"/>
                <a:gd name="T32" fmla="*/ 53 w 149"/>
                <a:gd name="T33" fmla="*/ 21 h 320"/>
                <a:gd name="T34" fmla="*/ 43 w 149"/>
                <a:gd name="T35" fmla="*/ 32 h 320"/>
                <a:gd name="T36" fmla="*/ 53 w 149"/>
                <a:gd name="T37" fmla="*/ 42 h 320"/>
                <a:gd name="T38" fmla="*/ 64 w 149"/>
                <a:gd name="T39" fmla="*/ 42 h 320"/>
                <a:gd name="T40" fmla="*/ 64 w 149"/>
                <a:gd name="T41" fmla="*/ 64 h 320"/>
                <a:gd name="T42" fmla="*/ 32 w 149"/>
                <a:gd name="T43" fmla="*/ 64 h 320"/>
                <a:gd name="T44" fmla="*/ 24 w 149"/>
                <a:gd name="T45" fmla="*/ 68 h 320"/>
                <a:gd name="T46" fmla="*/ 22 w 149"/>
                <a:gd name="T47" fmla="*/ 77 h 320"/>
                <a:gd name="T48" fmla="*/ 42 w 149"/>
                <a:gd name="T49" fmla="*/ 160 h 320"/>
                <a:gd name="T50" fmla="*/ 23 w 149"/>
                <a:gd name="T51" fmla="*/ 256 h 320"/>
                <a:gd name="T52" fmla="*/ 11 w 149"/>
                <a:gd name="T53" fmla="*/ 256 h 320"/>
                <a:gd name="T54" fmla="*/ 0 w 149"/>
                <a:gd name="T55" fmla="*/ 266 h 320"/>
                <a:gd name="T56" fmla="*/ 0 w 149"/>
                <a:gd name="T57" fmla="*/ 309 h 320"/>
                <a:gd name="T58" fmla="*/ 11 w 149"/>
                <a:gd name="T59" fmla="*/ 320 h 320"/>
                <a:gd name="T60" fmla="*/ 139 w 149"/>
                <a:gd name="T61" fmla="*/ 320 h 320"/>
                <a:gd name="T62" fmla="*/ 149 w 149"/>
                <a:gd name="T63" fmla="*/ 309 h 320"/>
                <a:gd name="T64" fmla="*/ 149 w 149"/>
                <a:gd name="T65" fmla="*/ 266 h 320"/>
                <a:gd name="T66" fmla="*/ 139 w 149"/>
                <a:gd name="T67" fmla="*/ 256 h 320"/>
                <a:gd name="T68" fmla="*/ 104 w 149"/>
                <a:gd name="T69" fmla="*/ 85 h 320"/>
                <a:gd name="T70" fmla="*/ 88 w 149"/>
                <a:gd name="T71" fmla="*/ 149 h 320"/>
                <a:gd name="T72" fmla="*/ 62 w 149"/>
                <a:gd name="T73" fmla="*/ 149 h 320"/>
                <a:gd name="T74" fmla="*/ 46 w 149"/>
                <a:gd name="T75" fmla="*/ 85 h 320"/>
                <a:gd name="T76" fmla="*/ 104 w 149"/>
                <a:gd name="T77" fmla="*/ 85 h 320"/>
                <a:gd name="T78" fmla="*/ 62 w 149"/>
                <a:gd name="T79" fmla="*/ 170 h 320"/>
                <a:gd name="T80" fmla="*/ 87 w 149"/>
                <a:gd name="T81" fmla="*/ 170 h 320"/>
                <a:gd name="T82" fmla="*/ 104 w 149"/>
                <a:gd name="T83" fmla="*/ 256 h 320"/>
                <a:gd name="T84" fmla="*/ 45 w 149"/>
                <a:gd name="T85" fmla="*/ 256 h 320"/>
                <a:gd name="T86" fmla="*/ 62 w 149"/>
                <a:gd name="T87" fmla="*/ 170 h 320"/>
                <a:gd name="T88" fmla="*/ 128 w 149"/>
                <a:gd name="T89" fmla="*/ 298 h 320"/>
                <a:gd name="T90" fmla="*/ 21 w 149"/>
                <a:gd name="T91" fmla="*/ 298 h 320"/>
                <a:gd name="T92" fmla="*/ 21 w 149"/>
                <a:gd name="T93" fmla="*/ 277 h 320"/>
                <a:gd name="T94" fmla="*/ 128 w 149"/>
                <a:gd name="T95" fmla="*/ 277 h 320"/>
                <a:gd name="T96" fmla="*/ 128 w 149"/>
                <a:gd name="T9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320">
                  <a:moveTo>
                    <a:pt x="139" y="256"/>
                  </a:moveTo>
                  <a:cubicBezTo>
                    <a:pt x="126" y="256"/>
                    <a:pt x="126" y="256"/>
                    <a:pt x="126" y="256"/>
                  </a:cubicBezTo>
                  <a:cubicBezTo>
                    <a:pt x="107" y="160"/>
                    <a:pt x="107" y="160"/>
                    <a:pt x="107" y="160"/>
                  </a:cubicBezTo>
                  <a:cubicBezTo>
                    <a:pt x="128" y="77"/>
                    <a:pt x="128" y="77"/>
                    <a:pt x="128" y="77"/>
                  </a:cubicBezTo>
                  <a:cubicBezTo>
                    <a:pt x="128" y="74"/>
                    <a:pt x="128" y="70"/>
                    <a:pt x="126" y="68"/>
                  </a:cubicBezTo>
                  <a:cubicBezTo>
                    <a:pt x="124" y="65"/>
                    <a:pt x="121" y="64"/>
                    <a:pt x="117" y="64"/>
                  </a:cubicBezTo>
                  <a:cubicBezTo>
                    <a:pt x="85" y="64"/>
                    <a:pt x="85" y="64"/>
                    <a:pt x="85" y="64"/>
                  </a:cubicBezTo>
                  <a:cubicBezTo>
                    <a:pt x="85" y="42"/>
                    <a:pt x="85" y="42"/>
                    <a:pt x="85" y="42"/>
                  </a:cubicBezTo>
                  <a:cubicBezTo>
                    <a:pt x="96" y="42"/>
                    <a:pt x="96" y="42"/>
                    <a:pt x="96" y="42"/>
                  </a:cubicBezTo>
                  <a:cubicBezTo>
                    <a:pt x="102" y="42"/>
                    <a:pt x="107" y="38"/>
                    <a:pt x="107" y="32"/>
                  </a:cubicBezTo>
                  <a:cubicBezTo>
                    <a:pt x="107" y="26"/>
                    <a:pt x="102" y="21"/>
                    <a:pt x="96"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53" y="21"/>
                    <a:pt x="53" y="21"/>
                    <a:pt x="53" y="21"/>
                  </a:cubicBezTo>
                  <a:cubicBezTo>
                    <a:pt x="47" y="21"/>
                    <a:pt x="43" y="26"/>
                    <a:pt x="43" y="32"/>
                  </a:cubicBezTo>
                  <a:cubicBezTo>
                    <a:pt x="43" y="38"/>
                    <a:pt x="47" y="42"/>
                    <a:pt x="53" y="42"/>
                  </a:cubicBezTo>
                  <a:cubicBezTo>
                    <a:pt x="64" y="42"/>
                    <a:pt x="64" y="42"/>
                    <a:pt x="64" y="42"/>
                  </a:cubicBezTo>
                  <a:cubicBezTo>
                    <a:pt x="64" y="64"/>
                    <a:pt x="64" y="64"/>
                    <a:pt x="64" y="64"/>
                  </a:cubicBezTo>
                  <a:cubicBezTo>
                    <a:pt x="32" y="64"/>
                    <a:pt x="32" y="64"/>
                    <a:pt x="32" y="64"/>
                  </a:cubicBezTo>
                  <a:cubicBezTo>
                    <a:pt x="29" y="64"/>
                    <a:pt x="26" y="65"/>
                    <a:pt x="24" y="68"/>
                  </a:cubicBezTo>
                  <a:cubicBezTo>
                    <a:pt x="22" y="70"/>
                    <a:pt x="21" y="74"/>
                    <a:pt x="22" y="77"/>
                  </a:cubicBezTo>
                  <a:cubicBezTo>
                    <a:pt x="42" y="160"/>
                    <a:pt x="42" y="160"/>
                    <a:pt x="42" y="160"/>
                  </a:cubicBezTo>
                  <a:cubicBezTo>
                    <a:pt x="23" y="256"/>
                    <a:pt x="23" y="256"/>
                    <a:pt x="2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104" y="85"/>
                  </a:moveTo>
                  <a:cubicBezTo>
                    <a:pt x="88" y="149"/>
                    <a:pt x="88" y="149"/>
                    <a:pt x="88" y="149"/>
                  </a:cubicBezTo>
                  <a:cubicBezTo>
                    <a:pt x="62" y="149"/>
                    <a:pt x="62" y="149"/>
                    <a:pt x="62" y="149"/>
                  </a:cubicBezTo>
                  <a:cubicBezTo>
                    <a:pt x="46" y="85"/>
                    <a:pt x="46" y="85"/>
                    <a:pt x="46" y="85"/>
                  </a:cubicBezTo>
                  <a:lnTo>
                    <a:pt x="104" y="85"/>
                  </a:lnTo>
                  <a:close/>
                  <a:moveTo>
                    <a:pt x="62" y="170"/>
                  </a:moveTo>
                  <a:cubicBezTo>
                    <a:pt x="87" y="170"/>
                    <a:pt x="87" y="170"/>
                    <a:pt x="87" y="170"/>
                  </a:cubicBezTo>
                  <a:cubicBezTo>
                    <a:pt x="104" y="256"/>
                    <a:pt x="104" y="256"/>
                    <a:pt x="104" y="256"/>
                  </a:cubicBezTo>
                  <a:cubicBezTo>
                    <a:pt x="45" y="256"/>
                    <a:pt x="45" y="256"/>
                    <a:pt x="45" y="256"/>
                  </a:cubicBezTo>
                  <a:lnTo>
                    <a:pt x="62" y="170"/>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0" name="Freeform 940">
              <a:extLst>
                <a:ext uri="{FF2B5EF4-FFF2-40B4-BE49-F238E27FC236}">
                  <a16:creationId xmlns:a16="http://schemas.microsoft.com/office/drawing/2014/main" id="{708989C4-17CF-4ABF-9ABB-F038E51E9FA9}"/>
                </a:ext>
              </a:extLst>
            </p:cNvPr>
            <p:cNvSpPr>
              <a:spLocks noEditPoints="1"/>
            </p:cNvSpPr>
            <p:nvPr/>
          </p:nvSpPr>
          <p:spPr bwMode="auto">
            <a:xfrm>
              <a:off x="942" y="38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1" name="Freeform 944">
            <a:extLst>
              <a:ext uri="{FF2B5EF4-FFF2-40B4-BE49-F238E27FC236}">
                <a16:creationId xmlns:a16="http://schemas.microsoft.com/office/drawing/2014/main" id="{E202DFEC-67D4-48FA-9225-5CED148C4B94}"/>
              </a:ext>
            </a:extLst>
          </p:cNvPr>
          <p:cNvSpPr>
            <a:spLocks noChangeAspect="1" noEditPoints="1"/>
          </p:cNvSpPr>
          <p:nvPr/>
        </p:nvSpPr>
        <p:spPr bwMode="auto">
          <a:xfrm>
            <a:off x="7435400" y="2523383"/>
            <a:ext cx="367982" cy="367982"/>
          </a:xfrm>
          <a:custGeom>
            <a:avLst/>
            <a:gdLst>
              <a:gd name="T0" fmla="*/ 330 w 512"/>
              <a:gd name="T1" fmla="*/ 362 h 512"/>
              <a:gd name="T2" fmla="*/ 181 w 512"/>
              <a:gd name="T3" fmla="*/ 384 h 512"/>
              <a:gd name="T4" fmla="*/ 335 w 512"/>
              <a:gd name="T5" fmla="*/ 227 h 512"/>
              <a:gd name="T6" fmla="*/ 320 w 512"/>
              <a:gd name="T7" fmla="*/ 209 h 512"/>
              <a:gd name="T8" fmla="*/ 308 w 512"/>
              <a:gd name="T9" fmla="*/ 186 h 512"/>
              <a:gd name="T10" fmla="*/ 306 w 512"/>
              <a:gd name="T11" fmla="*/ 149 h 512"/>
              <a:gd name="T12" fmla="*/ 271 w 512"/>
              <a:gd name="T13" fmla="*/ 147 h 512"/>
              <a:gd name="T14" fmla="*/ 245 w 512"/>
              <a:gd name="T15" fmla="*/ 149 h 512"/>
              <a:gd name="T16" fmla="*/ 142 w 512"/>
              <a:gd name="T17" fmla="*/ 217 h 512"/>
              <a:gd name="T18" fmla="*/ 221 w 512"/>
              <a:gd name="T19" fmla="*/ 224 h 512"/>
              <a:gd name="T20" fmla="*/ 252 w 512"/>
              <a:gd name="T21" fmla="*/ 246 h 512"/>
              <a:gd name="T22" fmla="*/ 203 w 512"/>
              <a:gd name="T23" fmla="*/ 341 h 512"/>
              <a:gd name="T24" fmla="*/ 309 w 512"/>
              <a:gd name="T25" fmla="*/ 320 h 512"/>
              <a:gd name="T26" fmla="*/ 321 w 512"/>
              <a:gd name="T27" fmla="*/ 309 h 512"/>
              <a:gd name="T28" fmla="*/ 310 w 512"/>
              <a:gd name="T29" fmla="*/ 284 h 512"/>
              <a:gd name="T30" fmla="*/ 334 w 512"/>
              <a:gd name="T31" fmla="*/ 272 h 512"/>
              <a:gd name="T32" fmla="*/ 323 w 512"/>
              <a:gd name="T33" fmla="*/ 242 h 512"/>
              <a:gd name="T34" fmla="*/ 512 w 512"/>
              <a:gd name="T35" fmla="*/ 256 h 512"/>
              <a:gd name="T36" fmla="*/ 0 w 512"/>
              <a:gd name="T37" fmla="*/ 256 h 512"/>
              <a:gd name="T38" fmla="*/ 512 w 512"/>
              <a:gd name="T39" fmla="*/ 256 h 512"/>
              <a:gd name="T40" fmla="*/ 345 w 512"/>
              <a:gd name="T41" fmla="*/ 249 h 512"/>
              <a:gd name="T42" fmla="*/ 362 w 512"/>
              <a:gd name="T43" fmla="*/ 221 h 512"/>
              <a:gd name="T44" fmla="*/ 344 w 512"/>
              <a:gd name="T45" fmla="*/ 208 h 512"/>
              <a:gd name="T46" fmla="*/ 350 w 512"/>
              <a:gd name="T47" fmla="*/ 179 h 512"/>
              <a:gd name="T48" fmla="*/ 324 w 512"/>
              <a:gd name="T49" fmla="*/ 168 h 512"/>
              <a:gd name="T50" fmla="*/ 328 w 512"/>
              <a:gd name="T51" fmla="*/ 132 h 512"/>
              <a:gd name="T52" fmla="*/ 281 w 512"/>
              <a:gd name="T53" fmla="*/ 128 h 512"/>
              <a:gd name="T54" fmla="*/ 230 w 512"/>
              <a:gd name="T55" fmla="*/ 97 h 512"/>
              <a:gd name="T56" fmla="*/ 224 w 512"/>
              <a:gd name="T57" fmla="*/ 143 h 512"/>
              <a:gd name="T58" fmla="*/ 118 w 512"/>
              <a:gd name="T59" fmla="*/ 218 h 512"/>
              <a:gd name="T60" fmla="*/ 152 w 512"/>
              <a:gd name="T61" fmla="*/ 266 h 512"/>
              <a:gd name="T62" fmla="*/ 231 w 512"/>
              <a:gd name="T63" fmla="*/ 252 h 512"/>
              <a:gd name="T64" fmla="*/ 182 w 512"/>
              <a:gd name="T65" fmla="*/ 341 h 512"/>
              <a:gd name="T66" fmla="*/ 160 w 512"/>
              <a:gd name="T67" fmla="*/ 352 h 512"/>
              <a:gd name="T68" fmla="*/ 170 w 512"/>
              <a:gd name="T69" fmla="*/ 405 h 512"/>
              <a:gd name="T70" fmla="*/ 352 w 512"/>
              <a:gd name="T71" fmla="*/ 394 h 512"/>
              <a:gd name="T72" fmla="*/ 341 w 512"/>
              <a:gd name="T73" fmla="*/ 341 h 512"/>
              <a:gd name="T74" fmla="*/ 330 w 512"/>
              <a:gd name="T75" fmla="*/ 330 h 512"/>
              <a:gd name="T76" fmla="*/ 350 w 512"/>
              <a:gd name="T77" fmla="*/ 325 h 512"/>
              <a:gd name="T78" fmla="*/ 336 w 512"/>
              <a:gd name="T79" fmla="*/ 293 h 512"/>
              <a:gd name="T80" fmla="*/ 362 w 512"/>
              <a:gd name="T81"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81" y="362"/>
                </a:moveTo>
                <a:cubicBezTo>
                  <a:pt x="330" y="362"/>
                  <a:pt x="330" y="362"/>
                  <a:pt x="330" y="362"/>
                </a:cubicBezTo>
                <a:cubicBezTo>
                  <a:pt x="330" y="384"/>
                  <a:pt x="330" y="384"/>
                  <a:pt x="330" y="384"/>
                </a:cubicBezTo>
                <a:cubicBezTo>
                  <a:pt x="181" y="384"/>
                  <a:pt x="181" y="384"/>
                  <a:pt x="181" y="384"/>
                </a:cubicBezTo>
                <a:lnTo>
                  <a:pt x="181" y="362"/>
                </a:lnTo>
                <a:close/>
                <a:moveTo>
                  <a:pt x="335" y="227"/>
                </a:moveTo>
                <a:cubicBezTo>
                  <a:pt x="326" y="223"/>
                  <a:pt x="326" y="223"/>
                  <a:pt x="326" y="223"/>
                </a:cubicBezTo>
                <a:cubicBezTo>
                  <a:pt x="321" y="220"/>
                  <a:pt x="318" y="215"/>
                  <a:pt x="320" y="209"/>
                </a:cubicBezTo>
                <a:cubicBezTo>
                  <a:pt x="327" y="191"/>
                  <a:pt x="327" y="191"/>
                  <a:pt x="327" y="191"/>
                </a:cubicBezTo>
                <a:cubicBezTo>
                  <a:pt x="308" y="186"/>
                  <a:pt x="308" y="186"/>
                  <a:pt x="308" y="186"/>
                </a:cubicBezTo>
                <a:cubicBezTo>
                  <a:pt x="303" y="184"/>
                  <a:pt x="300" y="178"/>
                  <a:pt x="301" y="173"/>
                </a:cubicBezTo>
                <a:cubicBezTo>
                  <a:pt x="306" y="149"/>
                  <a:pt x="306" y="149"/>
                  <a:pt x="306" y="149"/>
                </a:cubicBezTo>
                <a:cubicBezTo>
                  <a:pt x="277" y="149"/>
                  <a:pt x="277" y="149"/>
                  <a:pt x="277" y="149"/>
                </a:cubicBezTo>
                <a:cubicBezTo>
                  <a:pt x="275" y="149"/>
                  <a:pt x="272" y="148"/>
                  <a:pt x="271" y="147"/>
                </a:cubicBezTo>
                <a:cubicBezTo>
                  <a:pt x="245" y="128"/>
                  <a:pt x="245" y="128"/>
                  <a:pt x="245" y="128"/>
                </a:cubicBezTo>
                <a:cubicBezTo>
                  <a:pt x="245" y="149"/>
                  <a:pt x="245" y="149"/>
                  <a:pt x="245" y="149"/>
                </a:cubicBezTo>
                <a:cubicBezTo>
                  <a:pt x="245" y="153"/>
                  <a:pt x="243" y="156"/>
                  <a:pt x="240" y="158"/>
                </a:cubicBezTo>
                <a:cubicBezTo>
                  <a:pt x="142" y="217"/>
                  <a:pt x="142" y="217"/>
                  <a:pt x="142" y="217"/>
                </a:cubicBezTo>
                <a:cubicBezTo>
                  <a:pt x="155" y="243"/>
                  <a:pt x="155" y="243"/>
                  <a:pt x="155" y="243"/>
                </a:cubicBezTo>
                <a:cubicBezTo>
                  <a:pt x="221" y="224"/>
                  <a:pt x="221" y="224"/>
                  <a:pt x="221" y="224"/>
                </a:cubicBezTo>
                <a:cubicBezTo>
                  <a:pt x="223" y="224"/>
                  <a:pt x="225" y="224"/>
                  <a:pt x="227" y="224"/>
                </a:cubicBezTo>
                <a:cubicBezTo>
                  <a:pt x="229" y="225"/>
                  <a:pt x="248" y="231"/>
                  <a:pt x="252" y="246"/>
                </a:cubicBezTo>
                <a:cubicBezTo>
                  <a:pt x="254" y="253"/>
                  <a:pt x="253" y="263"/>
                  <a:pt x="242" y="274"/>
                </a:cubicBezTo>
                <a:cubicBezTo>
                  <a:pt x="218" y="298"/>
                  <a:pt x="206" y="319"/>
                  <a:pt x="203" y="341"/>
                </a:cubicBezTo>
                <a:cubicBezTo>
                  <a:pt x="309" y="341"/>
                  <a:pt x="309" y="341"/>
                  <a:pt x="309" y="341"/>
                </a:cubicBezTo>
                <a:cubicBezTo>
                  <a:pt x="309" y="320"/>
                  <a:pt x="309" y="320"/>
                  <a:pt x="309" y="320"/>
                </a:cubicBezTo>
                <a:cubicBezTo>
                  <a:pt x="309" y="314"/>
                  <a:pt x="314" y="309"/>
                  <a:pt x="320" y="309"/>
                </a:cubicBezTo>
                <a:cubicBezTo>
                  <a:pt x="321" y="309"/>
                  <a:pt x="321" y="309"/>
                  <a:pt x="321" y="309"/>
                </a:cubicBezTo>
                <a:cubicBezTo>
                  <a:pt x="311" y="294"/>
                  <a:pt x="311" y="294"/>
                  <a:pt x="311" y="294"/>
                </a:cubicBezTo>
                <a:cubicBezTo>
                  <a:pt x="309" y="291"/>
                  <a:pt x="309" y="287"/>
                  <a:pt x="310" y="284"/>
                </a:cubicBezTo>
                <a:cubicBezTo>
                  <a:pt x="311" y="281"/>
                  <a:pt x="313" y="279"/>
                  <a:pt x="316" y="278"/>
                </a:cubicBezTo>
                <a:cubicBezTo>
                  <a:pt x="334" y="272"/>
                  <a:pt x="334" y="272"/>
                  <a:pt x="334" y="272"/>
                </a:cubicBezTo>
                <a:cubicBezTo>
                  <a:pt x="323" y="256"/>
                  <a:pt x="323" y="256"/>
                  <a:pt x="323" y="256"/>
                </a:cubicBezTo>
                <a:cubicBezTo>
                  <a:pt x="320" y="252"/>
                  <a:pt x="320" y="246"/>
                  <a:pt x="323" y="242"/>
                </a:cubicBezTo>
                <a:lnTo>
                  <a:pt x="335" y="22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0" y="271"/>
                </a:moveTo>
                <a:cubicBezTo>
                  <a:pt x="345" y="249"/>
                  <a:pt x="345" y="249"/>
                  <a:pt x="345" y="249"/>
                </a:cubicBezTo>
                <a:cubicBezTo>
                  <a:pt x="360" y="230"/>
                  <a:pt x="360" y="230"/>
                  <a:pt x="360" y="230"/>
                </a:cubicBezTo>
                <a:cubicBezTo>
                  <a:pt x="362" y="228"/>
                  <a:pt x="363" y="225"/>
                  <a:pt x="362" y="221"/>
                </a:cubicBezTo>
                <a:cubicBezTo>
                  <a:pt x="361" y="218"/>
                  <a:pt x="359" y="216"/>
                  <a:pt x="356" y="214"/>
                </a:cubicBezTo>
                <a:cubicBezTo>
                  <a:pt x="344" y="208"/>
                  <a:pt x="344" y="208"/>
                  <a:pt x="344" y="208"/>
                </a:cubicBezTo>
                <a:cubicBezTo>
                  <a:pt x="351" y="187"/>
                  <a:pt x="351" y="187"/>
                  <a:pt x="351" y="187"/>
                </a:cubicBezTo>
                <a:cubicBezTo>
                  <a:pt x="352" y="184"/>
                  <a:pt x="351" y="181"/>
                  <a:pt x="350" y="179"/>
                </a:cubicBezTo>
                <a:cubicBezTo>
                  <a:pt x="349" y="176"/>
                  <a:pt x="346" y="174"/>
                  <a:pt x="344" y="173"/>
                </a:cubicBezTo>
                <a:cubicBezTo>
                  <a:pt x="324" y="168"/>
                  <a:pt x="324" y="168"/>
                  <a:pt x="324" y="168"/>
                </a:cubicBezTo>
                <a:cubicBezTo>
                  <a:pt x="330" y="141"/>
                  <a:pt x="330" y="141"/>
                  <a:pt x="330" y="141"/>
                </a:cubicBezTo>
                <a:cubicBezTo>
                  <a:pt x="331" y="138"/>
                  <a:pt x="330" y="134"/>
                  <a:pt x="328" y="132"/>
                </a:cubicBezTo>
                <a:cubicBezTo>
                  <a:pt x="326" y="129"/>
                  <a:pt x="323" y="128"/>
                  <a:pt x="320" y="128"/>
                </a:cubicBezTo>
                <a:cubicBezTo>
                  <a:pt x="281" y="128"/>
                  <a:pt x="281" y="128"/>
                  <a:pt x="281" y="128"/>
                </a:cubicBezTo>
                <a:cubicBezTo>
                  <a:pt x="241" y="98"/>
                  <a:pt x="241" y="98"/>
                  <a:pt x="241" y="98"/>
                </a:cubicBezTo>
                <a:cubicBezTo>
                  <a:pt x="237" y="95"/>
                  <a:pt x="233" y="95"/>
                  <a:pt x="230" y="97"/>
                </a:cubicBezTo>
                <a:cubicBezTo>
                  <a:pt x="226" y="99"/>
                  <a:pt x="224" y="102"/>
                  <a:pt x="224" y="106"/>
                </a:cubicBezTo>
                <a:cubicBezTo>
                  <a:pt x="224" y="143"/>
                  <a:pt x="224" y="143"/>
                  <a:pt x="224" y="143"/>
                </a:cubicBezTo>
                <a:cubicBezTo>
                  <a:pt x="122" y="204"/>
                  <a:pt x="122" y="204"/>
                  <a:pt x="122" y="204"/>
                </a:cubicBezTo>
                <a:cubicBezTo>
                  <a:pt x="117" y="207"/>
                  <a:pt x="116" y="213"/>
                  <a:pt x="118" y="218"/>
                </a:cubicBezTo>
                <a:cubicBezTo>
                  <a:pt x="139" y="260"/>
                  <a:pt x="139" y="260"/>
                  <a:pt x="139" y="260"/>
                </a:cubicBezTo>
                <a:cubicBezTo>
                  <a:pt x="142" y="265"/>
                  <a:pt x="147" y="267"/>
                  <a:pt x="152" y="266"/>
                </a:cubicBezTo>
                <a:cubicBezTo>
                  <a:pt x="223" y="246"/>
                  <a:pt x="223" y="246"/>
                  <a:pt x="223" y="246"/>
                </a:cubicBezTo>
                <a:cubicBezTo>
                  <a:pt x="227" y="247"/>
                  <a:pt x="231" y="250"/>
                  <a:pt x="231" y="252"/>
                </a:cubicBezTo>
                <a:cubicBezTo>
                  <a:pt x="231" y="252"/>
                  <a:pt x="231" y="255"/>
                  <a:pt x="227" y="259"/>
                </a:cubicBezTo>
                <a:cubicBezTo>
                  <a:pt x="209" y="277"/>
                  <a:pt x="186" y="304"/>
                  <a:pt x="182" y="341"/>
                </a:cubicBezTo>
                <a:cubicBezTo>
                  <a:pt x="170" y="341"/>
                  <a:pt x="170" y="341"/>
                  <a:pt x="170" y="341"/>
                </a:cubicBezTo>
                <a:cubicBezTo>
                  <a:pt x="164" y="341"/>
                  <a:pt x="160" y="346"/>
                  <a:pt x="160" y="352"/>
                </a:cubicBezTo>
                <a:cubicBezTo>
                  <a:pt x="160" y="394"/>
                  <a:pt x="160" y="394"/>
                  <a:pt x="160" y="394"/>
                </a:cubicBezTo>
                <a:cubicBezTo>
                  <a:pt x="160" y="400"/>
                  <a:pt x="164" y="405"/>
                  <a:pt x="170" y="405"/>
                </a:cubicBezTo>
                <a:cubicBezTo>
                  <a:pt x="341" y="405"/>
                  <a:pt x="341" y="405"/>
                  <a:pt x="341" y="405"/>
                </a:cubicBezTo>
                <a:cubicBezTo>
                  <a:pt x="347" y="405"/>
                  <a:pt x="352" y="400"/>
                  <a:pt x="352" y="394"/>
                </a:cubicBezTo>
                <a:cubicBezTo>
                  <a:pt x="352" y="352"/>
                  <a:pt x="352" y="352"/>
                  <a:pt x="352" y="352"/>
                </a:cubicBezTo>
                <a:cubicBezTo>
                  <a:pt x="352" y="346"/>
                  <a:pt x="347" y="341"/>
                  <a:pt x="341" y="341"/>
                </a:cubicBezTo>
                <a:cubicBezTo>
                  <a:pt x="330" y="341"/>
                  <a:pt x="330" y="341"/>
                  <a:pt x="330" y="341"/>
                </a:cubicBezTo>
                <a:cubicBezTo>
                  <a:pt x="330" y="330"/>
                  <a:pt x="330" y="330"/>
                  <a:pt x="330" y="330"/>
                </a:cubicBezTo>
                <a:cubicBezTo>
                  <a:pt x="341" y="330"/>
                  <a:pt x="341" y="330"/>
                  <a:pt x="341" y="330"/>
                </a:cubicBezTo>
                <a:cubicBezTo>
                  <a:pt x="345" y="330"/>
                  <a:pt x="349" y="328"/>
                  <a:pt x="350" y="325"/>
                </a:cubicBezTo>
                <a:cubicBezTo>
                  <a:pt x="352" y="321"/>
                  <a:pt x="352" y="317"/>
                  <a:pt x="350" y="314"/>
                </a:cubicBezTo>
                <a:cubicBezTo>
                  <a:pt x="336" y="293"/>
                  <a:pt x="336" y="293"/>
                  <a:pt x="336" y="293"/>
                </a:cubicBezTo>
                <a:cubicBezTo>
                  <a:pt x="355" y="287"/>
                  <a:pt x="355" y="287"/>
                  <a:pt x="355" y="287"/>
                </a:cubicBezTo>
                <a:cubicBezTo>
                  <a:pt x="358" y="286"/>
                  <a:pt x="361" y="283"/>
                  <a:pt x="362" y="280"/>
                </a:cubicBezTo>
                <a:cubicBezTo>
                  <a:pt x="363" y="277"/>
                  <a:pt x="362" y="273"/>
                  <a:pt x="360" y="27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2" name="Group 947">
            <a:extLst>
              <a:ext uri="{FF2B5EF4-FFF2-40B4-BE49-F238E27FC236}">
                <a16:creationId xmlns:a16="http://schemas.microsoft.com/office/drawing/2014/main" id="{112AB94C-0B68-4F44-90D0-D7E20BC26065}"/>
              </a:ext>
            </a:extLst>
          </p:cNvPr>
          <p:cNvGrpSpPr>
            <a:grpSpLocks noChangeAspect="1"/>
          </p:cNvGrpSpPr>
          <p:nvPr/>
        </p:nvGrpSpPr>
        <p:grpSpPr bwMode="auto">
          <a:xfrm>
            <a:off x="7870476" y="2523383"/>
            <a:ext cx="367982" cy="367982"/>
            <a:chOff x="1851" y="3960"/>
            <a:chExt cx="340" cy="340"/>
          </a:xfrm>
          <a:solidFill>
            <a:schemeClr val="accent5"/>
          </a:solidFill>
        </p:grpSpPr>
        <p:sp>
          <p:nvSpPr>
            <p:cNvPr id="463" name="Freeform 948">
              <a:extLst>
                <a:ext uri="{FF2B5EF4-FFF2-40B4-BE49-F238E27FC236}">
                  <a16:creationId xmlns:a16="http://schemas.microsoft.com/office/drawing/2014/main" id="{F6435FAC-D912-41BD-BCBE-8DB04E8A16A4}"/>
                </a:ext>
              </a:extLst>
            </p:cNvPr>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949">
              <a:extLst>
                <a:ext uri="{FF2B5EF4-FFF2-40B4-BE49-F238E27FC236}">
                  <a16:creationId xmlns:a16="http://schemas.microsoft.com/office/drawing/2014/main" id="{E368CF2E-D763-4451-AC52-6FFC059547A6}"/>
                </a:ext>
              </a:extLst>
            </p:cNvPr>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5" name="Freeform 953">
            <a:extLst>
              <a:ext uri="{FF2B5EF4-FFF2-40B4-BE49-F238E27FC236}">
                <a16:creationId xmlns:a16="http://schemas.microsoft.com/office/drawing/2014/main" id="{E079ACA1-8DFA-4756-BE4E-E0314A533A70}"/>
              </a:ext>
            </a:extLst>
          </p:cNvPr>
          <p:cNvSpPr>
            <a:spLocks noChangeAspect="1" noEditPoints="1"/>
          </p:cNvSpPr>
          <p:nvPr/>
        </p:nvSpPr>
        <p:spPr bwMode="auto">
          <a:xfrm>
            <a:off x="8305552" y="2523383"/>
            <a:ext cx="367982" cy="367982"/>
          </a:xfrm>
          <a:custGeom>
            <a:avLst/>
            <a:gdLst>
              <a:gd name="T0" fmla="*/ 289 w 512"/>
              <a:gd name="T1" fmla="*/ 309 h 512"/>
              <a:gd name="T2" fmla="*/ 222 w 512"/>
              <a:gd name="T3" fmla="*/ 309 h 512"/>
              <a:gd name="T4" fmla="*/ 245 w 512"/>
              <a:gd name="T5" fmla="*/ 213 h 512"/>
              <a:gd name="T6" fmla="*/ 267 w 512"/>
              <a:gd name="T7" fmla="*/ 213 h 512"/>
              <a:gd name="T8" fmla="*/ 289 w 512"/>
              <a:gd name="T9" fmla="*/ 309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30 w 512"/>
              <a:gd name="T21" fmla="*/ 320 h 512"/>
              <a:gd name="T22" fmla="*/ 320 w 512"/>
              <a:gd name="T23" fmla="*/ 309 h 512"/>
              <a:gd name="T24" fmla="*/ 314 w 512"/>
              <a:gd name="T25" fmla="*/ 309 h 512"/>
              <a:gd name="T26" fmla="*/ 288 w 512"/>
              <a:gd name="T27" fmla="*/ 213 h 512"/>
              <a:gd name="T28" fmla="*/ 298 w 512"/>
              <a:gd name="T29" fmla="*/ 213 h 512"/>
              <a:gd name="T30" fmla="*/ 309 w 512"/>
              <a:gd name="T31" fmla="*/ 202 h 512"/>
              <a:gd name="T32" fmla="*/ 298 w 512"/>
              <a:gd name="T33" fmla="*/ 192 h 512"/>
              <a:gd name="T34" fmla="*/ 284 w 512"/>
              <a:gd name="T35" fmla="*/ 192 h 512"/>
              <a:gd name="T36" fmla="*/ 298 w 512"/>
              <a:gd name="T37" fmla="*/ 160 h 512"/>
              <a:gd name="T38" fmla="*/ 256 w 512"/>
              <a:gd name="T39" fmla="*/ 117 h 512"/>
              <a:gd name="T40" fmla="*/ 213 w 512"/>
              <a:gd name="T41" fmla="*/ 160 h 512"/>
              <a:gd name="T42" fmla="*/ 228 w 512"/>
              <a:gd name="T43" fmla="*/ 192 h 512"/>
              <a:gd name="T44" fmla="*/ 213 w 512"/>
              <a:gd name="T45" fmla="*/ 192 h 512"/>
              <a:gd name="T46" fmla="*/ 202 w 512"/>
              <a:gd name="T47" fmla="*/ 202 h 512"/>
              <a:gd name="T48" fmla="*/ 213 w 512"/>
              <a:gd name="T49" fmla="*/ 213 h 512"/>
              <a:gd name="T50" fmla="*/ 223 w 512"/>
              <a:gd name="T51" fmla="*/ 213 h 512"/>
              <a:gd name="T52" fmla="*/ 197 w 512"/>
              <a:gd name="T53" fmla="*/ 309 h 512"/>
              <a:gd name="T54" fmla="*/ 192 w 512"/>
              <a:gd name="T55" fmla="*/ 309 h 512"/>
              <a:gd name="T56" fmla="*/ 181 w 512"/>
              <a:gd name="T57" fmla="*/ 320 h 512"/>
              <a:gd name="T58" fmla="*/ 181 w 512"/>
              <a:gd name="T59" fmla="*/ 362 h 512"/>
              <a:gd name="T60" fmla="*/ 192 w 512"/>
              <a:gd name="T61" fmla="*/ 373 h 512"/>
              <a:gd name="T62" fmla="*/ 320 w 512"/>
              <a:gd name="T63" fmla="*/ 373 h 512"/>
              <a:gd name="T64" fmla="*/ 330 w 512"/>
              <a:gd name="T65" fmla="*/ 362 h 512"/>
              <a:gd name="T66" fmla="*/ 330 w 512"/>
              <a:gd name="T67" fmla="*/ 320 h 512"/>
              <a:gd name="T68" fmla="*/ 202 w 512"/>
              <a:gd name="T69" fmla="*/ 352 h 512"/>
              <a:gd name="T70" fmla="*/ 309 w 512"/>
              <a:gd name="T71" fmla="*/ 352 h 512"/>
              <a:gd name="T72" fmla="*/ 309 w 512"/>
              <a:gd name="T73" fmla="*/ 330 h 512"/>
              <a:gd name="T74" fmla="*/ 202 w 512"/>
              <a:gd name="T75" fmla="*/ 330 h 512"/>
              <a:gd name="T76" fmla="*/ 202 w 512"/>
              <a:gd name="T77" fmla="*/ 352 h 512"/>
              <a:gd name="T78" fmla="*/ 256 w 512"/>
              <a:gd name="T79" fmla="*/ 181 h 512"/>
              <a:gd name="T80" fmla="*/ 277 w 512"/>
              <a:gd name="T81" fmla="*/ 160 h 512"/>
              <a:gd name="T82" fmla="*/ 256 w 512"/>
              <a:gd name="T83" fmla="*/ 138 h 512"/>
              <a:gd name="T84" fmla="*/ 234 w 512"/>
              <a:gd name="T85" fmla="*/ 160 h 512"/>
              <a:gd name="T86" fmla="*/ 256 w 512"/>
              <a:gd name="T8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89" y="309"/>
                </a:moveTo>
                <a:cubicBezTo>
                  <a:pt x="222" y="309"/>
                  <a:pt x="222" y="309"/>
                  <a:pt x="222" y="309"/>
                </a:cubicBezTo>
                <a:cubicBezTo>
                  <a:pt x="232" y="291"/>
                  <a:pt x="243" y="260"/>
                  <a:pt x="245" y="213"/>
                </a:cubicBezTo>
                <a:cubicBezTo>
                  <a:pt x="267" y="213"/>
                  <a:pt x="267" y="213"/>
                  <a:pt x="267" y="213"/>
                </a:cubicBezTo>
                <a:cubicBezTo>
                  <a:pt x="268" y="260"/>
                  <a:pt x="280" y="291"/>
                  <a:pt x="289"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20"/>
                </a:moveTo>
                <a:cubicBezTo>
                  <a:pt x="330" y="314"/>
                  <a:pt x="326" y="309"/>
                  <a:pt x="320" y="309"/>
                </a:cubicBezTo>
                <a:cubicBezTo>
                  <a:pt x="314" y="309"/>
                  <a:pt x="314" y="309"/>
                  <a:pt x="314" y="309"/>
                </a:cubicBezTo>
                <a:cubicBezTo>
                  <a:pt x="307" y="300"/>
                  <a:pt x="290" y="270"/>
                  <a:pt x="288" y="213"/>
                </a:cubicBezTo>
                <a:cubicBezTo>
                  <a:pt x="298" y="213"/>
                  <a:pt x="298" y="213"/>
                  <a:pt x="298" y="213"/>
                </a:cubicBezTo>
                <a:cubicBezTo>
                  <a:pt x="304" y="213"/>
                  <a:pt x="309" y="208"/>
                  <a:pt x="309" y="202"/>
                </a:cubicBezTo>
                <a:cubicBezTo>
                  <a:pt x="309" y="196"/>
                  <a:pt x="304" y="192"/>
                  <a:pt x="298" y="192"/>
                </a:cubicBezTo>
                <a:cubicBezTo>
                  <a:pt x="284" y="192"/>
                  <a:pt x="284" y="192"/>
                  <a:pt x="284" y="192"/>
                </a:cubicBezTo>
                <a:cubicBezTo>
                  <a:pt x="293" y="184"/>
                  <a:pt x="298" y="172"/>
                  <a:pt x="298" y="160"/>
                </a:cubicBezTo>
                <a:cubicBezTo>
                  <a:pt x="298" y="136"/>
                  <a:pt x="279" y="117"/>
                  <a:pt x="256" y="117"/>
                </a:cubicBezTo>
                <a:cubicBezTo>
                  <a:pt x="232" y="117"/>
                  <a:pt x="213" y="136"/>
                  <a:pt x="213" y="160"/>
                </a:cubicBezTo>
                <a:cubicBezTo>
                  <a:pt x="213" y="172"/>
                  <a:pt x="219" y="184"/>
                  <a:pt x="228" y="192"/>
                </a:cubicBezTo>
                <a:cubicBezTo>
                  <a:pt x="213" y="192"/>
                  <a:pt x="213" y="192"/>
                  <a:pt x="213" y="192"/>
                </a:cubicBezTo>
                <a:cubicBezTo>
                  <a:pt x="207" y="192"/>
                  <a:pt x="202" y="196"/>
                  <a:pt x="202" y="202"/>
                </a:cubicBezTo>
                <a:cubicBezTo>
                  <a:pt x="202" y="208"/>
                  <a:pt x="207" y="213"/>
                  <a:pt x="213" y="213"/>
                </a:cubicBezTo>
                <a:cubicBezTo>
                  <a:pt x="223" y="213"/>
                  <a:pt x="223" y="213"/>
                  <a:pt x="223" y="213"/>
                </a:cubicBezTo>
                <a:cubicBezTo>
                  <a:pt x="221" y="270"/>
                  <a:pt x="204" y="300"/>
                  <a:pt x="197" y="309"/>
                </a:cubicBezTo>
                <a:cubicBezTo>
                  <a:pt x="192" y="309"/>
                  <a:pt x="192" y="309"/>
                  <a:pt x="192" y="309"/>
                </a:cubicBezTo>
                <a:cubicBezTo>
                  <a:pt x="186" y="309"/>
                  <a:pt x="181" y="314"/>
                  <a:pt x="181" y="320"/>
                </a:cubicBezTo>
                <a:cubicBezTo>
                  <a:pt x="181" y="362"/>
                  <a:pt x="181" y="362"/>
                  <a:pt x="181" y="362"/>
                </a:cubicBezTo>
                <a:cubicBezTo>
                  <a:pt x="181" y="368"/>
                  <a:pt x="186" y="373"/>
                  <a:pt x="192" y="373"/>
                </a:cubicBezTo>
                <a:cubicBezTo>
                  <a:pt x="320" y="373"/>
                  <a:pt x="320" y="373"/>
                  <a:pt x="320" y="373"/>
                </a:cubicBezTo>
                <a:cubicBezTo>
                  <a:pt x="326" y="373"/>
                  <a:pt x="330" y="368"/>
                  <a:pt x="330" y="362"/>
                </a:cubicBezTo>
                <a:lnTo>
                  <a:pt x="330" y="320"/>
                </a:lnTo>
                <a:close/>
                <a:moveTo>
                  <a:pt x="202" y="352"/>
                </a:moveTo>
                <a:cubicBezTo>
                  <a:pt x="309" y="352"/>
                  <a:pt x="309" y="352"/>
                  <a:pt x="309" y="352"/>
                </a:cubicBezTo>
                <a:cubicBezTo>
                  <a:pt x="309" y="330"/>
                  <a:pt x="309" y="330"/>
                  <a:pt x="309" y="330"/>
                </a:cubicBezTo>
                <a:cubicBezTo>
                  <a:pt x="202" y="330"/>
                  <a:pt x="202" y="330"/>
                  <a:pt x="202" y="330"/>
                </a:cubicBezTo>
                <a:lnTo>
                  <a:pt x="202" y="352"/>
                </a:lnTo>
                <a:close/>
                <a:moveTo>
                  <a:pt x="256" y="181"/>
                </a:moveTo>
                <a:cubicBezTo>
                  <a:pt x="267" y="181"/>
                  <a:pt x="277" y="171"/>
                  <a:pt x="277" y="160"/>
                </a:cubicBezTo>
                <a:cubicBezTo>
                  <a:pt x="277" y="148"/>
                  <a:pt x="267" y="138"/>
                  <a:pt x="256" y="138"/>
                </a:cubicBezTo>
                <a:cubicBezTo>
                  <a:pt x="244" y="138"/>
                  <a:pt x="234" y="148"/>
                  <a:pt x="234" y="160"/>
                </a:cubicBezTo>
                <a:cubicBezTo>
                  <a:pt x="234" y="171"/>
                  <a:pt x="244" y="181"/>
                  <a:pt x="256" y="1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6" name="Group 956">
            <a:extLst>
              <a:ext uri="{FF2B5EF4-FFF2-40B4-BE49-F238E27FC236}">
                <a16:creationId xmlns:a16="http://schemas.microsoft.com/office/drawing/2014/main" id="{648FDA0E-A44F-4C33-BDFE-D306073D5250}"/>
              </a:ext>
            </a:extLst>
          </p:cNvPr>
          <p:cNvGrpSpPr>
            <a:grpSpLocks noChangeAspect="1"/>
          </p:cNvGrpSpPr>
          <p:nvPr/>
        </p:nvGrpSpPr>
        <p:grpSpPr bwMode="auto">
          <a:xfrm>
            <a:off x="8740628" y="2523383"/>
            <a:ext cx="367982" cy="367982"/>
            <a:chOff x="2474" y="4027"/>
            <a:chExt cx="340" cy="340"/>
          </a:xfrm>
          <a:solidFill>
            <a:schemeClr val="accent1"/>
          </a:solidFill>
        </p:grpSpPr>
        <p:sp>
          <p:nvSpPr>
            <p:cNvPr id="467" name="Freeform 957">
              <a:extLst>
                <a:ext uri="{FF2B5EF4-FFF2-40B4-BE49-F238E27FC236}">
                  <a16:creationId xmlns:a16="http://schemas.microsoft.com/office/drawing/2014/main" id="{4B8ADCDB-AF2D-4482-87D7-4E39EC21CE6E}"/>
                </a:ext>
              </a:extLst>
            </p:cNvPr>
            <p:cNvSpPr>
              <a:spLocks noEditPoints="1"/>
            </p:cNvSpPr>
            <p:nvPr/>
          </p:nvSpPr>
          <p:spPr bwMode="auto">
            <a:xfrm>
              <a:off x="2594" y="4105"/>
              <a:ext cx="99" cy="170"/>
            </a:xfrm>
            <a:custGeom>
              <a:avLst/>
              <a:gdLst>
                <a:gd name="T0" fmla="*/ 139 w 149"/>
                <a:gd name="T1" fmla="*/ 192 h 256"/>
                <a:gd name="T2" fmla="*/ 133 w 149"/>
                <a:gd name="T3" fmla="*/ 192 h 256"/>
                <a:gd name="T4" fmla="*/ 107 w 149"/>
                <a:gd name="T5" fmla="*/ 96 h 256"/>
                <a:gd name="T6" fmla="*/ 117 w 149"/>
                <a:gd name="T7" fmla="*/ 96 h 256"/>
                <a:gd name="T8" fmla="*/ 128 w 149"/>
                <a:gd name="T9" fmla="*/ 85 h 256"/>
                <a:gd name="T10" fmla="*/ 117 w 149"/>
                <a:gd name="T11" fmla="*/ 75 h 256"/>
                <a:gd name="T12" fmla="*/ 103 w 149"/>
                <a:gd name="T13" fmla="*/ 75 h 256"/>
                <a:gd name="T14" fmla="*/ 117 w 149"/>
                <a:gd name="T15" fmla="*/ 43 h 256"/>
                <a:gd name="T16" fmla="*/ 75 w 149"/>
                <a:gd name="T17" fmla="*/ 0 h 256"/>
                <a:gd name="T18" fmla="*/ 32 w 149"/>
                <a:gd name="T19" fmla="*/ 43 h 256"/>
                <a:gd name="T20" fmla="*/ 47 w 149"/>
                <a:gd name="T21" fmla="*/ 75 h 256"/>
                <a:gd name="T22" fmla="*/ 32 w 149"/>
                <a:gd name="T23" fmla="*/ 75 h 256"/>
                <a:gd name="T24" fmla="*/ 21 w 149"/>
                <a:gd name="T25" fmla="*/ 85 h 256"/>
                <a:gd name="T26" fmla="*/ 32 w 149"/>
                <a:gd name="T27" fmla="*/ 96 h 256"/>
                <a:gd name="T28" fmla="*/ 42 w 149"/>
                <a:gd name="T29" fmla="*/ 96 h 256"/>
                <a:gd name="T30" fmla="*/ 16 w 149"/>
                <a:gd name="T31" fmla="*/ 192 h 256"/>
                <a:gd name="T32" fmla="*/ 11 w 149"/>
                <a:gd name="T33" fmla="*/ 192 h 256"/>
                <a:gd name="T34" fmla="*/ 0 w 149"/>
                <a:gd name="T35" fmla="*/ 203 h 256"/>
                <a:gd name="T36" fmla="*/ 0 w 149"/>
                <a:gd name="T37" fmla="*/ 245 h 256"/>
                <a:gd name="T38" fmla="*/ 11 w 149"/>
                <a:gd name="T39" fmla="*/ 256 h 256"/>
                <a:gd name="T40" fmla="*/ 139 w 149"/>
                <a:gd name="T41" fmla="*/ 256 h 256"/>
                <a:gd name="T42" fmla="*/ 149 w 149"/>
                <a:gd name="T43" fmla="*/ 245 h 256"/>
                <a:gd name="T44" fmla="*/ 149 w 149"/>
                <a:gd name="T45" fmla="*/ 203 h 256"/>
                <a:gd name="T46" fmla="*/ 139 w 149"/>
                <a:gd name="T47" fmla="*/ 192 h 256"/>
                <a:gd name="T48" fmla="*/ 75 w 149"/>
                <a:gd name="T49" fmla="*/ 21 h 256"/>
                <a:gd name="T50" fmla="*/ 96 w 149"/>
                <a:gd name="T51" fmla="*/ 43 h 256"/>
                <a:gd name="T52" fmla="*/ 75 w 149"/>
                <a:gd name="T53" fmla="*/ 64 h 256"/>
                <a:gd name="T54" fmla="*/ 53 w 149"/>
                <a:gd name="T55" fmla="*/ 43 h 256"/>
                <a:gd name="T56" fmla="*/ 75 w 149"/>
                <a:gd name="T57" fmla="*/ 21 h 256"/>
                <a:gd name="T58" fmla="*/ 64 w 149"/>
                <a:gd name="T59" fmla="*/ 96 h 256"/>
                <a:gd name="T60" fmla="*/ 86 w 149"/>
                <a:gd name="T61" fmla="*/ 96 h 256"/>
                <a:gd name="T62" fmla="*/ 108 w 149"/>
                <a:gd name="T63" fmla="*/ 192 h 256"/>
                <a:gd name="T64" fmla="*/ 41 w 149"/>
                <a:gd name="T65" fmla="*/ 192 h 256"/>
                <a:gd name="T66" fmla="*/ 64 w 149"/>
                <a:gd name="T67" fmla="*/ 96 h 256"/>
                <a:gd name="T68" fmla="*/ 128 w 149"/>
                <a:gd name="T69" fmla="*/ 235 h 256"/>
                <a:gd name="T70" fmla="*/ 21 w 149"/>
                <a:gd name="T71" fmla="*/ 235 h 256"/>
                <a:gd name="T72" fmla="*/ 21 w 149"/>
                <a:gd name="T73" fmla="*/ 213 h 256"/>
                <a:gd name="T74" fmla="*/ 128 w 149"/>
                <a:gd name="T75" fmla="*/ 213 h 256"/>
                <a:gd name="T76" fmla="*/ 128 w 149"/>
                <a:gd name="T7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56">
                  <a:moveTo>
                    <a:pt x="139" y="192"/>
                  </a:moveTo>
                  <a:cubicBezTo>
                    <a:pt x="133" y="192"/>
                    <a:pt x="133" y="192"/>
                    <a:pt x="133" y="192"/>
                  </a:cubicBezTo>
                  <a:cubicBezTo>
                    <a:pt x="126" y="183"/>
                    <a:pt x="109" y="153"/>
                    <a:pt x="107" y="96"/>
                  </a:cubicBezTo>
                  <a:cubicBezTo>
                    <a:pt x="117" y="96"/>
                    <a:pt x="117" y="96"/>
                    <a:pt x="117" y="96"/>
                  </a:cubicBezTo>
                  <a:cubicBezTo>
                    <a:pt x="123" y="96"/>
                    <a:pt x="128" y="91"/>
                    <a:pt x="128" y="85"/>
                  </a:cubicBezTo>
                  <a:cubicBezTo>
                    <a:pt x="128" y="79"/>
                    <a:pt x="123" y="75"/>
                    <a:pt x="117" y="75"/>
                  </a:cubicBezTo>
                  <a:cubicBezTo>
                    <a:pt x="103" y="75"/>
                    <a:pt x="103" y="75"/>
                    <a:pt x="103" y="75"/>
                  </a:cubicBezTo>
                  <a:cubicBezTo>
                    <a:pt x="112" y="67"/>
                    <a:pt x="117" y="55"/>
                    <a:pt x="117" y="43"/>
                  </a:cubicBezTo>
                  <a:cubicBezTo>
                    <a:pt x="117" y="19"/>
                    <a:pt x="98" y="0"/>
                    <a:pt x="75" y="0"/>
                  </a:cubicBezTo>
                  <a:cubicBezTo>
                    <a:pt x="51" y="0"/>
                    <a:pt x="32" y="19"/>
                    <a:pt x="32" y="43"/>
                  </a:cubicBezTo>
                  <a:cubicBezTo>
                    <a:pt x="32" y="55"/>
                    <a:pt x="38" y="67"/>
                    <a:pt x="47" y="75"/>
                  </a:cubicBezTo>
                  <a:cubicBezTo>
                    <a:pt x="32" y="75"/>
                    <a:pt x="32" y="75"/>
                    <a:pt x="32" y="75"/>
                  </a:cubicBezTo>
                  <a:cubicBezTo>
                    <a:pt x="26" y="75"/>
                    <a:pt x="21" y="79"/>
                    <a:pt x="21" y="85"/>
                  </a:cubicBezTo>
                  <a:cubicBezTo>
                    <a:pt x="21" y="91"/>
                    <a:pt x="26" y="96"/>
                    <a:pt x="32" y="96"/>
                  </a:cubicBezTo>
                  <a:cubicBezTo>
                    <a:pt x="42" y="96"/>
                    <a:pt x="42" y="96"/>
                    <a:pt x="42" y="96"/>
                  </a:cubicBezTo>
                  <a:cubicBezTo>
                    <a:pt x="40" y="153"/>
                    <a:pt x="23" y="183"/>
                    <a:pt x="16" y="192"/>
                  </a:cubicBezTo>
                  <a:cubicBezTo>
                    <a:pt x="11" y="192"/>
                    <a:pt x="11" y="192"/>
                    <a:pt x="11" y="192"/>
                  </a:cubicBezTo>
                  <a:cubicBezTo>
                    <a:pt x="5" y="192"/>
                    <a:pt x="0" y="197"/>
                    <a:pt x="0" y="203"/>
                  </a:cubicBezTo>
                  <a:cubicBezTo>
                    <a:pt x="0" y="245"/>
                    <a:pt x="0" y="245"/>
                    <a:pt x="0" y="245"/>
                  </a:cubicBezTo>
                  <a:cubicBezTo>
                    <a:pt x="0" y="251"/>
                    <a:pt x="5" y="256"/>
                    <a:pt x="11" y="256"/>
                  </a:cubicBezTo>
                  <a:cubicBezTo>
                    <a:pt x="139" y="256"/>
                    <a:pt x="139" y="256"/>
                    <a:pt x="139" y="256"/>
                  </a:cubicBezTo>
                  <a:cubicBezTo>
                    <a:pt x="145" y="256"/>
                    <a:pt x="149" y="251"/>
                    <a:pt x="149" y="245"/>
                  </a:cubicBezTo>
                  <a:cubicBezTo>
                    <a:pt x="149" y="203"/>
                    <a:pt x="149" y="203"/>
                    <a:pt x="149" y="203"/>
                  </a:cubicBezTo>
                  <a:cubicBezTo>
                    <a:pt x="149" y="197"/>
                    <a:pt x="145" y="192"/>
                    <a:pt x="139" y="192"/>
                  </a:cubicBezTo>
                  <a:close/>
                  <a:moveTo>
                    <a:pt x="75" y="21"/>
                  </a:moveTo>
                  <a:cubicBezTo>
                    <a:pt x="86" y="21"/>
                    <a:pt x="96" y="31"/>
                    <a:pt x="96" y="43"/>
                  </a:cubicBezTo>
                  <a:cubicBezTo>
                    <a:pt x="96" y="54"/>
                    <a:pt x="86" y="64"/>
                    <a:pt x="75" y="64"/>
                  </a:cubicBezTo>
                  <a:cubicBezTo>
                    <a:pt x="63" y="64"/>
                    <a:pt x="53" y="54"/>
                    <a:pt x="53" y="43"/>
                  </a:cubicBezTo>
                  <a:cubicBezTo>
                    <a:pt x="53" y="31"/>
                    <a:pt x="63" y="21"/>
                    <a:pt x="75" y="21"/>
                  </a:cubicBezTo>
                  <a:close/>
                  <a:moveTo>
                    <a:pt x="64" y="96"/>
                  </a:moveTo>
                  <a:cubicBezTo>
                    <a:pt x="86" y="96"/>
                    <a:pt x="86" y="96"/>
                    <a:pt x="86" y="96"/>
                  </a:cubicBezTo>
                  <a:cubicBezTo>
                    <a:pt x="87" y="143"/>
                    <a:pt x="99" y="174"/>
                    <a:pt x="108" y="192"/>
                  </a:cubicBezTo>
                  <a:cubicBezTo>
                    <a:pt x="41" y="192"/>
                    <a:pt x="41" y="192"/>
                    <a:pt x="41" y="192"/>
                  </a:cubicBezTo>
                  <a:cubicBezTo>
                    <a:pt x="51" y="174"/>
                    <a:pt x="62" y="143"/>
                    <a:pt x="64" y="96"/>
                  </a:cubicBezTo>
                  <a:close/>
                  <a:moveTo>
                    <a:pt x="128" y="235"/>
                  </a:moveTo>
                  <a:cubicBezTo>
                    <a:pt x="21" y="235"/>
                    <a:pt x="21" y="235"/>
                    <a:pt x="21" y="235"/>
                  </a:cubicBezTo>
                  <a:cubicBezTo>
                    <a:pt x="21" y="213"/>
                    <a:pt x="21" y="213"/>
                    <a:pt x="21" y="213"/>
                  </a:cubicBezTo>
                  <a:cubicBezTo>
                    <a:pt x="128" y="213"/>
                    <a:pt x="128" y="213"/>
                    <a:pt x="128" y="213"/>
                  </a:cubicBezTo>
                  <a:lnTo>
                    <a:pt x="128"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8" name="Freeform 958">
              <a:extLst>
                <a:ext uri="{FF2B5EF4-FFF2-40B4-BE49-F238E27FC236}">
                  <a16:creationId xmlns:a16="http://schemas.microsoft.com/office/drawing/2014/main" id="{39B56394-89B6-4F9D-85B6-8F5683C8E7DA}"/>
                </a:ext>
              </a:extLst>
            </p:cNvPr>
            <p:cNvSpPr>
              <a:spLocks noEditPoints="1"/>
            </p:cNvSpPr>
            <p:nvPr/>
          </p:nvSpPr>
          <p:spPr bwMode="auto">
            <a:xfrm>
              <a:off x="2474" y="4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9" name="Freeform 962">
            <a:extLst>
              <a:ext uri="{FF2B5EF4-FFF2-40B4-BE49-F238E27FC236}">
                <a16:creationId xmlns:a16="http://schemas.microsoft.com/office/drawing/2014/main" id="{49EE0F7E-B8BD-4DAC-9D28-7EB12E13E266}"/>
              </a:ext>
            </a:extLst>
          </p:cNvPr>
          <p:cNvSpPr>
            <a:spLocks noChangeAspect="1" noEditPoints="1"/>
          </p:cNvSpPr>
          <p:nvPr/>
        </p:nvSpPr>
        <p:spPr bwMode="auto">
          <a:xfrm>
            <a:off x="9175704" y="2523383"/>
            <a:ext cx="367982" cy="367982"/>
          </a:xfrm>
          <a:custGeom>
            <a:avLst/>
            <a:gdLst>
              <a:gd name="T0" fmla="*/ 234 w 512"/>
              <a:gd name="T1" fmla="*/ 192 h 512"/>
              <a:gd name="T2" fmla="*/ 228 w 512"/>
              <a:gd name="T3" fmla="*/ 170 h 512"/>
              <a:gd name="T4" fmla="*/ 283 w 512"/>
              <a:gd name="T5" fmla="*/ 170 h 512"/>
              <a:gd name="T6" fmla="*/ 276 w 512"/>
              <a:gd name="T7" fmla="*/ 192 h 512"/>
              <a:gd name="T8" fmla="*/ 234 w 512"/>
              <a:gd name="T9" fmla="*/ 192 h 512"/>
              <a:gd name="T10" fmla="*/ 256 w 512"/>
              <a:gd name="T11" fmla="*/ 138 h 512"/>
              <a:gd name="T12" fmla="*/ 266 w 512"/>
              <a:gd name="T13" fmla="*/ 128 h 512"/>
              <a:gd name="T14" fmla="*/ 256 w 512"/>
              <a:gd name="T15" fmla="*/ 117 h 512"/>
              <a:gd name="T16" fmla="*/ 245 w 512"/>
              <a:gd name="T17" fmla="*/ 128 h 512"/>
              <a:gd name="T18" fmla="*/ 256 w 512"/>
              <a:gd name="T19" fmla="*/ 13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30 w 512"/>
              <a:gd name="T31" fmla="*/ 352 h 512"/>
              <a:gd name="T32" fmla="*/ 320 w 512"/>
              <a:gd name="T33" fmla="*/ 341 h 512"/>
              <a:gd name="T34" fmla="*/ 306 w 512"/>
              <a:gd name="T35" fmla="*/ 341 h 512"/>
              <a:gd name="T36" fmla="*/ 294 w 512"/>
              <a:gd name="T37" fmla="*/ 213 h 512"/>
              <a:gd name="T38" fmla="*/ 309 w 512"/>
              <a:gd name="T39" fmla="*/ 213 h 512"/>
              <a:gd name="T40" fmla="*/ 320 w 512"/>
              <a:gd name="T41" fmla="*/ 202 h 512"/>
              <a:gd name="T42" fmla="*/ 309 w 512"/>
              <a:gd name="T43" fmla="*/ 192 h 512"/>
              <a:gd name="T44" fmla="*/ 299 w 512"/>
              <a:gd name="T45" fmla="*/ 192 h 512"/>
              <a:gd name="T46" fmla="*/ 308 w 512"/>
              <a:gd name="T47" fmla="*/ 164 h 512"/>
              <a:gd name="T48" fmla="*/ 307 w 512"/>
              <a:gd name="T49" fmla="*/ 154 h 512"/>
              <a:gd name="T50" fmla="*/ 298 w 512"/>
              <a:gd name="T51" fmla="*/ 149 h 512"/>
              <a:gd name="T52" fmla="*/ 279 w 512"/>
              <a:gd name="T53" fmla="*/ 149 h 512"/>
              <a:gd name="T54" fmla="*/ 288 w 512"/>
              <a:gd name="T55" fmla="*/ 128 h 512"/>
              <a:gd name="T56" fmla="*/ 256 w 512"/>
              <a:gd name="T57" fmla="*/ 96 h 512"/>
              <a:gd name="T58" fmla="*/ 224 w 512"/>
              <a:gd name="T59" fmla="*/ 128 h 512"/>
              <a:gd name="T60" fmla="*/ 232 w 512"/>
              <a:gd name="T61" fmla="*/ 149 h 512"/>
              <a:gd name="T62" fmla="*/ 213 w 512"/>
              <a:gd name="T63" fmla="*/ 149 h 512"/>
              <a:gd name="T64" fmla="*/ 204 w 512"/>
              <a:gd name="T65" fmla="*/ 154 h 512"/>
              <a:gd name="T66" fmla="*/ 203 w 512"/>
              <a:gd name="T67" fmla="*/ 164 h 512"/>
              <a:gd name="T68" fmla="*/ 212 w 512"/>
              <a:gd name="T69" fmla="*/ 192 h 512"/>
              <a:gd name="T70" fmla="*/ 202 w 512"/>
              <a:gd name="T71" fmla="*/ 192 h 512"/>
              <a:gd name="T72" fmla="*/ 192 w 512"/>
              <a:gd name="T73" fmla="*/ 202 h 512"/>
              <a:gd name="T74" fmla="*/ 202 w 512"/>
              <a:gd name="T75" fmla="*/ 213 h 512"/>
              <a:gd name="T76" fmla="*/ 217 w 512"/>
              <a:gd name="T77" fmla="*/ 213 h 512"/>
              <a:gd name="T78" fmla="*/ 206 w 512"/>
              <a:gd name="T79" fmla="*/ 341 h 512"/>
              <a:gd name="T80" fmla="*/ 192 w 512"/>
              <a:gd name="T81" fmla="*/ 341 h 512"/>
              <a:gd name="T82" fmla="*/ 181 w 512"/>
              <a:gd name="T83" fmla="*/ 352 h 512"/>
              <a:gd name="T84" fmla="*/ 181 w 512"/>
              <a:gd name="T85" fmla="*/ 394 h 512"/>
              <a:gd name="T86" fmla="*/ 192 w 512"/>
              <a:gd name="T87" fmla="*/ 405 h 512"/>
              <a:gd name="T88" fmla="*/ 320 w 512"/>
              <a:gd name="T89" fmla="*/ 405 h 512"/>
              <a:gd name="T90" fmla="*/ 330 w 512"/>
              <a:gd name="T91" fmla="*/ 394 h 512"/>
              <a:gd name="T92" fmla="*/ 330 w 512"/>
              <a:gd name="T93" fmla="*/ 352 h 512"/>
              <a:gd name="T94" fmla="*/ 283 w 512"/>
              <a:gd name="T95" fmla="*/ 341 h 512"/>
              <a:gd name="T96" fmla="*/ 272 w 512"/>
              <a:gd name="T97" fmla="*/ 213 h 512"/>
              <a:gd name="T98" fmla="*/ 238 w 512"/>
              <a:gd name="T99" fmla="*/ 213 h 512"/>
              <a:gd name="T100" fmla="*/ 229 w 512"/>
              <a:gd name="T101" fmla="*/ 341 h 512"/>
              <a:gd name="T102" fmla="*/ 283 w 512"/>
              <a:gd name="T103" fmla="*/ 341 h 512"/>
              <a:gd name="T104" fmla="*/ 202 w 512"/>
              <a:gd name="T105" fmla="*/ 384 h 512"/>
              <a:gd name="T106" fmla="*/ 309 w 512"/>
              <a:gd name="T107" fmla="*/ 384 h 512"/>
              <a:gd name="T108" fmla="*/ 309 w 512"/>
              <a:gd name="T109" fmla="*/ 362 h 512"/>
              <a:gd name="T110" fmla="*/ 202 w 512"/>
              <a:gd name="T111" fmla="*/ 362 h 512"/>
              <a:gd name="T112" fmla="*/ 202 w 512"/>
              <a:gd name="T11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34" y="192"/>
                </a:moveTo>
                <a:cubicBezTo>
                  <a:pt x="232" y="183"/>
                  <a:pt x="230" y="176"/>
                  <a:pt x="228" y="170"/>
                </a:cubicBezTo>
                <a:cubicBezTo>
                  <a:pt x="283" y="170"/>
                  <a:pt x="283" y="170"/>
                  <a:pt x="283" y="170"/>
                </a:cubicBezTo>
                <a:cubicBezTo>
                  <a:pt x="281" y="176"/>
                  <a:pt x="278" y="183"/>
                  <a:pt x="276" y="192"/>
                </a:cubicBezTo>
                <a:lnTo>
                  <a:pt x="234" y="19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52"/>
                </a:moveTo>
                <a:cubicBezTo>
                  <a:pt x="330" y="346"/>
                  <a:pt x="326" y="341"/>
                  <a:pt x="320" y="341"/>
                </a:cubicBezTo>
                <a:cubicBezTo>
                  <a:pt x="306" y="341"/>
                  <a:pt x="306" y="341"/>
                  <a:pt x="306" y="341"/>
                </a:cubicBezTo>
                <a:cubicBezTo>
                  <a:pt x="287" y="291"/>
                  <a:pt x="288" y="245"/>
                  <a:pt x="294" y="213"/>
                </a:cubicBezTo>
                <a:cubicBezTo>
                  <a:pt x="309" y="213"/>
                  <a:pt x="309" y="213"/>
                  <a:pt x="309" y="213"/>
                </a:cubicBezTo>
                <a:cubicBezTo>
                  <a:pt x="315" y="213"/>
                  <a:pt x="320" y="208"/>
                  <a:pt x="320" y="202"/>
                </a:cubicBezTo>
                <a:cubicBezTo>
                  <a:pt x="320" y="196"/>
                  <a:pt x="315" y="192"/>
                  <a:pt x="309" y="192"/>
                </a:cubicBezTo>
                <a:cubicBezTo>
                  <a:pt x="299" y="192"/>
                  <a:pt x="299" y="192"/>
                  <a:pt x="299" y="192"/>
                </a:cubicBezTo>
                <a:cubicBezTo>
                  <a:pt x="303" y="175"/>
                  <a:pt x="308" y="165"/>
                  <a:pt x="308" y="164"/>
                </a:cubicBezTo>
                <a:cubicBezTo>
                  <a:pt x="310" y="161"/>
                  <a:pt x="309" y="157"/>
                  <a:pt x="307" y="154"/>
                </a:cubicBezTo>
                <a:cubicBezTo>
                  <a:pt x="305" y="151"/>
                  <a:pt x="302" y="149"/>
                  <a:pt x="298" y="149"/>
                </a:cubicBezTo>
                <a:cubicBezTo>
                  <a:pt x="279" y="149"/>
                  <a:pt x="279" y="149"/>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3" y="149"/>
                  <a:pt x="213" y="149"/>
                  <a:pt x="213" y="149"/>
                </a:cubicBezTo>
                <a:cubicBezTo>
                  <a:pt x="209" y="149"/>
                  <a:pt x="206" y="151"/>
                  <a:pt x="204" y="154"/>
                </a:cubicBezTo>
                <a:cubicBezTo>
                  <a:pt x="202" y="157"/>
                  <a:pt x="202" y="160"/>
                  <a:pt x="203" y="164"/>
                </a:cubicBezTo>
                <a:cubicBezTo>
                  <a:pt x="203" y="164"/>
                  <a:pt x="207" y="175"/>
                  <a:pt x="212" y="192"/>
                </a:cubicBezTo>
                <a:cubicBezTo>
                  <a:pt x="202" y="192"/>
                  <a:pt x="202" y="192"/>
                  <a:pt x="202" y="192"/>
                </a:cubicBezTo>
                <a:cubicBezTo>
                  <a:pt x="196" y="192"/>
                  <a:pt x="192" y="196"/>
                  <a:pt x="192" y="202"/>
                </a:cubicBezTo>
                <a:cubicBezTo>
                  <a:pt x="192" y="208"/>
                  <a:pt x="196" y="213"/>
                  <a:pt x="202" y="213"/>
                </a:cubicBezTo>
                <a:cubicBezTo>
                  <a:pt x="217" y="213"/>
                  <a:pt x="217" y="213"/>
                  <a:pt x="217" y="213"/>
                </a:cubicBezTo>
                <a:cubicBezTo>
                  <a:pt x="223" y="249"/>
                  <a:pt x="226" y="298"/>
                  <a:pt x="206" y="341"/>
                </a:cubicBezTo>
                <a:cubicBezTo>
                  <a:pt x="192" y="341"/>
                  <a:pt x="192" y="341"/>
                  <a:pt x="192" y="341"/>
                </a:cubicBezTo>
                <a:cubicBezTo>
                  <a:pt x="186" y="341"/>
                  <a:pt x="181" y="346"/>
                  <a:pt x="181" y="352"/>
                </a:cubicBezTo>
                <a:cubicBezTo>
                  <a:pt x="181" y="394"/>
                  <a:pt x="181" y="394"/>
                  <a:pt x="181" y="394"/>
                </a:cubicBezTo>
                <a:cubicBezTo>
                  <a:pt x="181" y="400"/>
                  <a:pt x="186" y="405"/>
                  <a:pt x="192" y="405"/>
                </a:cubicBezTo>
                <a:cubicBezTo>
                  <a:pt x="320" y="405"/>
                  <a:pt x="320" y="405"/>
                  <a:pt x="320" y="405"/>
                </a:cubicBezTo>
                <a:cubicBezTo>
                  <a:pt x="326" y="405"/>
                  <a:pt x="330" y="400"/>
                  <a:pt x="330" y="394"/>
                </a:cubicBezTo>
                <a:lnTo>
                  <a:pt x="330" y="352"/>
                </a:lnTo>
                <a:close/>
                <a:moveTo>
                  <a:pt x="283" y="341"/>
                </a:moveTo>
                <a:cubicBezTo>
                  <a:pt x="266" y="291"/>
                  <a:pt x="267" y="246"/>
                  <a:pt x="272" y="213"/>
                </a:cubicBezTo>
                <a:cubicBezTo>
                  <a:pt x="238" y="213"/>
                  <a:pt x="238" y="213"/>
                  <a:pt x="238" y="213"/>
                </a:cubicBezTo>
                <a:cubicBezTo>
                  <a:pt x="245" y="249"/>
                  <a:pt x="247" y="297"/>
                  <a:pt x="229" y="341"/>
                </a:cubicBezTo>
                <a:lnTo>
                  <a:pt x="283" y="341"/>
                </a:lnTo>
                <a:close/>
                <a:moveTo>
                  <a:pt x="202" y="384"/>
                </a:moveTo>
                <a:cubicBezTo>
                  <a:pt x="309" y="384"/>
                  <a:pt x="309" y="384"/>
                  <a:pt x="309" y="384"/>
                </a:cubicBezTo>
                <a:cubicBezTo>
                  <a:pt x="309" y="362"/>
                  <a:pt x="309" y="362"/>
                  <a:pt x="309" y="362"/>
                </a:cubicBezTo>
                <a:cubicBezTo>
                  <a:pt x="202" y="362"/>
                  <a:pt x="202" y="362"/>
                  <a:pt x="202" y="362"/>
                </a:cubicBezTo>
                <a:lnTo>
                  <a:pt x="202" y="38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70" name="Group 965">
            <a:extLst>
              <a:ext uri="{FF2B5EF4-FFF2-40B4-BE49-F238E27FC236}">
                <a16:creationId xmlns:a16="http://schemas.microsoft.com/office/drawing/2014/main" id="{BA8DDF36-D9E3-4DEC-8786-BEB06D086CCC}"/>
              </a:ext>
            </a:extLst>
          </p:cNvPr>
          <p:cNvGrpSpPr>
            <a:grpSpLocks noChangeAspect="1"/>
          </p:cNvGrpSpPr>
          <p:nvPr/>
        </p:nvGrpSpPr>
        <p:grpSpPr bwMode="auto">
          <a:xfrm>
            <a:off x="9610780" y="2523383"/>
            <a:ext cx="367982" cy="369064"/>
            <a:chOff x="3319" y="4077"/>
            <a:chExt cx="340" cy="341"/>
          </a:xfrm>
          <a:solidFill>
            <a:schemeClr val="accent5"/>
          </a:solidFill>
        </p:grpSpPr>
        <p:sp>
          <p:nvSpPr>
            <p:cNvPr id="471" name="Freeform 966">
              <a:extLst>
                <a:ext uri="{FF2B5EF4-FFF2-40B4-BE49-F238E27FC236}">
                  <a16:creationId xmlns:a16="http://schemas.microsoft.com/office/drawing/2014/main" id="{F80E342C-08EF-4998-AEE8-D34FA54EAF0F}"/>
                </a:ext>
              </a:extLst>
            </p:cNvPr>
            <p:cNvSpPr>
              <a:spLocks noEditPoints="1"/>
            </p:cNvSpPr>
            <p:nvPr/>
          </p:nvSpPr>
          <p:spPr bwMode="auto">
            <a:xfrm>
              <a:off x="3439" y="4141"/>
              <a:ext cx="99" cy="206"/>
            </a:xfrm>
            <a:custGeom>
              <a:avLst/>
              <a:gdLst>
                <a:gd name="T0" fmla="*/ 139 w 149"/>
                <a:gd name="T1" fmla="*/ 245 h 309"/>
                <a:gd name="T2" fmla="*/ 125 w 149"/>
                <a:gd name="T3" fmla="*/ 245 h 309"/>
                <a:gd name="T4" fmla="*/ 113 w 149"/>
                <a:gd name="T5" fmla="*/ 117 h 309"/>
                <a:gd name="T6" fmla="*/ 128 w 149"/>
                <a:gd name="T7" fmla="*/ 117 h 309"/>
                <a:gd name="T8" fmla="*/ 139 w 149"/>
                <a:gd name="T9" fmla="*/ 106 h 309"/>
                <a:gd name="T10" fmla="*/ 128 w 149"/>
                <a:gd name="T11" fmla="*/ 96 h 309"/>
                <a:gd name="T12" fmla="*/ 118 w 149"/>
                <a:gd name="T13" fmla="*/ 96 h 309"/>
                <a:gd name="T14" fmla="*/ 127 w 149"/>
                <a:gd name="T15" fmla="*/ 68 h 309"/>
                <a:gd name="T16" fmla="*/ 126 w 149"/>
                <a:gd name="T17" fmla="*/ 58 h 309"/>
                <a:gd name="T18" fmla="*/ 117 w 149"/>
                <a:gd name="T19" fmla="*/ 53 h 309"/>
                <a:gd name="T20" fmla="*/ 98 w 149"/>
                <a:gd name="T21" fmla="*/ 53 h 309"/>
                <a:gd name="T22" fmla="*/ 107 w 149"/>
                <a:gd name="T23" fmla="*/ 32 h 309"/>
                <a:gd name="T24" fmla="*/ 75 w 149"/>
                <a:gd name="T25" fmla="*/ 0 h 309"/>
                <a:gd name="T26" fmla="*/ 43 w 149"/>
                <a:gd name="T27" fmla="*/ 32 h 309"/>
                <a:gd name="T28" fmla="*/ 51 w 149"/>
                <a:gd name="T29" fmla="*/ 53 h 309"/>
                <a:gd name="T30" fmla="*/ 32 w 149"/>
                <a:gd name="T31" fmla="*/ 53 h 309"/>
                <a:gd name="T32" fmla="*/ 23 w 149"/>
                <a:gd name="T33" fmla="*/ 58 h 309"/>
                <a:gd name="T34" fmla="*/ 22 w 149"/>
                <a:gd name="T35" fmla="*/ 68 h 309"/>
                <a:gd name="T36" fmla="*/ 31 w 149"/>
                <a:gd name="T37" fmla="*/ 96 h 309"/>
                <a:gd name="T38" fmla="*/ 21 w 149"/>
                <a:gd name="T39" fmla="*/ 96 h 309"/>
                <a:gd name="T40" fmla="*/ 11 w 149"/>
                <a:gd name="T41" fmla="*/ 106 h 309"/>
                <a:gd name="T42" fmla="*/ 21 w 149"/>
                <a:gd name="T43" fmla="*/ 117 h 309"/>
                <a:gd name="T44" fmla="*/ 36 w 149"/>
                <a:gd name="T45" fmla="*/ 117 h 309"/>
                <a:gd name="T46" fmla="*/ 25 w 149"/>
                <a:gd name="T47" fmla="*/ 245 h 309"/>
                <a:gd name="T48" fmla="*/ 11 w 149"/>
                <a:gd name="T49" fmla="*/ 245 h 309"/>
                <a:gd name="T50" fmla="*/ 0 w 149"/>
                <a:gd name="T51" fmla="*/ 256 h 309"/>
                <a:gd name="T52" fmla="*/ 0 w 149"/>
                <a:gd name="T53" fmla="*/ 298 h 309"/>
                <a:gd name="T54" fmla="*/ 11 w 149"/>
                <a:gd name="T55" fmla="*/ 309 h 309"/>
                <a:gd name="T56" fmla="*/ 139 w 149"/>
                <a:gd name="T57" fmla="*/ 309 h 309"/>
                <a:gd name="T58" fmla="*/ 149 w 149"/>
                <a:gd name="T59" fmla="*/ 298 h 309"/>
                <a:gd name="T60" fmla="*/ 149 w 149"/>
                <a:gd name="T61" fmla="*/ 256 h 309"/>
                <a:gd name="T62" fmla="*/ 139 w 149"/>
                <a:gd name="T63" fmla="*/ 245 h 309"/>
                <a:gd name="T64" fmla="*/ 75 w 149"/>
                <a:gd name="T65" fmla="*/ 21 h 309"/>
                <a:gd name="T66" fmla="*/ 85 w 149"/>
                <a:gd name="T67" fmla="*/ 32 h 309"/>
                <a:gd name="T68" fmla="*/ 75 w 149"/>
                <a:gd name="T69" fmla="*/ 42 h 309"/>
                <a:gd name="T70" fmla="*/ 64 w 149"/>
                <a:gd name="T71" fmla="*/ 32 h 309"/>
                <a:gd name="T72" fmla="*/ 75 w 149"/>
                <a:gd name="T73" fmla="*/ 21 h 309"/>
                <a:gd name="T74" fmla="*/ 47 w 149"/>
                <a:gd name="T75" fmla="*/ 74 h 309"/>
                <a:gd name="T76" fmla="*/ 102 w 149"/>
                <a:gd name="T77" fmla="*/ 74 h 309"/>
                <a:gd name="T78" fmla="*/ 95 w 149"/>
                <a:gd name="T79" fmla="*/ 96 h 309"/>
                <a:gd name="T80" fmla="*/ 53 w 149"/>
                <a:gd name="T81" fmla="*/ 96 h 309"/>
                <a:gd name="T82" fmla="*/ 47 w 149"/>
                <a:gd name="T83" fmla="*/ 74 h 309"/>
                <a:gd name="T84" fmla="*/ 57 w 149"/>
                <a:gd name="T85" fmla="*/ 117 h 309"/>
                <a:gd name="T86" fmla="*/ 91 w 149"/>
                <a:gd name="T87" fmla="*/ 117 h 309"/>
                <a:gd name="T88" fmla="*/ 102 w 149"/>
                <a:gd name="T89" fmla="*/ 245 h 309"/>
                <a:gd name="T90" fmla="*/ 48 w 149"/>
                <a:gd name="T91" fmla="*/ 245 h 309"/>
                <a:gd name="T92" fmla="*/ 57 w 149"/>
                <a:gd name="T93" fmla="*/ 117 h 309"/>
                <a:gd name="T94" fmla="*/ 128 w 149"/>
                <a:gd name="T95" fmla="*/ 288 h 309"/>
                <a:gd name="T96" fmla="*/ 21 w 149"/>
                <a:gd name="T97" fmla="*/ 288 h 309"/>
                <a:gd name="T98" fmla="*/ 21 w 149"/>
                <a:gd name="T99" fmla="*/ 266 h 309"/>
                <a:gd name="T100" fmla="*/ 128 w 149"/>
                <a:gd name="T101" fmla="*/ 266 h 309"/>
                <a:gd name="T102" fmla="*/ 128 w 149"/>
                <a:gd name="T103"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309">
                  <a:moveTo>
                    <a:pt x="139" y="245"/>
                  </a:moveTo>
                  <a:cubicBezTo>
                    <a:pt x="125" y="245"/>
                    <a:pt x="125" y="245"/>
                    <a:pt x="125" y="245"/>
                  </a:cubicBezTo>
                  <a:cubicBezTo>
                    <a:pt x="106" y="195"/>
                    <a:pt x="107" y="149"/>
                    <a:pt x="113" y="117"/>
                  </a:cubicBezTo>
                  <a:cubicBezTo>
                    <a:pt x="128" y="117"/>
                    <a:pt x="128" y="117"/>
                    <a:pt x="128" y="117"/>
                  </a:cubicBezTo>
                  <a:cubicBezTo>
                    <a:pt x="134" y="117"/>
                    <a:pt x="139" y="112"/>
                    <a:pt x="139" y="106"/>
                  </a:cubicBezTo>
                  <a:cubicBezTo>
                    <a:pt x="139" y="100"/>
                    <a:pt x="134" y="96"/>
                    <a:pt x="128" y="96"/>
                  </a:cubicBezTo>
                  <a:cubicBezTo>
                    <a:pt x="118" y="96"/>
                    <a:pt x="118" y="96"/>
                    <a:pt x="118" y="96"/>
                  </a:cubicBezTo>
                  <a:cubicBezTo>
                    <a:pt x="122" y="79"/>
                    <a:pt x="127" y="69"/>
                    <a:pt x="127" y="68"/>
                  </a:cubicBezTo>
                  <a:cubicBezTo>
                    <a:pt x="129" y="65"/>
                    <a:pt x="128" y="61"/>
                    <a:pt x="126" y="58"/>
                  </a:cubicBezTo>
                  <a:cubicBezTo>
                    <a:pt x="124" y="55"/>
                    <a:pt x="121" y="53"/>
                    <a:pt x="117" y="53"/>
                  </a:cubicBezTo>
                  <a:cubicBezTo>
                    <a:pt x="98" y="53"/>
                    <a:pt x="98" y="53"/>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2" y="53"/>
                    <a:pt x="32" y="53"/>
                    <a:pt x="32" y="53"/>
                  </a:cubicBezTo>
                  <a:cubicBezTo>
                    <a:pt x="28" y="53"/>
                    <a:pt x="25" y="55"/>
                    <a:pt x="23" y="58"/>
                  </a:cubicBezTo>
                  <a:cubicBezTo>
                    <a:pt x="21" y="61"/>
                    <a:pt x="21" y="64"/>
                    <a:pt x="22" y="68"/>
                  </a:cubicBezTo>
                  <a:cubicBezTo>
                    <a:pt x="22" y="68"/>
                    <a:pt x="26" y="79"/>
                    <a:pt x="31" y="96"/>
                  </a:cubicBezTo>
                  <a:cubicBezTo>
                    <a:pt x="21" y="96"/>
                    <a:pt x="21" y="96"/>
                    <a:pt x="21" y="96"/>
                  </a:cubicBezTo>
                  <a:cubicBezTo>
                    <a:pt x="15" y="96"/>
                    <a:pt x="11" y="100"/>
                    <a:pt x="11" y="106"/>
                  </a:cubicBezTo>
                  <a:cubicBezTo>
                    <a:pt x="11" y="112"/>
                    <a:pt x="15" y="117"/>
                    <a:pt x="21" y="117"/>
                  </a:cubicBezTo>
                  <a:cubicBezTo>
                    <a:pt x="36" y="117"/>
                    <a:pt x="36" y="117"/>
                    <a:pt x="36" y="117"/>
                  </a:cubicBezTo>
                  <a:cubicBezTo>
                    <a:pt x="42" y="153"/>
                    <a:pt x="45" y="202"/>
                    <a:pt x="25" y="245"/>
                  </a:cubicBezTo>
                  <a:cubicBezTo>
                    <a:pt x="11" y="245"/>
                    <a:pt x="11" y="245"/>
                    <a:pt x="11" y="245"/>
                  </a:cubicBezTo>
                  <a:cubicBezTo>
                    <a:pt x="5" y="245"/>
                    <a:pt x="0" y="250"/>
                    <a:pt x="0" y="256"/>
                  </a:cubicBezTo>
                  <a:cubicBezTo>
                    <a:pt x="0" y="298"/>
                    <a:pt x="0" y="298"/>
                    <a:pt x="0" y="298"/>
                  </a:cubicBezTo>
                  <a:cubicBezTo>
                    <a:pt x="0" y="304"/>
                    <a:pt x="5" y="309"/>
                    <a:pt x="11" y="309"/>
                  </a:cubicBezTo>
                  <a:cubicBezTo>
                    <a:pt x="139" y="309"/>
                    <a:pt x="139" y="309"/>
                    <a:pt x="139" y="309"/>
                  </a:cubicBezTo>
                  <a:cubicBezTo>
                    <a:pt x="145" y="309"/>
                    <a:pt x="149" y="304"/>
                    <a:pt x="149" y="298"/>
                  </a:cubicBezTo>
                  <a:cubicBezTo>
                    <a:pt x="149" y="256"/>
                    <a:pt x="149" y="256"/>
                    <a:pt x="149" y="256"/>
                  </a:cubicBezTo>
                  <a:cubicBezTo>
                    <a:pt x="149" y="250"/>
                    <a:pt x="145" y="245"/>
                    <a:pt x="139" y="245"/>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47" y="74"/>
                  </a:moveTo>
                  <a:cubicBezTo>
                    <a:pt x="102" y="74"/>
                    <a:pt x="102" y="74"/>
                    <a:pt x="102" y="74"/>
                  </a:cubicBezTo>
                  <a:cubicBezTo>
                    <a:pt x="100" y="80"/>
                    <a:pt x="97" y="87"/>
                    <a:pt x="95" y="96"/>
                  </a:cubicBezTo>
                  <a:cubicBezTo>
                    <a:pt x="53" y="96"/>
                    <a:pt x="53" y="96"/>
                    <a:pt x="53" y="96"/>
                  </a:cubicBezTo>
                  <a:cubicBezTo>
                    <a:pt x="51" y="87"/>
                    <a:pt x="49" y="80"/>
                    <a:pt x="47" y="74"/>
                  </a:cubicBezTo>
                  <a:close/>
                  <a:moveTo>
                    <a:pt x="57" y="117"/>
                  </a:moveTo>
                  <a:cubicBezTo>
                    <a:pt x="91" y="117"/>
                    <a:pt x="91" y="117"/>
                    <a:pt x="91" y="117"/>
                  </a:cubicBezTo>
                  <a:cubicBezTo>
                    <a:pt x="86" y="150"/>
                    <a:pt x="85" y="195"/>
                    <a:pt x="102" y="245"/>
                  </a:cubicBezTo>
                  <a:cubicBezTo>
                    <a:pt x="48" y="245"/>
                    <a:pt x="48" y="245"/>
                    <a:pt x="48" y="245"/>
                  </a:cubicBezTo>
                  <a:cubicBezTo>
                    <a:pt x="66" y="201"/>
                    <a:pt x="64" y="153"/>
                    <a:pt x="57" y="117"/>
                  </a:cubicBezTo>
                  <a:close/>
                  <a:moveTo>
                    <a:pt x="128" y="288"/>
                  </a:moveTo>
                  <a:cubicBezTo>
                    <a:pt x="21" y="288"/>
                    <a:pt x="21" y="288"/>
                    <a:pt x="21" y="288"/>
                  </a:cubicBezTo>
                  <a:cubicBezTo>
                    <a:pt x="21" y="266"/>
                    <a:pt x="21" y="266"/>
                    <a:pt x="21" y="266"/>
                  </a:cubicBezTo>
                  <a:cubicBezTo>
                    <a:pt x="128" y="266"/>
                    <a:pt x="128" y="266"/>
                    <a:pt x="128" y="266"/>
                  </a:cubicBezTo>
                  <a:lnTo>
                    <a:pt x="128" y="2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2" name="Freeform 967">
              <a:extLst>
                <a:ext uri="{FF2B5EF4-FFF2-40B4-BE49-F238E27FC236}">
                  <a16:creationId xmlns:a16="http://schemas.microsoft.com/office/drawing/2014/main" id="{09E23818-5DED-4926-AD54-EA109A6324EC}"/>
                </a:ext>
              </a:extLst>
            </p:cNvPr>
            <p:cNvSpPr>
              <a:spLocks noEditPoints="1"/>
            </p:cNvSpPr>
            <p:nvPr/>
          </p:nvSpPr>
          <p:spPr bwMode="auto">
            <a:xfrm>
              <a:off x="3319" y="40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73" name="Freeform 980">
            <a:extLst>
              <a:ext uri="{FF2B5EF4-FFF2-40B4-BE49-F238E27FC236}">
                <a16:creationId xmlns:a16="http://schemas.microsoft.com/office/drawing/2014/main" id="{74EF2529-5783-4C58-907E-76BD23D18CC6}"/>
              </a:ext>
            </a:extLst>
          </p:cNvPr>
          <p:cNvSpPr>
            <a:spLocks noChangeAspect="1" noEditPoints="1"/>
          </p:cNvSpPr>
          <p:nvPr/>
        </p:nvSpPr>
        <p:spPr bwMode="auto">
          <a:xfrm>
            <a:off x="1342770" y="3298170"/>
            <a:ext cx="367982" cy="367982"/>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2" name="Freeform 984">
            <a:extLst>
              <a:ext uri="{FF2B5EF4-FFF2-40B4-BE49-F238E27FC236}">
                <a16:creationId xmlns:a16="http://schemas.microsoft.com/office/drawing/2014/main" id="{3E7EA930-DBBB-436C-89CD-60E96B7F5228}"/>
              </a:ext>
            </a:extLst>
          </p:cNvPr>
          <p:cNvSpPr>
            <a:spLocks noChangeAspect="1" noEditPoints="1"/>
          </p:cNvSpPr>
          <p:nvPr/>
        </p:nvSpPr>
        <p:spPr bwMode="auto">
          <a:xfrm>
            <a:off x="1778145" y="3298170"/>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17 h 512"/>
              <a:gd name="T22" fmla="*/ 309 w 512"/>
              <a:gd name="T23" fmla="*/ 117 h 512"/>
              <a:gd name="T24" fmla="*/ 309 w 512"/>
              <a:gd name="T25" fmla="*/ 106 h 512"/>
              <a:gd name="T26" fmla="*/ 298 w 512"/>
              <a:gd name="T27" fmla="*/ 96 h 512"/>
              <a:gd name="T28" fmla="*/ 213 w 512"/>
              <a:gd name="T29" fmla="*/ 96 h 512"/>
              <a:gd name="T30" fmla="*/ 202 w 512"/>
              <a:gd name="T31" fmla="*/ 106 h 512"/>
              <a:gd name="T32" fmla="*/ 202 w 512"/>
              <a:gd name="T33" fmla="*/ 117 h 512"/>
              <a:gd name="T34" fmla="*/ 149 w 512"/>
              <a:gd name="T35" fmla="*/ 117 h 512"/>
              <a:gd name="T36" fmla="*/ 138 w 512"/>
              <a:gd name="T37" fmla="*/ 128 h 512"/>
              <a:gd name="T38" fmla="*/ 138 w 512"/>
              <a:gd name="T39" fmla="*/ 405 h 512"/>
              <a:gd name="T40" fmla="*/ 149 w 512"/>
              <a:gd name="T41" fmla="*/ 416 h 512"/>
              <a:gd name="T42" fmla="*/ 362 w 512"/>
              <a:gd name="T43" fmla="*/ 416 h 512"/>
              <a:gd name="T44" fmla="*/ 373 w 512"/>
              <a:gd name="T45" fmla="*/ 405 h 512"/>
              <a:gd name="T46" fmla="*/ 373 w 512"/>
              <a:gd name="T47" fmla="*/ 128 h 512"/>
              <a:gd name="T48" fmla="*/ 362 w 512"/>
              <a:gd name="T49" fmla="*/ 117 h 512"/>
              <a:gd name="T50" fmla="*/ 224 w 512"/>
              <a:gd name="T51" fmla="*/ 117 h 512"/>
              <a:gd name="T52" fmla="*/ 288 w 512"/>
              <a:gd name="T53" fmla="*/ 117 h 512"/>
              <a:gd name="T54" fmla="*/ 288 w 512"/>
              <a:gd name="T55" fmla="*/ 138 h 512"/>
              <a:gd name="T56" fmla="*/ 224 w 512"/>
              <a:gd name="T57" fmla="*/ 138 h 512"/>
              <a:gd name="T58" fmla="*/ 224 w 512"/>
              <a:gd name="T59" fmla="*/ 117 h 512"/>
              <a:gd name="T60" fmla="*/ 352 w 512"/>
              <a:gd name="T61" fmla="*/ 394 h 512"/>
              <a:gd name="T62" fmla="*/ 160 w 512"/>
              <a:gd name="T63" fmla="*/ 394 h 512"/>
              <a:gd name="T64" fmla="*/ 160 w 512"/>
              <a:gd name="T65" fmla="*/ 138 h 512"/>
              <a:gd name="T66" fmla="*/ 202 w 512"/>
              <a:gd name="T67" fmla="*/ 138 h 512"/>
              <a:gd name="T68" fmla="*/ 202 w 512"/>
              <a:gd name="T69" fmla="*/ 149 h 512"/>
              <a:gd name="T70" fmla="*/ 213 w 512"/>
              <a:gd name="T71" fmla="*/ 160 h 512"/>
              <a:gd name="T72" fmla="*/ 298 w 512"/>
              <a:gd name="T73" fmla="*/ 160 h 512"/>
              <a:gd name="T74" fmla="*/ 309 w 512"/>
              <a:gd name="T75" fmla="*/ 149 h 512"/>
              <a:gd name="T76" fmla="*/ 309 w 512"/>
              <a:gd name="T77" fmla="*/ 138 h 512"/>
              <a:gd name="T78" fmla="*/ 352 w 512"/>
              <a:gd name="T79" fmla="*/ 138 h 512"/>
              <a:gd name="T80" fmla="*/ 352 w 512"/>
              <a:gd name="T81"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17"/>
                </a:move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28"/>
                  <a:pt x="373" y="128"/>
                  <a:pt x="373" y="128"/>
                </a:cubicBezTo>
                <a:cubicBezTo>
                  <a:pt x="373" y="122"/>
                  <a:pt x="368" y="117"/>
                  <a:pt x="362" y="117"/>
                </a:cubicBezTo>
                <a:close/>
                <a:moveTo>
                  <a:pt x="224" y="117"/>
                </a:moveTo>
                <a:cubicBezTo>
                  <a:pt x="288" y="117"/>
                  <a:pt x="288" y="117"/>
                  <a:pt x="288" y="117"/>
                </a:cubicBezTo>
                <a:cubicBezTo>
                  <a:pt x="288" y="138"/>
                  <a:pt x="288" y="138"/>
                  <a:pt x="288" y="138"/>
                </a:cubicBezTo>
                <a:cubicBezTo>
                  <a:pt x="224" y="138"/>
                  <a:pt x="224" y="138"/>
                  <a:pt x="224" y="138"/>
                </a:cubicBezTo>
                <a:lnTo>
                  <a:pt x="224" y="117"/>
                </a:lnTo>
                <a:close/>
                <a:moveTo>
                  <a:pt x="352" y="394"/>
                </a:moveTo>
                <a:cubicBezTo>
                  <a:pt x="160" y="394"/>
                  <a:pt x="160" y="394"/>
                  <a:pt x="160" y="394"/>
                </a:cubicBezTo>
                <a:cubicBezTo>
                  <a:pt x="160" y="138"/>
                  <a:pt x="160" y="138"/>
                  <a:pt x="160" y="138"/>
                </a:cubicBezTo>
                <a:cubicBezTo>
                  <a:pt x="202" y="138"/>
                  <a:pt x="202" y="138"/>
                  <a:pt x="202" y="138"/>
                </a:cubicBezTo>
                <a:cubicBezTo>
                  <a:pt x="202" y="149"/>
                  <a:pt x="202" y="149"/>
                  <a:pt x="202" y="149"/>
                </a:cubicBezTo>
                <a:cubicBezTo>
                  <a:pt x="202" y="155"/>
                  <a:pt x="207" y="160"/>
                  <a:pt x="213" y="160"/>
                </a:cubicBezTo>
                <a:cubicBezTo>
                  <a:pt x="298" y="160"/>
                  <a:pt x="298" y="160"/>
                  <a:pt x="298" y="160"/>
                </a:cubicBezTo>
                <a:cubicBezTo>
                  <a:pt x="304" y="160"/>
                  <a:pt x="309" y="155"/>
                  <a:pt x="309" y="149"/>
                </a:cubicBezTo>
                <a:cubicBezTo>
                  <a:pt x="309" y="138"/>
                  <a:pt x="309" y="138"/>
                  <a:pt x="309" y="138"/>
                </a:cubicBezTo>
                <a:cubicBezTo>
                  <a:pt x="352" y="138"/>
                  <a:pt x="352" y="138"/>
                  <a:pt x="352" y="138"/>
                </a:cubicBezTo>
                <a:lnTo>
                  <a:pt x="352" y="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3" name="Freeform 988">
            <a:extLst>
              <a:ext uri="{FF2B5EF4-FFF2-40B4-BE49-F238E27FC236}">
                <a16:creationId xmlns:a16="http://schemas.microsoft.com/office/drawing/2014/main" id="{4C2C0882-5BB1-4010-8DE2-E9E268DD86CD}"/>
              </a:ext>
            </a:extLst>
          </p:cNvPr>
          <p:cNvSpPr>
            <a:spLocks noChangeAspect="1" noEditPoints="1"/>
          </p:cNvSpPr>
          <p:nvPr/>
        </p:nvSpPr>
        <p:spPr bwMode="auto">
          <a:xfrm>
            <a:off x="2213520" y="3298170"/>
            <a:ext cx="367982" cy="367982"/>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4" name="Group 991">
            <a:extLst>
              <a:ext uri="{FF2B5EF4-FFF2-40B4-BE49-F238E27FC236}">
                <a16:creationId xmlns:a16="http://schemas.microsoft.com/office/drawing/2014/main" id="{BB3737D5-E921-4896-9A5B-1450B95EF6EB}"/>
              </a:ext>
            </a:extLst>
          </p:cNvPr>
          <p:cNvGrpSpPr>
            <a:grpSpLocks noChangeAspect="1"/>
          </p:cNvGrpSpPr>
          <p:nvPr/>
        </p:nvGrpSpPr>
        <p:grpSpPr bwMode="auto">
          <a:xfrm>
            <a:off x="2648895" y="3298170"/>
            <a:ext cx="369064" cy="367982"/>
            <a:chOff x="5285" y="4317"/>
            <a:chExt cx="341" cy="340"/>
          </a:xfrm>
          <a:solidFill>
            <a:schemeClr val="accent5"/>
          </a:solidFill>
        </p:grpSpPr>
        <p:sp>
          <p:nvSpPr>
            <p:cNvPr id="485" name="Freeform 992">
              <a:extLst>
                <a:ext uri="{FF2B5EF4-FFF2-40B4-BE49-F238E27FC236}">
                  <a16:creationId xmlns:a16="http://schemas.microsoft.com/office/drawing/2014/main" id="{80DAE3C3-0F5F-4C35-9A64-522EB4846377}"/>
                </a:ext>
              </a:extLst>
            </p:cNvPr>
            <p:cNvSpPr>
              <a:spLocks noEditPoints="1"/>
            </p:cNvSpPr>
            <p:nvPr/>
          </p:nvSpPr>
          <p:spPr bwMode="auto">
            <a:xfrm>
              <a:off x="5285" y="43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6" name="Freeform 993">
              <a:extLst>
                <a:ext uri="{FF2B5EF4-FFF2-40B4-BE49-F238E27FC236}">
                  <a16:creationId xmlns:a16="http://schemas.microsoft.com/office/drawing/2014/main" id="{A9D51998-6E7E-4F0B-A118-B68A4F5849B4}"/>
                </a:ext>
              </a:extLst>
            </p:cNvPr>
            <p:cNvSpPr>
              <a:spLocks noEditPoints="1"/>
            </p:cNvSpPr>
            <p:nvPr/>
          </p:nvSpPr>
          <p:spPr bwMode="auto">
            <a:xfrm>
              <a:off x="5349" y="4381"/>
              <a:ext cx="213"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7" name="Group 771">
            <a:extLst>
              <a:ext uri="{FF2B5EF4-FFF2-40B4-BE49-F238E27FC236}">
                <a16:creationId xmlns:a16="http://schemas.microsoft.com/office/drawing/2014/main" id="{2B003200-3B28-412B-A5FC-7EF8E33CB330}"/>
              </a:ext>
            </a:extLst>
          </p:cNvPr>
          <p:cNvGrpSpPr>
            <a:grpSpLocks noChangeAspect="1"/>
          </p:cNvGrpSpPr>
          <p:nvPr/>
        </p:nvGrpSpPr>
        <p:grpSpPr bwMode="auto">
          <a:xfrm>
            <a:off x="9176744" y="1700213"/>
            <a:ext cx="367631" cy="367631"/>
            <a:chOff x="6303" y="3281"/>
            <a:chExt cx="340" cy="340"/>
          </a:xfrm>
          <a:solidFill>
            <a:schemeClr val="accent2"/>
          </a:solidFill>
        </p:grpSpPr>
        <p:sp>
          <p:nvSpPr>
            <p:cNvPr id="488" name="Freeform 772">
              <a:extLst>
                <a:ext uri="{FF2B5EF4-FFF2-40B4-BE49-F238E27FC236}">
                  <a16:creationId xmlns:a16="http://schemas.microsoft.com/office/drawing/2014/main" id="{27ABD4D7-3C81-4B71-B587-2969202C8E09}"/>
                </a:ext>
              </a:extLst>
            </p:cNvPr>
            <p:cNvSpPr>
              <a:spLocks/>
            </p:cNvSpPr>
            <p:nvPr/>
          </p:nvSpPr>
          <p:spPr bwMode="auto">
            <a:xfrm>
              <a:off x="6393" y="3387"/>
              <a:ext cx="160" cy="149"/>
            </a:xfrm>
            <a:custGeom>
              <a:avLst/>
              <a:gdLst>
                <a:gd name="T0" fmla="*/ 105 w 240"/>
                <a:gd name="T1" fmla="*/ 87 h 224"/>
                <a:gd name="T2" fmla="*/ 109 w 240"/>
                <a:gd name="T3" fmla="*/ 96 h 224"/>
                <a:gd name="T4" fmla="*/ 109 w 240"/>
                <a:gd name="T5" fmla="*/ 224 h 224"/>
                <a:gd name="T6" fmla="*/ 130 w 240"/>
                <a:gd name="T7" fmla="*/ 208 h 224"/>
                <a:gd name="T8" fmla="*/ 130 w 240"/>
                <a:gd name="T9" fmla="*/ 96 h 224"/>
                <a:gd name="T10" fmla="*/ 134 w 240"/>
                <a:gd name="T11" fmla="*/ 87 h 224"/>
                <a:gd name="T12" fmla="*/ 240 w 240"/>
                <a:gd name="T13" fmla="*/ 0 h 224"/>
                <a:gd name="T14" fmla="*/ 0 w 240"/>
                <a:gd name="T15" fmla="*/ 0 h 224"/>
                <a:gd name="T16" fmla="*/ 105 w 240"/>
                <a:gd name="T17" fmla="*/ 8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24">
                  <a:moveTo>
                    <a:pt x="105" y="87"/>
                  </a:moveTo>
                  <a:cubicBezTo>
                    <a:pt x="108" y="90"/>
                    <a:pt x="109" y="93"/>
                    <a:pt x="109" y="96"/>
                  </a:cubicBezTo>
                  <a:cubicBezTo>
                    <a:pt x="109" y="224"/>
                    <a:pt x="109" y="224"/>
                    <a:pt x="109" y="224"/>
                  </a:cubicBezTo>
                  <a:cubicBezTo>
                    <a:pt x="130" y="208"/>
                    <a:pt x="130" y="208"/>
                    <a:pt x="130" y="208"/>
                  </a:cubicBezTo>
                  <a:cubicBezTo>
                    <a:pt x="130" y="96"/>
                    <a:pt x="130" y="96"/>
                    <a:pt x="130" y="96"/>
                  </a:cubicBezTo>
                  <a:cubicBezTo>
                    <a:pt x="130" y="93"/>
                    <a:pt x="132" y="90"/>
                    <a:pt x="134" y="87"/>
                  </a:cubicBezTo>
                  <a:cubicBezTo>
                    <a:pt x="240" y="0"/>
                    <a:pt x="240" y="0"/>
                    <a:pt x="240" y="0"/>
                  </a:cubicBezTo>
                  <a:cubicBezTo>
                    <a:pt x="0" y="0"/>
                    <a:pt x="0" y="0"/>
                    <a:pt x="0" y="0"/>
                  </a:cubicBezTo>
                  <a:lnTo>
                    <a:pt x="105" y="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9" name="Freeform 773">
              <a:extLst>
                <a:ext uri="{FF2B5EF4-FFF2-40B4-BE49-F238E27FC236}">
                  <a16:creationId xmlns:a16="http://schemas.microsoft.com/office/drawing/2014/main" id="{CF1D9529-B30A-463B-B93C-E548FBC2BFA8}"/>
                </a:ext>
              </a:extLst>
            </p:cNvPr>
            <p:cNvSpPr>
              <a:spLocks noEditPoints="1"/>
            </p:cNvSpPr>
            <p:nvPr/>
          </p:nvSpPr>
          <p:spPr bwMode="auto">
            <a:xfrm>
              <a:off x="6303" y="328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2 w 512"/>
                <a:gd name="T11" fmla="*/ 157 h 512"/>
                <a:gd name="T12" fmla="*/ 288 w 512"/>
                <a:gd name="T13" fmla="*/ 261 h 512"/>
                <a:gd name="T14" fmla="*/ 288 w 512"/>
                <a:gd name="T15" fmla="*/ 373 h 512"/>
                <a:gd name="T16" fmla="*/ 283 w 512"/>
                <a:gd name="T17" fmla="*/ 382 h 512"/>
                <a:gd name="T18" fmla="*/ 241 w 512"/>
                <a:gd name="T19" fmla="*/ 414 h 512"/>
                <a:gd name="T20" fmla="*/ 234 w 512"/>
                <a:gd name="T21" fmla="*/ 416 h 512"/>
                <a:gd name="T22" fmla="*/ 230 w 512"/>
                <a:gd name="T23" fmla="*/ 415 h 512"/>
                <a:gd name="T24" fmla="*/ 224 w 512"/>
                <a:gd name="T25" fmla="*/ 405 h 512"/>
                <a:gd name="T26" fmla="*/ 224 w 512"/>
                <a:gd name="T27" fmla="*/ 261 h 512"/>
                <a:gd name="T28" fmla="*/ 100 w 512"/>
                <a:gd name="T29" fmla="*/ 157 h 512"/>
                <a:gd name="T30" fmla="*/ 96 w 512"/>
                <a:gd name="T31" fmla="*/ 145 h 512"/>
                <a:gd name="T32" fmla="*/ 106 w 512"/>
                <a:gd name="T33" fmla="*/ 138 h 512"/>
                <a:gd name="T34" fmla="*/ 405 w 512"/>
                <a:gd name="T35" fmla="*/ 138 h 512"/>
                <a:gd name="T36" fmla="*/ 415 w 512"/>
                <a:gd name="T37" fmla="*/ 145 h 512"/>
                <a:gd name="T38" fmla="*/ 412 w 512"/>
                <a:gd name="T39"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2" y="157"/>
                  </a:moveTo>
                  <a:cubicBezTo>
                    <a:pt x="288" y="261"/>
                    <a:pt x="288" y="261"/>
                    <a:pt x="288" y="261"/>
                  </a:cubicBezTo>
                  <a:cubicBezTo>
                    <a:pt x="288" y="373"/>
                    <a:pt x="288" y="373"/>
                    <a:pt x="288" y="373"/>
                  </a:cubicBezTo>
                  <a:cubicBezTo>
                    <a:pt x="288" y="376"/>
                    <a:pt x="286" y="380"/>
                    <a:pt x="283" y="382"/>
                  </a:cubicBezTo>
                  <a:cubicBezTo>
                    <a:pt x="241" y="414"/>
                    <a:pt x="241" y="414"/>
                    <a:pt x="241" y="414"/>
                  </a:cubicBezTo>
                  <a:cubicBezTo>
                    <a:pt x="239" y="415"/>
                    <a:pt x="237" y="416"/>
                    <a:pt x="234" y="416"/>
                  </a:cubicBezTo>
                  <a:cubicBezTo>
                    <a:pt x="233" y="416"/>
                    <a:pt x="231" y="415"/>
                    <a:pt x="230" y="415"/>
                  </a:cubicBezTo>
                  <a:cubicBezTo>
                    <a:pt x="226" y="413"/>
                    <a:pt x="224" y="409"/>
                    <a:pt x="224" y="405"/>
                  </a:cubicBezTo>
                  <a:cubicBezTo>
                    <a:pt x="224" y="261"/>
                    <a:pt x="224" y="261"/>
                    <a:pt x="224" y="261"/>
                  </a:cubicBezTo>
                  <a:cubicBezTo>
                    <a:pt x="100" y="157"/>
                    <a:pt x="100" y="157"/>
                    <a:pt x="100" y="157"/>
                  </a:cubicBezTo>
                  <a:cubicBezTo>
                    <a:pt x="96" y="154"/>
                    <a:pt x="95" y="150"/>
                    <a:pt x="96" y="145"/>
                  </a:cubicBezTo>
                  <a:cubicBezTo>
                    <a:pt x="98" y="141"/>
                    <a:pt x="102" y="138"/>
                    <a:pt x="106" y="138"/>
                  </a:cubicBezTo>
                  <a:cubicBezTo>
                    <a:pt x="405" y="138"/>
                    <a:pt x="405" y="138"/>
                    <a:pt x="405" y="138"/>
                  </a:cubicBezTo>
                  <a:cubicBezTo>
                    <a:pt x="409" y="138"/>
                    <a:pt x="414" y="141"/>
                    <a:pt x="415" y="145"/>
                  </a:cubicBezTo>
                  <a:cubicBezTo>
                    <a:pt x="417" y="150"/>
                    <a:pt x="415" y="154"/>
                    <a:pt x="412" y="1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90" name="Group 776">
            <a:extLst>
              <a:ext uri="{FF2B5EF4-FFF2-40B4-BE49-F238E27FC236}">
                <a16:creationId xmlns:a16="http://schemas.microsoft.com/office/drawing/2014/main" id="{8765FB3A-6F0F-4946-B765-D95C88C08062}"/>
              </a:ext>
            </a:extLst>
          </p:cNvPr>
          <p:cNvGrpSpPr>
            <a:grpSpLocks noChangeAspect="1"/>
          </p:cNvGrpSpPr>
          <p:nvPr/>
        </p:nvGrpSpPr>
        <p:grpSpPr bwMode="auto">
          <a:xfrm>
            <a:off x="9611400" y="1700213"/>
            <a:ext cx="367631" cy="367631"/>
            <a:chOff x="6852" y="3483"/>
            <a:chExt cx="340" cy="340"/>
          </a:xfrm>
          <a:solidFill>
            <a:schemeClr val="accent2"/>
          </a:solidFill>
        </p:grpSpPr>
        <p:sp>
          <p:nvSpPr>
            <p:cNvPr id="491" name="Freeform 777">
              <a:extLst>
                <a:ext uri="{FF2B5EF4-FFF2-40B4-BE49-F238E27FC236}">
                  <a16:creationId xmlns:a16="http://schemas.microsoft.com/office/drawing/2014/main" id="{612DD4F0-DF81-474F-8666-684DB0A8C5EB}"/>
                </a:ext>
              </a:extLst>
            </p:cNvPr>
            <p:cNvSpPr>
              <a:spLocks noEditPoints="1"/>
            </p:cNvSpPr>
            <p:nvPr/>
          </p:nvSpPr>
          <p:spPr bwMode="auto">
            <a:xfrm>
              <a:off x="6852" y="34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2" name="Freeform 778">
              <a:extLst>
                <a:ext uri="{FF2B5EF4-FFF2-40B4-BE49-F238E27FC236}">
                  <a16:creationId xmlns:a16="http://schemas.microsoft.com/office/drawing/2014/main" id="{C1D87380-B3CB-4A2C-8CD8-695D3664FDBD}"/>
                </a:ext>
              </a:extLst>
            </p:cNvPr>
            <p:cNvSpPr>
              <a:spLocks noEditPoints="1"/>
            </p:cNvSpPr>
            <p:nvPr/>
          </p:nvSpPr>
          <p:spPr bwMode="auto">
            <a:xfrm>
              <a:off x="6915" y="3575"/>
              <a:ext cx="214" cy="184"/>
            </a:xfrm>
            <a:custGeom>
              <a:avLst/>
              <a:gdLst>
                <a:gd name="T0" fmla="*/ 139 w 322"/>
                <a:gd name="T1" fmla="*/ 278 h 278"/>
                <a:gd name="T2" fmla="*/ 135 w 322"/>
                <a:gd name="T3" fmla="*/ 277 h 278"/>
                <a:gd name="T4" fmla="*/ 129 w 322"/>
                <a:gd name="T5" fmla="*/ 267 h 278"/>
                <a:gd name="T6" fmla="*/ 129 w 322"/>
                <a:gd name="T7" fmla="*/ 123 h 278"/>
                <a:gd name="T8" fmla="*/ 5 w 322"/>
                <a:gd name="T9" fmla="*/ 19 h 278"/>
                <a:gd name="T10" fmla="*/ 1 w 322"/>
                <a:gd name="T11" fmla="*/ 7 h 278"/>
                <a:gd name="T12" fmla="*/ 11 w 322"/>
                <a:gd name="T13" fmla="*/ 0 h 278"/>
                <a:gd name="T14" fmla="*/ 310 w 322"/>
                <a:gd name="T15" fmla="*/ 0 h 278"/>
                <a:gd name="T16" fmla="*/ 320 w 322"/>
                <a:gd name="T17" fmla="*/ 7 h 278"/>
                <a:gd name="T18" fmla="*/ 317 w 322"/>
                <a:gd name="T19" fmla="*/ 19 h 278"/>
                <a:gd name="T20" fmla="*/ 193 w 322"/>
                <a:gd name="T21" fmla="*/ 123 h 278"/>
                <a:gd name="T22" fmla="*/ 193 w 322"/>
                <a:gd name="T23" fmla="*/ 235 h 278"/>
                <a:gd name="T24" fmla="*/ 188 w 322"/>
                <a:gd name="T25" fmla="*/ 244 h 278"/>
                <a:gd name="T26" fmla="*/ 146 w 322"/>
                <a:gd name="T27" fmla="*/ 276 h 278"/>
                <a:gd name="T28" fmla="*/ 139 w 322"/>
                <a:gd name="T29" fmla="*/ 278 h 278"/>
                <a:gd name="T30" fmla="*/ 41 w 322"/>
                <a:gd name="T31" fmla="*/ 22 h 278"/>
                <a:gd name="T32" fmla="*/ 146 w 322"/>
                <a:gd name="T33" fmla="*/ 109 h 278"/>
                <a:gd name="T34" fmla="*/ 150 w 322"/>
                <a:gd name="T35" fmla="*/ 118 h 278"/>
                <a:gd name="T36" fmla="*/ 150 w 322"/>
                <a:gd name="T37" fmla="*/ 246 h 278"/>
                <a:gd name="T38" fmla="*/ 171 w 322"/>
                <a:gd name="T39" fmla="*/ 230 h 278"/>
                <a:gd name="T40" fmla="*/ 171 w 322"/>
                <a:gd name="T41" fmla="*/ 118 h 278"/>
                <a:gd name="T42" fmla="*/ 175 w 322"/>
                <a:gd name="T43" fmla="*/ 109 h 278"/>
                <a:gd name="T44" fmla="*/ 281 w 322"/>
                <a:gd name="T45" fmla="*/ 22 h 278"/>
                <a:gd name="T46" fmla="*/ 41 w 322"/>
                <a:gd name="T47" fmla="*/ 2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2" h="278">
                  <a:moveTo>
                    <a:pt x="139" y="278"/>
                  </a:moveTo>
                  <a:cubicBezTo>
                    <a:pt x="138" y="278"/>
                    <a:pt x="136" y="277"/>
                    <a:pt x="135" y="277"/>
                  </a:cubicBezTo>
                  <a:cubicBezTo>
                    <a:pt x="131" y="275"/>
                    <a:pt x="129" y="271"/>
                    <a:pt x="129" y="267"/>
                  </a:cubicBezTo>
                  <a:cubicBezTo>
                    <a:pt x="129" y="123"/>
                    <a:pt x="129" y="123"/>
                    <a:pt x="129" y="123"/>
                  </a:cubicBezTo>
                  <a:cubicBezTo>
                    <a:pt x="5" y="19"/>
                    <a:pt x="5" y="19"/>
                    <a:pt x="5" y="19"/>
                  </a:cubicBezTo>
                  <a:cubicBezTo>
                    <a:pt x="1" y="16"/>
                    <a:pt x="0" y="12"/>
                    <a:pt x="1" y="7"/>
                  </a:cubicBezTo>
                  <a:cubicBezTo>
                    <a:pt x="3" y="3"/>
                    <a:pt x="7" y="0"/>
                    <a:pt x="11" y="0"/>
                  </a:cubicBezTo>
                  <a:cubicBezTo>
                    <a:pt x="310" y="0"/>
                    <a:pt x="310" y="0"/>
                    <a:pt x="310" y="0"/>
                  </a:cubicBezTo>
                  <a:cubicBezTo>
                    <a:pt x="314" y="0"/>
                    <a:pt x="319" y="3"/>
                    <a:pt x="320" y="7"/>
                  </a:cubicBezTo>
                  <a:cubicBezTo>
                    <a:pt x="322" y="12"/>
                    <a:pt x="320" y="16"/>
                    <a:pt x="317" y="19"/>
                  </a:cubicBezTo>
                  <a:cubicBezTo>
                    <a:pt x="193" y="123"/>
                    <a:pt x="193" y="123"/>
                    <a:pt x="193" y="123"/>
                  </a:cubicBezTo>
                  <a:cubicBezTo>
                    <a:pt x="193" y="235"/>
                    <a:pt x="193" y="235"/>
                    <a:pt x="193" y="235"/>
                  </a:cubicBezTo>
                  <a:cubicBezTo>
                    <a:pt x="193" y="238"/>
                    <a:pt x="191" y="242"/>
                    <a:pt x="188" y="244"/>
                  </a:cubicBezTo>
                  <a:cubicBezTo>
                    <a:pt x="146" y="276"/>
                    <a:pt x="146" y="276"/>
                    <a:pt x="146" y="276"/>
                  </a:cubicBezTo>
                  <a:cubicBezTo>
                    <a:pt x="144" y="277"/>
                    <a:pt x="142" y="278"/>
                    <a:pt x="139" y="278"/>
                  </a:cubicBezTo>
                  <a:close/>
                  <a:moveTo>
                    <a:pt x="41" y="22"/>
                  </a:moveTo>
                  <a:cubicBezTo>
                    <a:pt x="146" y="109"/>
                    <a:pt x="146" y="109"/>
                    <a:pt x="146" y="109"/>
                  </a:cubicBezTo>
                  <a:cubicBezTo>
                    <a:pt x="149" y="112"/>
                    <a:pt x="150" y="115"/>
                    <a:pt x="150" y="118"/>
                  </a:cubicBezTo>
                  <a:cubicBezTo>
                    <a:pt x="150" y="246"/>
                    <a:pt x="150" y="246"/>
                    <a:pt x="150" y="246"/>
                  </a:cubicBezTo>
                  <a:cubicBezTo>
                    <a:pt x="171" y="230"/>
                    <a:pt x="171" y="230"/>
                    <a:pt x="171" y="230"/>
                  </a:cubicBezTo>
                  <a:cubicBezTo>
                    <a:pt x="171" y="118"/>
                    <a:pt x="171" y="118"/>
                    <a:pt x="171" y="118"/>
                  </a:cubicBezTo>
                  <a:cubicBezTo>
                    <a:pt x="171" y="115"/>
                    <a:pt x="173" y="112"/>
                    <a:pt x="175" y="109"/>
                  </a:cubicBezTo>
                  <a:cubicBezTo>
                    <a:pt x="281" y="22"/>
                    <a:pt x="281" y="22"/>
                    <a:pt x="281" y="22"/>
                  </a:cubicBezTo>
                  <a:lnTo>
                    <a:pt x="41"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3" name="Freeform 606">
            <a:extLst>
              <a:ext uri="{FF2B5EF4-FFF2-40B4-BE49-F238E27FC236}">
                <a16:creationId xmlns:a16="http://schemas.microsoft.com/office/drawing/2014/main" id="{5D0C1F6E-58AC-44D4-AB82-27CEF1EBA424}"/>
              </a:ext>
            </a:extLst>
          </p:cNvPr>
          <p:cNvSpPr>
            <a:spLocks noChangeAspect="1" noEditPoints="1"/>
          </p:cNvSpPr>
          <p:nvPr/>
        </p:nvSpPr>
        <p:spPr bwMode="auto">
          <a:xfrm>
            <a:off x="472020" y="1700213"/>
            <a:ext cx="367631" cy="367631"/>
          </a:xfrm>
          <a:custGeom>
            <a:avLst/>
            <a:gdLst>
              <a:gd name="T0" fmla="*/ 0 w 512"/>
              <a:gd name="T1" fmla="*/ 256 h 512"/>
              <a:gd name="T2" fmla="*/ 512 w 512"/>
              <a:gd name="T3" fmla="*/ 256 h 512"/>
              <a:gd name="T4" fmla="*/ 341 w 512"/>
              <a:gd name="T5" fmla="*/ 416 h 512"/>
              <a:gd name="T6" fmla="*/ 311 w 512"/>
              <a:gd name="T7" fmla="*/ 371 h 512"/>
              <a:gd name="T8" fmla="*/ 332 w 512"/>
              <a:gd name="T9" fmla="*/ 336 h 512"/>
              <a:gd name="T10" fmla="*/ 370 w 512"/>
              <a:gd name="T11" fmla="*/ 370 h 512"/>
              <a:gd name="T12" fmla="*/ 373 w 512"/>
              <a:gd name="T13" fmla="*/ 384 h 512"/>
              <a:gd name="T14" fmla="*/ 373 w 512"/>
              <a:gd name="T15" fmla="*/ 309 h 512"/>
              <a:gd name="T16" fmla="*/ 320 w 512"/>
              <a:gd name="T17" fmla="*/ 309 h 512"/>
              <a:gd name="T18" fmla="*/ 298 w 512"/>
              <a:gd name="T19" fmla="*/ 298 h 512"/>
              <a:gd name="T20" fmla="*/ 309 w 512"/>
              <a:gd name="T21" fmla="*/ 277 h 512"/>
              <a:gd name="T22" fmla="*/ 276 w 512"/>
              <a:gd name="T23" fmla="*/ 266 h 512"/>
              <a:gd name="T24" fmla="*/ 171 w 512"/>
              <a:gd name="T25" fmla="*/ 266 h 512"/>
              <a:gd name="T26" fmla="*/ 96 w 512"/>
              <a:gd name="T27" fmla="*/ 256 h 512"/>
              <a:gd name="T28" fmla="*/ 181 w 512"/>
              <a:gd name="T29" fmla="*/ 245 h 512"/>
              <a:gd name="T30" fmla="*/ 224 w 512"/>
              <a:gd name="T31" fmla="*/ 288 h 512"/>
              <a:gd name="T32" fmla="*/ 266 w 512"/>
              <a:gd name="T33" fmla="*/ 245 h 512"/>
              <a:gd name="T34" fmla="*/ 330 w 512"/>
              <a:gd name="T35" fmla="*/ 277 h 512"/>
              <a:gd name="T36" fmla="*/ 352 w 512"/>
              <a:gd name="T37" fmla="*/ 288 h 512"/>
              <a:gd name="T38" fmla="*/ 298 w 512"/>
              <a:gd name="T39" fmla="*/ 224 h 512"/>
              <a:gd name="T40" fmla="*/ 245 w 512"/>
              <a:gd name="T41" fmla="*/ 213 h 512"/>
              <a:gd name="T42" fmla="*/ 202 w 512"/>
              <a:gd name="T43" fmla="*/ 192 h 512"/>
              <a:gd name="T44" fmla="*/ 192 w 512"/>
              <a:gd name="T45" fmla="*/ 224 h 512"/>
              <a:gd name="T46" fmla="*/ 96 w 512"/>
              <a:gd name="T47" fmla="*/ 213 h 512"/>
              <a:gd name="T48" fmla="*/ 181 w 512"/>
              <a:gd name="T49" fmla="*/ 202 h 512"/>
              <a:gd name="T50" fmla="*/ 192 w 512"/>
              <a:gd name="T51" fmla="*/ 170 h 512"/>
              <a:gd name="T52" fmla="*/ 213 w 512"/>
              <a:gd name="T53" fmla="*/ 138 h 512"/>
              <a:gd name="T54" fmla="*/ 181 w 512"/>
              <a:gd name="T55" fmla="*/ 128 h 512"/>
              <a:gd name="T56" fmla="*/ 256 w 512"/>
              <a:gd name="T57" fmla="*/ 117 h 512"/>
              <a:gd name="T58" fmla="*/ 256 w 512"/>
              <a:gd name="T59" fmla="*/ 138 h 512"/>
              <a:gd name="T60" fmla="*/ 234 w 512"/>
              <a:gd name="T61" fmla="*/ 170 h 512"/>
              <a:gd name="T62" fmla="*/ 266 w 512"/>
              <a:gd name="T63" fmla="*/ 181 h 512"/>
              <a:gd name="T64" fmla="*/ 298 w 512"/>
              <a:gd name="T65" fmla="*/ 202 h 512"/>
              <a:gd name="T66" fmla="*/ 373 w 512"/>
              <a:gd name="T67" fmla="*/ 288 h 512"/>
              <a:gd name="T68" fmla="*/ 373 w 512"/>
              <a:gd name="T69" fmla="*/ 309 h 512"/>
              <a:gd name="T70" fmla="*/ 352 w 512"/>
              <a:gd name="T71" fmla="*/ 384 h 512"/>
              <a:gd name="T72" fmla="*/ 330 w 512"/>
              <a:gd name="T73" fmla="*/ 384 h 512"/>
              <a:gd name="T74" fmla="*/ 341 w 512"/>
              <a:gd name="T75"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416"/>
                </a:moveTo>
                <a:cubicBezTo>
                  <a:pt x="323" y="416"/>
                  <a:pt x="309" y="401"/>
                  <a:pt x="309" y="384"/>
                </a:cubicBezTo>
                <a:cubicBezTo>
                  <a:pt x="309" y="379"/>
                  <a:pt x="310" y="375"/>
                  <a:pt x="311" y="371"/>
                </a:cubicBezTo>
                <a:cubicBezTo>
                  <a:pt x="312" y="371"/>
                  <a:pt x="312" y="371"/>
                  <a:pt x="312" y="370"/>
                </a:cubicBezTo>
                <a:cubicBezTo>
                  <a:pt x="332" y="336"/>
                  <a:pt x="332" y="336"/>
                  <a:pt x="332" y="336"/>
                </a:cubicBezTo>
                <a:cubicBezTo>
                  <a:pt x="336" y="329"/>
                  <a:pt x="346" y="329"/>
                  <a:pt x="350" y="336"/>
                </a:cubicBezTo>
                <a:cubicBezTo>
                  <a:pt x="370" y="370"/>
                  <a:pt x="370" y="370"/>
                  <a:pt x="370" y="370"/>
                </a:cubicBezTo>
                <a:cubicBezTo>
                  <a:pt x="370" y="371"/>
                  <a:pt x="370" y="371"/>
                  <a:pt x="371" y="371"/>
                </a:cubicBezTo>
                <a:cubicBezTo>
                  <a:pt x="372" y="375"/>
                  <a:pt x="373" y="379"/>
                  <a:pt x="373" y="384"/>
                </a:cubicBezTo>
                <a:cubicBezTo>
                  <a:pt x="373" y="401"/>
                  <a:pt x="359" y="416"/>
                  <a:pt x="341" y="416"/>
                </a:cubicBezTo>
                <a:close/>
                <a:moveTo>
                  <a:pt x="373" y="309"/>
                </a:moveTo>
                <a:cubicBezTo>
                  <a:pt x="362" y="309"/>
                  <a:pt x="362" y="309"/>
                  <a:pt x="362" y="309"/>
                </a:cubicBezTo>
                <a:cubicBezTo>
                  <a:pt x="320" y="309"/>
                  <a:pt x="320" y="309"/>
                  <a:pt x="320" y="309"/>
                </a:cubicBezTo>
                <a:cubicBezTo>
                  <a:pt x="309" y="309"/>
                  <a:pt x="309" y="309"/>
                  <a:pt x="309" y="309"/>
                </a:cubicBezTo>
                <a:cubicBezTo>
                  <a:pt x="303" y="309"/>
                  <a:pt x="298" y="304"/>
                  <a:pt x="298" y="298"/>
                </a:cubicBezTo>
                <a:cubicBezTo>
                  <a:pt x="298" y="292"/>
                  <a:pt x="303" y="288"/>
                  <a:pt x="309" y="288"/>
                </a:cubicBezTo>
                <a:cubicBezTo>
                  <a:pt x="309" y="277"/>
                  <a:pt x="309" y="277"/>
                  <a:pt x="309" y="277"/>
                </a:cubicBezTo>
                <a:cubicBezTo>
                  <a:pt x="309" y="268"/>
                  <a:pt x="303" y="266"/>
                  <a:pt x="298" y="266"/>
                </a:cubicBezTo>
                <a:cubicBezTo>
                  <a:pt x="276" y="266"/>
                  <a:pt x="276" y="266"/>
                  <a:pt x="276" y="266"/>
                </a:cubicBezTo>
                <a:cubicBezTo>
                  <a:pt x="271" y="291"/>
                  <a:pt x="249" y="309"/>
                  <a:pt x="224" y="309"/>
                </a:cubicBezTo>
                <a:cubicBezTo>
                  <a:pt x="198" y="309"/>
                  <a:pt x="176" y="291"/>
                  <a:pt x="171" y="266"/>
                </a:cubicBezTo>
                <a:cubicBezTo>
                  <a:pt x="106" y="266"/>
                  <a:pt x="106" y="266"/>
                  <a:pt x="106" y="266"/>
                </a:cubicBezTo>
                <a:cubicBezTo>
                  <a:pt x="100" y="266"/>
                  <a:pt x="96" y="262"/>
                  <a:pt x="96" y="256"/>
                </a:cubicBezTo>
                <a:cubicBezTo>
                  <a:pt x="96" y="250"/>
                  <a:pt x="100" y="245"/>
                  <a:pt x="106" y="245"/>
                </a:cubicBezTo>
                <a:cubicBezTo>
                  <a:pt x="181" y="245"/>
                  <a:pt x="181" y="245"/>
                  <a:pt x="181" y="245"/>
                </a:cubicBezTo>
                <a:cubicBezTo>
                  <a:pt x="187" y="245"/>
                  <a:pt x="192" y="250"/>
                  <a:pt x="192" y="256"/>
                </a:cubicBezTo>
                <a:cubicBezTo>
                  <a:pt x="192" y="273"/>
                  <a:pt x="206" y="288"/>
                  <a:pt x="224" y="288"/>
                </a:cubicBezTo>
                <a:cubicBezTo>
                  <a:pt x="241" y="288"/>
                  <a:pt x="256" y="273"/>
                  <a:pt x="256" y="256"/>
                </a:cubicBezTo>
                <a:cubicBezTo>
                  <a:pt x="256" y="250"/>
                  <a:pt x="260" y="245"/>
                  <a:pt x="266" y="245"/>
                </a:cubicBezTo>
                <a:cubicBezTo>
                  <a:pt x="298" y="245"/>
                  <a:pt x="298" y="245"/>
                  <a:pt x="298" y="245"/>
                </a:cubicBezTo>
                <a:cubicBezTo>
                  <a:pt x="311" y="245"/>
                  <a:pt x="330" y="254"/>
                  <a:pt x="330" y="277"/>
                </a:cubicBezTo>
                <a:cubicBezTo>
                  <a:pt x="330" y="288"/>
                  <a:pt x="330" y="288"/>
                  <a:pt x="330" y="288"/>
                </a:cubicBezTo>
                <a:cubicBezTo>
                  <a:pt x="352" y="288"/>
                  <a:pt x="352" y="288"/>
                  <a:pt x="352" y="288"/>
                </a:cubicBezTo>
                <a:cubicBezTo>
                  <a:pt x="352" y="277"/>
                  <a:pt x="352" y="277"/>
                  <a:pt x="352" y="277"/>
                </a:cubicBezTo>
                <a:cubicBezTo>
                  <a:pt x="352" y="272"/>
                  <a:pt x="350" y="224"/>
                  <a:pt x="298" y="224"/>
                </a:cubicBezTo>
                <a:cubicBezTo>
                  <a:pt x="256" y="224"/>
                  <a:pt x="256" y="224"/>
                  <a:pt x="256" y="224"/>
                </a:cubicBezTo>
                <a:cubicBezTo>
                  <a:pt x="250" y="224"/>
                  <a:pt x="245" y="219"/>
                  <a:pt x="245" y="213"/>
                </a:cubicBezTo>
                <a:cubicBezTo>
                  <a:pt x="245" y="192"/>
                  <a:pt x="245" y="192"/>
                  <a:pt x="245" y="192"/>
                </a:cubicBezTo>
                <a:cubicBezTo>
                  <a:pt x="202" y="192"/>
                  <a:pt x="202" y="192"/>
                  <a:pt x="202" y="192"/>
                </a:cubicBezTo>
                <a:cubicBezTo>
                  <a:pt x="202" y="213"/>
                  <a:pt x="202" y="213"/>
                  <a:pt x="202" y="213"/>
                </a:cubicBezTo>
                <a:cubicBezTo>
                  <a:pt x="202" y="219"/>
                  <a:pt x="198" y="224"/>
                  <a:pt x="192" y="224"/>
                </a:cubicBezTo>
                <a:cubicBezTo>
                  <a:pt x="106" y="224"/>
                  <a:pt x="106" y="224"/>
                  <a:pt x="106" y="224"/>
                </a:cubicBezTo>
                <a:cubicBezTo>
                  <a:pt x="100" y="224"/>
                  <a:pt x="96" y="219"/>
                  <a:pt x="96" y="213"/>
                </a:cubicBezTo>
                <a:cubicBezTo>
                  <a:pt x="96" y="207"/>
                  <a:pt x="100" y="202"/>
                  <a:pt x="106" y="202"/>
                </a:cubicBezTo>
                <a:cubicBezTo>
                  <a:pt x="181" y="202"/>
                  <a:pt x="181" y="202"/>
                  <a:pt x="181" y="202"/>
                </a:cubicBezTo>
                <a:cubicBezTo>
                  <a:pt x="181" y="181"/>
                  <a:pt x="181" y="181"/>
                  <a:pt x="181" y="181"/>
                </a:cubicBezTo>
                <a:cubicBezTo>
                  <a:pt x="181" y="175"/>
                  <a:pt x="186" y="170"/>
                  <a:pt x="192" y="170"/>
                </a:cubicBezTo>
                <a:cubicBezTo>
                  <a:pt x="213" y="170"/>
                  <a:pt x="213" y="170"/>
                  <a:pt x="213" y="170"/>
                </a:cubicBezTo>
                <a:cubicBezTo>
                  <a:pt x="213" y="138"/>
                  <a:pt x="213" y="138"/>
                  <a:pt x="213" y="138"/>
                </a:cubicBezTo>
                <a:cubicBezTo>
                  <a:pt x="192" y="138"/>
                  <a:pt x="192" y="138"/>
                  <a:pt x="192" y="138"/>
                </a:cubicBezTo>
                <a:cubicBezTo>
                  <a:pt x="186" y="138"/>
                  <a:pt x="181" y="134"/>
                  <a:pt x="181" y="128"/>
                </a:cubicBezTo>
                <a:cubicBezTo>
                  <a:pt x="181" y="122"/>
                  <a:pt x="186" y="117"/>
                  <a:pt x="192" y="117"/>
                </a:cubicBezTo>
                <a:cubicBezTo>
                  <a:pt x="256" y="117"/>
                  <a:pt x="256" y="117"/>
                  <a:pt x="256" y="117"/>
                </a:cubicBezTo>
                <a:cubicBezTo>
                  <a:pt x="262" y="117"/>
                  <a:pt x="266" y="122"/>
                  <a:pt x="266" y="128"/>
                </a:cubicBezTo>
                <a:cubicBezTo>
                  <a:pt x="266" y="134"/>
                  <a:pt x="262" y="138"/>
                  <a:pt x="256" y="138"/>
                </a:cubicBezTo>
                <a:cubicBezTo>
                  <a:pt x="234" y="138"/>
                  <a:pt x="234" y="138"/>
                  <a:pt x="234" y="138"/>
                </a:cubicBezTo>
                <a:cubicBezTo>
                  <a:pt x="234" y="170"/>
                  <a:pt x="234" y="170"/>
                  <a:pt x="234" y="170"/>
                </a:cubicBezTo>
                <a:cubicBezTo>
                  <a:pt x="256" y="170"/>
                  <a:pt x="256" y="170"/>
                  <a:pt x="256" y="170"/>
                </a:cubicBezTo>
                <a:cubicBezTo>
                  <a:pt x="262" y="170"/>
                  <a:pt x="266" y="175"/>
                  <a:pt x="266" y="181"/>
                </a:cubicBezTo>
                <a:cubicBezTo>
                  <a:pt x="266" y="202"/>
                  <a:pt x="266" y="202"/>
                  <a:pt x="266" y="202"/>
                </a:cubicBezTo>
                <a:cubicBezTo>
                  <a:pt x="298" y="202"/>
                  <a:pt x="298" y="202"/>
                  <a:pt x="298" y="202"/>
                </a:cubicBezTo>
                <a:cubicBezTo>
                  <a:pt x="357" y="202"/>
                  <a:pt x="373" y="251"/>
                  <a:pt x="373" y="277"/>
                </a:cubicBezTo>
                <a:cubicBezTo>
                  <a:pt x="373" y="288"/>
                  <a:pt x="373" y="288"/>
                  <a:pt x="373" y="288"/>
                </a:cubicBezTo>
                <a:cubicBezTo>
                  <a:pt x="379" y="288"/>
                  <a:pt x="384" y="292"/>
                  <a:pt x="384" y="298"/>
                </a:cubicBezTo>
                <a:cubicBezTo>
                  <a:pt x="384" y="304"/>
                  <a:pt x="379" y="309"/>
                  <a:pt x="373" y="309"/>
                </a:cubicBezTo>
                <a:close/>
                <a:moveTo>
                  <a:pt x="351" y="380"/>
                </a:moveTo>
                <a:cubicBezTo>
                  <a:pt x="351" y="381"/>
                  <a:pt x="352" y="382"/>
                  <a:pt x="352" y="384"/>
                </a:cubicBezTo>
                <a:cubicBezTo>
                  <a:pt x="352" y="390"/>
                  <a:pt x="347" y="394"/>
                  <a:pt x="341" y="394"/>
                </a:cubicBezTo>
                <a:cubicBezTo>
                  <a:pt x="335" y="394"/>
                  <a:pt x="330" y="390"/>
                  <a:pt x="330" y="384"/>
                </a:cubicBezTo>
                <a:cubicBezTo>
                  <a:pt x="330" y="382"/>
                  <a:pt x="331" y="381"/>
                  <a:pt x="331" y="380"/>
                </a:cubicBezTo>
                <a:cubicBezTo>
                  <a:pt x="341" y="363"/>
                  <a:pt x="341" y="363"/>
                  <a:pt x="341" y="363"/>
                </a:cubicBezTo>
                <a:lnTo>
                  <a:pt x="351" y="3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4" name="Group 609">
            <a:extLst>
              <a:ext uri="{FF2B5EF4-FFF2-40B4-BE49-F238E27FC236}">
                <a16:creationId xmlns:a16="http://schemas.microsoft.com/office/drawing/2014/main" id="{2D8C8C6A-6F69-4BED-8310-6CB793A4AE6B}"/>
              </a:ext>
            </a:extLst>
          </p:cNvPr>
          <p:cNvGrpSpPr>
            <a:grpSpLocks noChangeAspect="1"/>
          </p:cNvGrpSpPr>
          <p:nvPr/>
        </p:nvGrpSpPr>
        <p:grpSpPr bwMode="auto">
          <a:xfrm>
            <a:off x="906676" y="1700213"/>
            <a:ext cx="367631" cy="367631"/>
            <a:chOff x="2715" y="2414"/>
            <a:chExt cx="340" cy="340"/>
          </a:xfrm>
          <a:solidFill>
            <a:schemeClr val="accent1"/>
          </a:solidFill>
        </p:grpSpPr>
        <p:sp>
          <p:nvSpPr>
            <p:cNvPr id="495" name="Freeform 610">
              <a:extLst>
                <a:ext uri="{FF2B5EF4-FFF2-40B4-BE49-F238E27FC236}">
                  <a16:creationId xmlns:a16="http://schemas.microsoft.com/office/drawing/2014/main" id="{E445CCC5-EA5F-426B-9B7B-A38647BEE027}"/>
                </a:ext>
              </a:extLst>
            </p:cNvPr>
            <p:cNvSpPr>
              <a:spLocks noEditPoints="1"/>
            </p:cNvSpPr>
            <p:nvPr/>
          </p:nvSpPr>
          <p:spPr bwMode="auto">
            <a:xfrm>
              <a:off x="2779" y="2492"/>
              <a:ext cx="191" cy="198"/>
            </a:xfrm>
            <a:custGeom>
              <a:avLst/>
              <a:gdLst>
                <a:gd name="T0" fmla="*/ 277 w 288"/>
                <a:gd name="T1" fmla="*/ 192 h 299"/>
                <a:gd name="T2" fmla="*/ 224 w 288"/>
                <a:gd name="T3" fmla="*/ 192 h 299"/>
                <a:gd name="T4" fmla="*/ 202 w 288"/>
                <a:gd name="T5" fmla="*/ 181 h 299"/>
                <a:gd name="T6" fmla="*/ 213 w 288"/>
                <a:gd name="T7" fmla="*/ 160 h 299"/>
                <a:gd name="T8" fmla="*/ 180 w 288"/>
                <a:gd name="T9" fmla="*/ 149 h 299"/>
                <a:gd name="T10" fmla="*/ 75 w 288"/>
                <a:gd name="T11" fmla="*/ 149 h 299"/>
                <a:gd name="T12" fmla="*/ 0 w 288"/>
                <a:gd name="T13" fmla="*/ 139 h 299"/>
                <a:gd name="T14" fmla="*/ 85 w 288"/>
                <a:gd name="T15" fmla="*/ 128 h 299"/>
                <a:gd name="T16" fmla="*/ 128 w 288"/>
                <a:gd name="T17" fmla="*/ 171 h 299"/>
                <a:gd name="T18" fmla="*/ 170 w 288"/>
                <a:gd name="T19" fmla="*/ 128 h 299"/>
                <a:gd name="T20" fmla="*/ 234 w 288"/>
                <a:gd name="T21" fmla="*/ 160 h 299"/>
                <a:gd name="T22" fmla="*/ 256 w 288"/>
                <a:gd name="T23" fmla="*/ 171 h 299"/>
                <a:gd name="T24" fmla="*/ 202 w 288"/>
                <a:gd name="T25" fmla="*/ 107 h 299"/>
                <a:gd name="T26" fmla="*/ 149 w 288"/>
                <a:gd name="T27" fmla="*/ 96 h 299"/>
                <a:gd name="T28" fmla="*/ 106 w 288"/>
                <a:gd name="T29" fmla="*/ 75 h 299"/>
                <a:gd name="T30" fmla="*/ 96 w 288"/>
                <a:gd name="T31" fmla="*/ 107 h 299"/>
                <a:gd name="T32" fmla="*/ 0 w 288"/>
                <a:gd name="T33" fmla="*/ 96 h 299"/>
                <a:gd name="T34" fmla="*/ 85 w 288"/>
                <a:gd name="T35" fmla="*/ 85 h 299"/>
                <a:gd name="T36" fmla="*/ 96 w 288"/>
                <a:gd name="T37" fmla="*/ 53 h 299"/>
                <a:gd name="T38" fmla="*/ 117 w 288"/>
                <a:gd name="T39" fmla="*/ 21 h 299"/>
                <a:gd name="T40" fmla="*/ 85 w 288"/>
                <a:gd name="T41" fmla="*/ 11 h 299"/>
                <a:gd name="T42" fmla="*/ 160 w 288"/>
                <a:gd name="T43" fmla="*/ 0 h 299"/>
                <a:gd name="T44" fmla="*/ 160 w 288"/>
                <a:gd name="T45" fmla="*/ 21 h 299"/>
                <a:gd name="T46" fmla="*/ 138 w 288"/>
                <a:gd name="T47" fmla="*/ 53 h 299"/>
                <a:gd name="T48" fmla="*/ 170 w 288"/>
                <a:gd name="T49" fmla="*/ 64 h 299"/>
                <a:gd name="T50" fmla="*/ 202 w 288"/>
                <a:gd name="T51" fmla="*/ 85 h 299"/>
                <a:gd name="T52" fmla="*/ 277 w 288"/>
                <a:gd name="T53" fmla="*/ 171 h 299"/>
                <a:gd name="T54" fmla="*/ 275 w 288"/>
                <a:gd name="T55" fmla="*/ 254 h 299"/>
                <a:gd name="T56" fmla="*/ 245 w 288"/>
                <a:gd name="T57" fmla="*/ 299 h 299"/>
                <a:gd name="T58" fmla="*/ 215 w 288"/>
                <a:gd name="T59" fmla="*/ 254 h 299"/>
                <a:gd name="T60" fmla="*/ 236 w 288"/>
                <a:gd name="T61" fmla="*/ 219 h 299"/>
                <a:gd name="T62" fmla="*/ 274 w 288"/>
                <a:gd name="T63" fmla="*/ 253 h 299"/>
                <a:gd name="T64" fmla="*/ 256 w 288"/>
                <a:gd name="T65" fmla="*/ 267 h 299"/>
                <a:gd name="T66" fmla="*/ 245 w 288"/>
                <a:gd name="T67" fmla="*/ 246 h 299"/>
                <a:gd name="T68" fmla="*/ 234 w 288"/>
                <a:gd name="T69" fmla="*/ 267 h 299"/>
                <a:gd name="T70" fmla="*/ 256 w 288"/>
                <a:gd name="T71" fmla="*/ 26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99">
                  <a:moveTo>
                    <a:pt x="288" y="181"/>
                  </a:moveTo>
                  <a:cubicBezTo>
                    <a:pt x="288" y="187"/>
                    <a:pt x="283" y="192"/>
                    <a:pt x="277" y="192"/>
                  </a:cubicBezTo>
                  <a:cubicBezTo>
                    <a:pt x="266" y="192"/>
                    <a:pt x="266" y="192"/>
                    <a:pt x="266" y="192"/>
                  </a:cubicBezTo>
                  <a:cubicBezTo>
                    <a:pt x="224" y="192"/>
                    <a:pt x="224" y="192"/>
                    <a:pt x="224" y="192"/>
                  </a:cubicBezTo>
                  <a:cubicBezTo>
                    <a:pt x="213" y="192"/>
                    <a:pt x="213" y="192"/>
                    <a:pt x="213" y="192"/>
                  </a:cubicBezTo>
                  <a:cubicBezTo>
                    <a:pt x="207" y="192"/>
                    <a:pt x="202" y="187"/>
                    <a:pt x="202" y="181"/>
                  </a:cubicBezTo>
                  <a:cubicBezTo>
                    <a:pt x="202" y="175"/>
                    <a:pt x="207" y="171"/>
                    <a:pt x="213" y="171"/>
                  </a:cubicBezTo>
                  <a:cubicBezTo>
                    <a:pt x="213" y="160"/>
                    <a:pt x="213" y="160"/>
                    <a:pt x="213" y="160"/>
                  </a:cubicBezTo>
                  <a:cubicBezTo>
                    <a:pt x="213" y="151"/>
                    <a:pt x="207" y="149"/>
                    <a:pt x="202" y="149"/>
                  </a:cubicBezTo>
                  <a:cubicBezTo>
                    <a:pt x="180" y="149"/>
                    <a:pt x="180" y="149"/>
                    <a:pt x="180" y="149"/>
                  </a:cubicBezTo>
                  <a:cubicBezTo>
                    <a:pt x="175" y="174"/>
                    <a:pt x="153" y="192"/>
                    <a:pt x="128" y="192"/>
                  </a:cubicBezTo>
                  <a:cubicBezTo>
                    <a:pt x="102" y="192"/>
                    <a:pt x="80" y="174"/>
                    <a:pt x="75" y="149"/>
                  </a:cubicBezTo>
                  <a:cubicBezTo>
                    <a:pt x="10" y="149"/>
                    <a:pt x="10" y="149"/>
                    <a:pt x="10" y="149"/>
                  </a:cubicBezTo>
                  <a:cubicBezTo>
                    <a:pt x="4" y="149"/>
                    <a:pt x="0" y="145"/>
                    <a:pt x="0" y="139"/>
                  </a:cubicBezTo>
                  <a:cubicBezTo>
                    <a:pt x="0" y="133"/>
                    <a:pt x="4" y="128"/>
                    <a:pt x="10" y="128"/>
                  </a:cubicBezTo>
                  <a:cubicBezTo>
                    <a:pt x="85" y="128"/>
                    <a:pt x="85" y="128"/>
                    <a:pt x="85" y="128"/>
                  </a:cubicBezTo>
                  <a:cubicBezTo>
                    <a:pt x="91" y="128"/>
                    <a:pt x="96" y="133"/>
                    <a:pt x="96" y="139"/>
                  </a:cubicBezTo>
                  <a:cubicBezTo>
                    <a:pt x="96" y="156"/>
                    <a:pt x="110" y="171"/>
                    <a:pt x="128" y="171"/>
                  </a:cubicBezTo>
                  <a:cubicBezTo>
                    <a:pt x="145" y="171"/>
                    <a:pt x="160" y="156"/>
                    <a:pt x="160" y="139"/>
                  </a:cubicBezTo>
                  <a:cubicBezTo>
                    <a:pt x="160" y="133"/>
                    <a:pt x="164" y="128"/>
                    <a:pt x="170" y="128"/>
                  </a:cubicBezTo>
                  <a:cubicBezTo>
                    <a:pt x="202" y="128"/>
                    <a:pt x="202" y="128"/>
                    <a:pt x="202" y="128"/>
                  </a:cubicBezTo>
                  <a:cubicBezTo>
                    <a:pt x="215" y="128"/>
                    <a:pt x="234" y="137"/>
                    <a:pt x="234" y="160"/>
                  </a:cubicBezTo>
                  <a:cubicBezTo>
                    <a:pt x="234" y="171"/>
                    <a:pt x="234" y="171"/>
                    <a:pt x="234" y="171"/>
                  </a:cubicBezTo>
                  <a:cubicBezTo>
                    <a:pt x="256" y="171"/>
                    <a:pt x="256" y="171"/>
                    <a:pt x="256" y="171"/>
                  </a:cubicBezTo>
                  <a:cubicBezTo>
                    <a:pt x="256" y="160"/>
                    <a:pt x="256" y="160"/>
                    <a:pt x="256" y="160"/>
                  </a:cubicBezTo>
                  <a:cubicBezTo>
                    <a:pt x="256" y="155"/>
                    <a:pt x="254" y="107"/>
                    <a:pt x="202" y="107"/>
                  </a:cubicBezTo>
                  <a:cubicBezTo>
                    <a:pt x="160" y="107"/>
                    <a:pt x="160" y="107"/>
                    <a:pt x="160" y="107"/>
                  </a:cubicBezTo>
                  <a:cubicBezTo>
                    <a:pt x="154" y="107"/>
                    <a:pt x="149" y="102"/>
                    <a:pt x="149" y="96"/>
                  </a:cubicBezTo>
                  <a:cubicBezTo>
                    <a:pt x="149" y="75"/>
                    <a:pt x="149" y="75"/>
                    <a:pt x="149" y="75"/>
                  </a:cubicBezTo>
                  <a:cubicBezTo>
                    <a:pt x="106" y="75"/>
                    <a:pt x="106" y="75"/>
                    <a:pt x="106" y="75"/>
                  </a:cubicBezTo>
                  <a:cubicBezTo>
                    <a:pt x="106" y="96"/>
                    <a:pt x="106" y="96"/>
                    <a:pt x="106" y="96"/>
                  </a:cubicBezTo>
                  <a:cubicBezTo>
                    <a:pt x="106" y="102"/>
                    <a:pt x="102" y="107"/>
                    <a:pt x="96" y="107"/>
                  </a:cubicBezTo>
                  <a:cubicBezTo>
                    <a:pt x="10" y="107"/>
                    <a:pt x="10" y="107"/>
                    <a:pt x="10" y="107"/>
                  </a:cubicBezTo>
                  <a:cubicBezTo>
                    <a:pt x="4" y="107"/>
                    <a:pt x="0" y="102"/>
                    <a:pt x="0" y="96"/>
                  </a:cubicBezTo>
                  <a:cubicBezTo>
                    <a:pt x="0" y="90"/>
                    <a:pt x="4" y="85"/>
                    <a:pt x="10" y="85"/>
                  </a:cubicBezTo>
                  <a:cubicBezTo>
                    <a:pt x="85" y="85"/>
                    <a:pt x="85" y="85"/>
                    <a:pt x="85" y="85"/>
                  </a:cubicBezTo>
                  <a:cubicBezTo>
                    <a:pt x="85" y="64"/>
                    <a:pt x="85" y="64"/>
                    <a:pt x="85" y="64"/>
                  </a:cubicBezTo>
                  <a:cubicBezTo>
                    <a:pt x="85" y="58"/>
                    <a:pt x="90" y="53"/>
                    <a:pt x="96" y="53"/>
                  </a:cubicBezTo>
                  <a:cubicBezTo>
                    <a:pt x="117" y="53"/>
                    <a:pt x="117" y="53"/>
                    <a:pt x="117" y="53"/>
                  </a:cubicBezTo>
                  <a:cubicBezTo>
                    <a:pt x="117" y="21"/>
                    <a:pt x="117" y="21"/>
                    <a:pt x="117" y="21"/>
                  </a:cubicBezTo>
                  <a:cubicBezTo>
                    <a:pt x="96" y="21"/>
                    <a:pt x="96" y="21"/>
                    <a:pt x="96" y="21"/>
                  </a:cubicBezTo>
                  <a:cubicBezTo>
                    <a:pt x="90" y="21"/>
                    <a:pt x="85" y="17"/>
                    <a:pt x="85" y="11"/>
                  </a:cubicBezTo>
                  <a:cubicBezTo>
                    <a:pt x="85" y="5"/>
                    <a:pt x="90" y="0"/>
                    <a:pt x="96" y="0"/>
                  </a:cubicBezTo>
                  <a:cubicBezTo>
                    <a:pt x="160" y="0"/>
                    <a:pt x="160" y="0"/>
                    <a:pt x="160" y="0"/>
                  </a:cubicBezTo>
                  <a:cubicBezTo>
                    <a:pt x="166" y="0"/>
                    <a:pt x="170" y="5"/>
                    <a:pt x="170" y="11"/>
                  </a:cubicBezTo>
                  <a:cubicBezTo>
                    <a:pt x="170" y="17"/>
                    <a:pt x="166" y="21"/>
                    <a:pt x="160" y="21"/>
                  </a:cubicBezTo>
                  <a:cubicBezTo>
                    <a:pt x="138" y="21"/>
                    <a:pt x="138" y="21"/>
                    <a:pt x="138" y="21"/>
                  </a:cubicBezTo>
                  <a:cubicBezTo>
                    <a:pt x="138" y="53"/>
                    <a:pt x="138" y="53"/>
                    <a:pt x="138" y="53"/>
                  </a:cubicBezTo>
                  <a:cubicBezTo>
                    <a:pt x="160" y="53"/>
                    <a:pt x="160" y="53"/>
                    <a:pt x="160" y="53"/>
                  </a:cubicBezTo>
                  <a:cubicBezTo>
                    <a:pt x="166" y="53"/>
                    <a:pt x="170" y="58"/>
                    <a:pt x="170" y="64"/>
                  </a:cubicBezTo>
                  <a:cubicBezTo>
                    <a:pt x="170" y="85"/>
                    <a:pt x="170" y="85"/>
                    <a:pt x="170" y="85"/>
                  </a:cubicBezTo>
                  <a:cubicBezTo>
                    <a:pt x="202" y="85"/>
                    <a:pt x="202" y="85"/>
                    <a:pt x="202" y="85"/>
                  </a:cubicBezTo>
                  <a:cubicBezTo>
                    <a:pt x="261" y="85"/>
                    <a:pt x="277" y="134"/>
                    <a:pt x="277" y="160"/>
                  </a:cubicBezTo>
                  <a:cubicBezTo>
                    <a:pt x="277" y="171"/>
                    <a:pt x="277" y="171"/>
                    <a:pt x="277" y="171"/>
                  </a:cubicBezTo>
                  <a:cubicBezTo>
                    <a:pt x="283" y="171"/>
                    <a:pt x="288" y="175"/>
                    <a:pt x="288" y="181"/>
                  </a:cubicBezTo>
                  <a:close/>
                  <a:moveTo>
                    <a:pt x="275" y="254"/>
                  </a:moveTo>
                  <a:cubicBezTo>
                    <a:pt x="276" y="258"/>
                    <a:pt x="277" y="262"/>
                    <a:pt x="277" y="267"/>
                  </a:cubicBezTo>
                  <a:cubicBezTo>
                    <a:pt x="277" y="284"/>
                    <a:pt x="263" y="299"/>
                    <a:pt x="245" y="299"/>
                  </a:cubicBezTo>
                  <a:cubicBezTo>
                    <a:pt x="227" y="299"/>
                    <a:pt x="213" y="284"/>
                    <a:pt x="213" y="267"/>
                  </a:cubicBezTo>
                  <a:cubicBezTo>
                    <a:pt x="213" y="262"/>
                    <a:pt x="214" y="258"/>
                    <a:pt x="215" y="254"/>
                  </a:cubicBezTo>
                  <a:cubicBezTo>
                    <a:pt x="216" y="254"/>
                    <a:pt x="216" y="254"/>
                    <a:pt x="216" y="253"/>
                  </a:cubicBezTo>
                  <a:cubicBezTo>
                    <a:pt x="236" y="219"/>
                    <a:pt x="236" y="219"/>
                    <a:pt x="236" y="219"/>
                  </a:cubicBezTo>
                  <a:cubicBezTo>
                    <a:pt x="240" y="212"/>
                    <a:pt x="250" y="212"/>
                    <a:pt x="254" y="219"/>
                  </a:cubicBezTo>
                  <a:cubicBezTo>
                    <a:pt x="274" y="253"/>
                    <a:pt x="274" y="253"/>
                    <a:pt x="274" y="253"/>
                  </a:cubicBezTo>
                  <a:cubicBezTo>
                    <a:pt x="274" y="254"/>
                    <a:pt x="274" y="254"/>
                    <a:pt x="275" y="254"/>
                  </a:cubicBezTo>
                  <a:close/>
                  <a:moveTo>
                    <a:pt x="256" y="267"/>
                  </a:moveTo>
                  <a:cubicBezTo>
                    <a:pt x="256" y="265"/>
                    <a:pt x="255" y="264"/>
                    <a:pt x="255" y="263"/>
                  </a:cubicBezTo>
                  <a:cubicBezTo>
                    <a:pt x="245" y="246"/>
                    <a:pt x="245" y="246"/>
                    <a:pt x="245" y="246"/>
                  </a:cubicBezTo>
                  <a:cubicBezTo>
                    <a:pt x="235" y="263"/>
                    <a:pt x="235" y="263"/>
                    <a:pt x="235" y="263"/>
                  </a:cubicBezTo>
                  <a:cubicBezTo>
                    <a:pt x="235" y="264"/>
                    <a:pt x="234" y="265"/>
                    <a:pt x="234" y="267"/>
                  </a:cubicBezTo>
                  <a:cubicBezTo>
                    <a:pt x="234" y="273"/>
                    <a:pt x="239" y="277"/>
                    <a:pt x="245" y="277"/>
                  </a:cubicBezTo>
                  <a:cubicBezTo>
                    <a:pt x="251" y="277"/>
                    <a:pt x="256" y="273"/>
                    <a:pt x="256" y="2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6" name="Freeform 611">
              <a:extLst>
                <a:ext uri="{FF2B5EF4-FFF2-40B4-BE49-F238E27FC236}">
                  <a16:creationId xmlns:a16="http://schemas.microsoft.com/office/drawing/2014/main" id="{886DA71B-27BE-4E81-A0F5-7344275D7A43}"/>
                </a:ext>
              </a:extLst>
            </p:cNvPr>
            <p:cNvSpPr>
              <a:spLocks noEditPoints="1"/>
            </p:cNvSpPr>
            <p:nvPr/>
          </p:nvSpPr>
          <p:spPr bwMode="auto">
            <a:xfrm>
              <a:off x="2715" y="24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7" name="Freeform 624">
            <a:extLst>
              <a:ext uri="{FF2B5EF4-FFF2-40B4-BE49-F238E27FC236}">
                <a16:creationId xmlns:a16="http://schemas.microsoft.com/office/drawing/2014/main" id="{8006966C-4A6C-438F-B9DE-8A522D482E26}"/>
              </a:ext>
            </a:extLst>
          </p:cNvPr>
          <p:cNvSpPr>
            <a:spLocks noChangeAspect="1" noEditPoints="1"/>
          </p:cNvSpPr>
          <p:nvPr/>
        </p:nvSpPr>
        <p:spPr bwMode="auto">
          <a:xfrm>
            <a:off x="8305269" y="1700213"/>
            <a:ext cx="368713" cy="367631"/>
          </a:xfrm>
          <a:custGeom>
            <a:avLst/>
            <a:gdLst>
              <a:gd name="T0" fmla="*/ 245 w 512"/>
              <a:gd name="T1" fmla="*/ 118 h 512"/>
              <a:gd name="T2" fmla="*/ 245 w 512"/>
              <a:gd name="T3" fmla="*/ 358 h 512"/>
              <a:gd name="T4" fmla="*/ 243 w 512"/>
              <a:gd name="T5" fmla="*/ 356 h 512"/>
              <a:gd name="T6" fmla="*/ 242 w 512"/>
              <a:gd name="T7" fmla="*/ 355 h 512"/>
              <a:gd name="T8" fmla="*/ 220 w 512"/>
              <a:gd name="T9" fmla="*/ 317 h 512"/>
              <a:gd name="T10" fmla="*/ 221 w 512"/>
              <a:gd name="T11" fmla="*/ 316 h 512"/>
              <a:gd name="T12" fmla="*/ 226 w 512"/>
              <a:gd name="T13" fmla="*/ 310 h 512"/>
              <a:gd name="T14" fmla="*/ 225 w 512"/>
              <a:gd name="T15" fmla="*/ 295 h 512"/>
              <a:gd name="T16" fmla="*/ 213 w 512"/>
              <a:gd name="T17" fmla="*/ 294 h 512"/>
              <a:gd name="T18" fmla="*/ 207 w 512"/>
              <a:gd name="T19" fmla="*/ 255 h 512"/>
              <a:gd name="T20" fmla="*/ 210 w 512"/>
              <a:gd name="T21" fmla="*/ 253 h 512"/>
              <a:gd name="T22" fmla="*/ 231 w 512"/>
              <a:gd name="T23" fmla="*/ 231 h 512"/>
              <a:gd name="T24" fmla="*/ 231 w 512"/>
              <a:gd name="T25" fmla="*/ 216 h 512"/>
              <a:gd name="T26" fmla="*/ 216 w 512"/>
              <a:gd name="T27" fmla="*/ 216 h 512"/>
              <a:gd name="T28" fmla="*/ 204 w 512"/>
              <a:gd name="T29" fmla="*/ 228 h 512"/>
              <a:gd name="T30" fmla="*/ 202 w 512"/>
              <a:gd name="T31" fmla="*/ 195 h 512"/>
              <a:gd name="T32" fmla="*/ 205 w 512"/>
              <a:gd name="T33" fmla="*/ 194 h 512"/>
              <a:gd name="T34" fmla="*/ 231 w 512"/>
              <a:gd name="T35" fmla="*/ 167 h 512"/>
              <a:gd name="T36" fmla="*/ 231 w 512"/>
              <a:gd name="T37" fmla="*/ 152 h 512"/>
              <a:gd name="T38" fmla="*/ 216 w 512"/>
              <a:gd name="T39" fmla="*/ 152 h 512"/>
              <a:gd name="T40" fmla="*/ 203 w 512"/>
              <a:gd name="T41" fmla="*/ 165 h 512"/>
              <a:gd name="T42" fmla="*/ 245 w 512"/>
              <a:gd name="T43" fmla="*/ 118 h 512"/>
              <a:gd name="T44" fmla="*/ 266 w 512"/>
              <a:gd name="T45" fmla="*/ 118 h 512"/>
              <a:gd name="T46" fmla="*/ 266 w 512"/>
              <a:gd name="T47" fmla="*/ 358 h 512"/>
              <a:gd name="T48" fmla="*/ 269 w 512"/>
              <a:gd name="T49" fmla="*/ 355 h 512"/>
              <a:gd name="T50" fmla="*/ 299 w 512"/>
              <a:gd name="T51" fmla="*/ 282 h 512"/>
              <a:gd name="T52" fmla="*/ 280 w 512"/>
              <a:gd name="T53" fmla="*/ 263 h 512"/>
              <a:gd name="T54" fmla="*/ 280 w 512"/>
              <a:gd name="T55" fmla="*/ 248 h 512"/>
              <a:gd name="T56" fmla="*/ 295 w 512"/>
              <a:gd name="T57" fmla="*/ 248 h 512"/>
              <a:gd name="T58" fmla="*/ 303 w 512"/>
              <a:gd name="T59" fmla="*/ 256 h 512"/>
              <a:gd name="T60" fmla="*/ 307 w 512"/>
              <a:gd name="T61" fmla="*/ 213 h 512"/>
              <a:gd name="T62" fmla="*/ 301 w 512"/>
              <a:gd name="T63" fmla="*/ 210 h 512"/>
              <a:gd name="T64" fmla="*/ 280 w 512"/>
              <a:gd name="T65" fmla="*/ 189 h 512"/>
              <a:gd name="T66" fmla="*/ 280 w 512"/>
              <a:gd name="T67" fmla="*/ 173 h 512"/>
              <a:gd name="T68" fmla="*/ 295 w 512"/>
              <a:gd name="T69" fmla="*/ 173 h 512"/>
              <a:gd name="T70" fmla="*/ 309 w 512"/>
              <a:gd name="T71" fmla="*/ 187 h 512"/>
              <a:gd name="T72" fmla="*/ 309 w 512"/>
              <a:gd name="T73" fmla="*/ 170 h 512"/>
              <a:gd name="T74" fmla="*/ 266 w 512"/>
              <a:gd name="T75" fmla="*/ 118 h 512"/>
              <a:gd name="T76" fmla="*/ 512 w 512"/>
              <a:gd name="T77" fmla="*/ 256 h 512"/>
              <a:gd name="T78" fmla="*/ 256 w 512"/>
              <a:gd name="T79" fmla="*/ 512 h 512"/>
              <a:gd name="T80" fmla="*/ 0 w 512"/>
              <a:gd name="T81" fmla="*/ 256 h 512"/>
              <a:gd name="T82" fmla="*/ 256 w 512"/>
              <a:gd name="T83" fmla="*/ 0 h 512"/>
              <a:gd name="T84" fmla="*/ 512 w 512"/>
              <a:gd name="T85" fmla="*/ 256 h 512"/>
              <a:gd name="T86" fmla="*/ 330 w 512"/>
              <a:gd name="T87" fmla="*/ 170 h 512"/>
              <a:gd name="T88" fmla="*/ 256 w 512"/>
              <a:gd name="T89" fmla="*/ 96 h 512"/>
              <a:gd name="T90" fmla="*/ 181 w 512"/>
              <a:gd name="T91" fmla="*/ 170 h 512"/>
              <a:gd name="T92" fmla="*/ 226 w 512"/>
              <a:gd name="T93" fmla="*/ 369 h 512"/>
              <a:gd name="T94" fmla="*/ 245 w 512"/>
              <a:gd name="T95" fmla="*/ 382 h 512"/>
              <a:gd name="T96" fmla="*/ 245 w 512"/>
              <a:gd name="T97" fmla="*/ 405 h 512"/>
              <a:gd name="T98" fmla="*/ 256 w 512"/>
              <a:gd name="T99" fmla="*/ 416 h 512"/>
              <a:gd name="T100" fmla="*/ 266 w 512"/>
              <a:gd name="T101" fmla="*/ 405 h 512"/>
              <a:gd name="T102" fmla="*/ 266 w 512"/>
              <a:gd name="T103" fmla="*/ 382 h 512"/>
              <a:gd name="T104" fmla="*/ 285 w 512"/>
              <a:gd name="T105" fmla="*/ 369 h 512"/>
              <a:gd name="T106" fmla="*/ 330 w 512"/>
              <a:gd name="T10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45" y="118"/>
                </a:moveTo>
                <a:cubicBezTo>
                  <a:pt x="245" y="358"/>
                  <a:pt x="245" y="358"/>
                  <a:pt x="245" y="358"/>
                </a:cubicBezTo>
                <a:cubicBezTo>
                  <a:pt x="244" y="357"/>
                  <a:pt x="243" y="356"/>
                  <a:pt x="243" y="356"/>
                </a:cubicBezTo>
                <a:cubicBezTo>
                  <a:pt x="243" y="355"/>
                  <a:pt x="242" y="355"/>
                  <a:pt x="242" y="355"/>
                </a:cubicBezTo>
                <a:cubicBezTo>
                  <a:pt x="233" y="346"/>
                  <a:pt x="226" y="332"/>
                  <a:pt x="220" y="317"/>
                </a:cubicBezTo>
                <a:cubicBezTo>
                  <a:pt x="220" y="316"/>
                  <a:pt x="221" y="316"/>
                  <a:pt x="221" y="316"/>
                </a:cubicBezTo>
                <a:cubicBezTo>
                  <a:pt x="226" y="310"/>
                  <a:pt x="226" y="310"/>
                  <a:pt x="226" y="310"/>
                </a:cubicBezTo>
                <a:cubicBezTo>
                  <a:pt x="230" y="306"/>
                  <a:pt x="229" y="299"/>
                  <a:pt x="225" y="295"/>
                </a:cubicBezTo>
                <a:cubicBezTo>
                  <a:pt x="222" y="292"/>
                  <a:pt x="217" y="292"/>
                  <a:pt x="213" y="294"/>
                </a:cubicBezTo>
                <a:cubicBezTo>
                  <a:pt x="210" y="281"/>
                  <a:pt x="208" y="268"/>
                  <a:pt x="207" y="255"/>
                </a:cubicBezTo>
                <a:cubicBezTo>
                  <a:pt x="208" y="254"/>
                  <a:pt x="209" y="254"/>
                  <a:pt x="210" y="253"/>
                </a:cubicBezTo>
                <a:cubicBezTo>
                  <a:pt x="231" y="231"/>
                  <a:pt x="231" y="231"/>
                  <a:pt x="231" y="231"/>
                </a:cubicBezTo>
                <a:cubicBezTo>
                  <a:pt x="235" y="227"/>
                  <a:pt x="235" y="220"/>
                  <a:pt x="231" y="216"/>
                </a:cubicBezTo>
                <a:cubicBezTo>
                  <a:pt x="227" y="212"/>
                  <a:pt x="220" y="212"/>
                  <a:pt x="216" y="216"/>
                </a:cubicBezTo>
                <a:cubicBezTo>
                  <a:pt x="204" y="228"/>
                  <a:pt x="204" y="228"/>
                  <a:pt x="204" y="228"/>
                </a:cubicBezTo>
                <a:cubicBezTo>
                  <a:pt x="203" y="216"/>
                  <a:pt x="203" y="205"/>
                  <a:pt x="202" y="195"/>
                </a:cubicBezTo>
                <a:cubicBezTo>
                  <a:pt x="203" y="195"/>
                  <a:pt x="204" y="195"/>
                  <a:pt x="205" y="194"/>
                </a:cubicBezTo>
                <a:cubicBezTo>
                  <a:pt x="231" y="167"/>
                  <a:pt x="231" y="167"/>
                  <a:pt x="231" y="167"/>
                </a:cubicBezTo>
                <a:cubicBezTo>
                  <a:pt x="235" y="163"/>
                  <a:pt x="235" y="156"/>
                  <a:pt x="231" y="152"/>
                </a:cubicBezTo>
                <a:cubicBezTo>
                  <a:pt x="227" y="148"/>
                  <a:pt x="220" y="148"/>
                  <a:pt x="216" y="152"/>
                </a:cubicBezTo>
                <a:cubicBezTo>
                  <a:pt x="203" y="165"/>
                  <a:pt x="203" y="165"/>
                  <a:pt x="203" y="165"/>
                </a:cubicBezTo>
                <a:cubicBezTo>
                  <a:pt x="205" y="142"/>
                  <a:pt x="222" y="123"/>
                  <a:pt x="245" y="118"/>
                </a:cubicBezTo>
                <a:close/>
                <a:moveTo>
                  <a:pt x="266" y="118"/>
                </a:moveTo>
                <a:cubicBezTo>
                  <a:pt x="266" y="358"/>
                  <a:pt x="266" y="358"/>
                  <a:pt x="266" y="358"/>
                </a:cubicBezTo>
                <a:cubicBezTo>
                  <a:pt x="267" y="357"/>
                  <a:pt x="268" y="356"/>
                  <a:pt x="269" y="355"/>
                </a:cubicBezTo>
                <a:cubicBezTo>
                  <a:pt x="283" y="339"/>
                  <a:pt x="293" y="311"/>
                  <a:pt x="299" y="282"/>
                </a:cubicBezTo>
                <a:cubicBezTo>
                  <a:pt x="280" y="263"/>
                  <a:pt x="280" y="263"/>
                  <a:pt x="280" y="263"/>
                </a:cubicBezTo>
                <a:cubicBezTo>
                  <a:pt x="276" y="259"/>
                  <a:pt x="276" y="252"/>
                  <a:pt x="280" y="248"/>
                </a:cubicBezTo>
                <a:cubicBezTo>
                  <a:pt x="284" y="244"/>
                  <a:pt x="291" y="244"/>
                  <a:pt x="295" y="248"/>
                </a:cubicBezTo>
                <a:cubicBezTo>
                  <a:pt x="303" y="256"/>
                  <a:pt x="303" y="256"/>
                  <a:pt x="303" y="256"/>
                </a:cubicBezTo>
                <a:cubicBezTo>
                  <a:pt x="305" y="241"/>
                  <a:pt x="307" y="226"/>
                  <a:pt x="307" y="213"/>
                </a:cubicBezTo>
                <a:cubicBezTo>
                  <a:pt x="305" y="212"/>
                  <a:pt x="303" y="212"/>
                  <a:pt x="301" y="210"/>
                </a:cubicBezTo>
                <a:cubicBezTo>
                  <a:pt x="280" y="189"/>
                  <a:pt x="280" y="189"/>
                  <a:pt x="280" y="189"/>
                </a:cubicBezTo>
                <a:cubicBezTo>
                  <a:pt x="276" y="184"/>
                  <a:pt x="276" y="178"/>
                  <a:pt x="280" y="173"/>
                </a:cubicBezTo>
                <a:cubicBezTo>
                  <a:pt x="284" y="169"/>
                  <a:pt x="291" y="169"/>
                  <a:pt x="295" y="173"/>
                </a:cubicBezTo>
                <a:cubicBezTo>
                  <a:pt x="309" y="187"/>
                  <a:pt x="309" y="187"/>
                  <a:pt x="309" y="187"/>
                </a:cubicBezTo>
                <a:cubicBezTo>
                  <a:pt x="309" y="177"/>
                  <a:pt x="309" y="171"/>
                  <a:pt x="309" y="170"/>
                </a:cubicBezTo>
                <a:cubicBezTo>
                  <a:pt x="309" y="145"/>
                  <a:pt x="291" y="123"/>
                  <a:pt x="266" y="11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70"/>
                </a:moveTo>
                <a:cubicBezTo>
                  <a:pt x="330" y="129"/>
                  <a:pt x="297" y="96"/>
                  <a:pt x="256" y="96"/>
                </a:cubicBezTo>
                <a:cubicBezTo>
                  <a:pt x="214" y="96"/>
                  <a:pt x="181" y="129"/>
                  <a:pt x="181" y="170"/>
                </a:cubicBezTo>
                <a:cubicBezTo>
                  <a:pt x="181" y="176"/>
                  <a:pt x="177" y="318"/>
                  <a:pt x="226" y="369"/>
                </a:cubicBezTo>
                <a:cubicBezTo>
                  <a:pt x="228" y="371"/>
                  <a:pt x="235" y="379"/>
                  <a:pt x="245" y="382"/>
                </a:cubicBezTo>
                <a:cubicBezTo>
                  <a:pt x="245" y="405"/>
                  <a:pt x="245" y="405"/>
                  <a:pt x="245" y="405"/>
                </a:cubicBezTo>
                <a:cubicBezTo>
                  <a:pt x="245" y="411"/>
                  <a:pt x="250" y="416"/>
                  <a:pt x="256" y="416"/>
                </a:cubicBezTo>
                <a:cubicBezTo>
                  <a:pt x="262" y="416"/>
                  <a:pt x="266" y="411"/>
                  <a:pt x="266" y="405"/>
                </a:cubicBezTo>
                <a:cubicBezTo>
                  <a:pt x="266" y="382"/>
                  <a:pt x="266" y="382"/>
                  <a:pt x="266" y="382"/>
                </a:cubicBezTo>
                <a:cubicBezTo>
                  <a:pt x="272" y="380"/>
                  <a:pt x="279" y="376"/>
                  <a:pt x="285" y="369"/>
                </a:cubicBezTo>
                <a:cubicBezTo>
                  <a:pt x="331" y="316"/>
                  <a:pt x="330" y="176"/>
                  <a:pt x="330" y="17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8" name="Group 627">
            <a:extLst>
              <a:ext uri="{FF2B5EF4-FFF2-40B4-BE49-F238E27FC236}">
                <a16:creationId xmlns:a16="http://schemas.microsoft.com/office/drawing/2014/main" id="{40287ECC-63AC-40E6-8806-6405964B3EF6}"/>
              </a:ext>
            </a:extLst>
          </p:cNvPr>
          <p:cNvGrpSpPr>
            <a:grpSpLocks noChangeAspect="1"/>
          </p:cNvGrpSpPr>
          <p:nvPr/>
        </p:nvGrpSpPr>
        <p:grpSpPr bwMode="auto">
          <a:xfrm>
            <a:off x="8741007" y="1700213"/>
            <a:ext cx="368712" cy="367631"/>
            <a:chOff x="4183" y="2415"/>
            <a:chExt cx="341" cy="340"/>
          </a:xfrm>
          <a:solidFill>
            <a:schemeClr val="accent1"/>
          </a:solidFill>
        </p:grpSpPr>
        <p:sp>
          <p:nvSpPr>
            <p:cNvPr id="499" name="Freeform 628">
              <a:extLst>
                <a:ext uri="{FF2B5EF4-FFF2-40B4-BE49-F238E27FC236}">
                  <a16:creationId xmlns:a16="http://schemas.microsoft.com/office/drawing/2014/main" id="{98D1E0ED-F1C8-47BB-B642-7DA4DB3FEDB6}"/>
                </a:ext>
              </a:extLst>
            </p:cNvPr>
            <p:cNvSpPr>
              <a:spLocks noEditPoints="1"/>
            </p:cNvSpPr>
            <p:nvPr/>
          </p:nvSpPr>
          <p:spPr bwMode="auto">
            <a:xfrm>
              <a:off x="4183" y="241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0" name="Freeform 629">
              <a:extLst>
                <a:ext uri="{FF2B5EF4-FFF2-40B4-BE49-F238E27FC236}">
                  <a16:creationId xmlns:a16="http://schemas.microsoft.com/office/drawing/2014/main" id="{DB37E7DA-E677-4D10-935B-6B0154564451}"/>
                </a:ext>
              </a:extLst>
            </p:cNvPr>
            <p:cNvSpPr>
              <a:spLocks noEditPoints="1"/>
            </p:cNvSpPr>
            <p:nvPr/>
          </p:nvSpPr>
          <p:spPr bwMode="auto">
            <a:xfrm>
              <a:off x="4301" y="2479"/>
              <a:ext cx="102" cy="212"/>
            </a:xfrm>
            <a:custGeom>
              <a:avLst/>
              <a:gdLst>
                <a:gd name="T0" fmla="*/ 153 w 154"/>
                <a:gd name="T1" fmla="*/ 74 h 320"/>
                <a:gd name="T2" fmla="*/ 79 w 154"/>
                <a:gd name="T3" fmla="*/ 0 h 320"/>
                <a:gd name="T4" fmla="*/ 4 w 154"/>
                <a:gd name="T5" fmla="*/ 74 h 320"/>
                <a:gd name="T6" fmla="*/ 49 w 154"/>
                <a:gd name="T7" fmla="*/ 273 h 320"/>
                <a:gd name="T8" fmla="*/ 68 w 154"/>
                <a:gd name="T9" fmla="*/ 286 h 320"/>
                <a:gd name="T10" fmla="*/ 68 w 154"/>
                <a:gd name="T11" fmla="*/ 309 h 320"/>
                <a:gd name="T12" fmla="*/ 79 w 154"/>
                <a:gd name="T13" fmla="*/ 320 h 320"/>
                <a:gd name="T14" fmla="*/ 89 w 154"/>
                <a:gd name="T15" fmla="*/ 309 h 320"/>
                <a:gd name="T16" fmla="*/ 89 w 154"/>
                <a:gd name="T17" fmla="*/ 286 h 320"/>
                <a:gd name="T18" fmla="*/ 108 w 154"/>
                <a:gd name="T19" fmla="*/ 273 h 320"/>
                <a:gd name="T20" fmla="*/ 153 w 154"/>
                <a:gd name="T21" fmla="*/ 74 h 320"/>
                <a:gd name="T22" fmla="*/ 66 w 154"/>
                <a:gd name="T23" fmla="*/ 260 h 320"/>
                <a:gd name="T24" fmla="*/ 65 w 154"/>
                <a:gd name="T25" fmla="*/ 259 h 320"/>
                <a:gd name="T26" fmla="*/ 43 w 154"/>
                <a:gd name="T27" fmla="*/ 221 h 320"/>
                <a:gd name="T28" fmla="*/ 44 w 154"/>
                <a:gd name="T29" fmla="*/ 220 h 320"/>
                <a:gd name="T30" fmla="*/ 49 w 154"/>
                <a:gd name="T31" fmla="*/ 214 h 320"/>
                <a:gd name="T32" fmla="*/ 48 w 154"/>
                <a:gd name="T33" fmla="*/ 199 h 320"/>
                <a:gd name="T34" fmla="*/ 36 w 154"/>
                <a:gd name="T35" fmla="*/ 198 h 320"/>
                <a:gd name="T36" fmla="*/ 30 w 154"/>
                <a:gd name="T37" fmla="*/ 159 h 320"/>
                <a:gd name="T38" fmla="*/ 33 w 154"/>
                <a:gd name="T39" fmla="*/ 157 h 320"/>
                <a:gd name="T40" fmla="*/ 54 w 154"/>
                <a:gd name="T41" fmla="*/ 135 h 320"/>
                <a:gd name="T42" fmla="*/ 54 w 154"/>
                <a:gd name="T43" fmla="*/ 120 h 320"/>
                <a:gd name="T44" fmla="*/ 39 w 154"/>
                <a:gd name="T45" fmla="*/ 120 h 320"/>
                <a:gd name="T46" fmla="*/ 27 w 154"/>
                <a:gd name="T47" fmla="*/ 132 h 320"/>
                <a:gd name="T48" fmla="*/ 25 w 154"/>
                <a:gd name="T49" fmla="*/ 99 h 320"/>
                <a:gd name="T50" fmla="*/ 28 w 154"/>
                <a:gd name="T51" fmla="*/ 98 h 320"/>
                <a:gd name="T52" fmla="*/ 54 w 154"/>
                <a:gd name="T53" fmla="*/ 71 h 320"/>
                <a:gd name="T54" fmla="*/ 54 w 154"/>
                <a:gd name="T55" fmla="*/ 56 h 320"/>
                <a:gd name="T56" fmla="*/ 39 w 154"/>
                <a:gd name="T57" fmla="*/ 56 h 320"/>
                <a:gd name="T58" fmla="*/ 26 w 154"/>
                <a:gd name="T59" fmla="*/ 69 h 320"/>
                <a:gd name="T60" fmla="*/ 68 w 154"/>
                <a:gd name="T61" fmla="*/ 22 h 320"/>
                <a:gd name="T62" fmla="*/ 68 w 154"/>
                <a:gd name="T63" fmla="*/ 262 h 320"/>
                <a:gd name="T64" fmla="*/ 66 w 154"/>
                <a:gd name="T65" fmla="*/ 260 h 320"/>
                <a:gd name="T66" fmla="*/ 92 w 154"/>
                <a:gd name="T67" fmla="*/ 259 h 320"/>
                <a:gd name="T68" fmla="*/ 89 w 154"/>
                <a:gd name="T69" fmla="*/ 262 h 320"/>
                <a:gd name="T70" fmla="*/ 89 w 154"/>
                <a:gd name="T71" fmla="*/ 22 h 320"/>
                <a:gd name="T72" fmla="*/ 132 w 154"/>
                <a:gd name="T73" fmla="*/ 74 h 320"/>
                <a:gd name="T74" fmla="*/ 132 w 154"/>
                <a:gd name="T75" fmla="*/ 91 h 320"/>
                <a:gd name="T76" fmla="*/ 118 w 154"/>
                <a:gd name="T77" fmla="*/ 77 h 320"/>
                <a:gd name="T78" fmla="*/ 103 w 154"/>
                <a:gd name="T79" fmla="*/ 77 h 320"/>
                <a:gd name="T80" fmla="*/ 103 w 154"/>
                <a:gd name="T81" fmla="*/ 93 h 320"/>
                <a:gd name="T82" fmla="*/ 124 w 154"/>
                <a:gd name="T83" fmla="*/ 114 h 320"/>
                <a:gd name="T84" fmla="*/ 130 w 154"/>
                <a:gd name="T85" fmla="*/ 117 h 320"/>
                <a:gd name="T86" fmla="*/ 126 w 154"/>
                <a:gd name="T87" fmla="*/ 160 h 320"/>
                <a:gd name="T88" fmla="*/ 118 w 154"/>
                <a:gd name="T89" fmla="*/ 152 h 320"/>
                <a:gd name="T90" fmla="*/ 103 w 154"/>
                <a:gd name="T91" fmla="*/ 152 h 320"/>
                <a:gd name="T92" fmla="*/ 103 w 154"/>
                <a:gd name="T93" fmla="*/ 167 h 320"/>
                <a:gd name="T94" fmla="*/ 122 w 154"/>
                <a:gd name="T95" fmla="*/ 186 h 320"/>
                <a:gd name="T96" fmla="*/ 92 w 154"/>
                <a:gd name="T97" fmla="*/ 25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 h="320">
                  <a:moveTo>
                    <a:pt x="153" y="74"/>
                  </a:moveTo>
                  <a:cubicBezTo>
                    <a:pt x="153" y="33"/>
                    <a:pt x="120" y="0"/>
                    <a:pt x="79" y="0"/>
                  </a:cubicBezTo>
                  <a:cubicBezTo>
                    <a:pt x="37" y="0"/>
                    <a:pt x="4" y="33"/>
                    <a:pt x="4" y="74"/>
                  </a:cubicBezTo>
                  <a:cubicBezTo>
                    <a:pt x="4" y="80"/>
                    <a:pt x="0" y="222"/>
                    <a:pt x="49" y="273"/>
                  </a:cubicBezTo>
                  <a:cubicBezTo>
                    <a:pt x="51" y="275"/>
                    <a:pt x="58" y="283"/>
                    <a:pt x="68" y="286"/>
                  </a:cubicBezTo>
                  <a:cubicBezTo>
                    <a:pt x="68" y="309"/>
                    <a:pt x="68" y="309"/>
                    <a:pt x="68" y="309"/>
                  </a:cubicBezTo>
                  <a:cubicBezTo>
                    <a:pt x="68" y="315"/>
                    <a:pt x="73" y="320"/>
                    <a:pt x="79" y="320"/>
                  </a:cubicBezTo>
                  <a:cubicBezTo>
                    <a:pt x="85" y="320"/>
                    <a:pt x="89" y="315"/>
                    <a:pt x="89" y="309"/>
                  </a:cubicBezTo>
                  <a:cubicBezTo>
                    <a:pt x="89" y="286"/>
                    <a:pt x="89" y="286"/>
                    <a:pt x="89" y="286"/>
                  </a:cubicBezTo>
                  <a:cubicBezTo>
                    <a:pt x="95" y="284"/>
                    <a:pt x="102" y="280"/>
                    <a:pt x="108" y="273"/>
                  </a:cubicBezTo>
                  <a:cubicBezTo>
                    <a:pt x="154" y="220"/>
                    <a:pt x="153" y="80"/>
                    <a:pt x="153" y="74"/>
                  </a:cubicBezTo>
                  <a:close/>
                  <a:moveTo>
                    <a:pt x="66" y="260"/>
                  </a:moveTo>
                  <a:cubicBezTo>
                    <a:pt x="66" y="259"/>
                    <a:pt x="65" y="259"/>
                    <a:pt x="65" y="259"/>
                  </a:cubicBezTo>
                  <a:cubicBezTo>
                    <a:pt x="56" y="250"/>
                    <a:pt x="49" y="236"/>
                    <a:pt x="43" y="221"/>
                  </a:cubicBezTo>
                  <a:cubicBezTo>
                    <a:pt x="43" y="220"/>
                    <a:pt x="44" y="220"/>
                    <a:pt x="44" y="220"/>
                  </a:cubicBezTo>
                  <a:cubicBezTo>
                    <a:pt x="49" y="214"/>
                    <a:pt x="49" y="214"/>
                    <a:pt x="49" y="214"/>
                  </a:cubicBezTo>
                  <a:cubicBezTo>
                    <a:pt x="53" y="210"/>
                    <a:pt x="52" y="203"/>
                    <a:pt x="48" y="199"/>
                  </a:cubicBezTo>
                  <a:cubicBezTo>
                    <a:pt x="45" y="196"/>
                    <a:pt x="40" y="196"/>
                    <a:pt x="36" y="198"/>
                  </a:cubicBezTo>
                  <a:cubicBezTo>
                    <a:pt x="33" y="185"/>
                    <a:pt x="31" y="172"/>
                    <a:pt x="30" y="159"/>
                  </a:cubicBezTo>
                  <a:cubicBezTo>
                    <a:pt x="31" y="158"/>
                    <a:pt x="32" y="158"/>
                    <a:pt x="33" y="157"/>
                  </a:cubicBezTo>
                  <a:cubicBezTo>
                    <a:pt x="54" y="135"/>
                    <a:pt x="54" y="135"/>
                    <a:pt x="54" y="135"/>
                  </a:cubicBezTo>
                  <a:cubicBezTo>
                    <a:pt x="58" y="131"/>
                    <a:pt x="58" y="124"/>
                    <a:pt x="54" y="120"/>
                  </a:cubicBezTo>
                  <a:cubicBezTo>
                    <a:pt x="50" y="116"/>
                    <a:pt x="43" y="116"/>
                    <a:pt x="39" y="120"/>
                  </a:cubicBezTo>
                  <a:cubicBezTo>
                    <a:pt x="27" y="132"/>
                    <a:pt x="27" y="132"/>
                    <a:pt x="27" y="132"/>
                  </a:cubicBezTo>
                  <a:cubicBezTo>
                    <a:pt x="26" y="120"/>
                    <a:pt x="26" y="109"/>
                    <a:pt x="25" y="99"/>
                  </a:cubicBezTo>
                  <a:cubicBezTo>
                    <a:pt x="26" y="99"/>
                    <a:pt x="27" y="99"/>
                    <a:pt x="28" y="98"/>
                  </a:cubicBezTo>
                  <a:cubicBezTo>
                    <a:pt x="54" y="71"/>
                    <a:pt x="54" y="71"/>
                    <a:pt x="54" y="71"/>
                  </a:cubicBezTo>
                  <a:cubicBezTo>
                    <a:pt x="58" y="67"/>
                    <a:pt x="58" y="60"/>
                    <a:pt x="54" y="56"/>
                  </a:cubicBezTo>
                  <a:cubicBezTo>
                    <a:pt x="50" y="52"/>
                    <a:pt x="43" y="52"/>
                    <a:pt x="39" y="56"/>
                  </a:cubicBezTo>
                  <a:cubicBezTo>
                    <a:pt x="26" y="69"/>
                    <a:pt x="26" y="69"/>
                    <a:pt x="26" y="69"/>
                  </a:cubicBezTo>
                  <a:cubicBezTo>
                    <a:pt x="28" y="46"/>
                    <a:pt x="45" y="27"/>
                    <a:pt x="68" y="22"/>
                  </a:cubicBezTo>
                  <a:cubicBezTo>
                    <a:pt x="68" y="262"/>
                    <a:pt x="68" y="262"/>
                    <a:pt x="68" y="262"/>
                  </a:cubicBezTo>
                  <a:cubicBezTo>
                    <a:pt x="67" y="261"/>
                    <a:pt x="66" y="260"/>
                    <a:pt x="66" y="260"/>
                  </a:cubicBezTo>
                  <a:close/>
                  <a:moveTo>
                    <a:pt x="92" y="259"/>
                  </a:moveTo>
                  <a:cubicBezTo>
                    <a:pt x="91" y="260"/>
                    <a:pt x="90" y="261"/>
                    <a:pt x="89" y="262"/>
                  </a:cubicBezTo>
                  <a:cubicBezTo>
                    <a:pt x="89" y="22"/>
                    <a:pt x="89" y="22"/>
                    <a:pt x="89" y="22"/>
                  </a:cubicBezTo>
                  <a:cubicBezTo>
                    <a:pt x="114" y="27"/>
                    <a:pt x="132" y="49"/>
                    <a:pt x="132" y="74"/>
                  </a:cubicBezTo>
                  <a:cubicBezTo>
                    <a:pt x="132" y="75"/>
                    <a:pt x="132" y="81"/>
                    <a:pt x="132" y="91"/>
                  </a:cubicBezTo>
                  <a:cubicBezTo>
                    <a:pt x="118" y="77"/>
                    <a:pt x="118" y="77"/>
                    <a:pt x="118" y="77"/>
                  </a:cubicBezTo>
                  <a:cubicBezTo>
                    <a:pt x="114" y="73"/>
                    <a:pt x="107" y="73"/>
                    <a:pt x="103" y="77"/>
                  </a:cubicBezTo>
                  <a:cubicBezTo>
                    <a:pt x="99" y="82"/>
                    <a:pt x="99" y="88"/>
                    <a:pt x="103" y="93"/>
                  </a:cubicBezTo>
                  <a:cubicBezTo>
                    <a:pt x="124" y="114"/>
                    <a:pt x="124" y="114"/>
                    <a:pt x="124" y="114"/>
                  </a:cubicBezTo>
                  <a:cubicBezTo>
                    <a:pt x="126" y="116"/>
                    <a:pt x="128" y="116"/>
                    <a:pt x="130" y="117"/>
                  </a:cubicBezTo>
                  <a:cubicBezTo>
                    <a:pt x="130" y="130"/>
                    <a:pt x="128" y="145"/>
                    <a:pt x="126" y="160"/>
                  </a:cubicBezTo>
                  <a:cubicBezTo>
                    <a:pt x="118" y="152"/>
                    <a:pt x="118" y="152"/>
                    <a:pt x="118" y="152"/>
                  </a:cubicBezTo>
                  <a:cubicBezTo>
                    <a:pt x="114" y="148"/>
                    <a:pt x="107" y="148"/>
                    <a:pt x="103" y="152"/>
                  </a:cubicBezTo>
                  <a:cubicBezTo>
                    <a:pt x="99" y="156"/>
                    <a:pt x="99" y="163"/>
                    <a:pt x="103" y="167"/>
                  </a:cubicBezTo>
                  <a:cubicBezTo>
                    <a:pt x="122" y="186"/>
                    <a:pt x="122" y="186"/>
                    <a:pt x="122" y="186"/>
                  </a:cubicBezTo>
                  <a:cubicBezTo>
                    <a:pt x="116" y="215"/>
                    <a:pt x="106" y="243"/>
                    <a:pt x="92"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1" name="TextBox 500">
            <a:extLst>
              <a:ext uri="{FF2B5EF4-FFF2-40B4-BE49-F238E27FC236}">
                <a16:creationId xmlns:a16="http://schemas.microsoft.com/office/drawing/2014/main" id="{70B4D76B-6048-4716-B199-4F8D5E2B8105}"/>
              </a:ext>
            </a:extLst>
          </p:cNvPr>
          <p:cNvSpPr txBox="1"/>
          <p:nvPr/>
        </p:nvSpPr>
        <p:spPr>
          <a:xfrm>
            <a:off x="3077094"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llipsis</a:t>
            </a:r>
          </a:p>
        </p:txBody>
      </p:sp>
      <p:sp>
        <p:nvSpPr>
          <p:cNvPr id="502" name="TextBox 501">
            <a:extLst>
              <a:ext uri="{FF2B5EF4-FFF2-40B4-BE49-F238E27FC236}">
                <a16:creationId xmlns:a16="http://schemas.microsoft.com/office/drawing/2014/main" id="{D8EDD3D3-49A5-414E-9BD0-2C42B8A98620}"/>
              </a:ext>
            </a:extLst>
          </p:cNvPr>
          <p:cNvSpPr txBox="1"/>
          <p:nvPr/>
        </p:nvSpPr>
        <p:spPr>
          <a:xfrm>
            <a:off x="4815856"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gnet 1</a:t>
            </a:r>
          </a:p>
        </p:txBody>
      </p:sp>
      <p:sp>
        <p:nvSpPr>
          <p:cNvPr id="503" name="TextBox 502">
            <a:extLst>
              <a:ext uri="{FF2B5EF4-FFF2-40B4-BE49-F238E27FC236}">
                <a16:creationId xmlns:a16="http://schemas.microsoft.com/office/drawing/2014/main" id="{A3C836AC-53A9-464E-8E49-1414FD23B9BA}"/>
              </a:ext>
            </a:extLst>
          </p:cNvPr>
          <p:cNvSpPr txBox="1"/>
          <p:nvPr/>
        </p:nvSpPr>
        <p:spPr>
          <a:xfrm>
            <a:off x="5685237"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gnet 2</a:t>
            </a:r>
          </a:p>
        </p:txBody>
      </p:sp>
      <p:sp>
        <p:nvSpPr>
          <p:cNvPr id="504" name="TextBox 503">
            <a:extLst>
              <a:ext uri="{FF2B5EF4-FFF2-40B4-BE49-F238E27FC236}">
                <a16:creationId xmlns:a16="http://schemas.microsoft.com/office/drawing/2014/main" id="{65C53ED5-1D7E-41FE-B381-71609353417E}"/>
              </a:ext>
            </a:extLst>
          </p:cNvPr>
          <p:cNvSpPr txBox="1"/>
          <p:nvPr/>
        </p:nvSpPr>
        <p:spPr>
          <a:xfrm>
            <a:off x="3946475"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gic</a:t>
            </a:r>
          </a:p>
        </p:txBody>
      </p:sp>
      <p:sp>
        <p:nvSpPr>
          <p:cNvPr id="505" name="Freeform 463">
            <a:extLst>
              <a:ext uri="{FF2B5EF4-FFF2-40B4-BE49-F238E27FC236}">
                <a16:creationId xmlns:a16="http://schemas.microsoft.com/office/drawing/2014/main" id="{8910B0D6-559A-4804-BACD-268FD7C96838}"/>
              </a:ext>
            </a:extLst>
          </p:cNvPr>
          <p:cNvSpPr>
            <a:spLocks noChangeAspect="1" noEditPoints="1"/>
          </p:cNvSpPr>
          <p:nvPr/>
        </p:nvSpPr>
        <p:spPr bwMode="auto">
          <a:xfrm>
            <a:off x="3085352" y="3298170"/>
            <a:ext cx="36871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278 h 512"/>
              <a:gd name="T12" fmla="*/ 128 w 512"/>
              <a:gd name="T13" fmla="*/ 256 h 512"/>
              <a:gd name="T14" fmla="*/ 149 w 512"/>
              <a:gd name="T15" fmla="*/ 235 h 512"/>
              <a:gd name="T16" fmla="*/ 171 w 512"/>
              <a:gd name="T17" fmla="*/ 256 h 512"/>
              <a:gd name="T18" fmla="*/ 149 w 512"/>
              <a:gd name="T19" fmla="*/ 278 h 512"/>
              <a:gd name="T20" fmla="*/ 256 w 512"/>
              <a:gd name="T21" fmla="*/ 278 h 512"/>
              <a:gd name="T22" fmla="*/ 235 w 512"/>
              <a:gd name="T23" fmla="*/ 256 h 512"/>
              <a:gd name="T24" fmla="*/ 256 w 512"/>
              <a:gd name="T25" fmla="*/ 235 h 512"/>
              <a:gd name="T26" fmla="*/ 277 w 512"/>
              <a:gd name="T27" fmla="*/ 256 h 512"/>
              <a:gd name="T28" fmla="*/ 256 w 512"/>
              <a:gd name="T29" fmla="*/ 278 h 512"/>
              <a:gd name="T30" fmla="*/ 363 w 512"/>
              <a:gd name="T31" fmla="*/ 278 h 512"/>
              <a:gd name="T32" fmla="*/ 341 w 512"/>
              <a:gd name="T33" fmla="*/ 256 h 512"/>
              <a:gd name="T34" fmla="*/ 363 w 512"/>
              <a:gd name="T35" fmla="*/ 235 h 512"/>
              <a:gd name="T36" fmla="*/ 384 w 512"/>
              <a:gd name="T37" fmla="*/ 256 h 512"/>
              <a:gd name="T38" fmla="*/ 363 w 512"/>
              <a:gd name="T39" fmla="*/ 2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49" y="278"/>
                </a:moveTo>
                <a:cubicBezTo>
                  <a:pt x="138" y="278"/>
                  <a:pt x="128" y="268"/>
                  <a:pt x="128" y="256"/>
                </a:cubicBezTo>
                <a:cubicBezTo>
                  <a:pt x="128" y="245"/>
                  <a:pt x="138" y="235"/>
                  <a:pt x="149" y="235"/>
                </a:cubicBezTo>
                <a:cubicBezTo>
                  <a:pt x="161" y="235"/>
                  <a:pt x="171" y="245"/>
                  <a:pt x="171" y="256"/>
                </a:cubicBezTo>
                <a:cubicBezTo>
                  <a:pt x="171" y="268"/>
                  <a:pt x="161" y="278"/>
                  <a:pt x="149" y="278"/>
                </a:cubicBezTo>
                <a:close/>
                <a:moveTo>
                  <a:pt x="256" y="278"/>
                </a:moveTo>
                <a:cubicBezTo>
                  <a:pt x="244" y="278"/>
                  <a:pt x="235" y="268"/>
                  <a:pt x="235" y="256"/>
                </a:cubicBezTo>
                <a:cubicBezTo>
                  <a:pt x="235" y="245"/>
                  <a:pt x="244" y="235"/>
                  <a:pt x="256" y="235"/>
                </a:cubicBezTo>
                <a:cubicBezTo>
                  <a:pt x="268" y="235"/>
                  <a:pt x="277" y="245"/>
                  <a:pt x="277" y="256"/>
                </a:cubicBezTo>
                <a:cubicBezTo>
                  <a:pt x="277" y="268"/>
                  <a:pt x="268" y="278"/>
                  <a:pt x="256" y="278"/>
                </a:cubicBezTo>
                <a:close/>
                <a:moveTo>
                  <a:pt x="363" y="278"/>
                </a:moveTo>
                <a:cubicBezTo>
                  <a:pt x="351" y="278"/>
                  <a:pt x="341" y="268"/>
                  <a:pt x="341" y="256"/>
                </a:cubicBezTo>
                <a:cubicBezTo>
                  <a:pt x="341" y="245"/>
                  <a:pt x="351" y="235"/>
                  <a:pt x="363" y="235"/>
                </a:cubicBezTo>
                <a:cubicBezTo>
                  <a:pt x="374" y="235"/>
                  <a:pt x="384" y="245"/>
                  <a:pt x="384" y="256"/>
                </a:cubicBezTo>
                <a:cubicBezTo>
                  <a:pt x="384" y="268"/>
                  <a:pt x="374" y="278"/>
                  <a:pt x="363" y="27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6" name="Group 466">
            <a:extLst>
              <a:ext uri="{FF2B5EF4-FFF2-40B4-BE49-F238E27FC236}">
                <a16:creationId xmlns:a16="http://schemas.microsoft.com/office/drawing/2014/main" id="{A3C30495-C38A-406C-9623-427C87E76A3F}"/>
              </a:ext>
            </a:extLst>
          </p:cNvPr>
          <p:cNvGrpSpPr>
            <a:grpSpLocks noChangeAspect="1"/>
          </p:cNvGrpSpPr>
          <p:nvPr/>
        </p:nvGrpSpPr>
        <p:grpSpPr bwMode="auto">
          <a:xfrm>
            <a:off x="3521457" y="3298170"/>
            <a:ext cx="367631" cy="367631"/>
            <a:chOff x="6651" y="1616"/>
            <a:chExt cx="340" cy="340"/>
          </a:xfrm>
          <a:solidFill>
            <a:schemeClr val="accent5"/>
          </a:solidFill>
        </p:grpSpPr>
        <p:sp>
          <p:nvSpPr>
            <p:cNvPr id="507" name="Freeform 467">
              <a:extLst>
                <a:ext uri="{FF2B5EF4-FFF2-40B4-BE49-F238E27FC236}">
                  <a16:creationId xmlns:a16="http://schemas.microsoft.com/office/drawing/2014/main" id="{0BD53D16-32F2-4CA6-8FD8-A6F93142B621}"/>
                </a:ext>
              </a:extLst>
            </p:cNvPr>
            <p:cNvSpPr>
              <a:spLocks noEditPoints="1"/>
            </p:cNvSpPr>
            <p:nvPr/>
          </p:nvSpPr>
          <p:spPr bwMode="auto">
            <a:xfrm>
              <a:off x="6651" y="161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8" name="Freeform 468">
              <a:extLst>
                <a:ext uri="{FF2B5EF4-FFF2-40B4-BE49-F238E27FC236}">
                  <a16:creationId xmlns:a16="http://schemas.microsoft.com/office/drawing/2014/main" id="{3B827653-C56F-44B6-AA2C-1289CDCC96BB}"/>
                </a:ext>
              </a:extLst>
            </p:cNvPr>
            <p:cNvSpPr>
              <a:spLocks noEditPoints="1"/>
            </p:cNvSpPr>
            <p:nvPr/>
          </p:nvSpPr>
          <p:spPr bwMode="auto">
            <a:xfrm>
              <a:off x="6736" y="1772"/>
              <a:ext cx="170" cy="29"/>
            </a:xfrm>
            <a:custGeom>
              <a:avLst/>
              <a:gdLst>
                <a:gd name="T0" fmla="*/ 128 w 256"/>
                <a:gd name="T1" fmla="*/ 43 h 43"/>
                <a:gd name="T2" fmla="*/ 107 w 256"/>
                <a:gd name="T3" fmla="*/ 21 h 43"/>
                <a:gd name="T4" fmla="*/ 128 w 256"/>
                <a:gd name="T5" fmla="*/ 0 h 43"/>
                <a:gd name="T6" fmla="*/ 149 w 256"/>
                <a:gd name="T7" fmla="*/ 21 h 43"/>
                <a:gd name="T8" fmla="*/ 128 w 256"/>
                <a:gd name="T9" fmla="*/ 43 h 43"/>
                <a:gd name="T10" fmla="*/ 256 w 256"/>
                <a:gd name="T11" fmla="*/ 21 h 43"/>
                <a:gd name="T12" fmla="*/ 235 w 256"/>
                <a:gd name="T13" fmla="*/ 0 h 43"/>
                <a:gd name="T14" fmla="*/ 213 w 256"/>
                <a:gd name="T15" fmla="*/ 21 h 43"/>
                <a:gd name="T16" fmla="*/ 235 w 256"/>
                <a:gd name="T17" fmla="*/ 43 h 43"/>
                <a:gd name="T18" fmla="*/ 256 w 256"/>
                <a:gd name="T19" fmla="*/ 21 h 43"/>
                <a:gd name="T20" fmla="*/ 43 w 256"/>
                <a:gd name="T21" fmla="*/ 21 h 43"/>
                <a:gd name="T22" fmla="*/ 21 w 256"/>
                <a:gd name="T23" fmla="*/ 0 h 43"/>
                <a:gd name="T24" fmla="*/ 0 w 256"/>
                <a:gd name="T25" fmla="*/ 21 h 43"/>
                <a:gd name="T26" fmla="*/ 21 w 256"/>
                <a:gd name="T27" fmla="*/ 43 h 43"/>
                <a:gd name="T28" fmla="*/ 43 w 25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43">
                  <a:moveTo>
                    <a:pt x="128" y="43"/>
                  </a:moveTo>
                  <a:cubicBezTo>
                    <a:pt x="116" y="43"/>
                    <a:pt x="107" y="33"/>
                    <a:pt x="107" y="21"/>
                  </a:cubicBezTo>
                  <a:cubicBezTo>
                    <a:pt x="107" y="10"/>
                    <a:pt x="116" y="0"/>
                    <a:pt x="128" y="0"/>
                  </a:cubicBezTo>
                  <a:cubicBezTo>
                    <a:pt x="140" y="0"/>
                    <a:pt x="149" y="10"/>
                    <a:pt x="149" y="21"/>
                  </a:cubicBezTo>
                  <a:cubicBezTo>
                    <a:pt x="149" y="33"/>
                    <a:pt x="140" y="43"/>
                    <a:pt x="128" y="43"/>
                  </a:cubicBezTo>
                  <a:close/>
                  <a:moveTo>
                    <a:pt x="256" y="21"/>
                  </a:moveTo>
                  <a:cubicBezTo>
                    <a:pt x="256" y="10"/>
                    <a:pt x="246" y="0"/>
                    <a:pt x="235" y="0"/>
                  </a:cubicBezTo>
                  <a:cubicBezTo>
                    <a:pt x="223" y="0"/>
                    <a:pt x="213" y="10"/>
                    <a:pt x="213" y="21"/>
                  </a:cubicBezTo>
                  <a:cubicBezTo>
                    <a:pt x="213" y="33"/>
                    <a:pt x="223" y="43"/>
                    <a:pt x="235" y="43"/>
                  </a:cubicBezTo>
                  <a:cubicBezTo>
                    <a:pt x="246" y="43"/>
                    <a:pt x="256" y="33"/>
                    <a:pt x="256" y="21"/>
                  </a:cubicBezTo>
                  <a:close/>
                  <a:moveTo>
                    <a:pt x="43" y="21"/>
                  </a:moveTo>
                  <a:cubicBezTo>
                    <a:pt x="43" y="10"/>
                    <a:pt x="33" y="0"/>
                    <a:pt x="21" y="0"/>
                  </a:cubicBezTo>
                  <a:cubicBezTo>
                    <a:pt x="10" y="0"/>
                    <a:pt x="0" y="10"/>
                    <a:pt x="0" y="21"/>
                  </a:cubicBezTo>
                  <a:cubicBezTo>
                    <a:pt x="0" y="33"/>
                    <a:pt x="10" y="43"/>
                    <a:pt x="21" y="43"/>
                  </a:cubicBezTo>
                  <a:cubicBezTo>
                    <a:pt x="33" y="43"/>
                    <a:pt x="43" y="33"/>
                    <a:pt x="43"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9" name="Freeform 645">
            <a:extLst>
              <a:ext uri="{FF2B5EF4-FFF2-40B4-BE49-F238E27FC236}">
                <a16:creationId xmlns:a16="http://schemas.microsoft.com/office/drawing/2014/main" id="{10C27E37-20BC-4F4D-8036-87ABA2C33CC2}"/>
              </a:ext>
            </a:extLst>
          </p:cNvPr>
          <p:cNvSpPr>
            <a:spLocks noChangeAspect="1" noEditPoints="1"/>
          </p:cNvSpPr>
          <p:nvPr/>
        </p:nvSpPr>
        <p:spPr bwMode="auto">
          <a:xfrm>
            <a:off x="3956481" y="3298170"/>
            <a:ext cx="367041" cy="367041"/>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0" name="Group 648">
            <a:extLst>
              <a:ext uri="{FF2B5EF4-FFF2-40B4-BE49-F238E27FC236}">
                <a16:creationId xmlns:a16="http://schemas.microsoft.com/office/drawing/2014/main" id="{680538B3-8C6A-41CE-9A05-510B5C88139A}"/>
              </a:ext>
            </a:extLst>
          </p:cNvPr>
          <p:cNvGrpSpPr>
            <a:grpSpLocks noChangeAspect="1"/>
          </p:cNvGrpSpPr>
          <p:nvPr/>
        </p:nvGrpSpPr>
        <p:grpSpPr bwMode="auto">
          <a:xfrm>
            <a:off x="4390915" y="3298170"/>
            <a:ext cx="367041" cy="367041"/>
            <a:chOff x="5899" y="3152"/>
            <a:chExt cx="340" cy="340"/>
          </a:xfrm>
          <a:solidFill>
            <a:schemeClr val="accent1"/>
          </a:solidFill>
        </p:grpSpPr>
        <p:sp>
          <p:nvSpPr>
            <p:cNvPr id="511" name="Freeform 649">
              <a:extLst>
                <a:ext uri="{FF2B5EF4-FFF2-40B4-BE49-F238E27FC236}">
                  <a16:creationId xmlns:a16="http://schemas.microsoft.com/office/drawing/2014/main" id="{6BDE44C8-FA42-4D3C-BC24-7F60E3076F2A}"/>
                </a:ext>
              </a:extLst>
            </p:cNvPr>
            <p:cNvSpPr>
              <a:spLocks noEditPoints="1"/>
            </p:cNvSpPr>
            <p:nvPr/>
          </p:nvSpPr>
          <p:spPr bwMode="auto">
            <a:xfrm>
              <a:off x="5899" y="315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2" name="Freeform 650">
              <a:extLst>
                <a:ext uri="{FF2B5EF4-FFF2-40B4-BE49-F238E27FC236}">
                  <a16:creationId xmlns:a16="http://schemas.microsoft.com/office/drawing/2014/main" id="{DD6CD099-9B2B-4332-96C8-410AC11033D4}"/>
                </a:ext>
              </a:extLst>
            </p:cNvPr>
            <p:cNvSpPr>
              <a:spLocks noEditPoints="1"/>
            </p:cNvSpPr>
            <p:nvPr/>
          </p:nvSpPr>
          <p:spPr bwMode="auto">
            <a:xfrm>
              <a:off x="5990" y="3215"/>
              <a:ext cx="157" cy="213"/>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3" name="Freeform 654">
            <a:extLst>
              <a:ext uri="{FF2B5EF4-FFF2-40B4-BE49-F238E27FC236}">
                <a16:creationId xmlns:a16="http://schemas.microsoft.com/office/drawing/2014/main" id="{E08AE1C6-33D6-4FC9-A1C7-6DE83E84BDA4}"/>
              </a:ext>
            </a:extLst>
          </p:cNvPr>
          <p:cNvSpPr>
            <a:spLocks noChangeAspect="1" noEditPoints="1"/>
          </p:cNvSpPr>
          <p:nvPr/>
        </p:nvSpPr>
        <p:spPr bwMode="auto">
          <a:xfrm>
            <a:off x="4825349" y="3298170"/>
            <a:ext cx="367041" cy="367041"/>
          </a:xfrm>
          <a:custGeom>
            <a:avLst/>
            <a:gdLst>
              <a:gd name="T0" fmla="*/ 192 w 512"/>
              <a:gd name="T1" fmla="*/ 353 h 512"/>
              <a:gd name="T2" fmla="*/ 197 w 512"/>
              <a:gd name="T3" fmla="*/ 384 h 512"/>
              <a:gd name="T4" fmla="*/ 161 w 512"/>
              <a:gd name="T5" fmla="*/ 390 h 512"/>
              <a:gd name="T6" fmla="*/ 156 w 512"/>
              <a:gd name="T7" fmla="*/ 360 h 512"/>
              <a:gd name="T8" fmla="*/ 192 w 512"/>
              <a:gd name="T9" fmla="*/ 353 h 512"/>
              <a:gd name="T10" fmla="*/ 256 w 512"/>
              <a:gd name="T11" fmla="*/ 117 h 512"/>
              <a:gd name="T12" fmla="*/ 135 w 512"/>
              <a:gd name="T13" fmla="*/ 237 h 512"/>
              <a:gd name="T14" fmla="*/ 136 w 512"/>
              <a:gd name="T15" fmla="*/ 245 h 512"/>
              <a:gd name="T16" fmla="*/ 136 w 512"/>
              <a:gd name="T17" fmla="*/ 246 h 512"/>
              <a:gd name="T18" fmla="*/ 152 w 512"/>
              <a:gd name="T19" fmla="*/ 339 h 512"/>
              <a:gd name="T20" fmla="*/ 188 w 512"/>
              <a:gd name="T21" fmla="*/ 332 h 512"/>
              <a:gd name="T22" fmla="*/ 174 w 512"/>
              <a:gd name="T23" fmla="*/ 251 h 512"/>
              <a:gd name="T24" fmla="*/ 172 w 512"/>
              <a:gd name="T25" fmla="*/ 237 h 512"/>
              <a:gd name="T26" fmla="*/ 256 w 512"/>
              <a:gd name="T27" fmla="*/ 154 h 512"/>
              <a:gd name="T28" fmla="*/ 339 w 512"/>
              <a:gd name="T29" fmla="*/ 237 h 512"/>
              <a:gd name="T30" fmla="*/ 338 w 512"/>
              <a:gd name="T31" fmla="*/ 250 h 512"/>
              <a:gd name="T32" fmla="*/ 323 w 512"/>
              <a:gd name="T33" fmla="*/ 332 h 512"/>
              <a:gd name="T34" fmla="*/ 359 w 512"/>
              <a:gd name="T35" fmla="*/ 339 h 512"/>
              <a:gd name="T36" fmla="*/ 375 w 512"/>
              <a:gd name="T37" fmla="*/ 245 h 512"/>
              <a:gd name="T38" fmla="*/ 375 w 512"/>
              <a:gd name="T39" fmla="*/ 245 h 512"/>
              <a:gd name="T40" fmla="*/ 376 w 512"/>
              <a:gd name="T41" fmla="*/ 237 h 512"/>
              <a:gd name="T42" fmla="*/ 256 w 512"/>
              <a:gd name="T43" fmla="*/ 117 h 512"/>
              <a:gd name="T44" fmla="*/ 314 w 512"/>
              <a:gd name="T45" fmla="*/ 384 h 512"/>
              <a:gd name="T46" fmla="*/ 351 w 512"/>
              <a:gd name="T47" fmla="*/ 390 h 512"/>
              <a:gd name="T48" fmla="*/ 356 w 512"/>
              <a:gd name="T49" fmla="*/ 360 h 512"/>
              <a:gd name="T50" fmla="*/ 320 w 512"/>
              <a:gd name="T51" fmla="*/ 353 h 512"/>
              <a:gd name="T52" fmla="*/ 314 w 512"/>
              <a:gd name="T53" fmla="*/ 384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97 w 512"/>
              <a:gd name="T65" fmla="*/ 237 h 512"/>
              <a:gd name="T66" fmla="*/ 256 w 512"/>
              <a:gd name="T67" fmla="*/ 96 h 512"/>
              <a:gd name="T68" fmla="*/ 114 w 512"/>
              <a:gd name="T69" fmla="*/ 237 h 512"/>
              <a:gd name="T70" fmla="*/ 115 w 512"/>
              <a:gd name="T71" fmla="*/ 247 h 512"/>
              <a:gd name="T72" fmla="*/ 141 w 512"/>
              <a:gd name="T73" fmla="*/ 404 h 512"/>
              <a:gd name="T74" fmla="*/ 146 w 512"/>
              <a:gd name="T75" fmla="*/ 411 h 512"/>
              <a:gd name="T76" fmla="*/ 154 w 512"/>
              <a:gd name="T77" fmla="*/ 413 h 512"/>
              <a:gd name="T78" fmla="*/ 211 w 512"/>
              <a:gd name="T79" fmla="*/ 403 h 512"/>
              <a:gd name="T80" fmla="*/ 220 w 512"/>
              <a:gd name="T81" fmla="*/ 391 h 512"/>
              <a:gd name="T82" fmla="*/ 195 w 512"/>
              <a:gd name="T83" fmla="*/ 247 h 512"/>
              <a:gd name="T84" fmla="*/ 194 w 512"/>
              <a:gd name="T85" fmla="*/ 237 h 512"/>
              <a:gd name="T86" fmla="*/ 256 w 512"/>
              <a:gd name="T87" fmla="*/ 175 h 512"/>
              <a:gd name="T88" fmla="*/ 318 w 512"/>
              <a:gd name="T89" fmla="*/ 237 h 512"/>
              <a:gd name="T90" fmla="*/ 317 w 512"/>
              <a:gd name="T91" fmla="*/ 247 h 512"/>
              <a:gd name="T92" fmla="*/ 292 w 512"/>
              <a:gd name="T93" fmla="*/ 391 h 512"/>
              <a:gd name="T94" fmla="*/ 300 w 512"/>
              <a:gd name="T95" fmla="*/ 403 h 512"/>
              <a:gd name="T96" fmla="*/ 357 w 512"/>
              <a:gd name="T97" fmla="*/ 413 h 512"/>
              <a:gd name="T98" fmla="*/ 359 w 512"/>
              <a:gd name="T99" fmla="*/ 413 h 512"/>
              <a:gd name="T100" fmla="*/ 365 w 512"/>
              <a:gd name="T101" fmla="*/ 411 h 512"/>
              <a:gd name="T102" fmla="*/ 370 w 512"/>
              <a:gd name="T103" fmla="*/ 404 h 512"/>
              <a:gd name="T104" fmla="*/ 397 w 512"/>
              <a:gd name="T105" fmla="*/ 248 h 512"/>
              <a:gd name="T106" fmla="*/ 397 w 512"/>
              <a:gd name="T107" fmla="*/ 247 h 512"/>
              <a:gd name="T108" fmla="*/ 397 w 512"/>
              <a:gd name="T109" fmla="*/ 2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192" y="353"/>
                </a:moveTo>
                <a:cubicBezTo>
                  <a:pt x="197" y="384"/>
                  <a:pt x="197" y="384"/>
                  <a:pt x="197" y="384"/>
                </a:cubicBezTo>
                <a:cubicBezTo>
                  <a:pt x="161" y="390"/>
                  <a:pt x="161" y="390"/>
                  <a:pt x="161" y="390"/>
                </a:cubicBezTo>
                <a:cubicBezTo>
                  <a:pt x="156" y="360"/>
                  <a:pt x="156" y="360"/>
                  <a:pt x="156" y="360"/>
                </a:cubicBezTo>
                <a:lnTo>
                  <a:pt x="192" y="353"/>
                </a:lnTo>
                <a:close/>
                <a:moveTo>
                  <a:pt x="256" y="117"/>
                </a:moveTo>
                <a:cubicBezTo>
                  <a:pt x="189" y="117"/>
                  <a:pt x="135" y="171"/>
                  <a:pt x="135" y="237"/>
                </a:cubicBezTo>
                <a:cubicBezTo>
                  <a:pt x="135" y="240"/>
                  <a:pt x="136" y="242"/>
                  <a:pt x="136" y="245"/>
                </a:cubicBezTo>
                <a:cubicBezTo>
                  <a:pt x="136" y="246"/>
                  <a:pt x="136" y="246"/>
                  <a:pt x="136" y="246"/>
                </a:cubicBezTo>
                <a:cubicBezTo>
                  <a:pt x="152" y="339"/>
                  <a:pt x="152" y="339"/>
                  <a:pt x="152" y="339"/>
                </a:cubicBezTo>
                <a:cubicBezTo>
                  <a:pt x="188" y="332"/>
                  <a:pt x="188" y="332"/>
                  <a:pt x="188" y="332"/>
                </a:cubicBezTo>
                <a:cubicBezTo>
                  <a:pt x="174" y="251"/>
                  <a:pt x="174" y="251"/>
                  <a:pt x="174" y="251"/>
                </a:cubicBezTo>
                <a:cubicBezTo>
                  <a:pt x="173" y="247"/>
                  <a:pt x="172" y="242"/>
                  <a:pt x="172" y="237"/>
                </a:cubicBezTo>
                <a:cubicBezTo>
                  <a:pt x="172" y="190"/>
                  <a:pt x="208" y="154"/>
                  <a:pt x="256" y="154"/>
                </a:cubicBezTo>
                <a:cubicBezTo>
                  <a:pt x="302" y="154"/>
                  <a:pt x="339" y="191"/>
                  <a:pt x="339" y="237"/>
                </a:cubicBezTo>
                <a:cubicBezTo>
                  <a:pt x="339" y="242"/>
                  <a:pt x="338" y="247"/>
                  <a:pt x="338" y="250"/>
                </a:cubicBezTo>
                <a:cubicBezTo>
                  <a:pt x="323" y="332"/>
                  <a:pt x="323" y="332"/>
                  <a:pt x="323" y="332"/>
                </a:cubicBezTo>
                <a:cubicBezTo>
                  <a:pt x="359" y="339"/>
                  <a:pt x="359" y="339"/>
                  <a:pt x="359" y="339"/>
                </a:cubicBezTo>
                <a:cubicBezTo>
                  <a:pt x="375" y="245"/>
                  <a:pt x="375" y="245"/>
                  <a:pt x="375" y="245"/>
                </a:cubicBezTo>
                <a:cubicBezTo>
                  <a:pt x="375" y="245"/>
                  <a:pt x="375" y="245"/>
                  <a:pt x="375" y="245"/>
                </a:cubicBezTo>
                <a:cubicBezTo>
                  <a:pt x="376" y="242"/>
                  <a:pt x="376" y="240"/>
                  <a:pt x="376" y="237"/>
                </a:cubicBezTo>
                <a:cubicBezTo>
                  <a:pt x="376" y="171"/>
                  <a:pt x="322" y="117"/>
                  <a:pt x="256" y="117"/>
                </a:cubicBezTo>
                <a:close/>
                <a:moveTo>
                  <a:pt x="314" y="384"/>
                </a:moveTo>
                <a:cubicBezTo>
                  <a:pt x="351" y="390"/>
                  <a:pt x="351" y="390"/>
                  <a:pt x="351" y="390"/>
                </a:cubicBezTo>
                <a:cubicBezTo>
                  <a:pt x="356" y="360"/>
                  <a:pt x="356" y="360"/>
                  <a:pt x="356" y="360"/>
                </a:cubicBezTo>
                <a:cubicBezTo>
                  <a:pt x="320" y="353"/>
                  <a:pt x="320" y="353"/>
                  <a:pt x="320" y="353"/>
                </a:cubicBezTo>
                <a:lnTo>
                  <a:pt x="314" y="38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7" y="237"/>
                </a:moveTo>
                <a:cubicBezTo>
                  <a:pt x="397" y="159"/>
                  <a:pt x="334" y="96"/>
                  <a:pt x="256" y="96"/>
                </a:cubicBezTo>
                <a:cubicBezTo>
                  <a:pt x="178" y="96"/>
                  <a:pt x="114" y="159"/>
                  <a:pt x="114" y="237"/>
                </a:cubicBezTo>
                <a:cubicBezTo>
                  <a:pt x="114" y="240"/>
                  <a:pt x="114" y="243"/>
                  <a:pt x="115" y="247"/>
                </a:cubicBezTo>
                <a:cubicBezTo>
                  <a:pt x="141" y="404"/>
                  <a:pt x="141" y="404"/>
                  <a:pt x="141" y="404"/>
                </a:cubicBezTo>
                <a:cubicBezTo>
                  <a:pt x="142" y="407"/>
                  <a:pt x="144" y="410"/>
                  <a:pt x="146" y="411"/>
                </a:cubicBezTo>
                <a:cubicBezTo>
                  <a:pt x="148" y="413"/>
                  <a:pt x="151" y="414"/>
                  <a:pt x="154" y="413"/>
                </a:cubicBezTo>
                <a:cubicBezTo>
                  <a:pt x="211" y="403"/>
                  <a:pt x="211" y="403"/>
                  <a:pt x="211" y="403"/>
                </a:cubicBezTo>
                <a:cubicBezTo>
                  <a:pt x="217" y="402"/>
                  <a:pt x="221" y="396"/>
                  <a:pt x="220" y="391"/>
                </a:cubicBezTo>
                <a:cubicBezTo>
                  <a:pt x="195" y="247"/>
                  <a:pt x="195" y="247"/>
                  <a:pt x="195" y="247"/>
                </a:cubicBezTo>
                <a:cubicBezTo>
                  <a:pt x="194" y="244"/>
                  <a:pt x="194" y="240"/>
                  <a:pt x="194" y="237"/>
                </a:cubicBezTo>
                <a:cubicBezTo>
                  <a:pt x="194" y="201"/>
                  <a:pt x="220" y="175"/>
                  <a:pt x="256" y="175"/>
                </a:cubicBezTo>
                <a:cubicBezTo>
                  <a:pt x="290" y="175"/>
                  <a:pt x="318" y="203"/>
                  <a:pt x="318" y="237"/>
                </a:cubicBezTo>
                <a:cubicBezTo>
                  <a:pt x="318" y="240"/>
                  <a:pt x="317" y="244"/>
                  <a:pt x="317" y="247"/>
                </a:cubicBezTo>
                <a:cubicBezTo>
                  <a:pt x="292" y="391"/>
                  <a:pt x="292" y="391"/>
                  <a:pt x="292" y="391"/>
                </a:cubicBezTo>
                <a:cubicBezTo>
                  <a:pt x="291" y="396"/>
                  <a:pt x="294" y="402"/>
                  <a:pt x="300" y="403"/>
                </a:cubicBezTo>
                <a:cubicBezTo>
                  <a:pt x="357" y="413"/>
                  <a:pt x="357" y="413"/>
                  <a:pt x="357" y="413"/>
                </a:cubicBezTo>
                <a:cubicBezTo>
                  <a:pt x="358" y="413"/>
                  <a:pt x="359" y="413"/>
                  <a:pt x="359" y="413"/>
                </a:cubicBezTo>
                <a:cubicBezTo>
                  <a:pt x="362" y="413"/>
                  <a:pt x="364" y="413"/>
                  <a:pt x="365" y="411"/>
                </a:cubicBezTo>
                <a:cubicBezTo>
                  <a:pt x="368" y="410"/>
                  <a:pt x="369" y="407"/>
                  <a:pt x="370" y="404"/>
                </a:cubicBezTo>
                <a:cubicBezTo>
                  <a:pt x="397" y="248"/>
                  <a:pt x="397" y="248"/>
                  <a:pt x="397" y="248"/>
                </a:cubicBezTo>
                <a:cubicBezTo>
                  <a:pt x="397" y="247"/>
                  <a:pt x="397" y="247"/>
                  <a:pt x="397" y="247"/>
                </a:cubicBezTo>
                <a:cubicBezTo>
                  <a:pt x="397" y="243"/>
                  <a:pt x="397" y="240"/>
                  <a:pt x="397" y="23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4" name="Group 657">
            <a:extLst>
              <a:ext uri="{FF2B5EF4-FFF2-40B4-BE49-F238E27FC236}">
                <a16:creationId xmlns:a16="http://schemas.microsoft.com/office/drawing/2014/main" id="{271681F0-D7DB-40C4-B089-D7A4FFC0BF20}"/>
              </a:ext>
            </a:extLst>
          </p:cNvPr>
          <p:cNvGrpSpPr>
            <a:grpSpLocks noChangeAspect="1"/>
          </p:cNvGrpSpPr>
          <p:nvPr/>
        </p:nvGrpSpPr>
        <p:grpSpPr bwMode="auto">
          <a:xfrm>
            <a:off x="5259783" y="3298170"/>
            <a:ext cx="367041" cy="367041"/>
            <a:chOff x="5986" y="3351"/>
            <a:chExt cx="340" cy="340"/>
          </a:xfrm>
          <a:solidFill>
            <a:schemeClr val="accent4"/>
          </a:solidFill>
        </p:grpSpPr>
        <p:sp>
          <p:nvSpPr>
            <p:cNvPr id="515" name="Freeform 658">
              <a:extLst>
                <a:ext uri="{FF2B5EF4-FFF2-40B4-BE49-F238E27FC236}">
                  <a16:creationId xmlns:a16="http://schemas.microsoft.com/office/drawing/2014/main" id="{A83E9306-7DCC-43C8-8AD6-4EA3EB7C667E}"/>
                </a:ext>
              </a:extLst>
            </p:cNvPr>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6" name="Freeform 659">
              <a:extLst>
                <a:ext uri="{FF2B5EF4-FFF2-40B4-BE49-F238E27FC236}">
                  <a16:creationId xmlns:a16="http://schemas.microsoft.com/office/drawing/2014/main" id="{8661AFAE-87AD-421F-AB3E-090E210AE4B1}"/>
                </a:ext>
              </a:extLst>
            </p:cNvPr>
            <p:cNvSpPr>
              <a:spLocks noEditPoints="1"/>
            </p:cNvSpPr>
            <p:nvPr/>
          </p:nvSpPr>
          <p:spPr bwMode="auto">
            <a:xfrm>
              <a:off x="6062" y="3415"/>
              <a:ext cx="188" cy="211"/>
            </a:xfrm>
            <a:custGeom>
              <a:avLst/>
              <a:gdLst>
                <a:gd name="T0" fmla="*/ 142 w 283"/>
                <a:gd name="T1" fmla="*/ 0 h 318"/>
                <a:gd name="T2" fmla="*/ 0 w 283"/>
                <a:gd name="T3" fmla="*/ 141 h 318"/>
                <a:gd name="T4" fmla="*/ 1 w 283"/>
                <a:gd name="T5" fmla="*/ 151 h 318"/>
                <a:gd name="T6" fmla="*/ 27 w 283"/>
                <a:gd name="T7" fmla="*/ 308 h 318"/>
                <a:gd name="T8" fmla="*/ 32 w 283"/>
                <a:gd name="T9" fmla="*/ 315 h 318"/>
                <a:gd name="T10" fmla="*/ 40 w 283"/>
                <a:gd name="T11" fmla="*/ 317 h 318"/>
                <a:gd name="T12" fmla="*/ 97 w 283"/>
                <a:gd name="T13" fmla="*/ 307 h 318"/>
                <a:gd name="T14" fmla="*/ 106 w 283"/>
                <a:gd name="T15" fmla="*/ 295 h 318"/>
                <a:gd name="T16" fmla="*/ 81 w 283"/>
                <a:gd name="T17" fmla="*/ 151 h 318"/>
                <a:gd name="T18" fmla="*/ 80 w 283"/>
                <a:gd name="T19" fmla="*/ 141 h 318"/>
                <a:gd name="T20" fmla="*/ 142 w 283"/>
                <a:gd name="T21" fmla="*/ 79 h 318"/>
                <a:gd name="T22" fmla="*/ 204 w 283"/>
                <a:gd name="T23" fmla="*/ 141 h 318"/>
                <a:gd name="T24" fmla="*/ 203 w 283"/>
                <a:gd name="T25" fmla="*/ 151 h 318"/>
                <a:gd name="T26" fmla="*/ 178 w 283"/>
                <a:gd name="T27" fmla="*/ 295 h 318"/>
                <a:gd name="T28" fmla="*/ 186 w 283"/>
                <a:gd name="T29" fmla="*/ 307 h 318"/>
                <a:gd name="T30" fmla="*/ 243 w 283"/>
                <a:gd name="T31" fmla="*/ 317 h 318"/>
                <a:gd name="T32" fmla="*/ 245 w 283"/>
                <a:gd name="T33" fmla="*/ 317 h 318"/>
                <a:gd name="T34" fmla="*/ 251 w 283"/>
                <a:gd name="T35" fmla="*/ 315 h 318"/>
                <a:gd name="T36" fmla="*/ 256 w 283"/>
                <a:gd name="T37" fmla="*/ 308 h 318"/>
                <a:gd name="T38" fmla="*/ 283 w 283"/>
                <a:gd name="T39" fmla="*/ 152 h 318"/>
                <a:gd name="T40" fmla="*/ 283 w 283"/>
                <a:gd name="T41" fmla="*/ 151 h 318"/>
                <a:gd name="T42" fmla="*/ 283 w 283"/>
                <a:gd name="T43" fmla="*/ 141 h 318"/>
                <a:gd name="T44" fmla="*/ 142 w 283"/>
                <a:gd name="T45" fmla="*/ 0 h 318"/>
                <a:gd name="T46" fmla="*/ 47 w 283"/>
                <a:gd name="T47" fmla="*/ 294 h 318"/>
                <a:gd name="T48" fmla="*/ 42 w 283"/>
                <a:gd name="T49" fmla="*/ 264 h 318"/>
                <a:gd name="T50" fmla="*/ 78 w 283"/>
                <a:gd name="T51" fmla="*/ 257 h 318"/>
                <a:gd name="T52" fmla="*/ 83 w 283"/>
                <a:gd name="T53" fmla="*/ 288 h 318"/>
                <a:gd name="T54" fmla="*/ 47 w 283"/>
                <a:gd name="T55" fmla="*/ 294 h 318"/>
                <a:gd name="T56" fmla="*/ 200 w 283"/>
                <a:gd name="T57" fmla="*/ 288 h 318"/>
                <a:gd name="T58" fmla="*/ 206 w 283"/>
                <a:gd name="T59" fmla="*/ 257 h 318"/>
                <a:gd name="T60" fmla="*/ 242 w 283"/>
                <a:gd name="T61" fmla="*/ 264 h 318"/>
                <a:gd name="T62" fmla="*/ 237 w 283"/>
                <a:gd name="T63" fmla="*/ 294 h 318"/>
                <a:gd name="T64" fmla="*/ 200 w 283"/>
                <a:gd name="T65" fmla="*/ 288 h 318"/>
                <a:gd name="T66" fmla="*/ 261 w 283"/>
                <a:gd name="T67" fmla="*/ 149 h 318"/>
                <a:gd name="T68" fmla="*/ 245 w 283"/>
                <a:gd name="T69" fmla="*/ 243 h 318"/>
                <a:gd name="T70" fmla="*/ 209 w 283"/>
                <a:gd name="T71" fmla="*/ 236 h 318"/>
                <a:gd name="T72" fmla="*/ 224 w 283"/>
                <a:gd name="T73" fmla="*/ 154 h 318"/>
                <a:gd name="T74" fmla="*/ 225 w 283"/>
                <a:gd name="T75" fmla="*/ 141 h 318"/>
                <a:gd name="T76" fmla="*/ 142 w 283"/>
                <a:gd name="T77" fmla="*/ 58 h 318"/>
                <a:gd name="T78" fmla="*/ 58 w 283"/>
                <a:gd name="T79" fmla="*/ 141 h 318"/>
                <a:gd name="T80" fmla="*/ 60 w 283"/>
                <a:gd name="T81" fmla="*/ 155 h 318"/>
                <a:gd name="T82" fmla="*/ 74 w 283"/>
                <a:gd name="T83" fmla="*/ 236 h 318"/>
                <a:gd name="T84" fmla="*/ 38 w 283"/>
                <a:gd name="T85" fmla="*/ 243 h 318"/>
                <a:gd name="T86" fmla="*/ 22 w 283"/>
                <a:gd name="T87" fmla="*/ 150 h 318"/>
                <a:gd name="T88" fmla="*/ 22 w 283"/>
                <a:gd name="T89" fmla="*/ 149 h 318"/>
                <a:gd name="T90" fmla="*/ 21 w 283"/>
                <a:gd name="T91" fmla="*/ 141 h 318"/>
                <a:gd name="T92" fmla="*/ 142 w 283"/>
                <a:gd name="T93" fmla="*/ 21 h 318"/>
                <a:gd name="T94" fmla="*/ 262 w 283"/>
                <a:gd name="T95" fmla="*/ 141 h 318"/>
                <a:gd name="T96" fmla="*/ 261 w 283"/>
                <a:gd name="T97" fmla="*/ 14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3" h="318">
                  <a:moveTo>
                    <a:pt x="142" y="0"/>
                  </a:moveTo>
                  <a:cubicBezTo>
                    <a:pt x="64" y="0"/>
                    <a:pt x="0" y="63"/>
                    <a:pt x="0" y="141"/>
                  </a:cubicBezTo>
                  <a:cubicBezTo>
                    <a:pt x="0" y="144"/>
                    <a:pt x="0" y="147"/>
                    <a:pt x="1" y="151"/>
                  </a:cubicBezTo>
                  <a:cubicBezTo>
                    <a:pt x="27" y="308"/>
                    <a:pt x="27" y="308"/>
                    <a:pt x="27" y="308"/>
                  </a:cubicBezTo>
                  <a:cubicBezTo>
                    <a:pt x="28" y="311"/>
                    <a:pt x="30" y="314"/>
                    <a:pt x="32" y="315"/>
                  </a:cubicBezTo>
                  <a:cubicBezTo>
                    <a:pt x="34" y="317"/>
                    <a:pt x="37" y="318"/>
                    <a:pt x="40" y="317"/>
                  </a:cubicBezTo>
                  <a:cubicBezTo>
                    <a:pt x="97" y="307"/>
                    <a:pt x="97" y="307"/>
                    <a:pt x="97" y="307"/>
                  </a:cubicBezTo>
                  <a:cubicBezTo>
                    <a:pt x="103" y="306"/>
                    <a:pt x="107" y="300"/>
                    <a:pt x="106" y="295"/>
                  </a:cubicBezTo>
                  <a:cubicBezTo>
                    <a:pt x="81" y="151"/>
                    <a:pt x="81" y="151"/>
                    <a:pt x="81" y="151"/>
                  </a:cubicBezTo>
                  <a:cubicBezTo>
                    <a:pt x="80" y="148"/>
                    <a:pt x="80" y="144"/>
                    <a:pt x="80" y="141"/>
                  </a:cubicBezTo>
                  <a:cubicBezTo>
                    <a:pt x="80" y="105"/>
                    <a:pt x="106" y="79"/>
                    <a:pt x="142" y="79"/>
                  </a:cubicBezTo>
                  <a:cubicBezTo>
                    <a:pt x="176" y="79"/>
                    <a:pt x="204" y="107"/>
                    <a:pt x="204" y="141"/>
                  </a:cubicBezTo>
                  <a:cubicBezTo>
                    <a:pt x="204" y="144"/>
                    <a:pt x="203" y="148"/>
                    <a:pt x="203" y="151"/>
                  </a:cubicBezTo>
                  <a:cubicBezTo>
                    <a:pt x="178" y="295"/>
                    <a:pt x="178" y="295"/>
                    <a:pt x="178" y="295"/>
                  </a:cubicBezTo>
                  <a:cubicBezTo>
                    <a:pt x="177" y="300"/>
                    <a:pt x="180" y="306"/>
                    <a:pt x="186" y="307"/>
                  </a:cubicBezTo>
                  <a:cubicBezTo>
                    <a:pt x="243" y="317"/>
                    <a:pt x="243" y="317"/>
                    <a:pt x="243" y="317"/>
                  </a:cubicBezTo>
                  <a:cubicBezTo>
                    <a:pt x="244" y="317"/>
                    <a:pt x="245" y="317"/>
                    <a:pt x="245" y="317"/>
                  </a:cubicBezTo>
                  <a:cubicBezTo>
                    <a:pt x="248" y="317"/>
                    <a:pt x="250" y="317"/>
                    <a:pt x="251" y="315"/>
                  </a:cubicBezTo>
                  <a:cubicBezTo>
                    <a:pt x="254" y="314"/>
                    <a:pt x="255" y="311"/>
                    <a:pt x="256" y="308"/>
                  </a:cubicBezTo>
                  <a:cubicBezTo>
                    <a:pt x="283" y="152"/>
                    <a:pt x="283" y="152"/>
                    <a:pt x="283" y="152"/>
                  </a:cubicBezTo>
                  <a:cubicBezTo>
                    <a:pt x="283" y="151"/>
                    <a:pt x="283" y="151"/>
                    <a:pt x="283" y="151"/>
                  </a:cubicBezTo>
                  <a:cubicBezTo>
                    <a:pt x="283" y="147"/>
                    <a:pt x="283" y="144"/>
                    <a:pt x="283" y="141"/>
                  </a:cubicBezTo>
                  <a:cubicBezTo>
                    <a:pt x="283" y="63"/>
                    <a:pt x="220" y="0"/>
                    <a:pt x="142" y="0"/>
                  </a:cubicBezTo>
                  <a:close/>
                  <a:moveTo>
                    <a:pt x="47" y="294"/>
                  </a:moveTo>
                  <a:cubicBezTo>
                    <a:pt x="42" y="264"/>
                    <a:pt x="42" y="264"/>
                    <a:pt x="42" y="264"/>
                  </a:cubicBezTo>
                  <a:cubicBezTo>
                    <a:pt x="78" y="257"/>
                    <a:pt x="78" y="257"/>
                    <a:pt x="78" y="257"/>
                  </a:cubicBezTo>
                  <a:cubicBezTo>
                    <a:pt x="83" y="288"/>
                    <a:pt x="83" y="288"/>
                    <a:pt x="83" y="288"/>
                  </a:cubicBezTo>
                  <a:lnTo>
                    <a:pt x="47" y="294"/>
                  </a:lnTo>
                  <a:close/>
                  <a:moveTo>
                    <a:pt x="200" y="288"/>
                  </a:moveTo>
                  <a:cubicBezTo>
                    <a:pt x="206" y="257"/>
                    <a:pt x="206" y="257"/>
                    <a:pt x="206" y="257"/>
                  </a:cubicBezTo>
                  <a:cubicBezTo>
                    <a:pt x="242" y="264"/>
                    <a:pt x="242" y="264"/>
                    <a:pt x="242" y="264"/>
                  </a:cubicBezTo>
                  <a:cubicBezTo>
                    <a:pt x="237" y="294"/>
                    <a:pt x="237" y="294"/>
                    <a:pt x="237" y="294"/>
                  </a:cubicBezTo>
                  <a:lnTo>
                    <a:pt x="200" y="288"/>
                  </a:lnTo>
                  <a:close/>
                  <a:moveTo>
                    <a:pt x="261" y="149"/>
                  </a:moveTo>
                  <a:cubicBezTo>
                    <a:pt x="245" y="243"/>
                    <a:pt x="245" y="243"/>
                    <a:pt x="245" y="243"/>
                  </a:cubicBezTo>
                  <a:cubicBezTo>
                    <a:pt x="209" y="236"/>
                    <a:pt x="209" y="236"/>
                    <a:pt x="209" y="236"/>
                  </a:cubicBezTo>
                  <a:cubicBezTo>
                    <a:pt x="224" y="154"/>
                    <a:pt x="224" y="154"/>
                    <a:pt x="224" y="154"/>
                  </a:cubicBezTo>
                  <a:cubicBezTo>
                    <a:pt x="224" y="151"/>
                    <a:pt x="225" y="146"/>
                    <a:pt x="225" y="141"/>
                  </a:cubicBezTo>
                  <a:cubicBezTo>
                    <a:pt x="225" y="95"/>
                    <a:pt x="188" y="58"/>
                    <a:pt x="142" y="58"/>
                  </a:cubicBezTo>
                  <a:cubicBezTo>
                    <a:pt x="94" y="58"/>
                    <a:pt x="58" y="94"/>
                    <a:pt x="58" y="141"/>
                  </a:cubicBezTo>
                  <a:cubicBezTo>
                    <a:pt x="58" y="146"/>
                    <a:pt x="59" y="151"/>
                    <a:pt x="60" y="155"/>
                  </a:cubicBezTo>
                  <a:cubicBezTo>
                    <a:pt x="74" y="236"/>
                    <a:pt x="74" y="236"/>
                    <a:pt x="74" y="236"/>
                  </a:cubicBezTo>
                  <a:cubicBezTo>
                    <a:pt x="38" y="243"/>
                    <a:pt x="38" y="243"/>
                    <a:pt x="38" y="243"/>
                  </a:cubicBezTo>
                  <a:cubicBezTo>
                    <a:pt x="22" y="150"/>
                    <a:pt x="22" y="150"/>
                    <a:pt x="22" y="150"/>
                  </a:cubicBezTo>
                  <a:cubicBezTo>
                    <a:pt x="22" y="149"/>
                    <a:pt x="22" y="149"/>
                    <a:pt x="22" y="149"/>
                  </a:cubicBezTo>
                  <a:cubicBezTo>
                    <a:pt x="22" y="146"/>
                    <a:pt x="21" y="144"/>
                    <a:pt x="21" y="141"/>
                  </a:cubicBezTo>
                  <a:cubicBezTo>
                    <a:pt x="21" y="75"/>
                    <a:pt x="75" y="21"/>
                    <a:pt x="142" y="21"/>
                  </a:cubicBezTo>
                  <a:cubicBezTo>
                    <a:pt x="208" y="21"/>
                    <a:pt x="262" y="75"/>
                    <a:pt x="262" y="141"/>
                  </a:cubicBezTo>
                  <a:cubicBezTo>
                    <a:pt x="262" y="144"/>
                    <a:pt x="262" y="146"/>
                    <a:pt x="261" y="1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660">
              <a:extLst>
                <a:ext uri="{FF2B5EF4-FFF2-40B4-BE49-F238E27FC236}">
                  <a16:creationId xmlns:a16="http://schemas.microsoft.com/office/drawing/2014/main" id="{BDA18217-A9E8-4451-89A1-DFBEF9ADD33B}"/>
                </a:ext>
              </a:extLst>
            </p:cNvPr>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8" name="Freeform 664">
            <a:extLst>
              <a:ext uri="{FF2B5EF4-FFF2-40B4-BE49-F238E27FC236}">
                <a16:creationId xmlns:a16="http://schemas.microsoft.com/office/drawing/2014/main" id="{F1161B6C-C16B-4E2C-92E1-24F1861FA893}"/>
              </a:ext>
            </a:extLst>
          </p:cNvPr>
          <p:cNvSpPr>
            <a:spLocks noChangeAspect="1" noEditPoints="1"/>
          </p:cNvSpPr>
          <p:nvPr/>
        </p:nvSpPr>
        <p:spPr bwMode="auto">
          <a:xfrm>
            <a:off x="5694217" y="3298170"/>
            <a:ext cx="367041" cy="367041"/>
          </a:xfrm>
          <a:custGeom>
            <a:avLst/>
            <a:gdLst>
              <a:gd name="T0" fmla="*/ 209 w 512"/>
              <a:gd name="T1" fmla="*/ 308 h 512"/>
              <a:gd name="T2" fmla="*/ 184 w 512"/>
              <a:gd name="T3" fmla="*/ 286 h 512"/>
              <a:gd name="T4" fmla="*/ 302 w 512"/>
              <a:gd name="T5" fmla="*/ 308 h 512"/>
              <a:gd name="T6" fmla="*/ 327 w 512"/>
              <a:gd name="T7" fmla="*/ 286 h 512"/>
              <a:gd name="T8" fmla="*/ 302 w 512"/>
              <a:gd name="T9" fmla="*/ 308 h 512"/>
              <a:gd name="T10" fmla="*/ 170 w 512"/>
              <a:gd name="T11" fmla="*/ 202 h 512"/>
              <a:gd name="T12" fmla="*/ 180 w 512"/>
              <a:gd name="T13" fmla="*/ 265 h 512"/>
              <a:gd name="T14" fmla="*/ 193 w 512"/>
              <a:gd name="T15" fmla="*/ 213 h 512"/>
              <a:gd name="T16" fmla="*/ 256 w 512"/>
              <a:gd name="T17" fmla="*/ 138 h 512"/>
              <a:gd name="T18" fmla="*/ 319 w 512"/>
              <a:gd name="T19" fmla="*/ 213 h 512"/>
              <a:gd name="T20" fmla="*/ 331 w 512"/>
              <a:gd name="T21" fmla="*/ 265 h 512"/>
              <a:gd name="T22" fmla="*/ 341 w 512"/>
              <a:gd name="T23" fmla="*/ 202 h 512"/>
              <a:gd name="T24" fmla="*/ 512 w 512"/>
              <a:gd name="T25" fmla="*/ 256 h 512"/>
              <a:gd name="T26" fmla="*/ 0 w 512"/>
              <a:gd name="T27" fmla="*/ 256 h 512"/>
              <a:gd name="T28" fmla="*/ 512 w 512"/>
              <a:gd name="T29" fmla="*/ 256 h 512"/>
              <a:gd name="T30" fmla="*/ 224 w 512"/>
              <a:gd name="T31" fmla="*/ 373 h 512"/>
              <a:gd name="T32" fmla="*/ 213 w 512"/>
              <a:gd name="T33" fmla="*/ 362 h 512"/>
              <a:gd name="T34" fmla="*/ 192 w 512"/>
              <a:gd name="T35" fmla="*/ 362 h 512"/>
              <a:gd name="T36" fmla="*/ 181 w 512"/>
              <a:gd name="T37" fmla="*/ 373 h 512"/>
              <a:gd name="T38" fmla="*/ 181 w 512"/>
              <a:gd name="T39" fmla="*/ 394 h 512"/>
              <a:gd name="T40" fmla="*/ 192 w 512"/>
              <a:gd name="T41" fmla="*/ 405 h 512"/>
              <a:gd name="T42" fmla="*/ 213 w 512"/>
              <a:gd name="T43" fmla="*/ 405 h 512"/>
              <a:gd name="T44" fmla="*/ 224 w 512"/>
              <a:gd name="T45" fmla="*/ 394 h 512"/>
              <a:gd name="T46" fmla="*/ 341 w 512"/>
              <a:gd name="T47" fmla="*/ 384 h 512"/>
              <a:gd name="T48" fmla="*/ 288 w 512"/>
              <a:gd name="T49" fmla="*/ 373 h 512"/>
              <a:gd name="T50" fmla="*/ 288 w 512"/>
              <a:gd name="T51" fmla="*/ 394 h 512"/>
              <a:gd name="T52" fmla="*/ 341 w 512"/>
              <a:gd name="T53" fmla="*/ 384 h 512"/>
              <a:gd name="T54" fmla="*/ 256 w 512"/>
              <a:gd name="T55" fmla="*/ 96 h 512"/>
              <a:gd name="T56" fmla="*/ 149 w 512"/>
              <a:gd name="T57" fmla="*/ 209 h 512"/>
              <a:gd name="T58" fmla="*/ 169 w 512"/>
              <a:gd name="T59" fmla="*/ 325 h 512"/>
              <a:gd name="T60" fmla="*/ 181 w 512"/>
              <a:gd name="T61" fmla="*/ 334 h 512"/>
              <a:gd name="T62" fmla="*/ 232 w 512"/>
              <a:gd name="T63" fmla="*/ 314 h 512"/>
              <a:gd name="T64" fmla="*/ 213 w 512"/>
              <a:gd name="T65" fmla="*/ 202 h 512"/>
              <a:gd name="T66" fmla="*/ 298 w 512"/>
              <a:gd name="T67" fmla="*/ 202 h 512"/>
              <a:gd name="T68" fmla="*/ 279 w 512"/>
              <a:gd name="T69" fmla="*/ 314 h 512"/>
              <a:gd name="T70" fmla="*/ 330 w 512"/>
              <a:gd name="T71" fmla="*/ 334 h 512"/>
              <a:gd name="T72" fmla="*/ 338 w 512"/>
              <a:gd name="T73" fmla="*/ 332 h 512"/>
              <a:gd name="T74" fmla="*/ 362 w 512"/>
              <a:gd name="T75" fmla="*/ 211 h 512"/>
              <a:gd name="T76" fmla="*/ 362 w 512"/>
              <a:gd name="T77"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05" y="282"/>
                </a:moveTo>
                <a:cubicBezTo>
                  <a:pt x="209" y="308"/>
                  <a:pt x="209" y="308"/>
                  <a:pt x="209" y="308"/>
                </a:cubicBezTo>
                <a:cubicBezTo>
                  <a:pt x="188" y="311"/>
                  <a:pt x="188" y="311"/>
                  <a:pt x="188" y="311"/>
                </a:cubicBezTo>
                <a:cubicBezTo>
                  <a:pt x="184" y="286"/>
                  <a:pt x="184" y="286"/>
                  <a:pt x="184" y="286"/>
                </a:cubicBezTo>
                <a:lnTo>
                  <a:pt x="205" y="282"/>
                </a:lnTo>
                <a:close/>
                <a:moveTo>
                  <a:pt x="302" y="308"/>
                </a:moveTo>
                <a:cubicBezTo>
                  <a:pt x="323" y="311"/>
                  <a:pt x="323" y="311"/>
                  <a:pt x="323" y="311"/>
                </a:cubicBezTo>
                <a:cubicBezTo>
                  <a:pt x="327" y="286"/>
                  <a:pt x="327" y="286"/>
                  <a:pt x="327" y="286"/>
                </a:cubicBezTo>
                <a:cubicBezTo>
                  <a:pt x="307" y="282"/>
                  <a:pt x="307" y="282"/>
                  <a:pt x="307" y="282"/>
                </a:cubicBezTo>
                <a:lnTo>
                  <a:pt x="302" y="308"/>
                </a:lnTo>
                <a:close/>
                <a:moveTo>
                  <a:pt x="256" y="117"/>
                </a:moveTo>
                <a:cubicBezTo>
                  <a:pt x="209" y="117"/>
                  <a:pt x="170" y="155"/>
                  <a:pt x="170" y="202"/>
                </a:cubicBezTo>
                <a:cubicBezTo>
                  <a:pt x="170" y="204"/>
                  <a:pt x="170" y="206"/>
                  <a:pt x="171" y="208"/>
                </a:cubicBezTo>
                <a:cubicBezTo>
                  <a:pt x="180" y="265"/>
                  <a:pt x="180" y="265"/>
                  <a:pt x="180" y="265"/>
                </a:cubicBezTo>
                <a:cubicBezTo>
                  <a:pt x="201" y="261"/>
                  <a:pt x="201" y="261"/>
                  <a:pt x="201" y="261"/>
                </a:cubicBezTo>
                <a:cubicBezTo>
                  <a:pt x="193" y="213"/>
                  <a:pt x="193" y="213"/>
                  <a:pt x="193" y="213"/>
                </a:cubicBezTo>
                <a:cubicBezTo>
                  <a:pt x="192" y="210"/>
                  <a:pt x="192" y="206"/>
                  <a:pt x="192" y="202"/>
                </a:cubicBezTo>
                <a:cubicBezTo>
                  <a:pt x="192" y="166"/>
                  <a:pt x="219" y="138"/>
                  <a:pt x="256" y="138"/>
                </a:cubicBezTo>
                <a:cubicBezTo>
                  <a:pt x="291" y="138"/>
                  <a:pt x="320" y="167"/>
                  <a:pt x="320" y="202"/>
                </a:cubicBezTo>
                <a:cubicBezTo>
                  <a:pt x="320" y="206"/>
                  <a:pt x="319" y="210"/>
                  <a:pt x="319" y="213"/>
                </a:cubicBezTo>
                <a:cubicBezTo>
                  <a:pt x="310" y="261"/>
                  <a:pt x="310" y="261"/>
                  <a:pt x="310" y="261"/>
                </a:cubicBezTo>
                <a:cubicBezTo>
                  <a:pt x="331" y="265"/>
                  <a:pt x="331" y="265"/>
                  <a:pt x="331" y="265"/>
                </a:cubicBezTo>
                <a:cubicBezTo>
                  <a:pt x="341" y="208"/>
                  <a:pt x="341" y="208"/>
                  <a:pt x="341" y="208"/>
                </a:cubicBezTo>
                <a:cubicBezTo>
                  <a:pt x="341" y="206"/>
                  <a:pt x="341" y="204"/>
                  <a:pt x="341" y="202"/>
                </a:cubicBezTo>
                <a:cubicBezTo>
                  <a:pt x="341" y="155"/>
                  <a:pt x="303"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384"/>
                </a:moveTo>
                <a:cubicBezTo>
                  <a:pt x="234" y="378"/>
                  <a:pt x="230" y="373"/>
                  <a:pt x="224" y="373"/>
                </a:cubicBezTo>
                <a:cubicBezTo>
                  <a:pt x="213" y="373"/>
                  <a:pt x="213" y="373"/>
                  <a:pt x="213" y="373"/>
                </a:cubicBezTo>
                <a:cubicBezTo>
                  <a:pt x="213" y="362"/>
                  <a:pt x="213" y="362"/>
                  <a:pt x="213" y="362"/>
                </a:cubicBezTo>
                <a:cubicBezTo>
                  <a:pt x="213" y="356"/>
                  <a:pt x="208" y="352"/>
                  <a:pt x="202" y="352"/>
                </a:cubicBezTo>
                <a:cubicBezTo>
                  <a:pt x="196" y="352"/>
                  <a:pt x="192" y="356"/>
                  <a:pt x="192" y="362"/>
                </a:cubicBezTo>
                <a:cubicBezTo>
                  <a:pt x="192" y="373"/>
                  <a:pt x="192" y="373"/>
                  <a:pt x="192" y="373"/>
                </a:cubicBezTo>
                <a:cubicBezTo>
                  <a:pt x="181" y="373"/>
                  <a:pt x="181" y="373"/>
                  <a:pt x="181" y="373"/>
                </a:cubicBezTo>
                <a:cubicBezTo>
                  <a:pt x="175" y="373"/>
                  <a:pt x="170" y="378"/>
                  <a:pt x="170" y="384"/>
                </a:cubicBezTo>
                <a:cubicBezTo>
                  <a:pt x="170" y="390"/>
                  <a:pt x="175" y="394"/>
                  <a:pt x="181" y="394"/>
                </a:cubicBezTo>
                <a:cubicBezTo>
                  <a:pt x="192" y="394"/>
                  <a:pt x="192" y="394"/>
                  <a:pt x="192" y="394"/>
                </a:cubicBezTo>
                <a:cubicBezTo>
                  <a:pt x="192" y="405"/>
                  <a:pt x="192" y="405"/>
                  <a:pt x="192" y="405"/>
                </a:cubicBezTo>
                <a:cubicBezTo>
                  <a:pt x="192" y="411"/>
                  <a:pt x="196" y="416"/>
                  <a:pt x="202" y="416"/>
                </a:cubicBezTo>
                <a:cubicBezTo>
                  <a:pt x="208" y="416"/>
                  <a:pt x="213" y="411"/>
                  <a:pt x="213" y="405"/>
                </a:cubicBezTo>
                <a:cubicBezTo>
                  <a:pt x="213" y="394"/>
                  <a:pt x="213" y="394"/>
                  <a:pt x="213" y="394"/>
                </a:cubicBezTo>
                <a:cubicBezTo>
                  <a:pt x="224" y="394"/>
                  <a:pt x="224" y="394"/>
                  <a:pt x="224" y="394"/>
                </a:cubicBezTo>
                <a:cubicBezTo>
                  <a:pt x="230" y="394"/>
                  <a:pt x="234" y="390"/>
                  <a:pt x="234" y="384"/>
                </a:cubicBezTo>
                <a:close/>
                <a:moveTo>
                  <a:pt x="341" y="384"/>
                </a:moveTo>
                <a:cubicBezTo>
                  <a:pt x="341" y="378"/>
                  <a:pt x="336" y="373"/>
                  <a:pt x="330" y="373"/>
                </a:cubicBezTo>
                <a:cubicBezTo>
                  <a:pt x="288" y="373"/>
                  <a:pt x="288" y="373"/>
                  <a:pt x="288" y="373"/>
                </a:cubicBezTo>
                <a:cubicBezTo>
                  <a:pt x="282" y="373"/>
                  <a:pt x="277" y="378"/>
                  <a:pt x="277" y="384"/>
                </a:cubicBezTo>
                <a:cubicBezTo>
                  <a:pt x="277" y="390"/>
                  <a:pt x="282" y="394"/>
                  <a:pt x="288" y="394"/>
                </a:cubicBezTo>
                <a:cubicBezTo>
                  <a:pt x="330" y="394"/>
                  <a:pt x="330" y="394"/>
                  <a:pt x="330" y="394"/>
                </a:cubicBezTo>
                <a:cubicBezTo>
                  <a:pt x="336" y="394"/>
                  <a:pt x="341" y="390"/>
                  <a:pt x="341" y="384"/>
                </a:cubicBezTo>
                <a:close/>
                <a:moveTo>
                  <a:pt x="362" y="202"/>
                </a:moveTo>
                <a:cubicBezTo>
                  <a:pt x="362" y="144"/>
                  <a:pt x="314" y="96"/>
                  <a:pt x="256" y="96"/>
                </a:cubicBezTo>
                <a:cubicBezTo>
                  <a:pt x="197" y="96"/>
                  <a:pt x="149" y="144"/>
                  <a:pt x="149" y="202"/>
                </a:cubicBezTo>
                <a:cubicBezTo>
                  <a:pt x="149" y="205"/>
                  <a:pt x="149" y="207"/>
                  <a:pt x="149" y="209"/>
                </a:cubicBezTo>
                <a:cubicBezTo>
                  <a:pt x="149" y="210"/>
                  <a:pt x="149" y="211"/>
                  <a:pt x="150" y="211"/>
                </a:cubicBezTo>
                <a:cubicBezTo>
                  <a:pt x="169" y="325"/>
                  <a:pt x="169" y="325"/>
                  <a:pt x="169" y="325"/>
                </a:cubicBezTo>
                <a:cubicBezTo>
                  <a:pt x="170" y="328"/>
                  <a:pt x="171" y="331"/>
                  <a:pt x="173" y="332"/>
                </a:cubicBezTo>
                <a:cubicBezTo>
                  <a:pt x="176" y="334"/>
                  <a:pt x="179" y="335"/>
                  <a:pt x="181" y="334"/>
                </a:cubicBezTo>
                <a:cubicBezTo>
                  <a:pt x="223" y="327"/>
                  <a:pt x="223" y="327"/>
                  <a:pt x="223" y="327"/>
                </a:cubicBezTo>
                <a:cubicBezTo>
                  <a:pt x="229" y="326"/>
                  <a:pt x="233" y="320"/>
                  <a:pt x="232" y="314"/>
                </a:cubicBezTo>
                <a:cubicBezTo>
                  <a:pt x="214" y="209"/>
                  <a:pt x="214" y="209"/>
                  <a:pt x="214" y="209"/>
                </a:cubicBezTo>
                <a:cubicBezTo>
                  <a:pt x="213" y="207"/>
                  <a:pt x="213" y="205"/>
                  <a:pt x="213" y="202"/>
                </a:cubicBezTo>
                <a:cubicBezTo>
                  <a:pt x="213" y="178"/>
                  <a:pt x="231" y="160"/>
                  <a:pt x="256" y="160"/>
                </a:cubicBezTo>
                <a:cubicBezTo>
                  <a:pt x="279" y="160"/>
                  <a:pt x="298" y="179"/>
                  <a:pt x="298" y="202"/>
                </a:cubicBezTo>
                <a:cubicBezTo>
                  <a:pt x="298" y="205"/>
                  <a:pt x="298" y="207"/>
                  <a:pt x="298" y="209"/>
                </a:cubicBezTo>
                <a:cubicBezTo>
                  <a:pt x="279" y="314"/>
                  <a:pt x="279" y="314"/>
                  <a:pt x="279" y="314"/>
                </a:cubicBezTo>
                <a:cubicBezTo>
                  <a:pt x="278" y="320"/>
                  <a:pt x="282" y="326"/>
                  <a:pt x="288" y="327"/>
                </a:cubicBezTo>
                <a:cubicBezTo>
                  <a:pt x="330" y="334"/>
                  <a:pt x="330" y="334"/>
                  <a:pt x="330" y="334"/>
                </a:cubicBezTo>
                <a:cubicBezTo>
                  <a:pt x="330" y="334"/>
                  <a:pt x="331" y="334"/>
                  <a:pt x="332" y="334"/>
                </a:cubicBezTo>
                <a:cubicBezTo>
                  <a:pt x="334" y="334"/>
                  <a:pt x="336" y="334"/>
                  <a:pt x="338" y="332"/>
                </a:cubicBezTo>
                <a:cubicBezTo>
                  <a:pt x="340" y="331"/>
                  <a:pt x="342" y="328"/>
                  <a:pt x="342" y="325"/>
                </a:cubicBezTo>
                <a:cubicBezTo>
                  <a:pt x="362" y="211"/>
                  <a:pt x="362" y="211"/>
                  <a:pt x="362" y="211"/>
                </a:cubicBezTo>
                <a:cubicBezTo>
                  <a:pt x="362" y="211"/>
                  <a:pt x="362" y="210"/>
                  <a:pt x="362" y="209"/>
                </a:cubicBezTo>
                <a:cubicBezTo>
                  <a:pt x="362" y="207"/>
                  <a:pt x="362" y="205"/>
                  <a:pt x="362" y="20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9" name="Group 667">
            <a:extLst>
              <a:ext uri="{FF2B5EF4-FFF2-40B4-BE49-F238E27FC236}">
                <a16:creationId xmlns:a16="http://schemas.microsoft.com/office/drawing/2014/main" id="{C52EC9B7-C5DF-4664-87C2-1796F3C3479B}"/>
              </a:ext>
            </a:extLst>
          </p:cNvPr>
          <p:cNvGrpSpPr>
            <a:grpSpLocks noChangeAspect="1"/>
          </p:cNvGrpSpPr>
          <p:nvPr/>
        </p:nvGrpSpPr>
        <p:grpSpPr bwMode="auto">
          <a:xfrm>
            <a:off x="6128651" y="3298170"/>
            <a:ext cx="367041" cy="367041"/>
            <a:chOff x="6153" y="3521"/>
            <a:chExt cx="340" cy="340"/>
          </a:xfrm>
          <a:solidFill>
            <a:schemeClr val="accent1"/>
          </a:solidFill>
        </p:grpSpPr>
        <p:sp>
          <p:nvSpPr>
            <p:cNvPr id="520" name="Freeform 728">
              <a:extLst>
                <a:ext uri="{FF2B5EF4-FFF2-40B4-BE49-F238E27FC236}">
                  <a16:creationId xmlns:a16="http://schemas.microsoft.com/office/drawing/2014/main" id="{B9537A0F-D7D7-4B7B-869B-8CEF3D14B758}"/>
                </a:ext>
              </a:extLst>
            </p:cNvPr>
            <p:cNvSpPr>
              <a:spLocks noEditPoints="1"/>
            </p:cNvSpPr>
            <p:nvPr/>
          </p:nvSpPr>
          <p:spPr bwMode="auto">
            <a:xfrm>
              <a:off x="6153" y="35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729">
              <a:extLst>
                <a:ext uri="{FF2B5EF4-FFF2-40B4-BE49-F238E27FC236}">
                  <a16:creationId xmlns:a16="http://schemas.microsoft.com/office/drawing/2014/main" id="{CCF98A67-E519-4548-ACB7-49ACF4862455}"/>
                </a:ext>
              </a:extLst>
            </p:cNvPr>
            <p:cNvSpPr>
              <a:spLocks noEditPoints="1"/>
            </p:cNvSpPr>
            <p:nvPr/>
          </p:nvSpPr>
          <p:spPr bwMode="auto">
            <a:xfrm>
              <a:off x="6252" y="3585"/>
              <a:ext cx="141" cy="212"/>
            </a:xfrm>
            <a:custGeom>
              <a:avLst/>
              <a:gdLst>
                <a:gd name="T0" fmla="*/ 75 w 213"/>
                <a:gd name="T1" fmla="*/ 298 h 320"/>
                <a:gd name="T2" fmla="*/ 64 w 213"/>
                <a:gd name="T3" fmla="*/ 309 h 320"/>
                <a:gd name="T4" fmla="*/ 43 w 213"/>
                <a:gd name="T5" fmla="*/ 309 h 320"/>
                <a:gd name="T6" fmla="*/ 32 w 213"/>
                <a:gd name="T7" fmla="*/ 298 h 320"/>
                <a:gd name="T8" fmla="*/ 32 w 213"/>
                <a:gd name="T9" fmla="*/ 277 h 320"/>
                <a:gd name="T10" fmla="*/ 43 w 213"/>
                <a:gd name="T11" fmla="*/ 266 h 320"/>
                <a:gd name="T12" fmla="*/ 64 w 213"/>
                <a:gd name="T13" fmla="*/ 266 h 320"/>
                <a:gd name="T14" fmla="*/ 75 w 213"/>
                <a:gd name="T15" fmla="*/ 277 h 320"/>
                <a:gd name="T16" fmla="*/ 181 w 213"/>
                <a:gd name="T17" fmla="*/ 277 h 320"/>
                <a:gd name="T18" fmla="*/ 128 w 213"/>
                <a:gd name="T19" fmla="*/ 288 h 320"/>
                <a:gd name="T20" fmla="*/ 181 w 213"/>
                <a:gd name="T21" fmla="*/ 298 h 320"/>
                <a:gd name="T22" fmla="*/ 181 w 213"/>
                <a:gd name="T23" fmla="*/ 277 h 320"/>
                <a:gd name="T24" fmla="*/ 213 w 213"/>
                <a:gd name="T25" fmla="*/ 113 h 320"/>
                <a:gd name="T26" fmla="*/ 193 w 213"/>
                <a:gd name="T27" fmla="*/ 229 h 320"/>
                <a:gd name="T28" fmla="*/ 183 w 213"/>
                <a:gd name="T29" fmla="*/ 238 h 320"/>
                <a:gd name="T30" fmla="*/ 139 w 213"/>
                <a:gd name="T31" fmla="*/ 231 h 320"/>
                <a:gd name="T32" fmla="*/ 149 w 213"/>
                <a:gd name="T33" fmla="*/ 113 h 320"/>
                <a:gd name="T34" fmla="*/ 107 w 213"/>
                <a:gd name="T35" fmla="*/ 64 h 320"/>
                <a:gd name="T36" fmla="*/ 65 w 213"/>
                <a:gd name="T37" fmla="*/ 113 h 320"/>
                <a:gd name="T38" fmla="*/ 74 w 213"/>
                <a:gd name="T39" fmla="*/ 231 h 320"/>
                <a:gd name="T40" fmla="*/ 24 w 213"/>
                <a:gd name="T41" fmla="*/ 236 h 320"/>
                <a:gd name="T42" fmla="*/ 1 w 213"/>
                <a:gd name="T43" fmla="*/ 115 h 320"/>
                <a:gd name="T44" fmla="*/ 0 w 213"/>
                <a:gd name="T45" fmla="*/ 106 h 320"/>
                <a:gd name="T46" fmla="*/ 213 w 213"/>
                <a:gd name="T47" fmla="*/ 106 h 320"/>
                <a:gd name="T48" fmla="*/ 56 w 213"/>
                <a:gd name="T49" fmla="*/ 186 h 320"/>
                <a:gd name="T50" fmla="*/ 39 w 213"/>
                <a:gd name="T51" fmla="*/ 215 h 320"/>
                <a:gd name="T52" fmla="*/ 171 w 213"/>
                <a:gd name="T53" fmla="*/ 106 h 320"/>
                <a:gd name="T54" fmla="*/ 161 w 213"/>
                <a:gd name="T55" fmla="*/ 165 h 320"/>
                <a:gd name="T56" fmla="*/ 192 w 213"/>
                <a:gd name="T57" fmla="*/ 112 h 320"/>
                <a:gd name="T58" fmla="*/ 107 w 213"/>
                <a:gd name="T59" fmla="*/ 21 h 320"/>
                <a:gd name="T60" fmla="*/ 22 w 213"/>
                <a:gd name="T61" fmla="*/ 112 h 320"/>
                <a:gd name="T62" fmla="*/ 52 w 213"/>
                <a:gd name="T63" fmla="*/ 165 h 320"/>
                <a:gd name="T64" fmla="*/ 43 w 213"/>
                <a:gd name="T65" fmla="*/ 106 h 320"/>
                <a:gd name="T66" fmla="*/ 171 w 213"/>
                <a:gd name="T67" fmla="*/ 106 h 320"/>
                <a:gd name="T68" fmla="*/ 178 w 213"/>
                <a:gd name="T69" fmla="*/ 190 h 320"/>
                <a:gd name="T70" fmla="*/ 153 w 213"/>
                <a:gd name="T71" fmla="*/ 21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3" h="320">
                  <a:moveTo>
                    <a:pt x="85" y="288"/>
                  </a:moveTo>
                  <a:cubicBezTo>
                    <a:pt x="85" y="294"/>
                    <a:pt x="81" y="298"/>
                    <a:pt x="75" y="298"/>
                  </a:cubicBezTo>
                  <a:cubicBezTo>
                    <a:pt x="64" y="298"/>
                    <a:pt x="64" y="298"/>
                    <a:pt x="64" y="298"/>
                  </a:cubicBezTo>
                  <a:cubicBezTo>
                    <a:pt x="64" y="309"/>
                    <a:pt x="64" y="309"/>
                    <a:pt x="64" y="309"/>
                  </a:cubicBezTo>
                  <a:cubicBezTo>
                    <a:pt x="64" y="315"/>
                    <a:pt x="59" y="320"/>
                    <a:pt x="53" y="320"/>
                  </a:cubicBezTo>
                  <a:cubicBezTo>
                    <a:pt x="47" y="320"/>
                    <a:pt x="43" y="315"/>
                    <a:pt x="43" y="309"/>
                  </a:cubicBezTo>
                  <a:cubicBezTo>
                    <a:pt x="43" y="298"/>
                    <a:pt x="43" y="298"/>
                    <a:pt x="43" y="298"/>
                  </a:cubicBezTo>
                  <a:cubicBezTo>
                    <a:pt x="32" y="298"/>
                    <a:pt x="32" y="298"/>
                    <a:pt x="32" y="298"/>
                  </a:cubicBezTo>
                  <a:cubicBezTo>
                    <a:pt x="26" y="298"/>
                    <a:pt x="21" y="294"/>
                    <a:pt x="21" y="288"/>
                  </a:cubicBezTo>
                  <a:cubicBezTo>
                    <a:pt x="21" y="282"/>
                    <a:pt x="26" y="277"/>
                    <a:pt x="32" y="277"/>
                  </a:cubicBezTo>
                  <a:cubicBezTo>
                    <a:pt x="43" y="277"/>
                    <a:pt x="43" y="277"/>
                    <a:pt x="43" y="277"/>
                  </a:cubicBezTo>
                  <a:cubicBezTo>
                    <a:pt x="43" y="266"/>
                    <a:pt x="43" y="266"/>
                    <a:pt x="43" y="266"/>
                  </a:cubicBezTo>
                  <a:cubicBezTo>
                    <a:pt x="43" y="260"/>
                    <a:pt x="47" y="256"/>
                    <a:pt x="53" y="256"/>
                  </a:cubicBezTo>
                  <a:cubicBezTo>
                    <a:pt x="59" y="256"/>
                    <a:pt x="64" y="260"/>
                    <a:pt x="64" y="266"/>
                  </a:cubicBezTo>
                  <a:cubicBezTo>
                    <a:pt x="64" y="277"/>
                    <a:pt x="64" y="277"/>
                    <a:pt x="64" y="277"/>
                  </a:cubicBezTo>
                  <a:cubicBezTo>
                    <a:pt x="75" y="277"/>
                    <a:pt x="75" y="277"/>
                    <a:pt x="75" y="277"/>
                  </a:cubicBezTo>
                  <a:cubicBezTo>
                    <a:pt x="81" y="277"/>
                    <a:pt x="85" y="282"/>
                    <a:pt x="85" y="288"/>
                  </a:cubicBezTo>
                  <a:close/>
                  <a:moveTo>
                    <a:pt x="181" y="277"/>
                  </a:moveTo>
                  <a:cubicBezTo>
                    <a:pt x="139" y="277"/>
                    <a:pt x="139" y="277"/>
                    <a:pt x="139" y="277"/>
                  </a:cubicBezTo>
                  <a:cubicBezTo>
                    <a:pt x="133" y="277"/>
                    <a:pt x="128" y="282"/>
                    <a:pt x="128" y="288"/>
                  </a:cubicBezTo>
                  <a:cubicBezTo>
                    <a:pt x="128" y="294"/>
                    <a:pt x="133" y="298"/>
                    <a:pt x="139" y="298"/>
                  </a:cubicBezTo>
                  <a:cubicBezTo>
                    <a:pt x="181" y="298"/>
                    <a:pt x="181" y="298"/>
                    <a:pt x="181" y="298"/>
                  </a:cubicBezTo>
                  <a:cubicBezTo>
                    <a:pt x="187" y="298"/>
                    <a:pt x="192" y="294"/>
                    <a:pt x="192" y="288"/>
                  </a:cubicBezTo>
                  <a:cubicBezTo>
                    <a:pt x="192" y="282"/>
                    <a:pt x="187" y="277"/>
                    <a:pt x="181" y="277"/>
                  </a:cubicBezTo>
                  <a:close/>
                  <a:moveTo>
                    <a:pt x="213" y="106"/>
                  </a:moveTo>
                  <a:cubicBezTo>
                    <a:pt x="213" y="109"/>
                    <a:pt x="213" y="111"/>
                    <a:pt x="213" y="113"/>
                  </a:cubicBezTo>
                  <a:cubicBezTo>
                    <a:pt x="213" y="114"/>
                    <a:pt x="213" y="115"/>
                    <a:pt x="213" y="115"/>
                  </a:cubicBezTo>
                  <a:cubicBezTo>
                    <a:pt x="193" y="229"/>
                    <a:pt x="193" y="229"/>
                    <a:pt x="193" y="229"/>
                  </a:cubicBezTo>
                  <a:cubicBezTo>
                    <a:pt x="193" y="232"/>
                    <a:pt x="191" y="235"/>
                    <a:pt x="189" y="236"/>
                  </a:cubicBezTo>
                  <a:cubicBezTo>
                    <a:pt x="187" y="238"/>
                    <a:pt x="185" y="238"/>
                    <a:pt x="183" y="238"/>
                  </a:cubicBezTo>
                  <a:cubicBezTo>
                    <a:pt x="182" y="238"/>
                    <a:pt x="181" y="238"/>
                    <a:pt x="181" y="238"/>
                  </a:cubicBezTo>
                  <a:cubicBezTo>
                    <a:pt x="139" y="231"/>
                    <a:pt x="139" y="231"/>
                    <a:pt x="139" y="231"/>
                  </a:cubicBezTo>
                  <a:cubicBezTo>
                    <a:pt x="133" y="230"/>
                    <a:pt x="129" y="224"/>
                    <a:pt x="130" y="218"/>
                  </a:cubicBezTo>
                  <a:cubicBezTo>
                    <a:pt x="149" y="113"/>
                    <a:pt x="149" y="113"/>
                    <a:pt x="149" y="113"/>
                  </a:cubicBezTo>
                  <a:cubicBezTo>
                    <a:pt x="149" y="111"/>
                    <a:pt x="149" y="109"/>
                    <a:pt x="149" y="106"/>
                  </a:cubicBezTo>
                  <a:cubicBezTo>
                    <a:pt x="149" y="83"/>
                    <a:pt x="130" y="64"/>
                    <a:pt x="107" y="64"/>
                  </a:cubicBezTo>
                  <a:cubicBezTo>
                    <a:pt x="82" y="64"/>
                    <a:pt x="64" y="82"/>
                    <a:pt x="64" y="106"/>
                  </a:cubicBezTo>
                  <a:cubicBezTo>
                    <a:pt x="64" y="109"/>
                    <a:pt x="64" y="111"/>
                    <a:pt x="65" y="113"/>
                  </a:cubicBezTo>
                  <a:cubicBezTo>
                    <a:pt x="83" y="218"/>
                    <a:pt x="83" y="218"/>
                    <a:pt x="83" y="218"/>
                  </a:cubicBezTo>
                  <a:cubicBezTo>
                    <a:pt x="84" y="224"/>
                    <a:pt x="80" y="230"/>
                    <a:pt x="74" y="231"/>
                  </a:cubicBezTo>
                  <a:cubicBezTo>
                    <a:pt x="32" y="238"/>
                    <a:pt x="32" y="238"/>
                    <a:pt x="32" y="238"/>
                  </a:cubicBezTo>
                  <a:cubicBezTo>
                    <a:pt x="30" y="239"/>
                    <a:pt x="27" y="238"/>
                    <a:pt x="24" y="236"/>
                  </a:cubicBezTo>
                  <a:cubicBezTo>
                    <a:pt x="22" y="235"/>
                    <a:pt x="21" y="232"/>
                    <a:pt x="20" y="229"/>
                  </a:cubicBezTo>
                  <a:cubicBezTo>
                    <a:pt x="1" y="115"/>
                    <a:pt x="1" y="115"/>
                    <a:pt x="1" y="115"/>
                  </a:cubicBezTo>
                  <a:cubicBezTo>
                    <a:pt x="0" y="115"/>
                    <a:pt x="0" y="114"/>
                    <a:pt x="0" y="113"/>
                  </a:cubicBezTo>
                  <a:cubicBezTo>
                    <a:pt x="0" y="111"/>
                    <a:pt x="0" y="109"/>
                    <a:pt x="0" y="106"/>
                  </a:cubicBezTo>
                  <a:cubicBezTo>
                    <a:pt x="0" y="48"/>
                    <a:pt x="48" y="0"/>
                    <a:pt x="107" y="0"/>
                  </a:cubicBezTo>
                  <a:cubicBezTo>
                    <a:pt x="165" y="0"/>
                    <a:pt x="213" y="48"/>
                    <a:pt x="213" y="106"/>
                  </a:cubicBezTo>
                  <a:close/>
                  <a:moveTo>
                    <a:pt x="60" y="212"/>
                  </a:moveTo>
                  <a:cubicBezTo>
                    <a:pt x="56" y="186"/>
                    <a:pt x="56" y="186"/>
                    <a:pt x="56" y="186"/>
                  </a:cubicBezTo>
                  <a:cubicBezTo>
                    <a:pt x="35" y="190"/>
                    <a:pt x="35" y="190"/>
                    <a:pt x="35" y="190"/>
                  </a:cubicBezTo>
                  <a:cubicBezTo>
                    <a:pt x="39" y="215"/>
                    <a:pt x="39" y="215"/>
                    <a:pt x="39" y="215"/>
                  </a:cubicBezTo>
                  <a:lnTo>
                    <a:pt x="60" y="212"/>
                  </a:lnTo>
                  <a:close/>
                  <a:moveTo>
                    <a:pt x="171" y="106"/>
                  </a:moveTo>
                  <a:cubicBezTo>
                    <a:pt x="171" y="110"/>
                    <a:pt x="170" y="114"/>
                    <a:pt x="170" y="117"/>
                  </a:cubicBezTo>
                  <a:cubicBezTo>
                    <a:pt x="161" y="165"/>
                    <a:pt x="161" y="165"/>
                    <a:pt x="161" y="165"/>
                  </a:cubicBezTo>
                  <a:cubicBezTo>
                    <a:pt x="182" y="169"/>
                    <a:pt x="182" y="169"/>
                    <a:pt x="182" y="169"/>
                  </a:cubicBezTo>
                  <a:cubicBezTo>
                    <a:pt x="192" y="112"/>
                    <a:pt x="192" y="112"/>
                    <a:pt x="192" y="112"/>
                  </a:cubicBezTo>
                  <a:cubicBezTo>
                    <a:pt x="192" y="110"/>
                    <a:pt x="192" y="108"/>
                    <a:pt x="192" y="106"/>
                  </a:cubicBezTo>
                  <a:cubicBezTo>
                    <a:pt x="192" y="59"/>
                    <a:pt x="154" y="21"/>
                    <a:pt x="107" y="21"/>
                  </a:cubicBezTo>
                  <a:cubicBezTo>
                    <a:pt x="60" y="21"/>
                    <a:pt x="21" y="59"/>
                    <a:pt x="21" y="106"/>
                  </a:cubicBezTo>
                  <a:cubicBezTo>
                    <a:pt x="21" y="108"/>
                    <a:pt x="21" y="110"/>
                    <a:pt x="22" y="112"/>
                  </a:cubicBezTo>
                  <a:cubicBezTo>
                    <a:pt x="31" y="169"/>
                    <a:pt x="31" y="169"/>
                    <a:pt x="31" y="169"/>
                  </a:cubicBezTo>
                  <a:cubicBezTo>
                    <a:pt x="52" y="165"/>
                    <a:pt x="52" y="165"/>
                    <a:pt x="52" y="165"/>
                  </a:cubicBezTo>
                  <a:cubicBezTo>
                    <a:pt x="44" y="117"/>
                    <a:pt x="44" y="117"/>
                    <a:pt x="44" y="117"/>
                  </a:cubicBezTo>
                  <a:cubicBezTo>
                    <a:pt x="43" y="114"/>
                    <a:pt x="43" y="110"/>
                    <a:pt x="43" y="106"/>
                  </a:cubicBezTo>
                  <a:cubicBezTo>
                    <a:pt x="43" y="70"/>
                    <a:pt x="70" y="42"/>
                    <a:pt x="107" y="42"/>
                  </a:cubicBezTo>
                  <a:cubicBezTo>
                    <a:pt x="142" y="42"/>
                    <a:pt x="171" y="71"/>
                    <a:pt x="171" y="106"/>
                  </a:cubicBezTo>
                  <a:close/>
                  <a:moveTo>
                    <a:pt x="174" y="215"/>
                  </a:moveTo>
                  <a:cubicBezTo>
                    <a:pt x="178" y="190"/>
                    <a:pt x="178" y="190"/>
                    <a:pt x="178" y="190"/>
                  </a:cubicBezTo>
                  <a:cubicBezTo>
                    <a:pt x="158" y="186"/>
                    <a:pt x="158" y="186"/>
                    <a:pt x="158" y="186"/>
                  </a:cubicBezTo>
                  <a:cubicBezTo>
                    <a:pt x="153" y="212"/>
                    <a:pt x="153" y="212"/>
                    <a:pt x="153" y="212"/>
                  </a:cubicBezTo>
                  <a:lnTo>
                    <a:pt x="174" y="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2" name="TextBox 531">
            <a:extLst>
              <a:ext uri="{FF2B5EF4-FFF2-40B4-BE49-F238E27FC236}">
                <a16:creationId xmlns:a16="http://schemas.microsoft.com/office/drawing/2014/main" id="{6054B123-6F0D-4B6F-8DDC-8048F0F34061}"/>
              </a:ext>
            </a:extLst>
          </p:cNvPr>
          <p:cNvSpPr txBox="1"/>
          <p:nvPr/>
        </p:nvSpPr>
        <p:spPr>
          <a:xfrm>
            <a:off x="7423999"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le/female</a:t>
            </a:r>
          </a:p>
        </p:txBody>
      </p:sp>
      <p:sp>
        <p:nvSpPr>
          <p:cNvPr id="533" name="TextBox 532">
            <a:extLst>
              <a:ext uri="{FF2B5EF4-FFF2-40B4-BE49-F238E27FC236}">
                <a16:creationId xmlns:a16="http://schemas.microsoft.com/office/drawing/2014/main" id="{17B37D0F-06AF-4EDA-9559-571EA6123EB9}"/>
              </a:ext>
            </a:extLst>
          </p:cNvPr>
          <p:cNvSpPr txBox="1"/>
          <p:nvPr/>
        </p:nvSpPr>
        <p:spPr>
          <a:xfrm>
            <a:off x="8293380"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le symbol</a:t>
            </a:r>
          </a:p>
        </p:txBody>
      </p:sp>
      <p:sp>
        <p:nvSpPr>
          <p:cNvPr id="534" name="TextBox 533">
            <a:extLst>
              <a:ext uri="{FF2B5EF4-FFF2-40B4-BE49-F238E27FC236}">
                <a16:creationId xmlns:a16="http://schemas.microsoft.com/office/drawing/2014/main" id="{934D4735-9AD6-41EC-A61B-54D6C75B784B}"/>
              </a:ext>
            </a:extLst>
          </p:cNvPr>
          <p:cNvSpPr txBox="1"/>
          <p:nvPr/>
        </p:nvSpPr>
        <p:spPr>
          <a:xfrm>
            <a:off x="10032142"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lette</a:t>
            </a:r>
          </a:p>
        </p:txBody>
      </p:sp>
      <p:sp>
        <p:nvSpPr>
          <p:cNvPr id="535" name="TextBox 534">
            <a:extLst>
              <a:ext uri="{FF2B5EF4-FFF2-40B4-BE49-F238E27FC236}">
                <a16:creationId xmlns:a16="http://schemas.microsoft.com/office/drawing/2014/main" id="{BBA760A7-78F9-4F4D-A3E3-A76538F5D92C}"/>
              </a:ext>
            </a:extLst>
          </p:cNvPr>
          <p:cNvSpPr txBox="1"/>
          <p:nvPr/>
        </p:nvSpPr>
        <p:spPr>
          <a:xfrm>
            <a:off x="9162761"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ckage</a:t>
            </a:r>
          </a:p>
        </p:txBody>
      </p:sp>
      <p:sp>
        <p:nvSpPr>
          <p:cNvPr id="542" name="Freeform 719">
            <a:extLst>
              <a:ext uri="{FF2B5EF4-FFF2-40B4-BE49-F238E27FC236}">
                <a16:creationId xmlns:a16="http://schemas.microsoft.com/office/drawing/2014/main" id="{E8CAC804-DB1D-4B3E-BA04-B06F56145B67}"/>
              </a:ext>
            </a:extLst>
          </p:cNvPr>
          <p:cNvSpPr>
            <a:spLocks noChangeAspect="1" noEditPoints="1"/>
          </p:cNvSpPr>
          <p:nvPr/>
        </p:nvSpPr>
        <p:spPr bwMode="auto">
          <a:xfrm>
            <a:off x="7433133" y="3298170"/>
            <a:ext cx="367041" cy="367041"/>
          </a:xfrm>
          <a:custGeom>
            <a:avLst/>
            <a:gdLst>
              <a:gd name="T0" fmla="*/ 389 w 512"/>
              <a:gd name="T1" fmla="*/ 303 h 512"/>
              <a:gd name="T2" fmla="*/ 341 w 512"/>
              <a:gd name="T3" fmla="*/ 352 h 512"/>
              <a:gd name="T4" fmla="*/ 293 w 512"/>
              <a:gd name="T5" fmla="*/ 303 h 512"/>
              <a:gd name="T6" fmla="*/ 341 w 512"/>
              <a:gd name="T7" fmla="*/ 255 h 512"/>
              <a:gd name="T8" fmla="*/ 389 w 512"/>
              <a:gd name="T9" fmla="*/ 303 h 512"/>
              <a:gd name="T10" fmla="*/ 181 w 512"/>
              <a:gd name="T11" fmla="*/ 160 h 512"/>
              <a:gd name="T12" fmla="*/ 133 w 512"/>
              <a:gd name="T13" fmla="*/ 208 h 512"/>
              <a:gd name="T14" fmla="*/ 181 w 512"/>
              <a:gd name="T15" fmla="*/ 256 h 512"/>
              <a:gd name="T16" fmla="*/ 229 w 512"/>
              <a:gd name="T17" fmla="*/ 208 h 512"/>
              <a:gd name="T18" fmla="*/ 181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92 w 512"/>
              <a:gd name="T31" fmla="*/ 277 h 512"/>
              <a:gd name="T32" fmla="*/ 251 w 512"/>
              <a:gd name="T33" fmla="*/ 208 h 512"/>
              <a:gd name="T34" fmla="*/ 181 w 512"/>
              <a:gd name="T35" fmla="*/ 138 h 512"/>
              <a:gd name="T36" fmla="*/ 111 w 512"/>
              <a:gd name="T37" fmla="*/ 208 h 512"/>
              <a:gd name="T38" fmla="*/ 170 w 512"/>
              <a:gd name="T39" fmla="*/ 277 h 512"/>
              <a:gd name="T40" fmla="*/ 170 w 512"/>
              <a:gd name="T41" fmla="*/ 277 h 512"/>
              <a:gd name="T42" fmla="*/ 170 w 512"/>
              <a:gd name="T43" fmla="*/ 309 h 512"/>
              <a:gd name="T44" fmla="*/ 138 w 512"/>
              <a:gd name="T45" fmla="*/ 309 h 512"/>
              <a:gd name="T46" fmla="*/ 128 w 512"/>
              <a:gd name="T47" fmla="*/ 320 h 512"/>
              <a:gd name="T48" fmla="*/ 138 w 512"/>
              <a:gd name="T49" fmla="*/ 330 h 512"/>
              <a:gd name="T50" fmla="*/ 170 w 512"/>
              <a:gd name="T51" fmla="*/ 330 h 512"/>
              <a:gd name="T52" fmla="*/ 170 w 512"/>
              <a:gd name="T53" fmla="*/ 362 h 512"/>
              <a:gd name="T54" fmla="*/ 181 w 512"/>
              <a:gd name="T55" fmla="*/ 373 h 512"/>
              <a:gd name="T56" fmla="*/ 192 w 512"/>
              <a:gd name="T57" fmla="*/ 362 h 512"/>
              <a:gd name="T58" fmla="*/ 192 w 512"/>
              <a:gd name="T59" fmla="*/ 330 h 512"/>
              <a:gd name="T60" fmla="*/ 224 w 512"/>
              <a:gd name="T61" fmla="*/ 330 h 512"/>
              <a:gd name="T62" fmla="*/ 234 w 512"/>
              <a:gd name="T63" fmla="*/ 320 h 512"/>
              <a:gd name="T64" fmla="*/ 224 w 512"/>
              <a:gd name="T65" fmla="*/ 309 h 512"/>
              <a:gd name="T66" fmla="*/ 192 w 512"/>
              <a:gd name="T67" fmla="*/ 309 h 512"/>
              <a:gd name="T68" fmla="*/ 192 w 512"/>
              <a:gd name="T69" fmla="*/ 277 h 512"/>
              <a:gd name="T70" fmla="*/ 192 w 512"/>
              <a:gd name="T71" fmla="*/ 277 h 512"/>
              <a:gd name="T72" fmla="*/ 411 w 512"/>
              <a:gd name="T73" fmla="*/ 303 h 512"/>
              <a:gd name="T74" fmla="*/ 352 w 512"/>
              <a:gd name="T75" fmla="*/ 235 h 512"/>
              <a:gd name="T76" fmla="*/ 352 w 512"/>
              <a:gd name="T77" fmla="*/ 234 h 512"/>
              <a:gd name="T78" fmla="*/ 352 w 512"/>
              <a:gd name="T79" fmla="*/ 175 h 512"/>
              <a:gd name="T80" fmla="*/ 376 w 512"/>
              <a:gd name="T81" fmla="*/ 199 h 512"/>
              <a:gd name="T82" fmla="*/ 384 w 512"/>
              <a:gd name="T83" fmla="*/ 202 h 512"/>
              <a:gd name="T84" fmla="*/ 391 w 512"/>
              <a:gd name="T85" fmla="*/ 199 h 512"/>
              <a:gd name="T86" fmla="*/ 391 w 512"/>
              <a:gd name="T87" fmla="*/ 184 h 512"/>
              <a:gd name="T88" fmla="*/ 349 w 512"/>
              <a:gd name="T89" fmla="*/ 141 h 512"/>
              <a:gd name="T90" fmla="*/ 345 w 512"/>
              <a:gd name="T91" fmla="*/ 139 h 512"/>
              <a:gd name="T92" fmla="*/ 337 w 512"/>
              <a:gd name="T93" fmla="*/ 139 h 512"/>
              <a:gd name="T94" fmla="*/ 333 w 512"/>
              <a:gd name="T95" fmla="*/ 141 h 512"/>
              <a:gd name="T96" fmla="*/ 291 w 512"/>
              <a:gd name="T97" fmla="*/ 184 h 512"/>
              <a:gd name="T98" fmla="*/ 291 w 512"/>
              <a:gd name="T99" fmla="*/ 199 h 512"/>
              <a:gd name="T100" fmla="*/ 298 w 512"/>
              <a:gd name="T101" fmla="*/ 202 h 512"/>
              <a:gd name="T102" fmla="*/ 306 w 512"/>
              <a:gd name="T103" fmla="*/ 199 h 512"/>
              <a:gd name="T104" fmla="*/ 330 w 512"/>
              <a:gd name="T105" fmla="*/ 175 h 512"/>
              <a:gd name="T106" fmla="*/ 330 w 512"/>
              <a:gd name="T107" fmla="*/ 234 h 512"/>
              <a:gd name="T108" fmla="*/ 330 w 512"/>
              <a:gd name="T109" fmla="*/ 235 h 512"/>
              <a:gd name="T110" fmla="*/ 271 w 512"/>
              <a:gd name="T111" fmla="*/ 303 h 512"/>
              <a:gd name="T112" fmla="*/ 341 w 512"/>
              <a:gd name="T113" fmla="*/ 373 h 512"/>
              <a:gd name="T114" fmla="*/ 411 w 512"/>
              <a:gd name="T115" fmla="*/ 3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89" y="303"/>
                </a:moveTo>
                <a:cubicBezTo>
                  <a:pt x="389" y="330"/>
                  <a:pt x="368" y="352"/>
                  <a:pt x="341" y="352"/>
                </a:cubicBezTo>
                <a:cubicBezTo>
                  <a:pt x="314" y="352"/>
                  <a:pt x="293" y="330"/>
                  <a:pt x="293" y="303"/>
                </a:cubicBezTo>
                <a:cubicBezTo>
                  <a:pt x="293" y="277"/>
                  <a:pt x="314" y="255"/>
                  <a:pt x="341" y="255"/>
                </a:cubicBezTo>
                <a:cubicBezTo>
                  <a:pt x="368" y="255"/>
                  <a:pt x="389" y="277"/>
                  <a:pt x="389" y="303"/>
                </a:cubicBezTo>
                <a:close/>
                <a:moveTo>
                  <a:pt x="181" y="160"/>
                </a:moveTo>
                <a:cubicBezTo>
                  <a:pt x="154" y="160"/>
                  <a:pt x="133" y="181"/>
                  <a:pt x="133" y="208"/>
                </a:cubicBezTo>
                <a:cubicBezTo>
                  <a:pt x="133" y="235"/>
                  <a:pt x="154" y="256"/>
                  <a:pt x="181" y="256"/>
                </a:cubicBezTo>
                <a:cubicBezTo>
                  <a:pt x="208" y="256"/>
                  <a:pt x="229" y="235"/>
                  <a:pt x="229" y="208"/>
                </a:cubicBezTo>
                <a:cubicBezTo>
                  <a:pt x="229" y="181"/>
                  <a:pt x="208" y="160"/>
                  <a:pt x="181"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277"/>
                </a:moveTo>
                <a:cubicBezTo>
                  <a:pt x="225" y="272"/>
                  <a:pt x="251" y="243"/>
                  <a:pt x="251" y="208"/>
                </a:cubicBezTo>
                <a:cubicBezTo>
                  <a:pt x="251" y="170"/>
                  <a:pt x="219" y="138"/>
                  <a:pt x="181" y="138"/>
                </a:cubicBezTo>
                <a:cubicBezTo>
                  <a:pt x="143" y="138"/>
                  <a:pt x="111" y="170"/>
                  <a:pt x="111" y="208"/>
                </a:cubicBezTo>
                <a:cubicBezTo>
                  <a:pt x="111" y="243"/>
                  <a:pt x="137" y="272"/>
                  <a:pt x="170" y="277"/>
                </a:cubicBezTo>
                <a:cubicBezTo>
                  <a:pt x="170" y="277"/>
                  <a:pt x="170" y="277"/>
                  <a:pt x="170" y="277"/>
                </a:cubicBezTo>
                <a:cubicBezTo>
                  <a:pt x="170" y="309"/>
                  <a:pt x="170" y="309"/>
                  <a:pt x="170" y="309"/>
                </a:cubicBezTo>
                <a:cubicBezTo>
                  <a:pt x="138" y="309"/>
                  <a:pt x="138" y="309"/>
                  <a:pt x="138" y="309"/>
                </a:cubicBezTo>
                <a:cubicBezTo>
                  <a:pt x="132" y="309"/>
                  <a:pt x="128" y="314"/>
                  <a:pt x="128" y="320"/>
                </a:cubicBezTo>
                <a:cubicBezTo>
                  <a:pt x="128" y="326"/>
                  <a:pt x="132" y="330"/>
                  <a:pt x="138" y="330"/>
                </a:cubicBezTo>
                <a:cubicBezTo>
                  <a:pt x="170" y="330"/>
                  <a:pt x="170" y="330"/>
                  <a:pt x="170" y="330"/>
                </a:cubicBezTo>
                <a:cubicBezTo>
                  <a:pt x="170" y="362"/>
                  <a:pt x="170" y="362"/>
                  <a:pt x="170" y="362"/>
                </a:cubicBezTo>
                <a:cubicBezTo>
                  <a:pt x="170" y="368"/>
                  <a:pt x="175" y="373"/>
                  <a:pt x="181" y="373"/>
                </a:cubicBezTo>
                <a:cubicBezTo>
                  <a:pt x="187" y="373"/>
                  <a:pt x="192" y="368"/>
                  <a:pt x="192" y="362"/>
                </a:cubicBezTo>
                <a:cubicBezTo>
                  <a:pt x="192" y="330"/>
                  <a:pt x="192" y="330"/>
                  <a:pt x="192" y="330"/>
                </a:cubicBezTo>
                <a:cubicBezTo>
                  <a:pt x="224" y="330"/>
                  <a:pt x="224" y="330"/>
                  <a:pt x="224" y="330"/>
                </a:cubicBezTo>
                <a:cubicBezTo>
                  <a:pt x="230" y="330"/>
                  <a:pt x="234" y="326"/>
                  <a:pt x="234" y="320"/>
                </a:cubicBezTo>
                <a:cubicBezTo>
                  <a:pt x="234" y="314"/>
                  <a:pt x="230" y="309"/>
                  <a:pt x="224" y="309"/>
                </a:cubicBezTo>
                <a:cubicBezTo>
                  <a:pt x="192" y="309"/>
                  <a:pt x="192" y="309"/>
                  <a:pt x="192" y="309"/>
                </a:cubicBezTo>
                <a:cubicBezTo>
                  <a:pt x="192" y="277"/>
                  <a:pt x="192" y="277"/>
                  <a:pt x="192" y="277"/>
                </a:cubicBezTo>
                <a:cubicBezTo>
                  <a:pt x="192" y="277"/>
                  <a:pt x="192" y="277"/>
                  <a:pt x="192" y="277"/>
                </a:cubicBezTo>
                <a:close/>
                <a:moveTo>
                  <a:pt x="411" y="303"/>
                </a:moveTo>
                <a:cubicBezTo>
                  <a:pt x="411" y="269"/>
                  <a:pt x="385" y="240"/>
                  <a:pt x="352" y="235"/>
                </a:cubicBezTo>
                <a:cubicBezTo>
                  <a:pt x="352" y="235"/>
                  <a:pt x="352" y="234"/>
                  <a:pt x="352" y="234"/>
                </a:cubicBezTo>
                <a:cubicBezTo>
                  <a:pt x="352" y="175"/>
                  <a:pt x="352" y="175"/>
                  <a:pt x="352" y="175"/>
                </a:cubicBezTo>
                <a:cubicBezTo>
                  <a:pt x="376" y="199"/>
                  <a:pt x="376" y="199"/>
                  <a:pt x="376" y="199"/>
                </a:cubicBezTo>
                <a:cubicBezTo>
                  <a:pt x="378" y="201"/>
                  <a:pt x="381" y="202"/>
                  <a:pt x="384" y="202"/>
                </a:cubicBezTo>
                <a:cubicBezTo>
                  <a:pt x="386" y="202"/>
                  <a:pt x="389" y="201"/>
                  <a:pt x="391" y="199"/>
                </a:cubicBezTo>
                <a:cubicBezTo>
                  <a:pt x="395" y="195"/>
                  <a:pt x="395" y="188"/>
                  <a:pt x="391" y="184"/>
                </a:cubicBezTo>
                <a:cubicBezTo>
                  <a:pt x="349" y="141"/>
                  <a:pt x="349" y="141"/>
                  <a:pt x="349" y="141"/>
                </a:cubicBezTo>
                <a:cubicBezTo>
                  <a:pt x="348" y="140"/>
                  <a:pt x="346" y="140"/>
                  <a:pt x="345" y="139"/>
                </a:cubicBezTo>
                <a:cubicBezTo>
                  <a:pt x="342" y="138"/>
                  <a:pt x="340" y="138"/>
                  <a:pt x="337" y="139"/>
                </a:cubicBezTo>
                <a:cubicBezTo>
                  <a:pt x="336" y="140"/>
                  <a:pt x="334" y="140"/>
                  <a:pt x="333" y="141"/>
                </a:cubicBezTo>
                <a:cubicBezTo>
                  <a:pt x="291" y="184"/>
                  <a:pt x="291" y="184"/>
                  <a:pt x="291" y="184"/>
                </a:cubicBezTo>
                <a:cubicBezTo>
                  <a:pt x="287" y="188"/>
                  <a:pt x="287" y="195"/>
                  <a:pt x="291" y="199"/>
                </a:cubicBezTo>
                <a:cubicBezTo>
                  <a:pt x="293" y="201"/>
                  <a:pt x="296" y="202"/>
                  <a:pt x="298" y="202"/>
                </a:cubicBezTo>
                <a:cubicBezTo>
                  <a:pt x="301" y="202"/>
                  <a:pt x="304" y="201"/>
                  <a:pt x="306" y="199"/>
                </a:cubicBezTo>
                <a:cubicBezTo>
                  <a:pt x="330" y="175"/>
                  <a:pt x="330" y="175"/>
                  <a:pt x="330" y="175"/>
                </a:cubicBezTo>
                <a:cubicBezTo>
                  <a:pt x="330" y="234"/>
                  <a:pt x="330" y="234"/>
                  <a:pt x="330" y="234"/>
                </a:cubicBezTo>
                <a:cubicBezTo>
                  <a:pt x="330" y="234"/>
                  <a:pt x="330" y="235"/>
                  <a:pt x="330" y="235"/>
                </a:cubicBezTo>
                <a:cubicBezTo>
                  <a:pt x="297" y="240"/>
                  <a:pt x="271" y="269"/>
                  <a:pt x="271" y="303"/>
                </a:cubicBezTo>
                <a:cubicBezTo>
                  <a:pt x="271" y="342"/>
                  <a:pt x="303" y="373"/>
                  <a:pt x="341" y="373"/>
                </a:cubicBezTo>
                <a:cubicBezTo>
                  <a:pt x="379" y="373"/>
                  <a:pt x="411" y="342"/>
                  <a:pt x="411" y="30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3" name="Group 722">
            <a:extLst>
              <a:ext uri="{FF2B5EF4-FFF2-40B4-BE49-F238E27FC236}">
                <a16:creationId xmlns:a16="http://schemas.microsoft.com/office/drawing/2014/main" id="{EA5E1FA7-92DD-4927-BEAD-D13EEC01B3CD}"/>
              </a:ext>
            </a:extLst>
          </p:cNvPr>
          <p:cNvGrpSpPr>
            <a:grpSpLocks noChangeAspect="1"/>
          </p:cNvGrpSpPr>
          <p:nvPr/>
        </p:nvGrpSpPr>
        <p:grpSpPr bwMode="auto">
          <a:xfrm>
            <a:off x="7867567" y="3298170"/>
            <a:ext cx="368120" cy="367041"/>
            <a:chOff x="4003" y="3131"/>
            <a:chExt cx="341" cy="340"/>
          </a:xfrm>
          <a:solidFill>
            <a:schemeClr val="accent2"/>
          </a:solidFill>
        </p:grpSpPr>
        <p:sp>
          <p:nvSpPr>
            <p:cNvPr id="544" name="Freeform 723">
              <a:extLst>
                <a:ext uri="{FF2B5EF4-FFF2-40B4-BE49-F238E27FC236}">
                  <a16:creationId xmlns:a16="http://schemas.microsoft.com/office/drawing/2014/main" id="{6EC77E34-8792-47B1-B59F-F9B3D9765BD1}"/>
                </a:ext>
              </a:extLst>
            </p:cNvPr>
            <p:cNvSpPr>
              <a:spLocks noEditPoints="1"/>
            </p:cNvSpPr>
            <p:nvPr/>
          </p:nvSpPr>
          <p:spPr bwMode="auto">
            <a:xfrm>
              <a:off x="4077" y="3223"/>
              <a:ext cx="93" cy="156"/>
            </a:xfrm>
            <a:custGeom>
              <a:avLst/>
              <a:gdLst>
                <a:gd name="T0" fmla="*/ 140 w 140"/>
                <a:gd name="T1" fmla="*/ 70 h 235"/>
                <a:gd name="T2" fmla="*/ 70 w 140"/>
                <a:gd name="T3" fmla="*/ 0 h 235"/>
                <a:gd name="T4" fmla="*/ 0 w 140"/>
                <a:gd name="T5" fmla="*/ 70 h 235"/>
                <a:gd name="T6" fmla="*/ 59 w 140"/>
                <a:gd name="T7" fmla="*/ 139 h 235"/>
                <a:gd name="T8" fmla="*/ 59 w 140"/>
                <a:gd name="T9" fmla="*/ 139 h 235"/>
                <a:gd name="T10" fmla="*/ 59 w 140"/>
                <a:gd name="T11" fmla="*/ 171 h 235"/>
                <a:gd name="T12" fmla="*/ 27 w 140"/>
                <a:gd name="T13" fmla="*/ 171 h 235"/>
                <a:gd name="T14" fmla="*/ 17 w 140"/>
                <a:gd name="T15" fmla="*/ 182 h 235"/>
                <a:gd name="T16" fmla="*/ 27 w 140"/>
                <a:gd name="T17" fmla="*/ 192 h 235"/>
                <a:gd name="T18" fmla="*/ 59 w 140"/>
                <a:gd name="T19" fmla="*/ 192 h 235"/>
                <a:gd name="T20" fmla="*/ 59 w 140"/>
                <a:gd name="T21" fmla="*/ 224 h 235"/>
                <a:gd name="T22" fmla="*/ 70 w 140"/>
                <a:gd name="T23" fmla="*/ 235 h 235"/>
                <a:gd name="T24" fmla="*/ 81 w 140"/>
                <a:gd name="T25" fmla="*/ 224 h 235"/>
                <a:gd name="T26" fmla="*/ 81 w 140"/>
                <a:gd name="T27" fmla="*/ 192 h 235"/>
                <a:gd name="T28" fmla="*/ 113 w 140"/>
                <a:gd name="T29" fmla="*/ 192 h 235"/>
                <a:gd name="T30" fmla="*/ 123 w 140"/>
                <a:gd name="T31" fmla="*/ 182 h 235"/>
                <a:gd name="T32" fmla="*/ 113 w 140"/>
                <a:gd name="T33" fmla="*/ 171 h 235"/>
                <a:gd name="T34" fmla="*/ 81 w 140"/>
                <a:gd name="T35" fmla="*/ 171 h 235"/>
                <a:gd name="T36" fmla="*/ 81 w 140"/>
                <a:gd name="T37" fmla="*/ 139 h 235"/>
                <a:gd name="T38" fmla="*/ 81 w 140"/>
                <a:gd name="T39" fmla="*/ 139 h 235"/>
                <a:gd name="T40" fmla="*/ 140 w 140"/>
                <a:gd name="T41" fmla="*/ 70 h 235"/>
                <a:gd name="T42" fmla="*/ 70 w 140"/>
                <a:gd name="T43" fmla="*/ 118 h 235"/>
                <a:gd name="T44" fmla="*/ 22 w 140"/>
                <a:gd name="T45" fmla="*/ 70 h 235"/>
                <a:gd name="T46" fmla="*/ 70 w 140"/>
                <a:gd name="T47" fmla="*/ 22 h 235"/>
                <a:gd name="T48" fmla="*/ 118 w 140"/>
                <a:gd name="T49" fmla="*/ 70 h 235"/>
                <a:gd name="T50" fmla="*/ 70 w 140"/>
                <a:gd name="T51"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0" h="235">
                  <a:moveTo>
                    <a:pt x="140" y="70"/>
                  </a:moveTo>
                  <a:cubicBezTo>
                    <a:pt x="140" y="32"/>
                    <a:pt x="108" y="0"/>
                    <a:pt x="70" y="0"/>
                  </a:cubicBezTo>
                  <a:cubicBezTo>
                    <a:pt x="32" y="0"/>
                    <a:pt x="0" y="32"/>
                    <a:pt x="0" y="70"/>
                  </a:cubicBezTo>
                  <a:cubicBezTo>
                    <a:pt x="0" y="105"/>
                    <a:pt x="26" y="134"/>
                    <a:pt x="59" y="139"/>
                  </a:cubicBezTo>
                  <a:cubicBezTo>
                    <a:pt x="59" y="139"/>
                    <a:pt x="59" y="139"/>
                    <a:pt x="59" y="139"/>
                  </a:cubicBezTo>
                  <a:cubicBezTo>
                    <a:pt x="59" y="171"/>
                    <a:pt x="59" y="171"/>
                    <a:pt x="59" y="171"/>
                  </a:cubicBezTo>
                  <a:cubicBezTo>
                    <a:pt x="27" y="171"/>
                    <a:pt x="27" y="171"/>
                    <a:pt x="27" y="171"/>
                  </a:cubicBezTo>
                  <a:cubicBezTo>
                    <a:pt x="21" y="171"/>
                    <a:pt x="17" y="176"/>
                    <a:pt x="17" y="182"/>
                  </a:cubicBezTo>
                  <a:cubicBezTo>
                    <a:pt x="17" y="188"/>
                    <a:pt x="21" y="192"/>
                    <a:pt x="27" y="192"/>
                  </a:cubicBezTo>
                  <a:cubicBezTo>
                    <a:pt x="59" y="192"/>
                    <a:pt x="59" y="192"/>
                    <a:pt x="59" y="192"/>
                  </a:cubicBezTo>
                  <a:cubicBezTo>
                    <a:pt x="59" y="224"/>
                    <a:pt x="59" y="224"/>
                    <a:pt x="59" y="224"/>
                  </a:cubicBezTo>
                  <a:cubicBezTo>
                    <a:pt x="59" y="230"/>
                    <a:pt x="64" y="235"/>
                    <a:pt x="70" y="235"/>
                  </a:cubicBezTo>
                  <a:cubicBezTo>
                    <a:pt x="76" y="235"/>
                    <a:pt x="81" y="230"/>
                    <a:pt x="81" y="224"/>
                  </a:cubicBezTo>
                  <a:cubicBezTo>
                    <a:pt x="81" y="192"/>
                    <a:pt x="81" y="192"/>
                    <a:pt x="81" y="192"/>
                  </a:cubicBezTo>
                  <a:cubicBezTo>
                    <a:pt x="113" y="192"/>
                    <a:pt x="113" y="192"/>
                    <a:pt x="113" y="192"/>
                  </a:cubicBezTo>
                  <a:cubicBezTo>
                    <a:pt x="119" y="192"/>
                    <a:pt x="123" y="188"/>
                    <a:pt x="123" y="182"/>
                  </a:cubicBezTo>
                  <a:cubicBezTo>
                    <a:pt x="123" y="176"/>
                    <a:pt x="119" y="171"/>
                    <a:pt x="113" y="171"/>
                  </a:cubicBezTo>
                  <a:cubicBezTo>
                    <a:pt x="81" y="171"/>
                    <a:pt x="81" y="171"/>
                    <a:pt x="81" y="171"/>
                  </a:cubicBezTo>
                  <a:cubicBezTo>
                    <a:pt x="81" y="139"/>
                    <a:pt x="81" y="139"/>
                    <a:pt x="81" y="139"/>
                  </a:cubicBezTo>
                  <a:cubicBezTo>
                    <a:pt x="81" y="139"/>
                    <a:pt x="81" y="139"/>
                    <a:pt x="81" y="139"/>
                  </a:cubicBezTo>
                  <a:cubicBezTo>
                    <a:pt x="114" y="134"/>
                    <a:pt x="140" y="105"/>
                    <a:pt x="140" y="70"/>
                  </a:cubicBezTo>
                  <a:close/>
                  <a:moveTo>
                    <a:pt x="70" y="118"/>
                  </a:moveTo>
                  <a:cubicBezTo>
                    <a:pt x="43" y="118"/>
                    <a:pt x="22" y="97"/>
                    <a:pt x="22" y="70"/>
                  </a:cubicBezTo>
                  <a:cubicBezTo>
                    <a:pt x="22" y="43"/>
                    <a:pt x="43" y="22"/>
                    <a:pt x="70" y="22"/>
                  </a:cubicBezTo>
                  <a:cubicBezTo>
                    <a:pt x="97" y="22"/>
                    <a:pt x="118" y="43"/>
                    <a:pt x="118" y="70"/>
                  </a:cubicBezTo>
                  <a:cubicBezTo>
                    <a:pt x="118" y="97"/>
                    <a:pt x="97" y="118"/>
                    <a:pt x="70"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5" name="Freeform 724">
              <a:extLst>
                <a:ext uri="{FF2B5EF4-FFF2-40B4-BE49-F238E27FC236}">
                  <a16:creationId xmlns:a16="http://schemas.microsoft.com/office/drawing/2014/main" id="{2A902AD4-57D5-4E23-A060-7107975DD569}"/>
                </a:ext>
              </a:extLst>
            </p:cNvPr>
            <p:cNvSpPr>
              <a:spLocks noEditPoints="1"/>
            </p:cNvSpPr>
            <p:nvPr/>
          </p:nvSpPr>
          <p:spPr bwMode="auto">
            <a:xfrm>
              <a:off x="4183" y="3223"/>
              <a:ext cx="94" cy="156"/>
            </a:xfrm>
            <a:custGeom>
              <a:avLst/>
              <a:gdLst>
                <a:gd name="T0" fmla="*/ 81 w 140"/>
                <a:gd name="T1" fmla="*/ 97 h 235"/>
                <a:gd name="T2" fmla="*/ 81 w 140"/>
                <a:gd name="T3" fmla="*/ 96 h 235"/>
                <a:gd name="T4" fmla="*/ 81 w 140"/>
                <a:gd name="T5" fmla="*/ 37 h 235"/>
                <a:gd name="T6" fmla="*/ 105 w 140"/>
                <a:gd name="T7" fmla="*/ 61 h 235"/>
                <a:gd name="T8" fmla="*/ 113 w 140"/>
                <a:gd name="T9" fmla="*/ 64 h 235"/>
                <a:gd name="T10" fmla="*/ 120 w 140"/>
                <a:gd name="T11" fmla="*/ 61 h 235"/>
                <a:gd name="T12" fmla="*/ 120 w 140"/>
                <a:gd name="T13" fmla="*/ 46 h 235"/>
                <a:gd name="T14" fmla="*/ 78 w 140"/>
                <a:gd name="T15" fmla="*/ 3 h 235"/>
                <a:gd name="T16" fmla="*/ 74 w 140"/>
                <a:gd name="T17" fmla="*/ 1 h 235"/>
                <a:gd name="T18" fmla="*/ 66 w 140"/>
                <a:gd name="T19" fmla="*/ 1 h 235"/>
                <a:gd name="T20" fmla="*/ 62 w 140"/>
                <a:gd name="T21" fmla="*/ 3 h 235"/>
                <a:gd name="T22" fmla="*/ 20 w 140"/>
                <a:gd name="T23" fmla="*/ 46 h 235"/>
                <a:gd name="T24" fmla="*/ 20 w 140"/>
                <a:gd name="T25" fmla="*/ 61 h 235"/>
                <a:gd name="T26" fmla="*/ 27 w 140"/>
                <a:gd name="T27" fmla="*/ 64 h 235"/>
                <a:gd name="T28" fmla="*/ 35 w 140"/>
                <a:gd name="T29" fmla="*/ 61 h 235"/>
                <a:gd name="T30" fmla="*/ 59 w 140"/>
                <a:gd name="T31" fmla="*/ 37 h 235"/>
                <a:gd name="T32" fmla="*/ 59 w 140"/>
                <a:gd name="T33" fmla="*/ 96 h 235"/>
                <a:gd name="T34" fmla="*/ 59 w 140"/>
                <a:gd name="T35" fmla="*/ 97 h 235"/>
                <a:gd name="T36" fmla="*/ 0 w 140"/>
                <a:gd name="T37" fmla="*/ 165 h 235"/>
                <a:gd name="T38" fmla="*/ 70 w 140"/>
                <a:gd name="T39" fmla="*/ 235 h 235"/>
                <a:gd name="T40" fmla="*/ 140 w 140"/>
                <a:gd name="T41" fmla="*/ 165 h 235"/>
                <a:gd name="T42" fmla="*/ 81 w 140"/>
                <a:gd name="T43" fmla="*/ 97 h 235"/>
                <a:gd name="T44" fmla="*/ 70 w 140"/>
                <a:gd name="T45" fmla="*/ 214 h 235"/>
                <a:gd name="T46" fmla="*/ 22 w 140"/>
                <a:gd name="T47" fmla="*/ 165 h 235"/>
                <a:gd name="T48" fmla="*/ 70 w 140"/>
                <a:gd name="T49" fmla="*/ 117 h 235"/>
                <a:gd name="T50" fmla="*/ 118 w 140"/>
                <a:gd name="T51" fmla="*/ 165 h 235"/>
                <a:gd name="T52" fmla="*/ 70 w 140"/>
                <a:gd name="T53"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235">
                  <a:moveTo>
                    <a:pt x="81" y="97"/>
                  </a:moveTo>
                  <a:cubicBezTo>
                    <a:pt x="81" y="97"/>
                    <a:pt x="81" y="96"/>
                    <a:pt x="81" y="96"/>
                  </a:cubicBezTo>
                  <a:cubicBezTo>
                    <a:pt x="81" y="37"/>
                    <a:pt x="81" y="37"/>
                    <a:pt x="81" y="37"/>
                  </a:cubicBezTo>
                  <a:cubicBezTo>
                    <a:pt x="105" y="61"/>
                    <a:pt x="105" y="61"/>
                    <a:pt x="105" y="61"/>
                  </a:cubicBezTo>
                  <a:cubicBezTo>
                    <a:pt x="107" y="63"/>
                    <a:pt x="110" y="64"/>
                    <a:pt x="113" y="64"/>
                  </a:cubicBezTo>
                  <a:cubicBezTo>
                    <a:pt x="115" y="64"/>
                    <a:pt x="118" y="63"/>
                    <a:pt x="120" y="61"/>
                  </a:cubicBezTo>
                  <a:cubicBezTo>
                    <a:pt x="124" y="57"/>
                    <a:pt x="124" y="50"/>
                    <a:pt x="120" y="46"/>
                  </a:cubicBezTo>
                  <a:cubicBezTo>
                    <a:pt x="78" y="3"/>
                    <a:pt x="78" y="3"/>
                    <a:pt x="78" y="3"/>
                  </a:cubicBezTo>
                  <a:cubicBezTo>
                    <a:pt x="77" y="2"/>
                    <a:pt x="75" y="2"/>
                    <a:pt x="74" y="1"/>
                  </a:cubicBezTo>
                  <a:cubicBezTo>
                    <a:pt x="71" y="0"/>
                    <a:pt x="69" y="0"/>
                    <a:pt x="66" y="1"/>
                  </a:cubicBezTo>
                  <a:cubicBezTo>
                    <a:pt x="65" y="2"/>
                    <a:pt x="63" y="2"/>
                    <a:pt x="62" y="3"/>
                  </a:cubicBezTo>
                  <a:cubicBezTo>
                    <a:pt x="20" y="46"/>
                    <a:pt x="20" y="46"/>
                    <a:pt x="20" y="46"/>
                  </a:cubicBezTo>
                  <a:cubicBezTo>
                    <a:pt x="16" y="50"/>
                    <a:pt x="16" y="57"/>
                    <a:pt x="20" y="61"/>
                  </a:cubicBezTo>
                  <a:cubicBezTo>
                    <a:pt x="22" y="63"/>
                    <a:pt x="25" y="64"/>
                    <a:pt x="27" y="64"/>
                  </a:cubicBezTo>
                  <a:cubicBezTo>
                    <a:pt x="30" y="64"/>
                    <a:pt x="33" y="63"/>
                    <a:pt x="35" y="61"/>
                  </a:cubicBezTo>
                  <a:cubicBezTo>
                    <a:pt x="59" y="37"/>
                    <a:pt x="59" y="37"/>
                    <a:pt x="59" y="37"/>
                  </a:cubicBezTo>
                  <a:cubicBezTo>
                    <a:pt x="59" y="96"/>
                    <a:pt x="59" y="96"/>
                    <a:pt x="59" y="96"/>
                  </a:cubicBezTo>
                  <a:cubicBezTo>
                    <a:pt x="59" y="96"/>
                    <a:pt x="59" y="97"/>
                    <a:pt x="59" y="97"/>
                  </a:cubicBezTo>
                  <a:cubicBezTo>
                    <a:pt x="26" y="102"/>
                    <a:pt x="0" y="131"/>
                    <a:pt x="0" y="165"/>
                  </a:cubicBezTo>
                  <a:cubicBezTo>
                    <a:pt x="0" y="204"/>
                    <a:pt x="32" y="235"/>
                    <a:pt x="70" y="235"/>
                  </a:cubicBezTo>
                  <a:cubicBezTo>
                    <a:pt x="108" y="235"/>
                    <a:pt x="140" y="204"/>
                    <a:pt x="140" y="165"/>
                  </a:cubicBezTo>
                  <a:cubicBezTo>
                    <a:pt x="140" y="131"/>
                    <a:pt x="114" y="102"/>
                    <a:pt x="81" y="97"/>
                  </a:cubicBezTo>
                  <a:close/>
                  <a:moveTo>
                    <a:pt x="70" y="214"/>
                  </a:moveTo>
                  <a:cubicBezTo>
                    <a:pt x="43" y="214"/>
                    <a:pt x="22" y="192"/>
                    <a:pt x="22" y="165"/>
                  </a:cubicBezTo>
                  <a:cubicBezTo>
                    <a:pt x="22" y="139"/>
                    <a:pt x="43" y="117"/>
                    <a:pt x="70" y="117"/>
                  </a:cubicBezTo>
                  <a:cubicBezTo>
                    <a:pt x="97" y="117"/>
                    <a:pt x="118" y="139"/>
                    <a:pt x="118" y="165"/>
                  </a:cubicBezTo>
                  <a:cubicBezTo>
                    <a:pt x="118" y="192"/>
                    <a:pt x="97" y="214"/>
                    <a:pt x="70"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6" name="Freeform 725">
              <a:extLst>
                <a:ext uri="{FF2B5EF4-FFF2-40B4-BE49-F238E27FC236}">
                  <a16:creationId xmlns:a16="http://schemas.microsoft.com/office/drawing/2014/main" id="{92D55E85-9C8C-4633-A17E-D6F12CF594E1}"/>
                </a:ext>
              </a:extLst>
            </p:cNvPr>
            <p:cNvSpPr>
              <a:spLocks noEditPoints="1"/>
            </p:cNvSpPr>
            <p:nvPr/>
          </p:nvSpPr>
          <p:spPr bwMode="auto">
            <a:xfrm>
              <a:off x="4003" y="313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7" name="Freeform 729">
            <a:extLst>
              <a:ext uri="{FF2B5EF4-FFF2-40B4-BE49-F238E27FC236}">
                <a16:creationId xmlns:a16="http://schemas.microsoft.com/office/drawing/2014/main" id="{72CE86D1-682F-47DF-8479-6330F2E378E9}"/>
              </a:ext>
            </a:extLst>
          </p:cNvPr>
          <p:cNvSpPr>
            <a:spLocks noChangeAspect="1" noEditPoints="1"/>
          </p:cNvSpPr>
          <p:nvPr/>
        </p:nvSpPr>
        <p:spPr bwMode="auto">
          <a:xfrm>
            <a:off x="8303080" y="3298170"/>
            <a:ext cx="367041" cy="367041"/>
          </a:xfrm>
          <a:custGeom>
            <a:avLst/>
            <a:gdLst>
              <a:gd name="T0" fmla="*/ 294 w 512"/>
              <a:gd name="T1" fmla="*/ 218 h 512"/>
              <a:gd name="T2" fmla="*/ 294 w 512"/>
              <a:gd name="T3" fmla="*/ 354 h 512"/>
              <a:gd name="T4" fmla="*/ 157 w 512"/>
              <a:gd name="T5" fmla="*/ 354 h 512"/>
              <a:gd name="T6" fmla="*/ 157 w 512"/>
              <a:gd name="T7" fmla="*/ 218 h 512"/>
              <a:gd name="T8" fmla="*/ 225 w 512"/>
              <a:gd name="T9" fmla="*/ 189 h 512"/>
              <a:gd name="T10" fmla="*/ 294 w 512"/>
              <a:gd name="T11" fmla="*/ 21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384 w 512"/>
              <a:gd name="T23" fmla="*/ 138 h 512"/>
              <a:gd name="T24" fmla="*/ 373 w 512"/>
              <a:gd name="T25" fmla="*/ 128 h 512"/>
              <a:gd name="T26" fmla="*/ 298 w 512"/>
              <a:gd name="T27" fmla="*/ 128 h 512"/>
              <a:gd name="T28" fmla="*/ 288 w 512"/>
              <a:gd name="T29" fmla="*/ 138 h 512"/>
              <a:gd name="T30" fmla="*/ 298 w 512"/>
              <a:gd name="T31" fmla="*/ 149 h 512"/>
              <a:gd name="T32" fmla="*/ 347 w 512"/>
              <a:gd name="T33" fmla="*/ 149 h 512"/>
              <a:gd name="T34" fmla="*/ 301 w 512"/>
              <a:gd name="T35" fmla="*/ 195 h 512"/>
              <a:gd name="T36" fmla="*/ 142 w 512"/>
              <a:gd name="T37" fmla="*/ 203 h 512"/>
              <a:gd name="T38" fmla="*/ 142 w 512"/>
              <a:gd name="T39" fmla="*/ 369 h 512"/>
              <a:gd name="T40" fmla="*/ 226 w 512"/>
              <a:gd name="T41" fmla="*/ 403 h 512"/>
              <a:gd name="T42" fmla="*/ 309 w 512"/>
              <a:gd name="T43" fmla="*/ 369 h 512"/>
              <a:gd name="T44" fmla="*/ 316 w 512"/>
              <a:gd name="T45" fmla="*/ 210 h 512"/>
              <a:gd name="T46" fmla="*/ 362 w 512"/>
              <a:gd name="T47" fmla="*/ 164 h 512"/>
              <a:gd name="T48" fmla="*/ 362 w 512"/>
              <a:gd name="T49" fmla="*/ 213 h 512"/>
              <a:gd name="T50" fmla="*/ 373 w 512"/>
              <a:gd name="T51" fmla="*/ 224 h 512"/>
              <a:gd name="T52" fmla="*/ 384 w 512"/>
              <a:gd name="T53" fmla="*/ 213 h 512"/>
              <a:gd name="T54" fmla="*/ 384 w 512"/>
              <a:gd name="T55"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94" y="218"/>
                </a:moveTo>
                <a:cubicBezTo>
                  <a:pt x="331" y="255"/>
                  <a:pt x="331" y="316"/>
                  <a:pt x="294" y="354"/>
                </a:cubicBezTo>
                <a:cubicBezTo>
                  <a:pt x="256" y="391"/>
                  <a:pt x="195" y="391"/>
                  <a:pt x="157" y="354"/>
                </a:cubicBezTo>
                <a:cubicBezTo>
                  <a:pt x="120" y="316"/>
                  <a:pt x="120" y="255"/>
                  <a:pt x="157" y="218"/>
                </a:cubicBezTo>
                <a:cubicBezTo>
                  <a:pt x="176" y="199"/>
                  <a:pt x="201" y="189"/>
                  <a:pt x="225" y="189"/>
                </a:cubicBezTo>
                <a:cubicBezTo>
                  <a:pt x="250" y="189"/>
                  <a:pt x="275" y="199"/>
                  <a:pt x="294" y="21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38"/>
                </a:moveTo>
                <a:cubicBezTo>
                  <a:pt x="384" y="132"/>
                  <a:pt x="379" y="128"/>
                  <a:pt x="373" y="128"/>
                </a:cubicBezTo>
                <a:cubicBezTo>
                  <a:pt x="298" y="128"/>
                  <a:pt x="298" y="128"/>
                  <a:pt x="298" y="128"/>
                </a:cubicBezTo>
                <a:cubicBezTo>
                  <a:pt x="292" y="128"/>
                  <a:pt x="288" y="132"/>
                  <a:pt x="288" y="138"/>
                </a:cubicBezTo>
                <a:cubicBezTo>
                  <a:pt x="288" y="144"/>
                  <a:pt x="292" y="149"/>
                  <a:pt x="298" y="149"/>
                </a:cubicBezTo>
                <a:cubicBezTo>
                  <a:pt x="347" y="149"/>
                  <a:pt x="347" y="149"/>
                  <a:pt x="347" y="149"/>
                </a:cubicBezTo>
                <a:cubicBezTo>
                  <a:pt x="301" y="195"/>
                  <a:pt x="301" y="195"/>
                  <a:pt x="301" y="195"/>
                </a:cubicBezTo>
                <a:cubicBezTo>
                  <a:pt x="255" y="157"/>
                  <a:pt x="186" y="159"/>
                  <a:pt x="142" y="203"/>
                </a:cubicBezTo>
                <a:cubicBezTo>
                  <a:pt x="97" y="248"/>
                  <a:pt x="97" y="323"/>
                  <a:pt x="142" y="369"/>
                </a:cubicBezTo>
                <a:cubicBezTo>
                  <a:pt x="165" y="392"/>
                  <a:pt x="195" y="403"/>
                  <a:pt x="226" y="403"/>
                </a:cubicBezTo>
                <a:cubicBezTo>
                  <a:pt x="256" y="403"/>
                  <a:pt x="286" y="392"/>
                  <a:pt x="309" y="369"/>
                </a:cubicBezTo>
                <a:cubicBezTo>
                  <a:pt x="352" y="325"/>
                  <a:pt x="354" y="257"/>
                  <a:pt x="316" y="210"/>
                </a:cubicBezTo>
                <a:cubicBezTo>
                  <a:pt x="362" y="164"/>
                  <a:pt x="362" y="164"/>
                  <a:pt x="362" y="164"/>
                </a:cubicBezTo>
                <a:cubicBezTo>
                  <a:pt x="362" y="213"/>
                  <a:pt x="362" y="213"/>
                  <a:pt x="362" y="213"/>
                </a:cubicBezTo>
                <a:cubicBezTo>
                  <a:pt x="362" y="219"/>
                  <a:pt x="367" y="224"/>
                  <a:pt x="373" y="224"/>
                </a:cubicBezTo>
                <a:cubicBezTo>
                  <a:pt x="379" y="224"/>
                  <a:pt x="384" y="219"/>
                  <a:pt x="384" y="213"/>
                </a:cubicBezTo>
                <a:lnTo>
                  <a:pt x="384" y="13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56" name="Freeform 733">
            <a:extLst>
              <a:ext uri="{FF2B5EF4-FFF2-40B4-BE49-F238E27FC236}">
                <a16:creationId xmlns:a16="http://schemas.microsoft.com/office/drawing/2014/main" id="{CF5E5AC0-285A-4B5C-91B5-16A479B8C0EC}"/>
              </a:ext>
            </a:extLst>
          </p:cNvPr>
          <p:cNvSpPr>
            <a:spLocks noChangeAspect="1" noEditPoints="1"/>
          </p:cNvSpPr>
          <p:nvPr/>
        </p:nvSpPr>
        <p:spPr bwMode="auto">
          <a:xfrm>
            <a:off x="8737514" y="3298170"/>
            <a:ext cx="367041"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73 w 512"/>
              <a:gd name="T21" fmla="*/ 128 h 512"/>
              <a:gd name="T22" fmla="*/ 298 w 512"/>
              <a:gd name="T23" fmla="*/ 128 h 512"/>
              <a:gd name="T24" fmla="*/ 288 w 512"/>
              <a:gd name="T25" fmla="*/ 138 h 512"/>
              <a:gd name="T26" fmla="*/ 298 w 512"/>
              <a:gd name="T27" fmla="*/ 149 h 512"/>
              <a:gd name="T28" fmla="*/ 347 w 512"/>
              <a:gd name="T29" fmla="*/ 149 h 512"/>
              <a:gd name="T30" fmla="*/ 301 w 512"/>
              <a:gd name="T31" fmla="*/ 195 h 512"/>
              <a:gd name="T32" fmla="*/ 142 w 512"/>
              <a:gd name="T33" fmla="*/ 203 h 512"/>
              <a:gd name="T34" fmla="*/ 142 w 512"/>
              <a:gd name="T35" fmla="*/ 369 h 512"/>
              <a:gd name="T36" fmla="*/ 226 w 512"/>
              <a:gd name="T37" fmla="*/ 403 h 512"/>
              <a:gd name="T38" fmla="*/ 309 w 512"/>
              <a:gd name="T39" fmla="*/ 369 h 512"/>
              <a:gd name="T40" fmla="*/ 316 w 512"/>
              <a:gd name="T41" fmla="*/ 210 h 512"/>
              <a:gd name="T42" fmla="*/ 362 w 512"/>
              <a:gd name="T43" fmla="*/ 164 h 512"/>
              <a:gd name="T44" fmla="*/ 362 w 512"/>
              <a:gd name="T45" fmla="*/ 213 h 512"/>
              <a:gd name="T46" fmla="*/ 373 w 512"/>
              <a:gd name="T47" fmla="*/ 224 h 512"/>
              <a:gd name="T48" fmla="*/ 384 w 512"/>
              <a:gd name="T49" fmla="*/ 213 h 512"/>
              <a:gd name="T50" fmla="*/ 384 w 512"/>
              <a:gd name="T51" fmla="*/ 138 h 512"/>
              <a:gd name="T52" fmla="*/ 373 w 512"/>
              <a:gd name="T53" fmla="*/ 128 h 512"/>
              <a:gd name="T54" fmla="*/ 294 w 512"/>
              <a:gd name="T55" fmla="*/ 354 h 512"/>
              <a:gd name="T56" fmla="*/ 157 w 512"/>
              <a:gd name="T57" fmla="*/ 354 h 512"/>
              <a:gd name="T58" fmla="*/ 157 w 512"/>
              <a:gd name="T59" fmla="*/ 218 h 512"/>
              <a:gd name="T60" fmla="*/ 225 w 512"/>
              <a:gd name="T61" fmla="*/ 189 h 512"/>
              <a:gd name="T62" fmla="*/ 294 w 512"/>
              <a:gd name="T63" fmla="*/ 218 h 512"/>
              <a:gd name="T64" fmla="*/ 294 w 512"/>
              <a:gd name="T65" fmla="*/ 3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28"/>
                </a:moveTo>
                <a:cubicBezTo>
                  <a:pt x="298" y="128"/>
                  <a:pt x="298" y="128"/>
                  <a:pt x="298" y="128"/>
                </a:cubicBezTo>
                <a:cubicBezTo>
                  <a:pt x="292" y="128"/>
                  <a:pt x="288" y="132"/>
                  <a:pt x="288" y="138"/>
                </a:cubicBezTo>
                <a:cubicBezTo>
                  <a:pt x="288" y="144"/>
                  <a:pt x="292" y="149"/>
                  <a:pt x="298" y="149"/>
                </a:cubicBezTo>
                <a:cubicBezTo>
                  <a:pt x="347" y="149"/>
                  <a:pt x="347" y="149"/>
                  <a:pt x="347" y="149"/>
                </a:cubicBezTo>
                <a:cubicBezTo>
                  <a:pt x="301" y="195"/>
                  <a:pt x="301" y="195"/>
                  <a:pt x="301" y="195"/>
                </a:cubicBezTo>
                <a:cubicBezTo>
                  <a:pt x="255" y="157"/>
                  <a:pt x="186" y="159"/>
                  <a:pt x="142" y="203"/>
                </a:cubicBezTo>
                <a:cubicBezTo>
                  <a:pt x="97" y="248"/>
                  <a:pt x="97" y="323"/>
                  <a:pt x="142" y="369"/>
                </a:cubicBezTo>
                <a:cubicBezTo>
                  <a:pt x="165" y="392"/>
                  <a:pt x="195" y="403"/>
                  <a:pt x="226" y="403"/>
                </a:cubicBezTo>
                <a:cubicBezTo>
                  <a:pt x="256" y="403"/>
                  <a:pt x="286" y="392"/>
                  <a:pt x="309" y="369"/>
                </a:cubicBezTo>
                <a:cubicBezTo>
                  <a:pt x="352" y="325"/>
                  <a:pt x="354" y="257"/>
                  <a:pt x="316" y="210"/>
                </a:cubicBezTo>
                <a:cubicBezTo>
                  <a:pt x="362" y="164"/>
                  <a:pt x="362" y="164"/>
                  <a:pt x="362" y="164"/>
                </a:cubicBezTo>
                <a:cubicBezTo>
                  <a:pt x="362" y="213"/>
                  <a:pt x="362" y="213"/>
                  <a:pt x="362" y="213"/>
                </a:cubicBezTo>
                <a:cubicBezTo>
                  <a:pt x="362" y="219"/>
                  <a:pt x="367" y="224"/>
                  <a:pt x="373" y="224"/>
                </a:cubicBezTo>
                <a:cubicBezTo>
                  <a:pt x="379" y="224"/>
                  <a:pt x="384" y="219"/>
                  <a:pt x="384" y="213"/>
                </a:cubicBezTo>
                <a:cubicBezTo>
                  <a:pt x="384" y="138"/>
                  <a:pt x="384" y="138"/>
                  <a:pt x="384" y="138"/>
                </a:cubicBezTo>
                <a:cubicBezTo>
                  <a:pt x="384" y="132"/>
                  <a:pt x="379" y="128"/>
                  <a:pt x="373" y="128"/>
                </a:cubicBezTo>
                <a:close/>
                <a:moveTo>
                  <a:pt x="294" y="354"/>
                </a:moveTo>
                <a:cubicBezTo>
                  <a:pt x="256" y="391"/>
                  <a:pt x="195" y="391"/>
                  <a:pt x="157" y="354"/>
                </a:cubicBezTo>
                <a:cubicBezTo>
                  <a:pt x="120" y="316"/>
                  <a:pt x="120" y="255"/>
                  <a:pt x="157" y="218"/>
                </a:cubicBezTo>
                <a:cubicBezTo>
                  <a:pt x="176" y="199"/>
                  <a:pt x="201" y="189"/>
                  <a:pt x="225" y="189"/>
                </a:cubicBezTo>
                <a:cubicBezTo>
                  <a:pt x="250" y="189"/>
                  <a:pt x="275" y="199"/>
                  <a:pt x="294" y="218"/>
                </a:cubicBezTo>
                <a:cubicBezTo>
                  <a:pt x="331" y="255"/>
                  <a:pt x="331" y="316"/>
                  <a:pt x="294" y="35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57" name="Freeform 153">
            <a:extLst>
              <a:ext uri="{FF2B5EF4-FFF2-40B4-BE49-F238E27FC236}">
                <a16:creationId xmlns:a16="http://schemas.microsoft.com/office/drawing/2014/main" id="{6AB4CCAD-EC5F-42F9-99CF-37C13E29491E}"/>
              </a:ext>
            </a:extLst>
          </p:cNvPr>
          <p:cNvSpPr>
            <a:spLocks noChangeAspect="1" noEditPoints="1"/>
          </p:cNvSpPr>
          <p:nvPr/>
        </p:nvSpPr>
        <p:spPr bwMode="auto">
          <a:xfrm>
            <a:off x="9171948" y="3298170"/>
            <a:ext cx="369021" cy="369021"/>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8" name="Group 156">
            <a:extLst>
              <a:ext uri="{FF2B5EF4-FFF2-40B4-BE49-F238E27FC236}">
                <a16:creationId xmlns:a16="http://schemas.microsoft.com/office/drawing/2014/main" id="{426BF7B8-B8C8-44DB-A4A6-EEF6863E027B}"/>
              </a:ext>
            </a:extLst>
          </p:cNvPr>
          <p:cNvGrpSpPr>
            <a:grpSpLocks noChangeAspect="1"/>
          </p:cNvGrpSpPr>
          <p:nvPr/>
        </p:nvGrpSpPr>
        <p:grpSpPr bwMode="auto">
          <a:xfrm>
            <a:off x="9608362" y="3298170"/>
            <a:ext cx="369021" cy="369021"/>
            <a:chOff x="4259" y="394"/>
            <a:chExt cx="340" cy="340"/>
          </a:xfrm>
          <a:solidFill>
            <a:schemeClr val="accent2"/>
          </a:solidFill>
        </p:grpSpPr>
        <p:sp>
          <p:nvSpPr>
            <p:cNvPr id="559" name="Freeform 157">
              <a:extLst>
                <a:ext uri="{FF2B5EF4-FFF2-40B4-BE49-F238E27FC236}">
                  <a16:creationId xmlns:a16="http://schemas.microsoft.com/office/drawing/2014/main" id="{748000BF-D089-4EB1-BAA6-39EEF3A2B55A}"/>
                </a:ext>
              </a:extLst>
            </p:cNvPr>
            <p:cNvSpPr>
              <a:spLocks noEditPoints="1"/>
            </p:cNvSpPr>
            <p:nvPr/>
          </p:nvSpPr>
          <p:spPr bwMode="auto">
            <a:xfrm>
              <a:off x="4259"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0" name="Freeform 158">
              <a:extLst>
                <a:ext uri="{FF2B5EF4-FFF2-40B4-BE49-F238E27FC236}">
                  <a16:creationId xmlns:a16="http://schemas.microsoft.com/office/drawing/2014/main" id="{35336555-358D-4121-9600-CA79527A7355}"/>
                </a:ext>
              </a:extLst>
            </p:cNvPr>
            <p:cNvSpPr>
              <a:spLocks noEditPoints="1"/>
            </p:cNvSpPr>
            <p:nvPr/>
          </p:nvSpPr>
          <p:spPr bwMode="auto">
            <a:xfrm>
              <a:off x="4323" y="464"/>
              <a:ext cx="212" cy="206"/>
            </a:xfrm>
            <a:custGeom>
              <a:avLst/>
              <a:gdLst>
                <a:gd name="T0" fmla="*/ 254 w 320"/>
                <a:gd name="T1" fmla="*/ 161 h 310"/>
                <a:gd name="T2" fmla="*/ 244 w 320"/>
                <a:gd name="T3" fmla="*/ 160 h 310"/>
                <a:gd name="T4" fmla="*/ 198 w 320"/>
                <a:gd name="T5" fmla="*/ 179 h 310"/>
                <a:gd name="T6" fmla="*/ 192 w 320"/>
                <a:gd name="T7" fmla="*/ 189 h 310"/>
                <a:gd name="T8" fmla="*/ 192 w 320"/>
                <a:gd name="T9" fmla="*/ 235 h 310"/>
                <a:gd name="T10" fmla="*/ 196 w 320"/>
                <a:gd name="T11" fmla="*/ 244 h 310"/>
                <a:gd name="T12" fmla="*/ 202 w 320"/>
                <a:gd name="T13" fmla="*/ 246 h 310"/>
                <a:gd name="T14" fmla="*/ 207 w 320"/>
                <a:gd name="T15" fmla="*/ 245 h 310"/>
                <a:gd name="T16" fmla="*/ 252 w 320"/>
                <a:gd name="T17" fmla="*/ 225 h 310"/>
                <a:gd name="T18" fmla="*/ 259 w 320"/>
                <a:gd name="T19" fmla="*/ 215 h 310"/>
                <a:gd name="T20" fmla="*/ 259 w 320"/>
                <a:gd name="T21" fmla="*/ 169 h 310"/>
                <a:gd name="T22" fmla="*/ 254 w 320"/>
                <a:gd name="T23" fmla="*/ 161 h 310"/>
                <a:gd name="T24" fmla="*/ 238 w 320"/>
                <a:gd name="T25" fmla="*/ 208 h 310"/>
                <a:gd name="T26" fmla="*/ 213 w 320"/>
                <a:gd name="T27" fmla="*/ 219 h 310"/>
                <a:gd name="T28" fmla="*/ 213 w 320"/>
                <a:gd name="T29" fmla="*/ 196 h 310"/>
                <a:gd name="T30" fmla="*/ 238 w 320"/>
                <a:gd name="T31" fmla="*/ 186 h 310"/>
                <a:gd name="T32" fmla="*/ 238 w 320"/>
                <a:gd name="T33" fmla="*/ 208 h 310"/>
                <a:gd name="T34" fmla="*/ 313 w 320"/>
                <a:gd name="T35" fmla="*/ 65 h 310"/>
                <a:gd name="T36" fmla="*/ 164 w 320"/>
                <a:gd name="T37" fmla="*/ 1 h 310"/>
                <a:gd name="T38" fmla="*/ 155 w 320"/>
                <a:gd name="T39" fmla="*/ 1 h 310"/>
                <a:gd name="T40" fmla="*/ 6 w 320"/>
                <a:gd name="T41" fmla="*/ 65 h 310"/>
                <a:gd name="T42" fmla="*/ 6 w 320"/>
                <a:gd name="T43" fmla="*/ 65 h 310"/>
                <a:gd name="T44" fmla="*/ 6 w 320"/>
                <a:gd name="T45" fmla="*/ 65 h 310"/>
                <a:gd name="T46" fmla="*/ 6 w 320"/>
                <a:gd name="T47" fmla="*/ 65 h 310"/>
                <a:gd name="T48" fmla="*/ 0 w 320"/>
                <a:gd name="T49" fmla="*/ 75 h 310"/>
                <a:gd name="T50" fmla="*/ 0 w 320"/>
                <a:gd name="T51" fmla="*/ 224 h 310"/>
                <a:gd name="T52" fmla="*/ 6 w 320"/>
                <a:gd name="T53" fmla="*/ 234 h 310"/>
                <a:gd name="T54" fmla="*/ 155 w 320"/>
                <a:gd name="T55" fmla="*/ 309 h 310"/>
                <a:gd name="T56" fmla="*/ 160 w 320"/>
                <a:gd name="T57" fmla="*/ 310 h 310"/>
                <a:gd name="T58" fmla="*/ 160 w 320"/>
                <a:gd name="T59" fmla="*/ 310 h 310"/>
                <a:gd name="T60" fmla="*/ 160 w 320"/>
                <a:gd name="T61" fmla="*/ 310 h 310"/>
                <a:gd name="T62" fmla="*/ 160 w 320"/>
                <a:gd name="T63" fmla="*/ 310 h 310"/>
                <a:gd name="T64" fmla="*/ 163 w 320"/>
                <a:gd name="T65" fmla="*/ 309 h 310"/>
                <a:gd name="T66" fmla="*/ 164 w 320"/>
                <a:gd name="T67" fmla="*/ 309 h 310"/>
                <a:gd name="T68" fmla="*/ 313 w 320"/>
                <a:gd name="T69" fmla="*/ 245 h 310"/>
                <a:gd name="T70" fmla="*/ 320 w 320"/>
                <a:gd name="T71" fmla="*/ 235 h 310"/>
                <a:gd name="T72" fmla="*/ 320 w 320"/>
                <a:gd name="T73" fmla="*/ 75 h 310"/>
                <a:gd name="T74" fmla="*/ 313 w 320"/>
                <a:gd name="T75" fmla="*/ 65 h 310"/>
                <a:gd name="T76" fmla="*/ 160 w 320"/>
                <a:gd name="T77" fmla="*/ 127 h 310"/>
                <a:gd name="T78" fmla="*/ 112 w 320"/>
                <a:gd name="T79" fmla="*/ 107 h 310"/>
                <a:gd name="T80" fmla="*/ 234 w 320"/>
                <a:gd name="T81" fmla="*/ 55 h 310"/>
                <a:gd name="T82" fmla="*/ 282 w 320"/>
                <a:gd name="T83" fmla="*/ 75 h 310"/>
                <a:gd name="T84" fmla="*/ 160 w 320"/>
                <a:gd name="T85" fmla="*/ 127 h 310"/>
                <a:gd name="T86" fmla="*/ 160 w 320"/>
                <a:gd name="T87" fmla="*/ 23 h 310"/>
                <a:gd name="T88" fmla="*/ 207 w 320"/>
                <a:gd name="T89" fmla="*/ 43 h 310"/>
                <a:gd name="T90" fmla="*/ 85 w 320"/>
                <a:gd name="T91" fmla="*/ 95 h 310"/>
                <a:gd name="T92" fmla="*/ 37 w 320"/>
                <a:gd name="T93" fmla="*/ 75 h 310"/>
                <a:gd name="T94" fmla="*/ 160 w 320"/>
                <a:gd name="T95" fmla="*/ 23 h 310"/>
                <a:gd name="T96" fmla="*/ 21 w 320"/>
                <a:gd name="T97" fmla="*/ 218 h 310"/>
                <a:gd name="T98" fmla="*/ 21 w 320"/>
                <a:gd name="T99" fmla="*/ 91 h 310"/>
                <a:gd name="T100" fmla="*/ 149 w 320"/>
                <a:gd name="T101" fmla="*/ 146 h 310"/>
                <a:gd name="T102" fmla="*/ 149 w 320"/>
                <a:gd name="T103" fmla="*/ 282 h 310"/>
                <a:gd name="T104" fmla="*/ 21 w 320"/>
                <a:gd name="T105" fmla="*/ 218 h 310"/>
                <a:gd name="T106" fmla="*/ 170 w 320"/>
                <a:gd name="T107" fmla="*/ 283 h 310"/>
                <a:gd name="T108" fmla="*/ 170 w 320"/>
                <a:gd name="T109" fmla="*/ 146 h 310"/>
                <a:gd name="T110" fmla="*/ 298 w 320"/>
                <a:gd name="T111" fmla="*/ 91 h 310"/>
                <a:gd name="T112" fmla="*/ 298 w 320"/>
                <a:gd name="T113" fmla="*/ 228 h 310"/>
                <a:gd name="T114" fmla="*/ 170 w 320"/>
                <a:gd name="T115"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10">
                  <a:moveTo>
                    <a:pt x="254" y="161"/>
                  </a:moveTo>
                  <a:cubicBezTo>
                    <a:pt x="251" y="159"/>
                    <a:pt x="247" y="158"/>
                    <a:pt x="244" y="160"/>
                  </a:cubicBezTo>
                  <a:cubicBezTo>
                    <a:pt x="198" y="179"/>
                    <a:pt x="198" y="179"/>
                    <a:pt x="198" y="179"/>
                  </a:cubicBezTo>
                  <a:cubicBezTo>
                    <a:pt x="194" y="181"/>
                    <a:pt x="192" y="185"/>
                    <a:pt x="192" y="189"/>
                  </a:cubicBezTo>
                  <a:cubicBezTo>
                    <a:pt x="192" y="235"/>
                    <a:pt x="192" y="235"/>
                    <a:pt x="192" y="235"/>
                  </a:cubicBezTo>
                  <a:cubicBezTo>
                    <a:pt x="192" y="239"/>
                    <a:pt x="193" y="242"/>
                    <a:pt x="196" y="244"/>
                  </a:cubicBezTo>
                  <a:cubicBezTo>
                    <a:pt x="198" y="245"/>
                    <a:pt x="200" y="246"/>
                    <a:pt x="202" y="246"/>
                  </a:cubicBezTo>
                  <a:cubicBezTo>
                    <a:pt x="204" y="246"/>
                    <a:pt x="205" y="245"/>
                    <a:pt x="207" y="245"/>
                  </a:cubicBezTo>
                  <a:cubicBezTo>
                    <a:pt x="252" y="225"/>
                    <a:pt x="252" y="225"/>
                    <a:pt x="252" y="225"/>
                  </a:cubicBezTo>
                  <a:cubicBezTo>
                    <a:pt x="256" y="223"/>
                    <a:pt x="259" y="220"/>
                    <a:pt x="259" y="215"/>
                  </a:cubicBezTo>
                  <a:cubicBezTo>
                    <a:pt x="259" y="169"/>
                    <a:pt x="259" y="169"/>
                    <a:pt x="259" y="169"/>
                  </a:cubicBezTo>
                  <a:cubicBezTo>
                    <a:pt x="259" y="166"/>
                    <a:pt x="257" y="163"/>
                    <a:pt x="254" y="161"/>
                  </a:cubicBezTo>
                  <a:close/>
                  <a:moveTo>
                    <a:pt x="238" y="208"/>
                  </a:moveTo>
                  <a:cubicBezTo>
                    <a:pt x="213" y="219"/>
                    <a:pt x="213" y="219"/>
                    <a:pt x="213" y="219"/>
                  </a:cubicBezTo>
                  <a:cubicBezTo>
                    <a:pt x="213" y="196"/>
                    <a:pt x="213" y="196"/>
                    <a:pt x="213" y="196"/>
                  </a:cubicBezTo>
                  <a:cubicBezTo>
                    <a:pt x="238" y="186"/>
                    <a:pt x="238" y="186"/>
                    <a:pt x="238" y="186"/>
                  </a:cubicBezTo>
                  <a:lnTo>
                    <a:pt x="238" y="208"/>
                  </a:lnTo>
                  <a:close/>
                  <a:moveTo>
                    <a:pt x="313" y="65"/>
                  </a:moveTo>
                  <a:cubicBezTo>
                    <a:pt x="164" y="1"/>
                    <a:pt x="164" y="1"/>
                    <a:pt x="164" y="1"/>
                  </a:cubicBezTo>
                  <a:cubicBezTo>
                    <a:pt x="161" y="0"/>
                    <a:pt x="158" y="0"/>
                    <a:pt x="155" y="1"/>
                  </a:cubicBezTo>
                  <a:cubicBezTo>
                    <a:pt x="6" y="65"/>
                    <a:pt x="6" y="65"/>
                    <a:pt x="6" y="65"/>
                  </a:cubicBezTo>
                  <a:cubicBezTo>
                    <a:pt x="6" y="65"/>
                    <a:pt x="6" y="65"/>
                    <a:pt x="6" y="65"/>
                  </a:cubicBezTo>
                  <a:cubicBezTo>
                    <a:pt x="6" y="65"/>
                    <a:pt x="6" y="65"/>
                    <a:pt x="6" y="65"/>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6" y="309"/>
                    <a:pt x="158"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1"/>
                    <a:pt x="317" y="67"/>
                    <a:pt x="313" y="65"/>
                  </a:cubicBezTo>
                  <a:close/>
                  <a:moveTo>
                    <a:pt x="160" y="127"/>
                  </a:moveTo>
                  <a:cubicBezTo>
                    <a:pt x="112" y="107"/>
                    <a:pt x="112" y="107"/>
                    <a:pt x="112" y="107"/>
                  </a:cubicBezTo>
                  <a:cubicBezTo>
                    <a:pt x="234" y="55"/>
                    <a:pt x="234" y="55"/>
                    <a:pt x="234" y="55"/>
                  </a:cubicBezTo>
                  <a:cubicBezTo>
                    <a:pt x="282" y="75"/>
                    <a:pt x="282" y="75"/>
                    <a:pt x="282" y="75"/>
                  </a:cubicBezTo>
                  <a:lnTo>
                    <a:pt x="160" y="127"/>
                  </a:lnTo>
                  <a:close/>
                  <a:moveTo>
                    <a:pt x="160" y="23"/>
                  </a:moveTo>
                  <a:cubicBezTo>
                    <a:pt x="207" y="43"/>
                    <a:pt x="207" y="43"/>
                    <a:pt x="207" y="43"/>
                  </a:cubicBezTo>
                  <a:cubicBezTo>
                    <a:pt x="85" y="95"/>
                    <a:pt x="85" y="95"/>
                    <a:pt x="85" y="95"/>
                  </a:cubicBezTo>
                  <a:cubicBezTo>
                    <a:pt x="37" y="75"/>
                    <a:pt x="37" y="75"/>
                    <a:pt x="37" y="75"/>
                  </a:cubicBezTo>
                  <a:lnTo>
                    <a:pt x="160" y="23"/>
                  </a:lnTo>
                  <a:close/>
                  <a:moveTo>
                    <a:pt x="21" y="218"/>
                  </a:moveTo>
                  <a:cubicBezTo>
                    <a:pt x="21" y="91"/>
                    <a:pt x="21" y="91"/>
                    <a:pt x="21" y="91"/>
                  </a:cubicBezTo>
                  <a:cubicBezTo>
                    <a:pt x="149" y="146"/>
                    <a:pt x="149" y="146"/>
                    <a:pt x="149" y="146"/>
                  </a:cubicBezTo>
                  <a:cubicBezTo>
                    <a:pt x="149" y="282"/>
                    <a:pt x="149" y="282"/>
                    <a:pt x="149" y="282"/>
                  </a:cubicBezTo>
                  <a:lnTo>
                    <a:pt x="21" y="218"/>
                  </a:lnTo>
                  <a:close/>
                  <a:moveTo>
                    <a:pt x="170" y="283"/>
                  </a:moveTo>
                  <a:cubicBezTo>
                    <a:pt x="170" y="146"/>
                    <a:pt x="170" y="146"/>
                    <a:pt x="170" y="146"/>
                  </a:cubicBezTo>
                  <a:cubicBezTo>
                    <a:pt x="298" y="91"/>
                    <a:pt x="298" y="91"/>
                    <a:pt x="298" y="91"/>
                  </a:cubicBezTo>
                  <a:cubicBezTo>
                    <a:pt x="298" y="117"/>
                    <a:pt x="298" y="228"/>
                    <a:pt x="298" y="228"/>
                  </a:cubicBezTo>
                  <a:lnTo>
                    <a:pt x="170" y="2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1" name="Freeform 162">
            <a:extLst>
              <a:ext uri="{FF2B5EF4-FFF2-40B4-BE49-F238E27FC236}">
                <a16:creationId xmlns:a16="http://schemas.microsoft.com/office/drawing/2014/main" id="{8CD29FFC-3CED-49C9-991A-4974511A05D5}"/>
              </a:ext>
            </a:extLst>
          </p:cNvPr>
          <p:cNvSpPr>
            <a:spLocks noChangeAspect="1" noEditPoints="1"/>
          </p:cNvSpPr>
          <p:nvPr/>
        </p:nvSpPr>
        <p:spPr bwMode="auto">
          <a:xfrm>
            <a:off x="10044776" y="3298170"/>
            <a:ext cx="369021" cy="369021"/>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2" name="Group 165">
            <a:extLst>
              <a:ext uri="{FF2B5EF4-FFF2-40B4-BE49-F238E27FC236}">
                <a16:creationId xmlns:a16="http://schemas.microsoft.com/office/drawing/2014/main" id="{2BD5D101-4927-4505-BBB3-169A7A2E8C85}"/>
              </a:ext>
            </a:extLst>
          </p:cNvPr>
          <p:cNvGrpSpPr>
            <a:grpSpLocks noChangeAspect="1"/>
          </p:cNvGrpSpPr>
          <p:nvPr/>
        </p:nvGrpSpPr>
        <p:grpSpPr bwMode="auto">
          <a:xfrm>
            <a:off x="10481190" y="3298170"/>
            <a:ext cx="369021" cy="369021"/>
            <a:chOff x="5035" y="390"/>
            <a:chExt cx="340" cy="340"/>
          </a:xfrm>
          <a:solidFill>
            <a:schemeClr val="accent2"/>
          </a:solidFill>
        </p:grpSpPr>
        <p:sp>
          <p:nvSpPr>
            <p:cNvPr id="563" name="Freeform 166">
              <a:extLst>
                <a:ext uri="{FF2B5EF4-FFF2-40B4-BE49-F238E27FC236}">
                  <a16:creationId xmlns:a16="http://schemas.microsoft.com/office/drawing/2014/main" id="{C1D359C3-9523-4DEE-834E-9B824A5ABB2D}"/>
                </a:ext>
              </a:extLst>
            </p:cNvPr>
            <p:cNvSpPr>
              <a:spLocks noEditPoints="1"/>
            </p:cNvSpPr>
            <p:nvPr/>
          </p:nvSpPr>
          <p:spPr bwMode="auto">
            <a:xfrm>
              <a:off x="5035" y="39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4" name="Oval 167">
              <a:extLst>
                <a:ext uri="{FF2B5EF4-FFF2-40B4-BE49-F238E27FC236}">
                  <a16:creationId xmlns:a16="http://schemas.microsoft.com/office/drawing/2014/main" id="{3AAF4876-8756-449D-BEA8-F9DA7AA07686}"/>
                </a:ext>
              </a:extLst>
            </p:cNvPr>
            <p:cNvSpPr>
              <a:spLocks noChangeArrowheads="1"/>
            </p:cNvSpPr>
            <p:nvPr/>
          </p:nvSpPr>
          <p:spPr bwMode="auto">
            <a:xfrm>
              <a:off x="5155" y="567"/>
              <a:ext cx="29"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5" name="Oval 168">
              <a:extLst>
                <a:ext uri="{FF2B5EF4-FFF2-40B4-BE49-F238E27FC236}">
                  <a16:creationId xmlns:a16="http://schemas.microsoft.com/office/drawing/2014/main" id="{AB5F9797-A9D9-4579-8ACE-FE11A6287BC0}"/>
                </a:ext>
              </a:extLst>
            </p:cNvPr>
            <p:cNvSpPr>
              <a:spLocks noChangeArrowheads="1"/>
            </p:cNvSpPr>
            <p:nvPr/>
          </p:nvSpPr>
          <p:spPr bwMode="auto">
            <a:xfrm>
              <a:off x="5155" y="518"/>
              <a:ext cx="29"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6" name="Freeform 169">
              <a:extLst>
                <a:ext uri="{FF2B5EF4-FFF2-40B4-BE49-F238E27FC236}">
                  <a16:creationId xmlns:a16="http://schemas.microsoft.com/office/drawing/2014/main" id="{9EAA0AF7-B53A-4B72-994F-3FB9C7BB795E}"/>
                </a:ext>
              </a:extLst>
            </p:cNvPr>
            <p:cNvSpPr>
              <a:spLocks noEditPoints="1"/>
            </p:cNvSpPr>
            <p:nvPr/>
          </p:nvSpPr>
          <p:spPr bwMode="auto">
            <a:xfrm>
              <a:off x="5113" y="453"/>
              <a:ext cx="202" cy="207"/>
            </a:xfrm>
            <a:custGeom>
              <a:avLst/>
              <a:gdLst>
                <a:gd name="T0" fmla="*/ 253 w 303"/>
                <a:gd name="T1" fmla="*/ 69 h 311"/>
                <a:gd name="T2" fmla="*/ 232 w 303"/>
                <a:gd name="T3" fmla="*/ 18 h 311"/>
                <a:gd name="T4" fmla="*/ 219 w 303"/>
                <a:gd name="T5" fmla="*/ 2 h 311"/>
                <a:gd name="T6" fmla="*/ 138 w 303"/>
                <a:gd name="T7" fmla="*/ 23 h 311"/>
                <a:gd name="T8" fmla="*/ 33 w 303"/>
                <a:gd name="T9" fmla="*/ 69 h 311"/>
                <a:gd name="T10" fmla="*/ 28 w 303"/>
                <a:gd name="T11" fmla="*/ 235 h 311"/>
                <a:gd name="T12" fmla="*/ 168 w 303"/>
                <a:gd name="T13" fmla="*/ 278 h 311"/>
                <a:gd name="T14" fmla="*/ 156 w 303"/>
                <a:gd name="T15" fmla="*/ 230 h 311"/>
                <a:gd name="T16" fmla="*/ 148 w 303"/>
                <a:gd name="T17" fmla="*/ 207 h 311"/>
                <a:gd name="T18" fmla="*/ 171 w 303"/>
                <a:gd name="T19" fmla="*/ 204 h 311"/>
                <a:gd name="T20" fmla="*/ 191 w 303"/>
                <a:gd name="T21" fmla="*/ 301 h 311"/>
                <a:gd name="T22" fmla="*/ 223 w 303"/>
                <a:gd name="T23" fmla="*/ 311 h 311"/>
                <a:gd name="T24" fmla="*/ 242 w 303"/>
                <a:gd name="T25" fmla="*/ 204 h 311"/>
                <a:gd name="T26" fmla="*/ 253 w 303"/>
                <a:gd name="T27" fmla="*/ 70 h 311"/>
                <a:gd name="T28" fmla="*/ 225 w 303"/>
                <a:gd name="T29" fmla="*/ 61 h 311"/>
                <a:gd name="T30" fmla="*/ 215 w 303"/>
                <a:gd name="T31" fmla="*/ 119 h 311"/>
                <a:gd name="T32" fmla="*/ 212 w 303"/>
                <a:gd name="T33" fmla="*/ 33 h 311"/>
                <a:gd name="T34" fmla="*/ 166 w 303"/>
                <a:gd name="T35" fmla="*/ 183 h 311"/>
                <a:gd name="T36" fmla="*/ 125 w 303"/>
                <a:gd name="T37" fmla="*/ 218 h 311"/>
                <a:gd name="T38" fmla="*/ 151 w 303"/>
                <a:gd name="T39" fmla="*/ 255 h 311"/>
                <a:gd name="T40" fmla="*/ 138 w 303"/>
                <a:gd name="T41" fmla="*/ 268 h 311"/>
                <a:gd name="T42" fmla="*/ 21 w 303"/>
                <a:gd name="T43" fmla="*/ 154 h 311"/>
                <a:gd name="T44" fmla="*/ 100 w 303"/>
                <a:gd name="T45" fmla="*/ 49 h 311"/>
                <a:gd name="T46" fmla="*/ 177 w 303"/>
                <a:gd name="T47" fmla="*/ 49 h 311"/>
                <a:gd name="T48" fmla="*/ 159 w 303"/>
                <a:gd name="T49" fmla="*/ 76 h 311"/>
                <a:gd name="T50" fmla="*/ 159 w 303"/>
                <a:gd name="T51" fmla="*/ 119 h 311"/>
                <a:gd name="T52" fmla="*/ 181 w 303"/>
                <a:gd name="T53" fmla="*/ 121 h 311"/>
                <a:gd name="T54" fmla="*/ 182 w 303"/>
                <a:gd name="T55" fmla="*/ 183 h 311"/>
                <a:gd name="T56" fmla="*/ 214 w 303"/>
                <a:gd name="T57" fmla="*/ 289 h 311"/>
                <a:gd name="T58" fmla="*/ 202 w 303"/>
                <a:gd name="T59" fmla="*/ 161 h 311"/>
                <a:gd name="T60" fmla="*/ 210 w 303"/>
                <a:gd name="T61" fmla="*/ 140 h 311"/>
                <a:gd name="T62" fmla="*/ 223 w 303"/>
                <a:gd name="T63" fmla="*/ 141 h 311"/>
                <a:gd name="T64" fmla="*/ 214 w 303"/>
                <a:gd name="T65" fmla="*/ 289 h 311"/>
                <a:gd name="T66" fmla="*/ 244 w 303"/>
                <a:gd name="T67" fmla="*/ 182 h 311"/>
                <a:gd name="T68" fmla="*/ 245 w 303"/>
                <a:gd name="T69" fmla="*/ 131 h 311"/>
                <a:gd name="T70" fmla="*/ 254 w 303"/>
                <a:gd name="T71" fmla="*/ 11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3" h="311">
                  <a:moveTo>
                    <a:pt x="253" y="70"/>
                  </a:moveTo>
                  <a:cubicBezTo>
                    <a:pt x="253" y="70"/>
                    <a:pt x="253" y="69"/>
                    <a:pt x="253" y="69"/>
                  </a:cubicBezTo>
                  <a:cubicBezTo>
                    <a:pt x="250" y="62"/>
                    <a:pt x="247" y="55"/>
                    <a:pt x="243" y="49"/>
                  </a:cubicBezTo>
                  <a:cubicBezTo>
                    <a:pt x="230" y="29"/>
                    <a:pt x="232" y="20"/>
                    <a:pt x="232" y="18"/>
                  </a:cubicBezTo>
                  <a:cubicBezTo>
                    <a:pt x="236" y="14"/>
                    <a:pt x="236" y="10"/>
                    <a:pt x="233" y="5"/>
                  </a:cubicBezTo>
                  <a:cubicBezTo>
                    <a:pt x="230" y="1"/>
                    <a:pt x="224" y="0"/>
                    <a:pt x="219" y="2"/>
                  </a:cubicBezTo>
                  <a:cubicBezTo>
                    <a:pt x="218" y="3"/>
                    <a:pt x="200" y="11"/>
                    <a:pt x="187" y="30"/>
                  </a:cubicBezTo>
                  <a:cubicBezTo>
                    <a:pt x="167" y="23"/>
                    <a:pt x="142" y="23"/>
                    <a:pt x="138" y="23"/>
                  </a:cubicBezTo>
                  <a:cubicBezTo>
                    <a:pt x="122" y="23"/>
                    <a:pt x="107" y="25"/>
                    <a:pt x="93" y="29"/>
                  </a:cubicBezTo>
                  <a:cubicBezTo>
                    <a:pt x="70" y="36"/>
                    <a:pt x="49" y="50"/>
                    <a:pt x="33" y="69"/>
                  </a:cubicBezTo>
                  <a:cubicBezTo>
                    <a:pt x="11" y="95"/>
                    <a:pt x="0" y="124"/>
                    <a:pt x="0" y="154"/>
                  </a:cubicBezTo>
                  <a:cubicBezTo>
                    <a:pt x="0" y="183"/>
                    <a:pt x="10" y="212"/>
                    <a:pt x="28" y="235"/>
                  </a:cubicBezTo>
                  <a:cubicBezTo>
                    <a:pt x="54" y="268"/>
                    <a:pt x="98" y="289"/>
                    <a:pt x="138" y="289"/>
                  </a:cubicBezTo>
                  <a:cubicBezTo>
                    <a:pt x="143" y="289"/>
                    <a:pt x="159" y="289"/>
                    <a:pt x="168" y="278"/>
                  </a:cubicBezTo>
                  <a:cubicBezTo>
                    <a:pt x="177" y="268"/>
                    <a:pt x="175" y="252"/>
                    <a:pt x="168" y="242"/>
                  </a:cubicBezTo>
                  <a:cubicBezTo>
                    <a:pt x="165" y="237"/>
                    <a:pt x="160" y="233"/>
                    <a:pt x="156" y="230"/>
                  </a:cubicBezTo>
                  <a:cubicBezTo>
                    <a:pt x="150" y="224"/>
                    <a:pt x="147" y="221"/>
                    <a:pt x="146" y="215"/>
                  </a:cubicBezTo>
                  <a:cubicBezTo>
                    <a:pt x="145" y="212"/>
                    <a:pt x="146" y="208"/>
                    <a:pt x="148" y="207"/>
                  </a:cubicBezTo>
                  <a:cubicBezTo>
                    <a:pt x="151" y="204"/>
                    <a:pt x="159" y="204"/>
                    <a:pt x="166" y="204"/>
                  </a:cubicBezTo>
                  <a:cubicBezTo>
                    <a:pt x="168" y="204"/>
                    <a:pt x="169" y="204"/>
                    <a:pt x="171" y="204"/>
                  </a:cubicBezTo>
                  <a:cubicBezTo>
                    <a:pt x="184" y="204"/>
                    <a:pt x="184" y="204"/>
                    <a:pt x="184" y="204"/>
                  </a:cubicBezTo>
                  <a:cubicBezTo>
                    <a:pt x="191" y="301"/>
                    <a:pt x="191" y="301"/>
                    <a:pt x="191" y="301"/>
                  </a:cubicBezTo>
                  <a:cubicBezTo>
                    <a:pt x="192" y="306"/>
                    <a:pt x="196" y="311"/>
                    <a:pt x="202" y="311"/>
                  </a:cubicBezTo>
                  <a:cubicBezTo>
                    <a:pt x="223" y="311"/>
                    <a:pt x="223" y="311"/>
                    <a:pt x="223" y="311"/>
                  </a:cubicBezTo>
                  <a:cubicBezTo>
                    <a:pt x="229" y="311"/>
                    <a:pt x="233" y="306"/>
                    <a:pt x="234" y="301"/>
                  </a:cubicBezTo>
                  <a:cubicBezTo>
                    <a:pt x="242" y="204"/>
                    <a:pt x="242" y="204"/>
                    <a:pt x="242" y="204"/>
                  </a:cubicBezTo>
                  <a:cubicBezTo>
                    <a:pt x="262" y="202"/>
                    <a:pt x="276" y="194"/>
                    <a:pt x="283" y="181"/>
                  </a:cubicBezTo>
                  <a:cubicBezTo>
                    <a:pt x="303" y="144"/>
                    <a:pt x="259" y="77"/>
                    <a:pt x="253" y="70"/>
                  </a:cubicBezTo>
                  <a:close/>
                  <a:moveTo>
                    <a:pt x="212" y="33"/>
                  </a:moveTo>
                  <a:cubicBezTo>
                    <a:pt x="214" y="41"/>
                    <a:pt x="218" y="50"/>
                    <a:pt x="225" y="61"/>
                  </a:cubicBezTo>
                  <a:cubicBezTo>
                    <a:pt x="236" y="77"/>
                    <a:pt x="239" y="103"/>
                    <a:pt x="231" y="115"/>
                  </a:cubicBezTo>
                  <a:cubicBezTo>
                    <a:pt x="229" y="118"/>
                    <a:pt x="225" y="121"/>
                    <a:pt x="215" y="119"/>
                  </a:cubicBezTo>
                  <a:cubicBezTo>
                    <a:pt x="191" y="113"/>
                    <a:pt x="191" y="90"/>
                    <a:pt x="191" y="87"/>
                  </a:cubicBezTo>
                  <a:cubicBezTo>
                    <a:pt x="191" y="60"/>
                    <a:pt x="202" y="43"/>
                    <a:pt x="212" y="33"/>
                  </a:cubicBezTo>
                  <a:close/>
                  <a:moveTo>
                    <a:pt x="171" y="183"/>
                  </a:moveTo>
                  <a:cubicBezTo>
                    <a:pt x="169" y="183"/>
                    <a:pt x="168" y="183"/>
                    <a:pt x="166" y="183"/>
                  </a:cubicBezTo>
                  <a:cubicBezTo>
                    <a:pt x="157" y="182"/>
                    <a:pt x="144" y="182"/>
                    <a:pt x="134" y="191"/>
                  </a:cubicBezTo>
                  <a:cubicBezTo>
                    <a:pt x="127" y="197"/>
                    <a:pt x="123" y="208"/>
                    <a:pt x="125" y="218"/>
                  </a:cubicBezTo>
                  <a:cubicBezTo>
                    <a:pt x="127" y="232"/>
                    <a:pt x="135" y="240"/>
                    <a:pt x="142" y="246"/>
                  </a:cubicBezTo>
                  <a:cubicBezTo>
                    <a:pt x="146" y="248"/>
                    <a:pt x="149" y="251"/>
                    <a:pt x="151" y="255"/>
                  </a:cubicBezTo>
                  <a:cubicBezTo>
                    <a:pt x="153" y="257"/>
                    <a:pt x="153" y="263"/>
                    <a:pt x="151" y="265"/>
                  </a:cubicBezTo>
                  <a:cubicBezTo>
                    <a:pt x="151" y="266"/>
                    <a:pt x="148" y="268"/>
                    <a:pt x="138" y="268"/>
                  </a:cubicBezTo>
                  <a:cubicBezTo>
                    <a:pt x="104" y="268"/>
                    <a:pt x="66" y="249"/>
                    <a:pt x="45" y="222"/>
                  </a:cubicBezTo>
                  <a:cubicBezTo>
                    <a:pt x="30" y="203"/>
                    <a:pt x="22" y="178"/>
                    <a:pt x="21" y="154"/>
                  </a:cubicBezTo>
                  <a:cubicBezTo>
                    <a:pt x="21" y="129"/>
                    <a:pt x="30" y="106"/>
                    <a:pt x="49" y="83"/>
                  </a:cubicBezTo>
                  <a:cubicBezTo>
                    <a:pt x="63" y="67"/>
                    <a:pt x="80" y="55"/>
                    <a:pt x="100" y="49"/>
                  </a:cubicBezTo>
                  <a:cubicBezTo>
                    <a:pt x="111" y="46"/>
                    <a:pt x="124" y="44"/>
                    <a:pt x="138" y="44"/>
                  </a:cubicBezTo>
                  <a:cubicBezTo>
                    <a:pt x="145" y="44"/>
                    <a:pt x="163" y="45"/>
                    <a:pt x="177" y="49"/>
                  </a:cubicBezTo>
                  <a:cubicBezTo>
                    <a:pt x="173" y="58"/>
                    <a:pt x="171" y="68"/>
                    <a:pt x="170" y="79"/>
                  </a:cubicBezTo>
                  <a:cubicBezTo>
                    <a:pt x="167" y="77"/>
                    <a:pt x="163" y="76"/>
                    <a:pt x="159" y="76"/>
                  </a:cubicBezTo>
                  <a:cubicBezTo>
                    <a:pt x="148" y="76"/>
                    <a:pt x="138" y="86"/>
                    <a:pt x="138" y="97"/>
                  </a:cubicBezTo>
                  <a:cubicBezTo>
                    <a:pt x="138" y="109"/>
                    <a:pt x="148" y="119"/>
                    <a:pt x="159" y="119"/>
                  </a:cubicBezTo>
                  <a:cubicBezTo>
                    <a:pt x="166" y="119"/>
                    <a:pt x="171" y="116"/>
                    <a:pt x="175" y="112"/>
                  </a:cubicBezTo>
                  <a:cubicBezTo>
                    <a:pt x="177" y="115"/>
                    <a:pt x="178" y="118"/>
                    <a:pt x="181" y="121"/>
                  </a:cubicBezTo>
                  <a:cubicBezTo>
                    <a:pt x="181" y="162"/>
                    <a:pt x="181" y="162"/>
                    <a:pt x="181" y="162"/>
                  </a:cubicBezTo>
                  <a:cubicBezTo>
                    <a:pt x="182" y="183"/>
                    <a:pt x="182" y="183"/>
                    <a:pt x="182" y="183"/>
                  </a:cubicBezTo>
                  <a:lnTo>
                    <a:pt x="171" y="183"/>
                  </a:lnTo>
                  <a:close/>
                  <a:moveTo>
                    <a:pt x="214" y="289"/>
                  </a:moveTo>
                  <a:cubicBezTo>
                    <a:pt x="212" y="289"/>
                    <a:pt x="212" y="289"/>
                    <a:pt x="212" y="289"/>
                  </a:cubicBezTo>
                  <a:cubicBezTo>
                    <a:pt x="202" y="161"/>
                    <a:pt x="202" y="161"/>
                    <a:pt x="202" y="161"/>
                  </a:cubicBezTo>
                  <a:cubicBezTo>
                    <a:pt x="202" y="137"/>
                    <a:pt x="202" y="137"/>
                    <a:pt x="202" y="137"/>
                  </a:cubicBezTo>
                  <a:cubicBezTo>
                    <a:pt x="205" y="138"/>
                    <a:pt x="207" y="139"/>
                    <a:pt x="210" y="140"/>
                  </a:cubicBezTo>
                  <a:cubicBezTo>
                    <a:pt x="214" y="141"/>
                    <a:pt x="218" y="141"/>
                    <a:pt x="221" y="141"/>
                  </a:cubicBezTo>
                  <a:cubicBezTo>
                    <a:pt x="222" y="141"/>
                    <a:pt x="223" y="141"/>
                    <a:pt x="223" y="141"/>
                  </a:cubicBezTo>
                  <a:cubicBezTo>
                    <a:pt x="223" y="171"/>
                    <a:pt x="223" y="171"/>
                    <a:pt x="223" y="171"/>
                  </a:cubicBezTo>
                  <a:lnTo>
                    <a:pt x="214" y="289"/>
                  </a:lnTo>
                  <a:close/>
                  <a:moveTo>
                    <a:pt x="264" y="171"/>
                  </a:moveTo>
                  <a:cubicBezTo>
                    <a:pt x="261" y="177"/>
                    <a:pt x="254" y="181"/>
                    <a:pt x="244" y="182"/>
                  </a:cubicBezTo>
                  <a:cubicBezTo>
                    <a:pt x="245" y="172"/>
                    <a:pt x="245" y="172"/>
                    <a:pt x="245" y="172"/>
                  </a:cubicBezTo>
                  <a:cubicBezTo>
                    <a:pt x="245" y="131"/>
                    <a:pt x="245" y="131"/>
                    <a:pt x="245" y="131"/>
                  </a:cubicBezTo>
                  <a:cubicBezTo>
                    <a:pt x="246" y="130"/>
                    <a:pt x="247" y="129"/>
                    <a:pt x="248" y="127"/>
                  </a:cubicBezTo>
                  <a:cubicBezTo>
                    <a:pt x="251" y="123"/>
                    <a:pt x="253" y="119"/>
                    <a:pt x="254" y="114"/>
                  </a:cubicBezTo>
                  <a:cubicBezTo>
                    <a:pt x="264" y="135"/>
                    <a:pt x="271" y="158"/>
                    <a:pt x="264"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7" name="TextBox 566">
            <a:extLst>
              <a:ext uri="{FF2B5EF4-FFF2-40B4-BE49-F238E27FC236}">
                <a16:creationId xmlns:a16="http://schemas.microsoft.com/office/drawing/2014/main" id="{699FAE70-0772-4B8E-8780-406C39F632F9}"/>
              </a:ext>
            </a:extLst>
          </p:cNvPr>
          <p:cNvSpPr txBox="1"/>
          <p:nvPr/>
        </p:nvSpPr>
        <p:spPr>
          <a:xfrm>
            <a:off x="6554618" y="3728083"/>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emale symbol</a:t>
            </a:r>
          </a:p>
        </p:txBody>
      </p:sp>
      <p:sp>
        <p:nvSpPr>
          <p:cNvPr id="568" name="Freeform 633">
            <a:extLst>
              <a:ext uri="{FF2B5EF4-FFF2-40B4-BE49-F238E27FC236}">
                <a16:creationId xmlns:a16="http://schemas.microsoft.com/office/drawing/2014/main" id="{B714967C-B905-414F-A012-C869C84915CD}"/>
              </a:ext>
            </a:extLst>
          </p:cNvPr>
          <p:cNvSpPr>
            <a:spLocks noChangeAspect="1" noEditPoints="1"/>
          </p:cNvSpPr>
          <p:nvPr/>
        </p:nvSpPr>
        <p:spPr bwMode="auto">
          <a:xfrm>
            <a:off x="6563085" y="3298170"/>
            <a:ext cx="367631" cy="367631"/>
          </a:xfrm>
          <a:custGeom>
            <a:avLst/>
            <a:gdLst>
              <a:gd name="T0" fmla="*/ 352 w 512"/>
              <a:gd name="T1" fmla="*/ 213 h 512"/>
              <a:gd name="T2" fmla="*/ 256 w 512"/>
              <a:gd name="T3" fmla="*/ 309 h 512"/>
              <a:gd name="T4" fmla="*/ 160 w 512"/>
              <a:gd name="T5" fmla="*/ 213 h 512"/>
              <a:gd name="T6" fmla="*/ 256 w 512"/>
              <a:gd name="T7" fmla="*/ 117 h 512"/>
              <a:gd name="T8" fmla="*/ 352 w 512"/>
              <a:gd name="T9" fmla="*/ 213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73 w 512"/>
              <a:gd name="T21" fmla="*/ 213 h 512"/>
              <a:gd name="T22" fmla="*/ 256 w 512"/>
              <a:gd name="T23" fmla="*/ 96 h 512"/>
              <a:gd name="T24" fmla="*/ 138 w 512"/>
              <a:gd name="T25" fmla="*/ 213 h 512"/>
              <a:gd name="T26" fmla="*/ 245 w 512"/>
              <a:gd name="T27" fmla="*/ 330 h 512"/>
              <a:gd name="T28" fmla="*/ 245 w 512"/>
              <a:gd name="T29" fmla="*/ 352 h 512"/>
              <a:gd name="T30" fmla="*/ 213 w 512"/>
              <a:gd name="T31" fmla="*/ 352 h 512"/>
              <a:gd name="T32" fmla="*/ 202 w 512"/>
              <a:gd name="T33" fmla="*/ 362 h 512"/>
              <a:gd name="T34" fmla="*/ 213 w 512"/>
              <a:gd name="T35" fmla="*/ 373 h 512"/>
              <a:gd name="T36" fmla="*/ 245 w 512"/>
              <a:gd name="T37" fmla="*/ 373 h 512"/>
              <a:gd name="T38" fmla="*/ 245 w 512"/>
              <a:gd name="T39" fmla="*/ 405 h 512"/>
              <a:gd name="T40" fmla="*/ 256 w 512"/>
              <a:gd name="T41" fmla="*/ 416 h 512"/>
              <a:gd name="T42" fmla="*/ 266 w 512"/>
              <a:gd name="T43" fmla="*/ 405 h 512"/>
              <a:gd name="T44" fmla="*/ 266 w 512"/>
              <a:gd name="T45" fmla="*/ 373 h 512"/>
              <a:gd name="T46" fmla="*/ 298 w 512"/>
              <a:gd name="T47" fmla="*/ 373 h 512"/>
              <a:gd name="T48" fmla="*/ 309 w 512"/>
              <a:gd name="T49" fmla="*/ 362 h 512"/>
              <a:gd name="T50" fmla="*/ 298 w 512"/>
              <a:gd name="T51" fmla="*/ 352 h 512"/>
              <a:gd name="T52" fmla="*/ 266 w 512"/>
              <a:gd name="T53" fmla="*/ 352 h 512"/>
              <a:gd name="T54" fmla="*/ 266 w 512"/>
              <a:gd name="T55" fmla="*/ 330 h 512"/>
              <a:gd name="T56" fmla="*/ 373 w 512"/>
              <a:gd name="T5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352" y="213"/>
                </a:moveTo>
                <a:cubicBezTo>
                  <a:pt x="352" y="266"/>
                  <a:pt x="309" y="309"/>
                  <a:pt x="256" y="309"/>
                </a:cubicBezTo>
                <a:cubicBezTo>
                  <a:pt x="203" y="309"/>
                  <a:pt x="160" y="266"/>
                  <a:pt x="160" y="213"/>
                </a:cubicBezTo>
                <a:cubicBezTo>
                  <a:pt x="160" y="160"/>
                  <a:pt x="203" y="117"/>
                  <a:pt x="256" y="117"/>
                </a:cubicBezTo>
                <a:cubicBezTo>
                  <a:pt x="309" y="117"/>
                  <a:pt x="352" y="160"/>
                  <a:pt x="352"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191" y="96"/>
                  <a:pt x="138" y="148"/>
                  <a:pt x="138" y="213"/>
                </a:cubicBezTo>
                <a:cubicBezTo>
                  <a:pt x="138" y="274"/>
                  <a:pt x="185" y="324"/>
                  <a:pt x="245" y="330"/>
                </a:cubicBezTo>
                <a:cubicBezTo>
                  <a:pt x="245" y="352"/>
                  <a:pt x="245" y="352"/>
                  <a:pt x="245" y="352"/>
                </a:cubicBezTo>
                <a:cubicBezTo>
                  <a:pt x="213" y="352"/>
                  <a:pt x="213" y="352"/>
                  <a:pt x="213" y="352"/>
                </a:cubicBezTo>
                <a:cubicBezTo>
                  <a:pt x="207" y="352"/>
                  <a:pt x="202" y="356"/>
                  <a:pt x="202" y="362"/>
                </a:cubicBezTo>
                <a:cubicBezTo>
                  <a:pt x="202" y="368"/>
                  <a:pt x="207" y="373"/>
                  <a:pt x="213"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98" y="373"/>
                  <a:pt x="298" y="373"/>
                  <a:pt x="298" y="373"/>
                </a:cubicBezTo>
                <a:cubicBezTo>
                  <a:pt x="304" y="373"/>
                  <a:pt x="309" y="368"/>
                  <a:pt x="309" y="362"/>
                </a:cubicBezTo>
                <a:cubicBezTo>
                  <a:pt x="309" y="356"/>
                  <a:pt x="304" y="352"/>
                  <a:pt x="298" y="352"/>
                </a:cubicBezTo>
                <a:cubicBezTo>
                  <a:pt x="266" y="352"/>
                  <a:pt x="266" y="352"/>
                  <a:pt x="266" y="352"/>
                </a:cubicBezTo>
                <a:cubicBezTo>
                  <a:pt x="266" y="330"/>
                  <a:pt x="266" y="330"/>
                  <a:pt x="266" y="330"/>
                </a:cubicBezTo>
                <a:cubicBezTo>
                  <a:pt x="326" y="324"/>
                  <a:pt x="373" y="274"/>
                  <a:pt x="373" y="21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69" name="Freeform 637">
            <a:extLst>
              <a:ext uri="{FF2B5EF4-FFF2-40B4-BE49-F238E27FC236}">
                <a16:creationId xmlns:a16="http://schemas.microsoft.com/office/drawing/2014/main" id="{5EBF551E-20C0-4A09-80F2-6CA567D9F643}"/>
              </a:ext>
            </a:extLst>
          </p:cNvPr>
          <p:cNvSpPr>
            <a:spLocks noChangeAspect="1" noEditPoints="1"/>
          </p:cNvSpPr>
          <p:nvPr/>
        </p:nvSpPr>
        <p:spPr bwMode="auto">
          <a:xfrm>
            <a:off x="6998109" y="3298170"/>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73 w 512"/>
              <a:gd name="T21" fmla="*/ 213 h 512"/>
              <a:gd name="T22" fmla="*/ 256 w 512"/>
              <a:gd name="T23" fmla="*/ 96 h 512"/>
              <a:gd name="T24" fmla="*/ 138 w 512"/>
              <a:gd name="T25" fmla="*/ 213 h 512"/>
              <a:gd name="T26" fmla="*/ 245 w 512"/>
              <a:gd name="T27" fmla="*/ 330 h 512"/>
              <a:gd name="T28" fmla="*/ 245 w 512"/>
              <a:gd name="T29" fmla="*/ 352 h 512"/>
              <a:gd name="T30" fmla="*/ 213 w 512"/>
              <a:gd name="T31" fmla="*/ 352 h 512"/>
              <a:gd name="T32" fmla="*/ 202 w 512"/>
              <a:gd name="T33" fmla="*/ 362 h 512"/>
              <a:gd name="T34" fmla="*/ 213 w 512"/>
              <a:gd name="T35" fmla="*/ 373 h 512"/>
              <a:gd name="T36" fmla="*/ 245 w 512"/>
              <a:gd name="T37" fmla="*/ 373 h 512"/>
              <a:gd name="T38" fmla="*/ 245 w 512"/>
              <a:gd name="T39" fmla="*/ 405 h 512"/>
              <a:gd name="T40" fmla="*/ 256 w 512"/>
              <a:gd name="T41" fmla="*/ 416 h 512"/>
              <a:gd name="T42" fmla="*/ 266 w 512"/>
              <a:gd name="T43" fmla="*/ 405 h 512"/>
              <a:gd name="T44" fmla="*/ 266 w 512"/>
              <a:gd name="T45" fmla="*/ 373 h 512"/>
              <a:gd name="T46" fmla="*/ 298 w 512"/>
              <a:gd name="T47" fmla="*/ 373 h 512"/>
              <a:gd name="T48" fmla="*/ 309 w 512"/>
              <a:gd name="T49" fmla="*/ 362 h 512"/>
              <a:gd name="T50" fmla="*/ 298 w 512"/>
              <a:gd name="T51" fmla="*/ 352 h 512"/>
              <a:gd name="T52" fmla="*/ 266 w 512"/>
              <a:gd name="T53" fmla="*/ 352 h 512"/>
              <a:gd name="T54" fmla="*/ 266 w 512"/>
              <a:gd name="T55" fmla="*/ 330 h 512"/>
              <a:gd name="T56" fmla="*/ 373 w 512"/>
              <a:gd name="T57" fmla="*/ 213 h 512"/>
              <a:gd name="T58" fmla="*/ 160 w 512"/>
              <a:gd name="T59" fmla="*/ 213 h 512"/>
              <a:gd name="T60" fmla="*/ 256 w 512"/>
              <a:gd name="T61" fmla="*/ 117 h 512"/>
              <a:gd name="T62" fmla="*/ 352 w 512"/>
              <a:gd name="T63" fmla="*/ 213 h 512"/>
              <a:gd name="T64" fmla="*/ 256 w 512"/>
              <a:gd name="T65" fmla="*/ 309 h 512"/>
              <a:gd name="T66" fmla="*/ 160 w 512"/>
              <a:gd name="T6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13"/>
                </a:moveTo>
                <a:cubicBezTo>
                  <a:pt x="373" y="148"/>
                  <a:pt x="320" y="96"/>
                  <a:pt x="256" y="96"/>
                </a:cubicBezTo>
                <a:cubicBezTo>
                  <a:pt x="191" y="96"/>
                  <a:pt x="138" y="148"/>
                  <a:pt x="138" y="213"/>
                </a:cubicBezTo>
                <a:cubicBezTo>
                  <a:pt x="138" y="274"/>
                  <a:pt x="185" y="324"/>
                  <a:pt x="245" y="330"/>
                </a:cubicBezTo>
                <a:cubicBezTo>
                  <a:pt x="245" y="352"/>
                  <a:pt x="245" y="352"/>
                  <a:pt x="245" y="352"/>
                </a:cubicBezTo>
                <a:cubicBezTo>
                  <a:pt x="213" y="352"/>
                  <a:pt x="213" y="352"/>
                  <a:pt x="213" y="352"/>
                </a:cubicBezTo>
                <a:cubicBezTo>
                  <a:pt x="207" y="352"/>
                  <a:pt x="202" y="356"/>
                  <a:pt x="202" y="362"/>
                </a:cubicBezTo>
                <a:cubicBezTo>
                  <a:pt x="202" y="368"/>
                  <a:pt x="207" y="373"/>
                  <a:pt x="213"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98" y="373"/>
                  <a:pt x="298" y="373"/>
                  <a:pt x="298" y="373"/>
                </a:cubicBezTo>
                <a:cubicBezTo>
                  <a:pt x="304" y="373"/>
                  <a:pt x="309" y="368"/>
                  <a:pt x="309" y="362"/>
                </a:cubicBezTo>
                <a:cubicBezTo>
                  <a:pt x="309" y="356"/>
                  <a:pt x="304" y="352"/>
                  <a:pt x="298" y="352"/>
                </a:cubicBezTo>
                <a:cubicBezTo>
                  <a:pt x="266" y="352"/>
                  <a:pt x="266" y="352"/>
                  <a:pt x="266" y="352"/>
                </a:cubicBezTo>
                <a:cubicBezTo>
                  <a:pt x="266" y="330"/>
                  <a:pt x="266" y="330"/>
                  <a:pt x="266" y="330"/>
                </a:cubicBezTo>
                <a:cubicBezTo>
                  <a:pt x="326" y="324"/>
                  <a:pt x="373" y="274"/>
                  <a:pt x="373" y="213"/>
                </a:cubicBezTo>
                <a:close/>
                <a:moveTo>
                  <a:pt x="160" y="213"/>
                </a:moveTo>
                <a:cubicBezTo>
                  <a:pt x="160" y="160"/>
                  <a:pt x="203" y="117"/>
                  <a:pt x="256" y="117"/>
                </a:cubicBezTo>
                <a:cubicBezTo>
                  <a:pt x="309" y="117"/>
                  <a:pt x="352" y="160"/>
                  <a:pt x="352" y="213"/>
                </a:cubicBezTo>
                <a:cubicBezTo>
                  <a:pt x="352" y="266"/>
                  <a:pt x="309" y="309"/>
                  <a:pt x="256" y="309"/>
                </a:cubicBezTo>
                <a:cubicBezTo>
                  <a:pt x="203" y="309"/>
                  <a:pt x="160" y="266"/>
                  <a:pt x="160" y="21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70" name="TextBox 569">
            <a:extLst>
              <a:ext uri="{FF2B5EF4-FFF2-40B4-BE49-F238E27FC236}">
                <a16:creationId xmlns:a16="http://schemas.microsoft.com/office/drawing/2014/main" id="{14FDFA1A-A698-4034-A5DA-86196081B3A0}"/>
              </a:ext>
            </a:extLst>
          </p:cNvPr>
          <p:cNvSpPr txBox="1"/>
          <p:nvPr/>
        </p:nvSpPr>
        <p:spPr>
          <a:xfrm>
            <a:off x="1390730"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ze</a:t>
            </a:r>
          </a:p>
        </p:txBody>
      </p:sp>
      <p:sp>
        <p:nvSpPr>
          <p:cNvPr id="571" name="TextBox 570">
            <a:extLst>
              <a:ext uri="{FF2B5EF4-FFF2-40B4-BE49-F238E27FC236}">
                <a16:creationId xmlns:a16="http://schemas.microsoft.com/office/drawing/2014/main" id="{2B088333-D046-4BD4-80D9-DCD8CB0D2AAC}"/>
              </a:ext>
            </a:extLst>
          </p:cNvPr>
          <p:cNvSpPr txBox="1"/>
          <p:nvPr/>
        </p:nvSpPr>
        <p:spPr>
          <a:xfrm>
            <a:off x="526777"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adder</a:t>
            </a:r>
          </a:p>
        </p:txBody>
      </p:sp>
      <p:sp>
        <p:nvSpPr>
          <p:cNvPr id="572" name="TextBox 571">
            <a:extLst>
              <a:ext uri="{FF2B5EF4-FFF2-40B4-BE49-F238E27FC236}">
                <a16:creationId xmlns:a16="http://schemas.microsoft.com/office/drawing/2014/main" id="{FE10F2AD-8FA0-4ADD-8A6E-4F76464C9480}"/>
              </a:ext>
            </a:extLst>
          </p:cNvPr>
          <p:cNvSpPr txBox="1"/>
          <p:nvPr/>
        </p:nvSpPr>
        <p:spPr>
          <a:xfrm>
            <a:off x="10901526" y="37280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fe buoy</a:t>
            </a:r>
          </a:p>
        </p:txBody>
      </p:sp>
      <p:sp>
        <p:nvSpPr>
          <p:cNvPr id="573" name="Freeform 505">
            <a:extLst>
              <a:ext uri="{FF2B5EF4-FFF2-40B4-BE49-F238E27FC236}">
                <a16:creationId xmlns:a16="http://schemas.microsoft.com/office/drawing/2014/main" id="{42E6D9A1-065D-4136-B2FC-F9CA62455817}"/>
              </a:ext>
            </a:extLst>
          </p:cNvPr>
          <p:cNvSpPr>
            <a:spLocks noChangeAspect="1" noEditPoints="1"/>
          </p:cNvSpPr>
          <p:nvPr/>
        </p:nvSpPr>
        <p:spPr bwMode="auto">
          <a:xfrm>
            <a:off x="10917604" y="3298170"/>
            <a:ext cx="367041" cy="367041"/>
          </a:xfrm>
          <a:custGeom>
            <a:avLst/>
            <a:gdLst>
              <a:gd name="T0" fmla="*/ 223 w 512"/>
              <a:gd name="T1" fmla="*/ 334 h 512"/>
              <a:gd name="T2" fmla="*/ 215 w 512"/>
              <a:gd name="T3" fmla="*/ 388 h 512"/>
              <a:gd name="T4" fmla="*/ 123 w 512"/>
              <a:gd name="T5" fmla="*/ 296 h 512"/>
              <a:gd name="T6" fmla="*/ 177 w 512"/>
              <a:gd name="T7" fmla="*/ 288 h 512"/>
              <a:gd name="T8" fmla="*/ 223 w 512"/>
              <a:gd name="T9" fmla="*/ 334 h 512"/>
              <a:gd name="T10" fmla="*/ 170 w 512"/>
              <a:gd name="T11" fmla="*/ 256 h 512"/>
              <a:gd name="T12" fmla="*/ 171 w 512"/>
              <a:gd name="T13" fmla="*/ 244 h 512"/>
              <a:gd name="T14" fmla="*/ 119 w 512"/>
              <a:gd name="T15" fmla="*/ 236 h 512"/>
              <a:gd name="T16" fmla="*/ 117 w 512"/>
              <a:gd name="T17" fmla="*/ 256 h 512"/>
              <a:gd name="T18" fmla="*/ 119 w 512"/>
              <a:gd name="T19" fmla="*/ 275 h 512"/>
              <a:gd name="T20" fmla="*/ 171 w 512"/>
              <a:gd name="T21" fmla="*/ 268 h 512"/>
              <a:gd name="T22" fmla="*/ 170 w 512"/>
              <a:gd name="T23" fmla="*/ 256 h 512"/>
              <a:gd name="T24" fmla="*/ 223 w 512"/>
              <a:gd name="T25" fmla="*/ 177 h 512"/>
              <a:gd name="T26" fmla="*/ 215 w 512"/>
              <a:gd name="T27" fmla="*/ 123 h 512"/>
              <a:gd name="T28" fmla="*/ 123 w 512"/>
              <a:gd name="T29" fmla="*/ 215 h 512"/>
              <a:gd name="T30" fmla="*/ 177 w 512"/>
              <a:gd name="T31" fmla="*/ 223 h 512"/>
              <a:gd name="T32" fmla="*/ 223 w 512"/>
              <a:gd name="T33" fmla="*/ 177 h 512"/>
              <a:gd name="T34" fmla="*/ 256 w 512"/>
              <a:gd name="T35" fmla="*/ 170 h 512"/>
              <a:gd name="T36" fmla="*/ 268 w 512"/>
              <a:gd name="T37" fmla="*/ 171 h 512"/>
              <a:gd name="T38" fmla="*/ 275 w 512"/>
              <a:gd name="T39" fmla="*/ 119 h 512"/>
              <a:gd name="T40" fmla="*/ 256 w 512"/>
              <a:gd name="T41" fmla="*/ 117 h 512"/>
              <a:gd name="T42" fmla="*/ 236 w 512"/>
              <a:gd name="T43" fmla="*/ 119 h 512"/>
              <a:gd name="T44" fmla="*/ 244 w 512"/>
              <a:gd name="T45" fmla="*/ 171 h 512"/>
              <a:gd name="T46" fmla="*/ 256 w 512"/>
              <a:gd name="T47" fmla="*/ 170 h 512"/>
              <a:gd name="T48" fmla="*/ 192 w 512"/>
              <a:gd name="T49" fmla="*/ 256 h 512"/>
              <a:gd name="T50" fmla="*/ 256 w 512"/>
              <a:gd name="T51" fmla="*/ 320 h 512"/>
              <a:gd name="T52" fmla="*/ 320 w 512"/>
              <a:gd name="T53" fmla="*/ 256 h 512"/>
              <a:gd name="T54" fmla="*/ 256 w 512"/>
              <a:gd name="T55" fmla="*/ 192 h 512"/>
              <a:gd name="T56" fmla="*/ 192 w 512"/>
              <a:gd name="T57" fmla="*/ 256 h 512"/>
              <a:gd name="T58" fmla="*/ 341 w 512"/>
              <a:gd name="T59" fmla="*/ 256 h 512"/>
              <a:gd name="T60" fmla="*/ 340 w 512"/>
              <a:gd name="T61" fmla="*/ 268 h 512"/>
              <a:gd name="T62" fmla="*/ 393 w 512"/>
              <a:gd name="T63" fmla="*/ 275 h 512"/>
              <a:gd name="T64" fmla="*/ 394 w 512"/>
              <a:gd name="T65" fmla="*/ 256 h 512"/>
              <a:gd name="T66" fmla="*/ 393 w 512"/>
              <a:gd name="T67" fmla="*/ 236 h 512"/>
              <a:gd name="T68" fmla="*/ 340 w 512"/>
              <a:gd name="T69" fmla="*/ 244 h 512"/>
              <a:gd name="T70" fmla="*/ 341 w 512"/>
              <a:gd name="T71" fmla="*/ 256 h 512"/>
              <a:gd name="T72" fmla="*/ 296 w 512"/>
              <a:gd name="T73" fmla="*/ 123 h 512"/>
              <a:gd name="T74" fmla="*/ 288 w 512"/>
              <a:gd name="T75" fmla="*/ 177 h 512"/>
              <a:gd name="T76" fmla="*/ 334 w 512"/>
              <a:gd name="T77" fmla="*/ 223 h 512"/>
              <a:gd name="T78" fmla="*/ 388 w 512"/>
              <a:gd name="T79" fmla="*/ 215 h 512"/>
              <a:gd name="T80" fmla="*/ 296 w 512"/>
              <a:gd name="T81" fmla="*/ 123 h 512"/>
              <a:gd name="T82" fmla="*/ 512 w 512"/>
              <a:gd name="T83" fmla="*/ 256 h 512"/>
              <a:gd name="T84" fmla="*/ 256 w 512"/>
              <a:gd name="T85" fmla="*/ 512 h 512"/>
              <a:gd name="T86" fmla="*/ 0 w 512"/>
              <a:gd name="T87" fmla="*/ 256 h 512"/>
              <a:gd name="T88" fmla="*/ 256 w 512"/>
              <a:gd name="T89" fmla="*/ 0 h 512"/>
              <a:gd name="T90" fmla="*/ 512 w 512"/>
              <a:gd name="T91" fmla="*/ 256 h 512"/>
              <a:gd name="T92" fmla="*/ 416 w 512"/>
              <a:gd name="T93" fmla="*/ 256 h 512"/>
              <a:gd name="T94" fmla="*/ 256 w 512"/>
              <a:gd name="T95" fmla="*/ 96 h 512"/>
              <a:gd name="T96" fmla="*/ 96 w 512"/>
              <a:gd name="T97" fmla="*/ 256 h 512"/>
              <a:gd name="T98" fmla="*/ 256 w 512"/>
              <a:gd name="T99" fmla="*/ 416 h 512"/>
              <a:gd name="T100" fmla="*/ 416 w 512"/>
              <a:gd name="T101" fmla="*/ 256 h 512"/>
              <a:gd name="T102" fmla="*/ 288 w 512"/>
              <a:gd name="T103" fmla="*/ 334 h 512"/>
              <a:gd name="T104" fmla="*/ 296 w 512"/>
              <a:gd name="T105" fmla="*/ 388 h 512"/>
              <a:gd name="T106" fmla="*/ 388 w 512"/>
              <a:gd name="T107" fmla="*/ 296 h 512"/>
              <a:gd name="T108" fmla="*/ 334 w 512"/>
              <a:gd name="T109" fmla="*/ 288 h 512"/>
              <a:gd name="T110" fmla="*/ 288 w 512"/>
              <a:gd name="T111" fmla="*/ 334 h 512"/>
              <a:gd name="T112" fmla="*/ 256 w 512"/>
              <a:gd name="T113" fmla="*/ 341 h 512"/>
              <a:gd name="T114" fmla="*/ 244 w 512"/>
              <a:gd name="T115" fmla="*/ 340 h 512"/>
              <a:gd name="T116" fmla="*/ 236 w 512"/>
              <a:gd name="T117" fmla="*/ 393 h 512"/>
              <a:gd name="T118" fmla="*/ 256 w 512"/>
              <a:gd name="T119" fmla="*/ 394 h 512"/>
              <a:gd name="T120" fmla="*/ 275 w 512"/>
              <a:gd name="T121" fmla="*/ 393 h 512"/>
              <a:gd name="T122" fmla="*/ 268 w 512"/>
              <a:gd name="T123" fmla="*/ 340 h 512"/>
              <a:gd name="T124" fmla="*/ 256 w 512"/>
              <a:gd name="T12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3" y="334"/>
                </a:moveTo>
                <a:cubicBezTo>
                  <a:pt x="215" y="388"/>
                  <a:pt x="215" y="388"/>
                  <a:pt x="215" y="388"/>
                </a:cubicBezTo>
                <a:cubicBezTo>
                  <a:pt x="171" y="375"/>
                  <a:pt x="136" y="340"/>
                  <a:pt x="123" y="296"/>
                </a:cubicBezTo>
                <a:cubicBezTo>
                  <a:pt x="177" y="288"/>
                  <a:pt x="177" y="288"/>
                  <a:pt x="177" y="288"/>
                </a:cubicBezTo>
                <a:cubicBezTo>
                  <a:pt x="186" y="309"/>
                  <a:pt x="202" y="326"/>
                  <a:pt x="223" y="334"/>
                </a:cubicBezTo>
                <a:close/>
                <a:moveTo>
                  <a:pt x="170" y="256"/>
                </a:moveTo>
                <a:cubicBezTo>
                  <a:pt x="170" y="252"/>
                  <a:pt x="171" y="248"/>
                  <a:pt x="171" y="244"/>
                </a:cubicBezTo>
                <a:cubicBezTo>
                  <a:pt x="119" y="236"/>
                  <a:pt x="119" y="236"/>
                  <a:pt x="119" y="236"/>
                </a:cubicBezTo>
                <a:cubicBezTo>
                  <a:pt x="118" y="243"/>
                  <a:pt x="117" y="249"/>
                  <a:pt x="117" y="256"/>
                </a:cubicBezTo>
                <a:cubicBezTo>
                  <a:pt x="117" y="262"/>
                  <a:pt x="118" y="269"/>
                  <a:pt x="119" y="275"/>
                </a:cubicBezTo>
                <a:cubicBezTo>
                  <a:pt x="171" y="268"/>
                  <a:pt x="171" y="268"/>
                  <a:pt x="171" y="268"/>
                </a:cubicBezTo>
                <a:cubicBezTo>
                  <a:pt x="171" y="264"/>
                  <a:pt x="170" y="260"/>
                  <a:pt x="170" y="256"/>
                </a:cubicBezTo>
                <a:close/>
                <a:moveTo>
                  <a:pt x="223" y="177"/>
                </a:moveTo>
                <a:cubicBezTo>
                  <a:pt x="215" y="123"/>
                  <a:pt x="215" y="123"/>
                  <a:pt x="215" y="123"/>
                </a:cubicBezTo>
                <a:cubicBezTo>
                  <a:pt x="171" y="136"/>
                  <a:pt x="136" y="171"/>
                  <a:pt x="123" y="215"/>
                </a:cubicBezTo>
                <a:cubicBezTo>
                  <a:pt x="177" y="223"/>
                  <a:pt x="177" y="223"/>
                  <a:pt x="177" y="223"/>
                </a:cubicBezTo>
                <a:cubicBezTo>
                  <a:pt x="186" y="202"/>
                  <a:pt x="202" y="186"/>
                  <a:pt x="223" y="177"/>
                </a:cubicBezTo>
                <a:close/>
                <a:moveTo>
                  <a:pt x="256" y="170"/>
                </a:moveTo>
                <a:cubicBezTo>
                  <a:pt x="260" y="170"/>
                  <a:pt x="264" y="171"/>
                  <a:pt x="268" y="171"/>
                </a:cubicBezTo>
                <a:cubicBezTo>
                  <a:pt x="275" y="119"/>
                  <a:pt x="275" y="119"/>
                  <a:pt x="275" y="119"/>
                </a:cubicBezTo>
                <a:cubicBezTo>
                  <a:pt x="269" y="118"/>
                  <a:pt x="262" y="117"/>
                  <a:pt x="256" y="117"/>
                </a:cubicBezTo>
                <a:cubicBezTo>
                  <a:pt x="249" y="117"/>
                  <a:pt x="243" y="118"/>
                  <a:pt x="236" y="119"/>
                </a:cubicBezTo>
                <a:cubicBezTo>
                  <a:pt x="244" y="171"/>
                  <a:pt x="244" y="171"/>
                  <a:pt x="244" y="171"/>
                </a:cubicBezTo>
                <a:cubicBezTo>
                  <a:pt x="248" y="171"/>
                  <a:pt x="252" y="170"/>
                  <a:pt x="256" y="170"/>
                </a:cubicBezTo>
                <a:close/>
                <a:moveTo>
                  <a:pt x="192" y="256"/>
                </a:moveTo>
                <a:cubicBezTo>
                  <a:pt x="192" y="291"/>
                  <a:pt x="220" y="320"/>
                  <a:pt x="256" y="320"/>
                </a:cubicBezTo>
                <a:cubicBezTo>
                  <a:pt x="291" y="320"/>
                  <a:pt x="320" y="291"/>
                  <a:pt x="320" y="256"/>
                </a:cubicBezTo>
                <a:cubicBezTo>
                  <a:pt x="320" y="220"/>
                  <a:pt x="291" y="192"/>
                  <a:pt x="256" y="192"/>
                </a:cubicBezTo>
                <a:cubicBezTo>
                  <a:pt x="220" y="192"/>
                  <a:pt x="192" y="220"/>
                  <a:pt x="192" y="256"/>
                </a:cubicBezTo>
                <a:close/>
                <a:moveTo>
                  <a:pt x="341" y="256"/>
                </a:moveTo>
                <a:cubicBezTo>
                  <a:pt x="341" y="260"/>
                  <a:pt x="341" y="264"/>
                  <a:pt x="340" y="268"/>
                </a:cubicBezTo>
                <a:cubicBezTo>
                  <a:pt x="393" y="275"/>
                  <a:pt x="393" y="275"/>
                  <a:pt x="393" y="275"/>
                </a:cubicBezTo>
                <a:cubicBezTo>
                  <a:pt x="394" y="269"/>
                  <a:pt x="394" y="262"/>
                  <a:pt x="394" y="256"/>
                </a:cubicBezTo>
                <a:cubicBezTo>
                  <a:pt x="394" y="249"/>
                  <a:pt x="394" y="243"/>
                  <a:pt x="393" y="236"/>
                </a:cubicBezTo>
                <a:cubicBezTo>
                  <a:pt x="340" y="244"/>
                  <a:pt x="340" y="244"/>
                  <a:pt x="340" y="244"/>
                </a:cubicBezTo>
                <a:cubicBezTo>
                  <a:pt x="341" y="248"/>
                  <a:pt x="341" y="252"/>
                  <a:pt x="341" y="256"/>
                </a:cubicBezTo>
                <a:close/>
                <a:moveTo>
                  <a:pt x="296" y="123"/>
                </a:moveTo>
                <a:cubicBezTo>
                  <a:pt x="288" y="177"/>
                  <a:pt x="288" y="177"/>
                  <a:pt x="288" y="177"/>
                </a:cubicBezTo>
                <a:cubicBezTo>
                  <a:pt x="309" y="186"/>
                  <a:pt x="326" y="202"/>
                  <a:pt x="334" y="223"/>
                </a:cubicBezTo>
                <a:cubicBezTo>
                  <a:pt x="388" y="215"/>
                  <a:pt x="388" y="215"/>
                  <a:pt x="388" y="215"/>
                </a:cubicBezTo>
                <a:cubicBezTo>
                  <a:pt x="375" y="171"/>
                  <a:pt x="340" y="136"/>
                  <a:pt x="296" y="1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288" y="334"/>
                </a:moveTo>
                <a:cubicBezTo>
                  <a:pt x="296" y="388"/>
                  <a:pt x="296" y="388"/>
                  <a:pt x="296" y="388"/>
                </a:cubicBezTo>
                <a:cubicBezTo>
                  <a:pt x="340" y="375"/>
                  <a:pt x="375" y="340"/>
                  <a:pt x="388" y="296"/>
                </a:cubicBezTo>
                <a:cubicBezTo>
                  <a:pt x="334" y="288"/>
                  <a:pt x="334" y="288"/>
                  <a:pt x="334" y="288"/>
                </a:cubicBezTo>
                <a:cubicBezTo>
                  <a:pt x="326" y="309"/>
                  <a:pt x="309" y="326"/>
                  <a:pt x="288" y="334"/>
                </a:cubicBezTo>
                <a:close/>
                <a:moveTo>
                  <a:pt x="256" y="341"/>
                </a:moveTo>
                <a:cubicBezTo>
                  <a:pt x="252" y="341"/>
                  <a:pt x="248" y="341"/>
                  <a:pt x="244" y="340"/>
                </a:cubicBezTo>
                <a:cubicBezTo>
                  <a:pt x="236" y="393"/>
                  <a:pt x="236" y="393"/>
                  <a:pt x="236" y="393"/>
                </a:cubicBezTo>
                <a:cubicBezTo>
                  <a:pt x="243" y="394"/>
                  <a:pt x="249" y="394"/>
                  <a:pt x="256" y="394"/>
                </a:cubicBezTo>
                <a:cubicBezTo>
                  <a:pt x="262" y="394"/>
                  <a:pt x="269" y="394"/>
                  <a:pt x="275" y="393"/>
                </a:cubicBezTo>
                <a:cubicBezTo>
                  <a:pt x="268" y="340"/>
                  <a:pt x="268" y="340"/>
                  <a:pt x="268" y="340"/>
                </a:cubicBezTo>
                <a:cubicBezTo>
                  <a:pt x="264" y="341"/>
                  <a:pt x="260" y="341"/>
                  <a:pt x="256" y="34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4" name="Group 508">
            <a:extLst>
              <a:ext uri="{FF2B5EF4-FFF2-40B4-BE49-F238E27FC236}">
                <a16:creationId xmlns:a16="http://schemas.microsoft.com/office/drawing/2014/main" id="{8413E5FE-97A6-4F57-9D59-AD70A3A2AFBA}"/>
              </a:ext>
            </a:extLst>
          </p:cNvPr>
          <p:cNvGrpSpPr>
            <a:grpSpLocks noChangeAspect="1"/>
          </p:cNvGrpSpPr>
          <p:nvPr/>
        </p:nvGrpSpPr>
        <p:grpSpPr bwMode="auto">
          <a:xfrm>
            <a:off x="11352028" y="3298170"/>
            <a:ext cx="367041" cy="367041"/>
            <a:chOff x="3297" y="2398"/>
            <a:chExt cx="340" cy="340"/>
          </a:xfrm>
          <a:solidFill>
            <a:schemeClr val="accent6"/>
          </a:solidFill>
        </p:grpSpPr>
        <p:sp>
          <p:nvSpPr>
            <p:cNvPr id="575" name="Freeform 509">
              <a:extLst>
                <a:ext uri="{FF2B5EF4-FFF2-40B4-BE49-F238E27FC236}">
                  <a16:creationId xmlns:a16="http://schemas.microsoft.com/office/drawing/2014/main" id="{1E4F415F-F7F6-4BAA-AED2-1F58B2132D2E}"/>
                </a:ext>
              </a:extLst>
            </p:cNvPr>
            <p:cNvSpPr>
              <a:spLocks noEditPoints="1"/>
            </p:cNvSpPr>
            <p:nvPr/>
          </p:nvSpPr>
          <p:spPr bwMode="auto">
            <a:xfrm>
              <a:off x="3361" y="2462"/>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98 w 320"/>
                <a:gd name="T11" fmla="*/ 160 h 320"/>
                <a:gd name="T12" fmla="*/ 297 w 320"/>
                <a:gd name="T13" fmla="*/ 179 h 320"/>
                <a:gd name="T14" fmla="*/ 244 w 320"/>
                <a:gd name="T15" fmla="*/ 172 h 320"/>
                <a:gd name="T16" fmla="*/ 245 w 320"/>
                <a:gd name="T17" fmla="*/ 160 h 320"/>
                <a:gd name="T18" fmla="*/ 244 w 320"/>
                <a:gd name="T19" fmla="*/ 148 h 320"/>
                <a:gd name="T20" fmla="*/ 297 w 320"/>
                <a:gd name="T21" fmla="*/ 140 h 320"/>
                <a:gd name="T22" fmla="*/ 298 w 320"/>
                <a:gd name="T23" fmla="*/ 160 h 320"/>
                <a:gd name="T24" fmla="*/ 292 w 320"/>
                <a:gd name="T25" fmla="*/ 119 h 320"/>
                <a:gd name="T26" fmla="*/ 238 w 320"/>
                <a:gd name="T27" fmla="*/ 127 h 320"/>
                <a:gd name="T28" fmla="*/ 192 w 320"/>
                <a:gd name="T29" fmla="*/ 81 h 320"/>
                <a:gd name="T30" fmla="*/ 200 w 320"/>
                <a:gd name="T31" fmla="*/ 27 h 320"/>
                <a:gd name="T32" fmla="*/ 292 w 320"/>
                <a:gd name="T33" fmla="*/ 119 h 320"/>
                <a:gd name="T34" fmla="*/ 160 w 320"/>
                <a:gd name="T35" fmla="*/ 224 h 320"/>
                <a:gd name="T36" fmla="*/ 96 w 320"/>
                <a:gd name="T37" fmla="*/ 160 h 320"/>
                <a:gd name="T38" fmla="*/ 160 w 320"/>
                <a:gd name="T39" fmla="*/ 96 h 320"/>
                <a:gd name="T40" fmla="*/ 224 w 320"/>
                <a:gd name="T41" fmla="*/ 160 h 320"/>
                <a:gd name="T42" fmla="*/ 160 w 320"/>
                <a:gd name="T43" fmla="*/ 224 h 320"/>
                <a:gd name="T44" fmla="*/ 179 w 320"/>
                <a:gd name="T45" fmla="*/ 23 h 320"/>
                <a:gd name="T46" fmla="*/ 172 w 320"/>
                <a:gd name="T47" fmla="*/ 75 h 320"/>
                <a:gd name="T48" fmla="*/ 160 w 320"/>
                <a:gd name="T49" fmla="*/ 74 h 320"/>
                <a:gd name="T50" fmla="*/ 148 w 320"/>
                <a:gd name="T51" fmla="*/ 75 h 320"/>
                <a:gd name="T52" fmla="*/ 140 w 320"/>
                <a:gd name="T53" fmla="*/ 23 h 320"/>
                <a:gd name="T54" fmla="*/ 160 w 320"/>
                <a:gd name="T55" fmla="*/ 21 h 320"/>
                <a:gd name="T56" fmla="*/ 179 w 320"/>
                <a:gd name="T57" fmla="*/ 23 h 320"/>
                <a:gd name="T58" fmla="*/ 119 w 320"/>
                <a:gd name="T59" fmla="*/ 27 h 320"/>
                <a:gd name="T60" fmla="*/ 127 w 320"/>
                <a:gd name="T61" fmla="*/ 81 h 320"/>
                <a:gd name="T62" fmla="*/ 81 w 320"/>
                <a:gd name="T63" fmla="*/ 127 h 320"/>
                <a:gd name="T64" fmla="*/ 27 w 320"/>
                <a:gd name="T65" fmla="*/ 119 h 320"/>
                <a:gd name="T66" fmla="*/ 119 w 320"/>
                <a:gd name="T67" fmla="*/ 27 h 320"/>
                <a:gd name="T68" fmla="*/ 21 w 320"/>
                <a:gd name="T69" fmla="*/ 160 h 320"/>
                <a:gd name="T70" fmla="*/ 23 w 320"/>
                <a:gd name="T71" fmla="*/ 140 h 320"/>
                <a:gd name="T72" fmla="*/ 75 w 320"/>
                <a:gd name="T73" fmla="*/ 148 h 320"/>
                <a:gd name="T74" fmla="*/ 74 w 320"/>
                <a:gd name="T75" fmla="*/ 160 h 320"/>
                <a:gd name="T76" fmla="*/ 75 w 320"/>
                <a:gd name="T77" fmla="*/ 172 h 320"/>
                <a:gd name="T78" fmla="*/ 23 w 320"/>
                <a:gd name="T79" fmla="*/ 179 h 320"/>
                <a:gd name="T80" fmla="*/ 21 w 320"/>
                <a:gd name="T81" fmla="*/ 160 h 320"/>
                <a:gd name="T82" fmla="*/ 27 w 320"/>
                <a:gd name="T83" fmla="*/ 200 h 320"/>
                <a:gd name="T84" fmla="*/ 81 w 320"/>
                <a:gd name="T85" fmla="*/ 192 h 320"/>
                <a:gd name="T86" fmla="*/ 127 w 320"/>
                <a:gd name="T87" fmla="*/ 238 h 320"/>
                <a:gd name="T88" fmla="*/ 119 w 320"/>
                <a:gd name="T89" fmla="*/ 292 h 320"/>
                <a:gd name="T90" fmla="*/ 27 w 320"/>
                <a:gd name="T91" fmla="*/ 200 h 320"/>
                <a:gd name="T92" fmla="*/ 140 w 320"/>
                <a:gd name="T93" fmla="*/ 297 h 320"/>
                <a:gd name="T94" fmla="*/ 148 w 320"/>
                <a:gd name="T95" fmla="*/ 244 h 320"/>
                <a:gd name="T96" fmla="*/ 160 w 320"/>
                <a:gd name="T97" fmla="*/ 245 h 320"/>
                <a:gd name="T98" fmla="*/ 172 w 320"/>
                <a:gd name="T99" fmla="*/ 244 h 320"/>
                <a:gd name="T100" fmla="*/ 179 w 320"/>
                <a:gd name="T101" fmla="*/ 297 h 320"/>
                <a:gd name="T102" fmla="*/ 160 w 320"/>
                <a:gd name="T103" fmla="*/ 298 h 320"/>
                <a:gd name="T104" fmla="*/ 140 w 320"/>
                <a:gd name="T105" fmla="*/ 297 h 320"/>
                <a:gd name="T106" fmla="*/ 200 w 320"/>
                <a:gd name="T107" fmla="*/ 292 h 320"/>
                <a:gd name="T108" fmla="*/ 192 w 320"/>
                <a:gd name="T109" fmla="*/ 238 h 320"/>
                <a:gd name="T110" fmla="*/ 238 w 320"/>
                <a:gd name="T111" fmla="*/ 192 h 320"/>
                <a:gd name="T112" fmla="*/ 292 w 320"/>
                <a:gd name="T113" fmla="*/ 200 h 320"/>
                <a:gd name="T114" fmla="*/ 200 w 320"/>
                <a:gd name="T115"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98" y="160"/>
                  </a:moveTo>
                  <a:cubicBezTo>
                    <a:pt x="298" y="166"/>
                    <a:pt x="298" y="173"/>
                    <a:pt x="297" y="179"/>
                  </a:cubicBezTo>
                  <a:cubicBezTo>
                    <a:pt x="244" y="172"/>
                    <a:pt x="244" y="172"/>
                    <a:pt x="244" y="172"/>
                  </a:cubicBezTo>
                  <a:cubicBezTo>
                    <a:pt x="245" y="168"/>
                    <a:pt x="245" y="164"/>
                    <a:pt x="245" y="160"/>
                  </a:cubicBezTo>
                  <a:cubicBezTo>
                    <a:pt x="245" y="156"/>
                    <a:pt x="245" y="152"/>
                    <a:pt x="244" y="148"/>
                  </a:cubicBezTo>
                  <a:cubicBezTo>
                    <a:pt x="297" y="140"/>
                    <a:pt x="297" y="140"/>
                    <a:pt x="297" y="140"/>
                  </a:cubicBezTo>
                  <a:cubicBezTo>
                    <a:pt x="298" y="147"/>
                    <a:pt x="298" y="153"/>
                    <a:pt x="298" y="160"/>
                  </a:cubicBezTo>
                  <a:close/>
                  <a:moveTo>
                    <a:pt x="292" y="119"/>
                  </a:moveTo>
                  <a:cubicBezTo>
                    <a:pt x="238" y="127"/>
                    <a:pt x="238" y="127"/>
                    <a:pt x="238" y="127"/>
                  </a:cubicBezTo>
                  <a:cubicBezTo>
                    <a:pt x="230" y="106"/>
                    <a:pt x="213" y="90"/>
                    <a:pt x="192" y="81"/>
                  </a:cubicBezTo>
                  <a:cubicBezTo>
                    <a:pt x="200" y="27"/>
                    <a:pt x="200" y="27"/>
                    <a:pt x="200" y="27"/>
                  </a:cubicBezTo>
                  <a:cubicBezTo>
                    <a:pt x="244" y="40"/>
                    <a:pt x="279" y="75"/>
                    <a:pt x="292" y="119"/>
                  </a:cubicBezTo>
                  <a:close/>
                  <a:moveTo>
                    <a:pt x="160" y="224"/>
                  </a:moveTo>
                  <a:cubicBezTo>
                    <a:pt x="124" y="224"/>
                    <a:pt x="96" y="195"/>
                    <a:pt x="96" y="160"/>
                  </a:cubicBezTo>
                  <a:cubicBezTo>
                    <a:pt x="96" y="124"/>
                    <a:pt x="124" y="96"/>
                    <a:pt x="160" y="96"/>
                  </a:cubicBezTo>
                  <a:cubicBezTo>
                    <a:pt x="195" y="96"/>
                    <a:pt x="224" y="124"/>
                    <a:pt x="224" y="160"/>
                  </a:cubicBezTo>
                  <a:cubicBezTo>
                    <a:pt x="224" y="195"/>
                    <a:pt x="195" y="224"/>
                    <a:pt x="160" y="224"/>
                  </a:cubicBezTo>
                  <a:close/>
                  <a:moveTo>
                    <a:pt x="179" y="23"/>
                  </a:moveTo>
                  <a:cubicBezTo>
                    <a:pt x="172" y="75"/>
                    <a:pt x="172" y="75"/>
                    <a:pt x="172" y="75"/>
                  </a:cubicBezTo>
                  <a:cubicBezTo>
                    <a:pt x="168" y="75"/>
                    <a:pt x="164" y="74"/>
                    <a:pt x="160" y="74"/>
                  </a:cubicBezTo>
                  <a:cubicBezTo>
                    <a:pt x="156" y="74"/>
                    <a:pt x="152" y="75"/>
                    <a:pt x="148" y="75"/>
                  </a:cubicBezTo>
                  <a:cubicBezTo>
                    <a:pt x="140" y="23"/>
                    <a:pt x="140" y="23"/>
                    <a:pt x="140" y="23"/>
                  </a:cubicBezTo>
                  <a:cubicBezTo>
                    <a:pt x="147" y="22"/>
                    <a:pt x="153" y="21"/>
                    <a:pt x="160" y="21"/>
                  </a:cubicBezTo>
                  <a:cubicBezTo>
                    <a:pt x="166" y="21"/>
                    <a:pt x="173" y="22"/>
                    <a:pt x="179" y="23"/>
                  </a:cubicBezTo>
                  <a:close/>
                  <a:moveTo>
                    <a:pt x="119" y="27"/>
                  </a:moveTo>
                  <a:cubicBezTo>
                    <a:pt x="127" y="81"/>
                    <a:pt x="127" y="81"/>
                    <a:pt x="127" y="81"/>
                  </a:cubicBezTo>
                  <a:cubicBezTo>
                    <a:pt x="106" y="90"/>
                    <a:pt x="90" y="106"/>
                    <a:pt x="81" y="127"/>
                  </a:cubicBezTo>
                  <a:cubicBezTo>
                    <a:pt x="27" y="119"/>
                    <a:pt x="27" y="119"/>
                    <a:pt x="27" y="119"/>
                  </a:cubicBezTo>
                  <a:cubicBezTo>
                    <a:pt x="40" y="75"/>
                    <a:pt x="75" y="40"/>
                    <a:pt x="119" y="27"/>
                  </a:cubicBezTo>
                  <a:close/>
                  <a:moveTo>
                    <a:pt x="21" y="160"/>
                  </a:moveTo>
                  <a:cubicBezTo>
                    <a:pt x="21" y="153"/>
                    <a:pt x="22" y="147"/>
                    <a:pt x="23" y="140"/>
                  </a:cubicBezTo>
                  <a:cubicBezTo>
                    <a:pt x="75" y="148"/>
                    <a:pt x="75" y="148"/>
                    <a:pt x="75" y="148"/>
                  </a:cubicBezTo>
                  <a:cubicBezTo>
                    <a:pt x="75" y="152"/>
                    <a:pt x="74" y="156"/>
                    <a:pt x="74" y="160"/>
                  </a:cubicBezTo>
                  <a:cubicBezTo>
                    <a:pt x="74" y="164"/>
                    <a:pt x="75" y="168"/>
                    <a:pt x="75" y="172"/>
                  </a:cubicBezTo>
                  <a:cubicBezTo>
                    <a:pt x="23" y="179"/>
                    <a:pt x="23" y="179"/>
                    <a:pt x="23" y="179"/>
                  </a:cubicBezTo>
                  <a:cubicBezTo>
                    <a:pt x="22" y="173"/>
                    <a:pt x="21" y="166"/>
                    <a:pt x="21" y="160"/>
                  </a:cubicBezTo>
                  <a:close/>
                  <a:moveTo>
                    <a:pt x="27" y="200"/>
                  </a:moveTo>
                  <a:cubicBezTo>
                    <a:pt x="81" y="192"/>
                    <a:pt x="81" y="192"/>
                    <a:pt x="81" y="192"/>
                  </a:cubicBezTo>
                  <a:cubicBezTo>
                    <a:pt x="90" y="213"/>
                    <a:pt x="106" y="230"/>
                    <a:pt x="127" y="238"/>
                  </a:cubicBezTo>
                  <a:cubicBezTo>
                    <a:pt x="119" y="292"/>
                    <a:pt x="119" y="292"/>
                    <a:pt x="119" y="292"/>
                  </a:cubicBezTo>
                  <a:cubicBezTo>
                    <a:pt x="75" y="279"/>
                    <a:pt x="40" y="244"/>
                    <a:pt x="27" y="200"/>
                  </a:cubicBezTo>
                  <a:close/>
                  <a:moveTo>
                    <a:pt x="140" y="297"/>
                  </a:moveTo>
                  <a:cubicBezTo>
                    <a:pt x="148" y="244"/>
                    <a:pt x="148" y="244"/>
                    <a:pt x="148" y="244"/>
                  </a:cubicBezTo>
                  <a:cubicBezTo>
                    <a:pt x="152" y="245"/>
                    <a:pt x="156" y="245"/>
                    <a:pt x="160" y="245"/>
                  </a:cubicBezTo>
                  <a:cubicBezTo>
                    <a:pt x="164" y="245"/>
                    <a:pt x="168" y="245"/>
                    <a:pt x="172" y="244"/>
                  </a:cubicBezTo>
                  <a:cubicBezTo>
                    <a:pt x="179" y="297"/>
                    <a:pt x="179" y="297"/>
                    <a:pt x="179" y="297"/>
                  </a:cubicBezTo>
                  <a:cubicBezTo>
                    <a:pt x="173" y="298"/>
                    <a:pt x="166" y="298"/>
                    <a:pt x="160" y="298"/>
                  </a:cubicBezTo>
                  <a:cubicBezTo>
                    <a:pt x="153" y="298"/>
                    <a:pt x="147" y="298"/>
                    <a:pt x="140" y="297"/>
                  </a:cubicBezTo>
                  <a:close/>
                  <a:moveTo>
                    <a:pt x="200" y="292"/>
                  </a:moveTo>
                  <a:cubicBezTo>
                    <a:pt x="192" y="238"/>
                    <a:pt x="192" y="238"/>
                    <a:pt x="192" y="238"/>
                  </a:cubicBezTo>
                  <a:cubicBezTo>
                    <a:pt x="213" y="230"/>
                    <a:pt x="230" y="213"/>
                    <a:pt x="238" y="192"/>
                  </a:cubicBezTo>
                  <a:cubicBezTo>
                    <a:pt x="292" y="200"/>
                    <a:pt x="292" y="200"/>
                    <a:pt x="292" y="200"/>
                  </a:cubicBezTo>
                  <a:cubicBezTo>
                    <a:pt x="279" y="244"/>
                    <a:pt x="244" y="279"/>
                    <a:pt x="200"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6" name="Freeform 510">
              <a:extLst>
                <a:ext uri="{FF2B5EF4-FFF2-40B4-BE49-F238E27FC236}">
                  <a16:creationId xmlns:a16="http://schemas.microsoft.com/office/drawing/2014/main" id="{8CD62A17-AFF9-44C9-95AE-2E37680096E3}"/>
                </a:ext>
              </a:extLst>
            </p:cNvPr>
            <p:cNvSpPr>
              <a:spLocks noEditPoints="1"/>
            </p:cNvSpPr>
            <p:nvPr/>
          </p:nvSpPr>
          <p:spPr bwMode="auto">
            <a:xfrm>
              <a:off x="3297" y="23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7" name="Freeform 477">
            <a:extLst>
              <a:ext uri="{FF2B5EF4-FFF2-40B4-BE49-F238E27FC236}">
                <a16:creationId xmlns:a16="http://schemas.microsoft.com/office/drawing/2014/main" id="{E4A1BC71-73AA-44F5-B29D-0FD4F274D914}"/>
              </a:ext>
            </a:extLst>
          </p:cNvPr>
          <p:cNvSpPr>
            <a:spLocks noChangeAspect="1" noEditPoints="1"/>
          </p:cNvSpPr>
          <p:nvPr/>
        </p:nvSpPr>
        <p:spPr bwMode="auto">
          <a:xfrm>
            <a:off x="472020" y="4124548"/>
            <a:ext cx="367041" cy="368121"/>
          </a:xfrm>
          <a:custGeom>
            <a:avLst/>
            <a:gdLst>
              <a:gd name="T0" fmla="*/ 202 w 512"/>
              <a:gd name="T1" fmla="*/ 170 h 512"/>
              <a:gd name="T2" fmla="*/ 309 w 512"/>
              <a:gd name="T3" fmla="*/ 170 h 512"/>
              <a:gd name="T4" fmla="*/ 309 w 512"/>
              <a:gd name="T5" fmla="*/ 213 h 512"/>
              <a:gd name="T6" fmla="*/ 202 w 512"/>
              <a:gd name="T7" fmla="*/ 213 h 512"/>
              <a:gd name="T8" fmla="*/ 202 w 512"/>
              <a:gd name="T9" fmla="*/ 170 h 512"/>
              <a:gd name="T10" fmla="*/ 202 w 512"/>
              <a:gd name="T11" fmla="*/ 341 h 512"/>
              <a:gd name="T12" fmla="*/ 309 w 512"/>
              <a:gd name="T13" fmla="*/ 341 h 512"/>
              <a:gd name="T14" fmla="*/ 309 w 512"/>
              <a:gd name="T15" fmla="*/ 298 h 512"/>
              <a:gd name="T16" fmla="*/ 202 w 512"/>
              <a:gd name="T17" fmla="*/ 298 h 512"/>
              <a:gd name="T18" fmla="*/ 202 w 512"/>
              <a:gd name="T19" fmla="*/ 341 h 512"/>
              <a:gd name="T20" fmla="*/ 202 w 512"/>
              <a:gd name="T21" fmla="*/ 277 h 512"/>
              <a:gd name="T22" fmla="*/ 309 w 512"/>
              <a:gd name="T23" fmla="*/ 277 h 512"/>
              <a:gd name="T24" fmla="*/ 309 w 512"/>
              <a:gd name="T25" fmla="*/ 234 h 512"/>
              <a:gd name="T26" fmla="*/ 202 w 512"/>
              <a:gd name="T27" fmla="*/ 234 h 512"/>
              <a:gd name="T28" fmla="*/ 202 w 512"/>
              <a:gd name="T29" fmla="*/ 27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106 h 512"/>
              <a:gd name="T42" fmla="*/ 320 w 512"/>
              <a:gd name="T43" fmla="*/ 96 h 512"/>
              <a:gd name="T44" fmla="*/ 309 w 512"/>
              <a:gd name="T45" fmla="*/ 106 h 512"/>
              <a:gd name="T46" fmla="*/ 309 w 512"/>
              <a:gd name="T47" fmla="*/ 149 h 512"/>
              <a:gd name="T48" fmla="*/ 202 w 512"/>
              <a:gd name="T49" fmla="*/ 149 h 512"/>
              <a:gd name="T50" fmla="*/ 202 w 512"/>
              <a:gd name="T51" fmla="*/ 106 h 512"/>
              <a:gd name="T52" fmla="*/ 192 w 512"/>
              <a:gd name="T53" fmla="*/ 96 h 512"/>
              <a:gd name="T54" fmla="*/ 181 w 512"/>
              <a:gd name="T55" fmla="*/ 106 h 512"/>
              <a:gd name="T56" fmla="*/ 181 w 512"/>
              <a:gd name="T57" fmla="*/ 405 h 512"/>
              <a:gd name="T58" fmla="*/ 192 w 512"/>
              <a:gd name="T59" fmla="*/ 416 h 512"/>
              <a:gd name="T60" fmla="*/ 202 w 512"/>
              <a:gd name="T61" fmla="*/ 405 h 512"/>
              <a:gd name="T62" fmla="*/ 202 w 512"/>
              <a:gd name="T63" fmla="*/ 362 h 512"/>
              <a:gd name="T64" fmla="*/ 309 w 512"/>
              <a:gd name="T65" fmla="*/ 362 h 512"/>
              <a:gd name="T66" fmla="*/ 309 w 512"/>
              <a:gd name="T67" fmla="*/ 405 h 512"/>
              <a:gd name="T68" fmla="*/ 320 w 512"/>
              <a:gd name="T69" fmla="*/ 416 h 512"/>
              <a:gd name="T70" fmla="*/ 330 w 512"/>
              <a:gd name="T71" fmla="*/ 405 h 512"/>
              <a:gd name="T72" fmla="*/ 330 w 512"/>
              <a:gd name="T73"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02" y="170"/>
                </a:moveTo>
                <a:cubicBezTo>
                  <a:pt x="309" y="170"/>
                  <a:pt x="309" y="170"/>
                  <a:pt x="309" y="170"/>
                </a:cubicBezTo>
                <a:cubicBezTo>
                  <a:pt x="309" y="213"/>
                  <a:pt x="309" y="213"/>
                  <a:pt x="309" y="213"/>
                </a:cubicBezTo>
                <a:cubicBezTo>
                  <a:pt x="202" y="213"/>
                  <a:pt x="202" y="213"/>
                  <a:pt x="202" y="213"/>
                </a:cubicBezTo>
                <a:lnTo>
                  <a:pt x="202" y="170"/>
                </a:lnTo>
                <a:close/>
                <a:moveTo>
                  <a:pt x="202" y="341"/>
                </a:moveTo>
                <a:cubicBezTo>
                  <a:pt x="309" y="341"/>
                  <a:pt x="309" y="341"/>
                  <a:pt x="309" y="341"/>
                </a:cubicBezTo>
                <a:cubicBezTo>
                  <a:pt x="309" y="298"/>
                  <a:pt x="309" y="298"/>
                  <a:pt x="309" y="298"/>
                </a:cubicBezTo>
                <a:cubicBezTo>
                  <a:pt x="202" y="298"/>
                  <a:pt x="202" y="298"/>
                  <a:pt x="202" y="298"/>
                </a:cubicBezTo>
                <a:lnTo>
                  <a:pt x="202" y="341"/>
                </a:lnTo>
                <a:close/>
                <a:moveTo>
                  <a:pt x="202" y="277"/>
                </a:moveTo>
                <a:cubicBezTo>
                  <a:pt x="309" y="277"/>
                  <a:pt x="309" y="277"/>
                  <a:pt x="309" y="277"/>
                </a:cubicBezTo>
                <a:cubicBezTo>
                  <a:pt x="309" y="234"/>
                  <a:pt x="309" y="234"/>
                  <a:pt x="309" y="234"/>
                </a:cubicBezTo>
                <a:cubicBezTo>
                  <a:pt x="202" y="234"/>
                  <a:pt x="202" y="234"/>
                  <a:pt x="202" y="234"/>
                </a:cubicBezTo>
                <a:lnTo>
                  <a:pt x="202" y="2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06"/>
                </a:moveTo>
                <a:cubicBezTo>
                  <a:pt x="330" y="100"/>
                  <a:pt x="326" y="96"/>
                  <a:pt x="320" y="96"/>
                </a:cubicBezTo>
                <a:cubicBezTo>
                  <a:pt x="314" y="96"/>
                  <a:pt x="309" y="100"/>
                  <a:pt x="309" y="106"/>
                </a:cubicBezTo>
                <a:cubicBezTo>
                  <a:pt x="309" y="149"/>
                  <a:pt x="309" y="149"/>
                  <a:pt x="309" y="149"/>
                </a:cubicBezTo>
                <a:cubicBezTo>
                  <a:pt x="202" y="149"/>
                  <a:pt x="202" y="149"/>
                  <a:pt x="202" y="149"/>
                </a:cubicBezTo>
                <a:cubicBezTo>
                  <a:pt x="202" y="106"/>
                  <a:pt x="202" y="106"/>
                  <a:pt x="202" y="106"/>
                </a:cubicBezTo>
                <a:cubicBezTo>
                  <a:pt x="202" y="100"/>
                  <a:pt x="198" y="96"/>
                  <a:pt x="192" y="96"/>
                </a:cubicBezTo>
                <a:cubicBezTo>
                  <a:pt x="186" y="96"/>
                  <a:pt x="181" y="100"/>
                  <a:pt x="181" y="106"/>
                </a:cubicBezTo>
                <a:cubicBezTo>
                  <a:pt x="181" y="405"/>
                  <a:pt x="181" y="405"/>
                  <a:pt x="181" y="405"/>
                </a:cubicBezTo>
                <a:cubicBezTo>
                  <a:pt x="181" y="411"/>
                  <a:pt x="186" y="416"/>
                  <a:pt x="192" y="416"/>
                </a:cubicBezTo>
                <a:cubicBezTo>
                  <a:pt x="198" y="416"/>
                  <a:pt x="202" y="411"/>
                  <a:pt x="202" y="405"/>
                </a:cubicBezTo>
                <a:cubicBezTo>
                  <a:pt x="202" y="362"/>
                  <a:pt x="202" y="362"/>
                  <a:pt x="202" y="362"/>
                </a:cubicBezTo>
                <a:cubicBezTo>
                  <a:pt x="309" y="362"/>
                  <a:pt x="309" y="362"/>
                  <a:pt x="309" y="362"/>
                </a:cubicBezTo>
                <a:cubicBezTo>
                  <a:pt x="309" y="405"/>
                  <a:pt x="309" y="405"/>
                  <a:pt x="309" y="405"/>
                </a:cubicBezTo>
                <a:cubicBezTo>
                  <a:pt x="309" y="411"/>
                  <a:pt x="314" y="416"/>
                  <a:pt x="320" y="416"/>
                </a:cubicBezTo>
                <a:cubicBezTo>
                  <a:pt x="326" y="416"/>
                  <a:pt x="330" y="411"/>
                  <a:pt x="330" y="405"/>
                </a:cubicBezTo>
                <a:lnTo>
                  <a:pt x="330" y="10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8" name="Group 480">
            <a:extLst>
              <a:ext uri="{FF2B5EF4-FFF2-40B4-BE49-F238E27FC236}">
                <a16:creationId xmlns:a16="http://schemas.microsoft.com/office/drawing/2014/main" id="{B917AA46-35FE-4B0B-AB1E-BBCF9CB16BCA}"/>
              </a:ext>
            </a:extLst>
          </p:cNvPr>
          <p:cNvGrpSpPr>
            <a:grpSpLocks noChangeAspect="1"/>
          </p:cNvGrpSpPr>
          <p:nvPr/>
        </p:nvGrpSpPr>
        <p:grpSpPr bwMode="auto">
          <a:xfrm>
            <a:off x="907022" y="4124548"/>
            <a:ext cx="367041" cy="367041"/>
            <a:chOff x="1027" y="2077"/>
            <a:chExt cx="340" cy="340"/>
          </a:xfrm>
          <a:solidFill>
            <a:schemeClr val="accent6"/>
          </a:solidFill>
        </p:grpSpPr>
        <p:sp>
          <p:nvSpPr>
            <p:cNvPr id="579" name="Freeform 481">
              <a:extLst>
                <a:ext uri="{FF2B5EF4-FFF2-40B4-BE49-F238E27FC236}">
                  <a16:creationId xmlns:a16="http://schemas.microsoft.com/office/drawing/2014/main" id="{B9A7B26E-4177-474E-B502-A0B9375B256C}"/>
                </a:ext>
              </a:extLst>
            </p:cNvPr>
            <p:cNvSpPr>
              <a:spLocks noEditPoints="1"/>
            </p:cNvSpPr>
            <p:nvPr/>
          </p:nvSpPr>
          <p:spPr bwMode="auto">
            <a:xfrm>
              <a:off x="1147" y="2141"/>
              <a:ext cx="99" cy="212"/>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0" name="Freeform 482">
              <a:extLst>
                <a:ext uri="{FF2B5EF4-FFF2-40B4-BE49-F238E27FC236}">
                  <a16:creationId xmlns:a16="http://schemas.microsoft.com/office/drawing/2014/main" id="{2E2CF6DE-2AAC-4712-B18F-2916E6C69BBA}"/>
                </a:ext>
              </a:extLst>
            </p:cNvPr>
            <p:cNvSpPr>
              <a:spLocks noEditPoints="1"/>
            </p:cNvSpPr>
            <p:nvPr/>
          </p:nvSpPr>
          <p:spPr bwMode="auto">
            <a:xfrm>
              <a:off x="1027" y="20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1" name="Freeform 803">
            <a:extLst>
              <a:ext uri="{FF2B5EF4-FFF2-40B4-BE49-F238E27FC236}">
                <a16:creationId xmlns:a16="http://schemas.microsoft.com/office/drawing/2014/main" id="{2343FCCE-17B7-476E-9971-8FB851056940}"/>
              </a:ext>
            </a:extLst>
          </p:cNvPr>
          <p:cNvSpPr>
            <a:spLocks noChangeAspect="1" noEditPoints="1"/>
          </p:cNvSpPr>
          <p:nvPr/>
        </p:nvSpPr>
        <p:spPr bwMode="auto">
          <a:xfrm>
            <a:off x="1342024" y="4124548"/>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0 w 512"/>
              <a:gd name="T11" fmla="*/ 412 h 512"/>
              <a:gd name="T12" fmla="*/ 288 w 512"/>
              <a:gd name="T13" fmla="*/ 412 h 512"/>
              <a:gd name="T14" fmla="*/ 277 w 512"/>
              <a:gd name="T15" fmla="*/ 404 h 512"/>
              <a:gd name="T16" fmla="*/ 285 w 512"/>
              <a:gd name="T17" fmla="*/ 391 h 512"/>
              <a:gd name="T18" fmla="*/ 346 w 512"/>
              <a:gd name="T19" fmla="*/ 361 h 512"/>
              <a:gd name="T20" fmla="*/ 316 w 512"/>
              <a:gd name="T21" fmla="*/ 331 h 512"/>
              <a:gd name="T22" fmla="*/ 256 w 512"/>
              <a:gd name="T23" fmla="*/ 352 h 512"/>
              <a:gd name="T24" fmla="*/ 167 w 512"/>
              <a:gd name="T25" fmla="*/ 292 h 512"/>
              <a:gd name="T26" fmla="*/ 173 w 512"/>
              <a:gd name="T27" fmla="*/ 278 h 512"/>
              <a:gd name="T28" fmla="*/ 186 w 512"/>
              <a:gd name="T29" fmla="*/ 284 h 512"/>
              <a:gd name="T30" fmla="*/ 256 w 512"/>
              <a:gd name="T31" fmla="*/ 330 h 512"/>
              <a:gd name="T32" fmla="*/ 330 w 512"/>
              <a:gd name="T33" fmla="*/ 256 h 512"/>
              <a:gd name="T34" fmla="*/ 256 w 512"/>
              <a:gd name="T35" fmla="*/ 181 h 512"/>
              <a:gd name="T36" fmla="*/ 186 w 512"/>
              <a:gd name="T37" fmla="*/ 228 h 512"/>
              <a:gd name="T38" fmla="*/ 173 w 512"/>
              <a:gd name="T39" fmla="*/ 234 h 512"/>
              <a:gd name="T40" fmla="*/ 167 w 512"/>
              <a:gd name="T41" fmla="*/ 220 h 512"/>
              <a:gd name="T42" fmla="*/ 245 w 512"/>
              <a:gd name="T43" fmla="*/ 160 h 512"/>
              <a:gd name="T44" fmla="*/ 245 w 512"/>
              <a:gd name="T45" fmla="*/ 118 h 512"/>
              <a:gd name="T46" fmla="*/ 117 w 512"/>
              <a:gd name="T47" fmla="*/ 256 h 512"/>
              <a:gd name="T48" fmla="*/ 226 w 512"/>
              <a:gd name="T49" fmla="*/ 391 h 512"/>
              <a:gd name="T50" fmla="*/ 234 w 512"/>
              <a:gd name="T51" fmla="*/ 404 h 512"/>
              <a:gd name="T52" fmla="*/ 224 w 512"/>
              <a:gd name="T53" fmla="*/ 412 h 512"/>
              <a:gd name="T54" fmla="*/ 221 w 512"/>
              <a:gd name="T55" fmla="*/ 412 h 512"/>
              <a:gd name="T56" fmla="*/ 96 w 512"/>
              <a:gd name="T57" fmla="*/ 256 h 512"/>
              <a:gd name="T58" fmla="*/ 256 w 512"/>
              <a:gd name="T59" fmla="*/ 96 h 512"/>
              <a:gd name="T60" fmla="*/ 324 w 512"/>
              <a:gd name="T61" fmla="*/ 111 h 512"/>
              <a:gd name="T62" fmla="*/ 329 w 512"/>
              <a:gd name="T63" fmla="*/ 125 h 512"/>
              <a:gd name="T64" fmla="*/ 315 w 512"/>
              <a:gd name="T65" fmla="*/ 130 h 512"/>
              <a:gd name="T66" fmla="*/ 266 w 512"/>
              <a:gd name="T67" fmla="*/ 118 h 512"/>
              <a:gd name="T68" fmla="*/ 266 w 512"/>
              <a:gd name="T69" fmla="*/ 160 h 512"/>
              <a:gd name="T70" fmla="*/ 352 w 512"/>
              <a:gd name="T71" fmla="*/ 256 h 512"/>
              <a:gd name="T72" fmla="*/ 331 w 512"/>
              <a:gd name="T73" fmla="*/ 316 h 512"/>
              <a:gd name="T74" fmla="*/ 361 w 512"/>
              <a:gd name="T75" fmla="*/ 346 h 512"/>
              <a:gd name="T76" fmla="*/ 394 w 512"/>
              <a:gd name="T77" fmla="*/ 256 h 512"/>
              <a:gd name="T78" fmla="*/ 362 w 512"/>
              <a:gd name="T79" fmla="*/ 167 h 512"/>
              <a:gd name="T80" fmla="*/ 363 w 512"/>
              <a:gd name="T81" fmla="*/ 151 h 512"/>
              <a:gd name="T82" fmla="*/ 378 w 512"/>
              <a:gd name="T83" fmla="*/ 153 h 512"/>
              <a:gd name="T84" fmla="*/ 416 w 512"/>
              <a:gd name="T85" fmla="*/ 256 h 512"/>
              <a:gd name="T86" fmla="*/ 290 w 512"/>
              <a:gd name="T87" fmla="*/ 412 h 512"/>
              <a:gd name="T88" fmla="*/ 213 w 512"/>
              <a:gd name="T89" fmla="*/ 256 h 512"/>
              <a:gd name="T90" fmla="*/ 256 w 512"/>
              <a:gd name="T91" fmla="*/ 213 h 512"/>
              <a:gd name="T92" fmla="*/ 298 w 512"/>
              <a:gd name="T93" fmla="*/ 256 h 512"/>
              <a:gd name="T94" fmla="*/ 256 w 512"/>
              <a:gd name="T95" fmla="*/ 298 h 512"/>
              <a:gd name="T96" fmla="*/ 213 w 512"/>
              <a:gd name="T97" fmla="*/ 256 h 512"/>
              <a:gd name="T98" fmla="*/ 256 w 512"/>
              <a:gd name="T99" fmla="*/ 277 h 512"/>
              <a:gd name="T100" fmla="*/ 234 w 512"/>
              <a:gd name="T101" fmla="*/ 256 h 512"/>
              <a:gd name="T102" fmla="*/ 256 w 512"/>
              <a:gd name="T103" fmla="*/ 234 h 512"/>
              <a:gd name="T104" fmla="*/ 277 w 512"/>
              <a:gd name="T105" fmla="*/ 256 h 512"/>
              <a:gd name="T106" fmla="*/ 256 w 512"/>
              <a:gd name="T107"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0" y="412"/>
                </a:moveTo>
                <a:cubicBezTo>
                  <a:pt x="289" y="412"/>
                  <a:pt x="288" y="412"/>
                  <a:pt x="288" y="412"/>
                </a:cubicBezTo>
                <a:cubicBezTo>
                  <a:pt x="283" y="412"/>
                  <a:pt x="278" y="409"/>
                  <a:pt x="277" y="404"/>
                </a:cubicBezTo>
                <a:cubicBezTo>
                  <a:pt x="276" y="398"/>
                  <a:pt x="280" y="392"/>
                  <a:pt x="285" y="391"/>
                </a:cubicBezTo>
                <a:cubicBezTo>
                  <a:pt x="308" y="386"/>
                  <a:pt x="329" y="375"/>
                  <a:pt x="346" y="361"/>
                </a:cubicBezTo>
                <a:cubicBezTo>
                  <a:pt x="316" y="331"/>
                  <a:pt x="316" y="331"/>
                  <a:pt x="316" y="331"/>
                </a:cubicBezTo>
                <a:cubicBezTo>
                  <a:pt x="299" y="344"/>
                  <a:pt x="278" y="352"/>
                  <a:pt x="256" y="352"/>
                </a:cubicBezTo>
                <a:cubicBezTo>
                  <a:pt x="216" y="352"/>
                  <a:pt x="181" y="328"/>
                  <a:pt x="167" y="292"/>
                </a:cubicBezTo>
                <a:cubicBezTo>
                  <a:pt x="164" y="286"/>
                  <a:pt x="167" y="280"/>
                  <a:pt x="173" y="278"/>
                </a:cubicBezTo>
                <a:cubicBezTo>
                  <a:pt x="178" y="276"/>
                  <a:pt x="184" y="278"/>
                  <a:pt x="186" y="284"/>
                </a:cubicBezTo>
                <a:cubicBezTo>
                  <a:pt x="198" y="312"/>
                  <a:pt x="225" y="330"/>
                  <a:pt x="256" y="330"/>
                </a:cubicBezTo>
                <a:cubicBezTo>
                  <a:pt x="297" y="330"/>
                  <a:pt x="330" y="297"/>
                  <a:pt x="330" y="256"/>
                </a:cubicBezTo>
                <a:cubicBezTo>
                  <a:pt x="330" y="214"/>
                  <a:pt x="297" y="181"/>
                  <a:pt x="256" y="181"/>
                </a:cubicBezTo>
                <a:cubicBezTo>
                  <a:pt x="225" y="181"/>
                  <a:pt x="198" y="199"/>
                  <a:pt x="186" y="228"/>
                </a:cubicBezTo>
                <a:cubicBezTo>
                  <a:pt x="184" y="233"/>
                  <a:pt x="178" y="236"/>
                  <a:pt x="173" y="234"/>
                </a:cubicBezTo>
                <a:cubicBezTo>
                  <a:pt x="167" y="231"/>
                  <a:pt x="164" y="225"/>
                  <a:pt x="167" y="220"/>
                </a:cubicBezTo>
                <a:cubicBezTo>
                  <a:pt x="180" y="187"/>
                  <a:pt x="210" y="164"/>
                  <a:pt x="245" y="160"/>
                </a:cubicBezTo>
                <a:cubicBezTo>
                  <a:pt x="245" y="118"/>
                  <a:pt x="245" y="118"/>
                  <a:pt x="245" y="118"/>
                </a:cubicBezTo>
                <a:cubicBezTo>
                  <a:pt x="174" y="123"/>
                  <a:pt x="117" y="183"/>
                  <a:pt x="117" y="256"/>
                </a:cubicBezTo>
                <a:cubicBezTo>
                  <a:pt x="117" y="320"/>
                  <a:pt x="163" y="377"/>
                  <a:pt x="226" y="391"/>
                </a:cubicBezTo>
                <a:cubicBezTo>
                  <a:pt x="232" y="392"/>
                  <a:pt x="235" y="398"/>
                  <a:pt x="234" y="404"/>
                </a:cubicBezTo>
                <a:cubicBezTo>
                  <a:pt x="233" y="409"/>
                  <a:pt x="229" y="412"/>
                  <a:pt x="224" y="412"/>
                </a:cubicBezTo>
                <a:cubicBezTo>
                  <a:pt x="223" y="412"/>
                  <a:pt x="222" y="412"/>
                  <a:pt x="221" y="412"/>
                </a:cubicBezTo>
                <a:cubicBezTo>
                  <a:pt x="149" y="396"/>
                  <a:pt x="96" y="330"/>
                  <a:pt x="96" y="256"/>
                </a:cubicBezTo>
                <a:cubicBezTo>
                  <a:pt x="96" y="167"/>
                  <a:pt x="167" y="96"/>
                  <a:pt x="256" y="96"/>
                </a:cubicBezTo>
                <a:cubicBezTo>
                  <a:pt x="280" y="96"/>
                  <a:pt x="303" y="101"/>
                  <a:pt x="324" y="111"/>
                </a:cubicBezTo>
                <a:cubicBezTo>
                  <a:pt x="330" y="114"/>
                  <a:pt x="332" y="120"/>
                  <a:pt x="329" y="125"/>
                </a:cubicBezTo>
                <a:cubicBezTo>
                  <a:pt x="327" y="131"/>
                  <a:pt x="320" y="133"/>
                  <a:pt x="315" y="130"/>
                </a:cubicBezTo>
                <a:cubicBezTo>
                  <a:pt x="300" y="123"/>
                  <a:pt x="283" y="119"/>
                  <a:pt x="266" y="118"/>
                </a:cubicBezTo>
                <a:cubicBezTo>
                  <a:pt x="266" y="160"/>
                  <a:pt x="266" y="160"/>
                  <a:pt x="266" y="160"/>
                </a:cubicBezTo>
                <a:cubicBezTo>
                  <a:pt x="314" y="166"/>
                  <a:pt x="352" y="206"/>
                  <a:pt x="352" y="256"/>
                </a:cubicBezTo>
                <a:cubicBezTo>
                  <a:pt x="352" y="278"/>
                  <a:pt x="344" y="299"/>
                  <a:pt x="331" y="316"/>
                </a:cubicBezTo>
                <a:cubicBezTo>
                  <a:pt x="361" y="346"/>
                  <a:pt x="361" y="346"/>
                  <a:pt x="361" y="346"/>
                </a:cubicBezTo>
                <a:cubicBezTo>
                  <a:pt x="382" y="321"/>
                  <a:pt x="394" y="289"/>
                  <a:pt x="394" y="256"/>
                </a:cubicBezTo>
                <a:cubicBezTo>
                  <a:pt x="394" y="223"/>
                  <a:pt x="383" y="191"/>
                  <a:pt x="362" y="167"/>
                </a:cubicBezTo>
                <a:cubicBezTo>
                  <a:pt x="358" y="162"/>
                  <a:pt x="359" y="155"/>
                  <a:pt x="363" y="151"/>
                </a:cubicBezTo>
                <a:cubicBezTo>
                  <a:pt x="368" y="148"/>
                  <a:pt x="374" y="148"/>
                  <a:pt x="378" y="153"/>
                </a:cubicBezTo>
                <a:cubicBezTo>
                  <a:pt x="402" y="182"/>
                  <a:pt x="416" y="218"/>
                  <a:pt x="416" y="256"/>
                </a:cubicBezTo>
                <a:cubicBezTo>
                  <a:pt x="416" y="330"/>
                  <a:pt x="363" y="396"/>
                  <a:pt x="290" y="412"/>
                </a:cubicBezTo>
                <a:close/>
                <a:moveTo>
                  <a:pt x="213" y="256"/>
                </a:moveTo>
                <a:cubicBezTo>
                  <a:pt x="213" y="232"/>
                  <a:pt x="232" y="213"/>
                  <a:pt x="256" y="213"/>
                </a:cubicBezTo>
                <a:cubicBezTo>
                  <a:pt x="279" y="213"/>
                  <a:pt x="298" y="232"/>
                  <a:pt x="298" y="256"/>
                </a:cubicBezTo>
                <a:cubicBezTo>
                  <a:pt x="298" y="279"/>
                  <a:pt x="279" y="298"/>
                  <a:pt x="256" y="298"/>
                </a:cubicBezTo>
                <a:cubicBezTo>
                  <a:pt x="232" y="298"/>
                  <a:pt x="213" y="279"/>
                  <a:pt x="213" y="256"/>
                </a:cubicBezTo>
                <a:close/>
                <a:moveTo>
                  <a:pt x="256" y="277"/>
                </a:moveTo>
                <a:cubicBezTo>
                  <a:pt x="244" y="277"/>
                  <a:pt x="234" y="267"/>
                  <a:pt x="234" y="256"/>
                </a:cubicBezTo>
                <a:cubicBezTo>
                  <a:pt x="234" y="244"/>
                  <a:pt x="244" y="234"/>
                  <a:pt x="256" y="234"/>
                </a:cubicBezTo>
                <a:cubicBezTo>
                  <a:pt x="267" y="234"/>
                  <a:pt x="277" y="244"/>
                  <a:pt x="277" y="256"/>
                </a:cubicBezTo>
                <a:cubicBezTo>
                  <a:pt x="277" y="267"/>
                  <a:pt x="267" y="277"/>
                  <a:pt x="256" y="27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2" name="Group 806">
            <a:extLst>
              <a:ext uri="{FF2B5EF4-FFF2-40B4-BE49-F238E27FC236}">
                <a16:creationId xmlns:a16="http://schemas.microsoft.com/office/drawing/2014/main" id="{A23FE2C5-E25B-4E93-9E91-9FC26916CAD7}"/>
              </a:ext>
            </a:extLst>
          </p:cNvPr>
          <p:cNvGrpSpPr>
            <a:grpSpLocks noChangeAspect="1"/>
          </p:cNvGrpSpPr>
          <p:nvPr/>
        </p:nvGrpSpPr>
        <p:grpSpPr bwMode="auto">
          <a:xfrm>
            <a:off x="1777026" y="4124548"/>
            <a:ext cx="367041" cy="367041"/>
            <a:chOff x="4173" y="3508"/>
            <a:chExt cx="340" cy="340"/>
          </a:xfrm>
          <a:solidFill>
            <a:schemeClr val="accent3"/>
          </a:solidFill>
        </p:grpSpPr>
        <p:sp>
          <p:nvSpPr>
            <p:cNvPr id="583" name="Freeform 807">
              <a:extLst>
                <a:ext uri="{FF2B5EF4-FFF2-40B4-BE49-F238E27FC236}">
                  <a16:creationId xmlns:a16="http://schemas.microsoft.com/office/drawing/2014/main" id="{AE275276-C25E-4A76-AA82-94697919978E}"/>
                </a:ext>
              </a:extLst>
            </p:cNvPr>
            <p:cNvSpPr>
              <a:spLocks noEditPoints="1"/>
            </p:cNvSpPr>
            <p:nvPr/>
          </p:nvSpPr>
          <p:spPr bwMode="auto">
            <a:xfrm>
              <a:off x="4173" y="350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4" name="Freeform 808">
              <a:extLst>
                <a:ext uri="{FF2B5EF4-FFF2-40B4-BE49-F238E27FC236}">
                  <a16:creationId xmlns:a16="http://schemas.microsoft.com/office/drawing/2014/main" id="{A6A00F3C-753E-4D7C-B943-FCA7446E4C20}"/>
                </a:ext>
              </a:extLst>
            </p:cNvPr>
            <p:cNvSpPr>
              <a:spLocks noEditPoints="1"/>
            </p:cNvSpPr>
            <p:nvPr/>
          </p:nvSpPr>
          <p:spPr bwMode="auto">
            <a:xfrm>
              <a:off x="4314" y="3649"/>
              <a:ext cx="57" cy="57"/>
            </a:xfrm>
            <a:custGeom>
              <a:avLst/>
              <a:gdLst>
                <a:gd name="T0" fmla="*/ 85 w 85"/>
                <a:gd name="T1" fmla="*/ 43 h 85"/>
                <a:gd name="T2" fmla="*/ 43 w 85"/>
                <a:gd name="T3" fmla="*/ 0 h 85"/>
                <a:gd name="T4" fmla="*/ 0 w 85"/>
                <a:gd name="T5" fmla="*/ 43 h 85"/>
                <a:gd name="T6" fmla="*/ 43 w 85"/>
                <a:gd name="T7" fmla="*/ 85 h 85"/>
                <a:gd name="T8" fmla="*/ 85 w 85"/>
                <a:gd name="T9" fmla="*/ 43 h 85"/>
                <a:gd name="T10" fmla="*/ 21 w 85"/>
                <a:gd name="T11" fmla="*/ 43 h 85"/>
                <a:gd name="T12" fmla="*/ 43 w 85"/>
                <a:gd name="T13" fmla="*/ 21 h 85"/>
                <a:gd name="T14" fmla="*/ 64 w 85"/>
                <a:gd name="T15" fmla="*/ 43 h 85"/>
                <a:gd name="T16" fmla="*/ 43 w 85"/>
                <a:gd name="T17" fmla="*/ 64 h 85"/>
                <a:gd name="T18" fmla="*/ 21 w 85"/>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85" y="43"/>
                  </a:moveTo>
                  <a:cubicBezTo>
                    <a:pt x="85" y="19"/>
                    <a:pt x="66" y="0"/>
                    <a:pt x="43" y="0"/>
                  </a:cubicBezTo>
                  <a:cubicBezTo>
                    <a:pt x="19" y="0"/>
                    <a:pt x="0" y="19"/>
                    <a:pt x="0" y="43"/>
                  </a:cubicBezTo>
                  <a:cubicBezTo>
                    <a:pt x="0" y="66"/>
                    <a:pt x="19" y="85"/>
                    <a:pt x="43" y="85"/>
                  </a:cubicBezTo>
                  <a:cubicBezTo>
                    <a:pt x="66" y="85"/>
                    <a:pt x="85" y="66"/>
                    <a:pt x="85" y="43"/>
                  </a:cubicBezTo>
                  <a:close/>
                  <a:moveTo>
                    <a:pt x="21" y="43"/>
                  </a:moveTo>
                  <a:cubicBezTo>
                    <a:pt x="21" y="31"/>
                    <a:pt x="31" y="21"/>
                    <a:pt x="43" y="21"/>
                  </a:cubicBezTo>
                  <a:cubicBezTo>
                    <a:pt x="54" y="21"/>
                    <a:pt x="64" y="31"/>
                    <a:pt x="64" y="43"/>
                  </a:cubicBezTo>
                  <a:cubicBezTo>
                    <a:pt x="64" y="54"/>
                    <a:pt x="54" y="64"/>
                    <a:pt x="43" y="64"/>
                  </a:cubicBezTo>
                  <a:cubicBezTo>
                    <a:pt x="31" y="64"/>
                    <a:pt x="21" y="54"/>
                    <a:pt x="21"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5" name="Freeform 809">
              <a:extLst>
                <a:ext uri="{FF2B5EF4-FFF2-40B4-BE49-F238E27FC236}">
                  <a16:creationId xmlns:a16="http://schemas.microsoft.com/office/drawing/2014/main" id="{77D3FEAC-3644-4D16-82A2-C7A8F88C5A1E}"/>
                </a:ext>
              </a:extLst>
            </p:cNvPr>
            <p:cNvSpPr>
              <a:spLocks/>
            </p:cNvSpPr>
            <p:nvPr/>
          </p:nvSpPr>
          <p:spPr bwMode="auto">
            <a:xfrm>
              <a:off x="4237" y="3572"/>
              <a:ext cx="212" cy="210"/>
            </a:xfrm>
            <a:custGeom>
              <a:avLst/>
              <a:gdLst>
                <a:gd name="T0" fmla="*/ 282 w 320"/>
                <a:gd name="T1" fmla="*/ 57 h 316"/>
                <a:gd name="T2" fmla="*/ 267 w 320"/>
                <a:gd name="T3" fmla="*/ 55 h 316"/>
                <a:gd name="T4" fmla="*/ 266 w 320"/>
                <a:gd name="T5" fmla="*/ 71 h 316"/>
                <a:gd name="T6" fmla="*/ 298 w 320"/>
                <a:gd name="T7" fmla="*/ 160 h 316"/>
                <a:gd name="T8" fmla="*/ 265 w 320"/>
                <a:gd name="T9" fmla="*/ 250 h 316"/>
                <a:gd name="T10" fmla="*/ 235 w 320"/>
                <a:gd name="T11" fmla="*/ 220 h 316"/>
                <a:gd name="T12" fmla="*/ 256 w 320"/>
                <a:gd name="T13" fmla="*/ 160 h 316"/>
                <a:gd name="T14" fmla="*/ 170 w 320"/>
                <a:gd name="T15" fmla="*/ 64 h 316"/>
                <a:gd name="T16" fmla="*/ 170 w 320"/>
                <a:gd name="T17" fmla="*/ 22 h 316"/>
                <a:gd name="T18" fmla="*/ 219 w 320"/>
                <a:gd name="T19" fmla="*/ 34 h 316"/>
                <a:gd name="T20" fmla="*/ 233 w 320"/>
                <a:gd name="T21" fmla="*/ 29 h 316"/>
                <a:gd name="T22" fmla="*/ 228 w 320"/>
                <a:gd name="T23" fmla="*/ 15 h 316"/>
                <a:gd name="T24" fmla="*/ 160 w 320"/>
                <a:gd name="T25" fmla="*/ 0 h 316"/>
                <a:gd name="T26" fmla="*/ 0 w 320"/>
                <a:gd name="T27" fmla="*/ 160 h 316"/>
                <a:gd name="T28" fmla="*/ 125 w 320"/>
                <a:gd name="T29" fmla="*/ 316 h 316"/>
                <a:gd name="T30" fmla="*/ 128 w 320"/>
                <a:gd name="T31" fmla="*/ 316 h 316"/>
                <a:gd name="T32" fmla="*/ 138 w 320"/>
                <a:gd name="T33" fmla="*/ 308 h 316"/>
                <a:gd name="T34" fmla="*/ 130 w 320"/>
                <a:gd name="T35" fmla="*/ 295 h 316"/>
                <a:gd name="T36" fmla="*/ 21 w 320"/>
                <a:gd name="T37" fmla="*/ 160 h 316"/>
                <a:gd name="T38" fmla="*/ 149 w 320"/>
                <a:gd name="T39" fmla="*/ 22 h 316"/>
                <a:gd name="T40" fmla="*/ 149 w 320"/>
                <a:gd name="T41" fmla="*/ 64 h 316"/>
                <a:gd name="T42" fmla="*/ 71 w 320"/>
                <a:gd name="T43" fmla="*/ 124 h 316"/>
                <a:gd name="T44" fmla="*/ 77 w 320"/>
                <a:gd name="T45" fmla="*/ 138 h 316"/>
                <a:gd name="T46" fmla="*/ 90 w 320"/>
                <a:gd name="T47" fmla="*/ 132 h 316"/>
                <a:gd name="T48" fmla="*/ 160 w 320"/>
                <a:gd name="T49" fmla="*/ 85 h 316"/>
                <a:gd name="T50" fmla="*/ 234 w 320"/>
                <a:gd name="T51" fmla="*/ 160 h 316"/>
                <a:gd name="T52" fmla="*/ 160 w 320"/>
                <a:gd name="T53" fmla="*/ 234 h 316"/>
                <a:gd name="T54" fmla="*/ 90 w 320"/>
                <a:gd name="T55" fmla="*/ 188 h 316"/>
                <a:gd name="T56" fmla="*/ 77 w 320"/>
                <a:gd name="T57" fmla="*/ 182 h 316"/>
                <a:gd name="T58" fmla="*/ 71 w 320"/>
                <a:gd name="T59" fmla="*/ 196 h 316"/>
                <a:gd name="T60" fmla="*/ 160 w 320"/>
                <a:gd name="T61" fmla="*/ 256 h 316"/>
                <a:gd name="T62" fmla="*/ 220 w 320"/>
                <a:gd name="T63" fmla="*/ 235 h 316"/>
                <a:gd name="T64" fmla="*/ 250 w 320"/>
                <a:gd name="T65" fmla="*/ 265 h 316"/>
                <a:gd name="T66" fmla="*/ 189 w 320"/>
                <a:gd name="T67" fmla="*/ 295 h 316"/>
                <a:gd name="T68" fmla="*/ 181 w 320"/>
                <a:gd name="T69" fmla="*/ 308 h 316"/>
                <a:gd name="T70" fmla="*/ 192 w 320"/>
                <a:gd name="T71" fmla="*/ 316 h 316"/>
                <a:gd name="T72" fmla="*/ 194 w 320"/>
                <a:gd name="T73" fmla="*/ 316 h 316"/>
                <a:gd name="T74" fmla="*/ 320 w 320"/>
                <a:gd name="T75" fmla="*/ 160 h 316"/>
                <a:gd name="T76" fmla="*/ 282 w 320"/>
                <a:gd name="T77" fmla="*/ 57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316">
                  <a:moveTo>
                    <a:pt x="282" y="57"/>
                  </a:moveTo>
                  <a:cubicBezTo>
                    <a:pt x="278" y="52"/>
                    <a:pt x="272" y="52"/>
                    <a:pt x="267" y="55"/>
                  </a:cubicBezTo>
                  <a:cubicBezTo>
                    <a:pt x="263" y="59"/>
                    <a:pt x="262" y="66"/>
                    <a:pt x="266" y="71"/>
                  </a:cubicBezTo>
                  <a:cubicBezTo>
                    <a:pt x="287" y="95"/>
                    <a:pt x="298" y="127"/>
                    <a:pt x="298" y="160"/>
                  </a:cubicBezTo>
                  <a:cubicBezTo>
                    <a:pt x="298" y="193"/>
                    <a:pt x="286" y="225"/>
                    <a:pt x="265" y="250"/>
                  </a:cubicBezTo>
                  <a:cubicBezTo>
                    <a:pt x="235" y="220"/>
                    <a:pt x="235" y="220"/>
                    <a:pt x="235" y="220"/>
                  </a:cubicBezTo>
                  <a:cubicBezTo>
                    <a:pt x="248" y="203"/>
                    <a:pt x="256" y="182"/>
                    <a:pt x="256" y="160"/>
                  </a:cubicBezTo>
                  <a:cubicBezTo>
                    <a:pt x="256" y="110"/>
                    <a:pt x="218" y="70"/>
                    <a:pt x="170" y="64"/>
                  </a:cubicBezTo>
                  <a:cubicBezTo>
                    <a:pt x="170" y="22"/>
                    <a:pt x="170" y="22"/>
                    <a:pt x="170" y="22"/>
                  </a:cubicBezTo>
                  <a:cubicBezTo>
                    <a:pt x="187" y="23"/>
                    <a:pt x="204" y="27"/>
                    <a:pt x="219" y="34"/>
                  </a:cubicBezTo>
                  <a:cubicBezTo>
                    <a:pt x="224" y="37"/>
                    <a:pt x="231" y="35"/>
                    <a:pt x="233" y="29"/>
                  </a:cubicBezTo>
                  <a:cubicBezTo>
                    <a:pt x="236" y="24"/>
                    <a:pt x="234" y="18"/>
                    <a:pt x="228" y="15"/>
                  </a:cubicBezTo>
                  <a:cubicBezTo>
                    <a:pt x="207" y="5"/>
                    <a:pt x="184" y="0"/>
                    <a:pt x="160" y="0"/>
                  </a:cubicBezTo>
                  <a:cubicBezTo>
                    <a:pt x="71" y="0"/>
                    <a:pt x="0" y="71"/>
                    <a:pt x="0" y="160"/>
                  </a:cubicBezTo>
                  <a:cubicBezTo>
                    <a:pt x="0" y="234"/>
                    <a:pt x="53" y="300"/>
                    <a:pt x="125" y="316"/>
                  </a:cubicBezTo>
                  <a:cubicBezTo>
                    <a:pt x="126" y="316"/>
                    <a:pt x="127" y="316"/>
                    <a:pt x="128" y="316"/>
                  </a:cubicBezTo>
                  <a:cubicBezTo>
                    <a:pt x="133" y="316"/>
                    <a:pt x="137" y="313"/>
                    <a:pt x="138" y="308"/>
                  </a:cubicBezTo>
                  <a:cubicBezTo>
                    <a:pt x="139" y="302"/>
                    <a:pt x="136" y="296"/>
                    <a:pt x="130" y="295"/>
                  </a:cubicBezTo>
                  <a:cubicBezTo>
                    <a:pt x="67" y="281"/>
                    <a:pt x="21" y="224"/>
                    <a:pt x="21" y="160"/>
                  </a:cubicBezTo>
                  <a:cubicBezTo>
                    <a:pt x="21" y="87"/>
                    <a:pt x="78" y="27"/>
                    <a:pt x="149" y="22"/>
                  </a:cubicBezTo>
                  <a:cubicBezTo>
                    <a:pt x="149" y="64"/>
                    <a:pt x="149" y="64"/>
                    <a:pt x="149" y="64"/>
                  </a:cubicBezTo>
                  <a:cubicBezTo>
                    <a:pt x="114" y="68"/>
                    <a:pt x="84" y="91"/>
                    <a:pt x="71" y="124"/>
                  </a:cubicBezTo>
                  <a:cubicBezTo>
                    <a:pt x="68" y="129"/>
                    <a:pt x="71" y="135"/>
                    <a:pt x="77" y="138"/>
                  </a:cubicBezTo>
                  <a:cubicBezTo>
                    <a:pt x="82" y="140"/>
                    <a:pt x="88" y="137"/>
                    <a:pt x="90" y="132"/>
                  </a:cubicBezTo>
                  <a:cubicBezTo>
                    <a:pt x="102" y="103"/>
                    <a:pt x="129" y="85"/>
                    <a:pt x="160" y="85"/>
                  </a:cubicBezTo>
                  <a:cubicBezTo>
                    <a:pt x="201" y="85"/>
                    <a:pt x="234" y="118"/>
                    <a:pt x="234" y="160"/>
                  </a:cubicBezTo>
                  <a:cubicBezTo>
                    <a:pt x="234" y="201"/>
                    <a:pt x="201" y="234"/>
                    <a:pt x="160" y="234"/>
                  </a:cubicBezTo>
                  <a:cubicBezTo>
                    <a:pt x="129" y="234"/>
                    <a:pt x="102" y="216"/>
                    <a:pt x="90" y="188"/>
                  </a:cubicBezTo>
                  <a:cubicBezTo>
                    <a:pt x="88" y="182"/>
                    <a:pt x="82" y="180"/>
                    <a:pt x="77" y="182"/>
                  </a:cubicBezTo>
                  <a:cubicBezTo>
                    <a:pt x="71" y="184"/>
                    <a:pt x="68" y="190"/>
                    <a:pt x="71" y="196"/>
                  </a:cubicBezTo>
                  <a:cubicBezTo>
                    <a:pt x="85" y="232"/>
                    <a:pt x="120" y="256"/>
                    <a:pt x="160" y="256"/>
                  </a:cubicBezTo>
                  <a:cubicBezTo>
                    <a:pt x="182" y="256"/>
                    <a:pt x="203" y="248"/>
                    <a:pt x="220" y="235"/>
                  </a:cubicBezTo>
                  <a:cubicBezTo>
                    <a:pt x="250" y="265"/>
                    <a:pt x="250" y="265"/>
                    <a:pt x="250" y="265"/>
                  </a:cubicBezTo>
                  <a:cubicBezTo>
                    <a:pt x="233" y="279"/>
                    <a:pt x="212" y="290"/>
                    <a:pt x="189" y="295"/>
                  </a:cubicBezTo>
                  <a:cubicBezTo>
                    <a:pt x="184" y="296"/>
                    <a:pt x="180" y="302"/>
                    <a:pt x="181" y="308"/>
                  </a:cubicBezTo>
                  <a:cubicBezTo>
                    <a:pt x="182" y="313"/>
                    <a:pt x="187" y="316"/>
                    <a:pt x="192" y="316"/>
                  </a:cubicBezTo>
                  <a:cubicBezTo>
                    <a:pt x="192" y="316"/>
                    <a:pt x="193" y="316"/>
                    <a:pt x="194" y="316"/>
                  </a:cubicBezTo>
                  <a:cubicBezTo>
                    <a:pt x="267" y="300"/>
                    <a:pt x="320" y="234"/>
                    <a:pt x="320" y="160"/>
                  </a:cubicBezTo>
                  <a:cubicBezTo>
                    <a:pt x="320" y="122"/>
                    <a:pt x="306" y="86"/>
                    <a:pt x="282" y="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6" name="TextBox 585">
            <a:extLst>
              <a:ext uri="{FF2B5EF4-FFF2-40B4-BE49-F238E27FC236}">
                <a16:creationId xmlns:a16="http://schemas.microsoft.com/office/drawing/2014/main" id="{9733C893-9E24-49A1-A8F3-648BA63CD5DF}"/>
              </a:ext>
            </a:extLst>
          </p:cNvPr>
          <p:cNvSpPr txBox="1"/>
          <p:nvPr/>
        </p:nvSpPr>
        <p:spPr>
          <a:xfrm>
            <a:off x="2254683"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otball</a:t>
            </a:r>
          </a:p>
        </p:txBody>
      </p:sp>
      <p:sp>
        <p:nvSpPr>
          <p:cNvPr id="587" name="TextBox 586">
            <a:extLst>
              <a:ext uri="{FF2B5EF4-FFF2-40B4-BE49-F238E27FC236}">
                <a16:creationId xmlns:a16="http://schemas.microsoft.com/office/drawing/2014/main" id="{6CF506DD-D0A6-451B-A3F3-84D0667DED4C}"/>
              </a:ext>
            </a:extLst>
          </p:cNvPr>
          <p:cNvSpPr txBox="1"/>
          <p:nvPr/>
        </p:nvSpPr>
        <p:spPr>
          <a:xfrm>
            <a:off x="3118636"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fo</a:t>
            </a:r>
          </a:p>
        </p:txBody>
      </p:sp>
      <p:sp>
        <p:nvSpPr>
          <p:cNvPr id="588" name="TextBox 587">
            <a:extLst>
              <a:ext uri="{FF2B5EF4-FFF2-40B4-BE49-F238E27FC236}">
                <a16:creationId xmlns:a16="http://schemas.microsoft.com/office/drawing/2014/main" id="{F2E86061-F96E-405E-ABE4-4868D68D3898}"/>
              </a:ext>
            </a:extLst>
          </p:cNvPr>
          <p:cNvSpPr txBox="1"/>
          <p:nvPr/>
        </p:nvSpPr>
        <p:spPr>
          <a:xfrm>
            <a:off x="3982589"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rward</a:t>
            </a:r>
          </a:p>
        </p:txBody>
      </p:sp>
      <p:sp>
        <p:nvSpPr>
          <p:cNvPr id="589" name="Freeform 923">
            <a:extLst>
              <a:ext uri="{FF2B5EF4-FFF2-40B4-BE49-F238E27FC236}">
                <a16:creationId xmlns:a16="http://schemas.microsoft.com/office/drawing/2014/main" id="{B2F90DC3-37AC-4217-A465-99A007BC73B1}"/>
              </a:ext>
            </a:extLst>
          </p:cNvPr>
          <p:cNvSpPr>
            <a:spLocks noChangeAspect="1" noEditPoints="1"/>
          </p:cNvSpPr>
          <p:nvPr/>
        </p:nvSpPr>
        <p:spPr bwMode="auto">
          <a:xfrm>
            <a:off x="2212028" y="4124548"/>
            <a:ext cx="367631" cy="367631"/>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0" name="Group 926">
            <a:extLst>
              <a:ext uri="{FF2B5EF4-FFF2-40B4-BE49-F238E27FC236}">
                <a16:creationId xmlns:a16="http://schemas.microsoft.com/office/drawing/2014/main" id="{4068BE66-4AC0-4126-8CC0-B1714C048E6A}"/>
              </a:ext>
            </a:extLst>
          </p:cNvPr>
          <p:cNvGrpSpPr>
            <a:grpSpLocks noChangeAspect="1"/>
          </p:cNvGrpSpPr>
          <p:nvPr/>
        </p:nvGrpSpPr>
        <p:grpSpPr bwMode="auto">
          <a:xfrm>
            <a:off x="2647620" y="4124548"/>
            <a:ext cx="367631" cy="367631"/>
            <a:chOff x="3520" y="3599"/>
            <a:chExt cx="340" cy="340"/>
          </a:xfrm>
          <a:solidFill>
            <a:schemeClr val="accent4"/>
          </a:solidFill>
        </p:grpSpPr>
        <p:sp>
          <p:nvSpPr>
            <p:cNvPr id="591" name="Freeform 927">
              <a:extLst>
                <a:ext uri="{FF2B5EF4-FFF2-40B4-BE49-F238E27FC236}">
                  <a16:creationId xmlns:a16="http://schemas.microsoft.com/office/drawing/2014/main" id="{863E0A91-FBE5-42E8-B817-FA489992C447}"/>
                </a:ext>
              </a:extLst>
            </p:cNvPr>
            <p:cNvSpPr>
              <a:spLocks noEditPoints="1"/>
            </p:cNvSpPr>
            <p:nvPr/>
          </p:nvSpPr>
          <p:spPr bwMode="auto">
            <a:xfrm>
              <a:off x="3520" y="35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2" name="Freeform 928">
              <a:extLst>
                <a:ext uri="{FF2B5EF4-FFF2-40B4-BE49-F238E27FC236}">
                  <a16:creationId xmlns:a16="http://schemas.microsoft.com/office/drawing/2014/main" id="{BA87E3DF-3E84-435E-A8EA-0F15A313FC85}"/>
                </a:ext>
              </a:extLst>
            </p:cNvPr>
            <p:cNvSpPr>
              <a:spLocks noEditPoints="1"/>
            </p:cNvSpPr>
            <p:nvPr/>
          </p:nvSpPr>
          <p:spPr bwMode="auto">
            <a:xfrm>
              <a:off x="3649" y="3733"/>
              <a:ext cx="81" cy="71"/>
            </a:xfrm>
            <a:custGeom>
              <a:avLst/>
              <a:gdLst>
                <a:gd name="T0" fmla="*/ 119 w 121"/>
                <a:gd name="T1" fmla="*/ 59 h 107"/>
                <a:gd name="T2" fmla="*/ 119 w 121"/>
                <a:gd name="T3" fmla="*/ 48 h 107"/>
                <a:gd name="T4" fmla="*/ 95 w 121"/>
                <a:gd name="T5" fmla="*/ 6 h 107"/>
                <a:gd name="T6" fmla="*/ 85 w 121"/>
                <a:gd name="T7" fmla="*/ 0 h 107"/>
                <a:gd name="T8" fmla="*/ 36 w 121"/>
                <a:gd name="T9" fmla="*/ 0 h 107"/>
                <a:gd name="T10" fmla="*/ 27 w 121"/>
                <a:gd name="T11" fmla="*/ 6 h 107"/>
                <a:gd name="T12" fmla="*/ 2 w 121"/>
                <a:gd name="T13" fmla="*/ 48 h 107"/>
                <a:gd name="T14" fmla="*/ 2 w 121"/>
                <a:gd name="T15" fmla="*/ 59 h 107"/>
                <a:gd name="T16" fmla="*/ 27 w 121"/>
                <a:gd name="T17" fmla="*/ 102 h 107"/>
                <a:gd name="T18" fmla="*/ 36 w 121"/>
                <a:gd name="T19" fmla="*/ 107 h 107"/>
                <a:gd name="T20" fmla="*/ 85 w 121"/>
                <a:gd name="T21" fmla="*/ 107 h 107"/>
                <a:gd name="T22" fmla="*/ 95 w 121"/>
                <a:gd name="T23" fmla="*/ 102 h 107"/>
                <a:gd name="T24" fmla="*/ 119 w 121"/>
                <a:gd name="T25" fmla="*/ 59 h 107"/>
                <a:gd name="T26" fmla="*/ 79 w 121"/>
                <a:gd name="T27" fmla="*/ 86 h 107"/>
                <a:gd name="T28" fmla="*/ 42 w 121"/>
                <a:gd name="T29" fmla="*/ 86 h 107"/>
                <a:gd name="T30" fmla="*/ 24 w 121"/>
                <a:gd name="T31" fmla="*/ 54 h 107"/>
                <a:gd name="T32" fmla="*/ 42 w 121"/>
                <a:gd name="T33" fmla="*/ 22 h 107"/>
                <a:gd name="T34" fmla="*/ 79 w 121"/>
                <a:gd name="T35" fmla="*/ 22 h 107"/>
                <a:gd name="T36" fmla="*/ 98 w 121"/>
                <a:gd name="T37" fmla="*/ 54 h 107"/>
                <a:gd name="T38" fmla="*/ 79 w 121"/>
                <a:gd name="T3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 h="107">
                  <a:moveTo>
                    <a:pt x="119" y="59"/>
                  </a:moveTo>
                  <a:cubicBezTo>
                    <a:pt x="121" y="56"/>
                    <a:pt x="121" y="52"/>
                    <a:pt x="119" y="48"/>
                  </a:cubicBezTo>
                  <a:cubicBezTo>
                    <a:pt x="95" y="6"/>
                    <a:pt x="95" y="6"/>
                    <a:pt x="95" y="6"/>
                  </a:cubicBezTo>
                  <a:cubicBezTo>
                    <a:pt x="93" y="2"/>
                    <a:pt x="89" y="0"/>
                    <a:pt x="85" y="0"/>
                  </a:cubicBezTo>
                  <a:cubicBezTo>
                    <a:pt x="36" y="0"/>
                    <a:pt x="36" y="0"/>
                    <a:pt x="36" y="0"/>
                  </a:cubicBezTo>
                  <a:cubicBezTo>
                    <a:pt x="32" y="0"/>
                    <a:pt x="29" y="2"/>
                    <a:pt x="27" y="6"/>
                  </a:cubicBezTo>
                  <a:cubicBezTo>
                    <a:pt x="2" y="48"/>
                    <a:pt x="2" y="48"/>
                    <a:pt x="2" y="48"/>
                  </a:cubicBezTo>
                  <a:cubicBezTo>
                    <a:pt x="0" y="52"/>
                    <a:pt x="0" y="56"/>
                    <a:pt x="2" y="59"/>
                  </a:cubicBezTo>
                  <a:cubicBezTo>
                    <a:pt x="27" y="102"/>
                    <a:pt x="27" y="102"/>
                    <a:pt x="27" y="102"/>
                  </a:cubicBezTo>
                  <a:cubicBezTo>
                    <a:pt x="29" y="105"/>
                    <a:pt x="32" y="107"/>
                    <a:pt x="36" y="107"/>
                  </a:cubicBezTo>
                  <a:cubicBezTo>
                    <a:pt x="85" y="107"/>
                    <a:pt x="85" y="107"/>
                    <a:pt x="85" y="107"/>
                  </a:cubicBezTo>
                  <a:cubicBezTo>
                    <a:pt x="89" y="107"/>
                    <a:pt x="93" y="105"/>
                    <a:pt x="95" y="102"/>
                  </a:cubicBezTo>
                  <a:lnTo>
                    <a:pt x="119" y="59"/>
                  </a:lnTo>
                  <a:close/>
                  <a:moveTo>
                    <a:pt x="79" y="86"/>
                  </a:moveTo>
                  <a:cubicBezTo>
                    <a:pt x="42" y="86"/>
                    <a:pt x="42" y="86"/>
                    <a:pt x="42" y="86"/>
                  </a:cubicBezTo>
                  <a:cubicBezTo>
                    <a:pt x="24" y="54"/>
                    <a:pt x="24" y="54"/>
                    <a:pt x="24" y="54"/>
                  </a:cubicBezTo>
                  <a:cubicBezTo>
                    <a:pt x="42" y="22"/>
                    <a:pt x="42" y="22"/>
                    <a:pt x="42" y="22"/>
                  </a:cubicBezTo>
                  <a:cubicBezTo>
                    <a:pt x="79" y="22"/>
                    <a:pt x="79" y="22"/>
                    <a:pt x="79" y="22"/>
                  </a:cubicBezTo>
                  <a:cubicBezTo>
                    <a:pt x="98" y="54"/>
                    <a:pt x="98" y="54"/>
                    <a:pt x="98" y="54"/>
                  </a:cubicBezTo>
                  <a:lnTo>
                    <a:pt x="79" y="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3" name="Freeform 929">
              <a:extLst>
                <a:ext uri="{FF2B5EF4-FFF2-40B4-BE49-F238E27FC236}">
                  <a16:creationId xmlns:a16="http://schemas.microsoft.com/office/drawing/2014/main" id="{FD761679-B098-4444-96BF-EE3472794E82}"/>
                </a:ext>
              </a:extLst>
            </p:cNvPr>
            <p:cNvSpPr>
              <a:spLocks noEditPoints="1"/>
            </p:cNvSpPr>
            <p:nvPr/>
          </p:nvSpPr>
          <p:spPr bwMode="auto">
            <a:xfrm>
              <a:off x="3580" y="3659"/>
              <a:ext cx="220" cy="216"/>
            </a:xfrm>
            <a:custGeom>
              <a:avLst/>
              <a:gdLst>
                <a:gd name="T0" fmla="*/ 216 w 331"/>
                <a:gd name="T1" fmla="*/ 14 h 326"/>
                <a:gd name="T2" fmla="*/ 14 w 331"/>
                <a:gd name="T3" fmla="*/ 116 h 326"/>
                <a:gd name="T4" fmla="*/ 116 w 331"/>
                <a:gd name="T5" fmla="*/ 318 h 326"/>
                <a:gd name="T6" fmla="*/ 238 w 331"/>
                <a:gd name="T7" fmla="*/ 309 h 326"/>
                <a:gd name="T8" fmla="*/ 309 w 331"/>
                <a:gd name="T9" fmla="*/ 94 h 326"/>
                <a:gd name="T10" fmla="*/ 303 w 331"/>
                <a:gd name="T11" fmla="*/ 146 h 326"/>
                <a:gd name="T12" fmla="*/ 288 w 331"/>
                <a:gd name="T13" fmla="*/ 166 h 326"/>
                <a:gd name="T14" fmla="*/ 221 w 331"/>
                <a:gd name="T15" fmla="*/ 57 h 326"/>
                <a:gd name="T16" fmla="*/ 246 w 331"/>
                <a:gd name="T17" fmla="*/ 52 h 326"/>
                <a:gd name="T18" fmla="*/ 92 w 331"/>
                <a:gd name="T19" fmla="*/ 69 h 326"/>
                <a:gd name="T20" fmla="*/ 98 w 331"/>
                <a:gd name="T21" fmla="*/ 45 h 326"/>
                <a:gd name="T22" fmla="*/ 44 w 331"/>
                <a:gd name="T23" fmla="*/ 166 h 326"/>
                <a:gd name="T24" fmla="*/ 29 w 331"/>
                <a:gd name="T25" fmla="*/ 145 h 326"/>
                <a:gd name="T26" fmla="*/ 111 w 331"/>
                <a:gd name="T27" fmla="*/ 275 h 326"/>
                <a:gd name="T28" fmla="*/ 86 w 331"/>
                <a:gd name="T29" fmla="*/ 279 h 326"/>
                <a:gd name="T30" fmla="*/ 127 w 331"/>
                <a:gd name="T31" fmla="*/ 258 h 326"/>
                <a:gd name="T32" fmla="*/ 65 w 331"/>
                <a:gd name="T33" fmla="*/ 261 h 326"/>
                <a:gd name="T34" fmla="*/ 35 w 331"/>
                <a:gd name="T35" fmla="*/ 211 h 326"/>
                <a:gd name="T36" fmla="*/ 66 w 331"/>
                <a:gd name="T37" fmla="*/ 159 h 326"/>
                <a:gd name="T38" fmla="*/ 50 w 331"/>
                <a:gd name="T39" fmla="*/ 90 h 326"/>
                <a:gd name="T40" fmla="*/ 100 w 331"/>
                <a:gd name="T41" fmla="*/ 91 h 326"/>
                <a:gd name="T42" fmla="*/ 124 w 331"/>
                <a:gd name="T43" fmla="*/ 34 h 326"/>
                <a:gd name="T44" fmla="*/ 184 w 331"/>
                <a:gd name="T45" fmla="*/ 28 h 326"/>
                <a:gd name="T46" fmla="*/ 214 w 331"/>
                <a:gd name="T47" fmla="*/ 79 h 326"/>
                <a:gd name="T48" fmla="*/ 266 w 331"/>
                <a:gd name="T49" fmla="*/ 70 h 326"/>
                <a:gd name="T50" fmla="*/ 296 w 331"/>
                <a:gd name="T51" fmla="*/ 120 h 326"/>
                <a:gd name="T52" fmla="*/ 266 w 331"/>
                <a:gd name="T53" fmla="*/ 172 h 326"/>
                <a:gd name="T54" fmla="*/ 282 w 331"/>
                <a:gd name="T55" fmla="*/ 242 h 326"/>
                <a:gd name="T56" fmla="*/ 222 w 331"/>
                <a:gd name="T57" fmla="*/ 249 h 326"/>
                <a:gd name="T58" fmla="*/ 148 w 331"/>
                <a:gd name="T59" fmla="*/ 303 h 326"/>
                <a:gd name="T60" fmla="*/ 240 w 331"/>
                <a:gd name="T61" fmla="*/ 263 h 326"/>
                <a:gd name="T62" fmla="*/ 233 w 331"/>
                <a:gd name="T63" fmla="*/ 28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1" h="326">
                  <a:moveTo>
                    <a:pt x="309" y="94"/>
                  </a:moveTo>
                  <a:cubicBezTo>
                    <a:pt x="289" y="55"/>
                    <a:pt x="256" y="27"/>
                    <a:pt x="216" y="14"/>
                  </a:cubicBezTo>
                  <a:cubicBezTo>
                    <a:pt x="175" y="0"/>
                    <a:pt x="132" y="4"/>
                    <a:pt x="94" y="23"/>
                  </a:cubicBezTo>
                  <a:cubicBezTo>
                    <a:pt x="55" y="42"/>
                    <a:pt x="27" y="75"/>
                    <a:pt x="14" y="116"/>
                  </a:cubicBezTo>
                  <a:cubicBezTo>
                    <a:pt x="0" y="156"/>
                    <a:pt x="4" y="200"/>
                    <a:pt x="23" y="238"/>
                  </a:cubicBezTo>
                  <a:cubicBezTo>
                    <a:pt x="42" y="276"/>
                    <a:pt x="75" y="304"/>
                    <a:pt x="116" y="318"/>
                  </a:cubicBezTo>
                  <a:cubicBezTo>
                    <a:pt x="132" y="323"/>
                    <a:pt x="149" y="326"/>
                    <a:pt x="166" y="326"/>
                  </a:cubicBezTo>
                  <a:cubicBezTo>
                    <a:pt x="191" y="326"/>
                    <a:pt x="215" y="320"/>
                    <a:pt x="238" y="309"/>
                  </a:cubicBezTo>
                  <a:cubicBezTo>
                    <a:pt x="276" y="289"/>
                    <a:pt x="304" y="256"/>
                    <a:pt x="318" y="216"/>
                  </a:cubicBezTo>
                  <a:cubicBezTo>
                    <a:pt x="331" y="175"/>
                    <a:pt x="328" y="132"/>
                    <a:pt x="309" y="94"/>
                  </a:cubicBezTo>
                  <a:close/>
                  <a:moveTo>
                    <a:pt x="288" y="166"/>
                  </a:moveTo>
                  <a:cubicBezTo>
                    <a:pt x="303" y="146"/>
                    <a:pt x="303" y="146"/>
                    <a:pt x="303" y="146"/>
                  </a:cubicBezTo>
                  <a:cubicBezTo>
                    <a:pt x="305" y="159"/>
                    <a:pt x="305" y="173"/>
                    <a:pt x="303" y="186"/>
                  </a:cubicBezTo>
                  <a:lnTo>
                    <a:pt x="288" y="166"/>
                  </a:lnTo>
                  <a:close/>
                  <a:moveTo>
                    <a:pt x="246" y="52"/>
                  </a:moveTo>
                  <a:cubicBezTo>
                    <a:pt x="221" y="57"/>
                    <a:pt x="221" y="57"/>
                    <a:pt x="221" y="57"/>
                  </a:cubicBezTo>
                  <a:cubicBezTo>
                    <a:pt x="210" y="34"/>
                    <a:pt x="210" y="34"/>
                    <a:pt x="210" y="34"/>
                  </a:cubicBezTo>
                  <a:cubicBezTo>
                    <a:pt x="223" y="39"/>
                    <a:pt x="235" y="45"/>
                    <a:pt x="246" y="52"/>
                  </a:cubicBezTo>
                  <a:close/>
                  <a:moveTo>
                    <a:pt x="98" y="45"/>
                  </a:moveTo>
                  <a:cubicBezTo>
                    <a:pt x="92" y="69"/>
                    <a:pt x="92" y="69"/>
                    <a:pt x="92" y="69"/>
                  </a:cubicBezTo>
                  <a:cubicBezTo>
                    <a:pt x="67" y="68"/>
                    <a:pt x="67" y="68"/>
                    <a:pt x="67" y="68"/>
                  </a:cubicBezTo>
                  <a:cubicBezTo>
                    <a:pt x="76" y="59"/>
                    <a:pt x="87" y="51"/>
                    <a:pt x="98" y="45"/>
                  </a:cubicBezTo>
                  <a:close/>
                  <a:moveTo>
                    <a:pt x="29" y="145"/>
                  </a:moveTo>
                  <a:cubicBezTo>
                    <a:pt x="44" y="166"/>
                    <a:pt x="44" y="166"/>
                    <a:pt x="44" y="166"/>
                  </a:cubicBezTo>
                  <a:cubicBezTo>
                    <a:pt x="28" y="185"/>
                    <a:pt x="28" y="185"/>
                    <a:pt x="28" y="185"/>
                  </a:cubicBezTo>
                  <a:cubicBezTo>
                    <a:pt x="27" y="172"/>
                    <a:pt x="27" y="159"/>
                    <a:pt x="29" y="145"/>
                  </a:cubicBezTo>
                  <a:close/>
                  <a:moveTo>
                    <a:pt x="86" y="279"/>
                  </a:moveTo>
                  <a:cubicBezTo>
                    <a:pt x="111" y="275"/>
                    <a:pt x="111" y="275"/>
                    <a:pt x="111" y="275"/>
                  </a:cubicBezTo>
                  <a:cubicBezTo>
                    <a:pt x="121" y="297"/>
                    <a:pt x="121" y="297"/>
                    <a:pt x="121" y="297"/>
                  </a:cubicBezTo>
                  <a:cubicBezTo>
                    <a:pt x="108" y="293"/>
                    <a:pt x="96" y="287"/>
                    <a:pt x="86" y="279"/>
                  </a:cubicBezTo>
                  <a:close/>
                  <a:moveTo>
                    <a:pt x="148" y="303"/>
                  </a:moveTo>
                  <a:cubicBezTo>
                    <a:pt x="127" y="258"/>
                    <a:pt x="127" y="258"/>
                    <a:pt x="127" y="258"/>
                  </a:cubicBezTo>
                  <a:cubicBezTo>
                    <a:pt x="125" y="254"/>
                    <a:pt x="120" y="251"/>
                    <a:pt x="115" y="252"/>
                  </a:cubicBezTo>
                  <a:cubicBezTo>
                    <a:pt x="65" y="261"/>
                    <a:pt x="65" y="261"/>
                    <a:pt x="65" y="261"/>
                  </a:cubicBezTo>
                  <a:cubicBezTo>
                    <a:pt x="56" y="251"/>
                    <a:pt x="48" y="240"/>
                    <a:pt x="42" y="228"/>
                  </a:cubicBezTo>
                  <a:cubicBezTo>
                    <a:pt x="39" y="223"/>
                    <a:pt x="37" y="217"/>
                    <a:pt x="35" y="211"/>
                  </a:cubicBezTo>
                  <a:cubicBezTo>
                    <a:pt x="65" y="172"/>
                    <a:pt x="65" y="172"/>
                    <a:pt x="65" y="172"/>
                  </a:cubicBezTo>
                  <a:cubicBezTo>
                    <a:pt x="68" y="169"/>
                    <a:pt x="68" y="163"/>
                    <a:pt x="66" y="159"/>
                  </a:cubicBezTo>
                  <a:cubicBezTo>
                    <a:pt x="35" y="119"/>
                    <a:pt x="35" y="119"/>
                    <a:pt x="35" y="119"/>
                  </a:cubicBezTo>
                  <a:cubicBezTo>
                    <a:pt x="39" y="108"/>
                    <a:pt x="44" y="99"/>
                    <a:pt x="50" y="90"/>
                  </a:cubicBezTo>
                  <a:cubicBezTo>
                    <a:pt x="99" y="91"/>
                    <a:pt x="99" y="91"/>
                    <a:pt x="99" y="91"/>
                  </a:cubicBezTo>
                  <a:cubicBezTo>
                    <a:pt x="99" y="91"/>
                    <a:pt x="100" y="91"/>
                    <a:pt x="100" y="91"/>
                  </a:cubicBezTo>
                  <a:cubicBezTo>
                    <a:pt x="104" y="91"/>
                    <a:pt x="108" y="87"/>
                    <a:pt x="110" y="83"/>
                  </a:cubicBezTo>
                  <a:cubicBezTo>
                    <a:pt x="124" y="34"/>
                    <a:pt x="124" y="34"/>
                    <a:pt x="124" y="34"/>
                  </a:cubicBezTo>
                  <a:cubicBezTo>
                    <a:pt x="137" y="30"/>
                    <a:pt x="151" y="27"/>
                    <a:pt x="166" y="27"/>
                  </a:cubicBezTo>
                  <a:cubicBezTo>
                    <a:pt x="172" y="27"/>
                    <a:pt x="178" y="27"/>
                    <a:pt x="184" y="28"/>
                  </a:cubicBezTo>
                  <a:cubicBezTo>
                    <a:pt x="205" y="73"/>
                    <a:pt x="205" y="73"/>
                    <a:pt x="205" y="73"/>
                  </a:cubicBezTo>
                  <a:cubicBezTo>
                    <a:pt x="207" y="77"/>
                    <a:pt x="210" y="79"/>
                    <a:pt x="214" y="79"/>
                  </a:cubicBezTo>
                  <a:cubicBezTo>
                    <a:pt x="215" y="79"/>
                    <a:pt x="216" y="79"/>
                    <a:pt x="216" y="79"/>
                  </a:cubicBezTo>
                  <a:cubicBezTo>
                    <a:pt x="266" y="70"/>
                    <a:pt x="266" y="70"/>
                    <a:pt x="266" y="70"/>
                  </a:cubicBezTo>
                  <a:cubicBezTo>
                    <a:pt x="276" y="80"/>
                    <a:pt x="283" y="91"/>
                    <a:pt x="289" y="103"/>
                  </a:cubicBezTo>
                  <a:cubicBezTo>
                    <a:pt x="292" y="109"/>
                    <a:pt x="294" y="114"/>
                    <a:pt x="296" y="120"/>
                  </a:cubicBezTo>
                  <a:cubicBezTo>
                    <a:pt x="266" y="159"/>
                    <a:pt x="266" y="159"/>
                    <a:pt x="266" y="159"/>
                  </a:cubicBezTo>
                  <a:cubicBezTo>
                    <a:pt x="263" y="163"/>
                    <a:pt x="263" y="168"/>
                    <a:pt x="266" y="172"/>
                  </a:cubicBezTo>
                  <a:cubicBezTo>
                    <a:pt x="296" y="213"/>
                    <a:pt x="296" y="213"/>
                    <a:pt x="296" y="213"/>
                  </a:cubicBezTo>
                  <a:cubicBezTo>
                    <a:pt x="292" y="223"/>
                    <a:pt x="287" y="233"/>
                    <a:pt x="282" y="242"/>
                  </a:cubicBezTo>
                  <a:cubicBezTo>
                    <a:pt x="232" y="241"/>
                    <a:pt x="232" y="241"/>
                    <a:pt x="232" y="241"/>
                  </a:cubicBezTo>
                  <a:cubicBezTo>
                    <a:pt x="227" y="241"/>
                    <a:pt x="223" y="244"/>
                    <a:pt x="222" y="249"/>
                  </a:cubicBezTo>
                  <a:cubicBezTo>
                    <a:pt x="208" y="298"/>
                    <a:pt x="208" y="298"/>
                    <a:pt x="208" y="298"/>
                  </a:cubicBezTo>
                  <a:cubicBezTo>
                    <a:pt x="188" y="304"/>
                    <a:pt x="168" y="306"/>
                    <a:pt x="148" y="303"/>
                  </a:cubicBezTo>
                  <a:close/>
                  <a:moveTo>
                    <a:pt x="233" y="287"/>
                  </a:moveTo>
                  <a:cubicBezTo>
                    <a:pt x="240" y="263"/>
                    <a:pt x="240" y="263"/>
                    <a:pt x="240" y="263"/>
                  </a:cubicBezTo>
                  <a:cubicBezTo>
                    <a:pt x="264" y="263"/>
                    <a:pt x="264" y="263"/>
                    <a:pt x="264" y="263"/>
                  </a:cubicBezTo>
                  <a:cubicBezTo>
                    <a:pt x="255" y="272"/>
                    <a:pt x="245" y="280"/>
                    <a:pt x="233" y="2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4" name="Freeform 942">
            <a:extLst>
              <a:ext uri="{FF2B5EF4-FFF2-40B4-BE49-F238E27FC236}">
                <a16:creationId xmlns:a16="http://schemas.microsoft.com/office/drawing/2014/main" id="{66C00684-4B86-46C5-9CEE-9B473714037C}"/>
              </a:ext>
            </a:extLst>
          </p:cNvPr>
          <p:cNvSpPr>
            <a:spLocks noChangeAspect="1" noEditPoints="1"/>
          </p:cNvSpPr>
          <p:nvPr/>
        </p:nvSpPr>
        <p:spPr bwMode="auto">
          <a:xfrm>
            <a:off x="3953216" y="4124548"/>
            <a:ext cx="368713"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221 h 512"/>
              <a:gd name="T12" fmla="*/ 274 w 512"/>
              <a:gd name="T13" fmla="*/ 327 h 512"/>
              <a:gd name="T14" fmla="*/ 262 w 512"/>
              <a:gd name="T15" fmla="*/ 330 h 512"/>
              <a:gd name="T16" fmla="*/ 256 w 512"/>
              <a:gd name="T17" fmla="*/ 320 h 512"/>
              <a:gd name="T18" fmla="*/ 256 w 512"/>
              <a:gd name="T19" fmla="*/ 266 h 512"/>
              <a:gd name="T20" fmla="*/ 181 w 512"/>
              <a:gd name="T21" fmla="*/ 341 h 512"/>
              <a:gd name="T22" fmla="*/ 209 w 512"/>
              <a:gd name="T23" fmla="*/ 397 h 512"/>
              <a:gd name="T24" fmla="*/ 211 w 512"/>
              <a:gd name="T25" fmla="*/ 411 h 512"/>
              <a:gd name="T26" fmla="*/ 202 w 512"/>
              <a:gd name="T27" fmla="*/ 416 h 512"/>
              <a:gd name="T28" fmla="*/ 198 w 512"/>
              <a:gd name="T29" fmla="*/ 415 h 512"/>
              <a:gd name="T30" fmla="*/ 117 w 512"/>
              <a:gd name="T31" fmla="*/ 288 h 512"/>
              <a:gd name="T32" fmla="*/ 256 w 512"/>
              <a:gd name="T33" fmla="*/ 149 h 512"/>
              <a:gd name="T34" fmla="*/ 256 w 512"/>
              <a:gd name="T35" fmla="*/ 106 h 512"/>
              <a:gd name="T36" fmla="*/ 262 w 512"/>
              <a:gd name="T37" fmla="*/ 96 h 512"/>
              <a:gd name="T38" fmla="*/ 274 w 512"/>
              <a:gd name="T39" fmla="*/ 99 h 512"/>
              <a:gd name="T40" fmla="*/ 381 w 512"/>
              <a:gd name="T41" fmla="*/ 205 h 512"/>
              <a:gd name="T42" fmla="*/ 381 w 512"/>
              <a:gd name="T43" fmla="*/ 221 h 512"/>
              <a:gd name="T44" fmla="*/ 277 w 512"/>
              <a:gd name="T45" fmla="*/ 132 h 512"/>
              <a:gd name="T46" fmla="*/ 358 w 512"/>
              <a:gd name="T47" fmla="*/ 213 h 512"/>
              <a:gd name="T48" fmla="*/ 277 w 512"/>
              <a:gd name="T49" fmla="*/ 294 h 512"/>
              <a:gd name="T50" fmla="*/ 277 w 512"/>
              <a:gd name="T51" fmla="*/ 256 h 512"/>
              <a:gd name="T52" fmla="*/ 266 w 512"/>
              <a:gd name="T53" fmla="*/ 245 h 512"/>
              <a:gd name="T54" fmla="*/ 256 w 512"/>
              <a:gd name="T55" fmla="*/ 245 h 512"/>
              <a:gd name="T56" fmla="*/ 160 w 512"/>
              <a:gd name="T57" fmla="*/ 341 h 512"/>
              <a:gd name="T58" fmla="*/ 162 w 512"/>
              <a:gd name="T59" fmla="*/ 360 h 512"/>
              <a:gd name="T60" fmla="*/ 138 w 512"/>
              <a:gd name="T61" fmla="*/ 288 h 512"/>
              <a:gd name="T62" fmla="*/ 256 w 512"/>
              <a:gd name="T63" fmla="*/ 170 h 512"/>
              <a:gd name="T64" fmla="*/ 266 w 512"/>
              <a:gd name="T65" fmla="*/ 170 h 512"/>
              <a:gd name="T66" fmla="*/ 277 w 512"/>
              <a:gd name="T67" fmla="*/ 160 h 512"/>
              <a:gd name="T68" fmla="*/ 277 w 512"/>
              <a:gd name="T69" fmla="*/ 1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221"/>
                </a:moveTo>
                <a:cubicBezTo>
                  <a:pt x="274" y="327"/>
                  <a:pt x="274" y="327"/>
                  <a:pt x="274" y="327"/>
                </a:cubicBezTo>
                <a:cubicBezTo>
                  <a:pt x="271" y="330"/>
                  <a:pt x="266" y="331"/>
                  <a:pt x="262" y="330"/>
                </a:cubicBezTo>
                <a:cubicBezTo>
                  <a:pt x="258" y="328"/>
                  <a:pt x="256" y="324"/>
                  <a:pt x="256" y="320"/>
                </a:cubicBezTo>
                <a:cubicBezTo>
                  <a:pt x="256" y="266"/>
                  <a:pt x="256" y="266"/>
                  <a:pt x="256" y="266"/>
                </a:cubicBezTo>
                <a:cubicBezTo>
                  <a:pt x="204" y="266"/>
                  <a:pt x="181" y="304"/>
                  <a:pt x="181" y="341"/>
                </a:cubicBezTo>
                <a:cubicBezTo>
                  <a:pt x="181" y="362"/>
                  <a:pt x="191" y="382"/>
                  <a:pt x="209" y="397"/>
                </a:cubicBezTo>
                <a:cubicBezTo>
                  <a:pt x="213" y="400"/>
                  <a:pt x="214" y="406"/>
                  <a:pt x="211" y="411"/>
                </a:cubicBezTo>
                <a:cubicBezTo>
                  <a:pt x="209" y="414"/>
                  <a:pt x="206" y="416"/>
                  <a:pt x="202" y="416"/>
                </a:cubicBezTo>
                <a:cubicBezTo>
                  <a:pt x="201" y="416"/>
                  <a:pt x="199" y="415"/>
                  <a:pt x="198" y="415"/>
                </a:cubicBezTo>
                <a:cubicBezTo>
                  <a:pt x="149" y="393"/>
                  <a:pt x="117" y="343"/>
                  <a:pt x="117" y="288"/>
                </a:cubicBezTo>
                <a:cubicBezTo>
                  <a:pt x="117" y="211"/>
                  <a:pt x="179" y="149"/>
                  <a:pt x="256" y="149"/>
                </a:cubicBezTo>
                <a:cubicBezTo>
                  <a:pt x="256" y="106"/>
                  <a:pt x="256" y="106"/>
                  <a:pt x="256" y="106"/>
                </a:cubicBezTo>
                <a:cubicBezTo>
                  <a:pt x="256" y="102"/>
                  <a:pt x="258" y="98"/>
                  <a:pt x="262" y="96"/>
                </a:cubicBezTo>
                <a:cubicBezTo>
                  <a:pt x="266" y="95"/>
                  <a:pt x="271" y="96"/>
                  <a:pt x="274" y="99"/>
                </a:cubicBezTo>
                <a:cubicBezTo>
                  <a:pt x="381" y="205"/>
                  <a:pt x="381" y="205"/>
                  <a:pt x="381" y="205"/>
                </a:cubicBezTo>
                <a:cubicBezTo>
                  <a:pt x="385" y="210"/>
                  <a:pt x="385" y="216"/>
                  <a:pt x="381" y="221"/>
                </a:cubicBezTo>
                <a:close/>
                <a:moveTo>
                  <a:pt x="277" y="132"/>
                </a:moveTo>
                <a:cubicBezTo>
                  <a:pt x="358" y="213"/>
                  <a:pt x="358" y="213"/>
                  <a:pt x="358" y="213"/>
                </a:cubicBezTo>
                <a:cubicBezTo>
                  <a:pt x="277" y="294"/>
                  <a:pt x="277" y="294"/>
                  <a:pt x="277" y="294"/>
                </a:cubicBezTo>
                <a:cubicBezTo>
                  <a:pt x="277" y="256"/>
                  <a:pt x="277" y="256"/>
                  <a:pt x="277" y="256"/>
                </a:cubicBezTo>
                <a:cubicBezTo>
                  <a:pt x="277" y="250"/>
                  <a:pt x="272" y="245"/>
                  <a:pt x="266" y="245"/>
                </a:cubicBezTo>
                <a:cubicBezTo>
                  <a:pt x="256" y="245"/>
                  <a:pt x="256" y="245"/>
                  <a:pt x="256" y="245"/>
                </a:cubicBezTo>
                <a:cubicBezTo>
                  <a:pt x="199" y="245"/>
                  <a:pt x="160" y="284"/>
                  <a:pt x="160" y="341"/>
                </a:cubicBezTo>
                <a:cubicBezTo>
                  <a:pt x="160" y="348"/>
                  <a:pt x="161" y="354"/>
                  <a:pt x="162" y="360"/>
                </a:cubicBezTo>
                <a:cubicBezTo>
                  <a:pt x="147" y="340"/>
                  <a:pt x="138" y="315"/>
                  <a:pt x="138" y="288"/>
                </a:cubicBezTo>
                <a:cubicBezTo>
                  <a:pt x="138" y="223"/>
                  <a:pt x="191" y="170"/>
                  <a:pt x="256" y="170"/>
                </a:cubicBezTo>
                <a:cubicBezTo>
                  <a:pt x="266" y="170"/>
                  <a:pt x="266" y="170"/>
                  <a:pt x="266" y="170"/>
                </a:cubicBezTo>
                <a:cubicBezTo>
                  <a:pt x="272" y="170"/>
                  <a:pt x="277" y="166"/>
                  <a:pt x="277" y="160"/>
                </a:cubicBezTo>
                <a:lnTo>
                  <a:pt x="277" y="13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5" name="Group 945">
            <a:extLst>
              <a:ext uri="{FF2B5EF4-FFF2-40B4-BE49-F238E27FC236}">
                <a16:creationId xmlns:a16="http://schemas.microsoft.com/office/drawing/2014/main" id="{36ABEBA9-D4A0-4F7A-96D5-440A57933AE1}"/>
              </a:ext>
            </a:extLst>
          </p:cNvPr>
          <p:cNvGrpSpPr>
            <a:grpSpLocks noChangeAspect="1"/>
          </p:cNvGrpSpPr>
          <p:nvPr/>
        </p:nvGrpSpPr>
        <p:grpSpPr bwMode="auto">
          <a:xfrm>
            <a:off x="4389890" y="4124548"/>
            <a:ext cx="367631" cy="367631"/>
            <a:chOff x="5000" y="3593"/>
            <a:chExt cx="340" cy="340"/>
          </a:xfrm>
          <a:solidFill>
            <a:schemeClr val="accent4"/>
          </a:solidFill>
        </p:grpSpPr>
        <p:sp>
          <p:nvSpPr>
            <p:cNvPr id="596" name="Freeform 946">
              <a:extLst>
                <a:ext uri="{FF2B5EF4-FFF2-40B4-BE49-F238E27FC236}">
                  <a16:creationId xmlns:a16="http://schemas.microsoft.com/office/drawing/2014/main" id="{46A7756E-5EC0-479B-90DE-D3C297DB60F0}"/>
                </a:ext>
              </a:extLst>
            </p:cNvPr>
            <p:cNvSpPr>
              <a:spLocks noEditPoints="1"/>
            </p:cNvSpPr>
            <p:nvPr/>
          </p:nvSpPr>
          <p:spPr bwMode="auto">
            <a:xfrm>
              <a:off x="5078" y="3656"/>
              <a:ext cx="178" cy="213"/>
            </a:xfrm>
            <a:custGeom>
              <a:avLst/>
              <a:gdLst>
                <a:gd name="T0" fmla="*/ 85 w 268"/>
                <a:gd name="T1" fmla="*/ 321 h 321"/>
                <a:gd name="T2" fmla="*/ 81 w 268"/>
                <a:gd name="T3" fmla="*/ 320 h 321"/>
                <a:gd name="T4" fmla="*/ 0 w 268"/>
                <a:gd name="T5" fmla="*/ 193 h 321"/>
                <a:gd name="T6" fmla="*/ 139 w 268"/>
                <a:gd name="T7" fmla="*/ 54 h 321"/>
                <a:gd name="T8" fmla="*/ 139 w 268"/>
                <a:gd name="T9" fmla="*/ 11 h 321"/>
                <a:gd name="T10" fmla="*/ 145 w 268"/>
                <a:gd name="T11" fmla="*/ 1 h 321"/>
                <a:gd name="T12" fmla="*/ 157 w 268"/>
                <a:gd name="T13" fmla="*/ 4 h 321"/>
                <a:gd name="T14" fmla="*/ 264 w 268"/>
                <a:gd name="T15" fmla="*/ 110 h 321"/>
                <a:gd name="T16" fmla="*/ 264 w 268"/>
                <a:gd name="T17" fmla="*/ 126 h 321"/>
                <a:gd name="T18" fmla="*/ 157 w 268"/>
                <a:gd name="T19" fmla="*/ 232 h 321"/>
                <a:gd name="T20" fmla="*/ 145 w 268"/>
                <a:gd name="T21" fmla="*/ 235 h 321"/>
                <a:gd name="T22" fmla="*/ 139 w 268"/>
                <a:gd name="T23" fmla="*/ 225 h 321"/>
                <a:gd name="T24" fmla="*/ 139 w 268"/>
                <a:gd name="T25" fmla="*/ 171 h 321"/>
                <a:gd name="T26" fmla="*/ 64 w 268"/>
                <a:gd name="T27" fmla="*/ 246 h 321"/>
                <a:gd name="T28" fmla="*/ 92 w 268"/>
                <a:gd name="T29" fmla="*/ 302 h 321"/>
                <a:gd name="T30" fmla="*/ 94 w 268"/>
                <a:gd name="T31" fmla="*/ 316 h 321"/>
                <a:gd name="T32" fmla="*/ 85 w 268"/>
                <a:gd name="T33" fmla="*/ 321 h 321"/>
                <a:gd name="T34" fmla="*/ 139 w 268"/>
                <a:gd name="T35" fmla="*/ 75 h 321"/>
                <a:gd name="T36" fmla="*/ 21 w 268"/>
                <a:gd name="T37" fmla="*/ 193 h 321"/>
                <a:gd name="T38" fmla="*/ 45 w 268"/>
                <a:gd name="T39" fmla="*/ 265 h 321"/>
                <a:gd name="T40" fmla="*/ 43 w 268"/>
                <a:gd name="T41" fmla="*/ 246 h 321"/>
                <a:gd name="T42" fmla="*/ 139 w 268"/>
                <a:gd name="T43" fmla="*/ 150 h 321"/>
                <a:gd name="T44" fmla="*/ 149 w 268"/>
                <a:gd name="T45" fmla="*/ 150 h 321"/>
                <a:gd name="T46" fmla="*/ 160 w 268"/>
                <a:gd name="T47" fmla="*/ 161 h 321"/>
                <a:gd name="T48" fmla="*/ 160 w 268"/>
                <a:gd name="T49" fmla="*/ 199 h 321"/>
                <a:gd name="T50" fmla="*/ 241 w 268"/>
                <a:gd name="T51" fmla="*/ 118 h 321"/>
                <a:gd name="T52" fmla="*/ 160 w 268"/>
                <a:gd name="T53" fmla="*/ 37 h 321"/>
                <a:gd name="T54" fmla="*/ 160 w 268"/>
                <a:gd name="T55" fmla="*/ 65 h 321"/>
                <a:gd name="T56" fmla="*/ 149 w 268"/>
                <a:gd name="T57" fmla="*/ 75 h 321"/>
                <a:gd name="T58" fmla="*/ 139 w 268"/>
                <a:gd name="T59" fmla="*/ 7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8" h="321">
                  <a:moveTo>
                    <a:pt x="85" y="321"/>
                  </a:moveTo>
                  <a:cubicBezTo>
                    <a:pt x="84" y="321"/>
                    <a:pt x="82" y="320"/>
                    <a:pt x="81" y="320"/>
                  </a:cubicBezTo>
                  <a:cubicBezTo>
                    <a:pt x="32" y="298"/>
                    <a:pt x="0" y="248"/>
                    <a:pt x="0" y="193"/>
                  </a:cubicBezTo>
                  <a:cubicBezTo>
                    <a:pt x="0" y="116"/>
                    <a:pt x="62" y="54"/>
                    <a:pt x="139" y="54"/>
                  </a:cubicBezTo>
                  <a:cubicBezTo>
                    <a:pt x="139" y="11"/>
                    <a:pt x="139" y="11"/>
                    <a:pt x="139" y="11"/>
                  </a:cubicBezTo>
                  <a:cubicBezTo>
                    <a:pt x="139" y="7"/>
                    <a:pt x="141" y="3"/>
                    <a:pt x="145" y="1"/>
                  </a:cubicBezTo>
                  <a:cubicBezTo>
                    <a:pt x="149" y="0"/>
                    <a:pt x="154" y="1"/>
                    <a:pt x="157" y="4"/>
                  </a:cubicBezTo>
                  <a:cubicBezTo>
                    <a:pt x="264" y="110"/>
                    <a:pt x="264" y="110"/>
                    <a:pt x="264" y="110"/>
                  </a:cubicBezTo>
                  <a:cubicBezTo>
                    <a:pt x="268" y="115"/>
                    <a:pt x="268" y="121"/>
                    <a:pt x="264" y="126"/>
                  </a:cubicBezTo>
                  <a:cubicBezTo>
                    <a:pt x="157" y="232"/>
                    <a:pt x="157" y="232"/>
                    <a:pt x="157" y="232"/>
                  </a:cubicBezTo>
                  <a:cubicBezTo>
                    <a:pt x="154" y="235"/>
                    <a:pt x="149" y="236"/>
                    <a:pt x="145" y="235"/>
                  </a:cubicBezTo>
                  <a:cubicBezTo>
                    <a:pt x="141" y="233"/>
                    <a:pt x="139" y="229"/>
                    <a:pt x="139" y="225"/>
                  </a:cubicBezTo>
                  <a:cubicBezTo>
                    <a:pt x="139" y="171"/>
                    <a:pt x="139" y="171"/>
                    <a:pt x="139" y="171"/>
                  </a:cubicBezTo>
                  <a:cubicBezTo>
                    <a:pt x="87" y="171"/>
                    <a:pt x="64" y="209"/>
                    <a:pt x="64" y="246"/>
                  </a:cubicBezTo>
                  <a:cubicBezTo>
                    <a:pt x="64" y="267"/>
                    <a:pt x="74" y="287"/>
                    <a:pt x="92" y="302"/>
                  </a:cubicBezTo>
                  <a:cubicBezTo>
                    <a:pt x="96" y="305"/>
                    <a:pt x="97" y="311"/>
                    <a:pt x="94" y="316"/>
                  </a:cubicBezTo>
                  <a:cubicBezTo>
                    <a:pt x="92" y="319"/>
                    <a:pt x="89" y="321"/>
                    <a:pt x="85" y="321"/>
                  </a:cubicBezTo>
                  <a:close/>
                  <a:moveTo>
                    <a:pt x="139" y="75"/>
                  </a:moveTo>
                  <a:cubicBezTo>
                    <a:pt x="74" y="75"/>
                    <a:pt x="21" y="128"/>
                    <a:pt x="21" y="193"/>
                  </a:cubicBezTo>
                  <a:cubicBezTo>
                    <a:pt x="21" y="220"/>
                    <a:pt x="30" y="245"/>
                    <a:pt x="45" y="265"/>
                  </a:cubicBezTo>
                  <a:cubicBezTo>
                    <a:pt x="44" y="259"/>
                    <a:pt x="43" y="253"/>
                    <a:pt x="43" y="246"/>
                  </a:cubicBezTo>
                  <a:cubicBezTo>
                    <a:pt x="43" y="189"/>
                    <a:pt x="82" y="150"/>
                    <a:pt x="139" y="150"/>
                  </a:cubicBezTo>
                  <a:cubicBezTo>
                    <a:pt x="149" y="150"/>
                    <a:pt x="149" y="150"/>
                    <a:pt x="149" y="150"/>
                  </a:cubicBezTo>
                  <a:cubicBezTo>
                    <a:pt x="155" y="150"/>
                    <a:pt x="160" y="155"/>
                    <a:pt x="160" y="161"/>
                  </a:cubicBezTo>
                  <a:cubicBezTo>
                    <a:pt x="160" y="199"/>
                    <a:pt x="160" y="199"/>
                    <a:pt x="160" y="199"/>
                  </a:cubicBezTo>
                  <a:cubicBezTo>
                    <a:pt x="241" y="118"/>
                    <a:pt x="241" y="118"/>
                    <a:pt x="241" y="118"/>
                  </a:cubicBezTo>
                  <a:cubicBezTo>
                    <a:pt x="160" y="37"/>
                    <a:pt x="160" y="37"/>
                    <a:pt x="160" y="37"/>
                  </a:cubicBezTo>
                  <a:cubicBezTo>
                    <a:pt x="160" y="65"/>
                    <a:pt x="160" y="65"/>
                    <a:pt x="160" y="65"/>
                  </a:cubicBezTo>
                  <a:cubicBezTo>
                    <a:pt x="160" y="71"/>
                    <a:pt x="155" y="75"/>
                    <a:pt x="149" y="75"/>
                  </a:cubicBezTo>
                  <a:lnTo>
                    <a:pt x="139"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7" name="Freeform 947">
              <a:extLst>
                <a:ext uri="{FF2B5EF4-FFF2-40B4-BE49-F238E27FC236}">
                  <a16:creationId xmlns:a16="http://schemas.microsoft.com/office/drawing/2014/main" id="{63447232-4403-4E35-8FA4-C4524381914D}"/>
                </a:ext>
              </a:extLst>
            </p:cNvPr>
            <p:cNvSpPr>
              <a:spLocks noEditPoints="1"/>
            </p:cNvSpPr>
            <p:nvPr/>
          </p:nvSpPr>
          <p:spPr bwMode="auto">
            <a:xfrm>
              <a:off x="5000" y="359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8" name="Freeform 430">
            <a:extLst>
              <a:ext uri="{FF2B5EF4-FFF2-40B4-BE49-F238E27FC236}">
                <a16:creationId xmlns:a16="http://schemas.microsoft.com/office/drawing/2014/main" id="{797988E2-3506-4BDD-B54D-3D8A1DC3ECCC}"/>
              </a:ext>
            </a:extLst>
          </p:cNvPr>
          <p:cNvSpPr>
            <a:spLocks noChangeAspect="1" noEditPoints="1"/>
          </p:cNvSpPr>
          <p:nvPr/>
        </p:nvSpPr>
        <p:spPr bwMode="auto">
          <a:xfrm>
            <a:off x="3083212" y="4124548"/>
            <a:ext cx="367041" cy="367041"/>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9" name="Group 433">
            <a:extLst>
              <a:ext uri="{FF2B5EF4-FFF2-40B4-BE49-F238E27FC236}">
                <a16:creationId xmlns:a16="http://schemas.microsoft.com/office/drawing/2014/main" id="{4DBD547E-8B1F-4E47-B709-9F1CC8EC70C5}"/>
              </a:ext>
            </a:extLst>
          </p:cNvPr>
          <p:cNvGrpSpPr>
            <a:grpSpLocks noChangeAspect="1"/>
          </p:cNvGrpSpPr>
          <p:nvPr/>
        </p:nvGrpSpPr>
        <p:grpSpPr bwMode="auto">
          <a:xfrm>
            <a:off x="3518214" y="4124548"/>
            <a:ext cx="367041" cy="367041"/>
            <a:chOff x="4725" y="1820"/>
            <a:chExt cx="340" cy="340"/>
          </a:xfrm>
          <a:solidFill>
            <a:schemeClr val="accent5"/>
          </a:solidFill>
        </p:grpSpPr>
        <p:sp>
          <p:nvSpPr>
            <p:cNvPr id="600" name="Freeform 434">
              <a:extLst>
                <a:ext uri="{FF2B5EF4-FFF2-40B4-BE49-F238E27FC236}">
                  <a16:creationId xmlns:a16="http://schemas.microsoft.com/office/drawing/2014/main" id="{12F4ED4B-4952-4DA6-BC82-06F01A7647DA}"/>
                </a:ext>
              </a:extLst>
            </p:cNvPr>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1" name="Freeform 435">
              <a:extLst>
                <a:ext uri="{FF2B5EF4-FFF2-40B4-BE49-F238E27FC236}">
                  <a16:creationId xmlns:a16="http://schemas.microsoft.com/office/drawing/2014/main" id="{544F74D7-3090-4A6C-977C-04EA49F7689E}"/>
                </a:ext>
              </a:extLst>
            </p:cNvPr>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02" name="TextBox 601">
            <a:extLst>
              <a:ext uri="{FF2B5EF4-FFF2-40B4-BE49-F238E27FC236}">
                <a16:creationId xmlns:a16="http://schemas.microsoft.com/office/drawing/2014/main" id="{9B14DEE8-4687-4B4B-8816-4BA30EC88BB4}"/>
              </a:ext>
            </a:extLst>
          </p:cNvPr>
          <p:cNvSpPr txBox="1"/>
          <p:nvPr/>
        </p:nvSpPr>
        <p:spPr>
          <a:xfrm>
            <a:off x="4846542" y="457510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ute 1</a:t>
            </a:r>
          </a:p>
        </p:txBody>
      </p:sp>
      <p:sp>
        <p:nvSpPr>
          <p:cNvPr id="603" name="TextBox 602">
            <a:extLst>
              <a:ext uri="{FF2B5EF4-FFF2-40B4-BE49-F238E27FC236}">
                <a16:creationId xmlns:a16="http://schemas.microsoft.com/office/drawing/2014/main" id="{D48BCDCB-5FDB-4D73-B4D0-559DA6185B28}"/>
              </a:ext>
            </a:extLst>
          </p:cNvPr>
          <p:cNvSpPr txBox="1"/>
          <p:nvPr/>
        </p:nvSpPr>
        <p:spPr>
          <a:xfrm>
            <a:off x="5698853" y="457510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ute 2</a:t>
            </a:r>
          </a:p>
        </p:txBody>
      </p:sp>
      <p:sp>
        <p:nvSpPr>
          <p:cNvPr id="604" name="TextBox 603">
            <a:extLst>
              <a:ext uri="{FF2B5EF4-FFF2-40B4-BE49-F238E27FC236}">
                <a16:creationId xmlns:a16="http://schemas.microsoft.com/office/drawing/2014/main" id="{918D67D9-78C8-4CB9-8351-CB1EDBF0E390}"/>
              </a:ext>
            </a:extLst>
          </p:cNvPr>
          <p:cNvSpPr txBox="1"/>
          <p:nvPr/>
        </p:nvSpPr>
        <p:spPr>
          <a:xfrm>
            <a:off x="6565982" y="45751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ute 3</a:t>
            </a:r>
          </a:p>
        </p:txBody>
      </p:sp>
      <p:grpSp>
        <p:nvGrpSpPr>
          <p:cNvPr id="605" name="Group 826">
            <a:extLst>
              <a:ext uri="{FF2B5EF4-FFF2-40B4-BE49-F238E27FC236}">
                <a16:creationId xmlns:a16="http://schemas.microsoft.com/office/drawing/2014/main" id="{43ADF729-41D7-4EB4-AF5A-F91E909566BF}"/>
              </a:ext>
            </a:extLst>
          </p:cNvPr>
          <p:cNvGrpSpPr>
            <a:grpSpLocks noChangeAspect="1"/>
          </p:cNvGrpSpPr>
          <p:nvPr/>
        </p:nvGrpSpPr>
        <p:grpSpPr bwMode="auto">
          <a:xfrm>
            <a:off x="7012556" y="4124548"/>
            <a:ext cx="369021" cy="369021"/>
            <a:chOff x="1863" y="3093"/>
            <a:chExt cx="340" cy="340"/>
          </a:xfrm>
          <a:solidFill>
            <a:schemeClr val="accent3"/>
          </a:solidFill>
        </p:grpSpPr>
        <p:sp>
          <p:nvSpPr>
            <p:cNvPr id="606" name="Freeform 827">
              <a:extLst>
                <a:ext uri="{FF2B5EF4-FFF2-40B4-BE49-F238E27FC236}">
                  <a16:creationId xmlns:a16="http://schemas.microsoft.com/office/drawing/2014/main" id="{8B7BF62D-87AB-4183-8ABA-7FDB3EC6A07E}"/>
                </a:ext>
              </a:extLst>
            </p:cNvPr>
            <p:cNvSpPr>
              <a:spLocks noEditPoints="1"/>
            </p:cNvSpPr>
            <p:nvPr/>
          </p:nvSpPr>
          <p:spPr bwMode="auto">
            <a:xfrm>
              <a:off x="1863" y="30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7" name="Freeform 828">
              <a:extLst>
                <a:ext uri="{FF2B5EF4-FFF2-40B4-BE49-F238E27FC236}">
                  <a16:creationId xmlns:a16="http://schemas.microsoft.com/office/drawing/2014/main" id="{2EF5578D-6539-4E5E-8CAA-377F1DC135E8}"/>
                </a:ext>
              </a:extLst>
            </p:cNvPr>
            <p:cNvSpPr>
              <a:spLocks noEditPoints="1"/>
            </p:cNvSpPr>
            <p:nvPr/>
          </p:nvSpPr>
          <p:spPr bwMode="auto">
            <a:xfrm>
              <a:off x="1955" y="3157"/>
              <a:ext cx="156" cy="212"/>
            </a:xfrm>
            <a:custGeom>
              <a:avLst/>
              <a:gdLst>
                <a:gd name="T0" fmla="*/ 213 w 234"/>
                <a:gd name="T1" fmla="*/ 258 h 320"/>
                <a:gd name="T2" fmla="*/ 213 w 234"/>
                <a:gd name="T3" fmla="*/ 192 h 320"/>
                <a:gd name="T4" fmla="*/ 170 w 234"/>
                <a:gd name="T5" fmla="*/ 150 h 320"/>
                <a:gd name="T6" fmla="*/ 128 w 234"/>
                <a:gd name="T7" fmla="*/ 150 h 320"/>
                <a:gd name="T8" fmla="*/ 128 w 234"/>
                <a:gd name="T9" fmla="*/ 64 h 320"/>
                <a:gd name="T10" fmla="*/ 127 w 234"/>
                <a:gd name="T11" fmla="*/ 62 h 320"/>
                <a:gd name="T12" fmla="*/ 149 w 234"/>
                <a:gd name="T13" fmla="*/ 32 h 320"/>
                <a:gd name="T14" fmla="*/ 117 w 234"/>
                <a:gd name="T15" fmla="*/ 0 h 320"/>
                <a:gd name="T16" fmla="*/ 85 w 234"/>
                <a:gd name="T17" fmla="*/ 32 h 320"/>
                <a:gd name="T18" fmla="*/ 107 w 234"/>
                <a:gd name="T19" fmla="*/ 62 h 320"/>
                <a:gd name="T20" fmla="*/ 106 w 234"/>
                <a:gd name="T21" fmla="*/ 64 h 320"/>
                <a:gd name="T22" fmla="*/ 106 w 234"/>
                <a:gd name="T23" fmla="*/ 150 h 320"/>
                <a:gd name="T24" fmla="*/ 64 w 234"/>
                <a:gd name="T25" fmla="*/ 150 h 320"/>
                <a:gd name="T26" fmla="*/ 42 w 234"/>
                <a:gd name="T27" fmla="*/ 128 h 320"/>
                <a:gd name="T28" fmla="*/ 42 w 234"/>
                <a:gd name="T29" fmla="*/ 62 h 320"/>
                <a:gd name="T30" fmla="*/ 64 w 234"/>
                <a:gd name="T31" fmla="*/ 32 h 320"/>
                <a:gd name="T32" fmla="*/ 32 w 234"/>
                <a:gd name="T33" fmla="*/ 0 h 320"/>
                <a:gd name="T34" fmla="*/ 0 w 234"/>
                <a:gd name="T35" fmla="*/ 32 h 320"/>
                <a:gd name="T36" fmla="*/ 21 w 234"/>
                <a:gd name="T37" fmla="*/ 62 h 320"/>
                <a:gd name="T38" fmla="*/ 21 w 234"/>
                <a:gd name="T39" fmla="*/ 128 h 320"/>
                <a:gd name="T40" fmla="*/ 64 w 234"/>
                <a:gd name="T41" fmla="*/ 171 h 320"/>
                <a:gd name="T42" fmla="*/ 106 w 234"/>
                <a:gd name="T43" fmla="*/ 171 h 320"/>
                <a:gd name="T44" fmla="*/ 106 w 234"/>
                <a:gd name="T45" fmla="*/ 258 h 320"/>
                <a:gd name="T46" fmla="*/ 85 w 234"/>
                <a:gd name="T47" fmla="*/ 288 h 320"/>
                <a:gd name="T48" fmla="*/ 117 w 234"/>
                <a:gd name="T49" fmla="*/ 320 h 320"/>
                <a:gd name="T50" fmla="*/ 149 w 234"/>
                <a:gd name="T51" fmla="*/ 288 h 320"/>
                <a:gd name="T52" fmla="*/ 128 w 234"/>
                <a:gd name="T53" fmla="*/ 258 h 320"/>
                <a:gd name="T54" fmla="*/ 128 w 234"/>
                <a:gd name="T55" fmla="*/ 171 h 320"/>
                <a:gd name="T56" fmla="*/ 170 w 234"/>
                <a:gd name="T57" fmla="*/ 171 h 320"/>
                <a:gd name="T58" fmla="*/ 192 w 234"/>
                <a:gd name="T59" fmla="*/ 192 h 320"/>
                <a:gd name="T60" fmla="*/ 192 w 234"/>
                <a:gd name="T61" fmla="*/ 258 h 320"/>
                <a:gd name="T62" fmla="*/ 170 w 234"/>
                <a:gd name="T63" fmla="*/ 288 h 320"/>
                <a:gd name="T64" fmla="*/ 202 w 234"/>
                <a:gd name="T65" fmla="*/ 320 h 320"/>
                <a:gd name="T66" fmla="*/ 234 w 234"/>
                <a:gd name="T67" fmla="*/ 288 h 320"/>
                <a:gd name="T68" fmla="*/ 213 w 234"/>
                <a:gd name="T69" fmla="*/ 258 h 320"/>
                <a:gd name="T70" fmla="*/ 32 w 234"/>
                <a:gd name="T71" fmla="*/ 22 h 320"/>
                <a:gd name="T72" fmla="*/ 42 w 234"/>
                <a:gd name="T73" fmla="*/ 32 h 320"/>
                <a:gd name="T74" fmla="*/ 32 w 234"/>
                <a:gd name="T75" fmla="*/ 43 h 320"/>
                <a:gd name="T76" fmla="*/ 21 w 234"/>
                <a:gd name="T77" fmla="*/ 32 h 320"/>
                <a:gd name="T78" fmla="*/ 32 w 234"/>
                <a:gd name="T79" fmla="*/ 22 h 320"/>
                <a:gd name="T80" fmla="*/ 117 w 234"/>
                <a:gd name="T81" fmla="*/ 22 h 320"/>
                <a:gd name="T82" fmla="*/ 128 w 234"/>
                <a:gd name="T83" fmla="*/ 32 h 320"/>
                <a:gd name="T84" fmla="*/ 117 w 234"/>
                <a:gd name="T85" fmla="*/ 43 h 320"/>
                <a:gd name="T86" fmla="*/ 106 w 234"/>
                <a:gd name="T87" fmla="*/ 32 h 320"/>
                <a:gd name="T88" fmla="*/ 117 w 234"/>
                <a:gd name="T89" fmla="*/ 22 h 320"/>
                <a:gd name="T90" fmla="*/ 117 w 234"/>
                <a:gd name="T91" fmla="*/ 299 h 320"/>
                <a:gd name="T92" fmla="*/ 106 w 234"/>
                <a:gd name="T93" fmla="*/ 288 h 320"/>
                <a:gd name="T94" fmla="*/ 117 w 234"/>
                <a:gd name="T95" fmla="*/ 278 h 320"/>
                <a:gd name="T96" fmla="*/ 128 w 234"/>
                <a:gd name="T97" fmla="*/ 288 h 320"/>
                <a:gd name="T98" fmla="*/ 117 w 234"/>
                <a:gd name="T99" fmla="*/ 299 h 320"/>
                <a:gd name="T100" fmla="*/ 202 w 234"/>
                <a:gd name="T101" fmla="*/ 299 h 320"/>
                <a:gd name="T102" fmla="*/ 192 w 234"/>
                <a:gd name="T103" fmla="*/ 288 h 320"/>
                <a:gd name="T104" fmla="*/ 202 w 234"/>
                <a:gd name="T105" fmla="*/ 278 h 320"/>
                <a:gd name="T106" fmla="*/ 213 w 234"/>
                <a:gd name="T107" fmla="*/ 288 h 320"/>
                <a:gd name="T108" fmla="*/ 202 w 234"/>
                <a:gd name="T109" fmla="*/ 2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 h="320">
                  <a:moveTo>
                    <a:pt x="213" y="258"/>
                  </a:moveTo>
                  <a:cubicBezTo>
                    <a:pt x="213" y="192"/>
                    <a:pt x="213" y="192"/>
                    <a:pt x="213" y="192"/>
                  </a:cubicBezTo>
                  <a:cubicBezTo>
                    <a:pt x="213" y="161"/>
                    <a:pt x="187" y="150"/>
                    <a:pt x="170" y="150"/>
                  </a:cubicBezTo>
                  <a:cubicBezTo>
                    <a:pt x="128" y="150"/>
                    <a:pt x="128" y="150"/>
                    <a:pt x="128" y="150"/>
                  </a:cubicBezTo>
                  <a:cubicBezTo>
                    <a:pt x="128" y="64"/>
                    <a:pt x="128" y="64"/>
                    <a:pt x="128" y="64"/>
                  </a:cubicBezTo>
                  <a:cubicBezTo>
                    <a:pt x="128" y="64"/>
                    <a:pt x="127" y="63"/>
                    <a:pt x="127" y="62"/>
                  </a:cubicBezTo>
                  <a:cubicBezTo>
                    <a:pt x="140" y="58"/>
                    <a:pt x="149" y="46"/>
                    <a:pt x="149" y="32"/>
                  </a:cubicBezTo>
                  <a:cubicBezTo>
                    <a:pt x="149" y="15"/>
                    <a:pt x="135" y="0"/>
                    <a:pt x="117" y="0"/>
                  </a:cubicBezTo>
                  <a:cubicBezTo>
                    <a:pt x="99" y="0"/>
                    <a:pt x="85" y="15"/>
                    <a:pt x="85" y="32"/>
                  </a:cubicBezTo>
                  <a:cubicBezTo>
                    <a:pt x="85" y="46"/>
                    <a:pt x="94" y="58"/>
                    <a:pt x="107" y="62"/>
                  </a:cubicBezTo>
                  <a:cubicBezTo>
                    <a:pt x="107" y="63"/>
                    <a:pt x="106" y="64"/>
                    <a:pt x="106" y="64"/>
                  </a:cubicBezTo>
                  <a:cubicBezTo>
                    <a:pt x="106" y="150"/>
                    <a:pt x="106" y="150"/>
                    <a:pt x="106" y="150"/>
                  </a:cubicBezTo>
                  <a:cubicBezTo>
                    <a:pt x="64" y="150"/>
                    <a:pt x="64" y="150"/>
                    <a:pt x="64" y="150"/>
                  </a:cubicBezTo>
                  <a:cubicBezTo>
                    <a:pt x="60" y="150"/>
                    <a:pt x="42" y="149"/>
                    <a:pt x="42" y="128"/>
                  </a:cubicBezTo>
                  <a:cubicBezTo>
                    <a:pt x="42" y="62"/>
                    <a:pt x="42" y="62"/>
                    <a:pt x="42" y="62"/>
                  </a:cubicBezTo>
                  <a:cubicBezTo>
                    <a:pt x="55" y="58"/>
                    <a:pt x="64" y="46"/>
                    <a:pt x="64" y="32"/>
                  </a:cubicBezTo>
                  <a:cubicBezTo>
                    <a:pt x="64" y="15"/>
                    <a:pt x="49" y="0"/>
                    <a:pt x="32" y="0"/>
                  </a:cubicBezTo>
                  <a:cubicBezTo>
                    <a:pt x="14" y="0"/>
                    <a:pt x="0" y="15"/>
                    <a:pt x="0" y="32"/>
                  </a:cubicBezTo>
                  <a:cubicBezTo>
                    <a:pt x="0" y="46"/>
                    <a:pt x="9" y="58"/>
                    <a:pt x="21" y="62"/>
                  </a:cubicBezTo>
                  <a:cubicBezTo>
                    <a:pt x="21" y="128"/>
                    <a:pt x="21" y="128"/>
                    <a:pt x="21" y="128"/>
                  </a:cubicBezTo>
                  <a:cubicBezTo>
                    <a:pt x="21" y="160"/>
                    <a:pt x="47" y="171"/>
                    <a:pt x="64" y="171"/>
                  </a:cubicBezTo>
                  <a:cubicBezTo>
                    <a:pt x="106" y="171"/>
                    <a:pt x="106" y="171"/>
                    <a:pt x="106" y="171"/>
                  </a:cubicBezTo>
                  <a:cubicBezTo>
                    <a:pt x="106" y="258"/>
                    <a:pt x="106" y="258"/>
                    <a:pt x="106" y="258"/>
                  </a:cubicBezTo>
                  <a:cubicBezTo>
                    <a:pt x="94" y="263"/>
                    <a:pt x="85" y="274"/>
                    <a:pt x="85" y="288"/>
                  </a:cubicBezTo>
                  <a:cubicBezTo>
                    <a:pt x="85" y="306"/>
                    <a:pt x="99" y="320"/>
                    <a:pt x="117" y="320"/>
                  </a:cubicBezTo>
                  <a:cubicBezTo>
                    <a:pt x="135" y="320"/>
                    <a:pt x="149" y="306"/>
                    <a:pt x="149" y="288"/>
                  </a:cubicBezTo>
                  <a:cubicBezTo>
                    <a:pt x="149" y="274"/>
                    <a:pt x="140" y="263"/>
                    <a:pt x="128" y="258"/>
                  </a:cubicBezTo>
                  <a:cubicBezTo>
                    <a:pt x="128" y="171"/>
                    <a:pt x="128" y="171"/>
                    <a:pt x="128" y="171"/>
                  </a:cubicBezTo>
                  <a:cubicBezTo>
                    <a:pt x="170" y="171"/>
                    <a:pt x="170" y="171"/>
                    <a:pt x="170" y="171"/>
                  </a:cubicBezTo>
                  <a:cubicBezTo>
                    <a:pt x="174" y="171"/>
                    <a:pt x="192" y="172"/>
                    <a:pt x="192" y="192"/>
                  </a:cubicBezTo>
                  <a:cubicBezTo>
                    <a:pt x="192" y="258"/>
                    <a:pt x="192" y="258"/>
                    <a:pt x="192" y="258"/>
                  </a:cubicBezTo>
                  <a:cubicBezTo>
                    <a:pt x="179" y="263"/>
                    <a:pt x="170" y="274"/>
                    <a:pt x="170" y="288"/>
                  </a:cubicBezTo>
                  <a:cubicBezTo>
                    <a:pt x="170" y="306"/>
                    <a:pt x="185" y="320"/>
                    <a:pt x="202" y="320"/>
                  </a:cubicBezTo>
                  <a:cubicBezTo>
                    <a:pt x="220" y="320"/>
                    <a:pt x="234" y="306"/>
                    <a:pt x="234" y="288"/>
                  </a:cubicBezTo>
                  <a:cubicBezTo>
                    <a:pt x="234" y="274"/>
                    <a:pt x="225" y="263"/>
                    <a:pt x="213" y="258"/>
                  </a:cubicBezTo>
                  <a:close/>
                  <a:moveTo>
                    <a:pt x="32" y="22"/>
                  </a:moveTo>
                  <a:cubicBezTo>
                    <a:pt x="38" y="22"/>
                    <a:pt x="42" y="26"/>
                    <a:pt x="42" y="32"/>
                  </a:cubicBezTo>
                  <a:cubicBezTo>
                    <a:pt x="42" y="38"/>
                    <a:pt x="38" y="43"/>
                    <a:pt x="32" y="43"/>
                  </a:cubicBezTo>
                  <a:cubicBezTo>
                    <a:pt x="26" y="43"/>
                    <a:pt x="21" y="38"/>
                    <a:pt x="21" y="32"/>
                  </a:cubicBezTo>
                  <a:cubicBezTo>
                    <a:pt x="21" y="26"/>
                    <a:pt x="26" y="22"/>
                    <a:pt x="32" y="22"/>
                  </a:cubicBezTo>
                  <a:close/>
                  <a:moveTo>
                    <a:pt x="117" y="22"/>
                  </a:moveTo>
                  <a:cubicBezTo>
                    <a:pt x="123" y="22"/>
                    <a:pt x="128" y="26"/>
                    <a:pt x="128" y="32"/>
                  </a:cubicBezTo>
                  <a:cubicBezTo>
                    <a:pt x="128" y="38"/>
                    <a:pt x="123" y="43"/>
                    <a:pt x="117" y="43"/>
                  </a:cubicBezTo>
                  <a:cubicBezTo>
                    <a:pt x="111" y="43"/>
                    <a:pt x="106" y="38"/>
                    <a:pt x="106" y="32"/>
                  </a:cubicBezTo>
                  <a:cubicBezTo>
                    <a:pt x="106" y="26"/>
                    <a:pt x="111" y="22"/>
                    <a:pt x="117" y="22"/>
                  </a:cubicBezTo>
                  <a:close/>
                  <a:moveTo>
                    <a:pt x="117" y="299"/>
                  </a:moveTo>
                  <a:cubicBezTo>
                    <a:pt x="111" y="299"/>
                    <a:pt x="106" y="294"/>
                    <a:pt x="106" y="288"/>
                  </a:cubicBezTo>
                  <a:cubicBezTo>
                    <a:pt x="106" y="282"/>
                    <a:pt x="111" y="278"/>
                    <a:pt x="117" y="278"/>
                  </a:cubicBezTo>
                  <a:cubicBezTo>
                    <a:pt x="123" y="278"/>
                    <a:pt x="128" y="282"/>
                    <a:pt x="128" y="288"/>
                  </a:cubicBezTo>
                  <a:cubicBezTo>
                    <a:pt x="128" y="294"/>
                    <a:pt x="123" y="299"/>
                    <a:pt x="117" y="299"/>
                  </a:cubicBezTo>
                  <a:close/>
                  <a:moveTo>
                    <a:pt x="202" y="299"/>
                  </a:moveTo>
                  <a:cubicBezTo>
                    <a:pt x="196" y="299"/>
                    <a:pt x="192" y="294"/>
                    <a:pt x="192" y="288"/>
                  </a:cubicBezTo>
                  <a:cubicBezTo>
                    <a:pt x="192" y="282"/>
                    <a:pt x="196" y="278"/>
                    <a:pt x="202" y="278"/>
                  </a:cubicBezTo>
                  <a:cubicBezTo>
                    <a:pt x="208" y="278"/>
                    <a:pt x="213" y="282"/>
                    <a:pt x="213" y="288"/>
                  </a:cubicBezTo>
                  <a:cubicBezTo>
                    <a:pt x="213" y="294"/>
                    <a:pt x="208" y="299"/>
                    <a:pt x="202" y="2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08" name="Freeform 832">
            <a:extLst>
              <a:ext uri="{FF2B5EF4-FFF2-40B4-BE49-F238E27FC236}">
                <a16:creationId xmlns:a16="http://schemas.microsoft.com/office/drawing/2014/main" id="{3E764F97-44F9-4B8C-9967-D3DB5F0D29D5}"/>
              </a:ext>
            </a:extLst>
          </p:cNvPr>
          <p:cNvSpPr>
            <a:spLocks noChangeAspect="1" noEditPoints="1"/>
          </p:cNvSpPr>
          <p:nvPr/>
        </p:nvSpPr>
        <p:spPr bwMode="auto">
          <a:xfrm>
            <a:off x="6574495" y="4124548"/>
            <a:ext cx="370106" cy="369021"/>
          </a:xfrm>
          <a:custGeom>
            <a:avLst/>
            <a:gdLst>
              <a:gd name="T0" fmla="*/ 245 w 512"/>
              <a:gd name="T1" fmla="*/ 128 h 512"/>
              <a:gd name="T2" fmla="*/ 256 w 512"/>
              <a:gd name="T3" fmla="*/ 118 h 512"/>
              <a:gd name="T4" fmla="*/ 267 w 512"/>
              <a:gd name="T5" fmla="*/ 128 h 512"/>
              <a:gd name="T6" fmla="*/ 256 w 512"/>
              <a:gd name="T7" fmla="*/ 139 h 512"/>
              <a:gd name="T8" fmla="*/ 245 w 512"/>
              <a:gd name="T9" fmla="*/ 128 h 512"/>
              <a:gd name="T10" fmla="*/ 256 w 512"/>
              <a:gd name="T11" fmla="*/ 374 h 512"/>
              <a:gd name="T12" fmla="*/ 245 w 512"/>
              <a:gd name="T13" fmla="*/ 384 h 512"/>
              <a:gd name="T14" fmla="*/ 256 w 512"/>
              <a:gd name="T15" fmla="*/ 395 h 512"/>
              <a:gd name="T16" fmla="*/ 267 w 512"/>
              <a:gd name="T17" fmla="*/ 384 h 512"/>
              <a:gd name="T18" fmla="*/ 256 w 512"/>
              <a:gd name="T19" fmla="*/ 374 h 512"/>
              <a:gd name="T20" fmla="*/ 171 w 512"/>
              <a:gd name="T21" fmla="*/ 118 h 512"/>
              <a:gd name="T22" fmla="*/ 160 w 512"/>
              <a:gd name="T23" fmla="*/ 128 h 512"/>
              <a:gd name="T24" fmla="*/ 171 w 512"/>
              <a:gd name="T25" fmla="*/ 139 h 512"/>
              <a:gd name="T26" fmla="*/ 181 w 512"/>
              <a:gd name="T27" fmla="*/ 128 h 512"/>
              <a:gd name="T28" fmla="*/ 171 w 512"/>
              <a:gd name="T29" fmla="*/ 11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73 w 512"/>
              <a:gd name="T41" fmla="*/ 384 h 512"/>
              <a:gd name="T42" fmla="*/ 352 w 512"/>
              <a:gd name="T43" fmla="*/ 354 h 512"/>
              <a:gd name="T44" fmla="*/ 352 w 512"/>
              <a:gd name="T45" fmla="*/ 288 h 512"/>
              <a:gd name="T46" fmla="*/ 309 w 512"/>
              <a:gd name="T47" fmla="*/ 246 h 512"/>
              <a:gd name="T48" fmla="*/ 267 w 512"/>
              <a:gd name="T49" fmla="*/ 246 h 512"/>
              <a:gd name="T50" fmla="*/ 267 w 512"/>
              <a:gd name="T51" fmla="*/ 160 h 512"/>
              <a:gd name="T52" fmla="*/ 266 w 512"/>
              <a:gd name="T53" fmla="*/ 158 h 512"/>
              <a:gd name="T54" fmla="*/ 288 w 512"/>
              <a:gd name="T55" fmla="*/ 128 h 512"/>
              <a:gd name="T56" fmla="*/ 256 w 512"/>
              <a:gd name="T57" fmla="*/ 96 h 512"/>
              <a:gd name="T58" fmla="*/ 224 w 512"/>
              <a:gd name="T59" fmla="*/ 128 h 512"/>
              <a:gd name="T60" fmla="*/ 246 w 512"/>
              <a:gd name="T61" fmla="*/ 158 h 512"/>
              <a:gd name="T62" fmla="*/ 245 w 512"/>
              <a:gd name="T63" fmla="*/ 160 h 512"/>
              <a:gd name="T64" fmla="*/ 245 w 512"/>
              <a:gd name="T65" fmla="*/ 246 h 512"/>
              <a:gd name="T66" fmla="*/ 203 w 512"/>
              <a:gd name="T67" fmla="*/ 246 h 512"/>
              <a:gd name="T68" fmla="*/ 181 w 512"/>
              <a:gd name="T69" fmla="*/ 224 h 512"/>
              <a:gd name="T70" fmla="*/ 181 w 512"/>
              <a:gd name="T71" fmla="*/ 158 h 512"/>
              <a:gd name="T72" fmla="*/ 203 w 512"/>
              <a:gd name="T73" fmla="*/ 128 h 512"/>
              <a:gd name="T74" fmla="*/ 171 w 512"/>
              <a:gd name="T75" fmla="*/ 96 h 512"/>
              <a:gd name="T76" fmla="*/ 139 w 512"/>
              <a:gd name="T77" fmla="*/ 128 h 512"/>
              <a:gd name="T78" fmla="*/ 160 w 512"/>
              <a:gd name="T79" fmla="*/ 158 h 512"/>
              <a:gd name="T80" fmla="*/ 160 w 512"/>
              <a:gd name="T81" fmla="*/ 224 h 512"/>
              <a:gd name="T82" fmla="*/ 203 w 512"/>
              <a:gd name="T83" fmla="*/ 267 h 512"/>
              <a:gd name="T84" fmla="*/ 245 w 512"/>
              <a:gd name="T85" fmla="*/ 267 h 512"/>
              <a:gd name="T86" fmla="*/ 245 w 512"/>
              <a:gd name="T87" fmla="*/ 354 h 512"/>
              <a:gd name="T88" fmla="*/ 224 w 512"/>
              <a:gd name="T89" fmla="*/ 384 h 512"/>
              <a:gd name="T90" fmla="*/ 256 w 512"/>
              <a:gd name="T91" fmla="*/ 416 h 512"/>
              <a:gd name="T92" fmla="*/ 288 w 512"/>
              <a:gd name="T93" fmla="*/ 384 h 512"/>
              <a:gd name="T94" fmla="*/ 267 w 512"/>
              <a:gd name="T95" fmla="*/ 354 h 512"/>
              <a:gd name="T96" fmla="*/ 267 w 512"/>
              <a:gd name="T97" fmla="*/ 267 h 512"/>
              <a:gd name="T98" fmla="*/ 309 w 512"/>
              <a:gd name="T99" fmla="*/ 267 h 512"/>
              <a:gd name="T100" fmla="*/ 331 w 512"/>
              <a:gd name="T101" fmla="*/ 288 h 512"/>
              <a:gd name="T102" fmla="*/ 331 w 512"/>
              <a:gd name="T103" fmla="*/ 354 h 512"/>
              <a:gd name="T104" fmla="*/ 309 w 512"/>
              <a:gd name="T105" fmla="*/ 384 h 512"/>
              <a:gd name="T106" fmla="*/ 341 w 512"/>
              <a:gd name="T107" fmla="*/ 416 h 512"/>
              <a:gd name="T108" fmla="*/ 373 w 512"/>
              <a:gd name="T109" fmla="*/ 384 h 512"/>
              <a:gd name="T110" fmla="*/ 341 w 512"/>
              <a:gd name="T111" fmla="*/ 374 h 512"/>
              <a:gd name="T112" fmla="*/ 331 w 512"/>
              <a:gd name="T113" fmla="*/ 384 h 512"/>
              <a:gd name="T114" fmla="*/ 341 w 512"/>
              <a:gd name="T115" fmla="*/ 395 h 512"/>
              <a:gd name="T116" fmla="*/ 352 w 512"/>
              <a:gd name="T117" fmla="*/ 384 h 512"/>
              <a:gd name="T118" fmla="*/ 341 w 512"/>
              <a:gd name="T119" fmla="*/ 3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45" y="128"/>
                </a:moveTo>
                <a:cubicBezTo>
                  <a:pt x="245" y="122"/>
                  <a:pt x="250" y="118"/>
                  <a:pt x="256" y="118"/>
                </a:cubicBezTo>
                <a:cubicBezTo>
                  <a:pt x="262" y="118"/>
                  <a:pt x="267" y="122"/>
                  <a:pt x="267" y="128"/>
                </a:cubicBezTo>
                <a:cubicBezTo>
                  <a:pt x="267" y="134"/>
                  <a:pt x="262" y="139"/>
                  <a:pt x="256" y="139"/>
                </a:cubicBezTo>
                <a:cubicBezTo>
                  <a:pt x="250" y="139"/>
                  <a:pt x="245" y="134"/>
                  <a:pt x="245" y="128"/>
                </a:cubicBezTo>
                <a:close/>
                <a:moveTo>
                  <a:pt x="256" y="374"/>
                </a:moveTo>
                <a:cubicBezTo>
                  <a:pt x="250" y="374"/>
                  <a:pt x="245" y="378"/>
                  <a:pt x="245" y="384"/>
                </a:cubicBezTo>
                <a:cubicBezTo>
                  <a:pt x="245" y="390"/>
                  <a:pt x="250" y="395"/>
                  <a:pt x="256" y="395"/>
                </a:cubicBezTo>
                <a:cubicBezTo>
                  <a:pt x="262" y="395"/>
                  <a:pt x="267" y="390"/>
                  <a:pt x="267" y="384"/>
                </a:cubicBezTo>
                <a:cubicBezTo>
                  <a:pt x="267" y="378"/>
                  <a:pt x="262" y="374"/>
                  <a:pt x="256" y="374"/>
                </a:cubicBezTo>
                <a:close/>
                <a:moveTo>
                  <a:pt x="171" y="118"/>
                </a:moveTo>
                <a:cubicBezTo>
                  <a:pt x="165" y="118"/>
                  <a:pt x="160" y="122"/>
                  <a:pt x="160" y="128"/>
                </a:cubicBezTo>
                <a:cubicBezTo>
                  <a:pt x="160" y="134"/>
                  <a:pt x="165" y="139"/>
                  <a:pt x="171" y="139"/>
                </a:cubicBezTo>
                <a:cubicBezTo>
                  <a:pt x="177" y="139"/>
                  <a:pt x="181" y="134"/>
                  <a:pt x="181" y="128"/>
                </a:cubicBezTo>
                <a:cubicBezTo>
                  <a:pt x="181" y="122"/>
                  <a:pt x="177" y="118"/>
                  <a:pt x="171" y="11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384"/>
                </a:moveTo>
                <a:cubicBezTo>
                  <a:pt x="373" y="370"/>
                  <a:pt x="364" y="359"/>
                  <a:pt x="352" y="354"/>
                </a:cubicBezTo>
                <a:cubicBezTo>
                  <a:pt x="352" y="288"/>
                  <a:pt x="352" y="288"/>
                  <a:pt x="352" y="288"/>
                </a:cubicBezTo>
                <a:cubicBezTo>
                  <a:pt x="352" y="257"/>
                  <a:pt x="326" y="246"/>
                  <a:pt x="309" y="246"/>
                </a:cubicBezTo>
                <a:cubicBezTo>
                  <a:pt x="267" y="246"/>
                  <a:pt x="267" y="246"/>
                  <a:pt x="267" y="246"/>
                </a:cubicBezTo>
                <a:cubicBezTo>
                  <a:pt x="267" y="160"/>
                  <a:pt x="267" y="160"/>
                  <a:pt x="267" y="160"/>
                </a:cubicBezTo>
                <a:cubicBezTo>
                  <a:pt x="267" y="160"/>
                  <a:pt x="266" y="159"/>
                  <a:pt x="266" y="158"/>
                </a:cubicBezTo>
                <a:cubicBezTo>
                  <a:pt x="279" y="154"/>
                  <a:pt x="288" y="142"/>
                  <a:pt x="288" y="128"/>
                </a:cubicBezTo>
                <a:cubicBezTo>
                  <a:pt x="288" y="111"/>
                  <a:pt x="274" y="96"/>
                  <a:pt x="256" y="96"/>
                </a:cubicBezTo>
                <a:cubicBezTo>
                  <a:pt x="238" y="96"/>
                  <a:pt x="224" y="111"/>
                  <a:pt x="224" y="128"/>
                </a:cubicBezTo>
                <a:cubicBezTo>
                  <a:pt x="224" y="142"/>
                  <a:pt x="233" y="154"/>
                  <a:pt x="246" y="158"/>
                </a:cubicBezTo>
                <a:cubicBezTo>
                  <a:pt x="246" y="159"/>
                  <a:pt x="245" y="160"/>
                  <a:pt x="245" y="160"/>
                </a:cubicBezTo>
                <a:cubicBezTo>
                  <a:pt x="245" y="246"/>
                  <a:pt x="245" y="246"/>
                  <a:pt x="245" y="246"/>
                </a:cubicBezTo>
                <a:cubicBezTo>
                  <a:pt x="203" y="246"/>
                  <a:pt x="203" y="246"/>
                  <a:pt x="203" y="246"/>
                </a:cubicBezTo>
                <a:cubicBezTo>
                  <a:pt x="199" y="246"/>
                  <a:pt x="181" y="245"/>
                  <a:pt x="181" y="224"/>
                </a:cubicBezTo>
                <a:cubicBezTo>
                  <a:pt x="181" y="158"/>
                  <a:pt x="181" y="158"/>
                  <a:pt x="181" y="158"/>
                </a:cubicBezTo>
                <a:cubicBezTo>
                  <a:pt x="194" y="154"/>
                  <a:pt x="203" y="142"/>
                  <a:pt x="203" y="128"/>
                </a:cubicBezTo>
                <a:cubicBezTo>
                  <a:pt x="203" y="111"/>
                  <a:pt x="188" y="96"/>
                  <a:pt x="171" y="96"/>
                </a:cubicBezTo>
                <a:cubicBezTo>
                  <a:pt x="153" y="96"/>
                  <a:pt x="139" y="111"/>
                  <a:pt x="139" y="128"/>
                </a:cubicBezTo>
                <a:cubicBezTo>
                  <a:pt x="139" y="142"/>
                  <a:pt x="148" y="154"/>
                  <a:pt x="160" y="158"/>
                </a:cubicBezTo>
                <a:cubicBezTo>
                  <a:pt x="160" y="224"/>
                  <a:pt x="160" y="224"/>
                  <a:pt x="160" y="224"/>
                </a:cubicBezTo>
                <a:cubicBezTo>
                  <a:pt x="160" y="256"/>
                  <a:pt x="186" y="267"/>
                  <a:pt x="203" y="267"/>
                </a:cubicBezTo>
                <a:cubicBezTo>
                  <a:pt x="245" y="267"/>
                  <a:pt x="245" y="267"/>
                  <a:pt x="245" y="267"/>
                </a:cubicBezTo>
                <a:cubicBezTo>
                  <a:pt x="245" y="354"/>
                  <a:pt x="245" y="354"/>
                  <a:pt x="245" y="354"/>
                </a:cubicBezTo>
                <a:cubicBezTo>
                  <a:pt x="233" y="359"/>
                  <a:pt x="224" y="370"/>
                  <a:pt x="224" y="384"/>
                </a:cubicBezTo>
                <a:cubicBezTo>
                  <a:pt x="224" y="402"/>
                  <a:pt x="238" y="416"/>
                  <a:pt x="256" y="416"/>
                </a:cubicBezTo>
                <a:cubicBezTo>
                  <a:pt x="274" y="416"/>
                  <a:pt x="288" y="402"/>
                  <a:pt x="288" y="384"/>
                </a:cubicBezTo>
                <a:cubicBezTo>
                  <a:pt x="288" y="370"/>
                  <a:pt x="279" y="359"/>
                  <a:pt x="267" y="354"/>
                </a:cubicBezTo>
                <a:cubicBezTo>
                  <a:pt x="267" y="267"/>
                  <a:pt x="267" y="267"/>
                  <a:pt x="267" y="267"/>
                </a:cubicBezTo>
                <a:cubicBezTo>
                  <a:pt x="309" y="267"/>
                  <a:pt x="309" y="267"/>
                  <a:pt x="309" y="267"/>
                </a:cubicBezTo>
                <a:cubicBezTo>
                  <a:pt x="313" y="267"/>
                  <a:pt x="331" y="268"/>
                  <a:pt x="331" y="288"/>
                </a:cubicBezTo>
                <a:cubicBezTo>
                  <a:pt x="331" y="354"/>
                  <a:pt x="331" y="354"/>
                  <a:pt x="331" y="354"/>
                </a:cubicBezTo>
                <a:cubicBezTo>
                  <a:pt x="318" y="359"/>
                  <a:pt x="309" y="370"/>
                  <a:pt x="309" y="384"/>
                </a:cubicBezTo>
                <a:cubicBezTo>
                  <a:pt x="309" y="402"/>
                  <a:pt x="324" y="416"/>
                  <a:pt x="341" y="416"/>
                </a:cubicBezTo>
                <a:cubicBezTo>
                  <a:pt x="359" y="416"/>
                  <a:pt x="373" y="402"/>
                  <a:pt x="373" y="384"/>
                </a:cubicBezTo>
                <a:close/>
                <a:moveTo>
                  <a:pt x="341" y="374"/>
                </a:moveTo>
                <a:cubicBezTo>
                  <a:pt x="335" y="374"/>
                  <a:pt x="331" y="378"/>
                  <a:pt x="331" y="384"/>
                </a:cubicBezTo>
                <a:cubicBezTo>
                  <a:pt x="331" y="390"/>
                  <a:pt x="335" y="395"/>
                  <a:pt x="341" y="395"/>
                </a:cubicBezTo>
                <a:cubicBezTo>
                  <a:pt x="347" y="395"/>
                  <a:pt x="352" y="390"/>
                  <a:pt x="352" y="384"/>
                </a:cubicBezTo>
                <a:cubicBezTo>
                  <a:pt x="352" y="378"/>
                  <a:pt x="347" y="374"/>
                  <a:pt x="341" y="37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09" name="Group 835">
            <a:extLst>
              <a:ext uri="{FF2B5EF4-FFF2-40B4-BE49-F238E27FC236}">
                <a16:creationId xmlns:a16="http://schemas.microsoft.com/office/drawing/2014/main" id="{A1B3DF64-F934-4C5E-998C-75DBAE223D7E}"/>
              </a:ext>
            </a:extLst>
          </p:cNvPr>
          <p:cNvGrpSpPr>
            <a:grpSpLocks noChangeAspect="1"/>
          </p:cNvGrpSpPr>
          <p:nvPr/>
        </p:nvGrpSpPr>
        <p:grpSpPr bwMode="auto">
          <a:xfrm>
            <a:off x="6136428" y="4124548"/>
            <a:ext cx="370106" cy="369021"/>
            <a:chOff x="1154" y="3098"/>
            <a:chExt cx="341" cy="340"/>
          </a:xfrm>
          <a:solidFill>
            <a:schemeClr val="accent3"/>
          </a:solidFill>
        </p:grpSpPr>
        <p:sp>
          <p:nvSpPr>
            <p:cNvPr id="610" name="Freeform 836">
              <a:extLst>
                <a:ext uri="{FF2B5EF4-FFF2-40B4-BE49-F238E27FC236}">
                  <a16:creationId xmlns:a16="http://schemas.microsoft.com/office/drawing/2014/main" id="{28E6EC10-CD43-4430-BBDE-7BCD0F14B65E}"/>
                </a:ext>
              </a:extLst>
            </p:cNvPr>
            <p:cNvSpPr>
              <a:spLocks noEditPoints="1"/>
            </p:cNvSpPr>
            <p:nvPr/>
          </p:nvSpPr>
          <p:spPr bwMode="auto">
            <a:xfrm>
              <a:off x="1267" y="3162"/>
              <a:ext cx="114" cy="212"/>
            </a:xfrm>
            <a:custGeom>
              <a:avLst/>
              <a:gdLst>
                <a:gd name="T0" fmla="*/ 150 w 171"/>
                <a:gd name="T1" fmla="*/ 258 h 320"/>
                <a:gd name="T2" fmla="*/ 150 w 171"/>
                <a:gd name="T3" fmla="*/ 62 h 320"/>
                <a:gd name="T4" fmla="*/ 171 w 171"/>
                <a:gd name="T5" fmla="*/ 32 h 320"/>
                <a:gd name="T6" fmla="*/ 139 w 171"/>
                <a:gd name="T7" fmla="*/ 0 h 320"/>
                <a:gd name="T8" fmla="*/ 107 w 171"/>
                <a:gd name="T9" fmla="*/ 32 h 320"/>
                <a:gd name="T10" fmla="*/ 128 w 171"/>
                <a:gd name="T11" fmla="*/ 62 h 320"/>
                <a:gd name="T12" fmla="*/ 128 w 171"/>
                <a:gd name="T13" fmla="*/ 149 h 320"/>
                <a:gd name="T14" fmla="*/ 64 w 171"/>
                <a:gd name="T15" fmla="*/ 149 h 320"/>
                <a:gd name="T16" fmla="*/ 43 w 171"/>
                <a:gd name="T17" fmla="*/ 128 h 320"/>
                <a:gd name="T18" fmla="*/ 43 w 171"/>
                <a:gd name="T19" fmla="*/ 62 h 320"/>
                <a:gd name="T20" fmla="*/ 64 w 171"/>
                <a:gd name="T21" fmla="*/ 32 h 320"/>
                <a:gd name="T22" fmla="*/ 32 w 171"/>
                <a:gd name="T23" fmla="*/ 0 h 320"/>
                <a:gd name="T24" fmla="*/ 0 w 171"/>
                <a:gd name="T25" fmla="*/ 32 h 320"/>
                <a:gd name="T26" fmla="*/ 22 w 171"/>
                <a:gd name="T27" fmla="*/ 62 h 320"/>
                <a:gd name="T28" fmla="*/ 22 w 171"/>
                <a:gd name="T29" fmla="*/ 128 h 320"/>
                <a:gd name="T30" fmla="*/ 64 w 171"/>
                <a:gd name="T31" fmla="*/ 170 h 320"/>
                <a:gd name="T32" fmla="*/ 128 w 171"/>
                <a:gd name="T33" fmla="*/ 170 h 320"/>
                <a:gd name="T34" fmla="*/ 128 w 171"/>
                <a:gd name="T35" fmla="*/ 258 h 320"/>
                <a:gd name="T36" fmla="*/ 107 w 171"/>
                <a:gd name="T37" fmla="*/ 288 h 320"/>
                <a:gd name="T38" fmla="*/ 139 w 171"/>
                <a:gd name="T39" fmla="*/ 320 h 320"/>
                <a:gd name="T40" fmla="*/ 171 w 171"/>
                <a:gd name="T41" fmla="*/ 288 h 320"/>
                <a:gd name="T42" fmla="*/ 150 w 171"/>
                <a:gd name="T43" fmla="*/ 258 h 320"/>
                <a:gd name="T44" fmla="*/ 32 w 171"/>
                <a:gd name="T45" fmla="*/ 21 h 320"/>
                <a:gd name="T46" fmla="*/ 43 w 171"/>
                <a:gd name="T47" fmla="*/ 32 h 320"/>
                <a:gd name="T48" fmla="*/ 32 w 171"/>
                <a:gd name="T49" fmla="*/ 42 h 320"/>
                <a:gd name="T50" fmla="*/ 22 w 171"/>
                <a:gd name="T51" fmla="*/ 32 h 320"/>
                <a:gd name="T52" fmla="*/ 32 w 171"/>
                <a:gd name="T53" fmla="*/ 21 h 320"/>
                <a:gd name="T54" fmla="*/ 139 w 171"/>
                <a:gd name="T55" fmla="*/ 21 h 320"/>
                <a:gd name="T56" fmla="*/ 150 w 171"/>
                <a:gd name="T57" fmla="*/ 32 h 320"/>
                <a:gd name="T58" fmla="*/ 139 w 171"/>
                <a:gd name="T59" fmla="*/ 42 h 320"/>
                <a:gd name="T60" fmla="*/ 128 w 171"/>
                <a:gd name="T61" fmla="*/ 32 h 320"/>
                <a:gd name="T62" fmla="*/ 139 w 171"/>
                <a:gd name="T63" fmla="*/ 21 h 320"/>
                <a:gd name="T64" fmla="*/ 139 w 171"/>
                <a:gd name="T65" fmla="*/ 298 h 320"/>
                <a:gd name="T66" fmla="*/ 128 w 171"/>
                <a:gd name="T67" fmla="*/ 288 h 320"/>
                <a:gd name="T68" fmla="*/ 139 w 171"/>
                <a:gd name="T69" fmla="*/ 277 h 320"/>
                <a:gd name="T70" fmla="*/ 150 w 171"/>
                <a:gd name="T71" fmla="*/ 288 h 320"/>
                <a:gd name="T72" fmla="*/ 139 w 171"/>
                <a:gd name="T7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1" h="320">
                  <a:moveTo>
                    <a:pt x="150" y="258"/>
                  </a:moveTo>
                  <a:cubicBezTo>
                    <a:pt x="150" y="62"/>
                    <a:pt x="150" y="62"/>
                    <a:pt x="150" y="62"/>
                  </a:cubicBezTo>
                  <a:cubicBezTo>
                    <a:pt x="162" y="57"/>
                    <a:pt x="171" y="46"/>
                    <a:pt x="171" y="32"/>
                  </a:cubicBezTo>
                  <a:cubicBezTo>
                    <a:pt x="171" y="14"/>
                    <a:pt x="157" y="0"/>
                    <a:pt x="139" y="0"/>
                  </a:cubicBezTo>
                  <a:cubicBezTo>
                    <a:pt x="121" y="0"/>
                    <a:pt x="107" y="14"/>
                    <a:pt x="107" y="32"/>
                  </a:cubicBezTo>
                  <a:cubicBezTo>
                    <a:pt x="107" y="46"/>
                    <a:pt x="116" y="57"/>
                    <a:pt x="128" y="62"/>
                  </a:cubicBezTo>
                  <a:cubicBezTo>
                    <a:pt x="128" y="149"/>
                    <a:pt x="128" y="149"/>
                    <a:pt x="128" y="149"/>
                  </a:cubicBezTo>
                  <a:cubicBezTo>
                    <a:pt x="64" y="149"/>
                    <a:pt x="64" y="149"/>
                    <a:pt x="64" y="149"/>
                  </a:cubicBezTo>
                  <a:cubicBezTo>
                    <a:pt x="61" y="149"/>
                    <a:pt x="43" y="148"/>
                    <a:pt x="43" y="128"/>
                  </a:cubicBezTo>
                  <a:cubicBezTo>
                    <a:pt x="43" y="62"/>
                    <a:pt x="43" y="62"/>
                    <a:pt x="43" y="62"/>
                  </a:cubicBezTo>
                  <a:cubicBezTo>
                    <a:pt x="55" y="57"/>
                    <a:pt x="64" y="46"/>
                    <a:pt x="64" y="32"/>
                  </a:cubicBezTo>
                  <a:cubicBezTo>
                    <a:pt x="64" y="14"/>
                    <a:pt x="50" y="0"/>
                    <a:pt x="32" y="0"/>
                  </a:cubicBezTo>
                  <a:cubicBezTo>
                    <a:pt x="15" y="0"/>
                    <a:pt x="0" y="14"/>
                    <a:pt x="0" y="32"/>
                  </a:cubicBezTo>
                  <a:cubicBezTo>
                    <a:pt x="0" y="46"/>
                    <a:pt x="9" y="57"/>
                    <a:pt x="22" y="62"/>
                  </a:cubicBezTo>
                  <a:cubicBezTo>
                    <a:pt x="22" y="128"/>
                    <a:pt x="22" y="128"/>
                    <a:pt x="22" y="128"/>
                  </a:cubicBezTo>
                  <a:cubicBezTo>
                    <a:pt x="22" y="159"/>
                    <a:pt x="47" y="170"/>
                    <a:pt x="64" y="170"/>
                  </a:cubicBezTo>
                  <a:cubicBezTo>
                    <a:pt x="128" y="170"/>
                    <a:pt x="128" y="170"/>
                    <a:pt x="128" y="170"/>
                  </a:cubicBezTo>
                  <a:cubicBezTo>
                    <a:pt x="128" y="258"/>
                    <a:pt x="128" y="258"/>
                    <a:pt x="128" y="258"/>
                  </a:cubicBezTo>
                  <a:cubicBezTo>
                    <a:pt x="116" y="262"/>
                    <a:pt x="107" y="274"/>
                    <a:pt x="107" y="288"/>
                  </a:cubicBezTo>
                  <a:cubicBezTo>
                    <a:pt x="107" y="305"/>
                    <a:pt x="121" y="320"/>
                    <a:pt x="139" y="320"/>
                  </a:cubicBezTo>
                  <a:cubicBezTo>
                    <a:pt x="157" y="320"/>
                    <a:pt x="171" y="305"/>
                    <a:pt x="171" y="288"/>
                  </a:cubicBezTo>
                  <a:cubicBezTo>
                    <a:pt x="171" y="274"/>
                    <a:pt x="162" y="262"/>
                    <a:pt x="150" y="258"/>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moveTo>
                    <a:pt x="139" y="21"/>
                  </a:moveTo>
                  <a:cubicBezTo>
                    <a:pt x="145" y="21"/>
                    <a:pt x="150" y="26"/>
                    <a:pt x="150" y="32"/>
                  </a:cubicBezTo>
                  <a:cubicBezTo>
                    <a:pt x="150" y="38"/>
                    <a:pt x="145" y="42"/>
                    <a:pt x="139" y="42"/>
                  </a:cubicBezTo>
                  <a:cubicBezTo>
                    <a:pt x="133" y="42"/>
                    <a:pt x="128" y="38"/>
                    <a:pt x="128" y="32"/>
                  </a:cubicBezTo>
                  <a:cubicBezTo>
                    <a:pt x="128" y="26"/>
                    <a:pt x="133" y="21"/>
                    <a:pt x="139" y="21"/>
                  </a:cubicBezTo>
                  <a:close/>
                  <a:moveTo>
                    <a:pt x="139" y="298"/>
                  </a:moveTo>
                  <a:cubicBezTo>
                    <a:pt x="133" y="298"/>
                    <a:pt x="128" y="294"/>
                    <a:pt x="128" y="288"/>
                  </a:cubicBezTo>
                  <a:cubicBezTo>
                    <a:pt x="128" y="282"/>
                    <a:pt x="133" y="277"/>
                    <a:pt x="139" y="277"/>
                  </a:cubicBezTo>
                  <a:cubicBezTo>
                    <a:pt x="145" y="277"/>
                    <a:pt x="150" y="282"/>
                    <a:pt x="150" y="288"/>
                  </a:cubicBezTo>
                  <a:cubicBezTo>
                    <a:pt x="150" y="294"/>
                    <a:pt x="145" y="298"/>
                    <a:pt x="139"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1" name="Freeform 837">
              <a:extLst>
                <a:ext uri="{FF2B5EF4-FFF2-40B4-BE49-F238E27FC236}">
                  <a16:creationId xmlns:a16="http://schemas.microsoft.com/office/drawing/2014/main" id="{CE23C820-8D39-4937-827A-A3DE63A7C58B}"/>
                </a:ext>
              </a:extLst>
            </p:cNvPr>
            <p:cNvSpPr>
              <a:spLocks noEditPoints="1"/>
            </p:cNvSpPr>
            <p:nvPr/>
          </p:nvSpPr>
          <p:spPr bwMode="auto">
            <a:xfrm>
              <a:off x="1154" y="30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2" name="Freeform 841">
            <a:extLst>
              <a:ext uri="{FF2B5EF4-FFF2-40B4-BE49-F238E27FC236}">
                <a16:creationId xmlns:a16="http://schemas.microsoft.com/office/drawing/2014/main" id="{BE49BA69-46D8-4423-A257-3700093DC611}"/>
              </a:ext>
            </a:extLst>
          </p:cNvPr>
          <p:cNvSpPr>
            <a:spLocks noChangeAspect="1" noEditPoints="1"/>
          </p:cNvSpPr>
          <p:nvPr/>
        </p:nvSpPr>
        <p:spPr bwMode="auto">
          <a:xfrm>
            <a:off x="5699446" y="4124548"/>
            <a:ext cx="369021" cy="369021"/>
          </a:xfrm>
          <a:custGeom>
            <a:avLst/>
            <a:gdLst>
              <a:gd name="T0" fmla="*/ 213 w 512"/>
              <a:gd name="T1" fmla="*/ 128 h 512"/>
              <a:gd name="T2" fmla="*/ 202 w 512"/>
              <a:gd name="T3" fmla="*/ 138 h 512"/>
              <a:gd name="T4" fmla="*/ 192 w 512"/>
              <a:gd name="T5" fmla="*/ 128 h 512"/>
              <a:gd name="T6" fmla="*/ 202 w 512"/>
              <a:gd name="T7" fmla="*/ 117 h 512"/>
              <a:gd name="T8" fmla="*/ 213 w 512"/>
              <a:gd name="T9" fmla="*/ 128 h 512"/>
              <a:gd name="T10" fmla="*/ 309 w 512"/>
              <a:gd name="T11" fmla="*/ 373 h 512"/>
              <a:gd name="T12" fmla="*/ 298 w 512"/>
              <a:gd name="T13" fmla="*/ 384 h 512"/>
              <a:gd name="T14" fmla="*/ 309 w 512"/>
              <a:gd name="T15" fmla="*/ 394 h 512"/>
              <a:gd name="T16" fmla="*/ 320 w 512"/>
              <a:gd name="T17" fmla="*/ 384 h 512"/>
              <a:gd name="T18" fmla="*/ 309 w 512"/>
              <a:gd name="T19" fmla="*/ 373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20 w 512"/>
              <a:gd name="T31" fmla="*/ 354 h 512"/>
              <a:gd name="T32" fmla="*/ 320 w 512"/>
              <a:gd name="T33" fmla="*/ 158 h 512"/>
              <a:gd name="T34" fmla="*/ 341 w 512"/>
              <a:gd name="T35" fmla="*/ 128 h 512"/>
              <a:gd name="T36" fmla="*/ 309 w 512"/>
              <a:gd name="T37" fmla="*/ 96 h 512"/>
              <a:gd name="T38" fmla="*/ 277 w 512"/>
              <a:gd name="T39" fmla="*/ 128 h 512"/>
              <a:gd name="T40" fmla="*/ 298 w 512"/>
              <a:gd name="T41" fmla="*/ 158 h 512"/>
              <a:gd name="T42" fmla="*/ 298 w 512"/>
              <a:gd name="T43" fmla="*/ 245 h 512"/>
              <a:gd name="T44" fmla="*/ 234 w 512"/>
              <a:gd name="T45" fmla="*/ 245 h 512"/>
              <a:gd name="T46" fmla="*/ 213 w 512"/>
              <a:gd name="T47" fmla="*/ 224 h 512"/>
              <a:gd name="T48" fmla="*/ 213 w 512"/>
              <a:gd name="T49" fmla="*/ 158 h 512"/>
              <a:gd name="T50" fmla="*/ 234 w 512"/>
              <a:gd name="T51" fmla="*/ 128 h 512"/>
              <a:gd name="T52" fmla="*/ 202 w 512"/>
              <a:gd name="T53" fmla="*/ 96 h 512"/>
              <a:gd name="T54" fmla="*/ 170 w 512"/>
              <a:gd name="T55" fmla="*/ 128 h 512"/>
              <a:gd name="T56" fmla="*/ 192 w 512"/>
              <a:gd name="T57" fmla="*/ 158 h 512"/>
              <a:gd name="T58" fmla="*/ 192 w 512"/>
              <a:gd name="T59" fmla="*/ 224 h 512"/>
              <a:gd name="T60" fmla="*/ 234 w 512"/>
              <a:gd name="T61" fmla="*/ 266 h 512"/>
              <a:gd name="T62" fmla="*/ 298 w 512"/>
              <a:gd name="T63" fmla="*/ 266 h 512"/>
              <a:gd name="T64" fmla="*/ 298 w 512"/>
              <a:gd name="T65" fmla="*/ 354 h 512"/>
              <a:gd name="T66" fmla="*/ 277 w 512"/>
              <a:gd name="T67" fmla="*/ 384 h 512"/>
              <a:gd name="T68" fmla="*/ 309 w 512"/>
              <a:gd name="T69" fmla="*/ 416 h 512"/>
              <a:gd name="T70" fmla="*/ 341 w 512"/>
              <a:gd name="T71" fmla="*/ 384 h 512"/>
              <a:gd name="T72" fmla="*/ 320 w 512"/>
              <a:gd name="T73" fmla="*/ 354 h 512"/>
              <a:gd name="T74" fmla="*/ 309 w 512"/>
              <a:gd name="T75" fmla="*/ 117 h 512"/>
              <a:gd name="T76" fmla="*/ 298 w 512"/>
              <a:gd name="T77" fmla="*/ 128 h 512"/>
              <a:gd name="T78" fmla="*/ 309 w 512"/>
              <a:gd name="T79" fmla="*/ 138 h 512"/>
              <a:gd name="T80" fmla="*/ 320 w 512"/>
              <a:gd name="T81" fmla="*/ 128 h 512"/>
              <a:gd name="T82" fmla="*/ 309 w 512"/>
              <a:gd name="T83"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13" y="128"/>
                </a:moveTo>
                <a:cubicBezTo>
                  <a:pt x="213" y="134"/>
                  <a:pt x="208" y="138"/>
                  <a:pt x="202" y="138"/>
                </a:cubicBezTo>
                <a:cubicBezTo>
                  <a:pt x="196" y="138"/>
                  <a:pt x="192" y="134"/>
                  <a:pt x="192" y="128"/>
                </a:cubicBezTo>
                <a:cubicBezTo>
                  <a:pt x="192" y="122"/>
                  <a:pt x="196" y="117"/>
                  <a:pt x="202" y="117"/>
                </a:cubicBezTo>
                <a:cubicBezTo>
                  <a:pt x="208" y="117"/>
                  <a:pt x="213" y="122"/>
                  <a:pt x="213" y="128"/>
                </a:cubicBezTo>
                <a:close/>
                <a:moveTo>
                  <a:pt x="309" y="373"/>
                </a:moveTo>
                <a:cubicBezTo>
                  <a:pt x="303" y="373"/>
                  <a:pt x="298" y="378"/>
                  <a:pt x="298" y="384"/>
                </a:cubicBezTo>
                <a:cubicBezTo>
                  <a:pt x="298" y="390"/>
                  <a:pt x="303" y="394"/>
                  <a:pt x="309" y="394"/>
                </a:cubicBezTo>
                <a:cubicBezTo>
                  <a:pt x="315" y="394"/>
                  <a:pt x="320" y="390"/>
                  <a:pt x="320" y="384"/>
                </a:cubicBezTo>
                <a:cubicBezTo>
                  <a:pt x="320" y="378"/>
                  <a:pt x="315" y="373"/>
                  <a:pt x="309"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0" y="354"/>
                </a:moveTo>
                <a:cubicBezTo>
                  <a:pt x="320" y="158"/>
                  <a:pt x="320" y="158"/>
                  <a:pt x="320" y="158"/>
                </a:cubicBezTo>
                <a:cubicBezTo>
                  <a:pt x="332" y="153"/>
                  <a:pt x="341" y="142"/>
                  <a:pt x="341" y="128"/>
                </a:cubicBezTo>
                <a:cubicBezTo>
                  <a:pt x="341" y="110"/>
                  <a:pt x="327" y="96"/>
                  <a:pt x="309" y="96"/>
                </a:cubicBezTo>
                <a:cubicBezTo>
                  <a:pt x="291" y="96"/>
                  <a:pt x="277" y="110"/>
                  <a:pt x="277" y="128"/>
                </a:cubicBezTo>
                <a:cubicBezTo>
                  <a:pt x="277" y="142"/>
                  <a:pt x="286" y="153"/>
                  <a:pt x="298" y="158"/>
                </a:cubicBezTo>
                <a:cubicBezTo>
                  <a:pt x="298" y="245"/>
                  <a:pt x="298" y="245"/>
                  <a:pt x="298" y="245"/>
                </a:cubicBezTo>
                <a:cubicBezTo>
                  <a:pt x="234" y="245"/>
                  <a:pt x="234" y="245"/>
                  <a:pt x="234" y="245"/>
                </a:cubicBezTo>
                <a:cubicBezTo>
                  <a:pt x="231" y="245"/>
                  <a:pt x="213" y="244"/>
                  <a:pt x="213" y="224"/>
                </a:cubicBezTo>
                <a:cubicBezTo>
                  <a:pt x="213" y="158"/>
                  <a:pt x="213" y="158"/>
                  <a:pt x="213" y="158"/>
                </a:cubicBezTo>
                <a:cubicBezTo>
                  <a:pt x="225" y="153"/>
                  <a:pt x="234" y="142"/>
                  <a:pt x="234" y="128"/>
                </a:cubicBezTo>
                <a:cubicBezTo>
                  <a:pt x="234" y="110"/>
                  <a:pt x="220" y="96"/>
                  <a:pt x="202" y="96"/>
                </a:cubicBezTo>
                <a:cubicBezTo>
                  <a:pt x="185" y="96"/>
                  <a:pt x="170" y="110"/>
                  <a:pt x="170" y="128"/>
                </a:cubicBezTo>
                <a:cubicBezTo>
                  <a:pt x="170" y="142"/>
                  <a:pt x="179" y="153"/>
                  <a:pt x="192" y="158"/>
                </a:cubicBezTo>
                <a:cubicBezTo>
                  <a:pt x="192" y="224"/>
                  <a:pt x="192" y="224"/>
                  <a:pt x="192" y="224"/>
                </a:cubicBezTo>
                <a:cubicBezTo>
                  <a:pt x="192" y="255"/>
                  <a:pt x="217" y="266"/>
                  <a:pt x="234" y="266"/>
                </a:cubicBezTo>
                <a:cubicBezTo>
                  <a:pt x="298" y="266"/>
                  <a:pt x="298" y="266"/>
                  <a:pt x="298" y="266"/>
                </a:cubicBezTo>
                <a:cubicBezTo>
                  <a:pt x="298" y="354"/>
                  <a:pt x="298" y="354"/>
                  <a:pt x="298" y="354"/>
                </a:cubicBezTo>
                <a:cubicBezTo>
                  <a:pt x="286" y="358"/>
                  <a:pt x="277" y="370"/>
                  <a:pt x="277" y="384"/>
                </a:cubicBezTo>
                <a:cubicBezTo>
                  <a:pt x="277" y="401"/>
                  <a:pt x="291" y="416"/>
                  <a:pt x="309" y="416"/>
                </a:cubicBezTo>
                <a:cubicBezTo>
                  <a:pt x="327" y="416"/>
                  <a:pt x="341" y="401"/>
                  <a:pt x="341" y="384"/>
                </a:cubicBezTo>
                <a:cubicBezTo>
                  <a:pt x="341" y="370"/>
                  <a:pt x="332" y="358"/>
                  <a:pt x="320" y="354"/>
                </a:cubicBezTo>
                <a:close/>
                <a:moveTo>
                  <a:pt x="309" y="117"/>
                </a:moveTo>
                <a:cubicBezTo>
                  <a:pt x="303" y="117"/>
                  <a:pt x="298" y="122"/>
                  <a:pt x="298" y="128"/>
                </a:cubicBezTo>
                <a:cubicBezTo>
                  <a:pt x="298" y="134"/>
                  <a:pt x="303" y="138"/>
                  <a:pt x="309" y="138"/>
                </a:cubicBezTo>
                <a:cubicBezTo>
                  <a:pt x="315" y="138"/>
                  <a:pt x="320" y="134"/>
                  <a:pt x="320" y="128"/>
                </a:cubicBezTo>
                <a:cubicBezTo>
                  <a:pt x="320" y="122"/>
                  <a:pt x="315" y="117"/>
                  <a:pt x="309" y="1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3" name="Group 844">
            <a:extLst>
              <a:ext uri="{FF2B5EF4-FFF2-40B4-BE49-F238E27FC236}">
                <a16:creationId xmlns:a16="http://schemas.microsoft.com/office/drawing/2014/main" id="{3B7F86A1-0F46-4D89-8BF0-C5641FD97EC5}"/>
              </a:ext>
            </a:extLst>
          </p:cNvPr>
          <p:cNvGrpSpPr>
            <a:grpSpLocks noChangeAspect="1"/>
          </p:cNvGrpSpPr>
          <p:nvPr/>
        </p:nvGrpSpPr>
        <p:grpSpPr bwMode="auto">
          <a:xfrm>
            <a:off x="5262464" y="4124548"/>
            <a:ext cx="369021" cy="369021"/>
            <a:chOff x="380" y="3102"/>
            <a:chExt cx="340" cy="340"/>
          </a:xfrm>
          <a:solidFill>
            <a:schemeClr val="accent3"/>
          </a:solidFill>
        </p:grpSpPr>
        <p:sp>
          <p:nvSpPr>
            <p:cNvPr id="614" name="Freeform 845">
              <a:extLst>
                <a:ext uri="{FF2B5EF4-FFF2-40B4-BE49-F238E27FC236}">
                  <a16:creationId xmlns:a16="http://schemas.microsoft.com/office/drawing/2014/main" id="{EC3538DA-B3E4-47BE-A755-19855F178AFB}"/>
                </a:ext>
              </a:extLst>
            </p:cNvPr>
            <p:cNvSpPr>
              <a:spLocks noEditPoints="1"/>
            </p:cNvSpPr>
            <p:nvPr/>
          </p:nvSpPr>
          <p:spPr bwMode="auto">
            <a:xfrm>
              <a:off x="472" y="3166"/>
              <a:ext cx="156" cy="212"/>
            </a:xfrm>
            <a:custGeom>
              <a:avLst/>
              <a:gdLst>
                <a:gd name="T0" fmla="*/ 214 w 235"/>
                <a:gd name="T1" fmla="*/ 258 h 320"/>
                <a:gd name="T2" fmla="*/ 214 w 235"/>
                <a:gd name="T3" fmla="*/ 181 h 320"/>
                <a:gd name="T4" fmla="*/ 182 w 235"/>
                <a:gd name="T5" fmla="*/ 149 h 320"/>
                <a:gd name="T6" fmla="*/ 128 w 235"/>
                <a:gd name="T7" fmla="*/ 149 h 320"/>
                <a:gd name="T8" fmla="*/ 128 w 235"/>
                <a:gd name="T9" fmla="*/ 62 h 320"/>
                <a:gd name="T10" fmla="*/ 150 w 235"/>
                <a:gd name="T11" fmla="*/ 32 h 320"/>
                <a:gd name="T12" fmla="*/ 118 w 235"/>
                <a:gd name="T13" fmla="*/ 0 h 320"/>
                <a:gd name="T14" fmla="*/ 86 w 235"/>
                <a:gd name="T15" fmla="*/ 32 h 320"/>
                <a:gd name="T16" fmla="*/ 107 w 235"/>
                <a:gd name="T17" fmla="*/ 62 h 320"/>
                <a:gd name="T18" fmla="*/ 107 w 235"/>
                <a:gd name="T19" fmla="*/ 149 h 320"/>
                <a:gd name="T20" fmla="*/ 54 w 235"/>
                <a:gd name="T21" fmla="*/ 149 h 320"/>
                <a:gd name="T22" fmla="*/ 22 w 235"/>
                <a:gd name="T23" fmla="*/ 181 h 320"/>
                <a:gd name="T24" fmla="*/ 22 w 235"/>
                <a:gd name="T25" fmla="*/ 258 h 320"/>
                <a:gd name="T26" fmla="*/ 0 w 235"/>
                <a:gd name="T27" fmla="*/ 288 h 320"/>
                <a:gd name="T28" fmla="*/ 32 w 235"/>
                <a:gd name="T29" fmla="*/ 320 h 320"/>
                <a:gd name="T30" fmla="*/ 64 w 235"/>
                <a:gd name="T31" fmla="*/ 288 h 320"/>
                <a:gd name="T32" fmla="*/ 43 w 235"/>
                <a:gd name="T33" fmla="*/ 258 h 320"/>
                <a:gd name="T34" fmla="*/ 43 w 235"/>
                <a:gd name="T35" fmla="*/ 181 h 320"/>
                <a:gd name="T36" fmla="*/ 54 w 235"/>
                <a:gd name="T37" fmla="*/ 170 h 320"/>
                <a:gd name="T38" fmla="*/ 107 w 235"/>
                <a:gd name="T39" fmla="*/ 170 h 320"/>
                <a:gd name="T40" fmla="*/ 107 w 235"/>
                <a:gd name="T41" fmla="*/ 258 h 320"/>
                <a:gd name="T42" fmla="*/ 86 w 235"/>
                <a:gd name="T43" fmla="*/ 288 h 320"/>
                <a:gd name="T44" fmla="*/ 118 w 235"/>
                <a:gd name="T45" fmla="*/ 320 h 320"/>
                <a:gd name="T46" fmla="*/ 150 w 235"/>
                <a:gd name="T47" fmla="*/ 288 h 320"/>
                <a:gd name="T48" fmla="*/ 128 w 235"/>
                <a:gd name="T49" fmla="*/ 258 h 320"/>
                <a:gd name="T50" fmla="*/ 128 w 235"/>
                <a:gd name="T51" fmla="*/ 170 h 320"/>
                <a:gd name="T52" fmla="*/ 182 w 235"/>
                <a:gd name="T53" fmla="*/ 170 h 320"/>
                <a:gd name="T54" fmla="*/ 192 w 235"/>
                <a:gd name="T55" fmla="*/ 181 h 320"/>
                <a:gd name="T56" fmla="*/ 192 w 235"/>
                <a:gd name="T57" fmla="*/ 258 h 320"/>
                <a:gd name="T58" fmla="*/ 171 w 235"/>
                <a:gd name="T59" fmla="*/ 288 h 320"/>
                <a:gd name="T60" fmla="*/ 203 w 235"/>
                <a:gd name="T61" fmla="*/ 320 h 320"/>
                <a:gd name="T62" fmla="*/ 235 w 235"/>
                <a:gd name="T63" fmla="*/ 288 h 320"/>
                <a:gd name="T64" fmla="*/ 214 w 235"/>
                <a:gd name="T65" fmla="*/ 258 h 320"/>
                <a:gd name="T66" fmla="*/ 118 w 235"/>
                <a:gd name="T67" fmla="*/ 21 h 320"/>
                <a:gd name="T68" fmla="*/ 128 w 235"/>
                <a:gd name="T69" fmla="*/ 32 h 320"/>
                <a:gd name="T70" fmla="*/ 118 w 235"/>
                <a:gd name="T71" fmla="*/ 42 h 320"/>
                <a:gd name="T72" fmla="*/ 107 w 235"/>
                <a:gd name="T73" fmla="*/ 32 h 320"/>
                <a:gd name="T74" fmla="*/ 118 w 235"/>
                <a:gd name="T75" fmla="*/ 21 h 320"/>
                <a:gd name="T76" fmla="*/ 32 w 235"/>
                <a:gd name="T77" fmla="*/ 298 h 320"/>
                <a:gd name="T78" fmla="*/ 22 w 235"/>
                <a:gd name="T79" fmla="*/ 288 h 320"/>
                <a:gd name="T80" fmla="*/ 32 w 235"/>
                <a:gd name="T81" fmla="*/ 277 h 320"/>
                <a:gd name="T82" fmla="*/ 43 w 235"/>
                <a:gd name="T83" fmla="*/ 288 h 320"/>
                <a:gd name="T84" fmla="*/ 32 w 235"/>
                <a:gd name="T85" fmla="*/ 298 h 320"/>
                <a:gd name="T86" fmla="*/ 118 w 235"/>
                <a:gd name="T87" fmla="*/ 298 h 320"/>
                <a:gd name="T88" fmla="*/ 107 w 235"/>
                <a:gd name="T89" fmla="*/ 288 h 320"/>
                <a:gd name="T90" fmla="*/ 118 w 235"/>
                <a:gd name="T91" fmla="*/ 277 h 320"/>
                <a:gd name="T92" fmla="*/ 128 w 235"/>
                <a:gd name="T93" fmla="*/ 288 h 320"/>
                <a:gd name="T94" fmla="*/ 118 w 235"/>
                <a:gd name="T95" fmla="*/ 298 h 320"/>
                <a:gd name="T96" fmla="*/ 203 w 235"/>
                <a:gd name="T97" fmla="*/ 298 h 320"/>
                <a:gd name="T98" fmla="*/ 192 w 235"/>
                <a:gd name="T99" fmla="*/ 288 h 320"/>
                <a:gd name="T100" fmla="*/ 203 w 235"/>
                <a:gd name="T101" fmla="*/ 277 h 320"/>
                <a:gd name="T102" fmla="*/ 214 w 235"/>
                <a:gd name="T103" fmla="*/ 288 h 320"/>
                <a:gd name="T104" fmla="*/ 203 w 235"/>
                <a:gd name="T10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214" y="258"/>
                  </a:moveTo>
                  <a:cubicBezTo>
                    <a:pt x="214" y="181"/>
                    <a:pt x="214" y="181"/>
                    <a:pt x="214" y="181"/>
                  </a:cubicBezTo>
                  <a:cubicBezTo>
                    <a:pt x="214" y="158"/>
                    <a:pt x="195" y="149"/>
                    <a:pt x="182" y="149"/>
                  </a:cubicBezTo>
                  <a:cubicBezTo>
                    <a:pt x="128" y="149"/>
                    <a:pt x="128" y="149"/>
                    <a:pt x="128" y="149"/>
                  </a:cubicBezTo>
                  <a:cubicBezTo>
                    <a:pt x="128" y="62"/>
                    <a:pt x="128" y="62"/>
                    <a:pt x="128" y="62"/>
                  </a:cubicBezTo>
                  <a:cubicBezTo>
                    <a:pt x="141" y="57"/>
                    <a:pt x="150" y="46"/>
                    <a:pt x="150" y="32"/>
                  </a:cubicBezTo>
                  <a:cubicBezTo>
                    <a:pt x="150" y="14"/>
                    <a:pt x="135" y="0"/>
                    <a:pt x="118" y="0"/>
                  </a:cubicBezTo>
                  <a:cubicBezTo>
                    <a:pt x="100" y="0"/>
                    <a:pt x="86" y="14"/>
                    <a:pt x="86" y="32"/>
                  </a:cubicBezTo>
                  <a:cubicBezTo>
                    <a:pt x="86" y="46"/>
                    <a:pt x="95" y="57"/>
                    <a:pt x="107" y="62"/>
                  </a:cubicBezTo>
                  <a:cubicBezTo>
                    <a:pt x="107" y="149"/>
                    <a:pt x="107" y="149"/>
                    <a:pt x="107" y="149"/>
                  </a:cubicBezTo>
                  <a:cubicBezTo>
                    <a:pt x="54" y="149"/>
                    <a:pt x="54" y="149"/>
                    <a:pt x="54" y="149"/>
                  </a:cubicBezTo>
                  <a:cubicBezTo>
                    <a:pt x="31" y="149"/>
                    <a:pt x="22" y="168"/>
                    <a:pt x="22" y="181"/>
                  </a:cubicBezTo>
                  <a:cubicBezTo>
                    <a:pt x="22" y="258"/>
                    <a:pt x="22" y="258"/>
                    <a:pt x="22" y="258"/>
                  </a:cubicBezTo>
                  <a:cubicBezTo>
                    <a:pt x="9" y="262"/>
                    <a:pt x="0" y="274"/>
                    <a:pt x="0" y="288"/>
                  </a:cubicBezTo>
                  <a:cubicBezTo>
                    <a:pt x="0" y="305"/>
                    <a:pt x="15" y="320"/>
                    <a:pt x="32" y="320"/>
                  </a:cubicBezTo>
                  <a:cubicBezTo>
                    <a:pt x="50" y="320"/>
                    <a:pt x="64" y="305"/>
                    <a:pt x="64" y="288"/>
                  </a:cubicBezTo>
                  <a:cubicBezTo>
                    <a:pt x="64" y="274"/>
                    <a:pt x="55" y="262"/>
                    <a:pt x="43" y="258"/>
                  </a:cubicBezTo>
                  <a:cubicBezTo>
                    <a:pt x="43" y="181"/>
                    <a:pt x="43" y="181"/>
                    <a:pt x="43" y="181"/>
                  </a:cubicBezTo>
                  <a:cubicBezTo>
                    <a:pt x="43" y="179"/>
                    <a:pt x="44" y="170"/>
                    <a:pt x="54" y="170"/>
                  </a:cubicBezTo>
                  <a:cubicBezTo>
                    <a:pt x="107" y="170"/>
                    <a:pt x="107" y="170"/>
                    <a:pt x="107" y="170"/>
                  </a:cubicBezTo>
                  <a:cubicBezTo>
                    <a:pt x="107" y="258"/>
                    <a:pt x="107" y="258"/>
                    <a:pt x="107" y="258"/>
                  </a:cubicBezTo>
                  <a:cubicBezTo>
                    <a:pt x="95" y="262"/>
                    <a:pt x="86" y="274"/>
                    <a:pt x="86" y="288"/>
                  </a:cubicBezTo>
                  <a:cubicBezTo>
                    <a:pt x="86" y="305"/>
                    <a:pt x="100" y="320"/>
                    <a:pt x="118" y="320"/>
                  </a:cubicBezTo>
                  <a:cubicBezTo>
                    <a:pt x="135" y="320"/>
                    <a:pt x="150" y="305"/>
                    <a:pt x="150" y="288"/>
                  </a:cubicBezTo>
                  <a:cubicBezTo>
                    <a:pt x="150" y="274"/>
                    <a:pt x="141" y="262"/>
                    <a:pt x="128" y="258"/>
                  </a:cubicBezTo>
                  <a:cubicBezTo>
                    <a:pt x="128" y="170"/>
                    <a:pt x="128" y="170"/>
                    <a:pt x="128" y="170"/>
                  </a:cubicBezTo>
                  <a:cubicBezTo>
                    <a:pt x="182" y="170"/>
                    <a:pt x="182" y="170"/>
                    <a:pt x="182" y="170"/>
                  </a:cubicBezTo>
                  <a:cubicBezTo>
                    <a:pt x="186" y="170"/>
                    <a:pt x="192" y="172"/>
                    <a:pt x="192" y="181"/>
                  </a:cubicBezTo>
                  <a:cubicBezTo>
                    <a:pt x="192" y="258"/>
                    <a:pt x="192" y="258"/>
                    <a:pt x="192" y="258"/>
                  </a:cubicBezTo>
                  <a:cubicBezTo>
                    <a:pt x="180" y="262"/>
                    <a:pt x="171" y="274"/>
                    <a:pt x="171" y="288"/>
                  </a:cubicBezTo>
                  <a:cubicBezTo>
                    <a:pt x="171" y="305"/>
                    <a:pt x="185" y="320"/>
                    <a:pt x="203" y="320"/>
                  </a:cubicBezTo>
                  <a:cubicBezTo>
                    <a:pt x="221" y="320"/>
                    <a:pt x="235" y="305"/>
                    <a:pt x="235" y="288"/>
                  </a:cubicBezTo>
                  <a:cubicBezTo>
                    <a:pt x="235" y="274"/>
                    <a:pt x="226" y="262"/>
                    <a:pt x="214" y="258"/>
                  </a:cubicBezTo>
                  <a:close/>
                  <a:moveTo>
                    <a:pt x="118" y="21"/>
                  </a:moveTo>
                  <a:cubicBezTo>
                    <a:pt x="124" y="21"/>
                    <a:pt x="128" y="26"/>
                    <a:pt x="128" y="32"/>
                  </a:cubicBezTo>
                  <a:cubicBezTo>
                    <a:pt x="128" y="38"/>
                    <a:pt x="124" y="42"/>
                    <a:pt x="118" y="42"/>
                  </a:cubicBezTo>
                  <a:cubicBezTo>
                    <a:pt x="112" y="42"/>
                    <a:pt x="107" y="38"/>
                    <a:pt x="107" y="32"/>
                  </a:cubicBezTo>
                  <a:cubicBezTo>
                    <a:pt x="107" y="26"/>
                    <a:pt x="112" y="21"/>
                    <a:pt x="118" y="21"/>
                  </a:cubicBezTo>
                  <a:close/>
                  <a:moveTo>
                    <a:pt x="32" y="298"/>
                  </a:moveTo>
                  <a:cubicBezTo>
                    <a:pt x="26" y="298"/>
                    <a:pt x="22" y="294"/>
                    <a:pt x="22" y="288"/>
                  </a:cubicBezTo>
                  <a:cubicBezTo>
                    <a:pt x="22" y="282"/>
                    <a:pt x="26" y="277"/>
                    <a:pt x="32" y="277"/>
                  </a:cubicBezTo>
                  <a:cubicBezTo>
                    <a:pt x="38" y="277"/>
                    <a:pt x="43" y="282"/>
                    <a:pt x="43" y="288"/>
                  </a:cubicBezTo>
                  <a:cubicBezTo>
                    <a:pt x="43" y="294"/>
                    <a:pt x="38" y="298"/>
                    <a:pt x="32" y="298"/>
                  </a:cubicBezTo>
                  <a:close/>
                  <a:moveTo>
                    <a:pt x="118" y="298"/>
                  </a:moveTo>
                  <a:cubicBezTo>
                    <a:pt x="112" y="298"/>
                    <a:pt x="107" y="294"/>
                    <a:pt x="107" y="288"/>
                  </a:cubicBezTo>
                  <a:cubicBezTo>
                    <a:pt x="107" y="282"/>
                    <a:pt x="112" y="277"/>
                    <a:pt x="118" y="277"/>
                  </a:cubicBezTo>
                  <a:cubicBezTo>
                    <a:pt x="124" y="277"/>
                    <a:pt x="128" y="282"/>
                    <a:pt x="128" y="288"/>
                  </a:cubicBezTo>
                  <a:cubicBezTo>
                    <a:pt x="128" y="294"/>
                    <a:pt x="124" y="298"/>
                    <a:pt x="118" y="298"/>
                  </a:cubicBezTo>
                  <a:close/>
                  <a:moveTo>
                    <a:pt x="203" y="298"/>
                  </a:moveTo>
                  <a:cubicBezTo>
                    <a:pt x="197" y="298"/>
                    <a:pt x="192" y="294"/>
                    <a:pt x="192" y="288"/>
                  </a:cubicBezTo>
                  <a:cubicBezTo>
                    <a:pt x="192" y="282"/>
                    <a:pt x="197" y="277"/>
                    <a:pt x="203" y="277"/>
                  </a:cubicBezTo>
                  <a:cubicBezTo>
                    <a:pt x="209" y="277"/>
                    <a:pt x="214" y="282"/>
                    <a:pt x="214" y="288"/>
                  </a:cubicBezTo>
                  <a:cubicBezTo>
                    <a:pt x="214" y="294"/>
                    <a:pt x="209" y="298"/>
                    <a:pt x="203"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5" name="Freeform 846">
              <a:extLst>
                <a:ext uri="{FF2B5EF4-FFF2-40B4-BE49-F238E27FC236}">
                  <a16:creationId xmlns:a16="http://schemas.microsoft.com/office/drawing/2014/main" id="{CBCB9069-F008-4E35-BDCC-2D9139DDDFDB}"/>
                </a:ext>
              </a:extLst>
            </p:cNvPr>
            <p:cNvSpPr>
              <a:spLocks noEditPoints="1"/>
            </p:cNvSpPr>
            <p:nvPr/>
          </p:nvSpPr>
          <p:spPr bwMode="auto">
            <a:xfrm>
              <a:off x="380" y="31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6" name="Freeform 850">
            <a:extLst>
              <a:ext uri="{FF2B5EF4-FFF2-40B4-BE49-F238E27FC236}">
                <a16:creationId xmlns:a16="http://schemas.microsoft.com/office/drawing/2014/main" id="{184B8579-751D-438B-A690-DAD8973C9A0A}"/>
              </a:ext>
            </a:extLst>
          </p:cNvPr>
          <p:cNvSpPr>
            <a:spLocks noChangeAspect="1" noEditPoints="1"/>
          </p:cNvSpPr>
          <p:nvPr/>
        </p:nvSpPr>
        <p:spPr bwMode="auto">
          <a:xfrm>
            <a:off x="4825482" y="4124548"/>
            <a:ext cx="369021" cy="37010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654612190"/>
      </p:ext>
    </p:extLst>
  </p:cSld>
  <p:clrMapOvr>
    <a:masterClrMapping/>
  </p:clrMapOvr>
  <p:transition>
    <p:fade/>
  </p:transition>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General use</a:t>
            </a:r>
            <a:endParaRPr lang="en-GB" dirty="0"/>
          </a:p>
        </p:txBody>
      </p:sp>
      <p:sp>
        <p:nvSpPr>
          <p:cNvPr id="4" name="Title 3"/>
          <p:cNvSpPr>
            <a:spLocks noGrp="1"/>
          </p:cNvSpPr>
          <p:nvPr>
            <p:ph type="title"/>
          </p:nvPr>
        </p:nvSpPr>
        <p:spPr/>
        <p:txBody>
          <a:bodyPr/>
          <a:lstStyle/>
          <a:p>
            <a:r>
              <a:rPr lang="en-GB" dirty="0"/>
              <a:t>Iconography</a:t>
            </a:r>
          </a:p>
        </p:txBody>
      </p:sp>
      <p:sp>
        <p:nvSpPr>
          <p:cNvPr id="124" name="TextBox 123">
            <a:extLst>
              <a:ext uri="{FF2B5EF4-FFF2-40B4-BE49-F238E27FC236}">
                <a16:creationId xmlns:a16="http://schemas.microsoft.com/office/drawing/2014/main" id="{96E024EB-6C0F-4987-9E5D-9C4FE0AB13BE}"/>
              </a:ext>
            </a:extLst>
          </p:cNvPr>
          <p:cNvSpPr txBox="1"/>
          <p:nvPr/>
        </p:nvSpPr>
        <p:spPr>
          <a:xfrm>
            <a:off x="478200" y="213561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ptions</a:t>
            </a:r>
          </a:p>
        </p:txBody>
      </p:sp>
      <p:sp>
        <p:nvSpPr>
          <p:cNvPr id="125" name="TextBox 124">
            <a:extLst>
              <a:ext uri="{FF2B5EF4-FFF2-40B4-BE49-F238E27FC236}">
                <a16:creationId xmlns:a16="http://schemas.microsoft.com/office/drawing/2014/main" id="{B2E155E4-F800-4D99-ABEB-62B70539040F}"/>
              </a:ext>
            </a:extLst>
          </p:cNvPr>
          <p:cNvSpPr txBox="1"/>
          <p:nvPr/>
        </p:nvSpPr>
        <p:spPr>
          <a:xfrm>
            <a:off x="1331260"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n</a:t>
            </a:r>
          </a:p>
        </p:txBody>
      </p:sp>
      <p:sp>
        <p:nvSpPr>
          <p:cNvPr id="126" name="TextBox 125">
            <a:extLst>
              <a:ext uri="{FF2B5EF4-FFF2-40B4-BE49-F238E27FC236}">
                <a16:creationId xmlns:a16="http://schemas.microsoft.com/office/drawing/2014/main" id="{8656878E-F4F2-4047-8A38-C06C08597EBB}"/>
              </a:ext>
            </a:extLst>
          </p:cNvPr>
          <p:cNvSpPr txBox="1"/>
          <p:nvPr/>
        </p:nvSpPr>
        <p:spPr>
          <a:xfrm>
            <a:off x="2195962"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anet</a:t>
            </a:r>
          </a:p>
        </p:txBody>
      </p:sp>
      <p:sp>
        <p:nvSpPr>
          <p:cNvPr id="127" name="TextBox 126">
            <a:extLst>
              <a:ext uri="{FF2B5EF4-FFF2-40B4-BE49-F238E27FC236}">
                <a16:creationId xmlns:a16="http://schemas.microsoft.com/office/drawing/2014/main" id="{E9195B48-C92B-488C-B376-5D07EFFA09B2}"/>
              </a:ext>
            </a:extLst>
          </p:cNvPr>
          <p:cNvSpPr txBox="1"/>
          <p:nvPr/>
        </p:nvSpPr>
        <p:spPr>
          <a:xfrm>
            <a:off x="3925366"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Quote 2</a:t>
            </a:r>
          </a:p>
        </p:txBody>
      </p:sp>
      <p:sp>
        <p:nvSpPr>
          <p:cNvPr id="128" name="TextBox 127">
            <a:extLst>
              <a:ext uri="{FF2B5EF4-FFF2-40B4-BE49-F238E27FC236}">
                <a16:creationId xmlns:a16="http://schemas.microsoft.com/office/drawing/2014/main" id="{A2650A60-0D93-4FF3-86A5-1FAE451F563A}"/>
              </a:ext>
            </a:extLst>
          </p:cNvPr>
          <p:cNvSpPr txBox="1"/>
          <p:nvPr/>
        </p:nvSpPr>
        <p:spPr>
          <a:xfrm>
            <a:off x="3060664"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Question</a:t>
            </a:r>
          </a:p>
        </p:txBody>
      </p:sp>
      <p:sp>
        <p:nvSpPr>
          <p:cNvPr id="129" name="TextBox 128">
            <a:extLst>
              <a:ext uri="{FF2B5EF4-FFF2-40B4-BE49-F238E27FC236}">
                <a16:creationId xmlns:a16="http://schemas.microsoft.com/office/drawing/2014/main" id="{E137DDC7-5A83-4621-BD32-DFAA5587F0DC}"/>
              </a:ext>
            </a:extLst>
          </p:cNvPr>
          <p:cNvSpPr txBox="1"/>
          <p:nvPr/>
        </p:nvSpPr>
        <p:spPr>
          <a:xfrm>
            <a:off x="4790068" y="2135616"/>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adar</a:t>
            </a:r>
          </a:p>
        </p:txBody>
      </p:sp>
      <p:sp>
        <p:nvSpPr>
          <p:cNvPr id="130" name="TextBox 129">
            <a:extLst>
              <a:ext uri="{FF2B5EF4-FFF2-40B4-BE49-F238E27FC236}">
                <a16:creationId xmlns:a16="http://schemas.microsoft.com/office/drawing/2014/main" id="{9C51789A-7A3B-45E1-8A28-6C72F4813767}"/>
              </a:ext>
            </a:extLst>
          </p:cNvPr>
          <p:cNvSpPr txBox="1"/>
          <p:nvPr/>
        </p:nvSpPr>
        <p:spPr>
          <a:xfrm>
            <a:off x="5657945"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ainbow</a:t>
            </a:r>
          </a:p>
        </p:txBody>
      </p:sp>
      <p:sp>
        <p:nvSpPr>
          <p:cNvPr id="131" name="TextBox 130">
            <a:extLst>
              <a:ext uri="{FF2B5EF4-FFF2-40B4-BE49-F238E27FC236}">
                <a16:creationId xmlns:a16="http://schemas.microsoft.com/office/drawing/2014/main" id="{13022CAB-8C45-4C56-BF97-FA0289A1644E}"/>
              </a:ext>
            </a:extLst>
          </p:cNvPr>
          <p:cNvSpPr txBox="1"/>
          <p:nvPr/>
        </p:nvSpPr>
        <p:spPr>
          <a:xfrm>
            <a:off x="6522647"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cket</a:t>
            </a:r>
          </a:p>
        </p:txBody>
      </p:sp>
      <p:sp>
        <p:nvSpPr>
          <p:cNvPr id="132" name="TextBox 131">
            <a:extLst>
              <a:ext uri="{FF2B5EF4-FFF2-40B4-BE49-F238E27FC236}">
                <a16:creationId xmlns:a16="http://schemas.microsoft.com/office/drawing/2014/main" id="{C2E7CA86-5790-47E3-AF35-222E7553A72C}"/>
              </a:ext>
            </a:extLst>
          </p:cNvPr>
          <p:cNvSpPr txBox="1"/>
          <p:nvPr/>
        </p:nvSpPr>
        <p:spPr>
          <a:xfrm>
            <a:off x="9116753"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oe print</a:t>
            </a:r>
          </a:p>
        </p:txBody>
      </p:sp>
      <p:sp>
        <p:nvSpPr>
          <p:cNvPr id="133" name="TextBox 132">
            <a:extLst>
              <a:ext uri="{FF2B5EF4-FFF2-40B4-BE49-F238E27FC236}">
                <a16:creationId xmlns:a16="http://schemas.microsoft.com/office/drawing/2014/main" id="{87AB6ADF-459D-4A26-B01E-C13D7B67713D}"/>
              </a:ext>
            </a:extLst>
          </p:cNvPr>
          <p:cNvSpPr txBox="1"/>
          <p:nvPr/>
        </p:nvSpPr>
        <p:spPr>
          <a:xfrm>
            <a:off x="8252051"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ip wheel</a:t>
            </a:r>
          </a:p>
        </p:txBody>
      </p:sp>
      <p:sp>
        <p:nvSpPr>
          <p:cNvPr id="134" name="TextBox 133">
            <a:extLst>
              <a:ext uri="{FF2B5EF4-FFF2-40B4-BE49-F238E27FC236}">
                <a16:creationId xmlns:a16="http://schemas.microsoft.com/office/drawing/2014/main" id="{9EC88D80-A9D5-43EA-BB26-683826CA96F0}"/>
              </a:ext>
            </a:extLst>
          </p:cNvPr>
          <p:cNvSpPr txBox="1"/>
          <p:nvPr/>
        </p:nvSpPr>
        <p:spPr>
          <a:xfrm>
            <a:off x="460122" y="3053946"/>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alpha ascending</a:t>
            </a:r>
          </a:p>
        </p:txBody>
      </p:sp>
      <p:sp>
        <p:nvSpPr>
          <p:cNvPr id="135" name="TextBox 134">
            <a:extLst>
              <a:ext uri="{FF2B5EF4-FFF2-40B4-BE49-F238E27FC236}">
                <a16:creationId xmlns:a16="http://schemas.microsoft.com/office/drawing/2014/main" id="{8A83B29C-13C9-436E-B8B3-8DF03FB4A631}"/>
              </a:ext>
            </a:extLst>
          </p:cNvPr>
          <p:cNvSpPr txBox="1"/>
          <p:nvPr/>
        </p:nvSpPr>
        <p:spPr>
          <a:xfrm>
            <a:off x="1320331" y="3053946"/>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alpha descending</a:t>
            </a:r>
          </a:p>
        </p:txBody>
      </p:sp>
      <p:sp>
        <p:nvSpPr>
          <p:cNvPr id="136" name="TextBox 135">
            <a:extLst>
              <a:ext uri="{FF2B5EF4-FFF2-40B4-BE49-F238E27FC236}">
                <a16:creationId xmlns:a16="http://schemas.microsoft.com/office/drawing/2014/main" id="{585BD3AD-B017-48AC-BD00-03C2FE2A8F20}"/>
              </a:ext>
            </a:extLst>
          </p:cNvPr>
          <p:cNvSpPr txBox="1"/>
          <p:nvPr/>
        </p:nvSpPr>
        <p:spPr>
          <a:xfrm>
            <a:off x="2195357" y="3053946"/>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amount ascending</a:t>
            </a:r>
          </a:p>
        </p:txBody>
      </p:sp>
      <p:sp>
        <p:nvSpPr>
          <p:cNvPr id="137" name="TextBox 136">
            <a:extLst>
              <a:ext uri="{FF2B5EF4-FFF2-40B4-BE49-F238E27FC236}">
                <a16:creationId xmlns:a16="http://schemas.microsoft.com/office/drawing/2014/main" id="{225A9D37-2B63-4A53-ADD8-FF3722335CDF}"/>
              </a:ext>
            </a:extLst>
          </p:cNvPr>
          <p:cNvSpPr txBox="1"/>
          <p:nvPr/>
        </p:nvSpPr>
        <p:spPr>
          <a:xfrm>
            <a:off x="3939059" y="3053946"/>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numeric ascending</a:t>
            </a:r>
          </a:p>
        </p:txBody>
      </p:sp>
      <p:sp>
        <p:nvSpPr>
          <p:cNvPr id="138" name="TextBox 137">
            <a:extLst>
              <a:ext uri="{FF2B5EF4-FFF2-40B4-BE49-F238E27FC236}">
                <a16:creationId xmlns:a16="http://schemas.microsoft.com/office/drawing/2014/main" id="{FF1F1F5C-7E83-4A59-8C2B-EE85E18B3218}"/>
              </a:ext>
            </a:extLst>
          </p:cNvPr>
          <p:cNvSpPr txBox="1"/>
          <p:nvPr/>
        </p:nvSpPr>
        <p:spPr>
          <a:xfrm>
            <a:off x="4810910" y="3053946"/>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numeric descending</a:t>
            </a:r>
          </a:p>
        </p:txBody>
      </p:sp>
      <p:sp>
        <p:nvSpPr>
          <p:cNvPr id="139" name="TextBox 138">
            <a:extLst>
              <a:ext uri="{FF2B5EF4-FFF2-40B4-BE49-F238E27FC236}">
                <a16:creationId xmlns:a16="http://schemas.microsoft.com/office/drawing/2014/main" id="{3CEA8237-509D-4513-AA70-1E88299F86ED}"/>
              </a:ext>
            </a:extLst>
          </p:cNvPr>
          <p:cNvSpPr txBox="1"/>
          <p:nvPr/>
        </p:nvSpPr>
        <p:spPr>
          <a:xfrm>
            <a:off x="3067208" y="3053946"/>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ort amount descending</a:t>
            </a:r>
          </a:p>
        </p:txBody>
      </p:sp>
      <p:sp>
        <p:nvSpPr>
          <p:cNvPr id="140" name="TextBox 139">
            <a:extLst>
              <a:ext uri="{FF2B5EF4-FFF2-40B4-BE49-F238E27FC236}">
                <a16:creationId xmlns:a16="http://schemas.microsoft.com/office/drawing/2014/main" id="{9A1C8EE7-711C-4111-BE1D-C7908F7FE5DD}"/>
              </a:ext>
            </a:extLst>
          </p:cNvPr>
          <p:cNvSpPr txBox="1"/>
          <p:nvPr/>
        </p:nvSpPr>
        <p:spPr>
          <a:xfrm>
            <a:off x="5682758" y="305394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aker</a:t>
            </a:r>
          </a:p>
        </p:txBody>
      </p:sp>
      <p:sp>
        <p:nvSpPr>
          <p:cNvPr id="141" name="TextBox 140">
            <a:extLst>
              <a:ext uri="{FF2B5EF4-FFF2-40B4-BE49-F238E27FC236}">
                <a16:creationId xmlns:a16="http://schemas.microsoft.com/office/drawing/2014/main" id="{9D6B60ED-DB7A-4EED-BF57-A26C5DCAE755}"/>
              </a:ext>
            </a:extLst>
          </p:cNvPr>
          <p:cNvSpPr txBox="1"/>
          <p:nvPr/>
        </p:nvSpPr>
        <p:spPr>
          <a:xfrm>
            <a:off x="9981455"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ser</a:t>
            </a:r>
          </a:p>
        </p:txBody>
      </p:sp>
      <p:sp>
        <p:nvSpPr>
          <p:cNvPr id="142" name="TextBox 141">
            <a:extLst>
              <a:ext uri="{FF2B5EF4-FFF2-40B4-BE49-F238E27FC236}">
                <a16:creationId xmlns:a16="http://schemas.microsoft.com/office/drawing/2014/main" id="{0E697858-FD20-4D86-A004-D85D232805AE}"/>
              </a:ext>
            </a:extLst>
          </p:cNvPr>
          <p:cNvSpPr txBox="1"/>
          <p:nvPr/>
        </p:nvSpPr>
        <p:spPr>
          <a:xfrm>
            <a:off x="7387349"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ick list</a:t>
            </a:r>
          </a:p>
        </p:txBody>
      </p:sp>
      <p:sp>
        <p:nvSpPr>
          <p:cNvPr id="143" name="Freeform 97">
            <a:extLst>
              <a:ext uri="{FF2B5EF4-FFF2-40B4-BE49-F238E27FC236}">
                <a16:creationId xmlns:a16="http://schemas.microsoft.com/office/drawing/2014/main" id="{F65DF278-D5F7-48EE-903C-A777954C57D2}"/>
              </a:ext>
            </a:extLst>
          </p:cNvPr>
          <p:cNvSpPr>
            <a:spLocks noChangeAspect="1" noEditPoints="1"/>
          </p:cNvSpPr>
          <p:nvPr/>
        </p:nvSpPr>
        <p:spPr bwMode="auto">
          <a:xfrm>
            <a:off x="478201" y="1704297"/>
            <a:ext cx="369021" cy="369021"/>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4" name="Group 100">
            <a:extLst>
              <a:ext uri="{FF2B5EF4-FFF2-40B4-BE49-F238E27FC236}">
                <a16:creationId xmlns:a16="http://schemas.microsoft.com/office/drawing/2014/main" id="{B838A6BE-E0FD-4548-95A9-21869EFA7A62}"/>
              </a:ext>
            </a:extLst>
          </p:cNvPr>
          <p:cNvGrpSpPr>
            <a:grpSpLocks noChangeAspect="1"/>
          </p:cNvGrpSpPr>
          <p:nvPr/>
        </p:nvGrpSpPr>
        <p:grpSpPr bwMode="auto">
          <a:xfrm>
            <a:off x="912872" y="1704297"/>
            <a:ext cx="369021" cy="369021"/>
            <a:chOff x="374" y="351"/>
            <a:chExt cx="340" cy="340"/>
          </a:xfrm>
          <a:solidFill>
            <a:schemeClr val="accent2"/>
          </a:solidFill>
        </p:grpSpPr>
        <p:sp>
          <p:nvSpPr>
            <p:cNvPr id="145" name="Freeform 101">
              <a:extLst>
                <a:ext uri="{FF2B5EF4-FFF2-40B4-BE49-F238E27FC236}">
                  <a16:creationId xmlns:a16="http://schemas.microsoft.com/office/drawing/2014/main" id="{5DC35DB4-0B92-4099-8800-FAA87B321E75}"/>
                </a:ext>
              </a:extLst>
            </p:cNvPr>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6" name="Freeform 102">
              <a:extLst>
                <a:ext uri="{FF2B5EF4-FFF2-40B4-BE49-F238E27FC236}">
                  <a16:creationId xmlns:a16="http://schemas.microsoft.com/office/drawing/2014/main" id="{6FB4B374-1E1B-4CB8-A160-20F66A0263FF}"/>
                </a:ext>
              </a:extLst>
            </p:cNvPr>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7" name="Freeform 103">
              <a:extLst>
                <a:ext uri="{FF2B5EF4-FFF2-40B4-BE49-F238E27FC236}">
                  <a16:creationId xmlns:a16="http://schemas.microsoft.com/office/drawing/2014/main" id="{0039E05E-A162-44EF-9B23-E406293A7240}"/>
                </a:ext>
              </a:extLst>
            </p:cNvPr>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8" name="Freeform 104">
              <a:extLst>
                <a:ext uri="{FF2B5EF4-FFF2-40B4-BE49-F238E27FC236}">
                  <a16:creationId xmlns:a16="http://schemas.microsoft.com/office/drawing/2014/main" id="{2D9DEE1A-86AC-410C-A4D6-732686BE5B81}"/>
                </a:ext>
              </a:extLst>
            </p:cNvPr>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9" name="Freeform 105">
              <a:extLst>
                <a:ext uri="{FF2B5EF4-FFF2-40B4-BE49-F238E27FC236}">
                  <a16:creationId xmlns:a16="http://schemas.microsoft.com/office/drawing/2014/main" id="{FD923700-C1B9-4CA8-B85E-079A2F33F776}"/>
                </a:ext>
              </a:extLst>
            </p:cNvPr>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0" name="Group 300">
            <a:extLst>
              <a:ext uri="{FF2B5EF4-FFF2-40B4-BE49-F238E27FC236}">
                <a16:creationId xmlns:a16="http://schemas.microsoft.com/office/drawing/2014/main" id="{FC09C15B-B394-4CA4-89A6-D90166F4F0F6}"/>
              </a:ext>
            </a:extLst>
          </p:cNvPr>
          <p:cNvGrpSpPr>
            <a:grpSpLocks noChangeAspect="1"/>
          </p:cNvGrpSpPr>
          <p:nvPr/>
        </p:nvGrpSpPr>
        <p:grpSpPr bwMode="auto">
          <a:xfrm>
            <a:off x="2651556" y="1704297"/>
            <a:ext cx="369021" cy="369021"/>
            <a:chOff x="7355" y="1177"/>
            <a:chExt cx="340" cy="340"/>
          </a:xfrm>
          <a:solidFill>
            <a:schemeClr val="accent4"/>
          </a:solidFill>
        </p:grpSpPr>
        <p:sp>
          <p:nvSpPr>
            <p:cNvPr id="151" name="Freeform 301">
              <a:extLst>
                <a:ext uri="{FF2B5EF4-FFF2-40B4-BE49-F238E27FC236}">
                  <a16:creationId xmlns:a16="http://schemas.microsoft.com/office/drawing/2014/main" id="{032EB38D-C415-45AA-9BAD-12C7738B8DDD}"/>
                </a:ext>
              </a:extLst>
            </p:cNvPr>
            <p:cNvSpPr>
              <a:spLocks noEditPoints="1"/>
            </p:cNvSpPr>
            <p:nvPr/>
          </p:nvSpPr>
          <p:spPr bwMode="auto">
            <a:xfrm>
              <a:off x="7419" y="1271"/>
              <a:ext cx="208" cy="146"/>
            </a:xfrm>
            <a:custGeom>
              <a:avLst/>
              <a:gdLst>
                <a:gd name="T0" fmla="*/ 307 w 314"/>
                <a:gd name="T1" fmla="*/ 53 h 221"/>
                <a:gd name="T2" fmla="*/ 232 w 314"/>
                <a:gd name="T3" fmla="*/ 36 h 221"/>
                <a:gd name="T4" fmla="*/ 122 w 314"/>
                <a:gd name="T5" fmla="*/ 15 h 221"/>
                <a:gd name="T6" fmla="*/ 54 w 314"/>
                <a:gd name="T7" fmla="*/ 104 h 221"/>
                <a:gd name="T8" fmla="*/ 8 w 314"/>
                <a:gd name="T9" fmla="*/ 167 h 221"/>
                <a:gd name="T10" fmla="*/ 53 w 314"/>
                <a:gd name="T11" fmla="*/ 186 h 221"/>
                <a:gd name="T12" fmla="*/ 79 w 314"/>
                <a:gd name="T13" fmla="*/ 184 h 221"/>
                <a:gd name="T14" fmla="*/ 160 w 314"/>
                <a:gd name="T15" fmla="*/ 221 h 221"/>
                <a:gd name="T16" fmla="*/ 198 w 314"/>
                <a:gd name="T17" fmla="*/ 214 h 221"/>
                <a:gd name="T18" fmla="*/ 266 w 314"/>
                <a:gd name="T19" fmla="*/ 112 h 221"/>
                <a:gd name="T20" fmla="*/ 307 w 314"/>
                <a:gd name="T21" fmla="*/ 53 h 221"/>
                <a:gd name="T22" fmla="*/ 129 w 314"/>
                <a:gd name="T23" fmla="*/ 35 h 221"/>
                <a:gd name="T24" fmla="*/ 160 w 314"/>
                <a:gd name="T25" fmla="*/ 29 h 221"/>
                <a:gd name="T26" fmla="*/ 239 w 314"/>
                <a:gd name="T27" fmla="*/ 84 h 221"/>
                <a:gd name="T28" fmla="*/ 239 w 314"/>
                <a:gd name="T29" fmla="*/ 84 h 221"/>
                <a:gd name="T30" fmla="*/ 244 w 314"/>
                <a:gd name="T31" fmla="*/ 101 h 221"/>
                <a:gd name="T32" fmla="*/ 168 w 314"/>
                <a:gd name="T33" fmla="*/ 138 h 221"/>
                <a:gd name="T34" fmla="*/ 88 w 314"/>
                <a:gd name="T35" fmla="*/ 161 h 221"/>
                <a:gd name="T36" fmla="*/ 80 w 314"/>
                <a:gd name="T37" fmla="*/ 145 h 221"/>
                <a:gd name="T38" fmla="*/ 129 w 314"/>
                <a:gd name="T39" fmla="*/ 35 h 221"/>
                <a:gd name="T40" fmla="*/ 28 w 314"/>
                <a:gd name="T41" fmla="*/ 159 h 221"/>
                <a:gd name="T42" fmla="*/ 54 w 314"/>
                <a:gd name="T43" fmla="*/ 130 h 221"/>
                <a:gd name="T44" fmla="*/ 60 w 314"/>
                <a:gd name="T45" fmla="*/ 153 h 221"/>
                <a:gd name="T46" fmla="*/ 65 w 314"/>
                <a:gd name="T47" fmla="*/ 164 h 221"/>
                <a:gd name="T48" fmla="*/ 28 w 314"/>
                <a:gd name="T49" fmla="*/ 159 h 221"/>
                <a:gd name="T50" fmla="*/ 190 w 314"/>
                <a:gd name="T51" fmla="*/ 194 h 221"/>
                <a:gd name="T52" fmla="*/ 104 w 314"/>
                <a:gd name="T53" fmla="*/ 179 h 221"/>
                <a:gd name="T54" fmla="*/ 176 w 314"/>
                <a:gd name="T55" fmla="*/ 158 h 221"/>
                <a:gd name="T56" fmla="*/ 244 w 314"/>
                <a:gd name="T57" fmla="*/ 126 h 221"/>
                <a:gd name="T58" fmla="*/ 190 w 314"/>
                <a:gd name="T59" fmla="*/ 194 h 221"/>
                <a:gd name="T60" fmla="*/ 263 w 314"/>
                <a:gd name="T61" fmla="*/ 88 h 221"/>
                <a:gd name="T62" fmla="*/ 259 w 314"/>
                <a:gd name="T63" fmla="*/ 76 h 221"/>
                <a:gd name="T64" fmla="*/ 259 w 314"/>
                <a:gd name="T65" fmla="*/ 76 h 221"/>
                <a:gd name="T66" fmla="*/ 248 w 314"/>
                <a:gd name="T67" fmla="*/ 55 h 221"/>
                <a:gd name="T68" fmla="*/ 287 w 314"/>
                <a:gd name="T69" fmla="*/ 60 h 221"/>
                <a:gd name="T70" fmla="*/ 263 w 314"/>
                <a:gd name="T71" fmla="*/ 8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4" h="221">
                  <a:moveTo>
                    <a:pt x="307" y="53"/>
                  </a:moveTo>
                  <a:cubicBezTo>
                    <a:pt x="299" y="31"/>
                    <a:pt x="263" y="31"/>
                    <a:pt x="232" y="36"/>
                  </a:cubicBezTo>
                  <a:cubicBezTo>
                    <a:pt x="203" y="10"/>
                    <a:pt x="161" y="0"/>
                    <a:pt x="122" y="15"/>
                  </a:cubicBezTo>
                  <a:cubicBezTo>
                    <a:pt x="83" y="30"/>
                    <a:pt x="58" y="65"/>
                    <a:pt x="54" y="104"/>
                  </a:cubicBezTo>
                  <a:cubicBezTo>
                    <a:pt x="27" y="122"/>
                    <a:pt x="0" y="145"/>
                    <a:pt x="8" y="167"/>
                  </a:cubicBezTo>
                  <a:cubicBezTo>
                    <a:pt x="13" y="180"/>
                    <a:pt x="30" y="186"/>
                    <a:pt x="53" y="186"/>
                  </a:cubicBezTo>
                  <a:cubicBezTo>
                    <a:pt x="61" y="186"/>
                    <a:pt x="70" y="185"/>
                    <a:pt x="79" y="184"/>
                  </a:cubicBezTo>
                  <a:cubicBezTo>
                    <a:pt x="99" y="208"/>
                    <a:pt x="129" y="221"/>
                    <a:pt x="160" y="221"/>
                  </a:cubicBezTo>
                  <a:cubicBezTo>
                    <a:pt x="172" y="221"/>
                    <a:pt x="185" y="219"/>
                    <a:pt x="198" y="214"/>
                  </a:cubicBezTo>
                  <a:cubicBezTo>
                    <a:pt x="241" y="198"/>
                    <a:pt x="267" y="156"/>
                    <a:pt x="266" y="112"/>
                  </a:cubicBezTo>
                  <a:cubicBezTo>
                    <a:pt x="296" y="92"/>
                    <a:pt x="314" y="71"/>
                    <a:pt x="307" y="53"/>
                  </a:cubicBezTo>
                  <a:close/>
                  <a:moveTo>
                    <a:pt x="129" y="35"/>
                  </a:moveTo>
                  <a:cubicBezTo>
                    <a:pt x="139" y="31"/>
                    <a:pt x="149" y="29"/>
                    <a:pt x="160" y="29"/>
                  </a:cubicBezTo>
                  <a:cubicBezTo>
                    <a:pt x="194" y="29"/>
                    <a:pt x="226" y="51"/>
                    <a:pt x="239" y="84"/>
                  </a:cubicBezTo>
                  <a:cubicBezTo>
                    <a:pt x="239" y="84"/>
                    <a:pt x="239" y="84"/>
                    <a:pt x="239" y="84"/>
                  </a:cubicBezTo>
                  <a:cubicBezTo>
                    <a:pt x="242" y="89"/>
                    <a:pt x="243" y="95"/>
                    <a:pt x="244" y="101"/>
                  </a:cubicBezTo>
                  <a:cubicBezTo>
                    <a:pt x="225" y="113"/>
                    <a:pt x="200" y="126"/>
                    <a:pt x="168" y="138"/>
                  </a:cubicBezTo>
                  <a:cubicBezTo>
                    <a:pt x="137" y="150"/>
                    <a:pt x="110" y="157"/>
                    <a:pt x="88" y="161"/>
                  </a:cubicBezTo>
                  <a:cubicBezTo>
                    <a:pt x="85" y="156"/>
                    <a:pt x="82" y="151"/>
                    <a:pt x="80" y="145"/>
                  </a:cubicBezTo>
                  <a:cubicBezTo>
                    <a:pt x="63" y="101"/>
                    <a:pt x="85" y="52"/>
                    <a:pt x="129" y="35"/>
                  </a:cubicBezTo>
                  <a:close/>
                  <a:moveTo>
                    <a:pt x="28" y="159"/>
                  </a:moveTo>
                  <a:cubicBezTo>
                    <a:pt x="27" y="157"/>
                    <a:pt x="32" y="146"/>
                    <a:pt x="54" y="130"/>
                  </a:cubicBezTo>
                  <a:cubicBezTo>
                    <a:pt x="55" y="137"/>
                    <a:pt x="57" y="145"/>
                    <a:pt x="60" y="153"/>
                  </a:cubicBezTo>
                  <a:cubicBezTo>
                    <a:pt x="61" y="157"/>
                    <a:pt x="63" y="160"/>
                    <a:pt x="65" y="164"/>
                  </a:cubicBezTo>
                  <a:cubicBezTo>
                    <a:pt x="43" y="166"/>
                    <a:pt x="30" y="163"/>
                    <a:pt x="28" y="159"/>
                  </a:cubicBezTo>
                  <a:close/>
                  <a:moveTo>
                    <a:pt x="190" y="194"/>
                  </a:moveTo>
                  <a:cubicBezTo>
                    <a:pt x="160" y="206"/>
                    <a:pt x="127" y="199"/>
                    <a:pt x="104" y="179"/>
                  </a:cubicBezTo>
                  <a:cubicBezTo>
                    <a:pt x="127" y="174"/>
                    <a:pt x="152" y="167"/>
                    <a:pt x="176" y="158"/>
                  </a:cubicBezTo>
                  <a:cubicBezTo>
                    <a:pt x="200" y="149"/>
                    <a:pt x="224" y="138"/>
                    <a:pt x="244" y="126"/>
                  </a:cubicBezTo>
                  <a:cubicBezTo>
                    <a:pt x="240" y="156"/>
                    <a:pt x="220" y="183"/>
                    <a:pt x="190" y="194"/>
                  </a:cubicBezTo>
                  <a:close/>
                  <a:moveTo>
                    <a:pt x="263" y="88"/>
                  </a:moveTo>
                  <a:cubicBezTo>
                    <a:pt x="262" y="84"/>
                    <a:pt x="261" y="80"/>
                    <a:pt x="259" y="76"/>
                  </a:cubicBezTo>
                  <a:cubicBezTo>
                    <a:pt x="259" y="76"/>
                    <a:pt x="259" y="76"/>
                    <a:pt x="259" y="76"/>
                  </a:cubicBezTo>
                  <a:cubicBezTo>
                    <a:pt x="256" y="69"/>
                    <a:pt x="253" y="62"/>
                    <a:pt x="248" y="55"/>
                  </a:cubicBezTo>
                  <a:cubicBezTo>
                    <a:pt x="275" y="53"/>
                    <a:pt x="286" y="57"/>
                    <a:pt x="287" y="60"/>
                  </a:cubicBezTo>
                  <a:cubicBezTo>
                    <a:pt x="289" y="64"/>
                    <a:pt x="281" y="74"/>
                    <a:pt x="263" y="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302">
              <a:extLst>
                <a:ext uri="{FF2B5EF4-FFF2-40B4-BE49-F238E27FC236}">
                  <a16:creationId xmlns:a16="http://schemas.microsoft.com/office/drawing/2014/main" id="{8658F914-3E8F-4773-861E-265AF7A6D167}"/>
                </a:ext>
              </a:extLst>
            </p:cNvPr>
            <p:cNvSpPr>
              <a:spLocks noEditPoints="1"/>
            </p:cNvSpPr>
            <p:nvPr/>
          </p:nvSpPr>
          <p:spPr bwMode="auto">
            <a:xfrm>
              <a:off x="7355" y="1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3" name="Freeform 306">
            <a:extLst>
              <a:ext uri="{FF2B5EF4-FFF2-40B4-BE49-F238E27FC236}">
                <a16:creationId xmlns:a16="http://schemas.microsoft.com/office/drawing/2014/main" id="{8BE5CC50-38A6-4C4D-9B50-DA7984D9AD62}"/>
              </a:ext>
            </a:extLst>
          </p:cNvPr>
          <p:cNvSpPr>
            <a:spLocks noChangeAspect="1" noEditPoints="1"/>
          </p:cNvSpPr>
          <p:nvPr/>
        </p:nvSpPr>
        <p:spPr bwMode="auto">
          <a:xfrm>
            <a:off x="2216885" y="1704297"/>
            <a:ext cx="369021" cy="369021"/>
          </a:xfrm>
          <a:custGeom>
            <a:avLst/>
            <a:gdLst>
              <a:gd name="T0" fmla="*/ 264 w 512"/>
              <a:gd name="T1" fmla="*/ 279 h 512"/>
              <a:gd name="T2" fmla="*/ 184 w 512"/>
              <a:gd name="T3" fmla="*/ 302 h 512"/>
              <a:gd name="T4" fmla="*/ 176 w 512"/>
              <a:gd name="T5" fmla="*/ 286 h 512"/>
              <a:gd name="T6" fmla="*/ 225 w 512"/>
              <a:gd name="T7" fmla="*/ 176 h 512"/>
              <a:gd name="T8" fmla="*/ 256 w 512"/>
              <a:gd name="T9" fmla="*/ 170 h 512"/>
              <a:gd name="T10" fmla="*/ 335 w 512"/>
              <a:gd name="T11" fmla="*/ 225 h 512"/>
              <a:gd name="T12" fmla="*/ 335 w 512"/>
              <a:gd name="T13" fmla="*/ 225 h 512"/>
              <a:gd name="T14" fmla="*/ 340 w 512"/>
              <a:gd name="T15" fmla="*/ 242 h 512"/>
              <a:gd name="T16" fmla="*/ 264 w 512"/>
              <a:gd name="T17" fmla="*/ 279 h 512"/>
              <a:gd name="T18" fmla="*/ 200 w 512"/>
              <a:gd name="T19" fmla="*/ 320 h 512"/>
              <a:gd name="T20" fmla="*/ 286 w 512"/>
              <a:gd name="T21" fmla="*/ 335 h 512"/>
              <a:gd name="T22" fmla="*/ 340 w 512"/>
              <a:gd name="T23" fmla="*/ 267 h 512"/>
              <a:gd name="T24" fmla="*/ 272 w 512"/>
              <a:gd name="T25" fmla="*/ 299 h 512"/>
              <a:gd name="T26" fmla="*/ 200 w 512"/>
              <a:gd name="T27" fmla="*/ 320 h 512"/>
              <a:gd name="T28" fmla="*/ 150 w 512"/>
              <a:gd name="T29" fmla="*/ 271 h 512"/>
              <a:gd name="T30" fmla="*/ 124 w 512"/>
              <a:gd name="T31" fmla="*/ 300 h 512"/>
              <a:gd name="T32" fmla="*/ 161 w 512"/>
              <a:gd name="T33" fmla="*/ 305 h 512"/>
              <a:gd name="T34" fmla="*/ 156 w 512"/>
              <a:gd name="T35" fmla="*/ 294 h 512"/>
              <a:gd name="T36" fmla="*/ 150 w 512"/>
              <a:gd name="T37" fmla="*/ 271 h 512"/>
              <a:gd name="T38" fmla="*/ 344 w 512"/>
              <a:gd name="T39" fmla="*/ 196 h 512"/>
              <a:gd name="T40" fmla="*/ 355 w 512"/>
              <a:gd name="T41" fmla="*/ 217 h 512"/>
              <a:gd name="T42" fmla="*/ 355 w 512"/>
              <a:gd name="T43" fmla="*/ 217 h 512"/>
              <a:gd name="T44" fmla="*/ 359 w 512"/>
              <a:gd name="T45" fmla="*/ 229 h 512"/>
              <a:gd name="T46" fmla="*/ 383 w 512"/>
              <a:gd name="T47" fmla="*/ 201 h 512"/>
              <a:gd name="T48" fmla="*/ 344 w 512"/>
              <a:gd name="T49" fmla="*/ 196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403 w 512"/>
              <a:gd name="T61" fmla="*/ 194 h 512"/>
              <a:gd name="T62" fmla="*/ 328 w 512"/>
              <a:gd name="T63" fmla="*/ 177 h 512"/>
              <a:gd name="T64" fmla="*/ 218 w 512"/>
              <a:gd name="T65" fmla="*/ 156 h 512"/>
              <a:gd name="T66" fmla="*/ 150 w 512"/>
              <a:gd name="T67" fmla="*/ 245 h 512"/>
              <a:gd name="T68" fmla="*/ 104 w 512"/>
              <a:gd name="T69" fmla="*/ 308 h 512"/>
              <a:gd name="T70" fmla="*/ 149 w 512"/>
              <a:gd name="T71" fmla="*/ 327 h 512"/>
              <a:gd name="T72" fmla="*/ 175 w 512"/>
              <a:gd name="T73" fmla="*/ 325 h 512"/>
              <a:gd name="T74" fmla="*/ 256 w 512"/>
              <a:gd name="T75" fmla="*/ 362 h 512"/>
              <a:gd name="T76" fmla="*/ 294 w 512"/>
              <a:gd name="T77" fmla="*/ 355 h 512"/>
              <a:gd name="T78" fmla="*/ 362 w 512"/>
              <a:gd name="T79" fmla="*/ 253 h 512"/>
              <a:gd name="T80" fmla="*/ 403 w 512"/>
              <a:gd name="T81" fmla="*/ 1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64" y="279"/>
                </a:moveTo>
                <a:cubicBezTo>
                  <a:pt x="233" y="291"/>
                  <a:pt x="206" y="298"/>
                  <a:pt x="184" y="302"/>
                </a:cubicBezTo>
                <a:cubicBezTo>
                  <a:pt x="181" y="297"/>
                  <a:pt x="178" y="292"/>
                  <a:pt x="176" y="286"/>
                </a:cubicBezTo>
                <a:cubicBezTo>
                  <a:pt x="159" y="242"/>
                  <a:pt x="181" y="193"/>
                  <a:pt x="225" y="176"/>
                </a:cubicBezTo>
                <a:cubicBezTo>
                  <a:pt x="235" y="172"/>
                  <a:pt x="245" y="170"/>
                  <a:pt x="256" y="170"/>
                </a:cubicBezTo>
                <a:cubicBezTo>
                  <a:pt x="290" y="170"/>
                  <a:pt x="322" y="192"/>
                  <a:pt x="335" y="225"/>
                </a:cubicBezTo>
                <a:cubicBezTo>
                  <a:pt x="335" y="225"/>
                  <a:pt x="335" y="225"/>
                  <a:pt x="335" y="225"/>
                </a:cubicBezTo>
                <a:cubicBezTo>
                  <a:pt x="338" y="230"/>
                  <a:pt x="339" y="236"/>
                  <a:pt x="340" y="242"/>
                </a:cubicBezTo>
                <a:cubicBezTo>
                  <a:pt x="321" y="254"/>
                  <a:pt x="296" y="267"/>
                  <a:pt x="264" y="279"/>
                </a:cubicBezTo>
                <a:close/>
                <a:moveTo>
                  <a:pt x="200" y="320"/>
                </a:moveTo>
                <a:cubicBezTo>
                  <a:pt x="223" y="340"/>
                  <a:pt x="256" y="347"/>
                  <a:pt x="286" y="335"/>
                </a:cubicBezTo>
                <a:cubicBezTo>
                  <a:pt x="316" y="324"/>
                  <a:pt x="336" y="297"/>
                  <a:pt x="340" y="267"/>
                </a:cubicBezTo>
                <a:cubicBezTo>
                  <a:pt x="320" y="279"/>
                  <a:pt x="296" y="290"/>
                  <a:pt x="272" y="299"/>
                </a:cubicBezTo>
                <a:cubicBezTo>
                  <a:pt x="248" y="308"/>
                  <a:pt x="223" y="315"/>
                  <a:pt x="200" y="320"/>
                </a:cubicBezTo>
                <a:close/>
                <a:moveTo>
                  <a:pt x="150" y="271"/>
                </a:moveTo>
                <a:cubicBezTo>
                  <a:pt x="128" y="287"/>
                  <a:pt x="123" y="298"/>
                  <a:pt x="124" y="300"/>
                </a:cubicBezTo>
                <a:cubicBezTo>
                  <a:pt x="126" y="304"/>
                  <a:pt x="139" y="307"/>
                  <a:pt x="161" y="305"/>
                </a:cubicBezTo>
                <a:cubicBezTo>
                  <a:pt x="159" y="301"/>
                  <a:pt x="157" y="298"/>
                  <a:pt x="156" y="294"/>
                </a:cubicBezTo>
                <a:cubicBezTo>
                  <a:pt x="153" y="286"/>
                  <a:pt x="151" y="278"/>
                  <a:pt x="150" y="271"/>
                </a:cubicBezTo>
                <a:close/>
                <a:moveTo>
                  <a:pt x="344" y="196"/>
                </a:moveTo>
                <a:cubicBezTo>
                  <a:pt x="349" y="203"/>
                  <a:pt x="352" y="210"/>
                  <a:pt x="355" y="217"/>
                </a:cubicBezTo>
                <a:cubicBezTo>
                  <a:pt x="355" y="217"/>
                  <a:pt x="355" y="217"/>
                  <a:pt x="355" y="217"/>
                </a:cubicBezTo>
                <a:cubicBezTo>
                  <a:pt x="357" y="221"/>
                  <a:pt x="358" y="225"/>
                  <a:pt x="359" y="229"/>
                </a:cubicBezTo>
                <a:cubicBezTo>
                  <a:pt x="377" y="215"/>
                  <a:pt x="385" y="205"/>
                  <a:pt x="383" y="201"/>
                </a:cubicBezTo>
                <a:cubicBezTo>
                  <a:pt x="382" y="198"/>
                  <a:pt x="371" y="194"/>
                  <a:pt x="344" y="19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3" y="194"/>
                </a:moveTo>
                <a:cubicBezTo>
                  <a:pt x="395" y="172"/>
                  <a:pt x="359" y="172"/>
                  <a:pt x="328" y="177"/>
                </a:cubicBezTo>
                <a:cubicBezTo>
                  <a:pt x="299" y="151"/>
                  <a:pt x="257" y="141"/>
                  <a:pt x="218" y="156"/>
                </a:cubicBezTo>
                <a:cubicBezTo>
                  <a:pt x="179" y="171"/>
                  <a:pt x="154" y="206"/>
                  <a:pt x="150" y="245"/>
                </a:cubicBezTo>
                <a:cubicBezTo>
                  <a:pt x="123" y="263"/>
                  <a:pt x="96" y="286"/>
                  <a:pt x="104" y="308"/>
                </a:cubicBezTo>
                <a:cubicBezTo>
                  <a:pt x="109" y="321"/>
                  <a:pt x="126" y="327"/>
                  <a:pt x="149" y="327"/>
                </a:cubicBezTo>
                <a:cubicBezTo>
                  <a:pt x="157" y="327"/>
                  <a:pt x="166" y="326"/>
                  <a:pt x="175" y="325"/>
                </a:cubicBezTo>
                <a:cubicBezTo>
                  <a:pt x="195" y="349"/>
                  <a:pt x="225" y="362"/>
                  <a:pt x="256" y="362"/>
                </a:cubicBezTo>
                <a:cubicBezTo>
                  <a:pt x="268" y="362"/>
                  <a:pt x="281" y="360"/>
                  <a:pt x="294" y="355"/>
                </a:cubicBezTo>
                <a:cubicBezTo>
                  <a:pt x="337" y="339"/>
                  <a:pt x="363" y="297"/>
                  <a:pt x="362" y="253"/>
                </a:cubicBezTo>
                <a:cubicBezTo>
                  <a:pt x="392" y="233"/>
                  <a:pt x="410" y="212"/>
                  <a:pt x="403" y="19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4" name="Group 318">
            <a:extLst>
              <a:ext uri="{FF2B5EF4-FFF2-40B4-BE49-F238E27FC236}">
                <a16:creationId xmlns:a16="http://schemas.microsoft.com/office/drawing/2014/main" id="{A76BD16A-41FA-4CEC-A20A-4AD462B33874}"/>
              </a:ext>
            </a:extLst>
          </p:cNvPr>
          <p:cNvGrpSpPr>
            <a:grpSpLocks noChangeAspect="1"/>
          </p:cNvGrpSpPr>
          <p:nvPr/>
        </p:nvGrpSpPr>
        <p:grpSpPr bwMode="auto">
          <a:xfrm>
            <a:off x="1782214" y="1704297"/>
            <a:ext cx="369021" cy="369021"/>
            <a:chOff x="5850" y="1203"/>
            <a:chExt cx="340" cy="340"/>
          </a:xfrm>
          <a:solidFill>
            <a:schemeClr val="accent4"/>
          </a:solidFill>
        </p:grpSpPr>
        <p:sp>
          <p:nvSpPr>
            <p:cNvPr id="155" name="Freeform 319">
              <a:extLst>
                <a:ext uri="{FF2B5EF4-FFF2-40B4-BE49-F238E27FC236}">
                  <a16:creationId xmlns:a16="http://schemas.microsoft.com/office/drawing/2014/main" id="{E0F14E4A-96B7-471B-906A-3AFEC8D96229}"/>
                </a:ext>
              </a:extLst>
            </p:cNvPr>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6" name="Freeform 320">
              <a:extLst>
                <a:ext uri="{FF2B5EF4-FFF2-40B4-BE49-F238E27FC236}">
                  <a16:creationId xmlns:a16="http://schemas.microsoft.com/office/drawing/2014/main" id="{0C373A56-330C-433D-A798-553926D3AFCF}"/>
                </a:ext>
              </a:extLst>
            </p:cNvPr>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7" name="Freeform 324">
            <a:extLst>
              <a:ext uri="{FF2B5EF4-FFF2-40B4-BE49-F238E27FC236}">
                <a16:creationId xmlns:a16="http://schemas.microsoft.com/office/drawing/2014/main" id="{EB0871BF-D38A-4827-9209-2A6B24FF26EC}"/>
              </a:ext>
            </a:extLst>
          </p:cNvPr>
          <p:cNvSpPr>
            <a:spLocks noChangeAspect="1" noEditPoints="1"/>
          </p:cNvSpPr>
          <p:nvPr/>
        </p:nvSpPr>
        <p:spPr bwMode="auto">
          <a:xfrm>
            <a:off x="1347543" y="1704297"/>
            <a:ext cx="369021" cy="369021"/>
          </a:xfrm>
          <a:custGeom>
            <a:avLst/>
            <a:gdLst>
              <a:gd name="T0" fmla="*/ 264 w 512"/>
              <a:gd name="T1" fmla="*/ 120 h 512"/>
              <a:gd name="T2" fmla="*/ 343 w 512"/>
              <a:gd name="T3" fmla="*/ 151 h 512"/>
              <a:gd name="T4" fmla="*/ 341 w 512"/>
              <a:gd name="T5" fmla="*/ 156 h 512"/>
              <a:gd name="T6" fmla="*/ 331 w 512"/>
              <a:gd name="T7" fmla="*/ 161 h 512"/>
              <a:gd name="T8" fmla="*/ 326 w 512"/>
              <a:gd name="T9" fmla="*/ 167 h 512"/>
              <a:gd name="T10" fmla="*/ 291 w 512"/>
              <a:gd name="T11" fmla="*/ 256 h 512"/>
              <a:gd name="T12" fmla="*/ 294 w 512"/>
              <a:gd name="T13" fmla="*/ 268 h 512"/>
              <a:gd name="T14" fmla="*/ 315 w 512"/>
              <a:gd name="T15" fmla="*/ 285 h 512"/>
              <a:gd name="T16" fmla="*/ 306 w 512"/>
              <a:gd name="T17" fmla="*/ 308 h 512"/>
              <a:gd name="T18" fmla="*/ 186 w 512"/>
              <a:gd name="T19" fmla="*/ 262 h 512"/>
              <a:gd name="T20" fmla="*/ 195 w 512"/>
              <a:gd name="T21" fmla="*/ 239 h 512"/>
              <a:gd name="T22" fmla="*/ 221 w 512"/>
              <a:gd name="T23" fmla="*/ 240 h 512"/>
              <a:gd name="T24" fmla="*/ 232 w 512"/>
              <a:gd name="T25" fmla="*/ 233 h 512"/>
              <a:gd name="T26" fmla="*/ 266 w 512"/>
              <a:gd name="T27" fmla="*/ 144 h 512"/>
              <a:gd name="T28" fmla="*/ 266 w 512"/>
              <a:gd name="T29" fmla="*/ 136 h 512"/>
              <a:gd name="T30" fmla="*/ 261 w 512"/>
              <a:gd name="T31" fmla="*/ 126 h 512"/>
              <a:gd name="T32" fmla="*/ 264 w 512"/>
              <a:gd name="T33" fmla="*/ 12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61 w 512"/>
              <a:gd name="T45" fmla="*/ 134 h 512"/>
              <a:gd name="T46" fmla="*/ 261 w 512"/>
              <a:gd name="T47" fmla="*/ 96 h 512"/>
              <a:gd name="T48" fmla="*/ 247 w 512"/>
              <a:gd name="T49" fmla="*/ 102 h 512"/>
              <a:gd name="T50" fmla="*/ 240 w 512"/>
              <a:gd name="T51" fmla="*/ 122 h 512"/>
              <a:gd name="T52" fmla="*/ 240 w 512"/>
              <a:gd name="T53" fmla="*/ 131 h 512"/>
              <a:gd name="T54" fmla="*/ 244 w 512"/>
              <a:gd name="T55" fmla="*/ 140 h 512"/>
              <a:gd name="T56" fmla="*/ 214 w 512"/>
              <a:gd name="T57" fmla="*/ 219 h 512"/>
              <a:gd name="T58" fmla="*/ 188 w 512"/>
              <a:gd name="T59" fmla="*/ 218 h 512"/>
              <a:gd name="T60" fmla="*/ 178 w 512"/>
              <a:gd name="T61" fmla="*/ 224 h 512"/>
              <a:gd name="T62" fmla="*/ 163 w 512"/>
              <a:gd name="T63" fmla="*/ 264 h 512"/>
              <a:gd name="T64" fmla="*/ 163 w 512"/>
              <a:gd name="T65" fmla="*/ 272 h 512"/>
              <a:gd name="T66" fmla="*/ 169 w 512"/>
              <a:gd name="T67" fmla="*/ 278 h 512"/>
              <a:gd name="T68" fmla="*/ 229 w 512"/>
              <a:gd name="T69" fmla="*/ 301 h 512"/>
              <a:gd name="T70" fmla="*/ 194 w 512"/>
              <a:gd name="T71" fmla="*/ 391 h 512"/>
              <a:gd name="T72" fmla="*/ 200 w 512"/>
              <a:gd name="T73" fmla="*/ 404 h 512"/>
              <a:gd name="T74" fmla="*/ 204 w 512"/>
              <a:gd name="T75" fmla="*/ 405 h 512"/>
              <a:gd name="T76" fmla="*/ 214 w 512"/>
              <a:gd name="T77" fmla="*/ 398 h 512"/>
              <a:gd name="T78" fmla="*/ 248 w 512"/>
              <a:gd name="T79" fmla="*/ 308 h 512"/>
              <a:gd name="T80" fmla="*/ 308 w 512"/>
              <a:gd name="T81" fmla="*/ 331 h 512"/>
              <a:gd name="T82" fmla="*/ 312 w 512"/>
              <a:gd name="T83" fmla="*/ 332 h 512"/>
              <a:gd name="T84" fmla="*/ 322 w 512"/>
              <a:gd name="T85" fmla="*/ 325 h 512"/>
              <a:gd name="T86" fmla="*/ 337 w 512"/>
              <a:gd name="T87" fmla="*/ 285 h 512"/>
              <a:gd name="T88" fmla="*/ 334 w 512"/>
              <a:gd name="T89" fmla="*/ 273 h 512"/>
              <a:gd name="T90" fmla="*/ 314 w 512"/>
              <a:gd name="T91" fmla="*/ 257 h 512"/>
              <a:gd name="T92" fmla="*/ 344 w 512"/>
              <a:gd name="T93" fmla="*/ 178 h 512"/>
              <a:gd name="T94" fmla="*/ 354 w 512"/>
              <a:gd name="T95" fmla="*/ 174 h 512"/>
              <a:gd name="T96" fmla="*/ 359 w 512"/>
              <a:gd name="T97" fmla="*/ 168 h 512"/>
              <a:gd name="T98" fmla="*/ 367 w 512"/>
              <a:gd name="T99" fmla="*/ 148 h 512"/>
              <a:gd name="T100" fmla="*/ 361 w 512"/>
              <a:gd name="T10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4" y="120"/>
                </a:moveTo>
                <a:cubicBezTo>
                  <a:pt x="343" y="151"/>
                  <a:pt x="343" y="151"/>
                  <a:pt x="343" y="151"/>
                </a:cubicBezTo>
                <a:cubicBezTo>
                  <a:pt x="341" y="156"/>
                  <a:pt x="341" y="156"/>
                  <a:pt x="341" y="156"/>
                </a:cubicBezTo>
                <a:cubicBezTo>
                  <a:pt x="331" y="161"/>
                  <a:pt x="331" y="161"/>
                  <a:pt x="331" y="161"/>
                </a:cubicBezTo>
                <a:cubicBezTo>
                  <a:pt x="329" y="162"/>
                  <a:pt x="327" y="164"/>
                  <a:pt x="326" y="167"/>
                </a:cubicBezTo>
                <a:cubicBezTo>
                  <a:pt x="291" y="256"/>
                  <a:pt x="291" y="256"/>
                  <a:pt x="291" y="256"/>
                </a:cubicBezTo>
                <a:cubicBezTo>
                  <a:pt x="290" y="261"/>
                  <a:pt x="291" y="266"/>
                  <a:pt x="294" y="268"/>
                </a:cubicBezTo>
                <a:cubicBezTo>
                  <a:pt x="315" y="285"/>
                  <a:pt x="315" y="285"/>
                  <a:pt x="315" y="285"/>
                </a:cubicBezTo>
                <a:cubicBezTo>
                  <a:pt x="306" y="308"/>
                  <a:pt x="306" y="308"/>
                  <a:pt x="306" y="308"/>
                </a:cubicBezTo>
                <a:cubicBezTo>
                  <a:pt x="186" y="262"/>
                  <a:pt x="186" y="262"/>
                  <a:pt x="186" y="262"/>
                </a:cubicBezTo>
                <a:cubicBezTo>
                  <a:pt x="195" y="239"/>
                  <a:pt x="195" y="239"/>
                  <a:pt x="195" y="239"/>
                </a:cubicBezTo>
                <a:cubicBezTo>
                  <a:pt x="221" y="240"/>
                  <a:pt x="221" y="240"/>
                  <a:pt x="221" y="240"/>
                </a:cubicBezTo>
                <a:cubicBezTo>
                  <a:pt x="226" y="241"/>
                  <a:pt x="230" y="238"/>
                  <a:pt x="232" y="233"/>
                </a:cubicBezTo>
                <a:cubicBezTo>
                  <a:pt x="266" y="144"/>
                  <a:pt x="266" y="144"/>
                  <a:pt x="266" y="144"/>
                </a:cubicBezTo>
                <a:cubicBezTo>
                  <a:pt x="267" y="141"/>
                  <a:pt x="267" y="138"/>
                  <a:pt x="266" y="136"/>
                </a:cubicBezTo>
                <a:cubicBezTo>
                  <a:pt x="261" y="126"/>
                  <a:pt x="261" y="126"/>
                  <a:pt x="261" y="126"/>
                </a:cubicBezTo>
                <a:lnTo>
                  <a:pt x="264" y="1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1" y="134"/>
                </a:moveTo>
                <a:cubicBezTo>
                  <a:pt x="261" y="96"/>
                  <a:pt x="261" y="96"/>
                  <a:pt x="261" y="96"/>
                </a:cubicBezTo>
                <a:cubicBezTo>
                  <a:pt x="256" y="94"/>
                  <a:pt x="250" y="97"/>
                  <a:pt x="247" y="102"/>
                </a:cubicBezTo>
                <a:cubicBezTo>
                  <a:pt x="240" y="122"/>
                  <a:pt x="240" y="122"/>
                  <a:pt x="240" y="122"/>
                </a:cubicBezTo>
                <a:cubicBezTo>
                  <a:pt x="239" y="125"/>
                  <a:pt x="239" y="128"/>
                  <a:pt x="240" y="131"/>
                </a:cubicBezTo>
                <a:cubicBezTo>
                  <a:pt x="244" y="140"/>
                  <a:pt x="244" y="140"/>
                  <a:pt x="244" y="140"/>
                </a:cubicBezTo>
                <a:cubicBezTo>
                  <a:pt x="214" y="219"/>
                  <a:pt x="214" y="219"/>
                  <a:pt x="214" y="219"/>
                </a:cubicBezTo>
                <a:cubicBezTo>
                  <a:pt x="188" y="218"/>
                  <a:pt x="188" y="218"/>
                  <a:pt x="188" y="218"/>
                </a:cubicBezTo>
                <a:cubicBezTo>
                  <a:pt x="184" y="217"/>
                  <a:pt x="180" y="220"/>
                  <a:pt x="178" y="224"/>
                </a:cubicBezTo>
                <a:cubicBezTo>
                  <a:pt x="163" y="264"/>
                  <a:pt x="163" y="264"/>
                  <a:pt x="163" y="264"/>
                </a:cubicBezTo>
                <a:cubicBezTo>
                  <a:pt x="162" y="267"/>
                  <a:pt x="162" y="270"/>
                  <a:pt x="163" y="272"/>
                </a:cubicBezTo>
                <a:cubicBezTo>
                  <a:pt x="164" y="275"/>
                  <a:pt x="166" y="277"/>
                  <a:pt x="169" y="278"/>
                </a:cubicBezTo>
                <a:cubicBezTo>
                  <a:pt x="229" y="301"/>
                  <a:pt x="229" y="301"/>
                  <a:pt x="229" y="301"/>
                </a:cubicBezTo>
                <a:cubicBezTo>
                  <a:pt x="194" y="391"/>
                  <a:pt x="194" y="391"/>
                  <a:pt x="194" y="391"/>
                </a:cubicBezTo>
                <a:cubicBezTo>
                  <a:pt x="192" y="396"/>
                  <a:pt x="195" y="402"/>
                  <a:pt x="200" y="404"/>
                </a:cubicBezTo>
                <a:cubicBezTo>
                  <a:pt x="202" y="405"/>
                  <a:pt x="203" y="405"/>
                  <a:pt x="204" y="405"/>
                </a:cubicBezTo>
                <a:cubicBezTo>
                  <a:pt x="208" y="405"/>
                  <a:pt x="212" y="402"/>
                  <a:pt x="214" y="398"/>
                </a:cubicBezTo>
                <a:cubicBezTo>
                  <a:pt x="248" y="308"/>
                  <a:pt x="248" y="308"/>
                  <a:pt x="248" y="308"/>
                </a:cubicBezTo>
                <a:cubicBezTo>
                  <a:pt x="308" y="331"/>
                  <a:pt x="308" y="331"/>
                  <a:pt x="308" y="331"/>
                </a:cubicBezTo>
                <a:cubicBezTo>
                  <a:pt x="309" y="332"/>
                  <a:pt x="311" y="332"/>
                  <a:pt x="312" y="332"/>
                </a:cubicBezTo>
                <a:cubicBezTo>
                  <a:pt x="316" y="332"/>
                  <a:pt x="320" y="329"/>
                  <a:pt x="322" y="325"/>
                </a:cubicBezTo>
                <a:cubicBezTo>
                  <a:pt x="337" y="285"/>
                  <a:pt x="337" y="285"/>
                  <a:pt x="337" y="285"/>
                </a:cubicBezTo>
                <a:cubicBezTo>
                  <a:pt x="339" y="281"/>
                  <a:pt x="338" y="276"/>
                  <a:pt x="334" y="273"/>
                </a:cubicBezTo>
                <a:cubicBezTo>
                  <a:pt x="314" y="257"/>
                  <a:pt x="314" y="257"/>
                  <a:pt x="314" y="257"/>
                </a:cubicBezTo>
                <a:cubicBezTo>
                  <a:pt x="344" y="178"/>
                  <a:pt x="344" y="178"/>
                  <a:pt x="344" y="178"/>
                </a:cubicBezTo>
                <a:cubicBezTo>
                  <a:pt x="354" y="174"/>
                  <a:pt x="354" y="174"/>
                  <a:pt x="354" y="174"/>
                </a:cubicBezTo>
                <a:cubicBezTo>
                  <a:pt x="356" y="173"/>
                  <a:pt x="358" y="171"/>
                  <a:pt x="359" y="168"/>
                </a:cubicBezTo>
                <a:cubicBezTo>
                  <a:pt x="367" y="148"/>
                  <a:pt x="367" y="148"/>
                  <a:pt x="367" y="148"/>
                </a:cubicBezTo>
                <a:cubicBezTo>
                  <a:pt x="369" y="143"/>
                  <a:pt x="366" y="137"/>
                  <a:pt x="361" y="13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8" name="Freeform 478">
            <a:extLst>
              <a:ext uri="{FF2B5EF4-FFF2-40B4-BE49-F238E27FC236}">
                <a16:creationId xmlns:a16="http://schemas.microsoft.com/office/drawing/2014/main" id="{B8AAD62E-9718-4CF4-BE0D-E60F6EF47E1C}"/>
              </a:ext>
            </a:extLst>
          </p:cNvPr>
          <p:cNvSpPr>
            <a:spLocks noChangeAspect="1" noEditPoints="1"/>
          </p:cNvSpPr>
          <p:nvPr/>
        </p:nvSpPr>
        <p:spPr bwMode="auto">
          <a:xfrm>
            <a:off x="4391325" y="1704297"/>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77 w 512"/>
              <a:gd name="T21" fmla="*/ 352 h 512"/>
              <a:gd name="T22" fmla="*/ 362 w 512"/>
              <a:gd name="T23" fmla="*/ 352 h 512"/>
              <a:gd name="T24" fmla="*/ 373 w 512"/>
              <a:gd name="T25" fmla="*/ 341 h 512"/>
              <a:gd name="T26" fmla="*/ 373 w 512"/>
              <a:gd name="T27" fmla="*/ 256 h 512"/>
              <a:gd name="T28" fmla="*/ 362 w 512"/>
              <a:gd name="T29" fmla="*/ 245 h 512"/>
              <a:gd name="T30" fmla="*/ 288 w 512"/>
              <a:gd name="T31" fmla="*/ 245 h 512"/>
              <a:gd name="T32" fmla="*/ 362 w 512"/>
              <a:gd name="T33" fmla="*/ 181 h 512"/>
              <a:gd name="T34" fmla="*/ 373 w 512"/>
              <a:gd name="T35" fmla="*/ 170 h 512"/>
              <a:gd name="T36" fmla="*/ 362 w 512"/>
              <a:gd name="T37" fmla="*/ 160 h 512"/>
              <a:gd name="T38" fmla="*/ 266 w 512"/>
              <a:gd name="T39" fmla="*/ 256 h 512"/>
              <a:gd name="T40" fmla="*/ 266 w 512"/>
              <a:gd name="T41" fmla="*/ 341 h 512"/>
              <a:gd name="T42" fmla="*/ 277 w 512"/>
              <a:gd name="T43" fmla="*/ 352 h 512"/>
              <a:gd name="T44" fmla="*/ 352 w 512"/>
              <a:gd name="T45" fmla="*/ 330 h 512"/>
              <a:gd name="T46" fmla="*/ 288 w 512"/>
              <a:gd name="T47" fmla="*/ 330 h 512"/>
              <a:gd name="T48" fmla="*/ 288 w 512"/>
              <a:gd name="T49" fmla="*/ 266 h 512"/>
              <a:gd name="T50" fmla="*/ 352 w 512"/>
              <a:gd name="T51" fmla="*/ 266 h 512"/>
              <a:gd name="T52" fmla="*/ 352 w 512"/>
              <a:gd name="T53" fmla="*/ 330 h 512"/>
              <a:gd name="T54" fmla="*/ 149 w 512"/>
              <a:gd name="T55" fmla="*/ 352 h 512"/>
              <a:gd name="T56" fmla="*/ 234 w 512"/>
              <a:gd name="T57" fmla="*/ 352 h 512"/>
              <a:gd name="T58" fmla="*/ 245 w 512"/>
              <a:gd name="T59" fmla="*/ 341 h 512"/>
              <a:gd name="T60" fmla="*/ 245 w 512"/>
              <a:gd name="T61" fmla="*/ 256 h 512"/>
              <a:gd name="T62" fmla="*/ 234 w 512"/>
              <a:gd name="T63" fmla="*/ 245 h 512"/>
              <a:gd name="T64" fmla="*/ 160 w 512"/>
              <a:gd name="T65" fmla="*/ 245 h 512"/>
              <a:gd name="T66" fmla="*/ 234 w 512"/>
              <a:gd name="T67" fmla="*/ 181 h 512"/>
              <a:gd name="T68" fmla="*/ 245 w 512"/>
              <a:gd name="T69" fmla="*/ 170 h 512"/>
              <a:gd name="T70" fmla="*/ 234 w 512"/>
              <a:gd name="T71" fmla="*/ 160 h 512"/>
              <a:gd name="T72" fmla="*/ 138 w 512"/>
              <a:gd name="T73" fmla="*/ 256 h 512"/>
              <a:gd name="T74" fmla="*/ 138 w 512"/>
              <a:gd name="T75" fmla="*/ 341 h 512"/>
              <a:gd name="T76" fmla="*/ 149 w 512"/>
              <a:gd name="T77" fmla="*/ 352 h 512"/>
              <a:gd name="T78" fmla="*/ 224 w 512"/>
              <a:gd name="T79" fmla="*/ 330 h 512"/>
              <a:gd name="T80" fmla="*/ 160 w 512"/>
              <a:gd name="T81" fmla="*/ 330 h 512"/>
              <a:gd name="T82" fmla="*/ 160 w 512"/>
              <a:gd name="T83" fmla="*/ 266 h 512"/>
              <a:gd name="T84" fmla="*/ 224 w 512"/>
              <a:gd name="T85" fmla="*/ 266 h 512"/>
              <a:gd name="T86" fmla="*/ 224 w 512"/>
              <a:gd name="T8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352"/>
                </a:moveTo>
                <a:cubicBezTo>
                  <a:pt x="362" y="352"/>
                  <a:pt x="362" y="352"/>
                  <a:pt x="362" y="352"/>
                </a:cubicBezTo>
                <a:cubicBezTo>
                  <a:pt x="368" y="352"/>
                  <a:pt x="373" y="347"/>
                  <a:pt x="373" y="341"/>
                </a:cubicBezTo>
                <a:cubicBezTo>
                  <a:pt x="373" y="256"/>
                  <a:pt x="373" y="256"/>
                  <a:pt x="373" y="256"/>
                </a:cubicBezTo>
                <a:cubicBezTo>
                  <a:pt x="373" y="250"/>
                  <a:pt x="368" y="245"/>
                  <a:pt x="362" y="245"/>
                </a:cubicBezTo>
                <a:cubicBezTo>
                  <a:pt x="288" y="245"/>
                  <a:pt x="288" y="245"/>
                  <a:pt x="288" y="245"/>
                </a:cubicBezTo>
                <a:cubicBezTo>
                  <a:pt x="293" y="213"/>
                  <a:pt x="323" y="181"/>
                  <a:pt x="362" y="181"/>
                </a:cubicBezTo>
                <a:cubicBezTo>
                  <a:pt x="368" y="181"/>
                  <a:pt x="373" y="176"/>
                  <a:pt x="373" y="170"/>
                </a:cubicBezTo>
                <a:cubicBezTo>
                  <a:pt x="373" y="164"/>
                  <a:pt x="368" y="160"/>
                  <a:pt x="362" y="160"/>
                </a:cubicBezTo>
                <a:cubicBezTo>
                  <a:pt x="308" y="160"/>
                  <a:pt x="266" y="201"/>
                  <a:pt x="266" y="256"/>
                </a:cubicBezTo>
                <a:cubicBezTo>
                  <a:pt x="266" y="341"/>
                  <a:pt x="266" y="341"/>
                  <a:pt x="266" y="341"/>
                </a:cubicBezTo>
                <a:cubicBezTo>
                  <a:pt x="266" y="347"/>
                  <a:pt x="271" y="352"/>
                  <a:pt x="277" y="352"/>
                </a:cubicBezTo>
                <a:close/>
                <a:moveTo>
                  <a:pt x="352" y="330"/>
                </a:moveTo>
                <a:cubicBezTo>
                  <a:pt x="288" y="330"/>
                  <a:pt x="288" y="330"/>
                  <a:pt x="288" y="330"/>
                </a:cubicBezTo>
                <a:cubicBezTo>
                  <a:pt x="288" y="266"/>
                  <a:pt x="288" y="266"/>
                  <a:pt x="288" y="266"/>
                </a:cubicBezTo>
                <a:cubicBezTo>
                  <a:pt x="352" y="266"/>
                  <a:pt x="352" y="266"/>
                  <a:pt x="352" y="266"/>
                </a:cubicBezTo>
                <a:lnTo>
                  <a:pt x="352" y="330"/>
                </a:lnTo>
                <a:close/>
                <a:moveTo>
                  <a:pt x="149" y="352"/>
                </a:moveTo>
                <a:cubicBezTo>
                  <a:pt x="234" y="352"/>
                  <a:pt x="234" y="352"/>
                  <a:pt x="234" y="352"/>
                </a:cubicBezTo>
                <a:cubicBezTo>
                  <a:pt x="240" y="352"/>
                  <a:pt x="245" y="347"/>
                  <a:pt x="245" y="341"/>
                </a:cubicBezTo>
                <a:cubicBezTo>
                  <a:pt x="245" y="256"/>
                  <a:pt x="245" y="256"/>
                  <a:pt x="245" y="256"/>
                </a:cubicBezTo>
                <a:cubicBezTo>
                  <a:pt x="245" y="250"/>
                  <a:pt x="240" y="245"/>
                  <a:pt x="234" y="245"/>
                </a:cubicBezTo>
                <a:cubicBezTo>
                  <a:pt x="160" y="245"/>
                  <a:pt x="160" y="245"/>
                  <a:pt x="160" y="245"/>
                </a:cubicBezTo>
                <a:cubicBezTo>
                  <a:pt x="165" y="208"/>
                  <a:pt x="195" y="181"/>
                  <a:pt x="234" y="181"/>
                </a:cubicBezTo>
                <a:cubicBezTo>
                  <a:pt x="240" y="181"/>
                  <a:pt x="245" y="176"/>
                  <a:pt x="245" y="170"/>
                </a:cubicBezTo>
                <a:cubicBezTo>
                  <a:pt x="245" y="164"/>
                  <a:pt x="240" y="160"/>
                  <a:pt x="234" y="160"/>
                </a:cubicBezTo>
                <a:cubicBezTo>
                  <a:pt x="180" y="160"/>
                  <a:pt x="138" y="201"/>
                  <a:pt x="138" y="256"/>
                </a:cubicBezTo>
                <a:cubicBezTo>
                  <a:pt x="138" y="341"/>
                  <a:pt x="138" y="341"/>
                  <a:pt x="138" y="341"/>
                </a:cubicBezTo>
                <a:cubicBezTo>
                  <a:pt x="138" y="347"/>
                  <a:pt x="143" y="352"/>
                  <a:pt x="149" y="352"/>
                </a:cubicBezTo>
                <a:close/>
                <a:moveTo>
                  <a:pt x="224" y="330"/>
                </a:moveTo>
                <a:cubicBezTo>
                  <a:pt x="160" y="330"/>
                  <a:pt x="160" y="330"/>
                  <a:pt x="160" y="330"/>
                </a:cubicBezTo>
                <a:cubicBezTo>
                  <a:pt x="160" y="266"/>
                  <a:pt x="160" y="266"/>
                  <a:pt x="160" y="266"/>
                </a:cubicBezTo>
                <a:cubicBezTo>
                  <a:pt x="224" y="266"/>
                  <a:pt x="224" y="266"/>
                  <a:pt x="224" y="266"/>
                </a:cubicBezTo>
                <a:lnTo>
                  <a:pt x="224" y="33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9" name="Group 481">
            <a:extLst>
              <a:ext uri="{FF2B5EF4-FFF2-40B4-BE49-F238E27FC236}">
                <a16:creationId xmlns:a16="http://schemas.microsoft.com/office/drawing/2014/main" id="{4FF0807E-6452-40C2-852F-D96F1C545778}"/>
              </a:ext>
            </a:extLst>
          </p:cNvPr>
          <p:cNvGrpSpPr>
            <a:grpSpLocks noChangeAspect="1"/>
          </p:cNvGrpSpPr>
          <p:nvPr/>
        </p:nvGrpSpPr>
        <p:grpSpPr bwMode="auto">
          <a:xfrm>
            <a:off x="3956654" y="1704297"/>
            <a:ext cx="369021" cy="369021"/>
            <a:chOff x="6960" y="1953"/>
            <a:chExt cx="340" cy="340"/>
          </a:xfrm>
          <a:solidFill>
            <a:schemeClr val="accent6"/>
          </a:solidFill>
        </p:grpSpPr>
        <p:sp>
          <p:nvSpPr>
            <p:cNvPr id="160" name="Rectangle 482">
              <a:extLst>
                <a:ext uri="{FF2B5EF4-FFF2-40B4-BE49-F238E27FC236}">
                  <a16:creationId xmlns:a16="http://schemas.microsoft.com/office/drawing/2014/main" id="{8CE3AD0A-6642-4CB5-8267-01DED8321B5D}"/>
                </a:ext>
              </a:extLst>
            </p:cNvPr>
            <p:cNvSpPr>
              <a:spLocks noChangeArrowheads="1"/>
            </p:cNvSpPr>
            <p:nvPr/>
          </p:nvSpPr>
          <p:spPr bwMode="auto">
            <a:xfrm>
              <a:off x="7151" y="2130"/>
              <a:ext cx="43" cy="4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1" name="Freeform 483">
              <a:extLst>
                <a:ext uri="{FF2B5EF4-FFF2-40B4-BE49-F238E27FC236}">
                  <a16:creationId xmlns:a16="http://schemas.microsoft.com/office/drawing/2014/main" id="{340BFB75-C745-44D4-85CE-529F78D9BEE8}"/>
                </a:ext>
              </a:extLst>
            </p:cNvPr>
            <p:cNvSpPr>
              <a:spLocks noEditPoints="1"/>
            </p:cNvSpPr>
            <p:nvPr/>
          </p:nvSpPr>
          <p:spPr bwMode="auto">
            <a:xfrm>
              <a:off x="6960" y="1953"/>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245 h 512"/>
                <a:gd name="T12" fmla="*/ 245 w 512"/>
                <a:gd name="T13" fmla="*/ 256 h 512"/>
                <a:gd name="T14" fmla="*/ 245 w 512"/>
                <a:gd name="T15" fmla="*/ 341 h 512"/>
                <a:gd name="T16" fmla="*/ 234 w 512"/>
                <a:gd name="T17" fmla="*/ 352 h 512"/>
                <a:gd name="T18" fmla="*/ 149 w 512"/>
                <a:gd name="T19" fmla="*/ 352 h 512"/>
                <a:gd name="T20" fmla="*/ 138 w 512"/>
                <a:gd name="T21" fmla="*/ 341 h 512"/>
                <a:gd name="T22" fmla="*/ 138 w 512"/>
                <a:gd name="T23" fmla="*/ 256 h 512"/>
                <a:gd name="T24" fmla="*/ 234 w 512"/>
                <a:gd name="T25" fmla="*/ 160 h 512"/>
                <a:gd name="T26" fmla="*/ 245 w 512"/>
                <a:gd name="T27" fmla="*/ 170 h 512"/>
                <a:gd name="T28" fmla="*/ 234 w 512"/>
                <a:gd name="T29" fmla="*/ 181 h 512"/>
                <a:gd name="T30" fmla="*/ 160 w 512"/>
                <a:gd name="T31" fmla="*/ 245 h 512"/>
                <a:gd name="T32" fmla="*/ 234 w 512"/>
                <a:gd name="T33" fmla="*/ 245 h 512"/>
                <a:gd name="T34" fmla="*/ 362 w 512"/>
                <a:gd name="T35" fmla="*/ 245 h 512"/>
                <a:gd name="T36" fmla="*/ 373 w 512"/>
                <a:gd name="T37" fmla="*/ 256 h 512"/>
                <a:gd name="T38" fmla="*/ 373 w 512"/>
                <a:gd name="T39" fmla="*/ 341 h 512"/>
                <a:gd name="T40" fmla="*/ 362 w 512"/>
                <a:gd name="T41" fmla="*/ 352 h 512"/>
                <a:gd name="T42" fmla="*/ 277 w 512"/>
                <a:gd name="T43" fmla="*/ 352 h 512"/>
                <a:gd name="T44" fmla="*/ 266 w 512"/>
                <a:gd name="T45" fmla="*/ 341 h 512"/>
                <a:gd name="T46" fmla="*/ 266 w 512"/>
                <a:gd name="T47" fmla="*/ 256 h 512"/>
                <a:gd name="T48" fmla="*/ 362 w 512"/>
                <a:gd name="T49" fmla="*/ 160 h 512"/>
                <a:gd name="T50" fmla="*/ 373 w 512"/>
                <a:gd name="T51" fmla="*/ 170 h 512"/>
                <a:gd name="T52" fmla="*/ 362 w 512"/>
                <a:gd name="T53" fmla="*/ 181 h 512"/>
                <a:gd name="T54" fmla="*/ 288 w 512"/>
                <a:gd name="T55" fmla="*/ 245 h 512"/>
                <a:gd name="T56" fmla="*/ 362 w 512"/>
                <a:gd name="T57"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245"/>
                  </a:moveTo>
                  <a:cubicBezTo>
                    <a:pt x="240" y="245"/>
                    <a:pt x="245" y="250"/>
                    <a:pt x="245" y="256"/>
                  </a:cubicBezTo>
                  <a:cubicBezTo>
                    <a:pt x="245" y="341"/>
                    <a:pt x="245" y="341"/>
                    <a:pt x="245" y="341"/>
                  </a:cubicBezTo>
                  <a:cubicBezTo>
                    <a:pt x="245" y="347"/>
                    <a:pt x="240" y="352"/>
                    <a:pt x="234" y="352"/>
                  </a:cubicBezTo>
                  <a:cubicBezTo>
                    <a:pt x="149" y="352"/>
                    <a:pt x="149" y="352"/>
                    <a:pt x="149" y="352"/>
                  </a:cubicBezTo>
                  <a:cubicBezTo>
                    <a:pt x="143" y="352"/>
                    <a:pt x="138" y="347"/>
                    <a:pt x="138" y="341"/>
                  </a:cubicBezTo>
                  <a:cubicBezTo>
                    <a:pt x="138" y="256"/>
                    <a:pt x="138" y="256"/>
                    <a:pt x="138" y="256"/>
                  </a:cubicBezTo>
                  <a:cubicBezTo>
                    <a:pt x="138" y="201"/>
                    <a:pt x="180" y="160"/>
                    <a:pt x="234" y="160"/>
                  </a:cubicBezTo>
                  <a:cubicBezTo>
                    <a:pt x="240" y="160"/>
                    <a:pt x="245" y="164"/>
                    <a:pt x="245" y="170"/>
                  </a:cubicBezTo>
                  <a:cubicBezTo>
                    <a:pt x="245" y="176"/>
                    <a:pt x="240" y="181"/>
                    <a:pt x="234" y="181"/>
                  </a:cubicBezTo>
                  <a:cubicBezTo>
                    <a:pt x="195" y="181"/>
                    <a:pt x="165" y="208"/>
                    <a:pt x="160" y="245"/>
                  </a:cubicBezTo>
                  <a:lnTo>
                    <a:pt x="234" y="245"/>
                  </a:lnTo>
                  <a:close/>
                  <a:moveTo>
                    <a:pt x="362" y="245"/>
                  </a:moveTo>
                  <a:cubicBezTo>
                    <a:pt x="368" y="245"/>
                    <a:pt x="373" y="250"/>
                    <a:pt x="373" y="256"/>
                  </a:cubicBezTo>
                  <a:cubicBezTo>
                    <a:pt x="373" y="341"/>
                    <a:pt x="373" y="341"/>
                    <a:pt x="373" y="341"/>
                  </a:cubicBezTo>
                  <a:cubicBezTo>
                    <a:pt x="373" y="347"/>
                    <a:pt x="368" y="352"/>
                    <a:pt x="362" y="352"/>
                  </a:cubicBezTo>
                  <a:cubicBezTo>
                    <a:pt x="277" y="352"/>
                    <a:pt x="277" y="352"/>
                    <a:pt x="277" y="352"/>
                  </a:cubicBezTo>
                  <a:cubicBezTo>
                    <a:pt x="271" y="352"/>
                    <a:pt x="266" y="347"/>
                    <a:pt x="266" y="341"/>
                  </a:cubicBezTo>
                  <a:cubicBezTo>
                    <a:pt x="266" y="256"/>
                    <a:pt x="266" y="256"/>
                    <a:pt x="266" y="256"/>
                  </a:cubicBezTo>
                  <a:cubicBezTo>
                    <a:pt x="266" y="201"/>
                    <a:pt x="308" y="160"/>
                    <a:pt x="362" y="160"/>
                  </a:cubicBezTo>
                  <a:cubicBezTo>
                    <a:pt x="368" y="160"/>
                    <a:pt x="373" y="164"/>
                    <a:pt x="373" y="170"/>
                  </a:cubicBezTo>
                  <a:cubicBezTo>
                    <a:pt x="373" y="176"/>
                    <a:pt x="368" y="181"/>
                    <a:pt x="362" y="181"/>
                  </a:cubicBezTo>
                  <a:cubicBezTo>
                    <a:pt x="323" y="181"/>
                    <a:pt x="293" y="213"/>
                    <a:pt x="288" y="245"/>
                  </a:cubicBezTo>
                  <a:lnTo>
                    <a:pt x="362"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2" name="Rectangle 484">
              <a:extLst>
                <a:ext uri="{FF2B5EF4-FFF2-40B4-BE49-F238E27FC236}">
                  <a16:creationId xmlns:a16="http://schemas.microsoft.com/office/drawing/2014/main" id="{B85A2CF1-EB32-40A6-83BE-2E0D09B4F8FA}"/>
                </a:ext>
              </a:extLst>
            </p:cNvPr>
            <p:cNvSpPr>
              <a:spLocks noChangeArrowheads="1"/>
            </p:cNvSpPr>
            <p:nvPr/>
          </p:nvSpPr>
          <p:spPr bwMode="auto">
            <a:xfrm>
              <a:off x="7066" y="2130"/>
              <a:ext cx="43" cy="4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3" name="Group 487">
            <a:extLst>
              <a:ext uri="{FF2B5EF4-FFF2-40B4-BE49-F238E27FC236}">
                <a16:creationId xmlns:a16="http://schemas.microsoft.com/office/drawing/2014/main" id="{2F9CD85C-0840-4B6E-BC62-23198C96D834}"/>
              </a:ext>
            </a:extLst>
          </p:cNvPr>
          <p:cNvGrpSpPr>
            <a:grpSpLocks noChangeAspect="1"/>
          </p:cNvGrpSpPr>
          <p:nvPr/>
        </p:nvGrpSpPr>
        <p:grpSpPr bwMode="auto">
          <a:xfrm>
            <a:off x="3520898" y="1703212"/>
            <a:ext cx="370106" cy="370106"/>
            <a:chOff x="6566" y="1944"/>
            <a:chExt cx="341" cy="341"/>
          </a:xfrm>
          <a:solidFill>
            <a:schemeClr val="accent6"/>
          </a:solidFill>
        </p:grpSpPr>
        <p:sp>
          <p:nvSpPr>
            <p:cNvPr id="164" name="Freeform 488">
              <a:extLst>
                <a:ext uri="{FF2B5EF4-FFF2-40B4-BE49-F238E27FC236}">
                  <a16:creationId xmlns:a16="http://schemas.microsoft.com/office/drawing/2014/main" id="{B88DB03D-AB32-4421-BF18-83F1FA49BDC0}"/>
                </a:ext>
              </a:extLst>
            </p:cNvPr>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5" name="Freeform 489">
              <a:extLst>
                <a:ext uri="{FF2B5EF4-FFF2-40B4-BE49-F238E27FC236}">
                  <a16:creationId xmlns:a16="http://schemas.microsoft.com/office/drawing/2014/main" id="{C9696400-5C3D-4DBE-A164-D204A913E2E3}"/>
                </a:ext>
              </a:extLst>
            </p:cNvPr>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6" name="Freeform 490">
              <a:extLst>
                <a:ext uri="{FF2B5EF4-FFF2-40B4-BE49-F238E27FC236}">
                  <a16:creationId xmlns:a16="http://schemas.microsoft.com/office/drawing/2014/main" id="{D90D5991-ED99-48BC-BFB4-824FC50B22DD}"/>
                </a:ext>
              </a:extLst>
            </p:cNvPr>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7" name="Group 493">
            <a:extLst>
              <a:ext uri="{FF2B5EF4-FFF2-40B4-BE49-F238E27FC236}">
                <a16:creationId xmlns:a16="http://schemas.microsoft.com/office/drawing/2014/main" id="{57A5B727-EB54-4DAA-81ED-8E84BF66CB39}"/>
              </a:ext>
            </a:extLst>
          </p:cNvPr>
          <p:cNvGrpSpPr>
            <a:grpSpLocks noChangeAspect="1"/>
          </p:cNvGrpSpPr>
          <p:nvPr/>
        </p:nvGrpSpPr>
        <p:grpSpPr bwMode="auto">
          <a:xfrm>
            <a:off x="3086227" y="1704297"/>
            <a:ext cx="369021" cy="369021"/>
            <a:chOff x="6194" y="1960"/>
            <a:chExt cx="340" cy="340"/>
          </a:xfrm>
          <a:solidFill>
            <a:schemeClr val="accent6"/>
          </a:solidFill>
        </p:grpSpPr>
        <p:sp>
          <p:nvSpPr>
            <p:cNvPr id="168" name="Freeform 494">
              <a:extLst>
                <a:ext uri="{FF2B5EF4-FFF2-40B4-BE49-F238E27FC236}">
                  <a16:creationId xmlns:a16="http://schemas.microsoft.com/office/drawing/2014/main" id="{0AE9F547-B8E5-4130-84C2-3B8CBEDD8F1A}"/>
                </a:ext>
              </a:extLst>
            </p:cNvPr>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9" name="Freeform 495">
              <a:extLst>
                <a:ext uri="{FF2B5EF4-FFF2-40B4-BE49-F238E27FC236}">
                  <a16:creationId xmlns:a16="http://schemas.microsoft.com/office/drawing/2014/main" id="{BE4118AB-2546-4221-AA55-64D07A218BB2}"/>
                </a:ext>
              </a:extLst>
            </p:cNvPr>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0" name="Oval 496">
              <a:extLst>
                <a:ext uri="{FF2B5EF4-FFF2-40B4-BE49-F238E27FC236}">
                  <a16:creationId xmlns:a16="http://schemas.microsoft.com/office/drawing/2014/main" id="{4057B8D8-2667-4D23-A03F-4CE0E05DF49F}"/>
                </a:ext>
              </a:extLst>
            </p:cNvPr>
            <p:cNvSpPr>
              <a:spLocks noChangeArrowheads="1"/>
            </p:cNvSpPr>
            <p:nvPr/>
          </p:nvSpPr>
          <p:spPr bwMode="auto">
            <a:xfrm>
              <a:off x="6357" y="22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1" name="Freeform 613">
            <a:extLst>
              <a:ext uri="{FF2B5EF4-FFF2-40B4-BE49-F238E27FC236}">
                <a16:creationId xmlns:a16="http://schemas.microsoft.com/office/drawing/2014/main" id="{53EA364F-7ABD-483B-AF4A-38BEA2F50E42}"/>
              </a:ext>
            </a:extLst>
          </p:cNvPr>
          <p:cNvSpPr>
            <a:spLocks noChangeAspect="1" noEditPoints="1"/>
          </p:cNvSpPr>
          <p:nvPr/>
        </p:nvSpPr>
        <p:spPr bwMode="auto">
          <a:xfrm>
            <a:off x="6131094" y="1703212"/>
            <a:ext cx="369021"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76 w 512"/>
              <a:gd name="T21" fmla="*/ 340 h 512"/>
              <a:gd name="T22" fmla="*/ 276 w 512"/>
              <a:gd name="T23" fmla="*/ 340 h 512"/>
              <a:gd name="T24" fmla="*/ 235 w 512"/>
              <a:gd name="T25" fmla="*/ 340 h 512"/>
              <a:gd name="T26" fmla="*/ 235 w 512"/>
              <a:gd name="T27" fmla="*/ 340 h 512"/>
              <a:gd name="T28" fmla="*/ 256 w 512"/>
              <a:gd name="T29" fmla="*/ 149 h 512"/>
              <a:gd name="T30" fmla="*/ 96 w 512"/>
              <a:gd name="T31" fmla="*/ 309 h 512"/>
              <a:gd name="T32" fmla="*/ 106 w 512"/>
              <a:gd name="T33" fmla="*/ 320 h 512"/>
              <a:gd name="T34" fmla="*/ 117 w 512"/>
              <a:gd name="T35" fmla="*/ 309 h 512"/>
              <a:gd name="T36" fmla="*/ 256 w 512"/>
              <a:gd name="T37" fmla="*/ 170 h 512"/>
              <a:gd name="T38" fmla="*/ 394 w 512"/>
              <a:gd name="T39" fmla="*/ 309 h 512"/>
              <a:gd name="T40" fmla="*/ 405 w 512"/>
              <a:gd name="T41" fmla="*/ 320 h 512"/>
              <a:gd name="T42" fmla="*/ 416 w 512"/>
              <a:gd name="T43" fmla="*/ 309 h 512"/>
              <a:gd name="T44" fmla="*/ 256 w 512"/>
              <a:gd name="T45" fmla="*/ 149 h 512"/>
              <a:gd name="T46" fmla="*/ 256 w 512"/>
              <a:gd name="T47" fmla="*/ 192 h 512"/>
              <a:gd name="T48" fmla="*/ 138 w 512"/>
              <a:gd name="T49" fmla="*/ 309 h 512"/>
              <a:gd name="T50" fmla="*/ 149 w 512"/>
              <a:gd name="T51" fmla="*/ 320 h 512"/>
              <a:gd name="T52" fmla="*/ 160 w 512"/>
              <a:gd name="T53" fmla="*/ 309 h 512"/>
              <a:gd name="T54" fmla="*/ 256 w 512"/>
              <a:gd name="T55" fmla="*/ 213 h 512"/>
              <a:gd name="T56" fmla="*/ 352 w 512"/>
              <a:gd name="T57" fmla="*/ 309 h 512"/>
              <a:gd name="T58" fmla="*/ 362 w 512"/>
              <a:gd name="T59" fmla="*/ 320 h 512"/>
              <a:gd name="T60" fmla="*/ 373 w 512"/>
              <a:gd name="T61" fmla="*/ 309 h 512"/>
              <a:gd name="T62" fmla="*/ 256 w 512"/>
              <a:gd name="T63" fmla="*/ 192 h 512"/>
              <a:gd name="T64" fmla="*/ 256 w 512"/>
              <a:gd name="T65" fmla="*/ 234 h 512"/>
              <a:gd name="T66" fmla="*/ 181 w 512"/>
              <a:gd name="T67" fmla="*/ 309 h 512"/>
              <a:gd name="T68" fmla="*/ 192 w 512"/>
              <a:gd name="T69" fmla="*/ 320 h 512"/>
              <a:gd name="T70" fmla="*/ 202 w 512"/>
              <a:gd name="T71" fmla="*/ 309 h 512"/>
              <a:gd name="T72" fmla="*/ 256 w 512"/>
              <a:gd name="T73" fmla="*/ 256 h 512"/>
              <a:gd name="T74" fmla="*/ 309 w 512"/>
              <a:gd name="T75" fmla="*/ 309 h 512"/>
              <a:gd name="T76" fmla="*/ 320 w 512"/>
              <a:gd name="T77" fmla="*/ 320 h 512"/>
              <a:gd name="T78" fmla="*/ 330 w 512"/>
              <a:gd name="T79" fmla="*/ 309 h 512"/>
              <a:gd name="T80" fmla="*/ 256 w 512"/>
              <a:gd name="T8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6" y="340"/>
                </a:moveTo>
                <a:cubicBezTo>
                  <a:pt x="276" y="340"/>
                  <a:pt x="276" y="340"/>
                  <a:pt x="276" y="340"/>
                </a:cubicBezTo>
                <a:moveTo>
                  <a:pt x="235" y="340"/>
                </a:moveTo>
                <a:cubicBezTo>
                  <a:pt x="235" y="340"/>
                  <a:pt x="235" y="340"/>
                  <a:pt x="235" y="340"/>
                </a:cubicBezTo>
                <a:moveTo>
                  <a:pt x="256" y="149"/>
                </a:moveTo>
                <a:cubicBezTo>
                  <a:pt x="167" y="149"/>
                  <a:pt x="96" y="221"/>
                  <a:pt x="96" y="309"/>
                </a:cubicBezTo>
                <a:cubicBezTo>
                  <a:pt x="96" y="315"/>
                  <a:pt x="100" y="320"/>
                  <a:pt x="106" y="320"/>
                </a:cubicBezTo>
                <a:cubicBezTo>
                  <a:pt x="112" y="320"/>
                  <a:pt x="117" y="315"/>
                  <a:pt x="117" y="309"/>
                </a:cubicBezTo>
                <a:cubicBezTo>
                  <a:pt x="117" y="233"/>
                  <a:pt x="179" y="170"/>
                  <a:pt x="256" y="170"/>
                </a:cubicBezTo>
                <a:cubicBezTo>
                  <a:pt x="332" y="170"/>
                  <a:pt x="394" y="233"/>
                  <a:pt x="394" y="309"/>
                </a:cubicBezTo>
                <a:cubicBezTo>
                  <a:pt x="394" y="315"/>
                  <a:pt x="399" y="320"/>
                  <a:pt x="405" y="320"/>
                </a:cubicBezTo>
                <a:cubicBezTo>
                  <a:pt x="411" y="320"/>
                  <a:pt x="416" y="315"/>
                  <a:pt x="416" y="309"/>
                </a:cubicBezTo>
                <a:cubicBezTo>
                  <a:pt x="416" y="221"/>
                  <a:pt x="344" y="149"/>
                  <a:pt x="256" y="149"/>
                </a:cubicBezTo>
                <a:close/>
                <a:moveTo>
                  <a:pt x="256" y="192"/>
                </a:moveTo>
                <a:cubicBezTo>
                  <a:pt x="191" y="192"/>
                  <a:pt x="138" y="244"/>
                  <a:pt x="138" y="309"/>
                </a:cubicBezTo>
                <a:cubicBezTo>
                  <a:pt x="138" y="315"/>
                  <a:pt x="143" y="320"/>
                  <a:pt x="149" y="320"/>
                </a:cubicBezTo>
                <a:cubicBezTo>
                  <a:pt x="155" y="320"/>
                  <a:pt x="160" y="315"/>
                  <a:pt x="160" y="309"/>
                </a:cubicBezTo>
                <a:cubicBezTo>
                  <a:pt x="160" y="256"/>
                  <a:pt x="203" y="213"/>
                  <a:pt x="256" y="213"/>
                </a:cubicBezTo>
                <a:cubicBezTo>
                  <a:pt x="309" y="213"/>
                  <a:pt x="352" y="256"/>
                  <a:pt x="352" y="309"/>
                </a:cubicBezTo>
                <a:cubicBezTo>
                  <a:pt x="352" y="315"/>
                  <a:pt x="356" y="320"/>
                  <a:pt x="362" y="320"/>
                </a:cubicBezTo>
                <a:cubicBezTo>
                  <a:pt x="368" y="320"/>
                  <a:pt x="373" y="315"/>
                  <a:pt x="373" y="309"/>
                </a:cubicBezTo>
                <a:cubicBezTo>
                  <a:pt x="373" y="244"/>
                  <a:pt x="320" y="192"/>
                  <a:pt x="256" y="192"/>
                </a:cubicBezTo>
                <a:close/>
                <a:moveTo>
                  <a:pt x="256" y="234"/>
                </a:moveTo>
                <a:cubicBezTo>
                  <a:pt x="214" y="234"/>
                  <a:pt x="181" y="268"/>
                  <a:pt x="181" y="309"/>
                </a:cubicBezTo>
                <a:cubicBezTo>
                  <a:pt x="181" y="315"/>
                  <a:pt x="186" y="320"/>
                  <a:pt x="192" y="320"/>
                </a:cubicBezTo>
                <a:cubicBezTo>
                  <a:pt x="198" y="320"/>
                  <a:pt x="202" y="315"/>
                  <a:pt x="202" y="309"/>
                </a:cubicBezTo>
                <a:cubicBezTo>
                  <a:pt x="202" y="280"/>
                  <a:pt x="226" y="256"/>
                  <a:pt x="256" y="256"/>
                </a:cubicBezTo>
                <a:cubicBezTo>
                  <a:pt x="285" y="256"/>
                  <a:pt x="309" y="280"/>
                  <a:pt x="309" y="309"/>
                </a:cubicBezTo>
                <a:cubicBezTo>
                  <a:pt x="309" y="315"/>
                  <a:pt x="314" y="320"/>
                  <a:pt x="320" y="320"/>
                </a:cubicBezTo>
                <a:cubicBezTo>
                  <a:pt x="326" y="320"/>
                  <a:pt x="330" y="315"/>
                  <a:pt x="330" y="309"/>
                </a:cubicBezTo>
                <a:cubicBezTo>
                  <a:pt x="330" y="268"/>
                  <a:pt x="297" y="234"/>
                  <a:pt x="256" y="23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2" name="Freeform 617">
            <a:extLst>
              <a:ext uri="{FF2B5EF4-FFF2-40B4-BE49-F238E27FC236}">
                <a16:creationId xmlns:a16="http://schemas.microsoft.com/office/drawing/2014/main" id="{826AEED7-A74E-4E92-85B7-E7E352492A8B}"/>
              </a:ext>
            </a:extLst>
          </p:cNvPr>
          <p:cNvSpPr>
            <a:spLocks noChangeAspect="1" noEditPoints="1"/>
          </p:cNvSpPr>
          <p:nvPr/>
        </p:nvSpPr>
        <p:spPr bwMode="auto">
          <a:xfrm>
            <a:off x="5696423" y="1704297"/>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320 h 512"/>
              <a:gd name="T12" fmla="*/ 309 w 512"/>
              <a:gd name="T13" fmla="*/ 309 h 512"/>
              <a:gd name="T14" fmla="*/ 256 w 512"/>
              <a:gd name="T15" fmla="*/ 256 h 512"/>
              <a:gd name="T16" fmla="*/ 202 w 512"/>
              <a:gd name="T17" fmla="*/ 309 h 512"/>
              <a:gd name="T18" fmla="*/ 192 w 512"/>
              <a:gd name="T19" fmla="*/ 320 h 512"/>
              <a:gd name="T20" fmla="*/ 181 w 512"/>
              <a:gd name="T21" fmla="*/ 309 h 512"/>
              <a:gd name="T22" fmla="*/ 256 w 512"/>
              <a:gd name="T23" fmla="*/ 234 h 512"/>
              <a:gd name="T24" fmla="*/ 330 w 512"/>
              <a:gd name="T25" fmla="*/ 309 h 512"/>
              <a:gd name="T26" fmla="*/ 320 w 512"/>
              <a:gd name="T27" fmla="*/ 320 h 512"/>
              <a:gd name="T28" fmla="*/ 362 w 512"/>
              <a:gd name="T29" fmla="*/ 320 h 512"/>
              <a:gd name="T30" fmla="*/ 352 w 512"/>
              <a:gd name="T31" fmla="*/ 309 h 512"/>
              <a:gd name="T32" fmla="*/ 256 w 512"/>
              <a:gd name="T33" fmla="*/ 213 h 512"/>
              <a:gd name="T34" fmla="*/ 160 w 512"/>
              <a:gd name="T35" fmla="*/ 309 h 512"/>
              <a:gd name="T36" fmla="*/ 149 w 512"/>
              <a:gd name="T37" fmla="*/ 320 h 512"/>
              <a:gd name="T38" fmla="*/ 138 w 512"/>
              <a:gd name="T39" fmla="*/ 309 h 512"/>
              <a:gd name="T40" fmla="*/ 256 w 512"/>
              <a:gd name="T41" fmla="*/ 192 h 512"/>
              <a:gd name="T42" fmla="*/ 373 w 512"/>
              <a:gd name="T43" fmla="*/ 309 h 512"/>
              <a:gd name="T44" fmla="*/ 362 w 512"/>
              <a:gd name="T45" fmla="*/ 320 h 512"/>
              <a:gd name="T46" fmla="*/ 405 w 512"/>
              <a:gd name="T47" fmla="*/ 320 h 512"/>
              <a:gd name="T48" fmla="*/ 394 w 512"/>
              <a:gd name="T49" fmla="*/ 309 h 512"/>
              <a:gd name="T50" fmla="*/ 256 w 512"/>
              <a:gd name="T51" fmla="*/ 170 h 512"/>
              <a:gd name="T52" fmla="*/ 117 w 512"/>
              <a:gd name="T53" fmla="*/ 309 h 512"/>
              <a:gd name="T54" fmla="*/ 106 w 512"/>
              <a:gd name="T55" fmla="*/ 320 h 512"/>
              <a:gd name="T56" fmla="*/ 96 w 512"/>
              <a:gd name="T57" fmla="*/ 309 h 512"/>
              <a:gd name="T58" fmla="*/ 256 w 512"/>
              <a:gd name="T59" fmla="*/ 149 h 512"/>
              <a:gd name="T60" fmla="*/ 416 w 512"/>
              <a:gd name="T61" fmla="*/ 309 h 512"/>
              <a:gd name="T62" fmla="*/ 405 w 512"/>
              <a:gd name="T6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320"/>
                </a:moveTo>
                <a:cubicBezTo>
                  <a:pt x="314" y="320"/>
                  <a:pt x="309" y="315"/>
                  <a:pt x="309" y="309"/>
                </a:cubicBezTo>
                <a:cubicBezTo>
                  <a:pt x="309" y="280"/>
                  <a:pt x="285" y="256"/>
                  <a:pt x="256" y="256"/>
                </a:cubicBezTo>
                <a:cubicBezTo>
                  <a:pt x="226" y="256"/>
                  <a:pt x="202" y="280"/>
                  <a:pt x="202" y="309"/>
                </a:cubicBezTo>
                <a:cubicBezTo>
                  <a:pt x="202" y="315"/>
                  <a:pt x="198" y="320"/>
                  <a:pt x="192" y="320"/>
                </a:cubicBezTo>
                <a:cubicBezTo>
                  <a:pt x="186" y="320"/>
                  <a:pt x="181" y="315"/>
                  <a:pt x="181" y="309"/>
                </a:cubicBezTo>
                <a:cubicBezTo>
                  <a:pt x="181" y="268"/>
                  <a:pt x="214" y="234"/>
                  <a:pt x="256" y="234"/>
                </a:cubicBezTo>
                <a:cubicBezTo>
                  <a:pt x="297" y="234"/>
                  <a:pt x="330" y="268"/>
                  <a:pt x="330" y="309"/>
                </a:cubicBezTo>
                <a:cubicBezTo>
                  <a:pt x="330" y="315"/>
                  <a:pt x="326" y="320"/>
                  <a:pt x="320" y="320"/>
                </a:cubicBezTo>
                <a:close/>
                <a:moveTo>
                  <a:pt x="362" y="320"/>
                </a:moveTo>
                <a:cubicBezTo>
                  <a:pt x="356" y="320"/>
                  <a:pt x="352" y="315"/>
                  <a:pt x="352" y="309"/>
                </a:cubicBezTo>
                <a:cubicBezTo>
                  <a:pt x="352" y="256"/>
                  <a:pt x="309" y="213"/>
                  <a:pt x="256" y="213"/>
                </a:cubicBezTo>
                <a:cubicBezTo>
                  <a:pt x="203" y="213"/>
                  <a:pt x="160" y="256"/>
                  <a:pt x="160" y="309"/>
                </a:cubicBezTo>
                <a:cubicBezTo>
                  <a:pt x="160" y="315"/>
                  <a:pt x="155" y="320"/>
                  <a:pt x="149" y="320"/>
                </a:cubicBezTo>
                <a:cubicBezTo>
                  <a:pt x="143" y="320"/>
                  <a:pt x="138" y="315"/>
                  <a:pt x="138" y="309"/>
                </a:cubicBezTo>
                <a:cubicBezTo>
                  <a:pt x="138" y="244"/>
                  <a:pt x="191" y="192"/>
                  <a:pt x="256" y="192"/>
                </a:cubicBezTo>
                <a:cubicBezTo>
                  <a:pt x="320" y="192"/>
                  <a:pt x="373" y="244"/>
                  <a:pt x="373" y="309"/>
                </a:cubicBezTo>
                <a:cubicBezTo>
                  <a:pt x="373" y="315"/>
                  <a:pt x="368" y="320"/>
                  <a:pt x="362" y="320"/>
                </a:cubicBezTo>
                <a:close/>
                <a:moveTo>
                  <a:pt x="405" y="320"/>
                </a:moveTo>
                <a:cubicBezTo>
                  <a:pt x="399" y="320"/>
                  <a:pt x="394" y="315"/>
                  <a:pt x="394" y="309"/>
                </a:cubicBezTo>
                <a:cubicBezTo>
                  <a:pt x="394" y="233"/>
                  <a:pt x="332" y="170"/>
                  <a:pt x="256" y="170"/>
                </a:cubicBezTo>
                <a:cubicBezTo>
                  <a:pt x="179" y="170"/>
                  <a:pt x="117" y="233"/>
                  <a:pt x="117" y="309"/>
                </a:cubicBezTo>
                <a:cubicBezTo>
                  <a:pt x="117" y="315"/>
                  <a:pt x="112" y="320"/>
                  <a:pt x="106" y="320"/>
                </a:cubicBezTo>
                <a:cubicBezTo>
                  <a:pt x="100" y="320"/>
                  <a:pt x="96" y="315"/>
                  <a:pt x="96" y="309"/>
                </a:cubicBezTo>
                <a:cubicBezTo>
                  <a:pt x="96" y="221"/>
                  <a:pt x="167" y="149"/>
                  <a:pt x="256" y="149"/>
                </a:cubicBezTo>
                <a:cubicBezTo>
                  <a:pt x="344" y="149"/>
                  <a:pt x="416" y="221"/>
                  <a:pt x="416" y="309"/>
                </a:cubicBezTo>
                <a:cubicBezTo>
                  <a:pt x="416" y="315"/>
                  <a:pt x="411" y="320"/>
                  <a:pt x="405" y="3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3" name="Group 638">
            <a:extLst>
              <a:ext uri="{FF2B5EF4-FFF2-40B4-BE49-F238E27FC236}">
                <a16:creationId xmlns:a16="http://schemas.microsoft.com/office/drawing/2014/main" id="{1CA7DAAB-F9FE-43C3-8449-5E7026D9D6A0}"/>
              </a:ext>
            </a:extLst>
          </p:cNvPr>
          <p:cNvGrpSpPr>
            <a:grpSpLocks noChangeAspect="1"/>
          </p:cNvGrpSpPr>
          <p:nvPr/>
        </p:nvGrpSpPr>
        <p:grpSpPr bwMode="auto">
          <a:xfrm>
            <a:off x="5260667" y="1704297"/>
            <a:ext cx="370106" cy="369021"/>
            <a:chOff x="1900" y="2357"/>
            <a:chExt cx="341" cy="340"/>
          </a:xfrm>
          <a:solidFill>
            <a:schemeClr val="accent1"/>
          </a:solidFill>
        </p:grpSpPr>
        <p:sp>
          <p:nvSpPr>
            <p:cNvPr id="174" name="Freeform 639">
              <a:extLst>
                <a:ext uri="{FF2B5EF4-FFF2-40B4-BE49-F238E27FC236}">
                  <a16:creationId xmlns:a16="http://schemas.microsoft.com/office/drawing/2014/main" id="{E872F0FF-A4DE-4AF3-8CF0-F4B0A71AB282}"/>
                </a:ext>
              </a:extLst>
            </p:cNvPr>
            <p:cNvSpPr>
              <a:spLocks/>
            </p:cNvSpPr>
            <p:nvPr/>
          </p:nvSpPr>
          <p:spPr bwMode="auto">
            <a:xfrm>
              <a:off x="1964" y="2419"/>
              <a:ext cx="213" cy="214"/>
            </a:xfrm>
            <a:custGeom>
              <a:avLst/>
              <a:gdLst>
                <a:gd name="T0" fmla="*/ 234 w 320"/>
                <a:gd name="T1" fmla="*/ 303 h 322"/>
                <a:gd name="T2" fmla="*/ 213 w 320"/>
                <a:gd name="T3" fmla="*/ 322 h 322"/>
                <a:gd name="T4" fmla="*/ 199 w 320"/>
                <a:gd name="T5" fmla="*/ 317 h 322"/>
                <a:gd name="T6" fmla="*/ 160 w 320"/>
                <a:gd name="T7" fmla="*/ 322 h 322"/>
                <a:gd name="T8" fmla="*/ 0 w 320"/>
                <a:gd name="T9" fmla="*/ 162 h 322"/>
                <a:gd name="T10" fmla="*/ 11 w 320"/>
                <a:gd name="T11" fmla="*/ 102 h 322"/>
                <a:gd name="T12" fmla="*/ 34 w 320"/>
                <a:gd name="T13" fmla="*/ 63 h 322"/>
                <a:gd name="T14" fmla="*/ 49 w 320"/>
                <a:gd name="T15" fmla="*/ 61 h 322"/>
                <a:gd name="T16" fmla="*/ 51 w 320"/>
                <a:gd name="T17" fmla="*/ 76 h 322"/>
                <a:gd name="T18" fmla="*/ 31 w 320"/>
                <a:gd name="T19" fmla="*/ 110 h 322"/>
                <a:gd name="T20" fmla="*/ 21 w 320"/>
                <a:gd name="T21" fmla="*/ 162 h 322"/>
                <a:gd name="T22" fmla="*/ 160 w 320"/>
                <a:gd name="T23" fmla="*/ 300 h 322"/>
                <a:gd name="T24" fmla="*/ 192 w 320"/>
                <a:gd name="T25" fmla="*/ 296 h 322"/>
                <a:gd name="T26" fmla="*/ 213 w 320"/>
                <a:gd name="T27" fmla="*/ 279 h 322"/>
                <a:gd name="T28" fmla="*/ 226 w 320"/>
                <a:gd name="T29" fmla="*/ 283 h 322"/>
                <a:gd name="T30" fmla="*/ 298 w 320"/>
                <a:gd name="T31" fmla="*/ 162 h 322"/>
                <a:gd name="T32" fmla="*/ 249 w 320"/>
                <a:gd name="T33" fmla="*/ 56 h 322"/>
                <a:gd name="T34" fmla="*/ 230 w 320"/>
                <a:gd name="T35" fmla="*/ 82 h 322"/>
                <a:gd name="T36" fmla="*/ 266 w 320"/>
                <a:gd name="T37" fmla="*/ 162 h 322"/>
                <a:gd name="T38" fmla="*/ 160 w 320"/>
                <a:gd name="T39" fmla="*/ 268 h 322"/>
                <a:gd name="T40" fmla="*/ 55 w 320"/>
                <a:gd name="T41" fmla="*/ 181 h 322"/>
                <a:gd name="T42" fmla="*/ 42 w 320"/>
                <a:gd name="T43" fmla="*/ 162 h 322"/>
                <a:gd name="T44" fmla="*/ 55 w 320"/>
                <a:gd name="T45" fmla="*/ 142 h 322"/>
                <a:gd name="T46" fmla="*/ 59 w 320"/>
                <a:gd name="T47" fmla="*/ 126 h 322"/>
                <a:gd name="T48" fmla="*/ 73 w 320"/>
                <a:gd name="T49" fmla="*/ 120 h 322"/>
                <a:gd name="T50" fmla="*/ 79 w 320"/>
                <a:gd name="T51" fmla="*/ 133 h 322"/>
                <a:gd name="T52" fmla="*/ 76 w 320"/>
                <a:gd name="T53" fmla="*/ 144 h 322"/>
                <a:gd name="T54" fmla="*/ 85 w 320"/>
                <a:gd name="T55" fmla="*/ 162 h 322"/>
                <a:gd name="T56" fmla="*/ 76 w 320"/>
                <a:gd name="T57" fmla="*/ 179 h 322"/>
                <a:gd name="T58" fmla="*/ 160 w 320"/>
                <a:gd name="T59" fmla="*/ 247 h 322"/>
                <a:gd name="T60" fmla="*/ 245 w 320"/>
                <a:gd name="T61" fmla="*/ 162 h 322"/>
                <a:gd name="T62" fmla="*/ 217 w 320"/>
                <a:gd name="T63" fmla="*/ 99 h 322"/>
                <a:gd name="T64" fmla="*/ 199 w 320"/>
                <a:gd name="T65" fmla="*/ 125 h 322"/>
                <a:gd name="T66" fmla="*/ 213 w 320"/>
                <a:gd name="T67" fmla="*/ 162 h 322"/>
                <a:gd name="T68" fmla="*/ 160 w 320"/>
                <a:gd name="T69" fmla="*/ 215 h 322"/>
                <a:gd name="T70" fmla="*/ 106 w 320"/>
                <a:gd name="T71" fmla="*/ 162 h 322"/>
                <a:gd name="T72" fmla="*/ 133 w 320"/>
                <a:gd name="T73" fmla="*/ 115 h 322"/>
                <a:gd name="T74" fmla="*/ 148 w 320"/>
                <a:gd name="T75" fmla="*/ 119 h 322"/>
                <a:gd name="T76" fmla="*/ 144 w 320"/>
                <a:gd name="T77" fmla="*/ 134 h 322"/>
                <a:gd name="T78" fmla="*/ 128 w 320"/>
                <a:gd name="T79" fmla="*/ 162 h 322"/>
                <a:gd name="T80" fmla="*/ 160 w 320"/>
                <a:gd name="T81" fmla="*/ 194 h 322"/>
                <a:gd name="T82" fmla="*/ 192 w 320"/>
                <a:gd name="T83" fmla="*/ 162 h 322"/>
                <a:gd name="T84" fmla="*/ 186 w 320"/>
                <a:gd name="T85" fmla="*/ 143 h 322"/>
                <a:gd name="T86" fmla="*/ 168 w 320"/>
                <a:gd name="T87" fmla="*/ 168 h 322"/>
                <a:gd name="T88" fmla="*/ 160 w 320"/>
                <a:gd name="T89" fmla="*/ 172 h 322"/>
                <a:gd name="T90" fmla="*/ 153 w 320"/>
                <a:gd name="T91" fmla="*/ 170 h 322"/>
                <a:gd name="T92" fmla="*/ 151 w 320"/>
                <a:gd name="T93" fmla="*/ 155 h 322"/>
                <a:gd name="T94" fmla="*/ 258 w 320"/>
                <a:gd name="T95" fmla="*/ 6 h 322"/>
                <a:gd name="T96" fmla="*/ 273 w 320"/>
                <a:gd name="T97" fmla="*/ 4 h 322"/>
                <a:gd name="T98" fmla="*/ 275 w 320"/>
                <a:gd name="T99" fmla="*/ 19 h 322"/>
                <a:gd name="T100" fmla="*/ 261 w 320"/>
                <a:gd name="T101" fmla="*/ 38 h 322"/>
                <a:gd name="T102" fmla="*/ 320 w 320"/>
                <a:gd name="T103" fmla="*/ 162 h 322"/>
                <a:gd name="T104" fmla="*/ 234 w 320"/>
                <a:gd name="T105" fmla="*/ 30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322">
                  <a:moveTo>
                    <a:pt x="234" y="303"/>
                  </a:moveTo>
                  <a:cubicBezTo>
                    <a:pt x="233" y="314"/>
                    <a:pt x="224" y="322"/>
                    <a:pt x="213" y="322"/>
                  </a:cubicBezTo>
                  <a:cubicBezTo>
                    <a:pt x="208" y="322"/>
                    <a:pt x="203" y="320"/>
                    <a:pt x="199" y="317"/>
                  </a:cubicBezTo>
                  <a:cubicBezTo>
                    <a:pt x="187" y="320"/>
                    <a:pt x="173" y="322"/>
                    <a:pt x="160" y="322"/>
                  </a:cubicBezTo>
                  <a:cubicBezTo>
                    <a:pt x="71" y="322"/>
                    <a:pt x="0" y="250"/>
                    <a:pt x="0" y="162"/>
                  </a:cubicBezTo>
                  <a:cubicBezTo>
                    <a:pt x="0" y="141"/>
                    <a:pt x="4" y="121"/>
                    <a:pt x="11" y="102"/>
                  </a:cubicBezTo>
                  <a:cubicBezTo>
                    <a:pt x="17" y="88"/>
                    <a:pt x="24" y="75"/>
                    <a:pt x="34" y="63"/>
                  </a:cubicBezTo>
                  <a:cubicBezTo>
                    <a:pt x="38" y="58"/>
                    <a:pt x="44" y="57"/>
                    <a:pt x="49" y="61"/>
                  </a:cubicBezTo>
                  <a:cubicBezTo>
                    <a:pt x="54" y="65"/>
                    <a:pt x="54" y="71"/>
                    <a:pt x="51" y="76"/>
                  </a:cubicBezTo>
                  <a:cubicBezTo>
                    <a:pt x="42" y="86"/>
                    <a:pt x="36" y="98"/>
                    <a:pt x="31" y="110"/>
                  </a:cubicBezTo>
                  <a:cubicBezTo>
                    <a:pt x="24" y="126"/>
                    <a:pt x="21" y="144"/>
                    <a:pt x="21" y="162"/>
                  </a:cubicBezTo>
                  <a:cubicBezTo>
                    <a:pt x="21" y="238"/>
                    <a:pt x="83" y="300"/>
                    <a:pt x="160" y="300"/>
                  </a:cubicBezTo>
                  <a:cubicBezTo>
                    <a:pt x="171" y="300"/>
                    <a:pt x="182" y="299"/>
                    <a:pt x="192" y="296"/>
                  </a:cubicBezTo>
                  <a:cubicBezTo>
                    <a:pt x="194" y="286"/>
                    <a:pt x="203" y="279"/>
                    <a:pt x="213" y="279"/>
                  </a:cubicBezTo>
                  <a:cubicBezTo>
                    <a:pt x="218" y="279"/>
                    <a:pt x="222" y="281"/>
                    <a:pt x="226" y="283"/>
                  </a:cubicBezTo>
                  <a:cubicBezTo>
                    <a:pt x="269" y="260"/>
                    <a:pt x="298" y="214"/>
                    <a:pt x="298" y="162"/>
                  </a:cubicBezTo>
                  <a:cubicBezTo>
                    <a:pt x="298" y="120"/>
                    <a:pt x="280" y="82"/>
                    <a:pt x="249" y="56"/>
                  </a:cubicBezTo>
                  <a:cubicBezTo>
                    <a:pt x="230" y="82"/>
                    <a:pt x="230" y="82"/>
                    <a:pt x="230" y="82"/>
                  </a:cubicBezTo>
                  <a:cubicBezTo>
                    <a:pt x="253" y="102"/>
                    <a:pt x="266" y="131"/>
                    <a:pt x="266" y="162"/>
                  </a:cubicBezTo>
                  <a:cubicBezTo>
                    <a:pt x="266" y="220"/>
                    <a:pt x="218" y="268"/>
                    <a:pt x="160" y="268"/>
                  </a:cubicBezTo>
                  <a:cubicBezTo>
                    <a:pt x="107" y="268"/>
                    <a:pt x="64" y="231"/>
                    <a:pt x="55" y="181"/>
                  </a:cubicBezTo>
                  <a:cubicBezTo>
                    <a:pt x="47" y="178"/>
                    <a:pt x="42" y="170"/>
                    <a:pt x="42" y="162"/>
                  </a:cubicBezTo>
                  <a:cubicBezTo>
                    <a:pt x="42" y="153"/>
                    <a:pt x="47" y="146"/>
                    <a:pt x="55" y="142"/>
                  </a:cubicBezTo>
                  <a:cubicBezTo>
                    <a:pt x="56" y="137"/>
                    <a:pt x="57" y="131"/>
                    <a:pt x="59" y="126"/>
                  </a:cubicBezTo>
                  <a:cubicBezTo>
                    <a:pt x="61" y="121"/>
                    <a:pt x="67" y="118"/>
                    <a:pt x="73" y="120"/>
                  </a:cubicBezTo>
                  <a:cubicBezTo>
                    <a:pt x="78" y="122"/>
                    <a:pt x="81" y="128"/>
                    <a:pt x="79" y="133"/>
                  </a:cubicBezTo>
                  <a:cubicBezTo>
                    <a:pt x="78" y="137"/>
                    <a:pt x="77" y="141"/>
                    <a:pt x="76" y="144"/>
                  </a:cubicBezTo>
                  <a:cubicBezTo>
                    <a:pt x="81" y="148"/>
                    <a:pt x="85" y="155"/>
                    <a:pt x="85" y="162"/>
                  </a:cubicBezTo>
                  <a:cubicBezTo>
                    <a:pt x="85" y="169"/>
                    <a:pt x="81" y="175"/>
                    <a:pt x="76" y="179"/>
                  </a:cubicBezTo>
                  <a:cubicBezTo>
                    <a:pt x="84" y="218"/>
                    <a:pt x="119" y="247"/>
                    <a:pt x="160" y="247"/>
                  </a:cubicBezTo>
                  <a:cubicBezTo>
                    <a:pt x="207" y="247"/>
                    <a:pt x="245" y="209"/>
                    <a:pt x="245" y="162"/>
                  </a:cubicBezTo>
                  <a:cubicBezTo>
                    <a:pt x="245" y="138"/>
                    <a:pt x="235" y="115"/>
                    <a:pt x="217" y="99"/>
                  </a:cubicBezTo>
                  <a:cubicBezTo>
                    <a:pt x="199" y="125"/>
                    <a:pt x="199" y="125"/>
                    <a:pt x="199" y="125"/>
                  </a:cubicBezTo>
                  <a:cubicBezTo>
                    <a:pt x="208" y="135"/>
                    <a:pt x="213" y="148"/>
                    <a:pt x="213" y="162"/>
                  </a:cubicBezTo>
                  <a:cubicBezTo>
                    <a:pt x="213" y="191"/>
                    <a:pt x="189" y="215"/>
                    <a:pt x="160" y="215"/>
                  </a:cubicBezTo>
                  <a:cubicBezTo>
                    <a:pt x="130" y="215"/>
                    <a:pt x="106" y="191"/>
                    <a:pt x="106" y="162"/>
                  </a:cubicBezTo>
                  <a:cubicBezTo>
                    <a:pt x="106" y="143"/>
                    <a:pt x="117" y="125"/>
                    <a:pt x="133" y="115"/>
                  </a:cubicBezTo>
                  <a:cubicBezTo>
                    <a:pt x="138" y="113"/>
                    <a:pt x="145" y="114"/>
                    <a:pt x="148" y="119"/>
                  </a:cubicBezTo>
                  <a:cubicBezTo>
                    <a:pt x="151" y="124"/>
                    <a:pt x="149" y="131"/>
                    <a:pt x="144" y="134"/>
                  </a:cubicBezTo>
                  <a:cubicBezTo>
                    <a:pt x="134" y="140"/>
                    <a:pt x="128" y="150"/>
                    <a:pt x="128" y="162"/>
                  </a:cubicBezTo>
                  <a:cubicBezTo>
                    <a:pt x="128" y="179"/>
                    <a:pt x="142" y="194"/>
                    <a:pt x="160" y="194"/>
                  </a:cubicBezTo>
                  <a:cubicBezTo>
                    <a:pt x="177" y="194"/>
                    <a:pt x="192" y="179"/>
                    <a:pt x="192" y="162"/>
                  </a:cubicBezTo>
                  <a:cubicBezTo>
                    <a:pt x="192" y="155"/>
                    <a:pt x="190" y="149"/>
                    <a:pt x="186" y="143"/>
                  </a:cubicBezTo>
                  <a:cubicBezTo>
                    <a:pt x="168" y="168"/>
                    <a:pt x="168" y="168"/>
                    <a:pt x="168" y="168"/>
                  </a:cubicBezTo>
                  <a:cubicBezTo>
                    <a:pt x="166" y="171"/>
                    <a:pt x="163" y="172"/>
                    <a:pt x="160" y="172"/>
                  </a:cubicBezTo>
                  <a:cubicBezTo>
                    <a:pt x="158" y="172"/>
                    <a:pt x="155" y="172"/>
                    <a:pt x="153" y="170"/>
                  </a:cubicBezTo>
                  <a:cubicBezTo>
                    <a:pt x="149" y="167"/>
                    <a:pt x="148" y="160"/>
                    <a:pt x="151" y="155"/>
                  </a:cubicBezTo>
                  <a:cubicBezTo>
                    <a:pt x="258" y="6"/>
                    <a:pt x="258" y="6"/>
                    <a:pt x="258" y="6"/>
                  </a:cubicBezTo>
                  <a:cubicBezTo>
                    <a:pt x="261" y="1"/>
                    <a:pt x="268" y="0"/>
                    <a:pt x="273" y="4"/>
                  </a:cubicBezTo>
                  <a:cubicBezTo>
                    <a:pt x="277" y="7"/>
                    <a:pt x="278" y="14"/>
                    <a:pt x="275" y="19"/>
                  </a:cubicBezTo>
                  <a:cubicBezTo>
                    <a:pt x="261" y="38"/>
                    <a:pt x="261" y="38"/>
                    <a:pt x="261" y="38"/>
                  </a:cubicBezTo>
                  <a:cubicBezTo>
                    <a:pt x="298" y="69"/>
                    <a:pt x="320" y="113"/>
                    <a:pt x="320" y="162"/>
                  </a:cubicBezTo>
                  <a:cubicBezTo>
                    <a:pt x="320" y="223"/>
                    <a:pt x="285" y="276"/>
                    <a:pt x="234" y="3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5" name="Freeform 640">
              <a:extLst>
                <a:ext uri="{FF2B5EF4-FFF2-40B4-BE49-F238E27FC236}">
                  <a16:creationId xmlns:a16="http://schemas.microsoft.com/office/drawing/2014/main" id="{F08402A7-19CD-4CAA-B457-DAC0D61DE85E}"/>
                </a:ext>
              </a:extLst>
            </p:cNvPr>
            <p:cNvSpPr>
              <a:spLocks noEditPoints="1"/>
            </p:cNvSpPr>
            <p:nvPr/>
          </p:nvSpPr>
          <p:spPr bwMode="auto">
            <a:xfrm>
              <a:off x="1900" y="235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6" name="Freeform 644">
            <a:extLst>
              <a:ext uri="{FF2B5EF4-FFF2-40B4-BE49-F238E27FC236}">
                <a16:creationId xmlns:a16="http://schemas.microsoft.com/office/drawing/2014/main" id="{7B50C689-7EE2-4B53-9FBC-602A1C475151}"/>
              </a:ext>
            </a:extLst>
          </p:cNvPr>
          <p:cNvSpPr>
            <a:spLocks noChangeAspect="1" noEditPoints="1"/>
          </p:cNvSpPr>
          <p:nvPr/>
        </p:nvSpPr>
        <p:spPr bwMode="auto">
          <a:xfrm>
            <a:off x="4825996" y="1704297"/>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397 h 512"/>
              <a:gd name="T12" fmla="*/ 309 w 512"/>
              <a:gd name="T13" fmla="*/ 416 h 512"/>
              <a:gd name="T14" fmla="*/ 295 w 512"/>
              <a:gd name="T15" fmla="*/ 411 h 512"/>
              <a:gd name="T16" fmla="*/ 256 w 512"/>
              <a:gd name="T17" fmla="*/ 416 h 512"/>
              <a:gd name="T18" fmla="*/ 96 w 512"/>
              <a:gd name="T19" fmla="*/ 256 h 512"/>
              <a:gd name="T20" fmla="*/ 107 w 512"/>
              <a:gd name="T21" fmla="*/ 196 h 512"/>
              <a:gd name="T22" fmla="*/ 130 w 512"/>
              <a:gd name="T23" fmla="*/ 157 h 512"/>
              <a:gd name="T24" fmla="*/ 145 w 512"/>
              <a:gd name="T25" fmla="*/ 155 h 512"/>
              <a:gd name="T26" fmla="*/ 147 w 512"/>
              <a:gd name="T27" fmla="*/ 170 h 512"/>
              <a:gd name="T28" fmla="*/ 127 w 512"/>
              <a:gd name="T29" fmla="*/ 204 h 512"/>
              <a:gd name="T30" fmla="*/ 117 w 512"/>
              <a:gd name="T31" fmla="*/ 256 h 512"/>
              <a:gd name="T32" fmla="*/ 256 w 512"/>
              <a:gd name="T33" fmla="*/ 394 h 512"/>
              <a:gd name="T34" fmla="*/ 288 w 512"/>
              <a:gd name="T35" fmla="*/ 390 h 512"/>
              <a:gd name="T36" fmla="*/ 309 w 512"/>
              <a:gd name="T37" fmla="*/ 373 h 512"/>
              <a:gd name="T38" fmla="*/ 322 w 512"/>
              <a:gd name="T39" fmla="*/ 377 h 512"/>
              <a:gd name="T40" fmla="*/ 394 w 512"/>
              <a:gd name="T41" fmla="*/ 256 h 512"/>
              <a:gd name="T42" fmla="*/ 345 w 512"/>
              <a:gd name="T43" fmla="*/ 150 h 512"/>
              <a:gd name="T44" fmla="*/ 326 w 512"/>
              <a:gd name="T45" fmla="*/ 176 h 512"/>
              <a:gd name="T46" fmla="*/ 362 w 512"/>
              <a:gd name="T47" fmla="*/ 256 h 512"/>
              <a:gd name="T48" fmla="*/ 256 w 512"/>
              <a:gd name="T49" fmla="*/ 362 h 512"/>
              <a:gd name="T50" fmla="*/ 151 w 512"/>
              <a:gd name="T51" fmla="*/ 275 h 512"/>
              <a:gd name="T52" fmla="*/ 138 w 512"/>
              <a:gd name="T53" fmla="*/ 256 h 512"/>
              <a:gd name="T54" fmla="*/ 151 w 512"/>
              <a:gd name="T55" fmla="*/ 236 h 512"/>
              <a:gd name="T56" fmla="*/ 155 w 512"/>
              <a:gd name="T57" fmla="*/ 220 h 512"/>
              <a:gd name="T58" fmla="*/ 169 w 512"/>
              <a:gd name="T59" fmla="*/ 214 h 512"/>
              <a:gd name="T60" fmla="*/ 175 w 512"/>
              <a:gd name="T61" fmla="*/ 227 h 512"/>
              <a:gd name="T62" fmla="*/ 172 w 512"/>
              <a:gd name="T63" fmla="*/ 238 h 512"/>
              <a:gd name="T64" fmla="*/ 181 w 512"/>
              <a:gd name="T65" fmla="*/ 256 h 512"/>
              <a:gd name="T66" fmla="*/ 172 w 512"/>
              <a:gd name="T67" fmla="*/ 273 h 512"/>
              <a:gd name="T68" fmla="*/ 256 w 512"/>
              <a:gd name="T69" fmla="*/ 341 h 512"/>
              <a:gd name="T70" fmla="*/ 341 w 512"/>
              <a:gd name="T71" fmla="*/ 256 h 512"/>
              <a:gd name="T72" fmla="*/ 313 w 512"/>
              <a:gd name="T73" fmla="*/ 193 h 512"/>
              <a:gd name="T74" fmla="*/ 295 w 512"/>
              <a:gd name="T75" fmla="*/ 219 h 512"/>
              <a:gd name="T76" fmla="*/ 309 w 512"/>
              <a:gd name="T77" fmla="*/ 256 h 512"/>
              <a:gd name="T78" fmla="*/ 256 w 512"/>
              <a:gd name="T79" fmla="*/ 309 h 512"/>
              <a:gd name="T80" fmla="*/ 202 w 512"/>
              <a:gd name="T81" fmla="*/ 256 h 512"/>
              <a:gd name="T82" fmla="*/ 229 w 512"/>
              <a:gd name="T83" fmla="*/ 209 h 512"/>
              <a:gd name="T84" fmla="*/ 244 w 512"/>
              <a:gd name="T85" fmla="*/ 213 h 512"/>
              <a:gd name="T86" fmla="*/ 240 w 512"/>
              <a:gd name="T87" fmla="*/ 228 h 512"/>
              <a:gd name="T88" fmla="*/ 224 w 512"/>
              <a:gd name="T89" fmla="*/ 256 h 512"/>
              <a:gd name="T90" fmla="*/ 256 w 512"/>
              <a:gd name="T91" fmla="*/ 288 h 512"/>
              <a:gd name="T92" fmla="*/ 288 w 512"/>
              <a:gd name="T93" fmla="*/ 256 h 512"/>
              <a:gd name="T94" fmla="*/ 282 w 512"/>
              <a:gd name="T95" fmla="*/ 237 h 512"/>
              <a:gd name="T96" fmla="*/ 264 w 512"/>
              <a:gd name="T97" fmla="*/ 262 h 512"/>
              <a:gd name="T98" fmla="*/ 256 w 512"/>
              <a:gd name="T99" fmla="*/ 266 h 512"/>
              <a:gd name="T100" fmla="*/ 249 w 512"/>
              <a:gd name="T101" fmla="*/ 264 h 512"/>
              <a:gd name="T102" fmla="*/ 247 w 512"/>
              <a:gd name="T103" fmla="*/ 249 h 512"/>
              <a:gd name="T104" fmla="*/ 354 w 512"/>
              <a:gd name="T105" fmla="*/ 100 h 512"/>
              <a:gd name="T106" fmla="*/ 369 w 512"/>
              <a:gd name="T107" fmla="*/ 98 h 512"/>
              <a:gd name="T108" fmla="*/ 371 w 512"/>
              <a:gd name="T109" fmla="*/ 113 h 512"/>
              <a:gd name="T110" fmla="*/ 357 w 512"/>
              <a:gd name="T111" fmla="*/ 132 h 512"/>
              <a:gd name="T112" fmla="*/ 416 w 512"/>
              <a:gd name="T113" fmla="*/ 256 h 512"/>
              <a:gd name="T114" fmla="*/ 330 w 512"/>
              <a:gd name="T115"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397"/>
                </a:moveTo>
                <a:cubicBezTo>
                  <a:pt x="329" y="408"/>
                  <a:pt x="320" y="416"/>
                  <a:pt x="309" y="416"/>
                </a:cubicBezTo>
                <a:cubicBezTo>
                  <a:pt x="304" y="416"/>
                  <a:pt x="299" y="414"/>
                  <a:pt x="295" y="411"/>
                </a:cubicBezTo>
                <a:cubicBezTo>
                  <a:pt x="283" y="414"/>
                  <a:pt x="269" y="416"/>
                  <a:pt x="256" y="416"/>
                </a:cubicBezTo>
                <a:cubicBezTo>
                  <a:pt x="167" y="416"/>
                  <a:pt x="96" y="344"/>
                  <a:pt x="96" y="256"/>
                </a:cubicBezTo>
                <a:cubicBezTo>
                  <a:pt x="96" y="235"/>
                  <a:pt x="100" y="215"/>
                  <a:pt x="107" y="196"/>
                </a:cubicBezTo>
                <a:cubicBezTo>
                  <a:pt x="113" y="182"/>
                  <a:pt x="120" y="169"/>
                  <a:pt x="130" y="157"/>
                </a:cubicBezTo>
                <a:cubicBezTo>
                  <a:pt x="134" y="152"/>
                  <a:pt x="140" y="151"/>
                  <a:pt x="145" y="155"/>
                </a:cubicBezTo>
                <a:cubicBezTo>
                  <a:pt x="150" y="159"/>
                  <a:pt x="150" y="165"/>
                  <a:pt x="147" y="170"/>
                </a:cubicBezTo>
                <a:cubicBezTo>
                  <a:pt x="138" y="180"/>
                  <a:pt x="132" y="192"/>
                  <a:pt x="127" y="204"/>
                </a:cubicBezTo>
                <a:cubicBezTo>
                  <a:pt x="120" y="220"/>
                  <a:pt x="117" y="238"/>
                  <a:pt x="117" y="256"/>
                </a:cubicBezTo>
                <a:cubicBezTo>
                  <a:pt x="117" y="332"/>
                  <a:pt x="179" y="394"/>
                  <a:pt x="256" y="394"/>
                </a:cubicBezTo>
                <a:cubicBezTo>
                  <a:pt x="267" y="394"/>
                  <a:pt x="278" y="393"/>
                  <a:pt x="288" y="390"/>
                </a:cubicBezTo>
                <a:cubicBezTo>
                  <a:pt x="290" y="380"/>
                  <a:pt x="299" y="373"/>
                  <a:pt x="309" y="373"/>
                </a:cubicBezTo>
                <a:cubicBezTo>
                  <a:pt x="314" y="373"/>
                  <a:pt x="318" y="375"/>
                  <a:pt x="322" y="377"/>
                </a:cubicBezTo>
                <a:cubicBezTo>
                  <a:pt x="365" y="354"/>
                  <a:pt x="394" y="308"/>
                  <a:pt x="394" y="256"/>
                </a:cubicBezTo>
                <a:cubicBezTo>
                  <a:pt x="394" y="214"/>
                  <a:pt x="376" y="176"/>
                  <a:pt x="345" y="150"/>
                </a:cubicBezTo>
                <a:cubicBezTo>
                  <a:pt x="326" y="176"/>
                  <a:pt x="326" y="176"/>
                  <a:pt x="326" y="176"/>
                </a:cubicBezTo>
                <a:cubicBezTo>
                  <a:pt x="349" y="196"/>
                  <a:pt x="362" y="225"/>
                  <a:pt x="362" y="256"/>
                </a:cubicBezTo>
                <a:cubicBezTo>
                  <a:pt x="362" y="314"/>
                  <a:pt x="314" y="362"/>
                  <a:pt x="256" y="362"/>
                </a:cubicBezTo>
                <a:cubicBezTo>
                  <a:pt x="203" y="362"/>
                  <a:pt x="160" y="325"/>
                  <a:pt x="151" y="275"/>
                </a:cubicBezTo>
                <a:cubicBezTo>
                  <a:pt x="143" y="272"/>
                  <a:pt x="138" y="264"/>
                  <a:pt x="138" y="256"/>
                </a:cubicBezTo>
                <a:cubicBezTo>
                  <a:pt x="138" y="247"/>
                  <a:pt x="143" y="240"/>
                  <a:pt x="151" y="236"/>
                </a:cubicBezTo>
                <a:cubicBezTo>
                  <a:pt x="152" y="231"/>
                  <a:pt x="153" y="225"/>
                  <a:pt x="155" y="220"/>
                </a:cubicBezTo>
                <a:cubicBezTo>
                  <a:pt x="157" y="215"/>
                  <a:pt x="163" y="212"/>
                  <a:pt x="169" y="214"/>
                </a:cubicBezTo>
                <a:cubicBezTo>
                  <a:pt x="174" y="216"/>
                  <a:pt x="177" y="222"/>
                  <a:pt x="175" y="227"/>
                </a:cubicBezTo>
                <a:cubicBezTo>
                  <a:pt x="174" y="231"/>
                  <a:pt x="173" y="235"/>
                  <a:pt x="172" y="238"/>
                </a:cubicBezTo>
                <a:cubicBezTo>
                  <a:pt x="177" y="242"/>
                  <a:pt x="181" y="249"/>
                  <a:pt x="181" y="256"/>
                </a:cubicBezTo>
                <a:cubicBezTo>
                  <a:pt x="181" y="263"/>
                  <a:pt x="177" y="269"/>
                  <a:pt x="172" y="273"/>
                </a:cubicBezTo>
                <a:cubicBezTo>
                  <a:pt x="180" y="312"/>
                  <a:pt x="215" y="341"/>
                  <a:pt x="256" y="341"/>
                </a:cubicBezTo>
                <a:cubicBezTo>
                  <a:pt x="303" y="341"/>
                  <a:pt x="341" y="303"/>
                  <a:pt x="341" y="256"/>
                </a:cubicBezTo>
                <a:cubicBezTo>
                  <a:pt x="341" y="232"/>
                  <a:pt x="331" y="209"/>
                  <a:pt x="313" y="193"/>
                </a:cubicBezTo>
                <a:cubicBezTo>
                  <a:pt x="295" y="219"/>
                  <a:pt x="295" y="219"/>
                  <a:pt x="295" y="219"/>
                </a:cubicBezTo>
                <a:cubicBezTo>
                  <a:pt x="304" y="229"/>
                  <a:pt x="309" y="242"/>
                  <a:pt x="309" y="256"/>
                </a:cubicBezTo>
                <a:cubicBezTo>
                  <a:pt x="309" y="285"/>
                  <a:pt x="285" y="309"/>
                  <a:pt x="256" y="309"/>
                </a:cubicBezTo>
                <a:cubicBezTo>
                  <a:pt x="226" y="309"/>
                  <a:pt x="202" y="285"/>
                  <a:pt x="202" y="256"/>
                </a:cubicBezTo>
                <a:cubicBezTo>
                  <a:pt x="202" y="237"/>
                  <a:pt x="213" y="219"/>
                  <a:pt x="229" y="209"/>
                </a:cubicBezTo>
                <a:cubicBezTo>
                  <a:pt x="234" y="207"/>
                  <a:pt x="241" y="208"/>
                  <a:pt x="244" y="213"/>
                </a:cubicBezTo>
                <a:cubicBezTo>
                  <a:pt x="247" y="218"/>
                  <a:pt x="245" y="225"/>
                  <a:pt x="240" y="228"/>
                </a:cubicBezTo>
                <a:cubicBezTo>
                  <a:pt x="230" y="234"/>
                  <a:pt x="224" y="244"/>
                  <a:pt x="224" y="256"/>
                </a:cubicBezTo>
                <a:cubicBezTo>
                  <a:pt x="224" y="273"/>
                  <a:pt x="238" y="288"/>
                  <a:pt x="256" y="288"/>
                </a:cubicBezTo>
                <a:cubicBezTo>
                  <a:pt x="273" y="288"/>
                  <a:pt x="288" y="273"/>
                  <a:pt x="288" y="256"/>
                </a:cubicBezTo>
                <a:cubicBezTo>
                  <a:pt x="288" y="249"/>
                  <a:pt x="286" y="243"/>
                  <a:pt x="282" y="237"/>
                </a:cubicBezTo>
                <a:cubicBezTo>
                  <a:pt x="264" y="262"/>
                  <a:pt x="264" y="262"/>
                  <a:pt x="264" y="262"/>
                </a:cubicBezTo>
                <a:cubicBezTo>
                  <a:pt x="262" y="265"/>
                  <a:pt x="259" y="266"/>
                  <a:pt x="256" y="266"/>
                </a:cubicBezTo>
                <a:cubicBezTo>
                  <a:pt x="254" y="266"/>
                  <a:pt x="251" y="266"/>
                  <a:pt x="249" y="264"/>
                </a:cubicBezTo>
                <a:cubicBezTo>
                  <a:pt x="245" y="261"/>
                  <a:pt x="244" y="254"/>
                  <a:pt x="247" y="249"/>
                </a:cubicBezTo>
                <a:cubicBezTo>
                  <a:pt x="354" y="100"/>
                  <a:pt x="354" y="100"/>
                  <a:pt x="354" y="100"/>
                </a:cubicBezTo>
                <a:cubicBezTo>
                  <a:pt x="357" y="95"/>
                  <a:pt x="364" y="94"/>
                  <a:pt x="369" y="98"/>
                </a:cubicBezTo>
                <a:cubicBezTo>
                  <a:pt x="373" y="101"/>
                  <a:pt x="374" y="108"/>
                  <a:pt x="371" y="113"/>
                </a:cubicBezTo>
                <a:cubicBezTo>
                  <a:pt x="357" y="132"/>
                  <a:pt x="357" y="132"/>
                  <a:pt x="357" y="132"/>
                </a:cubicBezTo>
                <a:cubicBezTo>
                  <a:pt x="394" y="163"/>
                  <a:pt x="416" y="207"/>
                  <a:pt x="416" y="256"/>
                </a:cubicBezTo>
                <a:cubicBezTo>
                  <a:pt x="416" y="317"/>
                  <a:pt x="381" y="370"/>
                  <a:pt x="330" y="3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7" name="Group 688">
            <a:extLst>
              <a:ext uri="{FF2B5EF4-FFF2-40B4-BE49-F238E27FC236}">
                <a16:creationId xmlns:a16="http://schemas.microsoft.com/office/drawing/2014/main" id="{0479DBBE-FF47-48B0-9EFC-C05ED21F6212}"/>
              </a:ext>
            </a:extLst>
          </p:cNvPr>
          <p:cNvGrpSpPr>
            <a:grpSpLocks noChangeAspect="1"/>
          </p:cNvGrpSpPr>
          <p:nvPr/>
        </p:nvGrpSpPr>
        <p:grpSpPr bwMode="auto">
          <a:xfrm>
            <a:off x="7000436" y="1704297"/>
            <a:ext cx="369021" cy="369021"/>
            <a:chOff x="5828" y="2694"/>
            <a:chExt cx="340" cy="340"/>
          </a:xfrm>
          <a:solidFill>
            <a:schemeClr val="accent2"/>
          </a:solidFill>
        </p:grpSpPr>
        <p:sp>
          <p:nvSpPr>
            <p:cNvPr id="178" name="Freeform 689">
              <a:extLst>
                <a:ext uri="{FF2B5EF4-FFF2-40B4-BE49-F238E27FC236}">
                  <a16:creationId xmlns:a16="http://schemas.microsoft.com/office/drawing/2014/main" id="{AC1FBFF9-8AB0-4219-B162-3574F6FC417D}"/>
                </a:ext>
              </a:extLst>
            </p:cNvPr>
            <p:cNvSpPr>
              <a:spLocks noEditPoints="1"/>
            </p:cNvSpPr>
            <p:nvPr/>
          </p:nvSpPr>
          <p:spPr bwMode="auto">
            <a:xfrm>
              <a:off x="5828" y="26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9" name="Freeform 690">
              <a:extLst>
                <a:ext uri="{FF2B5EF4-FFF2-40B4-BE49-F238E27FC236}">
                  <a16:creationId xmlns:a16="http://schemas.microsoft.com/office/drawing/2014/main" id="{9F5BE86D-50D1-4A1A-89C9-983BD8658373}"/>
                </a:ext>
              </a:extLst>
            </p:cNvPr>
            <p:cNvSpPr>
              <a:spLocks noEditPoints="1"/>
            </p:cNvSpPr>
            <p:nvPr/>
          </p:nvSpPr>
          <p:spPr bwMode="auto">
            <a:xfrm>
              <a:off x="5892" y="2764"/>
              <a:ext cx="200" cy="207"/>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0" name="Freeform 694">
            <a:extLst>
              <a:ext uri="{FF2B5EF4-FFF2-40B4-BE49-F238E27FC236}">
                <a16:creationId xmlns:a16="http://schemas.microsoft.com/office/drawing/2014/main" id="{CDF39614-4D0F-4624-A15B-0530DBE6A31F}"/>
              </a:ext>
            </a:extLst>
          </p:cNvPr>
          <p:cNvSpPr>
            <a:spLocks noChangeAspect="1" noEditPoints="1"/>
          </p:cNvSpPr>
          <p:nvPr/>
        </p:nvSpPr>
        <p:spPr bwMode="auto">
          <a:xfrm>
            <a:off x="6565765" y="1703212"/>
            <a:ext cx="369021" cy="370106"/>
          </a:xfrm>
          <a:custGeom>
            <a:avLst/>
            <a:gdLst>
              <a:gd name="T0" fmla="*/ 203 w 512"/>
              <a:gd name="T1" fmla="*/ 220 h 512"/>
              <a:gd name="T2" fmla="*/ 192 w 512"/>
              <a:gd name="T3" fmla="*/ 222 h 512"/>
              <a:gd name="T4" fmla="*/ 121 w 512"/>
              <a:gd name="T5" fmla="*/ 250 h 512"/>
              <a:gd name="T6" fmla="*/ 166 w 512"/>
              <a:gd name="T7" fmla="*/ 295 h 512"/>
              <a:gd name="T8" fmla="*/ 166 w 512"/>
              <a:gd name="T9" fmla="*/ 310 h 512"/>
              <a:gd name="T10" fmla="*/ 166 w 512"/>
              <a:gd name="T11" fmla="*/ 348 h 512"/>
              <a:gd name="T12" fmla="*/ 203 w 512"/>
              <a:gd name="T13" fmla="*/ 348 h 512"/>
              <a:gd name="T14" fmla="*/ 211 w 512"/>
              <a:gd name="T15" fmla="*/ 345 h 512"/>
              <a:gd name="T16" fmla="*/ 218 w 512"/>
              <a:gd name="T17" fmla="*/ 348 h 512"/>
              <a:gd name="T18" fmla="*/ 263 w 512"/>
              <a:gd name="T19" fmla="*/ 392 h 512"/>
              <a:gd name="T20" fmla="*/ 290 w 512"/>
              <a:gd name="T21" fmla="*/ 322 h 512"/>
              <a:gd name="T22" fmla="*/ 293 w 512"/>
              <a:gd name="T23" fmla="*/ 311 h 512"/>
              <a:gd name="T24" fmla="*/ 363 w 512"/>
              <a:gd name="T25" fmla="*/ 150 h 512"/>
              <a:gd name="T26" fmla="*/ 203 w 512"/>
              <a:gd name="T27" fmla="*/ 220 h 512"/>
              <a:gd name="T28" fmla="*/ 273 w 512"/>
              <a:gd name="T29" fmla="*/ 302 h 512"/>
              <a:gd name="T30" fmla="*/ 241 w 512"/>
              <a:gd name="T31" fmla="*/ 315 h 512"/>
              <a:gd name="T32" fmla="*/ 208 w 512"/>
              <a:gd name="T33" fmla="*/ 302 h 512"/>
              <a:gd name="T34" fmla="*/ 208 w 512"/>
              <a:gd name="T35" fmla="*/ 237 h 512"/>
              <a:gd name="T36" fmla="*/ 241 w 512"/>
              <a:gd name="T37" fmla="*/ 223 h 512"/>
              <a:gd name="T38" fmla="*/ 273 w 512"/>
              <a:gd name="T39" fmla="*/ 237 h 512"/>
              <a:gd name="T40" fmla="*/ 273 w 512"/>
              <a:gd name="T41" fmla="*/ 302 h 512"/>
              <a:gd name="T42" fmla="*/ 258 w 512"/>
              <a:gd name="T43" fmla="*/ 252 h 512"/>
              <a:gd name="T44" fmla="*/ 258 w 512"/>
              <a:gd name="T45" fmla="*/ 287 h 512"/>
              <a:gd name="T46" fmla="*/ 224 w 512"/>
              <a:gd name="T47" fmla="*/ 287 h 512"/>
              <a:gd name="T48" fmla="*/ 224 w 512"/>
              <a:gd name="T49" fmla="*/ 252 h 512"/>
              <a:gd name="T50" fmla="*/ 241 w 512"/>
              <a:gd name="T51" fmla="*/ 245 h 512"/>
              <a:gd name="T52" fmla="*/ 258 w 512"/>
              <a:gd name="T53" fmla="*/ 252 h 512"/>
              <a:gd name="T54" fmla="*/ 256 w 512"/>
              <a:gd name="T55" fmla="*/ 0 h 512"/>
              <a:gd name="T56" fmla="*/ 0 w 512"/>
              <a:gd name="T57" fmla="*/ 256 h 512"/>
              <a:gd name="T58" fmla="*/ 256 w 512"/>
              <a:gd name="T59" fmla="*/ 512 h 512"/>
              <a:gd name="T60" fmla="*/ 512 w 512"/>
              <a:gd name="T61" fmla="*/ 256 h 512"/>
              <a:gd name="T62" fmla="*/ 256 w 512"/>
              <a:gd name="T63" fmla="*/ 0 h 512"/>
              <a:gd name="T64" fmla="*/ 268 w 512"/>
              <a:gd name="T65" fmla="*/ 415 h 512"/>
              <a:gd name="T66" fmla="*/ 262 w 512"/>
              <a:gd name="T67" fmla="*/ 417 h 512"/>
              <a:gd name="T68" fmla="*/ 254 w 512"/>
              <a:gd name="T69" fmla="*/ 414 h 512"/>
              <a:gd name="T70" fmla="*/ 209 w 512"/>
              <a:gd name="T71" fmla="*/ 369 h 512"/>
              <a:gd name="T72" fmla="*/ 188 w 512"/>
              <a:gd name="T73" fmla="*/ 374 h 512"/>
              <a:gd name="T74" fmla="*/ 151 w 512"/>
              <a:gd name="T75" fmla="*/ 363 h 512"/>
              <a:gd name="T76" fmla="*/ 145 w 512"/>
              <a:gd name="T77" fmla="*/ 304 h 512"/>
              <a:gd name="T78" fmla="*/ 100 w 512"/>
              <a:gd name="T79" fmla="*/ 259 h 512"/>
              <a:gd name="T80" fmla="*/ 98 w 512"/>
              <a:gd name="T81" fmla="*/ 246 h 512"/>
              <a:gd name="T82" fmla="*/ 193 w 512"/>
              <a:gd name="T83" fmla="*/ 201 h 512"/>
              <a:gd name="T84" fmla="*/ 376 w 512"/>
              <a:gd name="T85" fmla="*/ 131 h 512"/>
              <a:gd name="T86" fmla="*/ 383 w 512"/>
              <a:gd name="T87" fmla="*/ 139 h 512"/>
              <a:gd name="T88" fmla="*/ 312 w 512"/>
              <a:gd name="T89" fmla="*/ 322 h 512"/>
              <a:gd name="T90" fmla="*/ 268 w 512"/>
              <a:gd name="T91"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03" y="220"/>
                </a:moveTo>
                <a:cubicBezTo>
                  <a:pt x="200" y="223"/>
                  <a:pt x="196" y="224"/>
                  <a:pt x="192" y="222"/>
                </a:cubicBezTo>
                <a:cubicBezTo>
                  <a:pt x="190" y="222"/>
                  <a:pt x="151" y="208"/>
                  <a:pt x="121" y="250"/>
                </a:cubicBezTo>
                <a:cubicBezTo>
                  <a:pt x="166" y="295"/>
                  <a:pt x="166" y="295"/>
                  <a:pt x="166" y="295"/>
                </a:cubicBezTo>
                <a:cubicBezTo>
                  <a:pt x="170" y="299"/>
                  <a:pt x="170" y="306"/>
                  <a:pt x="166" y="310"/>
                </a:cubicBezTo>
                <a:cubicBezTo>
                  <a:pt x="162" y="315"/>
                  <a:pt x="156" y="338"/>
                  <a:pt x="166" y="348"/>
                </a:cubicBezTo>
                <a:cubicBezTo>
                  <a:pt x="175" y="358"/>
                  <a:pt x="199" y="352"/>
                  <a:pt x="203" y="348"/>
                </a:cubicBezTo>
                <a:cubicBezTo>
                  <a:pt x="205" y="346"/>
                  <a:pt x="208" y="345"/>
                  <a:pt x="211" y="345"/>
                </a:cubicBezTo>
                <a:cubicBezTo>
                  <a:pt x="214" y="345"/>
                  <a:pt x="216" y="346"/>
                  <a:pt x="218" y="348"/>
                </a:cubicBezTo>
                <a:cubicBezTo>
                  <a:pt x="263" y="392"/>
                  <a:pt x="263" y="392"/>
                  <a:pt x="263" y="392"/>
                </a:cubicBezTo>
                <a:cubicBezTo>
                  <a:pt x="302" y="358"/>
                  <a:pt x="291" y="322"/>
                  <a:pt x="290" y="322"/>
                </a:cubicBezTo>
                <a:cubicBezTo>
                  <a:pt x="289" y="318"/>
                  <a:pt x="290" y="314"/>
                  <a:pt x="293" y="311"/>
                </a:cubicBezTo>
                <a:cubicBezTo>
                  <a:pt x="362" y="242"/>
                  <a:pt x="364" y="172"/>
                  <a:pt x="363" y="150"/>
                </a:cubicBezTo>
                <a:cubicBezTo>
                  <a:pt x="342" y="147"/>
                  <a:pt x="279" y="145"/>
                  <a:pt x="203" y="220"/>
                </a:cubicBezTo>
                <a:close/>
                <a:moveTo>
                  <a:pt x="273" y="302"/>
                </a:moveTo>
                <a:cubicBezTo>
                  <a:pt x="264" y="311"/>
                  <a:pt x="253" y="315"/>
                  <a:pt x="241" y="315"/>
                </a:cubicBezTo>
                <a:cubicBezTo>
                  <a:pt x="229" y="315"/>
                  <a:pt x="217" y="311"/>
                  <a:pt x="208" y="302"/>
                </a:cubicBezTo>
                <a:cubicBezTo>
                  <a:pt x="191" y="284"/>
                  <a:pt x="191" y="255"/>
                  <a:pt x="208" y="237"/>
                </a:cubicBezTo>
                <a:cubicBezTo>
                  <a:pt x="217" y="228"/>
                  <a:pt x="229" y="223"/>
                  <a:pt x="241" y="223"/>
                </a:cubicBezTo>
                <a:cubicBezTo>
                  <a:pt x="253" y="223"/>
                  <a:pt x="265" y="228"/>
                  <a:pt x="273" y="237"/>
                </a:cubicBezTo>
                <a:cubicBezTo>
                  <a:pt x="291" y="255"/>
                  <a:pt x="291" y="284"/>
                  <a:pt x="273" y="302"/>
                </a:cubicBezTo>
                <a:close/>
                <a:moveTo>
                  <a:pt x="258" y="252"/>
                </a:moveTo>
                <a:cubicBezTo>
                  <a:pt x="268" y="262"/>
                  <a:pt x="268" y="277"/>
                  <a:pt x="258" y="287"/>
                </a:cubicBezTo>
                <a:cubicBezTo>
                  <a:pt x="249" y="296"/>
                  <a:pt x="233" y="296"/>
                  <a:pt x="224" y="287"/>
                </a:cubicBezTo>
                <a:cubicBezTo>
                  <a:pt x="214" y="277"/>
                  <a:pt x="214" y="262"/>
                  <a:pt x="224" y="252"/>
                </a:cubicBezTo>
                <a:cubicBezTo>
                  <a:pt x="228" y="247"/>
                  <a:pt x="234" y="245"/>
                  <a:pt x="241" y="245"/>
                </a:cubicBezTo>
                <a:cubicBezTo>
                  <a:pt x="247" y="245"/>
                  <a:pt x="254" y="247"/>
                  <a:pt x="258" y="2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8" y="415"/>
                </a:moveTo>
                <a:cubicBezTo>
                  <a:pt x="266" y="416"/>
                  <a:pt x="264" y="417"/>
                  <a:pt x="262" y="417"/>
                </a:cubicBezTo>
                <a:cubicBezTo>
                  <a:pt x="259" y="417"/>
                  <a:pt x="256" y="416"/>
                  <a:pt x="254" y="414"/>
                </a:cubicBezTo>
                <a:cubicBezTo>
                  <a:pt x="209" y="369"/>
                  <a:pt x="209" y="369"/>
                  <a:pt x="209" y="369"/>
                </a:cubicBezTo>
                <a:cubicBezTo>
                  <a:pt x="203" y="372"/>
                  <a:pt x="196" y="374"/>
                  <a:pt x="188" y="374"/>
                </a:cubicBezTo>
                <a:cubicBezTo>
                  <a:pt x="173" y="376"/>
                  <a:pt x="159" y="372"/>
                  <a:pt x="151" y="363"/>
                </a:cubicBezTo>
                <a:cubicBezTo>
                  <a:pt x="135" y="348"/>
                  <a:pt x="137" y="320"/>
                  <a:pt x="145" y="304"/>
                </a:cubicBezTo>
                <a:cubicBezTo>
                  <a:pt x="100" y="259"/>
                  <a:pt x="100" y="259"/>
                  <a:pt x="100" y="259"/>
                </a:cubicBezTo>
                <a:cubicBezTo>
                  <a:pt x="96" y="256"/>
                  <a:pt x="96" y="251"/>
                  <a:pt x="98" y="246"/>
                </a:cubicBezTo>
                <a:cubicBezTo>
                  <a:pt x="131" y="193"/>
                  <a:pt x="175" y="197"/>
                  <a:pt x="193" y="201"/>
                </a:cubicBezTo>
                <a:cubicBezTo>
                  <a:pt x="290" y="106"/>
                  <a:pt x="372" y="130"/>
                  <a:pt x="376" y="131"/>
                </a:cubicBezTo>
                <a:cubicBezTo>
                  <a:pt x="380" y="132"/>
                  <a:pt x="382" y="135"/>
                  <a:pt x="383" y="139"/>
                </a:cubicBezTo>
                <a:cubicBezTo>
                  <a:pt x="384" y="143"/>
                  <a:pt x="398" y="233"/>
                  <a:pt x="312" y="322"/>
                </a:cubicBezTo>
                <a:cubicBezTo>
                  <a:pt x="315" y="338"/>
                  <a:pt x="316" y="379"/>
                  <a:pt x="268" y="41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1" name="Group 1012">
            <a:extLst>
              <a:ext uri="{FF2B5EF4-FFF2-40B4-BE49-F238E27FC236}">
                <a16:creationId xmlns:a16="http://schemas.microsoft.com/office/drawing/2014/main" id="{7F0C1BFD-D671-4BF0-902C-0DE89E6C019D}"/>
              </a:ext>
            </a:extLst>
          </p:cNvPr>
          <p:cNvGrpSpPr>
            <a:grpSpLocks noChangeAspect="1"/>
          </p:cNvGrpSpPr>
          <p:nvPr/>
        </p:nvGrpSpPr>
        <p:grpSpPr bwMode="auto">
          <a:xfrm>
            <a:off x="9609772" y="1704297"/>
            <a:ext cx="369021" cy="369021"/>
            <a:chOff x="1878" y="3998"/>
            <a:chExt cx="340" cy="340"/>
          </a:xfrm>
          <a:solidFill>
            <a:schemeClr val="accent5"/>
          </a:solidFill>
        </p:grpSpPr>
        <p:sp>
          <p:nvSpPr>
            <p:cNvPr id="182" name="Freeform 1013">
              <a:extLst>
                <a:ext uri="{FF2B5EF4-FFF2-40B4-BE49-F238E27FC236}">
                  <a16:creationId xmlns:a16="http://schemas.microsoft.com/office/drawing/2014/main" id="{DE4283E1-A07D-4D10-96CA-95035B8369C2}"/>
                </a:ext>
              </a:extLst>
            </p:cNvPr>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3" name="Freeform 1014">
              <a:extLst>
                <a:ext uri="{FF2B5EF4-FFF2-40B4-BE49-F238E27FC236}">
                  <a16:creationId xmlns:a16="http://schemas.microsoft.com/office/drawing/2014/main" id="{ACDD5170-5B07-40E3-9C72-0804EF8DC314}"/>
                </a:ext>
              </a:extLst>
            </p:cNvPr>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4" name="Freeform 1018">
            <a:extLst>
              <a:ext uri="{FF2B5EF4-FFF2-40B4-BE49-F238E27FC236}">
                <a16:creationId xmlns:a16="http://schemas.microsoft.com/office/drawing/2014/main" id="{F1AAFAEC-A95E-4227-8295-C0207B0FD211}"/>
              </a:ext>
            </a:extLst>
          </p:cNvPr>
          <p:cNvSpPr>
            <a:spLocks noChangeAspect="1" noEditPoints="1"/>
          </p:cNvSpPr>
          <p:nvPr/>
        </p:nvSpPr>
        <p:spPr bwMode="auto">
          <a:xfrm>
            <a:off x="9175101" y="1704297"/>
            <a:ext cx="369021" cy="369021"/>
          </a:xfrm>
          <a:custGeom>
            <a:avLst/>
            <a:gdLst>
              <a:gd name="T0" fmla="*/ 369 w 512"/>
              <a:gd name="T1" fmla="*/ 277 h 512"/>
              <a:gd name="T2" fmla="*/ 299 w 512"/>
              <a:gd name="T3" fmla="*/ 202 h 512"/>
              <a:gd name="T4" fmla="*/ 328 w 512"/>
              <a:gd name="T5" fmla="*/ 128 h 512"/>
              <a:gd name="T6" fmla="*/ 375 w 512"/>
              <a:gd name="T7" fmla="*/ 191 h 512"/>
              <a:gd name="T8" fmla="*/ 328 w 512"/>
              <a:gd name="T9" fmla="*/ 373 h 512"/>
              <a:gd name="T10" fmla="*/ 352 w 512"/>
              <a:gd name="T11" fmla="*/ 355 h 512"/>
              <a:gd name="T12" fmla="*/ 313 w 512"/>
              <a:gd name="T13" fmla="*/ 326 h 512"/>
              <a:gd name="T14" fmla="*/ 200 w 512"/>
              <a:gd name="T15" fmla="*/ 326 h 512"/>
              <a:gd name="T16" fmla="*/ 161 w 512"/>
              <a:gd name="T17" fmla="*/ 355 h 512"/>
              <a:gd name="T18" fmla="*/ 185 w 512"/>
              <a:gd name="T19" fmla="*/ 373 h 512"/>
              <a:gd name="T20" fmla="*/ 203 w 512"/>
              <a:gd name="T21" fmla="*/ 349 h 512"/>
              <a:gd name="T22" fmla="*/ 185 w 512"/>
              <a:gd name="T23" fmla="*/ 128 h 512"/>
              <a:gd name="T24" fmla="*/ 138 w 512"/>
              <a:gd name="T25" fmla="*/ 191 h 512"/>
              <a:gd name="T26" fmla="*/ 201 w 512"/>
              <a:gd name="T27" fmla="*/ 263 h 512"/>
              <a:gd name="T28" fmla="*/ 202 w 512"/>
              <a:gd name="T29" fmla="*/ 135 h 512"/>
              <a:gd name="T30" fmla="*/ 512 w 512"/>
              <a:gd name="T31" fmla="*/ 256 h 512"/>
              <a:gd name="T32" fmla="*/ 0 w 512"/>
              <a:gd name="T33" fmla="*/ 256 h 512"/>
              <a:gd name="T34" fmla="*/ 512 w 512"/>
              <a:gd name="T35" fmla="*/ 256 h 512"/>
              <a:gd name="T36" fmla="*/ 219 w 512"/>
              <a:gd name="T37" fmla="*/ 314 h 512"/>
              <a:gd name="T38" fmla="*/ 138 w 512"/>
              <a:gd name="T39" fmla="*/ 329 h 512"/>
              <a:gd name="T40" fmla="*/ 139 w 512"/>
              <a:gd name="T41" fmla="*/ 358 h 512"/>
              <a:gd name="T42" fmla="*/ 182 w 512"/>
              <a:gd name="T43" fmla="*/ 394 h 512"/>
              <a:gd name="T44" fmla="*/ 216 w 512"/>
              <a:gd name="T45" fmla="*/ 377 h 512"/>
              <a:gd name="T46" fmla="*/ 218 w 512"/>
              <a:gd name="T47" fmla="*/ 120 h 512"/>
              <a:gd name="T48" fmla="*/ 185 w 512"/>
              <a:gd name="T49" fmla="*/ 106 h 512"/>
              <a:gd name="T50" fmla="*/ 116 w 512"/>
              <a:gd name="T51" fmla="*/ 190 h 512"/>
              <a:gd name="T52" fmla="*/ 131 w 512"/>
              <a:gd name="T53" fmla="*/ 301 h 512"/>
              <a:gd name="T54" fmla="*/ 140 w 512"/>
              <a:gd name="T55" fmla="*/ 301 h 512"/>
              <a:gd name="T56" fmla="*/ 220 w 512"/>
              <a:gd name="T57" fmla="*/ 276 h 512"/>
              <a:gd name="T58" fmla="*/ 235 w 512"/>
              <a:gd name="T59" fmla="*/ 206 h 512"/>
              <a:gd name="T60" fmla="*/ 376 w 512"/>
              <a:gd name="T61" fmla="*/ 337 h 512"/>
              <a:gd name="T62" fmla="*/ 304 w 512"/>
              <a:gd name="T63" fmla="*/ 305 h 512"/>
              <a:gd name="T64" fmla="*/ 289 w 512"/>
              <a:gd name="T65" fmla="*/ 346 h 512"/>
              <a:gd name="T66" fmla="*/ 331 w 512"/>
              <a:gd name="T67" fmla="*/ 394 h 512"/>
              <a:gd name="T68" fmla="*/ 373 w 512"/>
              <a:gd name="T69" fmla="*/ 358 h 512"/>
              <a:gd name="T70" fmla="*/ 396 w 512"/>
              <a:gd name="T71" fmla="*/ 190 h 512"/>
              <a:gd name="T72" fmla="*/ 328 w 512"/>
              <a:gd name="T73" fmla="*/ 106 h 512"/>
              <a:gd name="T74" fmla="*/ 294 w 512"/>
              <a:gd name="T75" fmla="*/ 120 h 512"/>
              <a:gd name="T76" fmla="*/ 278 w 512"/>
              <a:gd name="T77" fmla="*/ 207 h 512"/>
              <a:gd name="T78" fmla="*/ 304 w 512"/>
              <a:gd name="T79" fmla="*/ 284 h 512"/>
              <a:gd name="T80" fmla="*/ 377 w 512"/>
              <a:gd name="T81" fmla="*/ 302 h 512"/>
              <a:gd name="T82" fmla="*/ 387 w 512"/>
              <a:gd name="T83" fmla="*/ 2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75" y="191"/>
                </a:moveTo>
                <a:cubicBezTo>
                  <a:pt x="375" y="197"/>
                  <a:pt x="374" y="247"/>
                  <a:pt x="369" y="277"/>
                </a:cubicBezTo>
                <a:cubicBezTo>
                  <a:pt x="355" y="272"/>
                  <a:pt x="331" y="265"/>
                  <a:pt x="312" y="263"/>
                </a:cubicBezTo>
                <a:cubicBezTo>
                  <a:pt x="309" y="247"/>
                  <a:pt x="301" y="214"/>
                  <a:pt x="299" y="202"/>
                </a:cubicBezTo>
                <a:cubicBezTo>
                  <a:pt x="297" y="188"/>
                  <a:pt x="296" y="151"/>
                  <a:pt x="310" y="135"/>
                </a:cubicBezTo>
                <a:cubicBezTo>
                  <a:pt x="315" y="130"/>
                  <a:pt x="320" y="128"/>
                  <a:pt x="328" y="128"/>
                </a:cubicBezTo>
                <a:cubicBezTo>
                  <a:pt x="328" y="128"/>
                  <a:pt x="328" y="128"/>
                  <a:pt x="328" y="128"/>
                </a:cubicBezTo>
                <a:cubicBezTo>
                  <a:pt x="366" y="128"/>
                  <a:pt x="374" y="184"/>
                  <a:pt x="375" y="191"/>
                </a:cubicBezTo>
                <a:close/>
                <a:moveTo>
                  <a:pt x="310" y="349"/>
                </a:moveTo>
                <a:cubicBezTo>
                  <a:pt x="308" y="360"/>
                  <a:pt x="316" y="371"/>
                  <a:pt x="328" y="373"/>
                </a:cubicBezTo>
                <a:cubicBezTo>
                  <a:pt x="334" y="374"/>
                  <a:pt x="339" y="372"/>
                  <a:pt x="344" y="369"/>
                </a:cubicBezTo>
                <a:cubicBezTo>
                  <a:pt x="348" y="365"/>
                  <a:pt x="351" y="360"/>
                  <a:pt x="352" y="355"/>
                </a:cubicBezTo>
                <a:cubicBezTo>
                  <a:pt x="354" y="338"/>
                  <a:pt x="354" y="338"/>
                  <a:pt x="354" y="338"/>
                </a:cubicBezTo>
                <a:cubicBezTo>
                  <a:pt x="347" y="331"/>
                  <a:pt x="333" y="327"/>
                  <a:pt x="313" y="326"/>
                </a:cubicBezTo>
                <a:lnTo>
                  <a:pt x="310" y="349"/>
                </a:lnTo>
                <a:close/>
                <a:moveTo>
                  <a:pt x="200" y="326"/>
                </a:moveTo>
                <a:cubicBezTo>
                  <a:pt x="180" y="327"/>
                  <a:pt x="166" y="331"/>
                  <a:pt x="158" y="338"/>
                </a:cubicBezTo>
                <a:cubicBezTo>
                  <a:pt x="161" y="355"/>
                  <a:pt x="161" y="355"/>
                  <a:pt x="161" y="355"/>
                </a:cubicBezTo>
                <a:cubicBezTo>
                  <a:pt x="161" y="360"/>
                  <a:pt x="164" y="365"/>
                  <a:pt x="169" y="369"/>
                </a:cubicBezTo>
                <a:cubicBezTo>
                  <a:pt x="173" y="372"/>
                  <a:pt x="179" y="374"/>
                  <a:pt x="185" y="373"/>
                </a:cubicBezTo>
                <a:cubicBezTo>
                  <a:pt x="190" y="372"/>
                  <a:pt x="195" y="369"/>
                  <a:pt x="199" y="364"/>
                </a:cubicBezTo>
                <a:cubicBezTo>
                  <a:pt x="202" y="360"/>
                  <a:pt x="204" y="354"/>
                  <a:pt x="203" y="349"/>
                </a:cubicBezTo>
                <a:lnTo>
                  <a:pt x="200" y="326"/>
                </a:lnTo>
                <a:close/>
                <a:moveTo>
                  <a:pt x="185" y="128"/>
                </a:moveTo>
                <a:cubicBezTo>
                  <a:pt x="185" y="128"/>
                  <a:pt x="185" y="128"/>
                  <a:pt x="185" y="128"/>
                </a:cubicBezTo>
                <a:cubicBezTo>
                  <a:pt x="147" y="128"/>
                  <a:pt x="138" y="184"/>
                  <a:pt x="138" y="191"/>
                </a:cubicBezTo>
                <a:cubicBezTo>
                  <a:pt x="138" y="197"/>
                  <a:pt x="138" y="248"/>
                  <a:pt x="144" y="277"/>
                </a:cubicBezTo>
                <a:cubicBezTo>
                  <a:pt x="158" y="272"/>
                  <a:pt x="182" y="265"/>
                  <a:pt x="201" y="263"/>
                </a:cubicBezTo>
                <a:cubicBezTo>
                  <a:pt x="204" y="248"/>
                  <a:pt x="211" y="214"/>
                  <a:pt x="214" y="202"/>
                </a:cubicBezTo>
                <a:cubicBezTo>
                  <a:pt x="216" y="188"/>
                  <a:pt x="217" y="151"/>
                  <a:pt x="202" y="135"/>
                </a:cubicBezTo>
                <a:cubicBezTo>
                  <a:pt x="198" y="130"/>
                  <a:pt x="192" y="128"/>
                  <a:pt x="185" y="12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346"/>
                </a:moveTo>
                <a:cubicBezTo>
                  <a:pt x="219" y="314"/>
                  <a:pt x="219" y="314"/>
                  <a:pt x="219" y="314"/>
                </a:cubicBezTo>
                <a:cubicBezTo>
                  <a:pt x="219" y="309"/>
                  <a:pt x="214" y="305"/>
                  <a:pt x="209" y="305"/>
                </a:cubicBezTo>
                <a:cubicBezTo>
                  <a:pt x="174" y="305"/>
                  <a:pt x="150" y="312"/>
                  <a:pt x="138" y="329"/>
                </a:cubicBezTo>
                <a:cubicBezTo>
                  <a:pt x="137" y="331"/>
                  <a:pt x="136" y="334"/>
                  <a:pt x="136" y="337"/>
                </a:cubicBezTo>
                <a:cubicBezTo>
                  <a:pt x="139" y="358"/>
                  <a:pt x="139" y="358"/>
                  <a:pt x="139" y="358"/>
                </a:cubicBezTo>
                <a:cubicBezTo>
                  <a:pt x="141" y="369"/>
                  <a:pt x="147" y="379"/>
                  <a:pt x="156" y="386"/>
                </a:cubicBezTo>
                <a:cubicBezTo>
                  <a:pt x="163" y="391"/>
                  <a:pt x="172" y="394"/>
                  <a:pt x="182" y="394"/>
                </a:cubicBezTo>
                <a:cubicBezTo>
                  <a:pt x="184" y="394"/>
                  <a:pt x="186" y="394"/>
                  <a:pt x="188" y="394"/>
                </a:cubicBezTo>
                <a:cubicBezTo>
                  <a:pt x="199" y="392"/>
                  <a:pt x="209" y="386"/>
                  <a:pt x="216" y="377"/>
                </a:cubicBezTo>
                <a:cubicBezTo>
                  <a:pt x="223" y="368"/>
                  <a:pt x="225" y="357"/>
                  <a:pt x="224" y="346"/>
                </a:cubicBezTo>
                <a:close/>
                <a:moveTo>
                  <a:pt x="218" y="120"/>
                </a:moveTo>
                <a:cubicBezTo>
                  <a:pt x="210" y="111"/>
                  <a:pt x="198" y="106"/>
                  <a:pt x="185" y="106"/>
                </a:cubicBezTo>
                <a:cubicBezTo>
                  <a:pt x="185" y="106"/>
                  <a:pt x="185" y="106"/>
                  <a:pt x="185" y="106"/>
                </a:cubicBezTo>
                <a:cubicBezTo>
                  <a:pt x="126" y="106"/>
                  <a:pt x="117" y="185"/>
                  <a:pt x="116" y="189"/>
                </a:cubicBezTo>
                <a:cubicBezTo>
                  <a:pt x="116" y="189"/>
                  <a:pt x="116" y="189"/>
                  <a:pt x="116" y="190"/>
                </a:cubicBezTo>
                <a:cubicBezTo>
                  <a:pt x="116" y="193"/>
                  <a:pt x="117" y="265"/>
                  <a:pt x="125" y="294"/>
                </a:cubicBezTo>
                <a:cubicBezTo>
                  <a:pt x="126" y="297"/>
                  <a:pt x="128" y="300"/>
                  <a:pt x="131" y="301"/>
                </a:cubicBezTo>
                <a:cubicBezTo>
                  <a:pt x="133" y="302"/>
                  <a:pt x="134" y="302"/>
                  <a:pt x="136" y="302"/>
                </a:cubicBezTo>
                <a:cubicBezTo>
                  <a:pt x="137" y="302"/>
                  <a:pt x="138" y="302"/>
                  <a:pt x="140" y="301"/>
                </a:cubicBezTo>
                <a:cubicBezTo>
                  <a:pt x="153" y="296"/>
                  <a:pt x="191" y="283"/>
                  <a:pt x="208" y="284"/>
                </a:cubicBezTo>
                <a:cubicBezTo>
                  <a:pt x="214" y="285"/>
                  <a:pt x="218" y="281"/>
                  <a:pt x="220" y="276"/>
                </a:cubicBezTo>
                <a:cubicBezTo>
                  <a:pt x="220" y="276"/>
                  <a:pt x="231" y="221"/>
                  <a:pt x="235" y="207"/>
                </a:cubicBezTo>
                <a:cubicBezTo>
                  <a:pt x="235" y="206"/>
                  <a:pt x="235" y="206"/>
                  <a:pt x="235" y="206"/>
                </a:cubicBezTo>
                <a:cubicBezTo>
                  <a:pt x="236" y="200"/>
                  <a:pt x="242" y="147"/>
                  <a:pt x="218" y="120"/>
                </a:cubicBezTo>
                <a:close/>
                <a:moveTo>
                  <a:pt x="376" y="337"/>
                </a:moveTo>
                <a:cubicBezTo>
                  <a:pt x="377" y="334"/>
                  <a:pt x="376" y="331"/>
                  <a:pt x="374" y="329"/>
                </a:cubicBezTo>
                <a:cubicBezTo>
                  <a:pt x="362" y="312"/>
                  <a:pt x="339" y="305"/>
                  <a:pt x="304" y="305"/>
                </a:cubicBezTo>
                <a:cubicBezTo>
                  <a:pt x="298" y="305"/>
                  <a:pt x="294" y="309"/>
                  <a:pt x="293" y="314"/>
                </a:cubicBezTo>
                <a:cubicBezTo>
                  <a:pt x="289" y="346"/>
                  <a:pt x="289" y="346"/>
                  <a:pt x="289" y="346"/>
                </a:cubicBezTo>
                <a:cubicBezTo>
                  <a:pt x="285" y="369"/>
                  <a:pt x="302" y="391"/>
                  <a:pt x="325" y="394"/>
                </a:cubicBezTo>
                <a:cubicBezTo>
                  <a:pt x="327" y="394"/>
                  <a:pt x="329" y="394"/>
                  <a:pt x="331" y="394"/>
                </a:cubicBezTo>
                <a:cubicBezTo>
                  <a:pt x="340" y="394"/>
                  <a:pt x="349" y="391"/>
                  <a:pt x="357" y="386"/>
                </a:cubicBezTo>
                <a:cubicBezTo>
                  <a:pt x="366" y="379"/>
                  <a:pt x="372" y="369"/>
                  <a:pt x="373" y="358"/>
                </a:cubicBezTo>
                <a:lnTo>
                  <a:pt x="376" y="337"/>
                </a:lnTo>
                <a:close/>
                <a:moveTo>
                  <a:pt x="396" y="190"/>
                </a:moveTo>
                <a:cubicBezTo>
                  <a:pt x="396" y="189"/>
                  <a:pt x="396" y="189"/>
                  <a:pt x="396" y="189"/>
                </a:cubicBezTo>
                <a:cubicBezTo>
                  <a:pt x="396" y="185"/>
                  <a:pt x="387" y="106"/>
                  <a:pt x="328" y="106"/>
                </a:cubicBezTo>
                <a:cubicBezTo>
                  <a:pt x="328" y="106"/>
                  <a:pt x="328" y="106"/>
                  <a:pt x="328" y="106"/>
                </a:cubicBezTo>
                <a:cubicBezTo>
                  <a:pt x="314" y="106"/>
                  <a:pt x="303" y="111"/>
                  <a:pt x="294" y="120"/>
                </a:cubicBezTo>
                <a:cubicBezTo>
                  <a:pt x="271" y="147"/>
                  <a:pt x="277" y="199"/>
                  <a:pt x="277" y="205"/>
                </a:cubicBezTo>
                <a:cubicBezTo>
                  <a:pt x="277" y="206"/>
                  <a:pt x="278" y="206"/>
                  <a:pt x="278" y="207"/>
                </a:cubicBezTo>
                <a:cubicBezTo>
                  <a:pt x="281" y="221"/>
                  <a:pt x="293" y="275"/>
                  <a:pt x="293" y="276"/>
                </a:cubicBezTo>
                <a:cubicBezTo>
                  <a:pt x="294" y="281"/>
                  <a:pt x="299" y="285"/>
                  <a:pt x="304" y="284"/>
                </a:cubicBezTo>
                <a:cubicBezTo>
                  <a:pt x="322" y="283"/>
                  <a:pt x="360" y="296"/>
                  <a:pt x="373" y="301"/>
                </a:cubicBezTo>
                <a:cubicBezTo>
                  <a:pt x="374" y="302"/>
                  <a:pt x="376" y="302"/>
                  <a:pt x="377" y="302"/>
                </a:cubicBezTo>
                <a:cubicBezTo>
                  <a:pt x="379" y="302"/>
                  <a:pt x="380" y="302"/>
                  <a:pt x="382" y="301"/>
                </a:cubicBezTo>
                <a:cubicBezTo>
                  <a:pt x="384" y="300"/>
                  <a:pt x="386" y="297"/>
                  <a:pt x="387" y="295"/>
                </a:cubicBezTo>
                <a:cubicBezTo>
                  <a:pt x="396" y="265"/>
                  <a:pt x="396" y="193"/>
                  <a:pt x="396" y="19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5" name="Freeform 1022">
            <a:extLst>
              <a:ext uri="{FF2B5EF4-FFF2-40B4-BE49-F238E27FC236}">
                <a16:creationId xmlns:a16="http://schemas.microsoft.com/office/drawing/2014/main" id="{28287B3C-D6E4-491F-B466-67D562FB60DB}"/>
              </a:ext>
            </a:extLst>
          </p:cNvPr>
          <p:cNvSpPr>
            <a:spLocks noChangeAspect="1" noEditPoints="1"/>
          </p:cNvSpPr>
          <p:nvPr/>
        </p:nvSpPr>
        <p:spPr bwMode="auto">
          <a:xfrm>
            <a:off x="8740430" y="1704297"/>
            <a:ext cx="369021" cy="36902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72 w 512"/>
              <a:gd name="T11" fmla="*/ 245 h 512"/>
              <a:gd name="T12" fmla="*/ 370 w 512"/>
              <a:gd name="T13" fmla="*/ 157 h 512"/>
              <a:gd name="T14" fmla="*/ 355 w 512"/>
              <a:gd name="T15" fmla="*/ 141 h 512"/>
              <a:gd name="T16" fmla="*/ 266 w 512"/>
              <a:gd name="T17" fmla="*/ 139 h 512"/>
              <a:gd name="T18" fmla="*/ 256 w 512"/>
              <a:gd name="T19" fmla="*/ 96 h 512"/>
              <a:gd name="T20" fmla="*/ 245 w 512"/>
              <a:gd name="T21" fmla="*/ 139 h 512"/>
              <a:gd name="T22" fmla="*/ 157 w 512"/>
              <a:gd name="T23" fmla="*/ 141 h 512"/>
              <a:gd name="T24" fmla="*/ 141 w 512"/>
              <a:gd name="T25" fmla="*/ 157 h 512"/>
              <a:gd name="T26" fmla="*/ 139 w 512"/>
              <a:gd name="T27" fmla="*/ 245 h 512"/>
              <a:gd name="T28" fmla="*/ 96 w 512"/>
              <a:gd name="T29" fmla="*/ 256 h 512"/>
              <a:gd name="T30" fmla="*/ 139 w 512"/>
              <a:gd name="T31" fmla="*/ 266 h 512"/>
              <a:gd name="T32" fmla="*/ 141 w 512"/>
              <a:gd name="T33" fmla="*/ 355 h 512"/>
              <a:gd name="T34" fmla="*/ 149 w 512"/>
              <a:gd name="T35" fmla="*/ 373 h 512"/>
              <a:gd name="T36" fmla="*/ 181 w 512"/>
              <a:gd name="T37" fmla="*/ 346 h 512"/>
              <a:gd name="T38" fmla="*/ 245 w 512"/>
              <a:gd name="T39" fmla="*/ 405 h 512"/>
              <a:gd name="T40" fmla="*/ 266 w 512"/>
              <a:gd name="T41" fmla="*/ 405 h 512"/>
              <a:gd name="T42" fmla="*/ 331 w 512"/>
              <a:gd name="T43" fmla="*/ 346 h 512"/>
              <a:gd name="T44" fmla="*/ 362 w 512"/>
              <a:gd name="T45" fmla="*/ 373 h 512"/>
              <a:gd name="T46" fmla="*/ 370 w 512"/>
              <a:gd name="T47" fmla="*/ 355 h 512"/>
              <a:gd name="T48" fmla="*/ 372 w 512"/>
              <a:gd name="T49" fmla="*/ 266 h 512"/>
              <a:gd name="T50" fmla="*/ 416 w 512"/>
              <a:gd name="T51" fmla="*/ 256 h 512"/>
              <a:gd name="T52" fmla="*/ 351 w 512"/>
              <a:gd name="T53" fmla="*/ 245 h 512"/>
              <a:gd name="T54" fmla="*/ 286 w 512"/>
              <a:gd name="T55" fmla="*/ 245 h 512"/>
              <a:gd name="T56" fmla="*/ 286 w 512"/>
              <a:gd name="T57" fmla="*/ 241 h 512"/>
              <a:gd name="T58" fmla="*/ 351 w 512"/>
              <a:gd name="T59" fmla="*/ 245 h 512"/>
              <a:gd name="T60" fmla="*/ 271 w 512"/>
              <a:gd name="T61" fmla="*/ 226 h 512"/>
              <a:gd name="T62" fmla="*/ 266 w 512"/>
              <a:gd name="T63" fmla="*/ 226 h 512"/>
              <a:gd name="T64" fmla="*/ 266 w 512"/>
              <a:gd name="T65" fmla="*/ 160 h 512"/>
              <a:gd name="T66" fmla="*/ 256 w 512"/>
              <a:gd name="T67" fmla="*/ 266 h 512"/>
              <a:gd name="T68" fmla="*/ 256 w 512"/>
              <a:gd name="T69" fmla="*/ 245 h 512"/>
              <a:gd name="T70" fmla="*/ 256 w 512"/>
              <a:gd name="T71" fmla="*/ 266 h 512"/>
              <a:gd name="T72" fmla="*/ 245 w 512"/>
              <a:gd name="T73" fmla="*/ 224 h 512"/>
              <a:gd name="T74" fmla="*/ 242 w 512"/>
              <a:gd name="T75" fmla="*/ 227 h 512"/>
              <a:gd name="T76" fmla="*/ 196 w 512"/>
              <a:gd name="T77" fmla="*/ 181 h 512"/>
              <a:gd name="T78" fmla="*/ 181 w 512"/>
              <a:gd name="T79" fmla="*/ 196 h 512"/>
              <a:gd name="T80" fmla="*/ 227 w 512"/>
              <a:gd name="T81" fmla="*/ 242 h 512"/>
              <a:gd name="T82" fmla="*/ 224 w 512"/>
              <a:gd name="T83" fmla="*/ 245 h 512"/>
              <a:gd name="T84" fmla="*/ 181 w 512"/>
              <a:gd name="T85" fmla="*/ 196 h 512"/>
              <a:gd name="T86" fmla="*/ 224 w 512"/>
              <a:gd name="T87" fmla="*/ 266 h 512"/>
              <a:gd name="T88" fmla="*/ 227 w 512"/>
              <a:gd name="T89" fmla="*/ 270 h 512"/>
              <a:gd name="T90" fmla="*/ 181 w 512"/>
              <a:gd name="T91" fmla="*/ 316 h 512"/>
              <a:gd name="T92" fmla="*/ 196 w 512"/>
              <a:gd name="T93" fmla="*/ 331 h 512"/>
              <a:gd name="T94" fmla="*/ 242 w 512"/>
              <a:gd name="T95" fmla="*/ 284 h 512"/>
              <a:gd name="T96" fmla="*/ 245 w 512"/>
              <a:gd name="T97" fmla="*/ 288 h 512"/>
              <a:gd name="T98" fmla="*/ 196 w 512"/>
              <a:gd name="T99" fmla="*/ 331 h 512"/>
              <a:gd name="T100" fmla="*/ 266 w 512"/>
              <a:gd name="T101" fmla="*/ 288 h 512"/>
              <a:gd name="T102" fmla="*/ 270 w 512"/>
              <a:gd name="T103" fmla="*/ 284 h 512"/>
              <a:gd name="T104" fmla="*/ 316 w 512"/>
              <a:gd name="T105" fmla="*/ 331 h 512"/>
              <a:gd name="T106" fmla="*/ 331 w 512"/>
              <a:gd name="T107" fmla="*/ 316 h 512"/>
              <a:gd name="T108" fmla="*/ 284 w 512"/>
              <a:gd name="T109" fmla="*/ 270 h 512"/>
              <a:gd name="T110" fmla="*/ 288 w 512"/>
              <a:gd name="T111" fmla="*/ 266 h 512"/>
              <a:gd name="T112" fmla="*/ 331 w 512"/>
              <a:gd name="T113"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45"/>
                </a:moveTo>
                <a:cubicBezTo>
                  <a:pt x="372" y="245"/>
                  <a:pt x="372" y="245"/>
                  <a:pt x="372" y="245"/>
                </a:cubicBezTo>
                <a:cubicBezTo>
                  <a:pt x="370" y="221"/>
                  <a:pt x="361" y="198"/>
                  <a:pt x="346" y="181"/>
                </a:cubicBezTo>
                <a:cubicBezTo>
                  <a:pt x="370" y="157"/>
                  <a:pt x="370" y="157"/>
                  <a:pt x="370" y="157"/>
                </a:cubicBezTo>
                <a:cubicBezTo>
                  <a:pt x="374" y="152"/>
                  <a:pt x="374" y="146"/>
                  <a:pt x="370" y="141"/>
                </a:cubicBezTo>
                <a:cubicBezTo>
                  <a:pt x="366" y="137"/>
                  <a:pt x="359" y="137"/>
                  <a:pt x="355" y="141"/>
                </a:cubicBezTo>
                <a:cubicBezTo>
                  <a:pt x="331" y="166"/>
                  <a:pt x="331" y="166"/>
                  <a:pt x="331" y="166"/>
                </a:cubicBezTo>
                <a:cubicBezTo>
                  <a:pt x="313" y="151"/>
                  <a:pt x="291" y="141"/>
                  <a:pt x="266" y="139"/>
                </a:cubicBezTo>
                <a:cubicBezTo>
                  <a:pt x="266" y="106"/>
                  <a:pt x="266" y="106"/>
                  <a:pt x="266" y="106"/>
                </a:cubicBezTo>
                <a:cubicBezTo>
                  <a:pt x="266" y="100"/>
                  <a:pt x="262" y="96"/>
                  <a:pt x="256" y="96"/>
                </a:cubicBezTo>
                <a:cubicBezTo>
                  <a:pt x="250" y="96"/>
                  <a:pt x="245" y="100"/>
                  <a:pt x="245" y="106"/>
                </a:cubicBezTo>
                <a:cubicBezTo>
                  <a:pt x="245" y="139"/>
                  <a:pt x="245" y="139"/>
                  <a:pt x="245" y="139"/>
                </a:cubicBezTo>
                <a:cubicBezTo>
                  <a:pt x="221" y="141"/>
                  <a:pt x="198" y="151"/>
                  <a:pt x="181" y="166"/>
                </a:cubicBezTo>
                <a:cubicBezTo>
                  <a:pt x="157" y="141"/>
                  <a:pt x="157" y="141"/>
                  <a:pt x="157" y="141"/>
                </a:cubicBezTo>
                <a:cubicBezTo>
                  <a:pt x="152" y="137"/>
                  <a:pt x="146" y="137"/>
                  <a:pt x="141" y="141"/>
                </a:cubicBezTo>
                <a:cubicBezTo>
                  <a:pt x="137" y="146"/>
                  <a:pt x="137" y="152"/>
                  <a:pt x="141" y="157"/>
                </a:cubicBezTo>
                <a:cubicBezTo>
                  <a:pt x="166" y="181"/>
                  <a:pt x="166" y="181"/>
                  <a:pt x="166" y="181"/>
                </a:cubicBezTo>
                <a:cubicBezTo>
                  <a:pt x="151" y="198"/>
                  <a:pt x="141" y="221"/>
                  <a:pt x="139" y="245"/>
                </a:cubicBezTo>
                <a:cubicBezTo>
                  <a:pt x="106" y="245"/>
                  <a:pt x="106" y="245"/>
                  <a:pt x="106" y="245"/>
                </a:cubicBezTo>
                <a:cubicBezTo>
                  <a:pt x="100" y="245"/>
                  <a:pt x="96" y="250"/>
                  <a:pt x="96" y="256"/>
                </a:cubicBezTo>
                <a:cubicBezTo>
                  <a:pt x="96" y="262"/>
                  <a:pt x="100" y="266"/>
                  <a:pt x="106" y="266"/>
                </a:cubicBezTo>
                <a:cubicBezTo>
                  <a:pt x="139" y="266"/>
                  <a:pt x="139" y="266"/>
                  <a:pt x="139" y="266"/>
                </a:cubicBezTo>
                <a:cubicBezTo>
                  <a:pt x="141" y="291"/>
                  <a:pt x="151" y="313"/>
                  <a:pt x="166" y="331"/>
                </a:cubicBezTo>
                <a:cubicBezTo>
                  <a:pt x="141" y="355"/>
                  <a:pt x="141" y="355"/>
                  <a:pt x="141" y="355"/>
                </a:cubicBezTo>
                <a:cubicBezTo>
                  <a:pt x="137" y="359"/>
                  <a:pt x="137" y="366"/>
                  <a:pt x="141" y="370"/>
                </a:cubicBezTo>
                <a:cubicBezTo>
                  <a:pt x="144" y="372"/>
                  <a:pt x="146" y="373"/>
                  <a:pt x="149" y="373"/>
                </a:cubicBezTo>
                <a:cubicBezTo>
                  <a:pt x="152" y="373"/>
                  <a:pt x="154" y="372"/>
                  <a:pt x="157" y="370"/>
                </a:cubicBezTo>
                <a:cubicBezTo>
                  <a:pt x="181" y="346"/>
                  <a:pt x="181" y="346"/>
                  <a:pt x="181" y="346"/>
                </a:cubicBezTo>
                <a:cubicBezTo>
                  <a:pt x="198" y="361"/>
                  <a:pt x="221" y="370"/>
                  <a:pt x="245" y="372"/>
                </a:cubicBezTo>
                <a:cubicBezTo>
                  <a:pt x="245" y="405"/>
                  <a:pt x="245" y="405"/>
                  <a:pt x="245" y="405"/>
                </a:cubicBezTo>
                <a:cubicBezTo>
                  <a:pt x="245" y="411"/>
                  <a:pt x="250" y="416"/>
                  <a:pt x="256" y="416"/>
                </a:cubicBezTo>
                <a:cubicBezTo>
                  <a:pt x="262" y="416"/>
                  <a:pt x="266" y="411"/>
                  <a:pt x="266" y="405"/>
                </a:cubicBezTo>
                <a:cubicBezTo>
                  <a:pt x="266" y="372"/>
                  <a:pt x="266" y="372"/>
                  <a:pt x="266" y="372"/>
                </a:cubicBezTo>
                <a:cubicBezTo>
                  <a:pt x="291" y="370"/>
                  <a:pt x="313" y="361"/>
                  <a:pt x="331" y="346"/>
                </a:cubicBezTo>
                <a:cubicBezTo>
                  <a:pt x="355" y="370"/>
                  <a:pt x="355" y="370"/>
                  <a:pt x="355" y="370"/>
                </a:cubicBezTo>
                <a:cubicBezTo>
                  <a:pt x="357" y="372"/>
                  <a:pt x="360" y="373"/>
                  <a:pt x="362" y="373"/>
                </a:cubicBezTo>
                <a:cubicBezTo>
                  <a:pt x="365" y="373"/>
                  <a:pt x="368" y="372"/>
                  <a:pt x="370" y="370"/>
                </a:cubicBezTo>
                <a:cubicBezTo>
                  <a:pt x="374" y="366"/>
                  <a:pt x="374" y="359"/>
                  <a:pt x="370" y="355"/>
                </a:cubicBezTo>
                <a:cubicBezTo>
                  <a:pt x="346" y="331"/>
                  <a:pt x="346" y="331"/>
                  <a:pt x="346" y="331"/>
                </a:cubicBezTo>
                <a:cubicBezTo>
                  <a:pt x="361" y="313"/>
                  <a:pt x="370" y="291"/>
                  <a:pt x="372" y="266"/>
                </a:cubicBezTo>
                <a:cubicBezTo>
                  <a:pt x="405" y="266"/>
                  <a:pt x="405" y="266"/>
                  <a:pt x="405" y="266"/>
                </a:cubicBezTo>
                <a:cubicBezTo>
                  <a:pt x="411" y="266"/>
                  <a:pt x="416" y="262"/>
                  <a:pt x="416" y="256"/>
                </a:cubicBezTo>
                <a:cubicBezTo>
                  <a:pt x="416" y="250"/>
                  <a:pt x="411" y="245"/>
                  <a:pt x="405" y="245"/>
                </a:cubicBezTo>
                <a:close/>
                <a:moveTo>
                  <a:pt x="351" y="245"/>
                </a:moveTo>
                <a:cubicBezTo>
                  <a:pt x="288" y="245"/>
                  <a:pt x="288" y="245"/>
                  <a:pt x="288" y="245"/>
                </a:cubicBezTo>
                <a:cubicBezTo>
                  <a:pt x="287" y="245"/>
                  <a:pt x="286" y="245"/>
                  <a:pt x="286" y="245"/>
                </a:cubicBezTo>
                <a:cubicBezTo>
                  <a:pt x="285" y="244"/>
                  <a:pt x="285" y="243"/>
                  <a:pt x="284" y="242"/>
                </a:cubicBezTo>
                <a:cubicBezTo>
                  <a:pt x="285" y="241"/>
                  <a:pt x="285" y="241"/>
                  <a:pt x="286" y="241"/>
                </a:cubicBezTo>
                <a:cubicBezTo>
                  <a:pt x="331" y="196"/>
                  <a:pt x="331" y="196"/>
                  <a:pt x="331" y="196"/>
                </a:cubicBezTo>
                <a:cubicBezTo>
                  <a:pt x="342" y="210"/>
                  <a:pt x="349" y="227"/>
                  <a:pt x="351" y="245"/>
                </a:cubicBezTo>
                <a:close/>
                <a:moveTo>
                  <a:pt x="316" y="181"/>
                </a:moveTo>
                <a:cubicBezTo>
                  <a:pt x="271" y="226"/>
                  <a:pt x="271" y="226"/>
                  <a:pt x="271" y="226"/>
                </a:cubicBezTo>
                <a:cubicBezTo>
                  <a:pt x="270" y="226"/>
                  <a:pt x="270" y="227"/>
                  <a:pt x="270" y="227"/>
                </a:cubicBezTo>
                <a:cubicBezTo>
                  <a:pt x="269" y="226"/>
                  <a:pt x="267" y="226"/>
                  <a:pt x="266" y="226"/>
                </a:cubicBezTo>
                <a:cubicBezTo>
                  <a:pt x="266" y="225"/>
                  <a:pt x="266" y="224"/>
                  <a:pt x="266" y="224"/>
                </a:cubicBezTo>
                <a:cubicBezTo>
                  <a:pt x="266" y="160"/>
                  <a:pt x="266" y="160"/>
                  <a:pt x="266" y="160"/>
                </a:cubicBezTo>
                <a:cubicBezTo>
                  <a:pt x="285" y="162"/>
                  <a:pt x="302" y="170"/>
                  <a:pt x="316" y="181"/>
                </a:cubicBezTo>
                <a:close/>
                <a:moveTo>
                  <a:pt x="256" y="266"/>
                </a:moveTo>
                <a:cubicBezTo>
                  <a:pt x="250" y="266"/>
                  <a:pt x="245" y="262"/>
                  <a:pt x="245" y="256"/>
                </a:cubicBezTo>
                <a:cubicBezTo>
                  <a:pt x="245" y="250"/>
                  <a:pt x="250" y="245"/>
                  <a:pt x="256" y="245"/>
                </a:cubicBezTo>
                <a:cubicBezTo>
                  <a:pt x="262" y="245"/>
                  <a:pt x="266" y="250"/>
                  <a:pt x="266" y="256"/>
                </a:cubicBezTo>
                <a:cubicBezTo>
                  <a:pt x="266" y="262"/>
                  <a:pt x="262" y="266"/>
                  <a:pt x="256" y="266"/>
                </a:cubicBezTo>
                <a:close/>
                <a:moveTo>
                  <a:pt x="245" y="160"/>
                </a:moveTo>
                <a:cubicBezTo>
                  <a:pt x="245" y="224"/>
                  <a:pt x="245" y="224"/>
                  <a:pt x="245" y="224"/>
                </a:cubicBezTo>
                <a:cubicBezTo>
                  <a:pt x="245" y="224"/>
                  <a:pt x="245" y="225"/>
                  <a:pt x="245" y="226"/>
                </a:cubicBezTo>
                <a:cubicBezTo>
                  <a:pt x="244" y="226"/>
                  <a:pt x="243" y="226"/>
                  <a:pt x="242" y="227"/>
                </a:cubicBezTo>
                <a:cubicBezTo>
                  <a:pt x="241" y="227"/>
                  <a:pt x="241" y="226"/>
                  <a:pt x="241" y="226"/>
                </a:cubicBezTo>
                <a:cubicBezTo>
                  <a:pt x="196" y="181"/>
                  <a:pt x="196" y="181"/>
                  <a:pt x="196" y="181"/>
                </a:cubicBezTo>
                <a:cubicBezTo>
                  <a:pt x="210" y="170"/>
                  <a:pt x="227" y="162"/>
                  <a:pt x="245" y="160"/>
                </a:cubicBezTo>
                <a:close/>
                <a:moveTo>
                  <a:pt x="181" y="196"/>
                </a:moveTo>
                <a:cubicBezTo>
                  <a:pt x="226" y="241"/>
                  <a:pt x="226" y="241"/>
                  <a:pt x="226" y="241"/>
                </a:cubicBezTo>
                <a:cubicBezTo>
                  <a:pt x="226" y="241"/>
                  <a:pt x="227" y="241"/>
                  <a:pt x="227" y="242"/>
                </a:cubicBezTo>
                <a:cubicBezTo>
                  <a:pt x="226" y="243"/>
                  <a:pt x="226" y="244"/>
                  <a:pt x="226" y="245"/>
                </a:cubicBezTo>
                <a:cubicBezTo>
                  <a:pt x="225" y="245"/>
                  <a:pt x="224" y="245"/>
                  <a:pt x="224" y="245"/>
                </a:cubicBezTo>
                <a:cubicBezTo>
                  <a:pt x="160" y="245"/>
                  <a:pt x="160" y="245"/>
                  <a:pt x="160" y="245"/>
                </a:cubicBezTo>
                <a:cubicBezTo>
                  <a:pt x="162" y="227"/>
                  <a:pt x="170" y="210"/>
                  <a:pt x="181" y="196"/>
                </a:cubicBezTo>
                <a:close/>
                <a:moveTo>
                  <a:pt x="160" y="266"/>
                </a:moveTo>
                <a:cubicBezTo>
                  <a:pt x="224" y="266"/>
                  <a:pt x="224" y="266"/>
                  <a:pt x="224" y="266"/>
                </a:cubicBezTo>
                <a:cubicBezTo>
                  <a:pt x="224" y="266"/>
                  <a:pt x="225" y="266"/>
                  <a:pt x="226" y="266"/>
                </a:cubicBezTo>
                <a:cubicBezTo>
                  <a:pt x="226" y="267"/>
                  <a:pt x="226" y="269"/>
                  <a:pt x="227" y="270"/>
                </a:cubicBezTo>
                <a:cubicBezTo>
                  <a:pt x="227" y="270"/>
                  <a:pt x="226" y="270"/>
                  <a:pt x="226" y="271"/>
                </a:cubicBezTo>
                <a:cubicBezTo>
                  <a:pt x="181" y="316"/>
                  <a:pt x="181" y="316"/>
                  <a:pt x="181" y="316"/>
                </a:cubicBezTo>
                <a:cubicBezTo>
                  <a:pt x="170" y="302"/>
                  <a:pt x="162" y="285"/>
                  <a:pt x="160" y="266"/>
                </a:cubicBezTo>
                <a:close/>
                <a:moveTo>
                  <a:pt x="196" y="331"/>
                </a:moveTo>
                <a:cubicBezTo>
                  <a:pt x="241" y="286"/>
                  <a:pt x="241" y="286"/>
                  <a:pt x="241" y="286"/>
                </a:cubicBezTo>
                <a:cubicBezTo>
                  <a:pt x="241" y="285"/>
                  <a:pt x="241" y="285"/>
                  <a:pt x="242" y="284"/>
                </a:cubicBezTo>
                <a:cubicBezTo>
                  <a:pt x="243" y="285"/>
                  <a:pt x="244" y="285"/>
                  <a:pt x="245" y="286"/>
                </a:cubicBezTo>
                <a:cubicBezTo>
                  <a:pt x="245" y="286"/>
                  <a:pt x="245" y="287"/>
                  <a:pt x="245" y="288"/>
                </a:cubicBezTo>
                <a:cubicBezTo>
                  <a:pt x="245" y="351"/>
                  <a:pt x="245" y="351"/>
                  <a:pt x="245" y="351"/>
                </a:cubicBezTo>
                <a:cubicBezTo>
                  <a:pt x="227" y="349"/>
                  <a:pt x="210" y="342"/>
                  <a:pt x="196" y="331"/>
                </a:cubicBezTo>
                <a:close/>
                <a:moveTo>
                  <a:pt x="266" y="351"/>
                </a:moveTo>
                <a:cubicBezTo>
                  <a:pt x="266" y="288"/>
                  <a:pt x="266" y="288"/>
                  <a:pt x="266" y="288"/>
                </a:cubicBezTo>
                <a:cubicBezTo>
                  <a:pt x="266" y="287"/>
                  <a:pt x="266" y="286"/>
                  <a:pt x="266" y="286"/>
                </a:cubicBezTo>
                <a:cubicBezTo>
                  <a:pt x="267" y="285"/>
                  <a:pt x="269" y="285"/>
                  <a:pt x="270" y="284"/>
                </a:cubicBezTo>
                <a:cubicBezTo>
                  <a:pt x="270" y="285"/>
                  <a:pt x="270" y="285"/>
                  <a:pt x="271" y="286"/>
                </a:cubicBezTo>
                <a:cubicBezTo>
                  <a:pt x="316" y="331"/>
                  <a:pt x="316" y="331"/>
                  <a:pt x="316" y="331"/>
                </a:cubicBezTo>
                <a:cubicBezTo>
                  <a:pt x="302" y="342"/>
                  <a:pt x="285" y="349"/>
                  <a:pt x="266" y="351"/>
                </a:cubicBezTo>
                <a:close/>
                <a:moveTo>
                  <a:pt x="331" y="316"/>
                </a:moveTo>
                <a:cubicBezTo>
                  <a:pt x="286" y="271"/>
                  <a:pt x="286" y="271"/>
                  <a:pt x="286" y="271"/>
                </a:cubicBezTo>
                <a:cubicBezTo>
                  <a:pt x="285" y="270"/>
                  <a:pt x="285" y="270"/>
                  <a:pt x="284" y="270"/>
                </a:cubicBezTo>
                <a:cubicBezTo>
                  <a:pt x="285" y="268"/>
                  <a:pt x="285" y="267"/>
                  <a:pt x="286" y="266"/>
                </a:cubicBezTo>
                <a:cubicBezTo>
                  <a:pt x="286" y="266"/>
                  <a:pt x="287" y="266"/>
                  <a:pt x="288" y="266"/>
                </a:cubicBezTo>
                <a:cubicBezTo>
                  <a:pt x="351" y="266"/>
                  <a:pt x="351" y="266"/>
                  <a:pt x="351" y="266"/>
                </a:cubicBezTo>
                <a:cubicBezTo>
                  <a:pt x="349" y="285"/>
                  <a:pt x="342" y="302"/>
                  <a:pt x="331" y="31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6" name="Group 1025">
            <a:extLst>
              <a:ext uri="{FF2B5EF4-FFF2-40B4-BE49-F238E27FC236}">
                <a16:creationId xmlns:a16="http://schemas.microsoft.com/office/drawing/2014/main" id="{EFFD1011-EAC5-4889-8D46-0A0AB665B2DF}"/>
              </a:ext>
            </a:extLst>
          </p:cNvPr>
          <p:cNvGrpSpPr>
            <a:grpSpLocks noChangeAspect="1"/>
          </p:cNvGrpSpPr>
          <p:nvPr/>
        </p:nvGrpSpPr>
        <p:grpSpPr bwMode="auto">
          <a:xfrm>
            <a:off x="8305759" y="1704297"/>
            <a:ext cx="369021" cy="369021"/>
            <a:chOff x="787" y="3994"/>
            <a:chExt cx="340" cy="340"/>
          </a:xfrm>
          <a:solidFill>
            <a:schemeClr val="accent5"/>
          </a:solidFill>
        </p:grpSpPr>
        <p:sp>
          <p:nvSpPr>
            <p:cNvPr id="187" name="Freeform 1026">
              <a:extLst>
                <a:ext uri="{FF2B5EF4-FFF2-40B4-BE49-F238E27FC236}">
                  <a16:creationId xmlns:a16="http://schemas.microsoft.com/office/drawing/2014/main" id="{4B84D672-AB1E-49B3-9961-57CED73967AC}"/>
                </a:ext>
              </a:extLst>
            </p:cNvPr>
            <p:cNvSpPr>
              <a:spLocks/>
            </p:cNvSpPr>
            <p:nvPr/>
          </p:nvSpPr>
          <p:spPr bwMode="auto">
            <a:xfrm>
              <a:off x="893" y="4171"/>
              <a:ext cx="45" cy="33"/>
            </a:xfrm>
            <a:custGeom>
              <a:avLst/>
              <a:gdLst>
                <a:gd name="T0" fmla="*/ 67 w 67"/>
                <a:gd name="T1" fmla="*/ 4 h 50"/>
                <a:gd name="T2" fmla="*/ 66 w 67"/>
                <a:gd name="T3" fmla="*/ 0 h 50"/>
                <a:gd name="T4" fmla="*/ 64 w 67"/>
                <a:gd name="T5" fmla="*/ 0 h 50"/>
                <a:gd name="T6" fmla="*/ 0 w 67"/>
                <a:gd name="T7" fmla="*/ 0 h 50"/>
                <a:gd name="T8" fmla="*/ 21 w 67"/>
                <a:gd name="T9" fmla="*/ 50 h 50"/>
                <a:gd name="T10" fmla="*/ 66 w 67"/>
                <a:gd name="T11" fmla="*/ 5 h 50"/>
                <a:gd name="T12" fmla="*/ 67 w 67"/>
                <a:gd name="T13" fmla="*/ 4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67" y="4"/>
                  </a:moveTo>
                  <a:cubicBezTo>
                    <a:pt x="66" y="3"/>
                    <a:pt x="66" y="1"/>
                    <a:pt x="66" y="0"/>
                  </a:cubicBezTo>
                  <a:cubicBezTo>
                    <a:pt x="65" y="0"/>
                    <a:pt x="64" y="0"/>
                    <a:pt x="64" y="0"/>
                  </a:cubicBezTo>
                  <a:cubicBezTo>
                    <a:pt x="0" y="0"/>
                    <a:pt x="0" y="0"/>
                    <a:pt x="0" y="0"/>
                  </a:cubicBezTo>
                  <a:cubicBezTo>
                    <a:pt x="2" y="19"/>
                    <a:pt x="10" y="36"/>
                    <a:pt x="21" y="50"/>
                  </a:cubicBezTo>
                  <a:cubicBezTo>
                    <a:pt x="66" y="5"/>
                    <a:pt x="66" y="5"/>
                    <a:pt x="66" y="5"/>
                  </a:cubicBezTo>
                  <a:cubicBezTo>
                    <a:pt x="66" y="4"/>
                    <a:pt x="67" y="4"/>
                    <a:pt x="6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8" name="Freeform 1027">
              <a:extLst>
                <a:ext uri="{FF2B5EF4-FFF2-40B4-BE49-F238E27FC236}">
                  <a16:creationId xmlns:a16="http://schemas.microsoft.com/office/drawing/2014/main" id="{DDE9E2DC-B9B9-48A1-8149-7C9F74939217}"/>
                </a:ext>
              </a:extLst>
            </p:cNvPr>
            <p:cNvSpPr>
              <a:spLocks/>
            </p:cNvSpPr>
            <p:nvPr/>
          </p:nvSpPr>
          <p:spPr bwMode="auto">
            <a:xfrm>
              <a:off x="893" y="4124"/>
              <a:ext cx="45" cy="33"/>
            </a:xfrm>
            <a:custGeom>
              <a:avLst/>
              <a:gdLst>
                <a:gd name="T0" fmla="*/ 66 w 67"/>
                <a:gd name="T1" fmla="*/ 49 h 49"/>
                <a:gd name="T2" fmla="*/ 67 w 67"/>
                <a:gd name="T3" fmla="*/ 46 h 49"/>
                <a:gd name="T4" fmla="*/ 66 w 67"/>
                <a:gd name="T5" fmla="*/ 45 h 49"/>
                <a:gd name="T6" fmla="*/ 21 w 67"/>
                <a:gd name="T7" fmla="*/ 0 h 49"/>
                <a:gd name="T8" fmla="*/ 0 w 67"/>
                <a:gd name="T9" fmla="*/ 49 h 49"/>
                <a:gd name="T10" fmla="*/ 64 w 67"/>
                <a:gd name="T11" fmla="*/ 49 h 49"/>
                <a:gd name="T12" fmla="*/ 66 w 67"/>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66" y="49"/>
                  </a:moveTo>
                  <a:cubicBezTo>
                    <a:pt x="66" y="48"/>
                    <a:pt x="66" y="47"/>
                    <a:pt x="67" y="46"/>
                  </a:cubicBezTo>
                  <a:cubicBezTo>
                    <a:pt x="67" y="45"/>
                    <a:pt x="66" y="45"/>
                    <a:pt x="66" y="45"/>
                  </a:cubicBezTo>
                  <a:cubicBezTo>
                    <a:pt x="21" y="0"/>
                    <a:pt x="21" y="0"/>
                    <a:pt x="21" y="0"/>
                  </a:cubicBezTo>
                  <a:cubicBezTo>
                    <a:pt x="10" y="14"/>
                    <a:pt x="2" y="31"/>
                    <a:pt x="0" y="49"/>
                  </a:cubicBezTo>
                  <a:cubicBezTo>
                    <a:pt x="64" y="49"/>
                    <a:pt x="64" y="49"/>
                    <a:pt x="64" y="49"/>
                  </a:cubicBezTo>
                  <a:cubicBezTo>
                    <a:pt x="64" y="49"/>
                    <a:pt x="65" y="49"/>
                    <a:pt x="66" y="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9" name="Freeform 1028">
              <a:extLst>
                <a:ext uri="{FF2B5EF4-FFF2-40B4-BE49-F238E27FC236}">
                  <a16:creationId xmlns:a16="http://schemas.microsoft.com/office/drawing/2014/main" id="{1EE7EE93-96B8-421F-A15A-77668CE416E3}"/>
                </a:ext>
              </a:extLst>
            </p:cNvPr>
            <p:cNvSpPr>
              <a:spLocks/>
            </p:cNvSpPr>
            <p:nvPr/>
          </p:nvSpPr>
          <p:spPr bwMode="auto">
            <a:xfrm>
              <a:off x="917" y="4100"/>
              <a:ext cx="33" cy="45"/>
            </a:xfrm>
            <a:custGeom>
              <a:avLst/>
              <a:gdLst>
                <a:gd name="T0" fmla="*/ 46 w 49"/>
                <a:gd name="T1" fmla="*/ 67 h 67"/>
                <a:gd name="T2" fmla="*/ 49 w 49"/>
                <a:gd name="T3" fmla="*/ 66 h 67"/>
                <a:gd name="T4" fmla="*/ 49 w 49"/>
                <a:gd name="T5" fmla="*/ 64 h 67"/>
                <a:gd name="T6" fmla="*/ 49 w 49"/>
                <a:gd name="T7" fmla="*/ 0 h 67"/>
                <a:gd name="T8" fmla="*/ 0 w 49"/>
                <a:gd name="T9" fmla="*/ 21 h 67"/>
                <a:gd name="T10" fmla="*/ 45 w 49"/>
                <a:gd name="T11" fmla="*/ 66 h 67"/>
                <a:gd name="T12" fmla="*/ 46 w 49"/>
                <a:gd name="T13" fmla="*/ 67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6" y="67"/>
                  </a:moveTo>
                  <a:cubicBezTo>
                    <a:pt x="47" y="66"/>
                    <a:pt x="48" y="66"/>
                    <a:pt x="49" y="66"/>
                  </a:cubicBezTo>
                  <a:cubicBezTo>
                    <a:pt x="49" y="65"/>
                    <a:pt x="49" y="64"/>
                    <a:pt x="49" y="64"/>
                  </a:cubicBezTo>
                  <a:cubicBezTo>
                    <a:pt x="49" y="0"/>
                    <a:pt x="49" y="0"/>
                    <a:pt x="49" y="0"/>
                  </a:cubicBezTo>
                  <a:cubicBezTo>
                    <a:pt x="31" y="2"/>
                    <a:pt x="14" y="10"/>
                    <a:pt x="0" y="21"/>
                  </a:cubicBezTo>
                  <a:cubicBezTo>
                    <a:pt x="45" y="66"/>
                    <a:pt x="45" y="66"/>
                    <a:pt x="45" y="66"/>
                  </a:cubicBezTo>
                  <a:cubicBezTo>
                    <a:pt x="45" y="66"/>
                    <a:pt x="45" y="67"/>
                    <a:pt x="46" y="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0" name="Freeform 1029">
              <a:extLst>
                <a:ext uri="{FF2B5EF4-FFF2-40B4-BE49-F238E27FC236}">
                  <a16:creationId xmlns:a16="http://schemas.microsoft.com/office/drawing/2014/main" id="{8CCD3899-8E5E-4DE5-986F-37D8DBD0B09E}"/>
                </a:ext>
              </a:extLst>
            </p:cNvPr>
            <p:cNvSpPr>
              <a:spLocks/>
            </p:cNvSpPr>
            <p:nvPr/>
          </p:nvSpPr>
          <p:spPr bwMode="auto">
            <a:xfrm>
              <a:off x="964" y="4100"/>
              <a:ext cx="33" cy="45"/>
            </a:xfrm>
            <a:custGeom>
              <a:avLst/>
              <a:gdLst>
                <a:gd name="T0" fmla="*/ 5 w 50"/>
                <a:gd name="T1" fmla="*/ 66 h 67"/>
                <a:gd name="T2" fmla="*/ 50 w 50"/>
                <a:gd name="T3" fmla="*/ 21 h 67"/>
                <a:gd name="T4" fmla="*/ 0 w 50"/>
                <a:gd name="T5" fmla="*/ 0 h 67"/>
                <a:gd name="T6" fmla="*/ 0 w 50"/>
                <a:gd name="T7" fmla="*/ 64 h 67"/>
                <a:gd name="T8" fmla="*/ 0 w 50"/>
                <a:gd name="T9" fmla="*/ 66 h 67"/>
                <a:gd name="T10" fmla="*/ 4 w 50"/>
                <a:gd name="T11" fmla="*/ 67 h 67"/>
                <a:gd name="T12" fmla="*/ 5 w 50"/>
                <a:gd name="T13" fmla="*/ 66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5" y="66"/>
                  </a:moveTo>
                  <a:cubicBezTo>
                    <a:pt x="50" y="21"/>
                    <a:pt x="50" y="21"/>
                    <a:pt x="50" y="21"/>
                  </a:cubicBezTo>
                  <a:cubicBezTo>
                    <a:pt x="36" y="10"/>
                    <a:pt x="19" y="2"/>
                    <a:pt x="0" y="0"/>
                  </a:cubicBezTo>
                  <a:cubicBezTo>
                    <a:pt x="0" y="64"/>
                    <a:pt x="0" y="64"/>
                    <a:pt x="0" y="64"/>
                  </a:cubicBezTo>
                  <a:cubicBezTo>
                    <a:pt x="0" y="64"/>
                    <a:pt x="0" y="65"/>
                    <a:pt x="0" y="66"/>
                  </a:cubicBezTo>
                  <a:cubicBezTo>
                    <a:pt x="1" y="66"/>
                    <a:pt x="3" y="66"/>
                    <a:pt x="4" y="67"/>
                  </a:cubicBezTo>
                  <a:cubicBezTo>
                    <a:pt x="4" y="67"/>
                    <a:pt x="4" y="66"/>
                    <a:pt x="5" y="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1" name="Freeform 1030">
              <a:extLst>
                <a:ext uri="{FF2B5EF4-FFF2-40B4-BE49-F238E27FC236}">
                  <a16:creationId xmlns:a16="http://schemas.microsoft.com/office/drawing/2014/main" id="{F5950431-3DC6-4FD5-A41D-EEC96F5813DA}"/>
                </a:ext>
              </a:extLst>
            </p:cNvPr>
            <p:cNvSpPr>
              <a:spLocks/>
            </p:cNvSpPr>
            <p:nvPr/>
          </p:nvSpPr>
          <p:spPr bwMode="auto">
            <a:xfrm>
              <a:off x="917" y="4183"/>
              <a:ext cx="33" cy="44"/>
            </a:xfrm>
            <a:custGeom>
              <a:avLst/>
              <a:gdLst>
                <a:gd name="T0" fmla="*/ 45 w 49"/>
                <a:gd name="T1" fmla="*/ 2 h 67"/>
                <a:gd name="T2" fmla="*/ 0 w 49"/>
                <a:gd name="T3" fmla="*/ 47 h 67"/>
                <a:gd name="T4" fmla="*/ 49 w 49"/>
                <a:gd name="T5" fmla="*/ 67 h 67"/>
                <a:gd name="T6" fmla="*/ 49 w 49"/>
                <a:gd name="T7" fmla="*/ 4 h 67"/>
                <a:gd name="T8" fmla="*/ 49 w 49"/>
                <a:gd name="T9" fmla="*/ 2 h 67"/>
                <a:gd name="T10" fmla="*/ 46 w 49"/>
                <a:gd name="T11" fmla="*/ 0 h 67"/>
                <a:gd name="T12" fmla="*/ 45 w 49"/>
                <a:gd name="T13" fmla="*/ 2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5" y="2"/>
                  </a:moveTo>
                  <a:cubicBezTo>
                    <a:pt x="0" y="47"/>
                    <a:pt x="0" y="47"/>
                    <a:pt x="0" y="47"/>
                  </a:cubicBezTo>
                  <a:cubicBezTo>
                    <a:pt x="14" y="58"/>
                    <a:pt x="31" y="65"/>
                    <a:pt x="49" y="67"/>
                  </a:cubicBezTo>
                  <a:cubicBezTo>
                    <a:pt x="49" y="4"/>
                    <a:pt x="49" y="4"/>
                    <a:pt x="49" y="4"/>
                  </a:cubicBezTo>
                  <a:cubicBezTo>
                    <a:pt x="49" y="3"/>
                    <a:pt x="49" y="2"/>
                    <a:pt x="49" y="2"/>
                  </a:cubicBezTo>
                  <a:cubicBezTo>
                    <a:pt x="48" y="1"/>
                    <a:pt x="47" y="1"/>
                    <a:pt x="46" y="0"/>
                  </a:cubicBezTo>
                  <a:cubicBezTo>
                    <a:pt x="45" y="1"/>
                    <a:pt x="45" y="1"/>
                    <a:pt x="45"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2" name="Freeform 1031">
              <a:extLst>
                <a:ext uri="{FF2B5EF4-FFF2-40B4-BE49-F238E27FC236}">
                  <a16:creationId xmlns:a16="http://schemas.microsoft.com/office/drawing/2014/main" id="{748A4CEF-1DD9-457D-8BB5-C5BF7F974B3B}"/>
                </a:ext>
              </a:extLst>
            </p:cNvPr>
            <p:cNvSpPr>
              <a:spLocks/>
            </p:cNvSpPr>
            <p:nvPr/>
          </p:nvSpPr>
          <p:spPr bwMode="auto">
            <a:xfrm>
              <a:off x="976" y="4171"/>
              <a:ext cx="44" cy="33"/>
            </a:xfrm>
            <a:custGeom>
              <a:avLst/>
              <a:gdLst>
                <a:gd name="T0" fmla="*/ 2 w 67"/>
                <a:gd name="T1" fmla="*/ 0 h 50"/>
                <a:gd name="T2" fmla="*/ 0 w 67"/>
                <a:gd name="T3" fmla="*/ 4 h 50"/>
                <a:gd name="T4" fmla="*/ 2 w 67"/>
                <a:gd name="T5" fmla="*/ 5 h 50"/>
                <a:gd name="T6" fmla="*/ 47 w 67"/>
                <a:gd name="T7" fmla="*/ 50 h 50"/>
                <a:gd name="T8" fmla="*/ 67 w 67"/>
                <a:gd name="T9" fmla="*/ 0 h 50"/>
                <a:gd name="T10" fmla="*/ 4 w 67"/>
                <a:gd name="T11" fmla="*/ 0 h 50"/>
                <a:gd name="T12" fmla="*/ 2 w 67"/>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2" y="0"/>
                  </a:moveTo>
                  <a:cubicBezTo>
                    <a:pt x="1" y="1"/>
                    <a:pt x="1" y="2"/>
                    <a:pt x="0" y="4"/>
                  </a:cubicBezTo>
                  <a:cubicBezTo>
                    <a:pt x="1" y="4"/>
                    <a:pt x="1" y="4"/>
                    <a:pt x="2" y="5"/>
                  </a:cubicBezTo>
                  <a:cubicBezTo>
                    <a:pt x="47" y="50"/>
                    <a:pt x="47" y="50"/>
                    <a:pt x="47" y="50"/>
                  </a:cubicBezTo>
                  <a:cubicBezTo>
                    <a:pt x="58" y="36"/>
                    <a:pt x="65" y="19"/>
                    <a:pt x="67" y="0"/>
                  </a:cubicBezTo>
                  <a:cubicBezTo>
                    <a:pt x="4" y="0"/>
                    <a:pt x="4" y="0"/>
                    <a:pt x="4" y="0"/>
                  </a:cubicBezTo>
                  <a:cubicBezTo>
                    <a:pt x="3" y="0"/>
                    <a:pt x="2" y="0"/>
                    <a:pt x="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3" name="Oval 1032">
              <a:extLst>
                <a:ext uri="{FF2B5EF4-FFF2-40B4-BE49-F238E27FC236}">
                  <a16:creationId xmlns:a16="http://schemas.microsoft.com/office/drawing/2014/main" id="{2D976E74-CF4E-40CE-8218-23CA9971F6D3}"/>
                </a:ext>
              </a:extLst>
            </p:cNvPr>
            <p:cNvSpPr>
              <a:spLocks noChangeArrowheads="1"/>
            </p:cNvSpPr>
            <p:nvPr/>
          </p:nvSpPr>
          <p:spPr bwMode="auto">
            <a:xfrm>
              <a:off x="950" y="415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4" name="Freeform 1033">
              <a:extLst>
                <a:ext uri="{FF2B5EF4-FFF2-40B4-BE49-F238E27FC236}">
                  <a16:creationId xmlns:a16="http://schemas.microsoft.com/office/drawing/2014/main" id="{217CBCB7-E2BD-48A2-8B46-5DEAF89D5419}"/>
                </a:ext>
              </a:extLst>
            </p:cNvPr>
            <p:cNvSpPr>
              <a:spLocks noEditPoints="1"/>
            </p:cNvSpPr>
            <p:nvPr/>
          </p:nvSpPr>
          <p:spPr bwMode="auto">
            <a:xfrm>
              <a:off x="787" y="399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2 w 512"/>
                <a:gd name="T13" fmla="*/ 266 h 512"/>
                <a:gd name="T14" fmla="*/ 346 w 512"/>
                <a:gd name="T15" fmla="*/ 331 h 512"/>
                <a:gd name="T16" fmla="*/ 370 w 512"/>
                <a:gd name="T17" fmla="*/ 355 h 512"/>
                <a:gd name="T18" fmla="*/ 370 w 512"/>
                <a:gd name="T19" fmla="*/ 370 h 512"/>
                <a:gd name="T20" fmla="*/ 362 w 512"/>
                <a:gd name="T21" fmla="*/ 373 h 512"/>
                <a:gd name="T22" fmla="*/ 355 w 512"/>
                <a:gd name="T23" fmla="*/ 370 h 512"/>
                <a:gd name="T24" fmla="*/ 331 w 512"/>
                <a:gd name="T25" fmla="*/ 346 h 512"/>
                <a:gd name="T26" fmla="*/ 266 w 512"/>
                <a:gd name="T27" fmla="*/ 372 h 512"/>
                <a:gd name="T28" fmla="*/ 266 w 512"/>
                <a:gd name="T29" fmla="*/ 405 h 512"/>
                <a:gd name="T30" fmla="*/ 256 w 512"/>
                <a:gd name="T31" fmla="*/ 416 h 512"/>
                <a:gd name="T32" fmla="*/ 245 w 512"/>
                <a:gd name="T33" fmla="*/ 405 h 512"/>
                <a:gd name="T34" fmla="*/ 245 w 512"/>
                <a:gd name="T35" fmla="*/ 372 h 512"/>
                <a:gd name="T36" fmla="*/ 181 w 512"/>
                <a:gd name="T37" fmla="*/ 346 h 512"/>
                <a:gd name="T38" fmla="*/ 157 w 512"/>
                <a:gd name="T39" fmla="*/ 370 h 512"/>
                <a:gd name="T40" fmla="*/ 149 w 512"/>
                <a:gd name="T41" fmla="*/ 373 h 512"/>
                <a:gd name="T42" fmla="*/ 141 w 512"/>
                <a:gd name="T43" fmla="*/ 370 h 512"/>
                <a:gd name="T44" fmla="*/ 141 w 512"/>
                <a:gd name="T45" fmla="*/ 355 h 512"/>
                <a:gd name="T46" fmla="*/ 166 w 512"/>
                <a:gd name="T47" fmla="*/ 331 h 512"/>
                <a:gd name="T48" fmla="*/ 139 w 512"/>
                <a:gd name="T49" fmla="*/ 266 h 512"/>
                <a:gd name="T50" fmla="*/ 106 w 512"/>
                <a:gd name="T51" fmla="*/ 266 h 512"/>
                <a:gd name="T52" fmla="*/ 96 w 512"/>
                <a:gd name="T53" fmla="*/ 256 h 512"/>
                <a:gd name="T54" fmla="*/ 106 w 512"/>
                <a:gd name="T55" fmla="*/ 245 h 512"/>
                <a:gd name="T56" fmla="*/ 139 w 512"/>
                <a:gd name="T57" fmla="*/ 245 h 512"/>
                <a:gd name="T58" fmla="*/ 166 w 512"/>
                <a:gd name="T59" fmla="*/ 181 h 512"/>
                <a:gd name="T60" fmla="*/ 141 w 512"/>
                <a:gd name="T61" fmla="*/ 157 h 512"/>
                <a:gd name="T62" fmla="*/ 141 w 512"/>
                <a:gd name="T63" fmla="*/ 141 h 512"/>
                <a:gd name="T64" fmla="*/ 157 w 512"/>
                <a:gd name="T65" fmla="*/ 141 h 512"/>
                <a:gd name="T66" fmla="*/ 181 w 512"/>
                <a:gd name="T67" fmla="*/ 166 h 512"/>
                <a:gd name="T68" fmla="*/ 245 w 512"/>
                <a:gd name="T69" fmla="*/ 139 h 512"/>
                <a:gd name="T70" fmla="*/ 245 w 512"/>
                <a:gd name="T71" fmla="*/ 106 h 512"/>
                <a:gd name="T72" fmla="*/ 256 w 512"/>
                <a:gd name="T73" fmla="*/ 96 h 512"/>
                <a:gd name="T74" fmla="*/ 266 w 512"/>
                <a:gd name="T75" fmla="*/ 106 h 512"/>
                <a:gd name="T76" fmla="*/ 266 w 512"/>
                <a:gd name="T77" fmla="*/ 139 h 512"/>
                <a:gd name="T78" fmla="*/ 331 w 512"/>
                <a:gd name="T79" fmla="*/ 166 h 512"/>
                <a:gd name="T80" fmla="*/ 355 w 512"/>
                <a:gd name="T81" fmla="*/ 141 h 512"/>
                <a:gd name="T82" fmla="*/ 370 w 512"/>
                <a:gd name="T83" fmla="*/ 141 h 512"/>
                <a:gd name="T84" fmla="*/ 370 w 512"/>
                <a:gd name="T85" fmla="*/ 157 h 512"/>
                <a:gd name="T86" fmla="*/ 346 w 512"/>
                <a:gd name="T87" fmla="*/ 181 h 512"/>
                <a:gd name="T88" fmla="*/ 372 w 512"/>
                <a:gd name="T89" fmla="*/ 245 h 512"/>
                <a:gd name="T90" fmla="*/ 405 w 512"/>
                <a:gd name="T91" fmla="*/ 245 h 512"/>
                <a:gd name="T92" fmla="*/ 416 w 512"/>
                <a:gd name="T93" fmla="*/ 256 h 512"/>
                <a:gd name="T94" fmla="*/ 405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2" y="266"/>
                    <a:pt x="372" y="266"/>
                    <a:pt x="372" y="266"/>
                  </a:cubicBezTo>
                  <a:cubicBezTo>
                    <a:pt x="370" y="291"/>
                    <a:pt x="361" y="313"/>
                    <a:pt x="346" y="331"/>
                  </a:cubicBezTo>
                  <a:cubicBezTo>
                    <a:pt x="370" y="355"/>
                    <a:pt x="370" y="355"/>
                    <a:pt x="370" y="355"/>
                  </a:cubicBezTo>
                  <a:cubicBezTo>
                    <a:pt x="374" y="359"/>
                    <a:pt x="374" y="366"/>
                    <a:pt x="370" y="370"/>
                  </a:cubicBezTo>
                  <a:cubicBezTo>
                    <a:pt x="368" y="372"/>
                    <a:pt x="365" y="373"/>
                    <a:pt x="362" y="373"/>
                  </a:cubicBezTo>
                  <a:cubicBezTo>
                    <a:pt x="360" y="373"/>
                    <a:pt x="357" y="372"/>
                    <a:pt x="355" y="370"/>
                  </a:cubicBezTo>
                  <a:cubicBezTo>
                    <a:pt x="331" y="346"/>
                    <a:pt x="331" y="346"/>
                    <a:pt x="331" y="346"/>
                  </a:cubicBezTo>
                  <a:cubicBezTo>
                    <a:pt x="313" y="361"/>
                    <a:pt x="291" y="370"/>
                    <a:pt x="266" y="372"/>
                  </a:cubicBezTo>
                  <a:cubicBezTo>
                    <a:pt x="266" y="405"/>
                    <a:pt x="266" y="405"/>
                    <a:pt x="266" y="405"/>
                  </a:cubicBezTo>
                  <a:cubicBezTo>
                    <a:pt x="266" y="411"/>
                    <a:pt x="262" y="416"/>
                    <a:pt x="256" y="416"/>
                  </a:cubicBezTo>
                  <a:cubicBezTo>
                    <a:pt x="250" y="416"/>
                    <a:pt x="245" y="411"/>
                    <a:pt x="245" y="405"/>
                  </a:cubicBezTo>
                  <a:cubicBezTo>
                    <a:pt x="245" y="372"/>
                    <a:pt x="245" y="372"/>
                    <a:pt x="245" y="372"/>
                  </a:cubicBezTo>
                  <a:cubicBezTo>
                    <a:pt x="221" y="370"/>
                    <a:pt x="198" y="361"/>
                    <a:pt x="181" y="346"/>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66" y="331"/>
                    <a:pt x="166" y="331"/>
                    <a:pt x="166" y="331"/>
                  </a:cubicBezTo>
                  <a:cubicBezTo>
                    <a:pt x="151" y="313"/>
                    <a:pt x="141" y="291"/>
                    <a:pt x="139" y="266"/>
                  </a:cubicBezTo>
                  <a:cubicBezTo>
                    <a:pt x="106" y="266"/>
                    <a:pt x="106" y="266"/>
                    <a:pt x="106" y="266"/>
                  </a:cubicBezTo>
                  <a:cubicBezTo>
                    <a:pt x="100" y="266"/>
                    <a:pt x="96" y="262"/>
                    <a:pt x="96" y="256"/>
                  </a:cubicBezTo>
                  <a:cubicBezTo>
                    <a:pt x="96" y="250"/>
                    <a:pt x="100" y="245"/>
                    <a:pt x="106" y="245"/>
                  </a:cubicBezTo>
                  <a:cubicBezTo>
                    <a:pt x="139" y="245"/>
                    <a:pt x="139" y="245"/>
                    <a:pt x="139" y="245"/>
                  </a:cubicBezTo>
                  <a:cubicBezTo>
                    <a:pt x="141" y="221"/>
                    <a:pt x="151" y="198"/>
                    <a:pt x="166" y="181"/>
                  </a:cubicBezTo>
                  <a:cubicBezTo>
                    <a:pt x="141" y="157"/>
                    <a:pt x="141" y="157"/>
                    <a:pt x="141" y="157"/>
                  </a:cubicBezTo>
                  <a:cubicBezTo>
                    <a:pt x="137" y="152"/>
                    <a:pt x="137" y="146"/>
                    <a:pt x="141" y="141"/>
                  </a:cubicBezTo>
                  <a:cubicBezTo>
                    <a:pt x="146" y="137"/>
                    <a:pt x="152" y="137"/>
                    <a:pt x="157" y="141"/>
                  </a:cubicBezTo>
                  <a:cubicBezTo>
                    <a:pt x="181" y="166"/>
                    <a:pt x="181" y="166"/>
                    <a:pt x="181" y="166"/>
                  </a:cubicBezTo>
                  <a:cubicBezTo>
                    <a:pt x="198" y="151"/>
                    <a:pt x="221" y="141"/>
                    <a:pt x="245" y="139"/>
                  </a:cubicBezTo>
                  <a:cubicBezTo>
                    <a:pt x="245" y="106"/>
                    <a:pt x="245" y="106"/>
                    <a:pt x="245" y="106"/>
                  </a:cubicBezTo>
                  <a:cubicBezTo>
                    <a:pt x="245" y="100"/>
                    <a:pt x="250" y="96"/>
                    <a:pt x="256" y="96"/>
                  </a:cubicBezTo>
                  <a:cubicBezTo>
                    <a:pt x="262" y="96"/>
                    <a:pt x="266" y="100"/>
                    <a:pt x="266" y="106"/>
                  </a:cubicBezTo>
                  <a:cubicBezTo>
                    <a:pt x="266" y="139"/>
                    <a:pt x="266" y="139"/>
                    <a:pt x="266" y="139"/>
                  </a:cubicBezTo>
                  <a:cubicBezTo>
                    <a:pt x="291" y="141"/>
                    <a:pt x="313" y="151"/>
                    <a:pt x="331" y="166"/>
                  </a:cubicBezTo>
                  <a:cubicBezTo>
                    <a:pt x="355" y="141"/>
                    <a:pt x="355" y="141"/>
                    <a:pt x="355" y="141"/>
                  </a:cubicBezTo>
                  <a:cubicBezTo>
                    <a:pt x="359" y="137"/>
                    <a:pt x="366" y="137"/>
                    <a:pt x="370" y="141"/>
                  </a:cubicBezTo>
                  <a:cubicBezTo>
                    <a:pt x="374" y="146"/>
                    <a:pt x="374" y="152"/>
                    <a:pt x="370" y="157"/>
                  </a:cubicBezTo>
                  <a:cubicBezTo>
                    <a:pt x="346" y="181"/>
                    <a:pt x="346" y="181"/>
                    <a:pt x="346" y="181"/>
                  </a:cubicBezTo>
                  <a:cubicBezTo>
                    <a:pt x="361" y="198"/>
                    <a:pt x="370" y="221"/>
                    <a:pt x="372"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5" name="Freeform 1034">
              <a:extLst>
                <a:ext uri="{FF2B5EF4-FFF2-40B4-BE49-F238E27FC236}">
                  <a16:creationId xmlns:a16="http://schemas.microsoft.com/office/drawing/2014/main" id="{843EACE0-D762-445E-AC23-B8A22753095A}"/>
                </a:ext>
              </a:extLst>
            </p:cNvPr>
            <p:cNvSpPr>
              <a:spLocks/>
            </p:cNvSpPr>
            <p:nvPr/>
          </p:nvSpPr>
          <p:spPr bwMode="auto">
            <a:xfrm>
              <a:off x="976" y="4124"/>
              <a:ext cx="44" cy="33"/>
            </a:xfrm>
            <a:custGeom>
              <a:avLst/>
              <a:gdLst>
                <a:gd name="T0" fmla="*/ 2 w 67"/>
                <a:gd name="T1" fmla="*/ 45 h 49"/>
                <a:gd name="T2" fmla="*/ 0 w 67"/>
                <a:gd name="T3" fmla="*/ 46 h 49"/>
                <a:gd name="T4" fmla="*/ 2 w 67"/>
                <a:gd name="T5" fmla="*/ 49 h 49"/>
                <a:gd name="T6" fmla="*/ 4 w 67"/>
                <a:gd name="T7" fmla="*/ 49 h 49"/>
                <a:gd name="T8" fmla="*/ 67 w 67"/>
                <a:gd name="T9" fmla="*/ 49 h 49"/>
                <a:gd name="T10" fmla="*/ 47 w 67"/>
                <a:gd name="T11" fmla="*/ 0 h 49"/>
                <a:gd name="T12" fmla="*/ 2 w 67"/>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2" y="45"/>
                  </a:moveTo>
                  <a:cubicBezTo>
                    <a:pt x="1" y="45"/>
                    <a:pt x="1" y="45"/>
                    <a:pt x="0" y="46"/>
                  </a:cubicBezTo>
                  <a:cubicBezTo>
                    <a:pt x="1" y="47"/>
                    <a:pt x="1" y="48"/>
                    <a:pt x="2" y="49"/>
                  </a:cubicBezTo>
                  <a:cubicBezTo>
                    <a:pt x="2" y="49"/>
                    <a:pt x="3" y="49"/>
                    <a:pt x="4" y="49"/>
                  </a:cubicBezTo>
                  <a:cubicBezTo>
                    <a:pt x="67" y="49"/>
                    <a:pt x="67" y="49"/>
                    <a:pt x="67" y="49"/>
                  </a:cubicBezTo>
                  <a:cubicBezTo>
                    <a:pt x="65" y="31"/>
                    <a:pt x="58" y="14"/>
                    <a:pt x="47" y="0"/>
                  </a:cubicBezTo>
                  <a:lnTo>
                    <a:pt x="2" y="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6" name="Freeform 1035">
              <a:extLst>
                <a:ext uri="{FF2B5EF4-FFF2-40B4-BE49-F238E27FC236}">
                  <a16:creationId xmlns:a16="http://schemas.microsoft.com/office/drawing/2014/main" id="{5CD43884-8646-48C8-B6A6-74575DE1F779}"/>
                </a:ext>
              </a:extLst>
            </p:cNvPr>
            <p:cNvSpPr>
              <a:spLocks/>
            </p:cNvSpPr>
            <p:nvPr/>
          </p:nvSpPr>
          <p:spPr bwMode="auto">
            <a:xfrm>
              <a:off x="964" y="4183"/>
              <a:ext cx="33" cy="44"/>
            </a:xfrm>
            <a:custGeom>
              <a:avLst/>
              <a:gdLst>
                <a:gd name="T0" fmla="*/ 4 w 50"/>
                <a:gd name="T1" fmla="*/ 0 h 67"/>
                <a:gd name="T2" fmla="*/ 0 w 50"/>
                <a:gd name="T3" fmla="*/ 2 h 67"/>
                <a:gd name="T4" fmla="*/ 0 w 50"/>
                <a:gd name="T5" fmla="*/ 4 h 67"/>
                <a:gd name="T6" fmla="*/ 0 w 50"/>
                <a:gd name="T7" fmla="*/ 67 h 67"/>
                <a:gd name="T8" fmla="*/ 50 w 50"/>
                <a:gd name="T9" fmla="*/ 47 h 67"/>
                <a:gd name="T10" fmla="*/ 5 w 50"/>
                <a:gd name="T11" fmla="*/ 2 h 67"/>
                <a:gd name="T12" fmla="*/ 4 w 50"/>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4" y="0"/>
                  </a:moveTo>
                  <a:cubicBezTo>
                    <a:pt x="3" y="1"/>
                    <a:pt x="1" y="1"/>
                    <a:pt x="0" y="2"/>
                  </a:cubicBezTo>
                  <a:cubicBezTo>
                    <a:pt x="0" y="2"/>
                    <a:pt x="0" y="3"/>
                    <a:pt x="0" y="4"/>
                  </a:cubicBezTo>
                  <a:cubicBezTo>
                    <a:pt x="0" y="67"/>
                    <a:pt x="0" y="67"/>
                    <a:pt x="0" y="67"/>
                  </a:cubicBezTo>
                  <a:cubicBezTo>
                    <a:pt x="19" y="65"/>
                    <a:pt x="36" y="58"/>
                    <a:pt x="50" y="47"/>
                  </a:cubicBezTo>
                  <a:cubicBezTo>
                    <a:pt x="5" y="2"/>
                    <a:pt x="5" y="2"/>
                    <a:pt x="5" y="2"/>
                  </a:cubicBezTo>
                  <a:cubicBezTo>
                    <a:pt x="4" y="1"/>
                    <a:pt x="4" y="1"/>
                    <a:pt x="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7" name="Group 100">
            <a:extLst>
              <a:ext uri="{FF2B5EF4-FFF2-40B4-BE49-F238E27FC236}">
                <a16:creationId xmlns:a16="http://schemas.microsoft.com/office/drawing/2014/main" id="{22323BFF-E900-46D2-977B-FA94E82B1A76}"/>
              </a:ext>
            </a:extLst>
          </p:cNvPr>
          <p:cNvGrpSpPr>
            <a:grpSpLocks noChangeAspect="1"/>
          </p:cNvGrpSpPr>
          <p:nvPr/>
        </p:nvGrpSpPr>
        <p:grpSpPr bwMode="auto">
          <a:xfrm>
            <a:off x="5275587" y="2527810"/>
            <a:ext cx="369676" cy="369676"/>
            <a:chOff x="7354" y="361"/>
            <a:chExt cx="340" cy="340"/>
          </a:xfrm>
          <a:solidFill>
            <a:schemeClr val="accent2"/>
          </a:solidFill>
        </p:grpSpPr>
        <p:sp>
          <p:nvSpPr>
            <p:cNvPr id="198" name="Freeform 101">
              <a:extLst>
                <a:ext uri="{FF2B5EF4-FFF2-40B4-BE49-F238E27FC236}">
                  <a16:creationId xmlns:a16="http://schemas.microsoft.com/office/drawing/2014/main" id="{822EF1F5-737C-4B94-BF94-DE84698404E4}"/>
                </a:ext>
              </a:extLst>
            </p:cNvPr>
            <p:cNvSpPr>
              <a:spLocks noEditPoints="1"/>
            </p:cNvSpPr>
            <p:nvPr/>
          </p:nvSpPr>
          <p:spPr bwMode="auto">
            <a:xfrm>
              <a:off x="7354" y="3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9" name="Freeform 102">
              <a:extLst>
                <a:ext uri="{FF2B5EF4-FFF2-40B4-BE49-F238E27FC236}">
                  <a16:creationId xmlns:a16="http://schemas.microsoft.com/office/drawing/2014/main" id="{6B7D8EA1-ABB2-45BA-8BED-C2AAC1C51C05}"/>
                </a:ext>
              </a:extLst>
            </p:cNvPr>
            <p:cNvSpPr>
              <a:spLocks noEditPoints="1"/>
            </p:cNvSpPr>
            <p:nvPr/>
          </p:nvSpPr>
          <p:spPr bwMode="auto">
            <a:xfrm>
              <a:off x="7462" y="453"/>
              <a:ext cx="111" cy="156"/>
            </a:xfrm>
            <a:custGeom>
              <a:avLst/>
              <a:gdLst>
                <a:gd name="T0" fmla="*/ 74 w 167"/>
                <a:gd name="T1" fmla="*/ 189 h 235"/>
                <a:gd name="T2" fmla="*/ 74 w 167"/>
                <a:gd name="T3" fmla="*/ 204 h 235"/>
                <a:gd name="T4" fmla="*/ 47 w 167"/>
                <a:gd name="T5" fmla="*/ 232 h 235"/>
                <a:gd name="T6" fmla="*/ 43 w 167"/>
                <a:gd name="T7" fmla="*/ 234 h 235"/>
                <a:gd name="T8" fmla="*/ 39 w 167"/>
                <a:gd name="T9" fmla="*/ 235 h 235"/>
                <a:gd name="T10" fmla="*/ 35 w 167"/>
                <a:gd name="T11" fmla="*/ 234 h 235"/>
                <a:gd name="T12" fmla="*/ 32 w 167"/>
                <a:gd name="T13" fmla="*/ 232 h 235"/>
                <a:gd name="T14" fmla="*/ 4 w 167"/>
                <a:gd name="T15" fmla="*/ 204 h 235"/>
                <a:gd name="T16" fmla="*/ 4 w 167"/>
                <a:gd name="T17" fmla="*/ 189 h 235"/>
                <a:gd name="T18" fmla="*/ 19 w 167"/>
                <a:gd name="T19" fmla="*/ 189 h 235"/>
                <a:gd name="T20" fmla="*/ 29 w 167"/>
                <a:gd name="T21" fmla="*/ 199 h 235"/>
                <a:gd name="T22" fmla="*/ 29 w 167"/>
                <a:gd name="T23" fmla="*/ 11 h 235"/>
                <a:gd name="T24" fmla="*/ 39 w 167"/>
                <a:gd name="T25" fmla="*/ 0 h 235"/>
                <a:gd name="T26" fmla="*/ 50 w 167"/>
                <a:gd name="T27" fmla="*/ 11 h 235"/>
                <a:gd name="T28" fmla="*/ 50 w 167"/>
                <a:gd name="T29" fmla="*/ 199 h 235"/>
                <a:gd name="T30" fmla="*/ 59 w 167"/>
                <a:gd name="T31" fmla="*/ 189 h 235"/>
                <a:gd name="T32" fmla="*/ 74 w 167"/>
                <a:gd name="T33" fmla="*/ 189 h 235"/>
                <a:gd name="T34" fmla="*/ 106 w 167"/>
                <a:gd name="T35" fmla="*/ 172 h 235"/>
                <a:gd name="T36" fmla="*/ 114 w 167"/>
                <a:gd name="T37" fmla="*/ 182 h 235"/>
                <a:gd name="T38" fmla="*/ 124 w 167"/>
                <a:gd name="T39" fmla="*/ 175 h 235"/>
                <a:gd name="T40" fmla="*/ 130 w 167"/>
                <a:gd name="T41" fmla="*/ 169 h 235"/>
                <a:gd name="T42" fmla="*/ 130 w 167"/>
                <a:gd name="T43" fmla="*/ 178 h 235"/>
                <a:gd name="T44" fmla="*/ 130 w 167"/>
                <a:gd name="T45" fmla="*/ 186 h 235"/>
                <a:gd name="T46" fmla="*/ 130 w 167"/>
                <a:gd name="T47" fmla="*/ 235 h 235"/>
                <a:gd name="T48" fmla="*/ 148 w 167"/>
                <a:gd name="T49" fmla="*/ 235 h 235"/>
                <a:gd name="T50" fmla="*/ 148 w 167"/>
                <a:gd name="T51" fmla="*/ 150 h 235"/>
                <a:gd name="T52" fmla="*/ 133 w 167"/>
                <a:gd name="T53" fmla="*/ 150 h 235"/>
                <a:gd name="T54" fmla="*/ 106 w 167"/>
                <a:gd name="T55" fmla="*/ 172 h 235"/>
                <a:gd name="T56" fmla="*/ 167 w 167"/>
                <a:gd name="T57" fmla="*/ 37 h 235"/>
                <a:gd name="T58" fmla="*/ 157 w 167"/>
                <a:gd name="T59" fmla="*/ 73 h 235"/>
                <a:gd name="T60" fmla="*/ 125 w 167"/>
                <a:gd name="T61" fmla="*/ 86 h 235"/>
                <a:gd name="T62" fmla="*/ 114 w 167"/>
                <a:gd name="T63" fmla="*/ 85 h 235"/>
                <a:gd name="T64" fmla="*/ 114 w 167"/>
                <a:gd name="T65" fmla="*/ 71 h 235"/>
                <a:gd name="T66" fmla="*/ 124 w 167"/>
                <a:gd name="T67" fmla="*/ 72 h 235"/>
                <a:gd name="T68" fmla="*/ 139 w 167"/>
                <a:gd name="T69" fmla="*/ 69 h 235"/>
                <a:gd name="T70" fmla="*/ 147 w 167"/>
                <a:gd name="T71" fmla="*/ 61 h 235"/>
                <a:gd name="T72" fmla="*/ 151 w 167"/>
                <a:gd name="T73" fmla="*/ 46 h 235"/>
                <a:gd name="T74" fmla="*/ 150 w 167"/>
                <a:gd name="T75" fmla="*/ 46 h 235"/>
                <a:gd name="T76" fmla="*/ 142 w 167"/>
                <a:gd name="T77" fmla="*/ 53 h 235"/>
                <a:gd name="T78" fmla="*/ 132 w 167"/>
                <a:gd name="T79" fmla="*/ 56 h 235"/>
                <a:gd name="T80" fmla="*/ 114 w 167"/>
                <a:gd name="T81" fmla="*/ 49 h 235"/>
                <a:gd name="T82" fmla="*/ 108 w 167"/>
                <a:gd name="T83" fmla="*/ 29 h 235"/>
                <a:gd name="T84" fmla="*/ 116 w 167"/>
                <a:gd name="T85" fmla="*/ 8 h 235"/>
                <a:gd name="T86" fmla="*/ 136 w 167"/>
                <a:gd name="T87" fmla="*/ 0 h 235"/>
                <a:gd name="T88" fmla="*/ 153 w 167"/>
                <a:gd name="T89" fmla="*/ 5 h 235"/>
                <a:gd name="T90" fmla="*/ 163 w 167"/>
                <a:gd name="T91" fmla="*/ 17 h 235"/>
                <a:gd name="T92" fmla="*/ 167 w 167"/>
                <a:gd name="T93" fmla="*/ 37 h 235"/>
                <a:gd name="T94" fmla="*/ 149 w 167"/>
                <a:gd name="T95" fmla="*/ 30 h 235"/>
                <a:gd name="T96" fmla="*/ 146 w 167"/>
                <a:gd name="T97" fmla="*/ 19 h 235"/>
                <a:gd name="T98" fmla="*/ 137 w 167"/>
                <a:gd name="T99" fmla="*/ 14 h 235"/>
                <a:gd name="T100" fmla="*/ 128 w 167"/>
                <a:gd name="T101" fmla="*/ 18 h 235"/>
                <a:gd name="T102" fmla="*/ 125 w 167"/>
                <a:gd name="T103" fmla="*/ 29 h 235"/>
                <a:gd name="T104" fmla="*/ 128 w 167"/>
                <a:gd name="T105" fmla="*/ 39 h 235"/>
                <a:gd name="T106" fmla="*/ 136 w 167"/>
                <a:gd name="T107" fmla="*/ 42 h 235"/>
                <a:gd name="T108" fmla="*/ 146 w 167"/>
                <a:gd name="T109" fmla="*/ 39 h 235"/>
                <a:gd name="T110" fmla="*/ 149 w 167"/>
                <a:gd name="T111" fmla="*/ 3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7"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06" y="172"/>
                  </a:moveTo>
                  <a:cubicBezTo>
                    <a:pt x="114" y="182"/>
                    <a:pt x="114" y="182"/>
                    <a:pt x="114" y="182"/>
                  </a:cubicBezTo>
                  <a:cubicBezTo>
                    <a:pt x="124" y="175"/>
                    <a:pt x="124" y="175"/>
                    <a:pt x="124" y="175"/>
                  </a:cubicBezTo>
                  <a:cubicBezTo>
                    <a:pt x="125" y="174"/>
                    <a:pt x="127" y="172"/>
                    <a:pt x="130" y="169"/>
                  </a:cubicBezTo>
                  <a:cubicBezTo>
                    <a:pt x="130" y="178"/>
                    <a:pt x="130" y="178"/>
                    <a:pt x="130" y="178"/>
                  </a:cubicBezTo>
                  <a:cubicBezTo>
                    <a:pt x="130" y="186"/>
                    <a:pt x="130" y="186"/>
                    <a:pt x="130" y="186"/>
                  </a:cubicBezTo>
                  <a:cubicBezTo>
                    <a:pt x="130" y="235"/>
                    <a:pt x="130" y="235"/>
                    <a:pt x="130" y="235"/>
                  </a:cubicBezTo>
                  <a:cubicBezTo>
                    <a:pt x="148" y="235"/>
                    <a:pt x="148" y="235"/>
                    <a:pt x="148" y="235"/>
                  </a:cubicBezTo>
                  <a:cubicBezTo>
                    <a:pt x="148" y="150"/>
                    <a:pt x="148" y="150"/>
                    <a:pt x="148" y="150"/>
                  </a:cubicBezTo>
                  <a:cubicBezTo>
                    <a:pt x="133" y="150"/>
                    <a:pt x="133" y="150"/>
                    <a:pt x="133" y="150"/>
                  </a:cubicBezTo>
                  <a:lnTo>
                    <a:pt x="106" y="172"/>
                  </a:lnTo>
                  <a:close/>
                  <a:moveTo>
                    <a:pt x="167" y="37"/>
                  </a:moveTo>
                  <a:cubicBezTo>
                    <a:pt x="167" y="53"/>
                    <a:pt x="163" y="65"/>
                    <a:pt x="157" y="73"/>
                  </a:cubicBezTo>
                  <a:cubicBezTo>
                    <a:pt x="150" y="82"/>
                    <a:pt x="139" y="86"/>
                    <a:pt x="125" y="86"/>
                  </a:cubicBezTo>
                  <a:cubicBezTo>
                    <a:pt x="120" y="86"/>
                    <a:pt x="117" y="85"/>
                    <a:pt x="114" y="85"/>
                  </a:cubicBezTo>
                  <a:cubicBezTo>
                    <a:pt x="114" y="71"/>
                    <a:pt x="114" y="71"/>
                    <a:pt x="114" y="71"/>
                  </a:cubicBezTo>
                  <a:cubicBezTo>
                    <a:pt x="117" y="71"/>
                    <a:pt x="121" y="72"/>
                    <a:pt x="124" y="72"/>
                  </a:cubicBezTo>
                  <a:cubicBezTo>
                    <a:pt x="130" y="72"/>
                    <a:pt x="135" y="71"/>
                    <a:pt x="139" y="69"/>
                  </a:cubicBezTo>
                  <a:cubicBezTo>
                    <a:pt x="142" y="68"/>
                    <a:pt x="145" y="65"/>
                    <a:pt x="147" y="61"/>
                  </a:cubicBezTo>
                  <a:cubicBezTo>
                    <a:pt x="149" y="57"/>
                    <a:pt x="150" y="52"/>
                    <a:pt x="151" y="46"/>
                  </a:cubicBezTo>
                  <a:cubicBezTo>
                    <a:pt x="150" y="46"/>
                    <a:pt x="150" y="46"/>
                    <a:pt x="150" y="46"/>
                  </a:cubicBezTo>
                  <a:cubicBezTo>
                    <a:pt x="148" y="49"/>
                    <a:pt x="145" y="52"/>
                    <a:pt x="142" y="53"/>
                  </a:cubicBezTo>
                  <a:cubicBezTo>
                    <a:pt x="139" y="55"/>
                    <a:pt x="136" y="56"/>
                    <a:pt x="132" y="56"/>
                  </a:cubicBezTo>
                  <a:cubicBezTo>
                    <a:pt x="124" y="56"/>
                    <a:pt x="119" y="53"/>
                    <a:pt x="114" y="49"/>
                  </a:cubicBezTo>
                  <a:cubicBezTo>
                    <a:pt x="110" y="44"/>
                    <a:pt x="108" y="37"/>
                    <a:pt x="108" y="29"/>
                  </a:cubicBezTo>
                  <a:cubicBezTo>
                    <a:pt x="108" y="20"/>
                    <a:pt x="111" y="13"/>
                    <a:pt x="116" y="8"/>
                  </a:cubicBezTo>
                  <a:cubicBezTo>
                    <a:pt x="121" y="3"/>
                    <a:pt x="128" y="0"/>
                    <a:pt x="136" y="0"/>
                  </a:cubicBezTo>
                  <a:cubicBezTo>
                    <a:pt x="143" y="0"/>
                    <a:pt x="148" y="2"/>
                    <a:pt x="153" y="5"/>
                  </a:cubicBezTo>
                  <a:cubicBezTo>
                    <a:pt x="157" y="7"/>
                    <a:pt x="161" y="12"/>
                    <a:pt x="163" y="17"/>
                  </a:cubicBezTo>
                  <a:cubicBezTo>
                    <a:pt x="166" y="23"/>
                    <a:pt x="167" y="29"/>
                    <a:pt x="167" y="37"/>
                  </a:cubicBezTo>
                  <a:close/>
                  <a:moveTo>
                    <a:pt x="149" y="30"/>
                  </a:moveTo>
                  <a:cubicBezTo>
                    <a:pt x="149" y="26"/>
                    <a:pt x="148" y="22"/>
                    <a:pt x="146" y="19"/>
                  </a:cubicBezTo>
                  <a:cubicBezTo>
                    <a:pt x="144" y="16"/>
                    <a:pt x="140" y="14"/>
                    <a:pt x="137" y="14"/>
                  </a:cubicBezTo>
                  <a:cubicBezTo>
                    <a:pt x="133" y="14"/>
                    <a:pt x="130" y="16"/>
                    <a:pt x="128" y="18"/>
                  </a:cubicBezTo>
                  <a:cubicBezTo>
                    <a:pt x="126" y="21"/>
                    <a:pt x="125" y="24"/>
                    <a:pt x="125" y="29"/>
                  </a:cubicBezTo>
                  <a:cubicBezTo>
                    <a:pt x="125" y="33"/>
                    <a:pt x="126" y="36"/>
                    <a:pt x="128" y="39"/>
                  </a:cubicBezTo>
                  <a:cubicBezTo>
                    <a:pt x="130" y="41"/>
                    <a:pt x="133" y="42"/>
                    <a:pt x="136" y="42"/>
                  </a:cubicBezTo>
                  <a:cubicBezTo>
                    <a:pt x="140" y="42"/>
                    <a:pt x="143" y="41"/>
                    <a:pt x="146" y="39"/>
                  </a:cubicBezTo>
                  <a:cubicBezTo>
                    <a:pt x="148" y="36"/>
                    <a:pt x="149" y="34"/>
                    <a:pt x="149"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0" name="Freeform 106">
            <a:extLst>
              <a:ext uri="{FF2B5EF4-FFF2-40B4-BE49-F238E27FC236}">
                <a16:creationId xmlns:a16="http://schemas.microsoft.com/office/drawing/2014/main" id="{4B11A40F-E916-4F4C-B2DF-B77719DBF9C8}"/>
              </a:ext>
            </a:extLst>
          </p:cNvPr>
          <p:cNvSpPr>
            <a:spLocks noChangeAspect="1" noEditPoints="1"/>
          </p:cNvSpPr>
          <p:nvPr/>
        </p:nvSpPr>
        <p:spPr bwMode="auto">
          <a:xfrm>
            <a:off x="4838904" y="2527810"/>
            <a:ext cx="369676" cy="369676"/>
          </a:xfrm>
          <a:custGeom>
            <a:avLst/>
            <a:gdLst>
              <a:gd name="T0" fmla="*/ 309 w 512"/>
              <a:gd name="T1" fmla="*/ 157 h 512"/>
              <a:gd name="T2" fmla="*/ 312 w 512"/>
              <a:gd name="T3" fmla="*/ 168 h 512"/>
              <a:gd name="T4" fmla="*/ 309 w 512"/>
              <a:gd name="T5" fmla="*/ 177 h 512"/>
              <a:gd name="T6" fmla="*/ 299 w 512"/>
              <a:gd name="T7" fmla="*/ 180 h 512"/>
              <a:gd name="T8" fmla="*/ 291 w 512"/>
              <a:gd name="T9" fmla="*/ 177 h 512"/>
              <a:gd name="T10" fmla="*/ 288 w 512"/>
              <a:gd name="T11" fmla="*/ 167 h 512"/>
              <a:gd name="T12" fmla="*/ 291 w 512"/>
              <a:gd name="T13" fmla="*/ 156 h 512"/>
              <a:gd name="T14" fmla="*/ 300 w 512"/>
              <a:gd name="T15" fmla="*/ 152 h 512"/>
              <a:gd name="T16" fmla="*/ 309 w 512"/>
              <a:gd name="T17" fmla="*/ 157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37 w 512"/>
              <a:gd name="T29" fmla="*/ 327 h 512"/>
              <a:gd name="T30" fmla="*/ 222 w 512"/>
              <a:gd name="T31" fmla="*/ 327 h 512"/>
              <a:gd name="T32" fmla="*/ 213 w 512"/>
              <a:gd name="T33" fmla="*/ 337 h 512"/>
              <a:gd name="T34" fmla="*/ 213 w 512"/>
              <a:gd name="T35" fmla="*/ 149 h 512"/>
              <a:gd name="T36" fmla="*/ 202 w 512"/>
              <a:gd name="T37" fmla="*/ 138 h 512"/>
              <a:gd name="T38" fmla="*/ 192 w 512"/>
              <a:gd name="T39" fmla="*/ 149 h 512"/>
              <a:gd name="T40" fmla="*/ 192 w 512"/>
              <a:gd name="T41" fmla="*/ 337 h 512"/>
              <a:gd name="T42" fmla="*/ 182 w 512"/>
              <a:gd name="T43" fmla="*/ 327 h 512"/>
              <a:gd name="T44" fmla="*/ 167 w 512"/>
              <a:gd name="T45" fmla="*/ 327 h 512"/>
              <a:gd name="T46" fmla="*/ 167 w 512"/>
              <a:gd name="T47" fmla="*/ 342 h 512"/>
              <a:gd name="T48" fmla="*/ 195 w 512"/>
              <a:gd name="T49" fmla="*/ 370 h 512"/>
              <a:gd name="T50" fmla="*/ 198 w 512"/>
              <a:gd name="T51" fmla="*/ 372 h 512"/>
              <a:gd name="T52" fmla="*/ 202 w 512"/>
              <a:gd name="T53" fmla="*/ 373 h 512"/>
              <a:gd name="T54" fmla="*/ 206 w 512"/>
              <a:gd name="T55" fmla="*/ 372 h 512"/>
              <a:gd name="T56" fmla="*/ 210 w 512"/>
              <a:gd name="T57" fmla="*/ 370 h 512"/>
              <a:gd name="T58" fmla="*/ 237 w 512"/>
              <a:gd name="T59" fmla="*/ 342 h 512"/>
              <a:gd name="T60" fmla="*/ 237 w 512"/>
              <a:gd name="T61" fmla="*/ 327 h 512"/>
              <a:gd name="T62" fmla="*/ 311 w 512"/>
              <a:gd name="T63" fmla="*/ 288 h 512"/>
              <a:gd name="T64" fmla="*/ 296 w 512"/>
              <a:gd name="T65" fmla="*/ 288 h 512"/>
              <a:gd name="T66" fmla="*/ 269 w 512"/>
              <a:gd name="T67" fmla="*/ 310 h 512"/>
              <a:gd name="T68" fmla="*/ 277 w 512"/>
              <a:gd name="T69" fmla="*/ 320 h 512"/>
              <a:gd name="T70" fmla="*/ 287 w 512"/>
              <a:gd name="T71" fmla="*/ 313 h 512"/>
              <a:gd name="T72" fmla="*/ 293 w 512"/>
              <a:gd name="T73" fmla="*/ 307 h 512"/>
              <a:gd name="T74" fmla="*/ 293 w 512"/>
              <a:gd name="T75" fmla="*/ 316 h 512"/>
              <a:gd name="T76" fmla="*/ 293 w 512"/>
              <a:gd name="T77" fmla="*/ 324 h 512"/>
              <a:gd name="T78" fmla="*/ 293 w 512"/>
              <a:gd name="T79" fmla="*/ 373 h 512"/>
              <a:gd name="T80" fmla="*/ 311 w 512"/>
              <a:gd name="T81" fmla="*/ 373 h 512"/>
              <a:gd name="T82" fmla="*/ 311 w 512"/>
              <a:gd name="T83" fmla="*/ 288 h 512"/>
              <a:gd name="T84" fmla="*/ 330 w 512"/>
              <a:gd name="T85" fmla="*/ 175 h 512"/>
              <a:gd name="T86" fmla="*/ 326 w 512"/>
              <a:gd name="T87" fmla="*/ 155 h 512"/>
              <a:gd name="T88" fmla="*/ 316 w 512"/>
              <a:gd name="T89" fmla="*/ 143 h 512"/>
              <a:gd name="T90" fmla="*/ 299 w 512"/>
              <a:gd name="T91" fmla="*/ 138 h 512"/>
              <a:gd name="T92" fmla="*/ 279 w 512"/>
              <a:gd name="T93" fmla="*/ 146 h 512"/>
              <a:gd name="T94" fmla="*/ 271 w 512"/>
              <a:gd name="T95" fmla="*/ 167 h 512"/>
              <a:gd name="T96" fmla="*/ 277 w 512"/>
              <a:gd name="T97" fmla="*/ 187 h 512"/>
              <a:gd name="T98" fmla="*/ 295 w 512"/>
              <a:gd name="T99" fmla="*/ 194 h 512"/>
              <a:gd name="T100" fmla="*/ 305 w 512"/>
              <a:gd name="T101" fmla="*/ 191 h 512"/>
              <a:gd name="T102" fmla="*/ 313 w 512"/>
              <a:gd name="T103" fmla="*/ 184 h 512"/>
              <a:gd name="T104" fmla="*/ 314 w 512"/>
              <a:gd name="T105" fmla="*/ 184 h 512"/>
              <a:gd name="T106" fmla="*/ 310 w 512"/>
              <a:gd name="T107" fmla="*/ 199 h 512"/>
              <a:gd name="T108" fmla="*/ 302 w 512"/>
              <a:gd name="T109" fmla="*/ 207 h 512"/>
              <a:gd name="T110" fmla="*/ 287 w 512"/>
              <a:gd name="T111" fmla="*/ 210 h 512"/>
              <a:gd name="T112" fmla="*/ 277 w 512"/>
              <a:gd name="T113" fmla="*/ 209 h 512"/>
              <a:gd name="T114" fmla="*/ 277 w 512"/>
              <a:gd name="T115" fmla="*/ 223 h 512"/>
              <a:gd name="T116" fmla="*/ 288 w 512"/>
              <a:gd name="T117" fmla="*/ 224 h 512"/>
              <a:gd name="T118" fmla="*/ 320 w 512"/>
              <a:gd name="T119" fmla="*/ 211 h 512"/>
              <a:gd name="T120" fmla="*/ 330 w 512"/>
              <a:gd name="T121"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09" y="157"/>
                </a:moveTo>
                <a:cubicBezTo>
                  <a:pt x="311" y="160"/>
                  <a:pt x="312" y="164"/>
                  <a:pt x="312" y="168"/>
                </a:cubicBezTo>
                <a:cubicBezTo>
                  <a:pt x="312" y="172"/>
                  <a:pt x="311" y="174"/>
                  <a:pt x="309" y="177"/>
                </a:cubicBezTo>
                <a:cubicBezTo>
                  <a:pt x="306" y="179"/>
                  <a:pt x="303" y="180"/>
                  <a:pt x="299" y="180"/>
                </a:cubicBezTo>
                <a:cubicBezTo>
                  <a:pt x="296" y="180"/>
                  <a:pt x="293" y="179"/>
                  <a:pt x="291" y="177"/>
                </a:cubicBezTo>
                <a:cubicBezTo>
                  <a:pt x="289" y="174"/>
                  <a:pt x="288" y="171"/>
                  <a:pt x="288" y="167"/>
                </a:cubicBezTo>
                <a:cubicBezTo>
                  <a:pt x="288" y="162"/>
                  <a:pt x="289" y="159"/>
                  <a:pt x="291" y="156"/>
                </a:cubicBezTo>
                <a:cubicBezTo>
                  <a:pt x="293" y="154"/>
                  <a:pt x="296" y="152"/>
                  <a:pt x="300" y="152"/>
                </a:cubicBezTo>
                <a:cubicBezTo>
                  <a:pt x="303" y="152"/>
                  <a:pt x="307" y="154"/>
                  <a:pt x="309"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7" y="327"/>
                </a:moveTo>
                <a:cubicBezTo>
                  <a:pt x="233" y="323"/>
                  <a:pt x="227" y="323"/>
                  <a:pt x="222" y="327"/>
                </a:cubicBezTo>
                <a:cubicBezTo>
                  <a:pt x="213" y="337"/>
                  <a:pt x="213" y="337"/>
                  <a:pt x="213" y="337"/>
                </a:cubicBezTo>
                <a:cubicBezTo>
                  <a:pt x="213" y="149"/>
                  <a:pt x="213" y="149"/>
                  <a:pt x="213" y="149"/>
                </a:cubicBezTo>
                <a:cubicBezTo>
                  <a:pt x="213" y="143"/>
                  <a:pt x="208" y="138"/>
                  <a:pt x="202" y="138"/>
                </a:cubicBezTo>
                <a:cubicBezTo>
                  <a:pt x="196" y="138"/>
                  <a:pt x="192" y="143"/>
                  <a:pt x="192" y="149"/>
                </a:cubicBezTo>
                <a:cubicBezTo>
                  <a:pt x="192" y="337"/>
                  <a:pt x="192" y="337"/>
                  <a:pt x="192" y="337"/>
                </a:cubicBezTo>
                <a:cubicBezTo>
                  <a:pt x="182" y="327"/>
                  <a:pt x="182" y="327"/>
                  <a:pt x="182" y="327"/>
                </a:cubicBezTo>
                <a:cubicBezTo>
                  <a:pt x="178" y="323"/>
                  <a:pt x="171" y="323"/>
                  <a:pt x="167" y="327"/>
                </a:cubicBezTo>
                <a:cubicBezTo>
                  <a:pt x="163" y="331"/>
                  <a:pt x="163" y="338"/>
                  <a:pt x="167" y="342"/>
                </a:cubicBezTo>
                <a:cubicBezTo>
                  <a:pt x="195" y="370"/>
                  <a:pt x="195" y="370"/>
                  <a:pt x="195" y="370"/>
                </a:cubicBezTo>
                <a:cubicBezTo>
                  <a:pt x="196" y="371"/>
                  <a:pt x="197" y="372"/>
                  <a:pt x="198" y="372"/>
                </a:cubicBezTo>
                <a:cubicBezTo>
                  <a:pt x="200" y="373"/>
                  <a:pt x="201" y="373"/>
                  <a:pt x="202" y="373"/>
                </a:cubicBezTo>
                <a:cubicBezTo>
                  <a:pt x="204" y="373"/>
                  <a:pt x="205" y="373"/>
                  <a:pt x="206" y="372"/>
                </a:cubicBezTo>
                <a:cubicBezTo>
                  <a:pt x="208" y="372"/>
                  <a:pt x="209" y="371"/>
                  <a:pt x="210" y="370"/>
                </a:cubicBezTo>
                <a:cubicBezTo>
                  <a:pt x="237" y="342"/>
                  <a:pt x="237" y="342"/>
                  <a:pt x="237" y="342"/>
                </a:cubicBezTo>
                <a:cubicBezTo>
                  <a:pt x="242" y="338"/>
                  <a:pt x="242" y="331"/>
                  <a:pt x="237" y="327"/>
                </a:cubicBezTo>
                <a:close/>
                <a:moveTo>
                  <a:pt x="311" y="288"/>
                </a:moveTo>
                <a:cubicBezTo>
                  <a:pt x="296" y="288"/>
                  <a:pt x="296" y="288"/>
                  <a:pt x="296" y="288"/>
                </a:cubicBezTo>
                <a:cubicBezTo>
                  <a:pt x="269" y="310"/>
                  <a:pt x="269" y="310"/>
                  <a:pt x="269" y="310"/>
                </a:cubicBezTo>
                <a:cubicBezTo>
                  <a:pt x="277" y="320"/>
                  <a:pt x="277" y="320"/>
                  <a:pt x="277" y="320"/>
                </a:cubicBezTo>
                <a:cubicBezTo>
                  <a:pt x="287" y="313"/>
                  <a:pt x="287" y="313"/>
                  <a:pt x="287" y="313"/>
                </a:cubicBezTo>
                <a:cubicBezTo>
                  <a:pt x="288" y="312"/>
                  <a:pt x="290" y="310"/>
                  <a:pt x="293" y="307"/>
                </a:cubicBezTo>
                <a:cubicBezTo>
                  <a:pt x="293" y="316"/>
                  <a:pt x="293" y="316"/>
                  <a:pt x="293" y="316"/>
                </a:cubicBezTo>
                <a:cubicBezTo>
                  <a:pt x="293" y="324"/>
                  <a:pt x="293" y="324"/>
                  <a:pt x="293" y="324"/>
                </a:cubicBezTo>
                <a:cubicBezTo>
                  <a:pt x="293" y="373"/>
                  <a:pt x="293" y="373"/>
                  <a:pt x="293" y="373"/>
                </a:cubicBezTo>
                <a:cubicBezTo>
                  <a:pt x="311" y="373"/>
                  <a:pt x="311" y="373"/>
                  <a:pt x="311" y="373"/>
                </a:cubicBezTo>
                <a:lnTo>
                  <a:pt x="311" y="288"/>
                </a:lnTo>
                <a:close/>
                <a:moveTo>
                  <a:pt x="330" y="175"/>
                </a:moveTo>
                <a:cubicBezTo>
                  <a:pt x="330" y="167"/>
                  <a:pt x="329" y="161"/>
                  <a:pt x="326" y="155"/>
                </a:cubicBezTo>
                <a:cubicBezTo>
                  <a:pt x="324" y="150"/>
                  <a:pt x="320" y="145"/>
                  <a:pt x="316" y="143"/>
                </a:cubicBezTo>
                <a:cubicBezTo>
                  <a:pt x="311" y="140"/>
                  <a:pt x="306" y="138"/>
                  <a:pt x="299" y="138"/>
                </a:cubicBezTo>
                <a:cubicBezTo>
                  <a:pt x="291" y="138"/>
                  <a:pt x="284" y="141"/>
                  <a:pt x="279" y="146"/>
                </a:cubicBezTo>
                <a:cubicBezTo>
                  <a:pt x="274" y="151"/>
                  <a:pt x="271" y="158"/>
                  <a:pt x="271" y="167"/>
                </a:cubicBezTo>
                <a:cubicBezTo>
                  <a:pt x="271" y="175"/>
                  <a:pt x="273" y="182"/>
                  <a:pt x="277" y="187"/>
                </a:cubicBezTo>
                <a:cubicBezTo>
                  <a:pt x="282" y="191"/>
                  <a:pt x="287" y="194"/>
                  <a:pt x="295" y="194"/>
                </a:cubicBezTo>
                <a:cubicBezTo>
                  <a:pt x="299" y="194"/>
                  <a:pt x="302" y="193"/>
                  <a:pt x="305" y="191"/>
                </a:cubicBezTo>
                <a:cubicBezTo>
                  <a:pt x="308" y="190"/>
                  <a:pt x="311" y="187"/>
                  <a:pt x="313" y="184"/>
                </a:cubicBezTo>
                <a:cubicBezTo>
                  <a:pt x="314" y="184"/>
                  <a:pt x="314" y="184"/>
                  <a:pt x="314" y="184"/>
                </a:cubicBezTo>
                <a:cubicBezTo>
                  <a:pt x="313" y="190"/>
                  <a:pt x="312" y="195"/>
                  <a:pt x="310" y="199"/>
                </a:cubicBezTo>
                <a:cubicBezTo>
                  <a:pt x="308" y="203"/>
                  <a:pt x="305" y="206"/>
                  <a:pt x="302" y="207"/>
                </a:cubicBezTo>
                <a:cubicBezTo>
                  <a:pt x="298" y="209"/>
                  <a:pt x="293" y="210"/>
                  <a:pt x="287" y="210"/>
                </a:cubicBezTo>
                <a:cubicBezTo>
                  <a:pt x="284" y="210"/>
                  <a:pt x="280" y="209"/>
                  <a:pt x="277" y="209"/>
                </a:cubicBezTo>
                <a:cubicBezTo>
                  <a:pt x="277" y="223"/>
                  <a:pt x="277" y="223"/>
                  <a:pt x="277" y="223"/>
                </a:cubicBezTo>
                <a:cubicBezTo>
                  <a:pt x="280" y="223"/>
                  <a:pt x="283" y="224"/>
                  <a:pt x="288" y="224"/>
                </a:cubicBezTo>
                <a:cubicBezTo>
                  <a:pt x="302" y="224"/>
                  <a:pt x="313" y="220"/>
                  <a:pt x="320" y="211"/>
                </a:cubicBezTo>
                <a:cubicBezTo>
                  <a:pt x="326" y="203"/>
                  <a:pt x="330" y="191"/>
                  <a:pt x="330" y="17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1" name="Group 109">
            <a:extLst>
              <a:ext uri="{FF2B5EF4-FFF2-40B4-BE49-F238E27FC236}">
                <a16:creationId xmlns:a16="http://schemas.microsoft.com/office/drawing/2014/main" id="{D0EC9090-0225-4F57-BC1E-33F59B61EEDD}"/>
              </a:ext>
            </a:extLst>
          </p:cNvPr>
          <p:cNvGrpSpPr>
            <a:grpSpLocks noChangeAspect="1"/>
          </p:cNvGrpSpPr>
          <p:nvPr/>
        </p:nvGrpSpPr>
        <p:grpSpPr bwMode="auto">
          <a:xfrm>
            <a:off x="4402221" y="2527810"/>
            <a:ext cx="369676" cy="369676"/>
            <a:chOff x="6593" y="358"/>
            <a:chExt cx="340" cy="340"/>
          </a:xfrm>
          <a:solidFill>
            <a:schemeClr val="accent2"/>
          </a:solidFill>
        </p:grpSpPr>
        <p:sp>
          <p:nvSpPr>
            <p:cNvPr id="202" name="Freeform 110">
              <a:extLst>
                <a:ext uri="{FF2B5EF4-FFF2-40B4-BE49-F238E27FC236}">
                  <a16:creationId xmlns:a16="http://schemas.microsoft.com/office/drawing/2014/main" id="{0057A3EB-8423-4F06-A3F7-A5AF0062CEC6}"/>
                </a:ext>
              </a:extLst>
            </p:cNvPr>
            <p:cNvSpPr>
              <a:spLocks noEditPoints="1"/>
            </p:cNvSpPr>
            <p:nvPr/>
          </p:nvSpPr>
          <p:spPr bwMode="auto">
            <a:xfrm>
              <a:off x="6593" y="3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3" name="Freeform 111">
              <a:extLst>
                <a:ext uri="{FF2B5EF4-FFF2-40B4-BE49-F238E27FC236}">
                  <a16:creationId xmlns:a16="http://schemas.microsoft.com/office/drawing/2014/main" id="{BDAFA809-FCA6-4524-808D-BD42720FB6A1}"/>
                </a:ext>
              </a:extLst>
            </p:cNvPr>
            <p:cNvSpPr>
              <a:spLocks noEditPoints="1"/>
            </p:cNvSpPr>
            <p:nvPr/>
          </p:nvSpPr>
          <p:spPr bwMode="auto">
            <a:xfrm>
              <a:off x="6701" y="450"/>
              <a:ext cx="111" cy="156"/>
            </a:xfrm>
            <a:custGeom>
              <a:avLst/>
              <a:gdLst>
                <a:gd name="T0" fmla="*/ 74 w 167"/>
                <a:gd name="T1" fmla="*/ 189 h 235"/>
                <a:gd name="T2" fmla="*/ 74 w 167"/>
                <a:gd name="T3" fmla="*/ 204 h 235"/>
                <a:gd name="T4" fmla="*/ 47 w 167"/>
                <a:gd name="T5" fmla="*/ 232 h 235"/>
                <a:gd name="T6" fmla="*/ 43 w 167"/>
                <a:gd name="T7" fmla="*/ 234 h 235"/>
                <a:gd name="T8" fmla="*/ 39 w 167"/>
                <a:gd name="T9" fmla="*/ 235 h 235"/>
                <a:gd name="T10" fmla="*/ 35 w 167"/>
                <a:gd name="T11" fmla="*/ 234 h 235"/>
                <a:gd name="T12" fmla="*/ 32 w 167"/>
                <a:gd name="T13" fmla="*/ 232 h 235"/>
                <a:gd name="T14" fmla="*/ 4 w 167"/>
                <a:gd name="T15" fmla="*/ 204 h 235"/>
                <a:gd name="T16" fmla="*/ 4 w 167"/>
                <a:gd name="T17" fmla="*/ 189 h 235"/>
                <a:gd name="T18" fmla="*/ 19 w 167"/>
                <a:gd name="T19" fmla="*/ 189 h 235"/>
                <a:gd name="T20" fmla="*/ 29 w 167"/>
                <a:gd name="T21" fmla="*/ 199 h 235"/>
                <a:gd name="T22" fmla="*/ 29 w 167"/>
                <a:gd name="T23" fmla="*/ 11 h 235"/>
                <a:gd name="T24" fmla="*/ 39 w 167"/>
                <a:gd name="T25" fmla="*/ 0 h 235"/>
                <a:gd name="T26" fmla="*/ 50 w 167"/>
                <a:gd name="T27" fmla="*/ 11 h 235"/>
                <a:gd name="T28" fmla="*/ 50 w 167"/>
                <a:gd name="T29" fmla="*/ 199 h 235"/>
                <a:gd name="T30" fmla="*/ 59 w 167"/>
                <a:gd name="T31" fmla="*/ 189 h 235"/>
                <a:gd name="T32" fmla="*/ 74 w 167"/>
                <a:gd name="T33" fmla="*/ 189 h 235"/>
                <a:gd name="T34" fmla="*/ 124 w 167"/>
                <a:gd name="T35" fmla="*/ 25 h 235"/>
                <a:gd name="T36" fmla="*/ 130 w 167"/>
                <a:gd name="T37" fmla="*/ 19 h 235"/>
                <a:gd name="T38" fmla="*/ 130 w 167"/>
                <a:gd name="T39" fmla="*/ 28 h 235"/>
                <a:gd name="T40" fmla="*/ 130 w 167"/>
                <a:gd name="T41" fmla="*/ 36 h 235"/>
                <a:gd name="T42" fmla="*/ 130 w 167"/>
                <a:gd name="T43" fmla="*/ 86 h 235"/>
                <a:gd name="T44" fmla="*/ 148 w 167"/>
                <a:gd name="T45" fmla="*/ 86 h 235"/>
                <a:gd name="T46" fmla="*/ 148 w 167"/>
                <a:gd name="T47" fmla="*/ 0 h 235"/>
                <a:gd name="T48" fmla="*/ 133 w 167"/>
                <a:gd name="T49" fmla="*/ 0 h 235"/>
                <a:gd name="T50" fmla="*/ 106 w 167"/>
                <a:gd name="T51" fmla="*/ 22 h 235"/>
                <a:gd name="T52" fmla="*/ 114 w 167"/>
                <a:gd name="T53" fmla="*/ 33 h 235"/>
                <a:gd name="T54" fmla="*/ 124 w 167"/>
                <a:gd name="T55" fmla="*/ 25 h 235"/>
                <a:gd name="T56" fmla="*/ 167 w 167"/>
                <a:gd name="T57" fmla="*/ 186 h 235"/>
                <a:gd name="T58" fmla="*/ 157 w 167"/>
                <a:gd name="T59" fmla="*/ 223 h 235"/>
                <a:gd name="T60" fmla="*/ 125 w 167"/>
                <a:gd name="T61" fmla="*/ 235 h 235"/>
                <a:gd name="T62" fmla="*/ 114 w 167"/>
                <a:gd name="T63" fmla="*/ 234 h 235"/>
                <a:gd name="T64" fmla="*/ 114 w 167"/>
                <a:gd name="T65" fmla="*/ 220 h 235"/>
                <a:gd name="T66" fmla="*/ 124 w 167"/>
                <a:gd name="T67" fmla="*/ 221 h 235"/>
                <a:gd name="T68" fmla="*/ 139 w 167"/>
                <a:gd name="T69" fmla="*/ 219 h 235"/>
                <a:gd name="T70" fmla="*/ 147 w 167"/>
                <a:gd name="T71" fmla="*/ 211 h 235"/>
                <a:gd name="T72" fmla="*/ 151 w 167"/>
                <a:gd name="T73" fmla="*/ 195 h 235"/>
                <a:gd name="T74" fmla="*/ 150 w 167"/>
                <a:gd name="T75" fmla="*/ 195 h 235"/>
                <a:gd name="T76" fmla="*/ 142 w 167"/>
                <a:gd name="T77" fmla="*/ 203 h 235"/>
                <a:gd name="T78" fmla="*/ 132 w 167"/>
                <a:gd name="T79" fmla="*/ 205 h 235"/>
                <a:gd name="T80" fmla="*/ 114 w 167"/>
                <a:gd name="T81" fmla="*/ 198 h 235"/>
                <a:gd name="T82" fmla="*/ 108 w 167"/>
                <a:gd name="T83" fmla="*/ 179 h 235"/>
                <a:gd name="T84" fmla="*/ 116 w 167"/>
                <a:gd name="T85" fmla="*/ 157 h 235"/>
                <a:gd name="T86" fmla="*/ 136 w 167"/>
                <a:gd name="T87" fmla="*/ 150 h 235"/>
                <a:gd name="T88" fmla="*/ 153 w 167"/>
                <a:gd name="T89" fmla="*/ 154 h 235"/>
                <a:gd name="T90" fmla="*/ 163 w 167"/>
                <a:gd name="T91" fmla="*/ 167 h 235"/>
                <a:gd name="T92" fmla="*/ 167 w 167"/>
                <a:gd name="T93" fmla="*/ 186 h 235"/>
                <a:gd name="T94" fmla="*/ 149 w 167"/>
                <a:gd name="T95" fmla="*/ 180 h 235"/>
                <a:gd name="T96" fmla="*/ 146 w 167"/>
                <a:gd name="T97" fmla="*/ 168 h 235"/>
                <a:gd name="T98" fmla="*/ 137 w 167"/>
                <a:gd name="T99" fmla="*/ 164 h 235"/>
                <a:gd name="T100" fmla="*/ 128 w 167"/>
                <a:gd name="T101" fmla="*/ 168 h 235"/>
                <a:gd name="T102" fmla="*/ 125 w 167"/>
                <a:gd name="T103" fmla="*/ 178 h 235"/>
                <a:gd name="T104" fmla="*/ 128 w 167"/>
                <a:gd name="T105" fmla="*/ 188 h 235"/>
                <a:gd name="T106" fmla="*/ 136 w 167"/>
                <a:gd name="T107" fmla="*/ 191 h 235"/>
                <a:gd name="T108" fmla="*/ 146 w 167"/>
                <a:gd name="T109" fmla="*/ 188 h 235"/>
                <a:gd name="T110" fmla="*/ 149 w 167"/>
                <a:gd name="T111" fmla="*/ 18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7"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24" y="25"/>
                  </a:moveTo>
                  <a:cubicBezTo>
                    <a:pt x="125" y="24"/>
                    <a:pt x="127" y="22"/>
                    <a:pt x="130" y="19"/>
                  </a:cubicBezTo>
                  <a:cubicBezTo>
                    <a:pt x="130" y="28"/>
                    <a:pt x="130" y="28"/>
                    <a:pt x="130" y="28"/>
                  </a:cubicBezTo>
                  <a:cubicBezTo>
                    <a:pt x="130" y="36"/>
                    <a:pt x="130" y="36"/>
                    <a:pt x="130" y="36"/>
                  </a:cubicBezTo>
                  <a:cubicBezTo>
                    <a:pt x="130" y="86"/>
                    <a:pt x="130" y="86"/>
                    <a:pt x="130" y="86"/>
                  </a:cubicBezTo>
                  <a:cubicBezTo>
                    <a:pt x="148" y="86"/>
                    <a:pt x="148" y="86"/>
                    <a:pt x="148" y="86"/>
                  </a:cubicBezTo>
                  <a:cubicBezTo>
                    <a:pt x="148" y="0"/>
                    <a:pt x="148" y="0"/>
                    <a:pt x="148" y="0"/>
                  </a:cubicBezTo>
                  <a:cubicBezTo>
                    <a:pt x="133" y="0"/>
                    <a:pt x="133" y="0"/>
                    <a:pt x="133" y="0"/>
                  </a:cubicBezTo>
                  <a:cubicBezTo>
                    <a:pt x="106" y="22"/>
                    <a:pt x="106" y="22"/>
                    <a:pt x="106" y="22"/>
                  </a:cubicBezTo>
                  <a:cubicBezTo>
                    <a:pt x="114" y="33"/>
                    <a:pt x="114" y="33"/>
                    <a:pt x="114" y="33"/>
                  </a:cubicBezTo>
                  <a:lnTo>
                    <a:pt x="124" y="25"/>
                  </a:lnTo>
                  <a:close/>
                  <a:moveTo>
                    <a:pt x="167" y="186"/>
                  </a:moveTo>
                  <a:cubicBezTo>
                    <a:pt x="167" y="203"/>
                    <a:pt x="163" y="215"/>
                    <a:pt x="157" y="223"/>
                  </a:cubicBezTo>
                  <a:cubicBezTo>
                    <a:pt x="150" y="231"/>
                    <a:pt x="139" y="235"/>
                    <a:pt x="125" y="235"/>
                  </a:cubicBezTo>
                  <a:cubicBezTo>
                    <a:pt x="120" y="235"/>
                    <a:pt x="117" y="235"/>
                    <a:pt x="114" y="234"/>
                  </a:cubicBezTo>
                  <a:cubicBezTo>
                    <a:pt x="114" y="220"/>
                    <a:pt x="114" y="220"/>
                    <a:pt x="114" y="220"/>
                  </a:cubicBezTo>
                  <a:cubicBezTo>
                    <a:pt x="117" y="221"/>
                    <a:pt x="121" y="221"/>
                    <a:pt x="124" y="221"/>
                  </a:cubicBezTo>
                  <a:cubicBezTo>
                    <a:pt x="130" y="221"/>
                    <a:pt x="135" y="220"/>
                    <a:pt x="139" y="219"/>
                  </a:cubicBezTo>
                  <a:cubicBezTo>
                    <a:pt x="142" y="217"/>
                    <a:pt x="145" y="214"/>
                    <a:pt x="147" y="211"/>
                  </a:cubicBezTo>
                  <a:cubicBezTo>
                    <a:pt x="149" y="207"/>
                    <a:pt x="150" y="202"/>
                    <a:pt x="151" y="195"/>
                  </a:cubicBezTo>
                  <a:cubicBezTo>
                    <a:pt x="150" y="195"/>
                    <a:pt x="150" y="195"/>
                    <a:pt x="150" y="195"/>
                  </a:cubicBezTo>
                  <a:cubicBezTo>
                    <a:pt x="148" y="199"/>
                    <a:pt x="145" y="201"/>
                    <a:pt x="142" y="203"/>
                  </a:cubicBezTo>
                  <a:cubicBezTo>
                    <a:pt x="139" y="204"/>
                    <a:pt x="136" y="205"/>
                    <a:pt x="132" y="205"/>
                  </a:cubicBezTo>
                  <a:cubicBezTo>
                    <a:pt x="124" y="205"/>
                    <a:pt x="119" y="203"/>
                    <a:pt x="114" y="198"/>
                  </a:cubicBezTo>
                  <a:cubicBezTo>
                    <a:pt x="110" y="193"/>
                    <a:pt x="108" y="187"/>
                    <a:pt x="108" y="179"/>
                  </a:cubicBezTo>
                  <a:cubicBezTo>
                    <a:pt x="108" y="170"/>
                    <a:pt x="111" y="163"/>
                    <a:pt x="116" y="157"/>
                  </a:cubicBezTo>
                  <a:cubicBezTo>
                    <a:pt x="121" y="152"/>
                    <a:pt x="128" y="150"/>
                    <a:pt x="136" y="150"/>
                  </a:cubicBezTo>
                  <a:cubicBezTo>
                    <a:pt x="143" y="150"/>
                    <a:pt x="148" y="151"/>
                    <a:pt x="153" y="154"/>
                  </a:cubicBezTo>
                  <a:cubicBezTo>
                    <a:pt x="157" y="157"/>
                    <a:pt x="161" y="161"/>
                    <a:pt x="163" y="167"/>
                  </a:cubicBezTo>
                  <a:cubicBezTo>
                    <a:pt x="166" y="172"/>
                    <a:pt x="167" y="179"/>
                    <a:pt x="167" y="186"/>
                  </a:cubicBezTo>
                  <a:close/>
                  <a:moveTo>
                    <a:pt x="149" y="180"/>
                  </a:moveTo>
                  <a:cubicBezTo>
                    <a:pt x="149" y="175"/>
                    <a:pt x="148" y="172"/>
                    <a:pt x="146" y="168"/>
                  </a:cubicBezTo>
                  <a:cubicBezTo>
                    <a:pt x="144" y="165"/>
                    <a:pt x="140" y="164"/>
                    <a:pt x="137" y="164"/>
                  </a:cubicBezTo>
                  <a:cubicBezTo>
                    <a:pt x="133" y="164"/>
                    <a:pt x="130" y="165"/>
                    <a:pt x="128" y="168"/>
                  </a:cubicBezTo>
                  <a:cubicBezTo>
                    <a:pt x="126" y="170"/>
                    <a:pt x="125" y="174"/>
                    <a:pt x="125" y="178"/>
                  </a:cubicBezTo>
                  <a:cubicBezTo>
                    <a:pt x="125" y="182"/>
                    <a:pt x="126" y="186"/>
                    <a:pt x="128" y="188"/>
                  </a:cubicBezTo>
                  <a:cubicBezTo>
                    <a:pt x="130" y="190"/>
                    <a:pt x="133" y="191"/>
                    <a:pt x="136" y="191"/>
                  </a:cubicBezTo>
                  <a:cubicBezTo>
                    <a:pt x="140" y="191"/>
                    <a:pt x="143" y="190"/>
                    <a:pt x="146" y="188"/>
                  </a:cubicBezTo>
                  <a:cubicBezTo>
                    <a:pt x="148" y="186"/>
                    <a:pt x="149" y="183"/>
                    <a:pt x="149" y="1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4" name="Freeform 115">
            <a:extLst>
              <a:ext uri="{FF2B5EF4-FFF2-40B4-BE49-F238E27FC236}">
                <a16:creationId xmlns:a16="http://schemas.microsoft.com/office/drawing/2014/main" id="{32BA2018-216A-48C0-9FD0-773470E32200}"/>
              </a:ext>
            </a:extLst>
          </p:cNvPr>
          <p:cNvSpPr>
            <a:spLocks noChangeAspect="1" noEditPoints="1"/>
          </p:cNvSpPr>
          <p:nvPr/>
        </p:nvSpPr>
        <p:spPr bwMode="auto">
          <a:xfrm>
            <a:off x="3965538" y="2527810"/>
            <a:ext cx="369676" cy="369676"/>
          </a:xfrm>
          <a:custGeom>
            <a:avLst/>
            <a:gdLst>
              <a:gd name="T0" fmla="*/ 309 w 512"/>
              <a:gd name="T1" fmla="*/ 306 h 512"/>
              <a:gd name="T2" fmla="*/ 312 w 512"/>
              <a:gd name="T3" fmla="*/ 318 h 512"/>
              <a:gd name="T4" fmla="*/ 309 w 512"/>
              <a:gd name="T5" fmla="*/ 326 h 512"/>
              <a:gd name="T6" fmla="*/ 299 w 512"/>
              <a:gd name="T7" fmla="*/ 329 h 512"/>
              <a:gd name="T8" fmla="*/ 291 w 512"/>
              <a:gd name="T9" fmla="*/ 326 h 512"/>
              <a:gd name="T10" fmla="*/ 288 w 512"/>
              <a:gd name="T11" fmla="*/ 316 h 512"/>
              <a:gd name="T12" fmla="*/ 291 w 512"/>
              <a:gd name="T13" fmla="*/ 306 h 512"/>
              <a:gd name="T14" fmla="*/ 300 w 512"/>
              <a:gd name="T15" fmla="*/ 302 h 512"/>
              <a:gd name="T16" fmla="*/ 309 w 512"/>
              <a:gd name="T17" fmla="*/ 306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37 w 512"/>
              <a:gd name="T29" fmla="*/ 327 h 512"/>
              <a:gd name="T30" fmla="*/ 222 w 512"/>
              <a:gd name="T31" fmla="*/ 327 h 512"/>
              <a:gd name="T32" fmla="*/ 213 w 512"/>
              <a:gd name="T33" fmla="*/ 337 h 512"/>
              <a:gd name="T34" fmla="*/ 213 w 512"/>
              <a:gd name="T35" fmla="*/ 149 h 512"/>
              <a:gd name="T36" fmla="*/ 202 w 512"/>
              <a:gd name="T37" fmla="*/ 138 h 512"/>
              <a:gd name="T38" fmla="*/ 192 w 512"/>
              <a:gd name="T39" fmla="*/ 149 h 512"/>
              <a:gd name="T40" fmla="*/ 192 w 512"/>
              <a:gd name="T41" fmla="*/ 337 h 512"/>
              <a:gd name="T42" fmla="*/ 182 w 512"/>
              <a:gd name="T43" fmla="*/ 327 h 512"/>
              <a:gd name="T44" fmla="*/ 167 w 512"/>
              <a:gd name="T45" fmla="*/ 327 h 512"/>
              <a:gd name="T46" fmla="*/ 167 w 512"/>
              <a:gd name="T47" fmla="*/ 342 h 512"/>
              <a:gd name="T48" fmla="*/ 195 w 512"/>
              <a:gd name="T49" fmla="*/ 370 h 512"/>
              <a:gd name="T50" fmla="*/ 198 w 512"/>
              <a:gd name="T51" fmla="*/ 372 h 512"/>
              <a:gd name="T52" fmla="*/ 202 w 512"/>
              <a:gd name="T53" fmla="*/ 373 h 512"/>
              <a:gd name="T54" fmla="*/ 206 w 512"/>
              <a:gd name="T55" fmla="*/ 372 h 512"/>
              <a:gd name="T56" fmla="*/ 210 w 512"/>
              <a:gd name="T57" fmla="*/ 370 h 512"/>
              <a:gd name="T58" fmla="*/ 237 w 512"/>
              <a:gd name="T59" fmla="*/ 342 h 512"/>
              <a:gd name="T60" fmla="*/ 237 w 512"/>
              <a:gd name="T61" fmla="*/ 327 h 512"/>
              <a:gd name="T62" fmla="*/ 269 w 512"/>
              <a:gd name="T63" fmla="*/ 160 h 512"/>
              <a:gd name="T64" fmla="*/ 277 w 512"/>
              <a:gd name="T65" fmla="*/ 171 h 512"/>
              <a:gd name="T66" fmla="*/ 287 w 512"/>
              <a:gd name="T67" fmla="*/ 163 h 512"/>
              <a:gd name="T68" fmla="*/ 293 w 512"/>
              <a:gd name="T69" fmla="*/ 157 h 512"/>
              <a:gd name="T70" fmla="*/ 293 w 512"/>
              <a:gd name="T71" fmla="*/ 166 h 512"/>
              <a:gd name="T72" fmla="*/ 293 w 512"/>
              <a:gd name="T73" fmla="*/ 174 h 512"/>
              <a:gd name="T74" fmla="*/ 293 w 512"/>
              <a:gd name="T75" fmla="*/ 224 h 512"/>
              <a:gd name="T76" fmla="*/ 311 w 512"/>
              <a:gd name="T77" fmla="*/ 224 h 512"/>
              <a:gd name="T78" fmla="*/ 311 w 512"/>
              <a:gd name="T79" fmla="*/ 138 h 512"/>
              <a:gd name="T80" fmla="*/ 296 w 512"/>
              <a:gd name="T81" fmla="*/ 138 h 512"/>
              <a:gd name="T82" fmla="*/ 269 w 512"/>
              <a:gd name="T83" fmla="*/ 160 h 512"/>
              <a:gd name="T84" fmla="*/ 330 w 512"/>
              <a:gd name="T85" fmla="*/ 324 h 512"/>
              <a:gd name="T86" fmla="*/ 326 w 512"/>
              <a:gd name="T87" fmla="*/ 305 h 512"/>
              <a:gd name="T88" fmla="*/ 316 w 512"/>
              <a:gd name="T89" fmla="*/ 292 h 512"/>
              <a:gd name="T90" fmla="*/ 299 w 512"/>
              <a:gd name="T91" fmla="*/ 288 h 512"/>
              <a:gd name="T92" fmla="*/ 279 w 512"/>
              <a:gd name="T93" fmla="*/ 295 h 512"/>
              <a:gd name="T94" fmla="*/ 271 w 512"/>
              <a:gd name="T95" fmla="*/ 317 h 512"/>
              <a:gd name="T96" fmla="*/ 277 w 512"/>
              <a:gd name="T97" fmla="*/ 336 h 512"/>
              <a:gd name="T98" fmla="*/ 295 w 512"/>
              <a:gd name="T99" fmla="*/ 343 h 512"/>
              <a:gd name="T100" fmla="*/ 305 w 512"/>
              <a:gd name="T101" fmla="*/ 341 h 512"/>
              <a:gd name="T102" fmla="*/ 313 w 512"/>
              <a:gd name="T103" fmla="*/ 333 h 512"/>
              <a:gd name="T104" fmla="*/ 314 w 512"/>
              <a:gd name="T105" fmla="*/ 333 h 512"/>
              <a:gd name="T106" fmla="*/ 310 w 512"/>
              <a:gd name="T107" fmla="*/ 349 h 512"/>
              <a:gd name="T108" fmla="*/ 302 w 512"/>
              <a:gd name="T109" fmla="*/ 357 h 512"/>
              <a:gd name="T110" fmla="*/ 287 w 512"/>
              <a:gd name="T111" fmla="*/ 359 h 512"/>
              <a:gd name="T112" fmla="*/ 277 w 512"/>
              <a:gd name="T113" fmla="*/ 358 h 512"/>
              <a:gd name="T114" fmla="*/ 277 w 512"/>
              <a:gd name="T115" fmla="*/ 372 h 512"/>
              <a:gd name="T116" fmla="*/ 288 w 512"/>
              <a:gd name="T117" fmla="*/ 373 h 512"/>
              <a:gd name="T118" fmla="*/ 320 w 512"/>
              <a:gd name="T119" fmla="*/ 361 h 512"/>
              <a:gd name="T120" fmla="*/ 330 w 512"/>
              <a:gd name="T121"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09" y="306"/>
                </a:moveTo>
                <a:cubicBezTo>
                  <a:pt x="311" y="310"/>
                  <a:pt x="312" y="313"/>
                  <a:pt x="312" y="318"/>
                </a:cubicBezTo>
                <a:cubicBezTo>
                  <a:pt x="312" y="321"/>
                  <a:pt x="311" y="324"/>
                  <a:pt x="309" y="326"/>
                </a:cubicBezTo>
                <a:cubicBezTo>
                  <a:pt x="306" y="328"/>
                  <a:pt x="303" y="329"/>
                  <a:pt x="299" y="329"/>
                </a:cubicBezTo>
                <a:cubicBezTo>
                  <a:pt x="296" y="329"/>
                  <a:pt x="293" y="328"/>
                  <a:pt x="291" y="326"/>
                </a:cubicBezTo>
                <a:cubicBezTo>
                  <a:pt x="289" y="324"/>
                  <a:pt x="288" y="320"/>
                  <a:pt x="288" y="316"/>
                </a:cubicBezTo>
                <a:cubicBezTo>
                  <a:pt x="288" y="312"/>
                  <a:pt x="289" y="308"/>
                  <a:pt x="291" y="306"/>
                </a:cubicBezTo>
                <a:cubicBezTo>
                  <a:pt x="293" y="303"/>
                  <a:pt x="296" y="302"/>
                  <a:pt x="300" y="302"/>
                </a:cubicBezTo>
                <a:cubicBezTo>
                  <a:pt x="303" y="302"/>
                  <a:pt x="307" y="303"/>
                  <a:pt x="309" y="30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7" y="327"/>
                </a:moveTo>
                <a:cubicBezTo>
                  <a:pt x="233" y="323"/>
                  <a:pt x="227" y="323"/>
                  <a:pt x="222" y="327"/>
                </a:cubicBezTo>
                <a:cubicBezTo>
                  <a:pt x="213" y="337"/>
                  <a:pt x="213" y="337"/>
                  <a:pt x="213" y="337"/>
                </a:cubicBezTo>
                <a:cubicBezTo>
                  <a:pt x="213" y="149"/>
                  <a:pt x="213" y="149"/>
                  <a:pt x="213" y="149"/>
                </a:cubicBezTo>
                <a:cubicBezTo>
                  <a:pt x="213" y="143"/>
                  <a:pt x="208" y="138"/>
                  <a:pt x="202" y="138"/>
                </a:cubicBezTo>
                <a:cubicBezTo>
                  <a:pt x="196" y="138"/>
                  <a:pt x="192" y="143"/>
                  <a:pt x="192" y="149"/>
                </a:cubicBezTo>
                <a:cubicBezTo>
                  <a:pt x="192" y="337"/>
                  <a:pt x="192" y="337"/>
                  <a:pt x="192" y="337"/>
                </a:cubicBezTo>
                <a:cubicBezTo>
                  <a:pt x="182" y="327"/>
                  <a:pt x="182" y="327"/>
                  <a:pt x="182" y="327"/>
                </a:cubicBezTo>
                <a:cubicBezTo>
                  <a:pt x="178" y="323"/>
                  <a:pt x="171" y="323"/>
                  <a:pt x="167" y="327"/>
                </a:cubicBezTo>
                <a:cubicBezTo>
                  <a:pt x="163" y="331"/>
                  <a:pt x="163" y="338"/>
                  <a:pt x="167" y="342"/>
                </a:cubicBezTo>
                <a:cubicBezTo>
                  <a:pt x="195" y="370"/>
                  <a:pt x="195" y="370"/>
                  <a:pt x="195" y="370"/>
                </a:cubicBezTo>
                <a:cubicBezTo>
                  <a:pt x="196" y="371"/>
                  <a:pt x="197" y="372"/>
                  <a:pt x="198" y="372"/>
                </a:cubicBezTo>
                <a:cubicBezTo>
                  <a:pt x="200" y="373"/>
                  <a:pt x="201" y="373"/>
                  <a:pt x="202" y="373"/>
                </a:cubicBezTo>
                <a:cubicBezTo>
                  <a:pt x="204" y="373"/>
                  <a:pt x="205" y="373"/>
                  <a:pt x="206" y="372"/>
                </a:cubicBezTo>
                <a:cubicBezTo>
                  <a:pt x="208" y="372"/>
                  <a:pt x="209" y="371"/>
                  <a:pt x="210" y="370"/>
                </a:cubicBezTo>
                <a:cubicBezTo>
                  <a:pt x="237" y="342"/>
                  <a:pt x="237" y="342"/>
                  <a:pt x="237" y="342"/>
                </a:cubicBezTo>
                <a:cubicBezTo>
                  <a:pt x="242" y="338"/>
                  <a:pt x="242" y="331"/>
                  <a:pt x="237" y="327"/>
                </a:cubicBezTo>
                <a:close/>
                <a:moveTo>
                  <a:pt x="269" y="160"/>
                </a:moveTo>
                <a:cubicBezTo>
                  <a:pt x="277" y="171"/>
                  <a:pt x="277" y="171"/>
                  <a:pt x="277" y="171"/>
                </a:cubicBezTo>
                <a:cubicBezTo>
                  <a:pt x="287" y="163"/>
                  <a:pt x="287" y="163"/>
                  <a:pt x="287" y="163"/>
                </a:cubicBezTo>
                <a:cubicBezTo>
                  <a:pt x="288" y="162"/>
                  <a:pt x="290" y="160"/>
                  <a:pt x="293" y="157"/>
                </a:cubicBezTo>
                <a:cubicBezTo>
                  <a:pt x="293" y="166"/>
                  <a:pt x="293" y="166"/>
                  <a:pt x="293" y="166"/>
                </a:cubicBezTo>
                <a:cubicBezTo>
                  <a:pt x="293" y="174"/>
                  <a:pt x="293" y="174"/>
                  <a:pt x="293" y="174"/>
                </a:cubicBezTo>
                <a:cubicBezTo>
                  <a:pt x="293" y="224"/>
                  <a:pt x="293" y="224"/>
                  <a:pt x="293" y="224"/>
                </a:cubicBezTo>
                <a:cubicBezTo>
                  <a:pt x="311" y="224"/>
                  <a:pt x="311" y="224"/>
                  <a:pt x="311" y="224"/>
                </a:cubicBezTo>
                <a:cubicBezTo>
                  <a:pt x="311" y="138"/>
                  <a:pt x="311" y="138"/>
                  <a:pt x="311" y="138"/>
                </a:cubicBezTo>
                <a:cubicBezTo>
                  <a:pt x="296" y="138"/>
                  <a:pt x="296" y="138"/>
                  <a:pt x="296" y="138"/>
                </a:cubicBezTo>
                <a:lnTo>
                  <a:pt x="269" y="160"/>
                </a:lnTo>
                <a:close/>
                <a:moveTo>
                  <a:pt x="330" y="324"/>
                </a:moveTo>
                <a:cubicBezTo>
                  <a:pt x="330" y="317"/>
                  <a:pt x="329" y="310"/>
                  <a:pt x="326" y="305"/>
                </a:cubicBezTo>
                <a:cubicBezTo>
                  <a:pt x="324" y="299"/>
                  <a:pt x="320" y="295"/>
                  <a:pt x="316" y="292"/>
                </a:cubicBezTo>
                <a:cubicBezTo>
                  <a:pt x="311" y="289"/>
                  <a:pt x="306" y="288"/>
                  <a:pt x="299" y="288"/>
                </a:cubicBezTo>
                <a:cubicBezTo>
                  <a:pt x="291" y="288"/>
                  <a:pt x="284" y="290"/>
                  <a:pt x="279" y="295"/>
                </a:cubicBezTo>
                <a:cubicBezTo>
                  <a:pt x="274" y="301"/>
                  <a:pt x="271" y="308"/>
                  <a:pt x="271" y="317"/>
                </a:cubicBezTo>
                <a:cubicBezTo>
                  <a:pt x="271" y="325"/>
                  <a:pt x="273" y="331"/>
                  <a:pt x="277" y="336"/>
                </a:cubicBezTo>
                <a:cubicBezTo>
                  <a:pt x="282" y="341"/>
                  <a:pt x="287" y="343"/>
                  <a:pt x="295" y="343"/>
                </a:cubicBezTo>
                <a:cubicBezTo>
                  <a:pt x="299" y="343"/>
                  <a:pt x="302" y="342"/>
                  <a:pt x="305" y="341"/>
                </a:cubicBezTo>
                <a:cubicBezTo>
                  <a:pt x="308" y="339"/>
                  <a:pt x="311" y="337"/>
                  <a:pt x="313" y="333"/>
                </a:cubicBezTo>
                <a:cubicBezTo>
                  <a:pt x="314" y="333"/>
                  <a:pt x="314" y="333"/>
                  <a:pt x="314" y="333"/>
                </a:cubicBezTo>
                <a:cubicBezTo>
                  <a:pt x="313" y="340"/>
                  <a:pt x="312" y="345"/>
                  <a:pt x="310" y="349"/>
                </a:cubicBezTo>
                <a:cubicBezTo>
                  <a:pt x="308" y="352"/>
                  <a:pt x="305" y="355"/>
                  <a:pt x="302" y="357"/>
                </a:cubicBezTo>
                <a:cubicBezTo>
                  <a:pt x="298" y="358"/>
                  <a:pt x="293" y="359"/>
                  <a:pt x="287" y="359"/>
                </a:cubicBezTo>
                <a:cubicBezTo>
                  <a:pt x="284" y="359"/>
                  <a:pt x="280" y="359"/>
                  <a:pt x="277" y="358"/>
                </a:cubicBezTo>
                <a:cubicBezTo>
                  <a:pt x="277" y="372"/>
                  <a:pt x="277" y="372"/>
                  <a:pt x="277" y="372"/>
                </a:cubicBezTo>
                <a:cubicBezTo>
                  <a:pt x="280" y="373"/>
                  <a:pt x="283" y="373"/>
                  <a:pt x="288" y="373"/>
                </a:cubicBezTo>
                <a:cubicBezTo>
                  <a:pt x="302" y="373"/>
                  <a:pt x="313" y="369"/>
                  <a:pt x="320" y="361"/>
                </a:cubicBezTo>
                <a:cubicBezTo>
                  <a:pt x="326" y="353"/>
                  <a:pt x="330" y="341"/>
                  <a:pt x="330" y="32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5" name="Group 118">
            <a:extLst>
              <a:ext uri="{FF2B5EF4-FFF2-40B4-BE49-F238E27FC236}">
                <a16:creationId xmlns:a16="http://schemas.microsoft.com/office/drawing/2014/main" id="{0342708C-89A3-483A-814D-42CBB139BA56}"/>
              </a:ext>
            </a:extLst>
          </p:cNvPr>
          <p:cNvGrpSpPr>
            <a:grpSpLocks noChangeAspect="1"/>
          </p:cNvGrpSpPr>
          <p:nvPr/>
        </p:nvGrpSpPr>
        <p:grpSpPr bwMode="auto">
          <a:xfrm>
            <a:off x="3527768" y="2527810"/>
            <a:ext cx="370763" cy="369676"/>
            <a:chOff x="5806" y="368"/>
            <a:chExt cx="341" cy="340"/>
          </a:xfrm>
          <a:solidFill>
            <a:schemeClr val="accent2"/>
          </a:solidFill>
        </p:grpSpPr>
        <p:sp>
          <p:nvSpPr>
            <p:cNvPr id="206" name="Freeform 119">
              <a:extLst>
                <a:ext uri="{FF2B5EF4-FFF2-40B4-BE49-F238E27FC236}">
                  <a16:creationId xmlns:a16="http://schemas.microsoft.com/office/drawing/2014/main" id="{23F80D87-0010-4FEF-A54C-392844D4BF99}"/>
                </a:ext>
              </a:extLst>
            </p:cNvPr>
            <p:cNvSpPr>
              <a:spLocks noEditPoints="1"/>
            </p:cNvSpPr>
            <p:nvPr/>
          </p:nvSpPr>
          <p:spPr bwMode="auto">
            <a:xfrm>
              <a:off x="5806" y="36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7" name="Freeform 120">
              <a:extLst>
                <a:ext uri="{FF2B5EF4-FFF2-40B4-BE49-F238E27FC236}">
                  <a16:creationId xmlns:a16="http://schemas.microsoft.com/office/drawing/2014/main" id="{C44CF35B-54DA-4D67-9B02-355804E48381}"/>
                </a:ext>
              </a:extLst>
            </p:cNvPr>
            <p:cNvSpPr>
              <a:spLocks noEditPoints="1"/>
            </p:cNvSpPr>
            <p:nvPr/>
          </p:nvSpPr>
          <p:spPr bwMode="auto">
            <a:xfrm>
              <a:off x="5915" y="460"/>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0 h 235"/>
                <a:gd name="T36" fmla="*/ 103 w 226"/>
                <a:gd name="T37" fmla="*/ 0 h 235"/>
                <a:gd name="T38" fmla="*/ 93 w 226"/>
                <a:gd name="T39" fmla="*/ 11 h 235"/>
                <a:gd name="T40" fmla="*/ 103 w 226"/>
                <a:gd name="T41" fmla="*/ 22 h 235"/>
                <a:gd name="T42" fmla="*/ 215 w 226"/>
                <a:gd name="T43" fmla="*/ 22 h 235"/>
                <a:gd name="T44" fmla="*/ 226 w 226"/>
                <a:gd name="T45" fmla="*/ 11 h 235"/>
                <a:gd name="T46" fmla="*/ 215 w 226"/>
                <a:gd name="T47" fmla="*/ 0 h 235"/>
                <a:gd name="T48" fmla="*/ 199 w 226"/>
                <a:gd name="T49" fmla="*/ 43 h 235"/>
                <a:gd name="T50" fmla="*/ 103 w 226"/>
                <a:gd name="T51" fmla="*/ 43 h 235"/>
                <a:gd name="T52" fmla="*/ 93 w 226"/>
                <a:gd name="T53" fmla="*/ 54 h 235"/>
                <a:gd name="T54" fmla="*/ 103 w 226"/>
                <a:gd name="T55" fmla="*/ 64 h 235"/>
                <a:gd name="T56" fmla="*/ 199 w 226"/>
                <a:gd name="T57" fmla="*/ 64 h 235"/>
                <a:gd name="T58" fmla="*/ 210 w 226"/>
                <a:gd name="T59" fmla="*/ 54 h 235"/>
                <a:gd name="T60" fmla="*/ 199 w 226"/>
                <a:gd name="T61" fmla="*/ 43 h 235"/>
                <a:gd name="T62" fmla="*/ 178 w 226"/>
                <a:gd name="T63" fmla="*/ 86 h 235"/>
                <a:gd name="T64" fmla="*/ 103 w 226"/>
                <a:gd name="T65" fmla="*/ 86 h 235"/>
                <a:gd name="T66" fmla="*/ 93 w 226"/>
                <a:gd name="T67" fmla="*/ 96 h 235"/>
                <a:gd name="T68" fmla="*/ 103 w 226"/>
                <a:gd name="T69" fmla="*/ 107 h 235"/>
                <a:gd name="T70" fmla="*/ 178 w 226"/>
                <a:gd name="T71" fmla="*/ 107 h 235"/>
                <a:gd name="T72" fmla="*/ 189 w 226"/>
                <a:gd name="T73" fmla="*/ 96 h 235"/>
                <a:gd name="T74" fmla="*/ 178 w 226"/>
                <a:gd name="T75" fmla="*/ 86 h 235"/>
                <a:gd name="T76" fmla="*/ 157 w 226"/>
                <a:gd name="T77" fmla="*/ 128 h 235"/>
                <a:gd name="T78" fmla="*/ 103 w 226"/>
                <a:gd name="T79" fmla="*/ 128 h 235"/>
                <a:gd name="T80" fmla="*/ 93 w 226"/>
                <a:gd name="T81" fmla="*/ 139 h 235"/>
                <a:gd name="T82" fmla="*/ 103 w 226"/>
                <a:gd name="T83" fmla="*/ 150 h 235"/>
                <a:gd name="T84" fmla="*/ 157 w 226"/>
                <a:gd name="T85" fmla="*/ 150 h 235"/>
                <a:gd name="T86" fmla="*/ 167 w 226"/>
                <a:gd name="T87" fmla="*/ 139 h 235"/>
                <a:gd name="T88" fmla="*/ 157 w 226"/>
                <a:gd name="T89" fmla="*/ 128 h 235"/>
                <a:gd name="T90" fmla="*/ 135 w 226"/>
                <a:gd name="T91" fmla="*/ 171 h 235"/>
                <a:gd name="T92" fmla="*/ 103 w 226"/>
                <a:gd name="T93" fmla="*/ 171 h 235"/>
                <a:gd name="T94" fmla="*/ 93 w 226"/>
                <a:gd name="T95" fmla="*/ 182 h 235"/>
                <a:gd name="T96" fmla="*/ 103 w 226"/>
                <a:gd name="T97" fmla="*/ 192 h 235"/>
                <a:gd name="T98" fmla="*/ 135 w 226"/>
                <a:gd name="T99" fmla="*/ 192 h 235"/>
                <a:gd name="T100" fmla="*/ 146 w 226"/>
                <a:gd name="T101" fmla="*/ 182 h 235"/>
                <a:gd name="T102" fmla="*/ 135 w 226"/>
                <a:gd name="T103" fmla="*/ 171 h 235"/>
                <a:gd name="T104" fmla="*/ 114 w 226"/>
                <a:gd name="T105" fmla="*/ 214 h 235"/>
                <a:gd name="T106" fmla="*/ 103 w 226"/>
                <a:gd name="T107" fmla="*/ 214 h 235"/>
                <a:gd name="T108" fmla="*/ 93 w 226"/>
                <a:gd name="T109" fmla="*/ 224 h 235"/>
                <a:gd name="T110" fmla="*/ 103 w 226"/>
                <a:gd name="T111" fmla="*/ 235 h 235"/>
                <a:gd name="T112" fmla="*/ 114 w 226"/>
                <a:gd name="T113" fmla="*/ 235 h 235"/>
                <a:gd name="T114" fmla="*/ 125 w 226"/>
                <a:gd name="T115" fmla="*/ 224 h 235"/>
                <a:gd name="T116" fmla="*/ 114 w 226"/>
                <a:gd name="T117"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0"/>
                  </a:moveTo>
                  <a:cubicBezTo>
                    <a:pt x="103" y="0"/>
                    <a:pt x="103" y="0"/>
                    <a:pt x="103" y="0"/>
                  </a:cubicBezTo>
                  <a:cubicBezTo>
                    <a:pt x="97" y="0"/>
                    <a:pt x="93" y="5"/>
                    <a:pt x="93" y="11"/>
                  </a:cubicBezTo>
                  <a:cubicBezTo>
                    <a:pt x="93" y="17"/>
                    <a:pt x="97" y="22"/>
                    <a:pt x="103" y="22"/>
                  </a:cubicBezTo>
                  <a:cubicBezTo>
                    <a:pt x="215" y="22"/>
                    <a:pt x="215" y="22"/>
                    <a:pt x="215" y="22"/>
                  </a:cubicBezTo>
                  <a:cubicBezTo>
                    <a:pt x="221" y="22"/>
                    <a:pt x="226" y="17"/>
                    <a:pt x="226" y="11"/>
                  </a:cubicBezTo>
                  <a:cubicBezTo>
                    <a:pt x="226" y="5"/>
                    <a:pt x="221" y="0"/>
                    <a:pt x="215" y="0"/>
                  </a:cubicBezTo>
                  <a:close/>
                  <a:moveTo>
                    <a:pt x="199" y="43"/>
                  </a:moveTo>
                  <a:cubicBezTo>
                    <a:pt x="103" y="43"/>
                    <a:pt x="103" y="43"/>
                    <a:pt x="103" y="43"/>
                  </a:cubicBezTo>
                  <a:cubicBezTo>
                    <a:pt x="97" y="43"/>
                    <a:pt x="93" y="48"/>
                    <a:pt x="93" y="54"/>
                  </a:cubicBezTo>
                  <a:cubicBezTo>
                    <a:pt x="93" y="60"/>
                    <a:pt x="97" y="64"/>
                    <a:pt x="103" y="64"/>
                  </a:cubicBezTo>
                  <a:cubicBezTo>
                    <a:pt x="199" y="64"/>
                    <a:pt x="199" y="64"/>
                    <a:pt x="199" y="64"/>
                  </a:cubicBezTo>
                  <a:cubicBezTo>
                    <a:pt x="205" y="64"/>
                    <a:pt x="210" y="60"/>
                    <a:pt x="210" y="54"/>
                  </a:cubicBezTo>
                  <a:cubicBezTo>
                    <a:pt x="210" y="48"/>
                    <a:pt x="205" y="43"/>
                    <a:pt x="199" y="43"/>
                  </a:cubicBezTo>
                  <a:close/>
                  <a:moveTo>
                    <a:pt x="178" y="86"/>
                  </a:moveTo>
                  <a:cubicBezTo>
                    <a:pt x="103" y="86"/>
                    <a:pt x="103" y="86"/>
                    <a:pt x="103" y="86"/>
                  </a:cubicBezTo>
                  <a:cubicBezTo>
                    <a:pt x="97" y="86"/>
                    <a:pt x="93" y="90"/>
                    <a:pt x="93" y="96"/>
                  </a:cubicBezTo>
                  <a:cubicBezTo>
                    <a:pt x="93" y="102"/>
                    <a:pt x="97" y="107"/>
                    <a:pt x="103" y="107"/>
                  </a:cubicBezTo>
                  <a:cubicBezTo>
                    <a:pt x="178" y="107"/>
                    <a:pt x="178" y="107"/>
                    <a:pt x="178" y="107"/>
                  </a:cubicBezTo>
                  <a:cubicBezTo>
                    <a:pt x="184" y="107"/>
                    <a:pt x="189" y="102"/>
                    <a:pt x="189" y="96"/>
                  </a:cubicBezTo>
                  <a:cubicBezTo>
                    <a:pt x="189" y="90"/>
                    <a:pt x="184" y="86"/>
                    <a:pt x="178" y="86"/>
                  </a:cubicBezTo>
                  <a:close/>
                  <a:moveTo>
                    <a:pt x="157" y="128"/>
                  </a:moveTo>
                  <a:cubicBezTo>
                    <a:pt x="103" y="128"/>
                    <a:pt x="103" y="128"/>
                    <a:pt x="103" y="128"/>
                  </a:cubicBezTo>
                  <a:cubicBezTo>
                    <a:pt x="97" y="128"/>
                    <a:pt x="93" y="133"/>
                    <a:pt x="93" y="139"/>
                  </a:cubicBezTo>
                  <a:cubicBezTo>
                    <a:pt x="93" y="145"/>
                    <a:pt x="97" y="150"/>
                    <a:pt x="103" y="150"/>
                  </a:cubicBezTo>
                  <a:cubicBezTo>
                    <a:pt x="157" y="150"/>
                    <a:pt x="157" y="150"/>
                    <a:pt x="157" y="150"/>
                  </a:cubicBezTo>
                  <a:cubicBezTo>
                    <a:pt x="163" y="150"/>
                    <a:pt x="167" y="145"/>
                    <a:pt x="167" y="139"/>
                  </a:cubicBezTo>
                  <a:cubicBezTo>
                    <a:pt x="167" y="133"/>
                    <a:pt x="163" y="128"/>
                    <a:pt x="157" y="128"/>
                  </a:cubicBezTo>
                  <a:close/>
                  <a:moveTo>
                    <a:pt x="135" y="171"/>
                  </a:moveTo>
                  <a:cubicBezTo>
                    <a:pt x="103" y="171"/>
                    <a:pt x="103" y="171"/>
                    <a:pt x="103" y="171"/>
                  </a:cubicBezTo>
                  <a:cubicBezTo>
                    <a:pt x="97" y="171"/>
                    <a:pt x="93" y="176"/>
                    <a:pt x="93" y="182"/>
                  </a:cubicBezTo>
                  <a:cubicBezTo>
                    <a:pt x="93" y="188"/>
                    <a:pt x="97" y="192"/>
                    <a:pt x="103" y="192"/>
                  </a:cubicBezTo>
                  <a:cubicBezTo>
                    <a:pt x="135" y="192"/>
                    <a:pt x="135" y="192"/>
                    <a:pt x="135" y="192"/>
                  </a:cubicBezTo>
                  <a:cubicBezTo>
                    <a:pt x="141" y="192"/>
                    <a:pt x="146" y="188"/>
                    <a:pt x="146" y="182"/>
                  </a:cubicBezTo>
                  <a:cubicBezTo>
                    <a:pt x="146" y="176"/>
                    <a:pt x="141" y="171"/>
                    <a:pt x="135" y="171"/>
                  </a:cubicBezTo>
                  <a:close/>
                  <a:moveTo>
                    <a:pt x="114" y="214"/>
                  </a:moveTo>
                  <a:cubicBezTo>
                    <a:pt x="103" y="214"/>
                    <a:pt x="103" y="214"/>
                    <a:pt x="103" y="214"/>
                  </a:cubicBezTo>
                  <a:cubicBezTo>
                    <a:pt x="97" y="214"/>
                    <a:pt x="93" y="218"/>
                    <a:pt x="93" y="224"/>
                  </a:cubicBezTo>
                  <a:cubicBezTo>
                    <a:pt x="93" y="230"/>
                    <a:pt x="97" y="235"/>
                    <a:pt x="103" y="235"/>
                  </a:cubicBezTo>
                  <a:cubicBezTo>
                    <a:pt x="114" y="235"/>
                    <a:pt x="114" y="235"/>
                    <a:pt x="114" y="235"/>
                  </a:cubicBezTo>
                  <a:cubicBezTo>
                    <a:pt x="120" y="235"/>
                    <a:pt x="125" y="230"/>
                    <a:pt x="125" y="224"/>
                  </a:cubicBezTo>
                  <a:cubicBezTo>
                    <a:pt x="125" y="218"/>
                    <a:pt x="120" y="214"/>
                    <a:pt x="114"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8" name="Freeform 124">
            <a:extLst>
              <a:ext uri="{FF2B5EF4-FFF2-40B4-BE49-F238E27FC236}">
                <a16:creationId xmlns:a16="http://schemas.microsoft.com/office/drawing/2014/main" id="{8AB260AE-3616-43AF-BEB3-0EAC0C72C949}"/>
              </a:ext>
            </a:extLst>
          </p:cNvPr>
          <p:cNvSpPr>
            <a:spLocks noChangeAspect="1" noEditPoints="1"/>
          </p:cNvSpPr>
          <p:nvPr/>
        </p:nvSpPr>
        <p:spPr bwMode="auto">
          <a:xfrm>
            <a:off x="3089998" y="2527810"/>
            <a:ext cx="370763" cy="369676"/>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66 w 512"/>
              <a:gd name="T23" fmla="*/ 373 h 512"/>
              <a:gd name="T24" fmla="*/ 266 w 512"/>
              <a:gd name="T25" fmla="*/ 352 h 512"/>
              <a:gd name="T26" fmla="*/ 288 w 512"/>
              <a:gd name="T27" fmla="*/ 362 h 512"/>
              <a:gd name="T28" fmla="*/ 298 w 512"/>
              <a:gd name="T29" fmla="*/ 330 h 512"/>
              <a:gd name="T30" fmla="*/ 256 w 512"/>
              <a:gd name="T31" fmla="*/ 320 h 512"/>
              <a:gd name="T32" fmla="*/ 298 w 512"/>
              <a:gd name="T33" fmla="*/ 309 h 512"/>
              <a:gd name="T34" fmla="*/ 298 w 512"/>
              <a:gd name="T35" fmla="*/ 330 h 512"/>
              <a:gd name="T36" fmla="*/ 266 w 512"/>
              <a:gd name="T37" fmla="*/ 288 h 512"/>
              <a:gd name="T38" fmla="*/ 266 w 512"/>
              <a:gd name="T39" fmla="*/ 266 h 512"/>
              <a:gd name="T40" fmla="*/ 330 w 512"/>
              <a:gd name="T41" fmla="*/ 277 h 512"/>
              <a:gd name="T42" fmla="*/ 341 w 512"/>
              <a:gd name="T43" fmla="*/ 245 h 512"/>
              <a:gd name="T44" fmla="*/ 256 w 512"/>
              <a:gd name="T45" fmla="*/ 234 h 512"/>
              <a:gd name="T46" fmla="*/ 341 w 512"/>
              <a:gd name="T47" fmla="*/ 224 h 512"/>
              <a:gd name="T48" fmla="*/ 341 w 512"/>
              <a:gd name="T49" fmla="*/ 245 h 512"/>
              <a:gd name="T50" fmla="*/ 266 w 512"/>
              <a:gd name="T51" fmla="*/ 202 h 512"/>
              <a:gd name="T52" fmla="*/ 266 w 512"/>
              <a:gd name="T53" fmla="*/ 181 h 512"/>
              <a:gd name="T54" fmla="*/ 373 w 512"/>
              <a:gd name="T55" fmla="*/ 192 h 512"/>
              <a:gd name="T56" fmla="*/ 378 w 512"/>
              <a:gd name="T57" fmla="*/ 160 h 512"/>
              <a:gd name="T58" fmla="*/ 256 w 512"/>
              <a:gd name="T59" fmla="*/ 149 h 512"/>
              <a:gd name="T60" fmla="*/ 378 w 512"/>
              <a:gd name="T61" fmla="*/ 138 h 512"/>
              <a:gd name="T62" fmla="*/ 378 w 512"/>
              <a:gd name="T63"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77" y="373"/>
                </a:moveTo>
                <a:cubicBezTo>
                  <a:pt x="266" y="373"/>
                  <a:pt x="266" y="373"/>
                  <a:pt x="266" y="373"/>
                </a:cubicBezTo>
                <a:cubicBezTo>
                  <a:pt x="260" y="373"/>
                  <a:pt x="256" y="368"/>
                  <a:pt x="256" y="362"/>
                </a:cubicBezTo>
                <a:cubicBezTo>
                  <a:pt x="256" y="356"/>
                  <a:pt x="260" y="352"/>
                  <a:pt x="266" y="352"/>
                </a:cubicBezTo>
                <a:cubicBezTo>
                  <a:pt x="277" y="352"/>
                  <a:pt x="277" y="352"/>
                  <a:pt x="277" y="352"/>
                </a:cubicBezTo>
                <a:cubicBezTo>
                  <a:pt x="283" y="352"/>
                  <a:pt x="288" y="356"/>
                  <a:pt x="288" y="362"/>
                </a:cubicBezTo>
                <a:cubicBezTo>
                  <a:pt x="288" y="368"/>
                  <a:pt x="283" y="373"/>
                  <a:pt x="277" y="373"/>
                </a:cubicBezTo>
                <a:close/>
                <a:moveTo>
                  <a:pt x="298" y="330"/>
                </a:move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304" y="309"/>
                  <a:pt x="309" y="314"/>
                  <a:pt x="309" y="320"/>
                </a:cubicBezTo>
                <a:cubicBezTo>
                  <a:pt x="309" y="326"/>
                  <a:pt x="304" y="330"/>
                  <a:pt x="298" y="330"/>
                </a:cubicBezTo>
                <a:close/>
                <a:moveTo>
                  <a:pt x="320" y="288"/>
                </a:moveTo>
                <a:cubicBezTo>
                  <a:pt x="266" y="288"/>
                  <a:pt x="266" y="288"/>
                  <a:pt x="266" y="288"/>
                </a:cubicBezTo>
                <a:cubicBezTo>
                  <a:pt x="260" y="288"/>
                  <a:pt x="256" y="283"/>
                  <a:pt x="256" y="277"/>
                </a:cubicBezTo>
                <a:cubicBezTo>
                  <a:pt x="256" y="271"/>
                  <a:pt x="260" y="266"/>
                  <a:pt x="266" y="266"/>
                </a:cubicBezTo>
                <a:cubicBezTo>
                  <a:pt x="320" y="266"/>
                  <a:pt x="320" y="266"/>
                  <a:pt x="320" y="266"/>
                </a:cubicBezTo>
                <a:cubicBezTo>
                  <a:pt x="326" y="266"/>
                  <a:pt x="330" y="271"/>
                  <a:pt x="330" y="277"/>
                </a:cubicBezTo>
                <a:cubicBezTo>
                  <a:pt x="330" y="283"/>
                  <a:pt x="326" y="288"/>
                  <a:pt x="320" y="288"/>
                </a:cubicBezTo>
                <a:close/>
                <a:moveTo>
                  <a:pt x="341" y="245"/>
                </a:moveTo>
                <a:cubicBezTo>
                  <a:pt x="266" y="245"/>
                  <a:pt x="266" y="245"/>
                  <a:pt x="266" y="245"/>
                </a:cubicBezTo>
                <a:cubicBezTo>
                  <a:pt x="260" y="245"/>
                  <a:pt x="256" y="240"/>
                  <a:pt x="256" y="234"/>
                </a:cubicBezTo>
                <a:cubicBezTo>
                  <a:pt x="256" y="228"/>
                  <a:pt x="260" y="224"/>
                  <a:pt x="266" y="224"/>
                </a:cubicBezTo>
                <a:cubicBezTo>
                  <a:pt x="341" y="224"/>
                  <a:pt x="341" y="224"/>
                  <a:pt x="341" y="224"/>
                </a:cubicBezTo>
                <a:cubicBezTo>
                  <a:pt x="347" y="224"/>
                  <a:pt x="352" y="228"/>
                  <a:pt x="352" y="234"/>
                </a:cubicBezTo>
                <a:cubicBezTo>
                  <a:pt x="352" y="240"/>
                  <a:pt x="347" y="245"/>
                  <a:pt x="341" y="245"/>
                </a:cubicBezTo>
                <a:close/>
                <a:moveTo>
                  <a:pt x="362" y="202"/>
                </a:moveTo>
                <a:cubicBezTo>
                  <a:pt x="266" y="202"/>
                  <a:pt x="266" y="202"/>
                  <a:pt x="266" y="202"/>
                </a:cubicBezTo>
                <a:cubicBezTo>
                  <a:pt x="260" y="202"/>
                  <a:pt x="256" y="198"/>
                  <a:pt x="256" y="192"/>
                </a:cubicBezTo>
                <a:cubicBezTo>
                  <a:pt x="256" y="186"/>
                  <a:pt x="260" y="181"/>
                  <a:pt x="266" y="181"/>
                </a:cubicBezTo>
                <a:cubicBezTo>
                  <a:pt x="362" y="181"/>
                  <a:pt x="362" y="181"/>
                  <a:pt x="362" y="181"/>
                </a:cubicBezTo>
                <a:cubicBezTo>
                  <a:pt x="368" y="181"/>
                  <a:pt x="373" y="186"/>
                  <a:pt x="373" y="192"/>
                </a:cubicBezTo>
                <a:cubicBezTo>
                  <a:pt x="373" y="198"/>
                  <a:pt x="368" y="202"/>
                  <a:pt x="362" y="202"/>
                </a:cubicBezTo>
                <a:close/>
                <a:moveTo>
                  <a:pt x="378" y="160"/>
                </a:moveTo>
                <a:cubicBezTo>
                  <a:pt x="266" y="160"/>
                  <a:pt x="266" y="160"/>
                  <a:pt x="266" y="160"/>
                </a:cubicBezTo>
                <a:cubicBezTo>
                  <a:pt x="260" y="160"/>
                  <a:pt x="256" y="155"/>
                  <a:pt x="256" y="149"/>
                </a:cubicBezTo>
                <a:cubicBezTo>
                  <a:pt x="256" y="143"/>
                  <a:pt x="260" y="138"/>
                  <a:pt x="266" y="138"/>
                </a:cubicBezTo>
                <a:cubicBezTo>
                  <a:pt x="378" y="138"/>
                  <a:pt x="378" y="138"/>
                  <a:pt x="378" y="138"/>
                </a:cubicBezTo>
                <a:cubicBezTo>
                  <a:pt x="384" y="138"/>
                  <a:pt x="389" y="143"/>
                  <a:pt x="389" y="149"/>
                </a:cubicBezTo>
                <a:cubicBezTo>
                  <a:pt x="389" y="155"/>
                  <a:pt x="384" y="160"/>
                  <a:pt x="378" y="16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9" name="Group 127">
            <a:extLst>
              <a:ext uri="{FF2B5EF4-FFF2-40B4-BE49-F238E27FC236}">
                <a16:creationId xmlns:a16="http://schemas.microsoft.com/office/drawing/2014/main" id="{96F5CB22-B7C5-4A5C-85AE-DA4ED133B953}"/>
              </a:ext>
            </a:extLst>
          </p:cNvPr>
          <p:cNvGrpSpPr>
            <a:grpSpLocks noChangeAspect="1"/>
          </p:cNvGrpSpPr>
          <p:nvPr/>
        </p:nvGrpSpPr>
        <p:grpSpPr bwMode="auto">
          <a:xfrm>
            <a:off x="2653315" y="2527810"/>
            <a:ext cx="369676" cy="369676"/>
            <a:chOff x="5048" y="380"/>
            <a:chExt cx="340" cy="340"/>
          </a:xfrm>
          <a:solidFill>
            <a:schemeClr val="accent2"/>
          </a:solidFill>
        </p:grpSpPr>
        <p:sp>
          <p:nvSpPr>
            <p:cNvPr id="210" name="Freeform 128">
              <a:extLst>
                <a:ext uri="{FF2B5EF4-FFF2-40B4-BE49-F238E27FC236}">
                  <a16:creationId xmlns:a16="http://schemas.microsoft.com/office/drawing/2014/main" id="{2F05FB6C-EFB7-4FDE-B95A-F3CA145A6DC1}"/>
                </a:ext>
              </a:extLst>
            </p:cNvPr>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1" name="Freeform 129">
              <a:extLst>
                <a:ext uri="{FF2B5EF4-FFF2-40B4-BE49-F238E27FC236}">
                  <a16:creationId xmlns:a16="http://schemas.microsoft.com/office/drawing/2014/main" id="{DEEFCD58-8B80-4779-B5B8-6E75F5D4AA84}"/>
                </a:ext>
              </a:extLst>
            </p:cNvPr>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2" name="Freeform 133">
            <a:extLst>
              <a:ext uri="{FF2B5EF4-FFF2-40B4-BE49-F238E27FC236}">
                <a16:creationId xmlns:a16="http://schemas.microsoft.com/office/drawing/2014/main" id="{3E833557-44DF-4C12-86D0-AD0B67F3FD97}"/>
              </a:ext>
            </a:extLst>
          </p:cNvPr>
          <p:cNvSpPr>
            <a:spLocks noChangeAspect="1" noEditPoints="1"/>
          </p:cNvSpPr>
          <p:nvPr/>
        </p:nvSpPr>
        <p:spPr bwMode="auto">
          <a:xfrm>
            <a:off x="2216632" y="2527810"/>
            <a:ext cx="369676" cy="369676"/>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77 w 512"/>
              <a:gd name="T23" fmla="*/ 138 h 512"/>
              <a:gd name="T24" fmla="*/ 277 w 512"/>
              <a:gd name="T25" fmla="*/ 160 h 512"/>
              <a:gd name="T26" fmla="*/ 256 w 512"/>
              <a:gd name="T27" fmla="*/ 149 h 512"/>
              <a:gd name="T28" fmla="*/ 266 w 512"/>
              <a:gd name="T29" fmla="*/ 181 h 512"/>
              <a:gd name="T30" fmla="*/ 309 w 512"/>
              <a:gd name="T31" fmla="*/ 192 h 512"/>
              <a:gd name="T32" fmla="*/ 266 w 512"/>
              <a:gd name="T33" fmla="*/ 202 h 512"/>
              <a:gd name="T34" fmla="*/ 266 w 512"/>
              <a:gd name="T35" fmla="*/ 181 h 512"/>
              <a:gd name="T36" fmla="*/ 320 w 512"/>
              <a:gd name="T37" fmla="*/ 224 h 512"/>
              <a:gd name="T38" fmla="*/ 320 w 512"/>
              <a:gd name="T39" fmla="*/ 245 h 512"/>
              <a:gd name="T40" fmla="*/ 256 w 512"/>
              <a:gd name="T41" fmla="*/ 234 h 512"/>
              <a:gd name="T42" fmla="*/ 266 w 512"/>
              <a:gd name="T43" fmla="*/ 266 h 512"/>
              <a:gd name="T44" fmla="*/ 352 w 512"/>
              <a:gd name="T45" fmla="*/ 277 h 512"/>
              <a:gd name="T46" fmla="*/ 266 w 512"/>
              <a:gd name="T47" fmla="*/ 288 h 512"/>
              <a:gd name="T48" fmla="*/ 266 w 512"/>
              <a:gd name="T49" fmla="*/ 266 h 512"/>
              <a:gd name="T50" fmla="*/ 362 w 512"/>
              <a:gd name="T51" fmla="*/ 309 h 512"/>
              <a:gd name="T52" fmla="*/ 362 w 512"/>
              <a:gd name="T53" fmla="*/ 330 h 512"/>
              <a:gd name="T54" fmla="*/ 256 w 512"/>
              <a:gd name="T55" fmla="*/ 320 h 512"/>
              <a:gd name="T56" fmla="*/ 378 w 512"/>
              <a:gd name="T57" fmla="*/ 373 h 512"/>
              <a:gd name="T58" fmla="*/ 256 w 512"/>
              <a:gd name="T59" fmla="*/ 362 h 512"/>
              <a:gd name="T60" fmla="*/ 378 w 512"/>
              <a:gd name="T61" fmla="*/ 352 h 512"/>
              <a:gd name="T62" fmla="*/ 378 w 512"/>
              <a:gd name="T6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66" y="138"/>
                </a:moveTo>
                <a:cubicBezTo>
                  <a:pt x="277" y="138"/>
                  <a:pt x="277" y="138"/>
                  <a:pt x="277" y="138"/>
                </a:cubicBezTo>
                <a:cubicBezTo>
                  <a:pt x="283" y="138"/>
                  <a:pt x="288" y="143"/>
                  <a:pt x="288" y="149"/>
                </a:cubicBezTo>
                <a:cubicBezTo>
                  <a:pt x="288" y="155"/>
                  <a:pt x="283" y="160"/>
                  <a:pt x="277" y="160"/>
                </a:cubicBezTo>
                <a:cubicBezTo>
                  <a:pt x="266" y="160"/>
                  <a:pt x="266" y="160"/>
                  <a:pt x="266" y="160"/>
                </a:cubicBezTo>
                <a:cubicBezTo>
                  <a:pt x="260" y="160"/>
                  <a:pt x="256" y="155"/>
                  <a:pt x="256" y="149"/>
                </a:cubicBezTo>
                <a:cubicBezTo>
                  <a:pt x="256" y="143"/>
                  <a:pt x="260" y="138"/>
                  <a:pt x="266" y="138"/>
                </a:cubicBezTo>
                <a:close/>
                <a:moveTo>
                  <a:pt x="266" y="181"/>
                </a:moveTo>
                <a:cubicBezTo>
                  <a:pt x="298" y="181"/>
                  <a:pt x="298" y="181"/>
                  <a:pt x="298" y="181"/>
                </a:cubicBezTo>
                <a:cubicBezTo>
                  <a:pt x="304" y="181"/>
                  <a:pt x="309" y="186"/>
                  <a:pt x="309" y="192"/>
                </a:cubicBezTo>
                <a:cubicBezTo>
                  <a:pt x="309" y="198"/>
                  <a:pt x="304" y="202"/>
                  <a:pt x="298" y="202"/>
                </a:cubicBezTo>
                <a:cubicBezTo>
                  <a:pt x="266" y="202"/>
                  <a:pt x="266" y="202"/>
                  <a:pt x="266" y="202"/>
                </a:cubicBezTo>
                <a:cubicBezTo>
                  <a:pt x="260" y="202"/>
                  <a:pt x="256" y="198"/>
                  <a:pt x="256" y="192"/>
                </a:cubicBezTo>
                <a:cubicBezTo>
                  <a:pt x="256" y="186"/>
                  <a:pt x="260" y="181"/>
                  <a:pt x="266" y="181"/>
                </a:cubicBezTo>
                <a:close/>
                <a:moveTo>
                  <a:pt x="266" y="224"/>
                </a:moveTo>
                <a:cubicBezTo>
                  <a:pt x="320" y="224"/>
                  <a:pt x="320" y="224"/>
                  <a:pt x="320" y="224"/>
                </a:cubicBezTo>
                <a:cubicBezTo>
                  <a:pt x="326" y="224"/>
                  <a:pt x="330" y="228"/>
                  <a:pt x="330" y="234"/>
                </a:cubicBezTo>
                <a:cubicBezTo>
                  <a:pt x="330" y="240"/>
                  <a:pt x="326" y="245"/>
                  <a:pt x="320" y="245"/>
                </a:cubicBezTo>
                <a:cubicBezTo>
                  <a:pt x="266" y="245"/>
                  <a:pt x="266" y="245"/>
                  <a:pt x="266" y="245"/>
                </a:cubicBezTo>
                <a:cubicBezTo>
                  <a:pt x="260" y="245"/>
                  <a:pt x="256" y="240"/>
                  <a:pt x="256" y="234"/>
                </a:cubicBezTo>
                <a:cubicBezTo>
                  <a:pt x="256" y="228"/>
                  <a:pt x="260" y="224"/>
                  <a:pt x="266" y="224"/>
                </a:cubicBezTo>
                <a:close/>
                <a:moveTo>
                  <a:pt x="266" y="266"/>
                </a:moveTo>
                <a:cubicBezTo>
                  <a:pt x="341" y="266"/>
                  <a:pt x="341" y="266"/>
                  <a:pt x="341" y="266"/>
                </a:cubicBezTo>
                <a:cubicBezTo>
                  <a:pt x="347" y="266"/>
                  <a:pt x="352" y="271"/>
                  <a:pt x="352" y="277"/>
                </a:cubicBezTo>
                <a:cubicBezTo>
                  <a:pt x="352" y="283"/>
                  <a:pt x="347" y="288"/>
                  <a:pt x="341" y="288"/>
                </a:cubicBezTo>
                <a:cubicBezTo>
                  <a:pt x="266" y="288"/>
                  <a:pt x="266" y="288"/>
                  <a:pt x="266" y="288"/>
                </a:cubicBezTo>
                <a:cubicBezTo>
                  <a:pt x="260" y="288"/>
                  <a:pt x="256" y="283"/>
                  <a:pt x="256" y="277"/>
                </a:cubicBezTo>
                <a:cubicBezTo>
                  <a:pt x="256" y="271"/>
                  <a:pt x="260" y="266"/>
                  <a:pt x="266" y="266"/>
                </a:cubicBezTo>
                <a:close/>
                <a:moveTo>
                  <a:pt x="266" y="309"/>
                </a:moveTo>
                <a:cubicBezTo>
                  <a:pt x="362" y="309"/>
                  <a:pt x="362" y="309"/>
                  <a:pt x="362" y="309"/>
                </a:cubicBezTo>
                <a:cubicBezTo>
                  <a:pt x="368" y="309"/>
                  <a:pt x="373" y="314"/>
                  <a:pt x="373" y="320"/>
                </a:cubicBezTo>
                <a:cubicBezTo>
                  <a:pt x="373" y="326"/>
                  <a:pt x="368" y="330"/>
                  <a:pt x="362" y="330"/>
                </a:cubicBezTo>
                <a:cubicBezTo>
                  <a:pt x="266" y="330"/>
                  <a:pt x="266" y="330"/>
                  <a:pt x="266" y="330"/>
                </a:cubicBezTo>
                <a:cubicBezTo>
                  <a:pt x="260" y="330"/>
                  <a:pt x="256" y="326"/>
                  <a:pt x="256" y="320"/>
                </a:cubicBezTo>
                <a:cubicBezTo>
                  <a:pt x="256" y="314"/>
                  <a:pt x="260" y="309"/>
                  <a:pt x="266" y="309"/>
                </a:cubicBezTo>
                <a:close/>
                <a:moveTo>
                  <a:pt x="378" y="373"/>
                </a:moveTo>
                <a:cubicBezTo>
                  <a:pt x="266" y="373"/>
                  <a:pt x="266" y="373"/>
                  <a:pt x="266" y="373"/>
                </a:cubicBezTo>
                <a:cubicBezTo>
                  <a:pt x="260" y="373"/>
                  <a:pt x="256" y="368"/>
                  <a:pt x="256" y="362"/>
                </a:cubicBezTo>
                <a:cubicBezTo>
                  <a:pt x="256" y="356"/>
                  <a:pt x="260" y="352"/>
                  <a:pt x="266" y="352"/>
                </a:cubicBezTo>
                <a:cubicBezTo>
                  <a:pt x="378" y="352"/>
                  <a:pt x="378" y="352"/>
                  <a:pt x="378" y="352"/>
                </a:cubicBezTo>
                <a:cubicBezTo>
                  <a:pt x="384" y="352"/>
                  <a:pt x="389" y="356"/>
                  <a:pt x="389" y="362"/>
                </a:cubicBezTo>
                <a:cubicBezTo>
                  <a:pt x="389" y="368"/>
                  <a:pt x="384" y="373"/>
                  <a:pt x="378" y="37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13" name="Group 136">
            <a:extLst>
              <a:ext uri="{FF2B5EF4-FFF2-40B4-BE49-F238E27FC236}">
                <a16:creationId xmlns:a16="http://schemas.microsoft.com/office/drawing/2014/main" id="{3DFF700C-0F96-4E1C-B10A-982F20AF86C6}"/>
              </a:ext>
            </a:extLst>
          </p:cNvPr>
          <p:cNvGrpSpPr>
            <a:grpSpLocks noChangeAspect="1"/>
          </p:cNvGrpSpPr>
          <p:nvPr/>
        </p:nvGrpSpPr>
        <p:grpSpPr bwMode="auto">
          <a:xfrm>
            <a:off x="1779949" y="2527810"/>
            <a:ext cx="369676" cy="369676"/>
            <a:chOff x="4251" y="385"/>
            <a:chExt cx="340" cy="340"/>
          </a:xfrm>
          <a:solidFill>
            <a:schemeClr val="accent2"/>
          </a:solidFill>
        </p:grpSpPr>
        <p:sp>
          <p:nvSpPr>
            <p:cNvPr id="214" name="Freeform 137">
              <a:extLst>
                <a:ext uri="{FF2B5EF4-FFF2-40B4-BE49-F238E27FC236}">
                  <a16:creationId xmlns:a16="http://schemas.microsoft.com/office/drawing/2014/main" id="{733C4B8C-1357-461E-867E-34D95EC2D722}"/>
                </a:ext>
              </a:extLst>
            </p:cNvPr>
            <p:cNvSpPr>
              <a:spLocks noEditPoints="1"/>
            </p:cNvSpPr>
            <p:nvPr/>
          </p:nvSpPr>
          <p:spPr bwMode="auto">
            <a:xfrm>
              <a:off x="4251" y="3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5" name="Freeform 138">
              <a:extLst>
                <a:ext uri="{FF2B5EF4-FFF2-40B4-BE49-F238E27FC236}">
                  <a16:creationId xmlns:a16="http://schemas.microsoft.com/office/drawing/2014/main" id="{20CF7EA4-FDE0-45BC-BC0A-CBA523BB76F1}"/>
                </a:ext>
              </a:extLst>
            </p:cNvPr>
            <p:cNvSpPr>
              <a:spLocks noEditPoints="1"/>
            </p:cNvSpPr>
            <p:nvPr/>
          </p:nvSpPr>
          <p:spPr bwMode="auto">
            <a:xfrm>
              <a:off x="4359" y="477"/>
              <a:ext cx="116" cy="156"/>
            </a:xfrm>
            <a:custGeom>
              <a:avLst/>
              <a:gdLst>
                <a:gd name="T0" fmla="*/ 74 w 174"/>
                <a:gd name="T1" fmla="*/ 189 h 235"/>
                <a:gd name="T2" fmla="*/ 74 w 174"/>
                <a:gd name="T3" fmla="*/ 204 h 235"/>
                <a:gd name="T4" fmla="*/ 47 w 174"/>
                <a:gd name="T5" fmla="*/ 232 h 235"/>
                <a:gd name="T6" fmla="*/ 43 w 174"/>
                <a:gd name="T7" fmla="*/ 234 h 235"/>
                <a:gd name="T8" fmla="*/ 39 w 174"/>
                <a:gd name="T9" fmla="*/ 235 h 235"/>
                <a:gd name="T10" fmla="*/ 35 w 174"/>
                <a:gd name="T11" fmla="*/ 234 h 235"/>
                <a:gd name="T12" fmla="*/ 32 w 174"/>
                <a:gd name="T13" fmla="*/ 232 h 235"/>
                <a:gd name="T14" fmla="*/ 4 w 174"/>
                <a:gd name="T15" fmla="*/ 204 h 235"/>
                <a:gd name="T16" fmla="*/ 4 w 174"/>
                <a:gd name="T17" fmla="*/ 189 h 235"/>
                <a:gd name="T18" fmla="*/ 19 w 174"/>
                <a:gd name="T19" fmla="*/ 189 h 235"/>
                <a:gd name="T20" fmla="*/ 29 w 174"/>
                <a:gd name="T21" fmla="*/ 199 h 235"/>
                <a:gd name="T22" fmla="*/ 29 w 174"/>
                <a:gd name="T23" fmla="*/ 11 h 235"/>
                <a:gd name="T24" fmla="*/ 39 w 174"/>
                <a:gd name="T25" fmla="*/ 0 h 235"/>
                <a:gd name="T26" fmla="*/ 50 w 174"/>
                <a:gd name="T27" fmla="*/ 11 h 235"/>
                <a:gd name="T28" fmla="*/ 50 w 174"/>
                <a:gd name="T29" fmla="*/ 199 h 235"/>
                <a:gd name="T30" fmla="*/ 59 w 174"/>
                <a:gd name="T31" fmla="*/ 189 h 235"/>
                <a:gd name="T32" fmla="*/ 74 w 174"/>
                <a:gd name="T33" fmla="*/ 189 h 235"/>
                <a:gd name="T34" fmla="*/ 174 w 174"/>
                <a:gd name="T35" fmla="*/ 235 h 235"/>
                <a:gd name="T36" fmla="*/ 155 w 174"/>
                <a:gd name="T37" fmla="*/ 235 h 235"/>
                <a:gd name="T38" fmla="*/ 149 w 174"/>
                <a:gd name="T39" fmla="*/ 215 h 235"/>
                <a:gd name="T40" fmla="*/ 118 w 174"/>
                <a:gd name="T41" fmla="*/ 215 h 235"/>
                <a:gd name="T42" fmla="*/ 112 w 174"/>
                <a:gd name="T43" fmla="*/ 235 h 235"/>
                <a:gd name="T44" fmla="*/ 93 w 174"/>
                <a:gd name="T45" fmla="*/ 235 h 235"/>
                <a:gd name="T46" fmla="*/ 122 w 174"/>
                <a:gd name="T47" fmla="*/ 150 h 235"/>
                <a:gd name="T48" fmla="*/ 144 w 174"/>
                <a:gd name="T49" fmla="*/ 150 h 235"/>
                <a:gd name="T50" fmla="*/ 174 w 174"/>
                <a:gd name="T51" fmla="*/ 235 h 235"/>
                <a:gd name="T52" fmla="*/ 144 w 174"/>
                <a:gd name="T53" fmla="*/ 200 h 235"/>
                <a:gd name="T54" fmla="*/ 135 w 174"/>
                <a:gd name="T55" fmla="*/ 169 h 235"/>
                <a:gd name="T56" fmla="*/ 133 w 174"/>
                <a:gd name="T57" fmla="*/ 163 h 235"/>
                <a:gd name="T58" fmla="*/ 123 w 174"/>
                <a:gd name="T59" fmla="*/ 200 h 235"/>
                <a:gd name="T60" fmla="*/ 144 w 174"/>
                <a:gd name="T61" fmla="*/ 200 h 235"/>
                <a:gd name="T62" fmla="*/ 167 w 174"/>
                <a:gd name="T63" fmla="*/ 70 h 235"/>
                <a:gd name="T64" fmla="*/ 126 w 174"/>
                <a:gd name="T65" fmla="*/ 70 h 235"/>
                <a:gd name="T66" fmla="*/ 166 w 174"/>
                <a:gd name="T67" fmla="*/ 12 h 235"/>
                <a:gd name="T68" fmla="*/ 166 w 174"/>
                <a:gd name="T69" fmla="*/ 0 h 235"/>
                <a:gd name="T70" fmla="*/ 106 w 174"/>
                <a:gd name="T71" fmla="*/ 0 h 235"/>
                <a:gd name="T72" fmla="*/ 106 w 174"/>
                <a:gd name="T73" fmla="*/ 15 h 235"/>
                <a:gd name="T74" fmla="*/ 145 w 174"/>
                <a:gd name="T75" fmla="*/ 15 h 235"/>
                <a:gd name="T76" fmla="*/ 105 w 174"/>
                <a:gd name="T77" fmla="*/ 73 h 235"/>
                <a:gd name="T78" fmla="*/ 105 w 174"/>
                <a:gd name="T79" fmla="*/ 85 h 235"/>
                <a:gd name="T80" fmla="*/ 167 w 174"/>
                <a:gd name="T81" fmla="*/ 85 h 235"/>
                <a:gd name="T82" fmla="*/ 167 w 174"/>
                <a:gd name="T83" fmla="*/ 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4"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74" y="235"/>
                  </a:moveTo>
                  <a:cubicBezTo>
                    <a:pt x="155" y="235"/>
                    <a:pt x="155" y="235"/>
                    <a:pt x="155" y="235"/>
                  </a:cubicBezTo>
                  <a:cubicBezTo>
                    <a:pt x="149" y="215"/>
                    <a:pt x="149" y="215"/>
                    <a:pt x="149" y="215"/>
                  </a:cubicBezTo>
                  <a:cubicBezTo>
                    <a:pt x="118" y="215"/>
                    <a:pt x="118" y="215"/>
                    <a:pt x="118" y="215"/>
                  </a:cubicBezTo>
                  <a:cubicBezTo>
                    <a:pt x="112" y="235"/>
                    <a:pt x="112" y="235"/>
                    <a:pt x="112" y="235"/>
                  </a:cubicBezTo>
                  <a:cubicBezTo>
                    <a:pt x="93" y="235"/>
                    <a:pt x="93" y="235"/>
                    <a:pt x="93" y="235"/>
                  </a:cubicBezTo>
                  <a:cubicBezTo>
                    <a:pt x="122" y="150"/>
                    <a:pt x="122" y="150"/>
                    <a:pt x="122" y="150"/>
                  </a:cubicBezTo>
                  <a:cubicBezTo>
                    <a:pt x="144" y="150"/>
                    <a:pt x="144" y="150"/>
                    <a:pt x="144" y="150"/>
                  </a:cubicBezTo>
                  <a:lnTo>
                    <a:pt x="174" y="235"/>
                  </a:lnTo>
                  <a:close/>
                  <a:moveTo>
                    <a:pt x="144" y="200"/>
                  </a:moveTo>
                  <a:cubicBezTo>
                    <a:pt x="139" y="182"/>
                    <a:pt x="136" y="171"/>
                    <a:pt x="135" y="169"/>
                  </a:cubicBezTo>
                  <a:cubicBezTo>
                    <a:pt x="134" y="167"/>
                    <a:pt x="134" y="165"/>
                    <a:pt x="133" y="163"/>
                  </a:cubicBezTo>
                  <a:cubicBezTo>
                    <a:pt x="132" y="168"/>
                    <a:pt x="129" y="181"/>
                    <a:pt x="123" y="200"/>
                  </a:cubicBezTo>
                  <a:lnTo>
                    <a:pt x="144" y="200"/>
                  </a:lnTo>
                  <a:close/>
                  <a:moveTo>
                    <a:pt x="167" y="70"/>
                  </a:moveTo>
                  <a:cubicBezTo>
                    <a:pt x="126" y="70"/>
                    <a:pt x="126" y="70"/>
                    <a:pt x="126" y="70"/>
                  </a:cubicBezTo>
                  <a:cubicBezTo>
                    <a:pt x="166" y="12"/>
                    <a:pt x="166" y="12"/>
                    <a:pt x="166" y="12"/>
                  </a:cubicBezTo>
                  <a:cubicBezTo>
                    <a:pt x="166" y="0"/>
                    <a:pt x="166" y="0"/>
                    <a:pt x="166" y="0"/>
                  </a:cubicBezTo>
                  <a:cubicBezTo>
                    <a:pt x="106" y="0"/>
                    <a:pt x="106" y="0"/>
                    <a:pt x="106" y="0"/>
                  </a:cubicBezTo>
                  <a:cubicBezTo>
                    <a:pt x="106" y="15"/>
                    <a:pt x="106" y="15"/>
                    <a:pt x="106" y="15"/>
                  </a:cubicBezTo>
                  <a:cubicBezTo>
                    <a:pt x="145" y="15"/>
                    <a:pt x="145" y="15"/>
                    <a:pt x="145" y="15"/>
                  </a:cubicBezTo>
                  <a:cubicBezTo>
                    <a:pt x="105" y="73"/>
                    <a:pt x="105" y="73"/>
                    <a:pt x="105" y="73"/>
                  </a:cubicBezTo>
                  <a:cubicBezTo>
                    <a:pt x="105" y="85"/>
                    <a:pt x="105" y="85"/>
                    <a:pt x="105" y="85"/>
                  </a:cubicBezTo>
                  <a:cubicBezTo>
                    <a:pt x="167" y="85"/>
                    <a:pt x="167" y="85"/>
                    <a:pt x="167" y="85"/>
                  </a:cubicBezTo>
                  <a:lnTo>
                    <a:pt x="167" y="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6" name="Freeform 142">
            <a:extLst>
              <a:ext uri="{FF2B5EF4-FFF2-40B4-BE49-F238E27FC236}">
                <a16:creationId xmlns:a16="http://schemas.microsoft.com/office/drawing/2014/main" id="{29B2B80E-FDC0-434C-AA84-CB2AB6AB9FD9}"/>
              </a:ext>
            </a:extLst>
          </p:cNvPr>
          <p:cNvSpPr>
            <a:spLocks noChangeAspect="1" noEditPoints="1"/>
          </p:cNvSpPr>
          <p:nvPr/>
        </p:nvSpPr>
        <p:spPr bwMode="auto">
          <a:xfrm>
            <a:off x="1343266" y="2527810"/>
            <a:ext cx="369676" cy="369676"/>
          </a:xfrm>
          <a:custGeom>
            <a:avLst/>
            <a:gdLst>
              <a:gd name="T0" fmla="*/ 298 w 512"/>
              <a:gd name="T1" fmla="*/ 307 h 512"/>
              <a:gd name="T2" fmla="*/ 307 w 512"/>
              <a:gd name="T3" fmla="*/ 338 h 512"/>
              <a:gd name="T4" fmla="*/ 286 w 512"/>
              <a:gd name="T5" fmla="*/ 338 h 512"/>
              <a:gd name="T6" fmla="*/ 296 w 512"/>
              <a:gd name="T7" fmla="*/ 301 h 512"/>
              <a:gd name="T8" fmla="*/ 298 w 512"/>
              <a:gd name="T9" fmla="*/ 30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37 w 512"/>
              <a:gd name="T21" fmla="*/ 327 h 512"/>
              <a:gd name="T22" fmla="*/ 222 w 512"/>
              <a:gd name="T23" fmla="*/ 327 h 512"/>
              <a:gd name="T24" fmla="*/ 213 w 512"/>
              <a:gd name="T25" fmla="*/ 337 h 512"/>
              <a:gd name="T26" fmla="*/ 213 w 512"/>
              <a:gd name="T27" fmla="*/ 149 h 512"/>
              <a:gd name="T28" fmla="*/ 202 w 512"/>
              <a:gd name="T29" fmla="*/ 138 h 512"/>
              <a:gd name="T30" fmla="*/ 192 w 512"/>
              <a:gd name="T31" fmla="*/ 149 h 512"/>
              <a:gd name="T32" fmla="*/ 192 w 512"/>
              <a:gd name="T33" fmla="*/ 337 h 512"/>
              <a:gd name="T34" fmla="*/ 182 w 512"/>
              <a:gd name="T35" fmla="*/ 327 h 512"/>
              <a:gd name="T36" fmla="*/ 167 w 512"/>
              <a:gd name="T37" fmla="*/ 327 h 512"/>
              <a:gd name="T38" fmla="*/ 167 w 512"/>
              <a:gd name="T39" fmla="*/ 342 h 512"/>
              <a:gd name="T40" fmla="*/ 195 w 512"/>
              <a:gd name="T41" fmla="*/ 370 h 512"/>
              <a:gd name="T42" fmla="*/ 198 w 512"/>
              <a:gd name="T43" fmla="*/ 372 h 512"/>
              <a:gd name="T44" fmla="*/ 202 w 512"/>
              <a:gd name="T45" fmla="*/ 373 h 512"/>
              <a:gd name="T46" fmla="*/ 206 w 512"/>
              <a:gd name="T47" fmla="*/ 372 h 512"/>
              <a:gd name="T48" fmla="*/ 210 w 512"/>
              <a:gd name="T49" fmla="*/ 370 h 512"/>
              <a:gd name="T50" fmla="*/ 237 w 512"/>
              <a:gd name="T51" fmla="*/ 342 h 512"/>
              <a:gd name="T52" fmla="*/ 237 w 512"/>
              <a:gd name="T53" fmla="*/ 327 h 512"/>
              <a:gd name="T54" fmla="*/ 268 w 512"/>
              <a:gd name="T55" fmla="*/ 223 h 512"/>
              <a:gd name="T56" fmla="*/ 330 w 512"/>
              <a:gd name="T57" fmla="*/ 223 h 512"/>
              <a:gd name="T58" fmla="*/ 330 w 512"/>
              <a:gd name="T59" fmla="*/ 208 h 512"/>
              <a:gd name="T60" fmla="*/ 289 w 512"/>
              <a:gd name="T61" fmla="*/ 208 h 512"/>
              <a:gd name="T62" fmla="*/ 329 w 512"/>
              <a:gd name="T63" fmla="*/ 150 h 512"/>
              <a:gd name="T64" fmla="*/ 329 w 512"/>
              <a:gd name="T65" fmla="*/ 138 h 512"/>
              <a:gd name="T66" fmla="*/ 269 w 512"/>
              <a:gd name="T67" fmla="*/ 138 h 512"/>
              <a:gd name="T68" fmla="*/ 269 w 512"/>
              <a:gd name="T69" fmla="*/ 153 h 512"/>
              <a:gd name="T70" fmla="*/ 308 w 512"/>
              <a:gd name="T71" fmla="*/ 153 h 512"/>
              <a:gd name="T72" fmla="*/ 268 w 512"/>
              <a:gd name="T73" fmla="*/ 211 h 512"/>
              <a:gd name="T74" fmla="*/ 268 w 512"/>
              <a:gd name="T75" fmla="*/ 223 h 512"/>
              <a:gd name="T76" fmla="*/ 337 w 512"/>
              <a:gd name="T77" fmla="*/ 373 h 512"/>
              <a:gd name="T78" fmla="*/ 307 w 512"/>
              <a:gd name="T79" fmla="*/ 288 h 512"/>
              <a:gd name="T80" fmla="*/ 285 w 512"/>
              <a:gd name="T81" fmla="*/ 288 h 512"/>
              <a:gd name="T82" fmla="*/ 256 w 512"/>
              <a:gd name="T83" fmla="*/ 373 h 512"/>
              <a:gd name="T84" fmla="*/ 275 w 512"/>
              <a:gd name="T85" fmla="*/ 373 h 512"/>
              <a:gd name="T86" fmla="*/ 281 w 512"/>
              <a:gd name="T87" fmla="*/ 353 h 512"/>
              <a:gd name="T88" fmla="*/ 312 w 512"/>
              <a:gd name="T89" fmla="*/ 353 h 512"/>
              <a:gd name="T90" fmla="*/ 318 w 512"/>
              <a:gd name="T91" fmla="*/ 373 h 512"/>
              <a:gd name="T92" fmla="*/ 337 w 512"/>
              <a:gd name="T9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98" y="307"/>
                </a:moveTo>
                <a:cubicBezTo>
                  <a:pt x="299" y="309"/>
                  <a:pt x="302" y="320"/>
                  <a:pt x="307" y="338"/>
                </a:cubicBezTo>
                <a:cubicBezTo>
                  <a:pt x="286" y="338"/>
                  <a:pt x="286" y="338"/>
                  <a:pt x="286" y="338"/>
                </a:cubicBezTo>
                <a:cubicBezTo>
                  <a:pt x="292" y="319"/>
                  <a:pt x="295" y="306"/>
                  <a:pt x="296" y="301"/>
                </a:cubicBezTo>
                <a:cubicBezTo>
                  <a:pt x="297" y="303"/>
                  <a:pt x="297" y="305"/>
                  <a:pt x="298" y="30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7" y="327"/>
                </a:moveTo>
                <a:cubicBezTo>
                  <a:pt x="233" y="323"/>
                  <a:pt x="227" y="323"/>
                  <a:pt x="222" y="327"/>
                </a:cubicBezTo>
                <a:cubicBezTo>
                  <a:pt x="213" y="337"/>
                  <a:pt x="213" y="337"/>
                  <a:pt x="213" y="337"/>
                </a:cubicBezTo>
                <a:cubicBezTo>
                  <a:pt x="213" y="149"/>
                  <a:pt x="213" y="149"/>
                  <a:pt x="213" y="149"/>
                </a:cubicBezTo>
                <a:cubicBezTo>
                  <a:pt x="213" y="143"/>
                  <a:pt x="208" y="138"/>
                  <a:pt x="202" y="138"/>
                </a:cubicBezTo>
                <a:cubicBezTo>
                  <a:pt x="196" y="138"/>
                  <a:pt x="192" y="143"/>
                  <a:pt x="192" y="149"/>
                </a:cubicBezTo>
                <a:cubicBezTo>
                  <a:pt x="192" y="337"/>
                  <a:pt x="192" y="337"/>
                  <a:pt x="192" y="337"/>
                </a:cubicBezTo>
                <a:cubicBezTo>
                  <a:pt x="182" y="327"/>
                  <a:pt x="182" y="327"/>
                  <a:pt x="182" y="327"/>
                </a:cubicBezTo>
                <a:cubicBezTo>
                  <a:pt x="178" y="323"/>
                  <a:pt x="171" y="323"/>
                  <a:pt x="167" y="327"/>
                </a:cubicBezTo>
                <a:cubicBezTo>
                  <a:pt x="163" y="331"/>
                  <a:pt x="163" y="338"/>
                  <a:pt x="167" y="342"/>
                </a:cubicBezTo>
                <a:cubicBezTo>
                  <a:pt x="195" y="370"/>
                  <a:pt x="195" y="370"/>
                  <a:pt x="195" y="370"/>
                </a:cubicBezTo>
                <a:cubicBezTo>
                  <a:pt x="196" y="371"/>
                  <a:pt x="197" y="372"/>
                  <a:pt x="198" y="372"/>
                </a:cubicBezTo>
                <a:cubicBezTo>
                  <a:pt x="200" y="373"/>
                  <a:pt x="201" y="373"/>
                  <a:pt x="202" y="373"/>
                </a:cubicBezTo>
                <a:cubicBezTo>
                  <a:pt x="204" y="373"/>
                  <a:pt x="205" y="373"/>
                  <a:pt x="206" y="372"/>
                </a:cubicBezTo>
                <a:cubicBezTo>
                  <a:pt x="208" y="372"/>
                  <a:pt x="209" y="371"/>
                  <a:pt x="210" y="370"/>
                </a:cubicBezTo>
                <a:cubicBezTo>
                  <a:pt x="237" y="342"/>
                  <a:pt x="237" y="342"/>
                  <a:pt x="237" y="342"/>
                </a:cubicBezTo>
                <a:cubicBezTo>
                  <a:pt x="242" y="338"/>
                  <a:pt x="242" y="331"/>
                  <a:pt x="237" y="327"/>
                </a:cubicBezTo>
                <a:close/>
                <a:moveTo>
                  <a:pt x="268" y="223"/>
                </a:moveTo>
                <a:cubicBezTo>
                  <a:pt x="330" y="223"/>
                  <a:pt x="330" y="223"/>
                  <a:pt x="330" y="223"/>
                </a:cubicBezTo>
                <a:cubicBezTo>
                  <a:pt x="330" y="208"/>
                  <a:pt x="330" y="208"/>
                  <a:pt x="330" y="208"/>
                </a:cubicBezTo>
                <a:cubicBezTo>
                  <a:pt x="289" y="208"/>
                  <a:pt x="289" y="208"/>
                  <a:pt x="289" y="208"/>
                </a:cubicBezTo>
                <a:cubicBezTo>
                  <a:pt x="329" y="150"/>
                  <a:pt x="329" y="150"/>
                  <a:pt x="329" y="150"/>
                </a:cubicBezTo>
                <a:cubicBezTo>
                  <a:pt x="329" y="138"/>
                  <a:pt x="329" y="138"/>
                  <a:pt x="329" y="138"/>
                </a:cubicBezTo>
                <a:cubicBezTo>
                  <a:pt x="269" y="138"/>
                  <a:pt x="269" y="138"/>
                  <a:pt x="269" y="138"/>
                </a:cubicBezTo>
                <a:cubicBezTo>
                  <a:pt x="269" y="153"/>
                  <a:pt x="269" y="153"/>
                  <a:pt x="269" y="153"/>
                </a:cubicBezTo>
                <a:cubicBezTo>
                  <a:pt x="308" y="153"/>
                  <a:pt x="308" y="153"/>
                  <a:pt x="308" y="153"/>
                </a:cubicBezTo>
                <a:cubicBezTo>
                  <a:pt x="268" y="211"/>
                  <a:pt x="268" y="211"/>
                  <a:pt x="268" y="211"/>
                </a:cubicBezTo>
                <a:lnTo>
                  <a:pt x="268" y="223"/>
                </a:lnTo>
                <a:close/>
                <a:moveTo>
                  <a:pt x="337" y="373"/>
                </a:moveTo>
                <a:cubicBezTo>
                  <a:pt x="307" y="288"/>
                  <a:pt x="307" y="288"/>
                  <a:pt x="307" y="288"/>
                </a:cubicBezTo>
                <a:cubicBezTo>
                  <a:pt x="285" y="288"/>
                  <a:pt x="285" y="288"/>
                  <a:pt x="285" y="288"/>
                </a:cubicBezTo>
                <a:cubicBezTo>
                  <a:pt x="256" y="373"/>
                  <a:pt x="256" y="373"/>
                  <a:pt x="256" y="373"/>
                </a:cubicBezTo>
                <a:cubicBezTo>
                  <a:pt x="275" y="373"/>
                  <a:pt x="275" y="373"/>
                  <a:pt x="275" y="373"/>
                </a:cubicBezTo>
                <a:cubicBezTo>
                  <a:pt x="281" y="353"/>
                  <a:pt x="281" y="353"/>
                  <a:pt x="281" y="353"/>
                </a:cubicBezTo>
                <a:cubicBezTo>
                  <a:pt x="312" y="353"/>
                  <a:pt x="312" y="353"/>
                  <a:pt x="312" y="353"/>
                </a:cubicBezTo>
                <a:cubicBezTo>
                  <a:pt x="318" y="373"/>
                  <a:pt x="318" y="373"/>
                  <a:pt x="318" y="373"/>
                </a:cubicBezTo>
                <a:lnTo>
                  <a:pt x="337"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17" name="Group 145">
            <a:extLst>
              <a:ext uri="{FF2B5EF4-FFF2-40B4-BE49-F238E27FC236}">
                <a16:creationId xmlns:a16="http://schemas.microsoft.com/office/drawing/2014/main" id="{6844D645-888C-4851-B211-DDD9BA973D39}"/>
              </a:ext>
            </a:extLst>
          </p:cNvPr>
          <p:cNvGrpSpPr>
            <a:grpSpLocks noChangeAspect="1"/>
          </p:cNvGrpSpPr>
          <p:nvPr/>
        </p:nvGrpSpPr>
        <p:grpSpPr bwMode="auto">
          <a:xfrm>
            <a:off x="906583" y="2527810"/>
            <a:ext cx="369676" cy="369676"/>
            <a:chOff x="3490" y="388"/>
            <a:chExt cx="340" cy="340"/>
          </a:xfrm>
          <a:solidFill>
            <a:schemeClr val="accent2"/>
          </a:solidFill>
        </p:grpSpPr>
        <p:sp>
          <p:nvSpPr>
            <p:cNvPr id="218" name="Freeform 146">
              <a:extLst>
                <a:ext uri="{FF2B5EF4-FFF2-40B4-BE49-F238E27FC236}">
                  <a16:creationId xmlns:a16="http://schemas.microsoft.com/office/drawing/2014/main" id="{3CAB55AE-2081-43EF-AB4F-43ACBB83131A}"/>
                </a:ext>
              </a:extLst>
            </p:cNvPr>
            <p:cNvSpPr>
              <a:spLocks noEditPoints="1"/>
            </p:cNvSpPr>
            <p:nvPr/>
          </p:nvSpPr>
          <p:spPr bwMode="auto">
            <a:xfrm>
              <a:off x="3490" y="3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9" name="Freeform 147">
              <a:extLst>
                <a:ext uri="{FF2B5EF4-FFF2-40B4-BE49-F238E27FC236}">
                  <a16:creationId xmlns:a16="http://schemas.microsoft.com/office/drawing/2014/main" id="{19010708-6F53-4774-AB68-08559DF8781F}"/>
                </a:ext>
              </a:extLst>
            </p:cNvPr>
            <p:cNvSpPr>
              <a:spLocks noEditPoints="1"/>
            </p:cNvSpPr>
            <p:nvPr/>
          </p:nvSpPr>
          <p:spPr bwMode="auto">
            <a:xfrm>
              <a:off x="3598" y="480"/>
              <a:ext cx="116" cy="156"/>
            </a:xfrm>
            <a:custGeom>
              <a:avLst/>
              <a:gdLst>
                <a:gd name="T0" fmla="*/ 74 w 174"/>
                <a:gd name="T1" fmla="*/ 189 h 235"/>
                <a:gd name="T2" fmla="*/ 74 w 174"/>
                <a:gd name="T3" fmla="*/ 204 h 235"/>
                <a:gd name="T4" fmla="*/ 47 w 174"/>
                <a:gd name="T5" fmla="*/ 232 h 235"/>
                <a:gd name="T6" fmla="*/ 43 w 174"/>
                <a:gd name="T7" fmla="*/ 234 h 235"/>
                <a:gd name="T8" fmla="*/ 39 w 174"/>
                <a:gd name="T9" fmla="*/ 235 h 235"/>
                <a:gd name="T10" fmla="*/ 35 w 174"/>
                <a:gd name="T11" fmla="*/ 234 h 235"/>
                <a:gd name="T12" fmla="*/ 32 w 174"/>
                <a:gd name="T13" fmla="*/ 232 h 235"/>
                <a:gd name="T14" fmla="*/ 4 w 174"/>
                <a:gd name="T15" fmla="*/ 204 h 235"/>
                <a:gd name="T16" fmla="*/ 4 w 174"/>
                <a:gd name="T17" fmla="*/ 189 h 235"/>
                <a:gd name="T18" fmla="*/ 19 w 174"/>
                <a:gd name="T19" fmla="*/ 189 h 235"/>
                <a:gd name="T20" fmla="*/ 29 w 174"/>
                <a:gd name="T21" fmla="*/ 199 h 235"/>
                <a:gd name="T22" fmla="*/ 29 w 174"/>
                <a:gd name="T23" fmla="*/ 11 h 235"/>
                <a:gd name="T24" fmla="*/ 39 w 174"/>
                <a:gd name="T25" fmla="*/ 0 h 235"/>
                <a:gd name="T26" fmla="*/ 50 w 174"/>
                <a:gd name="T27" fmla="*/ 11 h 235"/>
                <a:gd name="T28" fmla="*/ 50 w 174"/>
                <a:gd name="T29" fmla="*/ 199 h 235"/>
                <a:gd name="T30" fmla="*/ 59 w 174"/>
                <a:gd name="T31" fmla="*/ 189 h 235"/>
                <a:gd name="T32" fmla="*/ 74 w 174"/>
                <a:gd name="T33" fmla="*/ 189 h 235"/>
                <a:gd name="T34" fmla="*/ 112 w 174"/>
                <a:gd name="T35" fmla="*/ 85 h 235"/>
                <a:gd name="T36" fmla="*/ 93 w 174"/>
                <a:gd name="T37" fmla="*/ 85 h 235"/>
                <a:gd name="T38" fmla="*/ 122 w 174"/>
                <a:gd name="T39" fmla="*/ 0 h 235"/>
                <a:gd name="T40" fmla="*/ 144 w 174"/>
                <a:gd name="T41" fmla="*/ 0 h 235"/>
                <a:gd name="T42" fmla="*/ 174 w 174"/>
                <a:gd name="T43" fmla="*/ 85 h 235"/>
                <a:gd name="T44" fmla="*/ 155 w 174"/>
                <a:gd name="T45" fmla="*/ 85 h 235"/>
                <a:gd name="T46" fmla="*/ 149 w 174"/>
                <a:gd name="T47" fmla="*/ 65 h 235"/>
                <a:gd name="T48" fmla="*/ 118 w 174"/>
                <a:gd name="T49" fmla="*/ 65 h 235"/>
                <a:gd name="T50" fmla="*/ 112 w 174"/>
                <a:gd name="T51" fmla="*/ 85 h 235"/>
                <a:gd name="T52" fmla="*/ 123 w 174"/>
                <a:gd name="T53" fmla="*/ 50 h 235"/>
                <a:gd name="T54" fmla="*/ 144 w 174"/>
                <a:gd name="T55" fmla="*/ 50 h 235"/>
                <a:gd name="T56" fmla="*/ 135 w 174"/>
                <a:gd name="T57" fmla="*/ 19 h 235"/>
                <a:gd name="T58" fmla="*/ 133 w 174"/>
                <a:gd name="T59" fmla="*/ 14 h 235"/>
                <a:gd name="T60" fmla="*/ 123 w 174"/>
                <a:gd name="T61" fmla="*/ 50 h 235"/>
                <a:gd name="T62" fmla="*/ 166 w 174"/>
                <a:gd name="T63" fmla="*/ 162 h 235"/>
                <a:gd name="T64" fmla="*/ 166 w 174"/>
                <a:gd name="T65" fmla="*/ 151 h 235"/>
                <a:gd name="T66" fmla="*/ 106 w 174"/>
                <a:gd name="T67" fmla="*/ 151 h 235"/>
                <a:gd name="T68" fmla="*/ 106 w 174"/>
                <a:gd name="T69" fmla="*/ 165 h 235"/>
                <a:gd name="T70" fmla="*/ 145 w 174"/>
                <a:gd name="T71" fmla="*/ 165 h 235"/>
                <a:gd name="T72" fmla="*/ 105 w 174"/>
                <a:gd name="T73" fmla="*/ 223 h 235"/>
                <a:gd name="T74" fmla="*/ 105 w 174"/>
                <a:gd name="T75" fmla="*/ 235 h 235"/>
                <a:gd name="T76" fmla="*/ 167 w 174"/>
                <a:gd name="T77" fmla="*/ 235 h 235"/>
                <a:gd name="T78" fmla="*/ 167 w 174"/>
                <a:gd name="T79" fmla="*/ 220 h 235"/>
                <a:gd name="T80" fmla="*/ 126 w 174"/>
                <a:gd name="T81" fmla="*/ 220 h 235"/>
                <a:gd name="T82" fmla="*/ 166 w 174"/>
                <a:gd name="T83" fmla="*/ 16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4"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12" y="85"/>
                  </a:moveTo>
                  <a:cubicBezTo>
                    <a:pt x="93" y="85"/>
                    <a:pt x="93" y="85"/>
                    <a:pt x="93" y="85"/>
                  </a:cubicBezTo>
                  <a:cubicBezTo>
                    <a:pt x="122" y="0"/>
                    <a:pt x="122" y="0"/>
                    <a:pt x="122" y="0"/>
                  </a:cubicBezTo>
                  <a:cubicBezTo>
                    <a:pt x="144" y="0"/>
                    <a:pt x="144" y="0"/>
                    <a:pt x="144" y="0"/>
                  </a:cubicBezTo>
                  <a:cubicBezTo>
                    <a:pt x="174" y="85"/>
                    <a:pt x="174" y="85"/>
                    <a:pt x="174" y="85"/>
                  </a:cubicBezTo>
                  <a:cubicBezTo>
                    <a:pt x="155" y="85"/>
                    <a:pt x="155" y="85"/>
                    <a:pt x="155" y="85"/>
                  </a:cubicBezTo>
                  <a:cubicBezTo>
                    <a:pt x="149" y="65"/>
                    <a:pt x="149" y="65"/>
                    <a:pt x="149" y="65"/>
                  </a:cubicBezTo>
                  <a:cubicBezTo>
                    <a:pt x="118" y="65"/>
                    <a:pt x="118" y="65"/>
                    <a:pt x="118" y="65"/>
                  </a:cubicBezTo>
                  <a:lnTo>
                    <a:pt x="112" y="85"/>
                  </a:lnTo>
                  <a:close/>
                  <a:moveTo>
                    <a:pt x="123" y="50"/>
                  </a:moveTo>
                  <a:cubicBezTo>
                    <a:pt x="144" y="50"/>
                    <a:pt x="144" y="50"/>
                    <a:pt x="144" y="50"/>
                  </a:cubicBezTo>
                  <a:cubicBezTo>
                    <a:pt x="139" y="32"/>
                    <a:pt x="136" y="22"/>
                    <a:pt x="135" y="19"/>
                  </a:cubicBezTo>
                  <a:cubicBezTo>
                    <a:pt x="134" y="17"/>
                    <a:pt x="134" y="15"/>
                    <a:pt x="133" y="14"/>
                  </a:cubicBezTo>
                  <a:cubicBezTo>
                    <a:pt x="132" y="18"/>
                    <a:pt x="129" y="31"/>
                    <a:pt x="123" y="50"/>
                  </a:cubicBezTo>
                  <a:close/>
                  <a:moveTo>
                    <a:pt x="166" y="162"/>
                  </a:moveTo>
                  <a:cubicBezTo>
                    <a:pt x="166" y="151"/>
                    <a:pt x="166" y="151"/>
                    <a:pt x="166" y="151"/>
                  </a:cubicBezTo>
                  <a:cubicBezTo>
                    <a:pt x="106" y="151"/>
                    <a:pt x="106" y="151"/>
                    <a:pt x="106" y="151"/>
                  </a:cubicBezTo>
                  <a:cubicBezTo>
                    <a:pt x="106" y="165"/>
                    <a:pt x="106" y="165"/>
                    <a:pt x="106" y="165"/>
                  </a:cubicBezTo>
                  <a:cubicBezTo>
                    <a:pt x="145" y="165"/>
                    <a:pt x="145" y="165"/>
                    <a:pt x="145" y="165"/>
                  </a:cubicBezTo>
                  <a:cubicBezTo>
                    <a:pt x="105" y="223"/>
                    <a:pt x="105" y="223"/>
                    <a:pt x="105" y="223"/>
                  </a:cubicBezTo>
                  <a:cubicBezTo>
                    <a:pt x="105" y="235"/>
                    <a:pt x="105" y="235"/>
                    <a:pt x="105" y="235"/>
                  </a:cubicBezTo>
                  <a:cubicBezTo>
                    <a:pt x="167" y="235"/>
                    <a:pt x="167" y="235"/>
                    <a:pt x="167" y="235"/>
                  </a:cubicBezTo>
                  <a:cubicBezTo>
                    <a:pt x="167" y="220"/>
                    <a:pt x="167" y="220"/>
                    <a:pt x="167" y="220"/>
                  </a:cubicBezTo>
                  <a:cubicBezTo>
                    <a:pt x="126" y="220"/>
                    <a:pt x="126" y="220"/>
                    <a:pt x="126" y="220"/>
                  </a:cubicBezTo>
                  <a:lnTo>
                    <a:pt x="16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0" name="Freeform 151">
            <a:extLst>
              <a:ext uri="{FF2B5EF4-FFF2-40B4-BE49-F238E27FC236}">
                <a16:creationId xmlns:a16="http://schemas.microsoft.com/office/drawing/2014/main" id="{B4041A0C-657C-4EF2-A963-286C70C814D4}"/>
              </a:ext>
            </a:extLst>
          </p:cNvPr>
          <p:cNvSpPr>
            <a:spLocks noChangeAspect="1" noEditPoints="1"/>
          </p:cNvSpPr>
          <p:nvPr/>
        </p:nvSpPr>
        <p:spPr bwMode="auto">
          <a:xfrm>
            <a:off x="469900" y="2527810"/>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7 w 512"/>
              <a:gd name="T11" fmla="*/ 342 h 512"/>
              <a:gd name="T12" fmla="*/ 210 w 512"/>
              <a:gd name="T13" fmla="*/ 370 h 512"/>
              <a:gd name="T14" fmla="*/ 206 w 512"/>
              <a:gd name="T15" fmla="*/ 372 h 512"/>
              <a:gd name="T16" fmla="*/ 202 w 512"/>
              <a:gd name="T17" fmla="*/ 373 h 512"/>
              <a:gd name="T18" fmla="*/ 198 w 512"/>
              <a:gd name="T19" fmla="*/ 372 h 512"/>
              <a:gd name="T20" fmla="*/ 195 w 512"/>
              <a:gd name="T21" fmla="*/ 370 h 512"/>
              <a:gd name="T22" fmla="*/ 167 w 512"/>
              <a:gd name="T23" fmla="*/ 342 h 512"/>
              <a:gd name="T24" fmla="*/ 167 w 512"/>
              <a:gd name="T25" fmla="*/ 327 h 512"/>
              <a:gd name="T26" fmla="*/ 182 w 512"/>
              <a:gd name="T27" fmla="*/ 327 h 512"/>
              <a:gd name="T28" fmla="*/ 192 w 512"/>
              <a:gd name="T29" fmla="*/ 337 h 512"/>
              <a:gd name="T30" fmla="*/ 192 w 512"/>
              <a:gd name="T31" fmla="*/ 149 h 512"/>
              <a:gd name="T32" fmla="*/ 202 w 512"/>
              <a:gd name="T33" fmla="*/ 138 h 512"/>
              <a:gd name="T34" fmla="*/ 213 w 512"/>
              <a:gd name="T35" fmla="*/ 149 h 512"/>
              <a:gd name="T36" fmla="*/ 213 w 512"/>
              <a:gd name="T37" fmla="*/ 337 h 512"/>
              <a:gd name="T38" fmla="*/ 222 w 512"/>
              <a:gd name="T39" fmla="*/ 327 h 512"/>
              <a:gd name="T40" fmla="*/ 237 w 512"/>
              <a:gd name="T41" fmla="*/ 327 h 512"/>
              <a:gd name="T42" fmla="*/ 237 w 512"/>
              <a:gd name="T43" fmla="*/ 342 h 512"/>
              <a:gd name="T44" fmla="*/ 330 w 512"/>
              <a:gd name="T45" fmla="*/ 373 h 512"/>
              <a:gd name="T46" fmla="*/ 268 w 512"/>
              <a:gd name="T47" fmla="*/ 373 h 512"/>
              <a:gd name="T48" fmla="*/ 268 w 512"/>
              <a:gd name="T49" fmla="*/ 361 h 512"/>
              <a:gd name="T50" fmla="*/ 308 w 512"/>
              <a:gd name="T51" fmla="*/ 303 h 512"/>
              <a:gd name="T52" fmla="*/ 269 w 512"/>
              <a:gd name="T53" fmla="*/ 303 h 512"/>
              <a:gd name="T54" fmla="*/ 269 w 512"/>
              <a:gd name="T55" fmla="*/ 289 h 512"/>
              <a:gd name="T56" fmla="*/ 329 w 512"/>
              <a:gd name="T57" fmla="*/ 289 h 512"/>
              <a:gd name="T58" fmla="*/ 329 w 512"/>
              <a:gd name="T59" fmla="*/ 300 h 512"/>
              <a:gd name="T60" fmla="*/ 289 w 512"/>
              <a:gd name="T61" fmla="*/ 358 h 512"/>
              <a:gd name="T62" fmla="*/ 330 w 512"/>
              <a:gd name="T63" fmla="*/ 358 h 512"/>
              <a:gd name="T64" fmla="*/ 330 w 512"/>
              <a:gd name="T65" fmla="*/ 373 h 512"/>
              <a:gd name="T66" fmla="*/ 318 w 512"/>
              <a:gd name="T67" fmla="*/ 223 h 512"/>
              <a:gd name="T68" fmla="*/ 312 w 512"/>
              <a:gd name="T69" fmla="*/ 203 h 512"/>
              <a:gd name="T70" fmla="*/ 281 w 512"/>
              <a:gd name="T71" fmla="*/ 203 h 512"/>
              <a:gd name="T72" fmla="*/ 275 w 512"/>
              <a:gd name="T73" fmla="*/ 223 h 512"/>
              <a:gd name="T74" fmla="*/ 256 w 512"/>
              <a:gd name="T75" fmla="*/ 223 h 512"/>
              <a:gd name="T76" fmla="*/ 285 w 512"/>
              <a:gd name="T77" fmla="*/ 138 h 512"/>
              <a:gd name="T78" fmla="*/ 307 w 512"/>
              <a:gd name="T79" fmla="*/ 138 h 512"/>
              <a:gd name="T80" fmla="*/ 337 w 512"/>
              <a:gd name="T81" fmla="*/ 223 h 512"/>
              <a:gd name="T82" fmla="*/ 318 w 512"/>
              <a:gd name="T83" fmla="*/ 223 h 512"/>
              <a:gd name="T84" fmla="*/ 298 w 512"/>
              <a:gd name="T85" fmla="*/ 157 h 512"/>
              <a:gd name="T86" fmla="*/ 307 w 512"/>
              <a:gd name="T87" fmla="*/ 188 h 512"/>
              <a:gd name="T88" fmla="*/ 286 w 512"/>
              <a:gd name="T89" fmla="*/ 188 h 512"/>
              <a:gd name="T90" fmla="*/ 296 w 512"/>
              <a:gd name="T91" fmla="*/ 152 h 512"/>
              <a:gd name="T92" fmla="*/ 298 w 512"/>
              <a:gd name="T93"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330" y="373"/>
                </a:moveTo>
                <a:cubicBezTo>
                  <a:pt x="268" y="373"/>
                  <a:pt x="268" y="373"/>
                  <a:pt x="268" y="373"/>
                </a:cubicBezTo>
                <a:cubicBezTo>
                  <a:pt x="268" y="361"/>
                  <a:pt x="268" y="361"/>
                  <a:pt x="268" y="361"/>
                </a:cubicBezTo>
                <a:cubicBezTo>
                  <a:pt x="308" y="303"/>
                  <a:pt x="308" y="303"/>
                  <a:pt x="308" y="303"/>
                </a:cubicBezTo>
                <a:cubicBezTo>
                  <a:pt x="269" y="303"/>
                  <a:pt x="269" y="303"/>
                  <a:pt x="269" y="303"/>
                </a:cubicBezTo>
                <a:cubicBezTo>
                  <a:pt x="269" y="289"/>
                  <a:pt x="269" y="289"/>
                  <a:pt x="269" y="289"/>
                </a:cubicBezTo>
                <a:cubicBezTo>
                  <a:pt x="329" y="289"/>
                  <a:pt x="329" y="289"/>
                  <a:pt x="329" y="289"/>
                </a:cubicBezTo>
                <a:cubicBezTo>
                  <a:pt x="329" y="300"/>
                  <a:pt x="329" y="300"/>
                  <a:pt x="329" y="300"/>
                </a:cubicBezTo>
                <a:cubicBezTo>
                  <a:pt x="289" y="358"/>
                  <a:pt x="289" y="358"/>
                  <a:pt x="289" y="358"/>
                </a:cubicBezTo>
                <a:cubicBezTo>
                  <a:pt x="330" y="358"/>
                  <a:pt x="330" y="358"/>
                  <a:pt x="330" y="358"/>
                </a:cubicBezTo>
                <a:lnTo>
                  <a:pt x="330" y="373"/>
                </a:lnTo>
                <a:close/>
                <a:moveTo>
                  <a:pt x="318" y="223"/>
                </a:moveTo>
                <a:cubicBezTo>
                  <a:pt x="312" y="203"/>
                  <a:pt x="312" y="203"/>
                  <a:pt x="312" y="203"/>
                </a:cubicBezTo>
                <a:cubicBezTo>
                  <a:pt x="281" y="203"/>
                  <a:pt x="281" y="203"/>
                  <a:pt x="281" y="203"/>
                </a:cubicBezTo>
                <a:cubicBezTo>
                  <a:pt x="275" y="223"/>
                  <a:pt x="275" y="223"/>
                  <a:pt x="275" y="223"/>
                </a:cubicBezTo>
                <a:cubicBezTo>
                  <a:pt x="256" y="223"/>
                  <a:pt x="256" y="223"/>
                  <a:pt x="256" y="223"/>
                </a:cubicBezTo>
                <a:cubicBezTo>
                  <a:pt x="285" y="138"/>
                  <a:pt x="285" y="138"/>
                  <a:pt x="285" y="138"/>
                </a:cubicBezTo>
                <a:cubicBezTo>
                  <a:pt x="307" y="138"/>
                  <a:pt x="307" y="138"/>
                  <a:pt x="307" y="138"/>
                </a:cubicBezTo>
                <a:cubicBezTo>
                  <a:pt x="337" y="223"/>
                  <a:pt x="337" y="223"/>
                  <a:pt x="337" y="223"/>
                </a:cubicBezTo>
                <a:lnTo>
                  <a:pt x="318" y="223"/>
                </a:lnTo>
                <a:close/>
                <a:moveTo>
                  <a:pt x="298" y="157"/>
                </a:moveTo>
                <a:cubicBezTo>
                  <a:pt x="299" y="160"/>
                  <a:pt x="302" y="170"/>
                  <a:pt x="307" y="188"/>
                </a:cubicBezTo>
                <a:cubicBezTo>
                  <a:pt x="286" y="188"/>
                  <a:pt x="286" y="188"/>
                  <a:pt x="286" y="188"/>
                </a:cubicBezTo>
                <a:cubicBezTo>
                  <a:pt x="292" y="169"/>
                  <a:pt x="295" y="156"/>
                  <a:pt x="296" y="152"/>
                </a:cubicBezTo>
                <a:cubicBezTo>
                  <a:pt x="297" y="153"/>
                  <a:pt x="297" y="155"/>
                  <a:pt x="298" y="1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1" name="Group 266">
            <a:extLst>
              <a:ext uri="{FF2B5EF4-FFF2-40B4-BE49-F238E27FC236}">
                <a16:creationId xmlns:a16="http://schemas.microsoft.com/office/drawing/2014/main" id="{D90A107C-5D88-4E02-8F01-3FEEAFFE7398}"/>
              </a:ext>
            </a:extLst>
          </p:cNvPr>
          <p:cNvGrpSpPr>
            <a:grpSpLocks noChangeAspect="1"/>
          </p:cNvGrpSpPr>
          <p:nvPr/>
        </p:nvGrpSpPr>
        <p:grpSpPr bwMode="auto">
          <a:xfrm>
            <a:off x="6148954" y="2527810"/>
            <a:ext cx="369676" cy="369676"/>
            <a:chOff x="1926" y="792"/>
            <a:chExt cx="340" cy="340"/>
          </a:xfrm>
          <a:solidFill>
            <a:schemeClr val="accent3"/>
          </a:solidFill>
        </p:grpSpPr>
        <p:sp>
          <p:nvSpPr>
            <p:cNvPr id="222" name="Freeform 267">
              <a:extLst>
                <a:ext uri="{FF2B5EF4-FFF2-40B4-BE49-F238E27FC236}">
                  <a16:creationId xmlns:a16="http://schemas.microsoft.com/office/drawing/2014/main" id="{63B82B04-A385-45DA-AEF7-3908EF8903B3}"/>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3" name="Freeform 268">
              <a:extLst>
                <a:ext uri="{FF2B5EF4-FFF2-40B4-BE49-F238E27FC236}">
                  <a16:creationId xmlns:a16="http://schemas.microsoft.com/office/drawing/2014/main" id="{E5723353-844D-40C6-AE9F-ACDD1901F531}"/>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4" name="Freeform 272">
            <a:extLst>
              <a:ext uri="{FF2B5EF4-FFF2-40B4-BE49-F238E27FC236}">
                <a16:creationId xmlns:a16="http://schemas.microsoft.com/office/drawing/2014/main" id="{F596730D-D078-4DCC-A9C8-CBEC3E61A0A5}"/>
              </a:ext>
            </a:extLst>
          </p:cNvPr>
          <p:cNvSpPr>
            <a:spLocks noChangeAspect="1" noEditPoints="1"/>
          </p:cNvSpPr>
          <p:nvPr/>
        </p:nvSpPr>
        <p:spPr bwMode="auto">
          <a:xfrm>
            <a:off x="5712270" y="2527810"/>
            <a:ext cx="369676" cy="369676"/>
          </a:xfrm>
          <a:custGeom>
            <a:avLst/>
            <a:gdLst>
              <a:gd name="T0" fmla="*/ 160 w 512"/>
              <a:gd name="T1" fmla="*/ 245 h 512"/>
              <a:gd name="T2" fmla="*/ 181 w 512"/>
              <a:gd name="T3" fmla="*/ 224 h 512"/>
              <a:gd name="T4" fmla="*/ 202 w 512"/>
              <a:gd name="T5" fmla="*/ 245 h 512"/>
              <a:gd name="T6" fmla="*/ 181 w 512"/>
              <a:gd name="T7" fmla="*/ 266 h 512"/>
              <a:gd name="T8" fmla="*/ 160 w 512"/>
              <a:gd name="T9" fmla="*/ 24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38 w 512"/>
              <a:gd name="T21" fmla="*/ 245 h 512"/>
              <a:gd name="T22" fmla="*/ 181 w 512"/>
              <a:gd name="T23" fmla="*/ 288 h 512"/>
              <a:gd name="T24" fmla="*/ 224 w 512"/>
              <a:gd name="T25" fmla="*/ 245 h 512"/>
              <a:gd name="T26" fmla="*/ 181 w 512"/>
              <a:gd name="T27" fmla="*/ 202 h 512"/>
              <a:gd name="T28" fmla="*/ 138 w 512"/>
              <a:gd name="T29" fmla="*/ 245 h 512"/>
              <a:gd name="T30" fmla="*/ 256 w 512"/>
              <a:gd name="T31" fmla="*/ 320 h 512"/>
              <a:gd name="T32" fmla="*/ 245 w 512"/>
              <a:gd name="T33" fmla="*/ 309 h 512"/>
              <a:gd name="T34" fmla="*/ 117 w 512"/>
              <a:gd name="T35" fmla="*/ 309 h 512"/>
              <a:gd name="T36" fmla="*/ 106 w 512"/>
              <a:gd name="T37" fmla="*/ 320 h 512"/>
              <a:gd name="T38" fmla="*/ 106 w 512"/>
              <a:gd name="T39" fmla="*/ 352 h 512"/>
              <a:gd name="T40" fmla="*/ 117 w 512"/>
              <a:gd name="T41" fmla="*/ 362 h 512"/>
              <a:gd name="T42" fmla="*/ 128 w 512"/>
              <a:gd name="T43" fmla="*/ 352 h 512"/>
              <a:gd name="T44" fmla="*/ 128 w 512"/>
              <a:gd name="T45" fmla="*/ 330 h 512"/>
              <a:gd name="T46" fmla="*/ 234 w 512"/>
              <a:gd name="T47" fmla="*/ 330 h 512"/>
              <a:gd name="T48" fmla="*/ 234 w 512"/>
              <a:gd name="T49" fmla="*/ 352 h 512"/>
              <a:gd name="T50" fmla="*/ 245 w 512"/>
              <a:gd name="T51" fmla="*/ 362 h 512"/>
              <a:gd name="T52" fmla="*/ 256 w 512"/>
              <a:gd name="T53" fmla="*/ 352 h 512"/>
              <a:gd name="T54" fmla="*/ 256 w 512"/>
              <a:gd name="T55" fmla="*/ 320 h 512"/>
              <a:gd name="T56" fmla="*/ 288 w 512"/>
              <a:gd name="T57" fmla="*/ 244 h 512"/>
              <a:gd name="T58" fmla="*/ 277 w 512"/>
              <a:gd name="T59" fmla="*/ 215 h 512"/>
              <a:gd name="T60" fmla="*/ 262 w 512"/>
              <a:gd name="T61" fmla="*/ 215 h 512"/>
              <a:gd name="T62" fmla="*/ 261 w 512"/>
              <a:gd name="T63" fmla="*/ 230 h 512"/>
              <a:gd name="T64" fmla="*/ 267 w 512"/>
              <a:gd name="T65" fmla="*/ 244 h 512"/>
              <a:gd name="T66" fmla="*/ 261 w 512"/>
              <a:gd name="T67" fmla="*/ 258 h 512"/>
              <a:gd name="T68" fmla="*/ 262 w 512"/>
              <a:gd name="T69" fmla="*/ 274 h 512"/>
              <a:gd name="T70" fmla="*/ 269 w 512"/>
              <a:gd name="T71" fmla="*/ 276 h 512"/>
              <a:gd name="T72" fmla="*/ 277 w 512"/>
              <a:gd name="T73" fmla="*/ 273 h 512"/>
              <a:gd name="T74" fmla="*/ 288 w 512"/>
              <a:gd name="T75" fmla="*/ 244 h 512"/>
              <a:gd name="T76" fmla="*/ 345 w 512"/>
              <a:gd name="T77" fmla="*/ 244 h 512"/>
              <a:gd name="T78" fmla="*/ 310 w 512"/>
              <a:gd name="T79" fmla="*/ 172 h 512"/>
              <a:gd name="T80" fmla="*/ 295 w 512"/>
              <a:gd name="T81" fmla="*/ 173 h 512"/>
              <a:gd name="T82" fmla="*/ 296 w 512"/>
              <a:gd name="T83" fmla="*/ 188 h 512"/>
              <a:gd name="T84" fmla="*/ 323 w 512"/>
              <a:gd name="T85" fmla="*/ 244 h 512"/>
              <a:gd name="T86" fmla="*/ 296 w 512"/>
              <a:gd name="T87" fmla="*/ 301 h 512"/>
              <a:gd name="T88" fmla="*/ 295 w 512"/>
              <a:gd name="T89" fmla="*/ 316 h 512"/>
              <a:gd name="T90" fmla="*/ 303 w 512"/>
              <a:gd name="T91" fmla="*/ 319 h 512"/>
              <a:gd name="T92" fmla="*/ 310 w 512"/>
              <a:gd name="T93" fmla="*/ 317 h 512"/>
              <a:gd name="T94" fmla="*/ 345 w 512"/>
              <a:gd name="T95" fmla="*/ 244 h 512"/>
              <a:gd name="T96" fmla="*/ 401 w 512"/>
              <a:gd name="T97" fmla="*/ 244 h 512"/>
              <a:gd name="T98" fmla="*/ 344 w 512"/>
              <a:gd name="T99" fmla="*/ 128 h 512"/>
              <a:gd name="T100" fmla="*/ 329 w 512"/>
              <a:gd name="T101" fmla="*/ 130 h 512"/>
              <a:gd name="T102" fmla="*/ 331 w 512"/>
              <a:gd name="T103" fmla="*/ 145 h 512"/>
              <a:gd name="T104" fmla="*/ 380 w 512"/>
              <a:gd name="T105" fmla="*/ 244 h 512"/>
              <a:gd name="T106" fmla="*/ 331 w 512"/>
              <a:gd name="T107" fmla="*/ 343 h 512"/>
              <a:gd name="T108" fmla="*/ 329 w 512"/>
              <a:gd name="T109" fmla="*/ 358 h 512"/>
              <a:gd name="T110" fmla="*/ 337 w 512"/>
              <a:gd name="T111" fmla="*/ 362 h 512"/>
              <a:gd name="T112" fmla="*/ 344 w 512"/>
              <a:gd name="T113" fmla="*/ 360 h 512"/>
              <a:gd name="T114" fmla="*/ 401 w 512"/>
              <a:gd name="T115" fmla="*/ 24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5" name="Group 387">
            <a:extLst>
              <a:ext uri="{FF2B5EF4-FFF2-40B4-BE49-F238E27FC236}">
                <a16:creationId xmlns:a16="http://schemas.microsoft.com/office/drawing/2014/main" id="{AEC4A171-483A-4AA5-AF71-1AE004801378}"/>
              </a:ext>
            </a:extLst>
          </p:cNvPr>
          <p:cNvGrpSpPr>
            <a:grpSpLocks noChangeAspect="1"/>
          </p:cNvGrpSpPr>
          <p:nvPr/>
        </p:nvGrpSpPr>
        <p:grpSpPr bwMode="auto">
          <a:xfrm>
            <a:off x="7870433" y="1703642"/>
            <a:ext cx="369676" cy="369676"/>
            <a:chOff x="7354" y="1520"/>
            <a:chExt cx="340" cy="340"/>
          </a:xfrm>
          <a:solidFill>
            <a:schemeClr val="accent5"/>
          </a:solidFill>
        </p:grpSpPr>
        <p:sp>
          <p:nvSpPr>
            <p:cNvPr id="226" name="Freeform 388">
              <a:extLst>
                <a:ext uri="{FF2B5EF4-FFF2-40B4-BE49-F238E27FC236}">
                  <a16:creationId xmlns:a16="http://schemas.microsoft.com/office/drawing/2014/main" id="{7E212DC1-A664-41CD-88A8-9BA264FA7707}"/>
                </a:ext>
              </a:extLst>
            </p:cNvPr>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7" name="Freeform 389">
              <a:extLst>
                <a:ext uri="{FF2B5EF4-FFF2-40B4-BE49-F238E27FC236}">
                  <a16:creationId xmlns:a16="http://schemas.microsoft.com/office/drawing/2014/main" id="{99D3FBC2-2D92-41B6-8855-22561C20B202}"/>
                </a:ext>
              </a:extLst>
            </p:cNvPr>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8" name="Freeform 393">
            <a:extLst>
              <a:ext uri="{FF2B5EF4-FFF2-40B4-BE49-F238E27FC236}">
                <a16:creationId xmlns:a16="http://schemas.microsoft.com/office/drawing/2014/main" id="{4197BC37-FAE2-4ABF-A66A-E3C47EE87AE8}"/>
              </a:ext>
            </a:extLst>
          </p:cNvPr>
          <p:cNvSpPr>
            <a:spLocks noChangeAspect="1" noEditPoints="1"/>
          </p:cNvSpPr>
          <p:nvPr/>
        </p:nvSpPr>
        <p:spPr bwMode="auto">
          <a:xfrm>
            <a:off x="7435107" y="1702555"/>
            <a:ext cx="369676" cy="370763"/>
          </a:xfrm>
          <a:custGeom>
            <a:avLst/>
            <a:gdLst>
              <a:gd name="T0" fmla="*/ 117 w 512"/>
              <a:gd name="T1" fmla="*/ 170 h 512"/>
              <a:gd name="T2" fmla="*/ 149 w 512"/>
              <a:gd name="T3" fmla="*/ 170 h 512"/>
              <a:gd name="T4" fmla="*/ 149 w 512"/>
              <a:gd name="T5" fmla="*/ 202 h 512"/>
              <a:gd name="T6" fmla="*/ 117 w 512"/>
              <a:gd name="T7" fmla="*/ 202 h 512"/>
              <a:gd name="T8" fmla="*/ 117 w 512"/>
              <a:gd name="T9" fmla="*/ 170 h 512"/>
              <a:gd name="T10" fmla="*/ 117 w 512"/>
              <a:gd name="T11" fmla="*/ 341 h 512"/>
              <a:gd name="T12" fmla="*/ 149 w 512"/>
              <a:gd name="T13" fmla="*/ 341 h 512"/>
              <a:gd name="T14" fmla="*/ 149 w 512"/>
              <a:gd name="T15" fmla="*/ 309 h 512"/>
              <a:gd name="T16" fmla="*/ 117 w 512"/>
              <a:gd name="T17" fmla="*/ 309 h 512"/>
              <a:gd name="T18" fmla="*/ 117 w 512"/>
              <a:gd name="T19" fmla="*/ 34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70 w 512"/>
              <a:gd name="T31" fmla="*/ 298 h 512"/>
              <a:gd name="T32" fmla="*/ 160 w 512"/>
              <a:gd name="T33" fmla="*/ 288 h 512"/>
              <a:gd name="T34" fmla="*/ 106 w 512"/>
              <a:gd name="T35" fmla="*/ 288 h 512"/>
              <a:gd name="T36" fmla="*/ 96 w 512"/>
              <a:gd name="T37" fmla="*/ 298 h 512"/>
              <a:gd name="T38" fmla="*/ 96 w 512"/>
              <a:gd name="T39" fmla="*/ 352 h 512"/>
              <a:gd name="T40" fmla="*/ 106 w 512"/>
              <a:gd name="T41" fmla="*/ 362 h 512"/>
              <a:gd name="T42" fmla="*/ 160 w 512"/>
              <a:gd name="T43" fmla="*/ 362 h 512"/>
              <a:gd name="T44" fmla="*/ 170 w 512"/>
              <a:gd name="T45" fmla="*/ 352 h 512"/>
              <a:gd name="T46" fmla="*/ 170 w 512"/>
              <a:gd name="T47" fmla="*/ 298 h 512"/>
              <a:gd name="T48" fmla="*/ 170 w 512"/>
              <a:gd name="T49" fmla="*/ 160 h 512"/>
              <a:gd name="T50" fmla="*/ 160 w 512"/>
              <a:gd name="T51" fmla="*/ 149 h 512"/>
              <a:gd name="T52" fmla="*/ 106 w 512"/>
              <a:gd name="T53" fmla="*/ 149 h 512"/>
              <a:gd name="T54" fmla="*/ 96 w 512"/>
              <a:gd name="T55" fmla="*/ 160 h 512"/>
              <a:gd name="T56" fmla="*/ 96 w 512"/>
              <a:gd name="T57" fmla="*/ 213 h 512"/>
              <a:gd name="T58" fmla="*/ 106 w 512"/>
              <a:gd name="T59" fmla="*/ 224 h 512"/>
              <a:gd name="T60" fmla="*/ 160 w 512"/>
              <a:gd name="T61" fmla="*/ 224 h 512"/>
              <a:gd name="T62" fmla="*/ 170 w 512"/>
              <a:gd name="T63" fmla="*/ 213 h 512"/>
              <a:gd name="T64" fmla="*/ 170 w 512"/>
              <a:gd name="T65" fmla="*/ 160 h 512"/>
              <a:gd name="T66" fmla="*/ 416 w 512"/>
              <a:gd name="T67" fmla="*/ 352 h 512"/>
              <a:gd name="T68" fmla="*/ 405 w 512"/>
              <a:gd name="T69" fmla="*/ 341 h 512"/>
              <a:gd name="T70" fmla="*/ 224 w 512"/>
              <a:gd name="T71" fmla="*/ 341 h 512"/>
              <a:gd name="T72" fmla="*/ 213 w 512"/>
              <a:gd name="T73" fmla="*/ 352 h 512"/>
              <a:gd name="T74" fmla="*/ 224 w 512"/>
              <a:gd name="T75" fmla="*/ 362 h 512"/>
              <a:gd name="T76" fmla="*/ 405 w 512"/>
              <a:gd name="T77" fmla="*/ 362 h 512"/>
              <a:gd name="T78" fmla="*/ 416 w 512"/>
              <a:gd name="T79" fmla="*/ 352 h 512"/>
              <a:gd name="T80" fmla="*/ 416 w 512"/>
              <a:gd name="T81" fmla="*/ 298 h 512"/>
              <a:gd name="T82" fmla="*/ 405 w 512"/>
              <a:gd name="T83" fmla="*/ 288 h 512"/>
              <a:gd name="T84" fmla="*/ 224 w 512"/>
              <a:gd name="T85" fmla="*/ 288 h 512"/>
              <a:gd name="T86" fmla="*/ 213 w 512"/>
              <a:gd name="T87" fmla="*/ 298 h 512"/>
              <a:gd name="T88" fmla="*/ 224 w 512"/>
              <a:gd name="T89" fmla="*/ 309 h 512"/>
              <a:gd name="T90" fmla="*/ 405 w 512"/>
              <a:gd name="T91" fmla="*/ 309 h 512"/>
              <a:gd name="T92" fmla="*/ 416 w 512"/>
              <a:gd name="T93" fmla="*/ 298 h 512"/>
              <a:gd name="T94" fmla="*/ 416 w 512"/>
              <a:gd name="T95" fmla="*/ 213 h 512"/>
              <a:gd name="T96" fmla="*/ 405 w 512"/>
              <a:gd name="T97" fmla="*/ 202 h 512"/>
              <a:gd name="T98" fmla="*/ 224 w 512"/>
              <a:gd name="T99" fmla="*/ 202 h 512"/>
              <a:gd name="T100" fmla="*/ 213 w 512"/>
              <a:gd name="T101" fmla="*/ 213 h 512"/>
              <a:gd name="T102" fmla="*/ 224 w 512"/>
              <a:gd name="T103" fmla="*/ 224 h 512"/>
              <a:gd name="T104" fmla="*/ 405 w 512"/>
              <a:gd name="T105" fmla="*/ 224 h 512"/>
              <a:gd name="T106" fmla="*/ 416 w 512"/>
              <a:gd name="T107" fmla="*/ 213 h 512"/>
              <a:gd name="T108" fmla="*/ 416 w 512"/>
              <a:gd name="T109" fmla="*/ 160 h 512"/>
              <a:gd name="T110" fmla="*/ 405 w 512"/>
              <a:gd name="T111" fmla="*/ 149 h 512"/>
              <a:gd name="T112" fmla="*/ 224 w 512"/>
              <a:gd name="T113" fmla="*/ 149 h 512"/>
              <a:gd name="T114" fmla="*/ 213 w 512"/>
              <a:gd name="T115" fmla="*/ 160 h 512"/>
              <a:gd name="T116" fmla="*/ 224 w 512"/>
              <a:gd name="T117" fmla="*/ 170 h 512"/>
              <a:gd name="T118" fmla="*/ 405 w 512"/>
              <a:gd name="T119" fmla="*/ 170 h 512"/>
              <a:gd name="T120" fmla="*/ 416 w 512"/>
              <a:gd name="T12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17" y="170"/>
                </a:moveTo>
                <a:cubicBezTo>
                  <a:pt x="149" y="170"/>
                  <a:pt x="149" y="170"/>
                  <a:pt x="149" y="170"/>
                </a:cubicBezTo>
                <a:cubicBezTo>
                  <a:pt x="149" y="202"/>
                  <a:pt x="149" y="202"/>
                  <a:pt x="149" y="202"/>
                </a:cubicBezTo>
                <a:cubicBezTo>
                  <a:pt x="117" y="202"/>
                  <a:pt x="117" y="202"/>
                  <a:pt x="117" y="202"/>
                </a:cubicBezTo>
                <a:lnTo>
                  <a:pt x="117" y="170"/>
                </a:lnTo>
                <a:close/>
                <a:moveTo>
                  <a:pt x="117" y="341"/>
                </a:moveTo>
                <a:cubicBezTo>
                  <a:pt x="149" y="341"/>
                  <a:pt x="149" y="341"/>
                  <a:pt x="149" y="341"/>
                </a:cubicBezTo>
                <a:cubicBezTo>
                  <a:pt x="149" y="309"/>
                  <a:pt x="149" y="309"/>
                  <a:pt x="149" y="309"/>
                </a:cubicBezTo>
                <a:cubicBezTo>
                  <a:pt x="117" y="309"/>
                  <a:pt x="117" y="309"/>
                  <a:pt x="117" y="309"/>
                </a:cubicBezTo>
                <a:lnTo>
                  <a:pt x="117"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70" y="298"/>
                </a:moveTo>
                <a:cubicBezTo>
                  <a:pt x="170" y="292"/>
                  <a:pt x="166" y="288"/>
                  <a:pt x="160" y="288"/>
                </a:cubicBezTo>
                <a:cubicBezTo>
                  <a:pt x="106" y="288"/>
                  <a:pt x="106" y="288"/>
                  <a:pt x="106" y="288"/>
                </a:cubicBezTo>
                <a:cubicBezTo>
                  <a:pt x="100" y="288"/>
                  <a:pt x="96" y="292"/>
                  <a:pt x="96" y="298"/>
                </a:cubicBezTo>
                <a:cubicBezTo>
                  <a:pt x="96" y="352"/>
                  <a:pt x="96" y="352"/>
                  <a:pt x="96" y="352"/>
                </a:cubicBezTo>
                <a:cubicBezTo>
                  <a:pt x="96" y="358"/>
                  <a:pt x="100" y="362"/>
                  <a:pt x="106" y="362"/>
                </a:cubicBezTo>
                <a:cubicBezTo>
                  <a:pt x="160" y="362"/>
                  <a:pt x="160" y="362"/>
                  <a:pt x="160" y="362"/>
                </a:cubicBezTo>
                <a:cubicBezTo>
                  <a:pt x="166" y="362"/>
                  <a:pt x="170" y="358"/>
                  <a:pt x="170" y="352"/>
                </a:cubicBezTo>
                <a:lnTo>
                  <a:pt x="170" y="298"/>
                </a:lnTo>
                <a:close/>
                <a:moveTo>
                  <a:pt x="170" y="160"/>
                </a:moveTo>
                <a:cubicBezTo>
                  <a:pt x="170" y="154"/>
                  <a:pt x="166" y="149"/>
                  <a:pt x="160" y="149"/>
                </a:cubicBezTo>
                <a:cubicBezTo>
                  <a:pt x="106" y="149"/>
                  <a:pt x="106" y="149"/>
                  <a:pt x="106" y="149"/>
                </a:cubicBezTo>
                <a:cubicBezTo>
                  <a:pt x="100" y="149"/>
                  <a:pt x="96" y="154"/>
                  <a:pt x="96" y="160"/>
                </a:cubicBezTo>
                <a:cubicBezTo>
                  <a:pt x="96" y="213"/>
                  <a:pt x="96" y="213"/>
                  <a:pt x="96" y="213"/>
                </a:cubicBezTo>
                <a:cubicBezTo>
                  <a:pt x="96" y="219"/>
                  <a:pt x="100" y="224"/>
                  <a:pt x="106" y="224"/>
                </a:cubicBezTo>
                <a:cubicBezTo>
                  <a:pt x="160" y="224"/>
                  <a:pt x="160" y="224"/>
                  <a:pt x="160" y="224"/>
                </a:cubicBezTo>
                <a:cubicBezTo>
                  <a:pt x="166" y="224"/>
                  <a:pt x="170" y="219"/>
                  <a:pt x="170" y="213"/>
                </a:cubicBezTo>
                <a:lnTo>
                  <a:pt x="170" y="160"/>
                </a:lnTo>
                <a:close/>
                <a:moveTo>
                  <a:pt x="416" y="352"/>
                </a:moveTo>
                <a:cubicBezTo>
                  <a:pt x="416" y="346"/>
                  <a:pt x="411" y="341"/>
                  <a:pt x="405" y="341"/>
                </a:cubicBezTo>
                <a:cubicBezTo>
                  <a:pt x="224" y="341"/>
                  <a:pt x="224" y="341"/>
                  <a:pt x="224" y="341"/>
                </a:cubicBezTo>
                <a:cubicBezTo>
                  <a:pt x="218" y="341"/>
                  <a:pt x="213" y="346"/>
                  <a:pt x="213" y="352"/>
                </a:cubicBezTo>
                <a:cubicBezTo>
                  <a:pt x="213" y="358"/>
                  <a:pt x="218" y="362"/>
                  <a:pt x="224" y="362"/>
                </a:cubicBezTo>
                <a:cubicBezTo>
                  <a:pt x="405" y="362"/>
                  <a:pt x="405" y="362"/>
                  <a:pt x="405" y="362"/>
                </a:cubicBezTo>
                <a:cubicBezTo>
                  <a:pt x="411" y="362"/>
                  <a:pt x="416" y="358"/>
                  <a:pt x="416" y="352"/>
                </a:cubicBezTo>
                <a:close/>
                <a:moveTo>
                  <a:pt x="416" y="298"/>
                </a:moveTo>
                <a:cubicBezTo>
                  <a:pt x="416" y="292"/>
                  <a:pt x="411" y="288"/>
                  <a:pt x="405" y="288"/>
                </a:cubicBezTo>
                <a:cubicBezTo>
                  <a:pt x="224" y="288"/>
                  <a:pt x="224" y="288"/>
                  <a:pt x="224" y="288"/>
                </a:cubicBezTo>
                <a:cubicBezTo>
                  <a:pt x="218" y="288"/>
                  <a:pt x="213" y="292"/>
                  <a:pt x="213" y="298"/>
                </a:cubicBezTo>
                <a:cubicBezTo>
                  <a:pt x="213" y="304"/>
                  <a:pt x="218" y="309"/>
                  <a:pt x="224" y="309"/>
                </a:cubicBezTo>
                <a:cubicBezTo>
                  <a:pt x="405" y="309"/>
                  <a:pt x="405" y="309"/>
                  <a:pt x="405" y="309"/>
                </a:cubicBezTo>
                <a:cubicBezTo>
                  <a:pt x="411" y="309"/>
                  <a:pt x="416" y="304"/>
                  <a:pt x="416" y="298"/>
                </a:cubicBezTo>
                <a:close/>
                <a:moveTo>
                  <a:pt x="416" y="213"/>
                </a:moveTo>
                <a:cubicBezTo>
                  <a:pt x="416" y="207"/>
                  <a:pt x="411" y="202"/>
                  <a:pt x="405" y="202"/>
                </a:cubicBezTo>
                <a:cubicBezTo>
                  <a:pt x="224" y="202"/>
                  <a:pt x="224" y="202"/>
                  <a:pt x="224" y="202"/>
                </a:cubicBezTo>
                <a:cubicBezTo>
                  <a:pt x="218" y="202"/>
                  <a:pt x="213" y="207"/>
                  <a:pt x="213" y="213"/>
                </a:cubicBezTo>
                <a:cubicBezTo>
                  <a:pt x="213" y="219"/>
                  <a:pt x="218" y="224"/>
                  <a:pt x="224" y="224"/>
                </a:cubicBezTo>
                <a:cubicBezTo>
                  <a:pt x="405" y="224"/>
                  <a:pt x="405" y="224"/>
                  <a:pt x="405" y="224"/>
                </a:cubicBezTo>
                <a:cubicBezTo>
                  <a:pt x="411" y="224"/>
                  <a:pt x="416" y="219"/>
                  <a:pt x="416" y="213"/>
                </a:cubicBezTo>
                <a:close/>
                <a:moveTo>
                  <a:pt x="416" y="160"/>
                </a:moveTo>
                <a:cubicBezTo>
                  <a:pt x="416" y="154"/>
                  <a:pt x="411" y="149"/>
                  <a:pt x="405" y="149"/>
                </a:cubicBezTo>
                <a:cubicBezTo>
                  <a:pt x="224" y="149"/>
                  <a:pt x="224" y="149"/>
                  <a:pt x="224" y="149"/>
                </a:cubicBezTo>
                <a:cubicBezTo>
                  <a:pt x="218" y="149"/>
                  <a:pt x="213" y="154"/>
                  <a:pt x="213" y="160"/>
                </a:cubicBezTo>
                <a:cubicBezTo>
                  <a:pt x="213" y="166"/>
                  <a:pt x="218" y="170"/>
                  <a:pt x="224" y="170"/>
                </a:cubicBezTo>
                <a:cubicBezTo>
                  <a:pt x="405" y="170"/>
                  <a:pt x="405" y="170"/>
                  <a:pt x="405" y="170"/>
                </a:cubicBezTo>
                <a:cubicBezTo>
                  <a:pt x="411" y="170"/>
                  <a:pt x="416" y="166"/>
                  <a:pt x="416" y="1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9" name="Group 759">
            <a:extLst>
              <a:ext uri="{FF2B5EF4-FFF2-40B4-BE49-F238E27FC236}">
                <a16:creationId xmlns:a16="http://schemas.microsoft.com/office/drawing/2014/main" id="{09312CDE-0E87-40FE-A39C-78C0494EB581}"/>
              </a:ext>
            </a:extLst>
          </p:cNvPr>
          <p:cNvGrpSpPr>
            <a:grpSpLocks noChangeAspect="1"/>
          </p:cNvGrpSpPr>
          <p:nvPr/>
        </p:nvGrpSpPr>
        <p:grpSpPr bwMode="auto">
          <a:xfrm>
            <a:off x="10479769" y="1703642"/>
            <a:ext cx="369676" cy="369676"/>
            <a:chOff x="2732" y="2698"/>
            <a:chExt cx="340" cy="340"/>
          </a:xfrm>
          <a:solidFill>
            <a:schemeClr val="accent2"/>
          </a:solidFill>
        </p:grpSpPr>
        <p:sp>
          <p:nvSpPr>
            <p:cNvPr id="230" name="Freeform 760">
              <a:extLst>
                <a:ext uri="{FF2B5EF4-FFF2-40B4-BE49-F238E27FC236}">
                  <a16:creationId xmlns:a16="http://schemas.microsoft.com/office/drawing/2014/main" id="{28111CAE-4E2D-42FF-AB9E-3ABDC38C9E50}"/>
                </a:ext>
              </a:extLst>
            </p:cNvPr>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1" name="Freeform 761">
              <a:extLst>
                <a:ext uri="{FF2B5EF4-FFF2-40B4-BE49-F238E27FC236}">
                  <a16:creationId xmlns:a16="http://schemas.microsoft.com/office/drawing/2014/main" id="{B8FF864D-303E-4D80-ADA2-0618D69CED0D}"/>
                </a:ext>
              </a:extLst>
            </p:cNvPr>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32" name="Freeform 765">
            <a:extLst>
              <a:ext uri="{FF2B5EF4-FFF2-40B4-BE49-F238E27FC236}">
                <a16:creationId xmlns:a16="http://schemas.microsoft.com/office/drawing/2014/main" id="{4AE8FBA5-08D6-4623-AEF8-E68F039D43AC}"/>
              </a:ext>
            </a:extLst>
          </p:cNvPr>
          <p:cNvSpPr>
            <a:spLocks noChangeAspect="1" noEditPoints="1"/>
          </p:cNvSpPr>
          <p:nvPr/>
        </p:nvSpPr>
        <p:spPr bwMode="auto">
          <a:xfrm>
            <a:off x="10044443" y="1703642"/>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3" name="TextBox 232">
            <a:extLst>
              <a:ext uri="{FF2B5EF4-FFF2-40B4-BE49-F238E27FC236}">
                <a16:creationId xmlns:a16="http://schemas.microsoft.com/office/drawing/2014/main" id="{C335DF4E-EA5D-4D1B-81DA-89657C519A4F}"/>
              </a:ext>
            </a:extLst>
          </p:cNvPr>
          <p:cNvSpPr txBox="1"/>
          <p:nvPr/>
        </p:nvSpPr>
        <p:spPr>
          <a:xfrm>
            <a:off x="10846154" y="213561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cissors</a:t>
            </a:r>
          </a:p>
        </p:txBody>
      </p:sp>
      <p:grpSp>
        <p:nvGrpSpPr>
          <p:cNvPr id="234" name="Group 920">
            <a:extLst>
              <a:ext uri="{FF2B5EF4-FFF2-40B4-BE49-F238E27FC236}">
                <a16:creationId xmlns:a16="http://schemas.microsoft.com/office/drawing/2014/main" id="{68ABAFF0-1A38-4D8F-A868-E4A9EA6BF52F}"/>
              </a:ext>
            </a:extLst>
          </p:cNvPr>
          <p:cNvGrpSpPr>
            <a:grpSpLocks noChangeAspect="1"/>
          </p:cNvGrpSpPr>
          <p:nvPr/>
        </p:nvGrpSpPr>
        <p:grpSpPr bwMode="auto">
          <a:xfrm>
            <a:off x="11349774" y="1704297"/>
            <a:ext cx="369021" cy="369021"/>
            <a:chOff x="1865" y="3468"/>
            <a:chExt cx="340" cy="340"/>
          </a:xfrm>
          <a:solidFill>
            <a:schemeClr val="accent4"/>
          </a:solidFill>
        </p:grpSpPr>
        <p:sp>
          <p:nvSpPr>
            <p:cNvPr id="235" name="Line 921">
              <a:extLst>
                <a:ext uri="{FF2B5EF4-FFF2-40B4-BE49-F238E27FC236}">
                  <a16:creationId xmlns:a16="http://schemas.microsoft.com/office/drawing/2014/main" id="{B3AAE72D-9CB6-4EE8-8BF8-112AF0FD60E1}"/>
                </a:ext>
              </a:extLst>
            </p:cNvPr>
            <p:cNvSpPr>
              <a:spLocks noChangeShapeType="1"/>
            </p:cNvSpPr>
            <p:nvPr/>
          </p:nvSpPr>
          <p:spPr bwMode="auto">
            <a:xfrm>
              <a:off x="2030" y="3635"/>
              <a:ext cx="0" cy="0"/>
            </a:xfrm>
            <a:prstGeom prst="lin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6" name="Line 922">
              <a:extLst>
                <a:ext uri="{FF2B5EF4-FFF2-40B4-BE49-F238E27FC236}">
                  <a16:creationId xmlns:a16="http://schemas.microsoft.com/office/drawing/2014/main" id="{34BB5EE9-9EBC-4423-9270-58A50244EB37}"/>
                </a:ext>
              </a:extLst>
            </p:cNvPr>
            <p:cNvSpPr>
              <a:spLocks noChangeShapeType="1"/>
            </p:cNvSpPr>
            <p:nvPr/>
          </p:nvSpPr>
          <p:spPr bwMode="auto">
            <a:xfrm>
              <a:off x="2030" y="3635"/>
              <a:ext cx="0" cy="0"/>
            </a:xfrm>
            <a:prstGeom prst="lin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7" name="Line 923">
              <a:extLst>
                <a:ext uri="{FF2B5EF4-FFF2-40B4-BE49-F238E27FC236}">
                  <a16:creationId xmlns:a16="http://schemas.microsoft.com/office/drawing/2014/main" id="{350E13CD-A21C-4728-9235-A48C1C5C035E}"/>
                </a:ext>
              </a:extLst>
            </p:cNvPr>
            <p:cNvSpPr>
              <a:spLocks noChangeShapeType="1"/>
            </p:cNvSpPr>
            <p:nvPr/>
          </p:nvSpPr>
          <p:spPr bwMode="auto">
            <a:xfrm>
              <a:off x="2030" y="3685"/>
              <a:ext cx="0" cy="0"/>
            </a:xfrm>
            <a:prstGeom prst="lin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8" name="Line 924">
              <a:extLst>
                <a:ext uri="{FF2B5EF4-FFF2-40B4-BE49-F238E27FC236}">
                  <a16:creationId xmlns:a16="http://schemas.microsoft.com/office/drawing/2014/main" id="{A96B77A8-6486-45C7-91F7-B5DC1EB2FFFF}"/>
                </a:ext>
              </a:extLst>
            </p:cNvPr>
            <p:cNvSpPr>
              <a:spLocks noChangeShapeType="1"/>
            </p:cNvSpPr>
            <p:nvPr/>
          </p:nvSpPr>
          <p:spPr bwMode="auto">
            <a:xfrm>
              <a:off x="2030" y="3685"/>
              <a:ext cx="0" cy="0"/>
            </a:xfrm>
            <a:prstGeom prst="lin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9" name="Freeform 925">
              <a:extLst>
                <a:ext uri="{FF2B5EF4-FFF2-40B4-BE49-F238E27FC236}">
                  <a16:creationId xmlns:a16="http://schemas.microsoft.com/office/drawing/2014/main" id="{5F6FB5AB-DBF0-4C54-A69D-4C3F8575AA99}"/>
                </a:ext>
              </a:extLst>
            </p:cNvPr>
            <p:cNvSpPr>
              <a:spLocks/>
            </p:cNvSpPr>
            <p:nvPr/>
          </p:nvSpPr>
          <p:spPr bwMode="auto">
            <a:xfrm>
              <a:off x="2028" y="3532"/>
              <a:ext cx="14" cy="77"/>
            </a:xfrm>
            <a:custGeom>
              <a:avLst/>
              <a:gdLst>
                <a:gd name="T0" fmla="*/ 11 w 21"/>
                <a:gd name="T1" fmla="*/ 117 h 117"/>
                <a:gd name="T2" fmla="*/ 21 w 21"/>
                <a:gd name="T3" fmla="*/ 106 h 117"/>
                <a:gd name="T4" fmla="*/ 21 w 21"/>
                <a:gd name="T5" fmla="*/ 10 h 117"/>
                <a:gd name="T6" fmla="*/ 11 w 21"/>
                <a:gd name="T7" fmla="*/ 0 h 117"/>
                <a:gd name="T8" fmla="*/ 0 w 21"/>
                <a:gd name="T9" fmla="*/ 10 h 117"/>
                <a:gd name="T10" fmla="*/ 0 w 21"/>
                <a:gd name="T11" fmla="*/ 106 h 117"/>
                <a:gd name="T12" fmla="*/ 11 w 21"/>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21" h="117">
                  <a:moveTo>
                    <a:pt x="11" y="117"/>
                  </a:moveTo>
                  <a:cubicBezTo>
                    <a:pt x="17" y="117"/>
                    <a:pt x="21" y="112"/>
                    <a:pt x="21" y="106"/>
                  </a:cubicBezTo>
                  <a:cubicBezTo>
                    <a:pt x="21" y="10"/>
                    <a:pt x="21" y="10"/>
                    <a:pt x="21" y="10"/>
                  </a:cubicBezTo>
                  <a:cubicBezTo>
                    <a:pt x="21" y="4"/>
                    <a:pt x="17" y="0"/>
                    <a:pt x="11" y="0"/>
                  </a:cubicBezTo>
                  <a:cubicBezTo>
                    <a:pt x="5" y="0"/>
                    <a:pt x="0" y="4"/>
                    <a:pt x="0" y="10"/>
                  </a:cubicBezTo>
                  <a:cubicBezTo>
                    <a:pt x="0" y="106"/>
                    <a:pt x="0" y="106"/>
                    <a:pt x="0" y="106"/>
                  </a:cubicBezTo>
                  <a:cubicBezTo>
                    <a:pt x="0" y="112"/>
                    <a:pt x="5" y="117"/>
                    <a:pt x="11"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0" name="Freeform 926">
              <a:extLst>
                <a:ext uri="{FF2B5EF4-FFF2-40B4-BE49-F238E27FC236}">
                  <a16:creationId xmlns:a16="http://schemas.microsoft.com/office/drawing/2014/main" id="{012B7980-7C6E-4CC0-BB04-53A234D10CA8}"/>
                </a:ext>
              </a:extLst>
            </p:cNvPr>
            <p:cNvSpPr>
              <a:spLocks noEditPoints="1"/>
            </p:cNvSpPr>
            <p:nvPr/>
          </p:nvSpPr>
          <p:spPr bwMode="auto">
            <a:xfrm>
              <a:off x="1929" y="3594"/>
              <a:ext cx="205" cy="150"/>
            </a:xfrm>
            <a:custGeom>
              <a:avLst/>
              <a:gdLst>
                <a:gd name="T0" fmla="*/ 308 w 309"/>
                <a:gd name="T1" fmla="*/ 9 h 227"/>
                <a:gd name="T2" fmla="*/ 295 w 309"/>
                <a:gd name="T3" fmla="*/ 2 h 227"/>
                <a:gd name="T4" fmla="*/ 79 w 309"/>
                <a:gd name="T5" fmla="*/ 66 h 227"/>
                <a:gd name="T6" fmla="*/ 73 w 309"/>
                <a:gd name="T7" fmla="*/ 58 h 227"/>
                <a:gd name="T8" fmla="*/ 42 w 309"/>
                <a:gd name="T9" fmla="*/ 45 h 227"/>
                <a:gd name="T10" fmla="*/ 42 w 309"/>
                <a:gd name="T11" fmla="*/ 45 h 227"/>
                <a:gd name="T12" fmla="*/ 12 w 309"/>
                <a:gd name="T13" fmla="*/ 58 h 227"/>
                <a:gd name="T14" fmla="*/ 0 w 309"/>
                <a:gd name="T15" fmla="*/ 88 h 227"/>
                <a:gd name="T16" fmla="*/ 12 w 309"/>
                <a:gd name="T17" fmla="*/ 118 h 227"/>
                <a:gd name="T18" fmla="*/ 42 w 309"/>
                <a:gd name="T19" fmla="*/ 131 h 227"/>
                <a:gd name="T20" fmla="*/ 42 w 309"/>
                <a:gd name="T21" fmla="*/ 131 h 227"/>
                <a:gd name="T22" fmla="*/ 72 w 309"/>
                <a:gd name="T23" fmla="*/ 118 h 227"/>
                <a:gd name="T24" fmla="*/ 85 w 309"/>
                <a:gd name="T25" fmla="*/ 88 h 227"/>
                <a:gd name="T26" fmla="*/ 85 w 309"/>
                <a:gd name="T27" fmla="*/ 87 h 227"/>
                <a:gd name="T28" fmla="*/ 149 w 309"/>
                <a:gd name="T29" fmla="*/ 67 h 227"/>
                <a:gd name="T30" fmla="*/ 149 w 309"/>
                <a:gd name="T31" fmla="*/ 143 h 227"/>
                <a:gd name="T32" fmla="*/ 117 w 309"/>
                <a:gd name="T33" fmla="*/ 183 h 227"/>
                <a:gd name="T34" fmla="*/ 129 w 309"/>
                <a:gd name="T35" fmla="*/ 214 h 227"/>
                <a:gd name="T36" fmla="*/ 159 w 309"/>
                <a:gd name="T37" fmla="*/ 227 h 227"/>
                <a:gd name="T38" fmla="*/ 160 w 309"/>
                <a:gd name="T39" fmla="*/ 227 h 227"/>
                <a:gd name="T40" fmla="*/ 202 w 309"/>
                <a:gd name="T41" fmla="*/ 185 h 227"/>
                <a:gd name="T42" fmla="*/ 190 w 309"/>
                <a:gd name="T43" fmla="*/ 154 h 227"/>
                <a:gd name="T44" fmla="*/ 170 w 309"/>
                <a:gd name="T45" fmla="*/ 143 h 227"/>
                <a:gd name="T46" fmla="*/ 170 w 309"/>
                <a:gd name="T47" fmla="*/ 61 h 227"/>
                <a:gd name="T48" fmla="*/ 301 w 309"/>
                <a:gd name="T49" fmla="*/ 22 h 227"/>
                <a:gd name="T50" fmla="*/ 308 w 309"/>
                <a:gd name="T51" fmla="*/ 9 h 227"/>
                <a:gd name="T52" fmla="*/ 57 w 309"/>
                <a:gd name="T53" fmla="*/ 103 h 227"/>
                <a:gd name="T54" fmla="*/ 42 w 309"/>
                <a:gd name="T55" fmla="*/ 109 h 227"/>
                <a:gd name="T56" fmla="*/ 42 w 309"/>
                <a:gd name="T57" fmla="*/ 109 h 227"/>
                <a:gd name="T58" fmla="*/ 27 w 309"/>
                <a:gd name="T59" fmla="*/ 103 h 227"/>
                <a:gd name="T60" fmla="*/ 21 w 309"/>
                <a:gd name="T61" fmla="*/ 88 h 227"/>
                <a:gd name="T62" fmla="*/ 27 w 309"/>
                <a:gd name="T63" fmla="*/ 73 h 227"/>
                <a:gd name="T64" fmla="*/ 42 w 309"/>
                <a:gd name="T65" fmla="*/ 67 h 227"/>
                <a:gd name="T66" fmla="*/ 42 w 309"/>
                <a:gd name="T67" fmla="*/ 67 h 227"/>
                <a:gd name="T68" fmla="*/ 57 w 309"/>
                <a:gd name="T69" fmla="*/ 73 h 227"/>
                <a:gd name="T70" fmla="*/ 64 w 309"/>
                <a:gd name="T71" fmla="*/ 88 h 227"/>
                <a:gd name="T72" fmla="*/ 57 w 309"/>
                <a:gd name="T73" fmla="*/ 103 h 227"/>
                <a:gd name="T74" fmla="*/ 175 w 309"/>
                <a:gd name="T75" fmla="*/ 169 h 227"/>
                <a:gd name="T76" fmla="*/ 181 w 309"/>
                <a:gd name="T77" fmla="*/ 184 h 227"/>
                <a:gd name="T78" fmla="*/ 160 w 309"/>
                <a:gd name="T79" fmla="*/ 205 h 227"/>
                <a:gd name="T80" fmla="*/ 159 w 309"/>
                <a:gd name="T81" fmla="*/ 205 h 227"/>
                <a:gd name="T82" fmla="*/ 144 w 309"/>
                <a:gd name="T83" fmla="*/ 199 h 227"/>
                <a:gd name="T84" fmla="*/ 138 w 309"/>
                <a:gd name="T85" fmla="*/ 184 h 227"/>
                <a:gd name="T86" fmla="*/ 160 w 309"/>
                <a:gd name="T87" fmla="*/ 163 h 227"/>
                <a:gd name="T88" fmla="*/ 160 w 309"/>
                <a:gd name="T89" fmla="*/ 163 h 227"/>
                <a:gd name="T90" fmla="*/ 175 w 309"/>
                <a:gd name="T91" fmla="*/ 16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227">
                  <a:moveTo>
                    <a:pt x="308" y="9"/>
                  </a:moveTo>
                  <a:cubicBezTo>
                    <a:pt x="306" y="4"/>
                    <a:pt x="300" y="0"/>
                    <a:pt x="295" y="2"/>
                  </a:cubicBezTo>
                  <a:cubicBezTo>
                    <a:pt x="79" y="66"/>
                    <a:pt x="79" y="66"/>
                    <a:pt x="79" y="66"/>
                  </a:cubicBezTo>
                  <a:cubicBezTo>
                    <a:pt x="77" y="63"/>
                    <a:pt x="75" y="60"/>
                    <a:pt x="73" y="58"/>
                  </a:cubicBezTo>
                  <a:cubicBezTo>
                    <a:pt x="65" y="50"/>
                    <a:pt x="54" y="45"/>
                    <a:pt x="42" y="45"/>
                  </a:cubicBezTo>
                  <a:cubicBezTo>
                    <a:pt x="42" y="45"/>
                    <a:pt x="42" y="45"/>
                    <a:pt x="42" y="45"/>
                  </a:cubicBezTo>
                  <a:cubicBezTo>
                    <a:pt x="31" y="45"/>
                    <a:pt x="20" y="50"/>
                    <a:pt x="12" y="58"/>
                  </a:cubicBezTo>
                  <a:cubicBezTo>
                    <a:pt x="4" y="66"/>
                    <a:pt x="0" y="77"/>
                    <a:pt x="0" y="88"/>
                  </a:cubicBezTo>
                  <a:cubicBezTo>
                    <a:pt x="0" y="99"/>
                    <a:pt x="4" y="110"/>
                    <a:pt x="12" y="118"/>
                  </a:cubicBezTo>
                  <a:cubicBezTo>
                    <a:pt x="20" y="126"/>
                    <a:pt x="31" y="131"/>
                    <a:pt x="42" y="131"/>
                  </a:cubicBezTo>
                  <a:cubicBezTo>
                    <a:pt x="42" y="131"/>
                    <a:pt x="42" y="131"/>
                    <a:pt x="42" y="131"/>
                  </a:cubicBezTo>
                  <a:cubicBezTo>
                    <a:pt x="54" y="131"/>
                    <a:pt x="64" y="126"/>
                    <a:pt x="72" y="118"/>
                  </a:cubicBezTo>
                  <a:cubicBezTo>
                    <a:pt x="81" y="110"/>
                    <a:pt x="85" y="99"/>
                    <a:pt x="85" y="88"/>
                  </a:cubicBezTo>
                  <a:cubicBezTo>
                    <a:pt x="85" y="88"/>
                    <a:pt x="85" y="87"/>
                    <a:pt x="85" y="87"/>
                  </a:cubicBezTo>
                  <a:cubicBezTo>
                    <a:pt x="149" y="67"/>
                    <a:pt x="149" y="67"/>
                    <a:pt x="149" y="67"/>
                  </a:cubicBezTo>
                  <a:cubicBezTo>
                    <a:pt x="149" y="143"/>
                    <a:pt x="149" y="143"/>
                    <a:pt x="149" y="143"/>
                  </a:cubicBezTo>
                  <a:cubicBezTo>
                    <a:pt x="131" y="148"/>
                    <a:pt x="117" y="164"/>
                    <a:pt x="117" y="183"/>
                  </a:cubicBezTo>
                  <a:cubicBezTo>
                    <a:pt x="117" y="195"/>
                    <a:pt x="121" y="206"/>
                    <a:pt x="129" y="214"/>
                  </a:cubicBezTo>
                  <a:cubicBezTo>
                    <a:pt x="137" y="222"/>
                    <a:pt x="148" y="226"/>
                    <a:pt x="159" y="227"/>
                  </a:cubicBezTo>
                  <a:cubicBezTo>
                    <a:pt x="159" y="227"/>
                    <a:pt x="159" y="227"/>
                    <a:pt x="160" y="227"/>
                  </a:cubicBezTo>
                  <a:cubicBezTo>
                    <a:pt x="183" y="227"/>
                    <a:pt x="202" y="208"/>
                    <a:pt x="202" y="185"/>
                  </a:cubicBezTo>
                  <a:cubicBezTo>
                    <a:pt x="203" y="173"/>
                    <a:pt x="198" y="162"/>
                    <a:pt x="190" y="154"/>
                  </a:cubicBezTo>
                  <a:cubicBezTo>
                    <a:pt x="185" y="149"/>
                    <a:pt x="178" y="145"/>
                    <a:pt x="170" y="143"/>
                  </a:cubicBezTo>
                  <a:cubicBezTo>
                    <a:pt x="170" y="61"/>
                    <a:pt x="170" y="61"/>
                    <a:pt x="170" y="61"/>
                  </a:cubicBezTo>
                  <a:cubicBezTo>
                    <a:pt x="301" y="22"/>
                    <a:pt x="301" y="22"/>
                    <a:pt x="301" y="22"/>
                  </a:cubicBezTo>
                  <a:cubicBezTo>
                    <a:pt x="306" y="21"/>
                    <a:pt x="309" y="15"/>
                    <a:pt x="308" y="9"/>
                  </a:cubicBezTo>
                  <a:close/>
                  <a:moveTo>
                    <a:pt x="57" y="103"/>
                  </a:moveTo>
                  <a:cubicBezTo>
                    <a:pt x="53" y="107"/>
                    <a:pt x="48" y="109"/>
                    <a:pt x="42" y="109"/>
                  </a:cubicBezTo>
                  <a:cubicBezTo>
                    <a:pt x="42" y="109"/>
                    <a:pt x="42" y="109"/>
                    <a:pt x="42" y="109"/>
                  </a:cubicBezTo>
                  <a:cubicBezTo>
                    <a:pt x="37" y="109"/>
                    <a:pt x="31" y="107"/>
                    <a:pt x="27" y="103"/>
                  </a:cubicBezTo>
                  <a:cubicBezTo>
                    <a:pt x="23" y="99"/>
                    <a:pt x="21" y="94"/>
                    <a:pt x="21" y="88"/>
                  </a:cubicBezTo>
                  <a:cubicBezTo>
                    <a:pt x="21" y="82"/>
                    <a:pt x="23" y="77"/>
                    <a:pt x="27" y="73"/>
                  </a:cubicBezTo>
                  <a:cubicBezTo>
                    <a:pt x="31" y="69"/>
                    <a:pt x="37" y="67"/>
                    <a:pt x="42" y="67"/>
                  </a:cubicBezTo>
                  <a:cubicBezTo>
                    <a:pt x="42" y="67"/>
                    <a:pt x="42" y="67"/>
                    <a:pt x="42" y="67"/>
                  </a:cubicBezTo>
                  <a:cubicBezTo>
                    <a:pt x="48" y="67"/>
                    <a:pt x="53" y="69"/>
                    <a:pt x="57" y="73"/>
                  </a:cubicBezTo>
                  <a:cubicBezTo>
                    <a:pt x="61" y="77"/>
                    <a:pt x="64" y="82"/>
                    <a:pt x="64" y="88"/>
                  </a:cubicBezTo>
                  <a:cubicBezTo>
                    <a:pt x="64" y="94"/>
                    <a:pt x="61" y="99"/>
                    <a:pt x="57" y="103"/>
                  </a:cubicBezTo>
                  <a:close/>
                  <a:moveTo>
                    <a:pt x="175" y="169"/>
                  </a:moveTo>
                  <a:cubicBezTo>
                    <a:pt x="179" y="173"/>
                    <a:pt x="181" y="179"/>
                    <a:pt x="181" y="184"/>
                  </a:cubicBezTo>
                  <a:cubicBezTo>
                    <a:pt x="181" y="196"/>
                    <a:pt x="171" y="205"/>
                    <a:pt x="160" y="205"/>
                  </a:cubicBezTo>
                  <a:cubicBezTo>
                    <a:pt x="160" y="205"/>
                    <a:pt x="159" y="205"/>
                    <a:pt x="159" y="205"/>
                  </a:cubicBezTo>
                  <a:cubicBezTo>
                    <a:pt x="154" y="205"/>
                    <a:pt x="148" y="203"/>
                    <a:pt x="144" y="199"/>
                  </a:cubicBezTo>
                  <a:cubicBezTo>
                    <a:pt x="140" y="195"/>
                    <a:pt x="138" y="189"/>
                    <a:pt x="138" y="184"/>
                  </a:cubicBezTo>
                  <a:cubicBezTo>
                    <a:pt x="139" y="172"/>
                    <a:pt x="148" y="163"/>
                    <a:pt x="160" y="163"/>
                  </a:cubicBezTo>
                  <a:cubicBezTo>
                    <a:pt x="160" y="163"/>
                    <a:pt x="160" y="163"/>
                    <a:pt x="160" y="163"/>
                  </a:cubicBezTo>
                  <a:cubicBezTo>
                    <a:pt x="166" y="163"/>
                    <a:pt x="171" y="165"/>
                    <a:pt x="175" y="1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1" name="Freeform 927">
              <a:extLst>
                <a:ext uri="{FF2B5EF4-FFF2-40B4-BE49-F238E27FC236}">
                  <a16:creationId xmlns:a16="http://schemas.microsoft.com/office/drawing/2014/main" id="{15C83BFE-3EB0-4281-BDD5-3B44C87BC601}"/>
                </a:ext>
              </a:extLst>
            </p:cNvPr>
            <p:cNvSpPr>
              <a:spLocks noEditPoints="1"/>
            </p:cNvSpPr>
            <p:nvPr/>
          </p:nvSpPr>
          <p:spPr bwMode="auto">
            <a:xfrm>
              <a:off x="1865" y="346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2" name="Freeform 931">
            <a:extLst>
              <a:ext uri="{FF2B5EF4-FFF2-40B4-BE49-F238E27FC236}">
                <a16:creationId xmlns:a16="http://schemas.microsoft.com/office/drawing/2014/main" id="{52865B56-2356-4C09-B4A0-C8F66E242DD2}"/>
              </a:ext>
            </a:extLst>
          </p:cNvPr>
          <p:cNvSpPr>
            <a:spLocks noChangeAspect="1" noEditPoints="1"/>
          </p:cNvSpPr>
          <p:nvPr/>
        </p:nvSpPr>
        <p:spPr bwMode="auto">
          <a:xfrm>
            <a:off x="10915095" y="1704297"/>
            <a:ext cx="369021" cy="369021"/>
          </a:xfrm>
          <a:custGeom>
            <a:avLst/>
            <a:gdLst>
              <a:gd name="T0" fmla="*/ 153 w 512"/>
              <a:gd name="T1" fmla="*/ 262 h 512"/>
              <a:gd name="T2" fmla="*/ 160 w 512"/>
              <a:gd name="T3" fmla="*/ 277 h 512"/>
              <a:gd name="T4" fmla="*/ 153 w 512"/>
              <a:gd name="T5" fmla="*/ 292 h 512"/>
              <a:gd name="T6" fmla="*/ 138 w 512"/>
              <a:gd name="T7" fmla="*/ 298 h 512"/>
              <a:gd name="T8" fmla="*/ 138 w 512"/>
              <a:gd name="T9" fmla="*/ 298 h 512"/>
              <a:gd name="T10" fmla="*/ 123 w 512"/>
              <a:gd name="T11" fmla="*/ 292 h 512"/>
              <a:gd name="T12" fmla="*/ 117 w 512"/>
              <a:gd name="T13" fmla="*/ 277 h 512"/>
              <a:gd name="T14" fmla="*/ 123 w 512"/>
              <a:gd name="T15" fmla="*/ 262 h 512"/>
              <a:gd name="T16" fmla="*/ 138 w 512"/>
              <a:gd name="T17" fmla="*/ 256 h 512"/>
              <a:gd name="T18" fmla="*/ 138 w 512"/>
              <a:gd name="T19" fmla="*/ 256 h 512"/>
              <a:gd name="T20" fmla="*/ 153 w 512"/>
              <a:gd name="T21" fmla="*/ 262 h 512"/>
              <a:gd name="T22" fmla="*/ 256 w 512"/>
              <a:gd name="T23" fmla="*/ 352 h 512"/>
              <a:gd name="T24" fmla="*/ 234 w 512"/>
              <a:gd name="T25" fmla="*/ 373 h 512"/>
              <a:gd name="T26" fmla="*/ 240 w 512"/>
              <a:gd name="T27" fmla="*/ 388 h 512"/>
              <a:gd name="T28" fmla="*/ 255 w 512"/>
              <a:gd name="T29" fmla="*/ 394 h 512"/>
              <a:gd name="T30" fmla="*/ 256 w 512"/>
              <a:gd name="T31" fmla="*/ 394 h 512"/>
              <a:gd name="T32" fmla="*/ 277 w 512"/>
              <a:gd name="T33" fmla="*/ 373 h 512"/>
              <a:gd name="T34" fmla="*/ 271 w 512"/>
              <a:gd name="T35" fmla="*/ 358 h 512"/>
              <a:gd name="T36" fmla="*/ 256 w 512"/>
              <a:gd name="T37" fmla="*/ 352 h 512"/>
              <a:gd name="T38" fmla="*/ 256 w 512"/>
              <a:gd name="T39" fmla="*/ 352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245 w 512"/>
              <a:gd name="T51" fmla="*/ 202 h 512"/>
              <a:gd name="T52" fmla="*/ 256 w 512"/>
              <a:gd name="T53" fmla="*/ 213 h 512"/>
              <a:gd name="T54" fmla="*/ 266 w 512"/>
              <a:gd name="T55" fmla="*/ 202 h 512"/>
              <a:gd name="T56" fmla="*/ 266 w 512"/>
              <a:gd name="T57" fmla="*/ 106 h 512"/>
              <a:gd name="T58" fmla="*/ 256 w 512"/>
              <a:gd name="T59" fmla="*/ 96 h 512"/>
              <a:gd name="T60" fmla="*/ 245 w 512"/>
              <a:gd name="T61" fmla="*/ 106 h 512"/>
              <a:gd name="T62" fmla="*/ 245 w 512"/>
              <a:gd name="T63" fmla="*/ 202 h 512"/>
              <a:gd name="T64" fmla="*/ 404 w 512"/>
              <a:gd name="T65" fmla="*/ 198 h 512"/>
              <a:gd name="T66" fmla="*/ 391 w 512"/>
              <a:gd name="T67" fmla="*/ 191 h 512"/>
              <a:gd name="T68" fmla="*/ 175 w 512"/>
              <a:gd name="T69" fmla="*/ 255 h 512"/>
              <a:gd name="T70" fmla="*/ 169 w 512"/>
              <a:gd name="T71" fmla="*/ 247 h 512"/>
              <a:gd name="T72" fmla="*/ 138 w 512"/>
              <a:gd name="T73" fmla="*/ 234 h 512"/>
              <a:gd name="T74" fmla="*/ 138 w 512"/>
              <a:gd name="T75" fmla="*/ 234 h 512"/>
              <a:gd name="T76" fmla="*/ 108 w 512"/>
              <a:gd name="T77" fmla="*/ 247 h 512"/>
              <a:gd name="T78" fmla="*/ 96 w 512"/>
              <a:gd name="T79" fmla="*/ 277 h 512"/>
              <a:gd name="T80" fmla="*/ 108 w 512"/>
              <a:gd name="T81" fmla="*/ 307 h 512"/>
              <a:gd name="T82" fmla="*/ 138 w 512"/>
              <a:gd name="T83" fmla="*/ 320 h 512"/>
              <a:gd name="T84" fmla="*/ 138 w 512"/>
              <a:gd name="T85" fmla="*/ 320 h 512"/>
              <a:gd name="T86" fmla="*/ 168 w 512"/>
              <a:gd name="T87" fmla="*/ 307 h 512"/>
              <a:gd name="T88" fmla="*/ 181 w 512"/>
              <a:gd name="T89" fmla="*/ 277 h 512"/>
              <a:gd name="T90" fmla="*/ 181 w 512"/>
              <a:gd name="T91" fmla="*/ 276 h 512"/>
              <a:gd name="T92" fmla="*/ 245 w 512"/>
              <a:gd name="T93" fmla="*/ 256 h 512"/>
              <a:gd name="T94" fmla="*/ 245 w 512"/>
              <a:gd name="T95" fmla="*/ 332 h 512"/>
              <a:gd name="T96" fmla="*/ 213 w 512"/>
              <a:gd name="T97" fmla="*/ 372 h 512"/>
              <a:gd name="T98" fmla="*/ 225 w 512"/>
              <a:gd name="T99" fmla="*/ 403 h 512"/>
              <a:gd name="T100" fmla="*/ 255 w 512"/>
              <a:gd name="T101" fmla="*/ 416 h 512"/>
              <a:gd name="T102" fmla="*/ 256 w 512"/>
              <a:gd name="T103" fmla="*/ 416 h 512"/>
              <a:gd name="T104" fmla="*/ 298 w 512"/>
              <a:gd name="T105" fmla="*/ 374 h 512"/>
              <a:gd name="T106" fmla="*/ 286 w 512"/>
              <a:gd name="T107" fmla="*/ 343 h 512"/>
              <a:gd name="T108" fmla="*/ 266 w 512"/>
              <a:gd name="T109" fmla="*/ 332 h 512"/>
              <a:gd name="T110" fmla="*/ 266 w 512"/>
              <a:gd name="T111" fmla="*/ 250 h 512"/>
              <a:gd name="T112" fmla="*/ 397 w 512"/>
              <a:gd name="T113" fmla="*/ 211 h 512"/>
              <a:gd name="T114" fmla="*/ 404 w 512"/>
              <a:gd name="T115"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53" y="262"/>
                </a:moveTo>
                <a:cubicBezTo>
                  <a:pt x="157" y="266"/>
                  <a:pt x="160" y="271"/>
                  <a:pt x="160" y="277"/>
                </a:cubicBezTo>
                <a:cubicBezTo>
                  <a:pt x="160" y="283"/>
                  <a:pt x="157" y="288"/>
                  <a:pt x="153" y="292"/>
                </a:cubicBezTo>
                <a:cubicBezTo>
                  <a:pt x="149" y="296"/>
                  <a:pt x="144" y="298"/>
                  <a:pt x="138" y="298"/>
                </a:cubicBezTo>
                <a:cubicBezTo>
                  <a:pt x="138" y="298"/>
                  <a:pt x="138" y="298"/>
                  <a:pt x="138" y="298"/>
                </a:cubicBezTo>
                <a:cubicBezTo>
                  <a:pt x="133" y="298"/>
                  <a:pt x="127" y="296"/>
                  <a:pt x="123" y="292"/>
                </a:cubicBezTo>
                <a:cubicBezTo>
                  <a:pt x="119" y="288"/>
                  <a:pt x="117" y="283"/>
                  <a:pt x="117" y="277"/>
                </a:cubicBezTo>
                <a:cubicBezTo>
                  <a:pt x="117" y="271"/>
                  <a:pt x="119" y="266"/>
                  <a:pt x="123" y="262"/>
                </a:cubicBezTo>
                <a:cubicBezTo>
                  <a:pt x="127" y="258"/>
                  <a:pt x="133" y="256"/>
                  <a:pt x="138" y="256"/>
                </a:cubicBezTo>
                <a:cubicBezTo>
                  <a:pt x="138" y="256"/>
                  <a:pt x="138" y="256"/>
                  <a:pt x="138" y="256"/>
                </a:cubicBezTo>
                <a:cubicBezTo>
                  <a:pt x="144" y="256"/>
                  <a:pt x="149" y="258"/>
                  <a:pt x="153" y="262"/>
                </a:cubicBezTo>
                <a:close/>
                <a:moveTo>
                  <a:pt x="256" y="352"/>
                </a:moveTo>
                <a:cubicBezTo>
                  <a:pt x="244" y="352"/>
                  <a:pt x="235" y="361"/>
                  <a:pt x="234" y="373"/>
                </a:cubicBezTo>
                <a:cubicBezTo>
                  <a:pt x="234" y="378"/>
                  <a:pt x="236" y="384"/>
                  <a:pt x="240" y="388"/>
                </a:cubicBezTo>
                <a:cubicBezTo>
                  <a:pt x="244" y="392"/>
                  <a:pt x="250" y="394"/>
                  <a:pt x="255" y="394"/>
                </a:cubicBezTo>
                <a:cubicBezTo>
                  <a:pt x="255" y="394"/>
                  <a:pt x="256" y="394"/>
                  <a:pt x="256" y="394"/>
                </a:cubicBezTo>
                <a:cubicBezTo>
                  <a:pt x="267" y="394"/>
                  <a:pt x="277" y="385"/>
                  <a:pt x="277" y="373"/>
                </a:cubicBezTo>
                <a:cubicBezTo>
                  <a:pt x="277" y="368"/>
                  <a:pt x="275" y="362"/>
                  <a:pt x="271" y="358"/>
                </a:cubicBezTo>
                <a:cubicBezTo>
                  <a:pt x="267" y="354"/>
                  <a:pt x="262" y="352"/>
                  <a:pt x="256" y="352"/>
                </a:cubicBezTo>
                <a:cubicBezTo>
                  <a:pt x="256" y="352"/>
                  <a:pt x="256" y="352"/>
                  <a:pt x="256"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202"/>
                </a:moveTo>
                <a:cubicBezTo>
                  <a:pt x="245" y="208"/>
                  <a:pt x="250" y="213"/>
                  <a:pt x="256" y="213"/>
                </a:cubicBezTo>
                <a:cubicBezTo>
                  <a:pt x="262" y="213"/>
                  <a:pt x="266" y="208"/>
                  <a:pt x="266" y="202"/>
                </a:cubicBezTo>
                <a:cubicBezTo>
                  <a:pt x="266" y="106"/>
                  <a:pt x="266" y="106"/>
                  <a:pt x="266" y="106"/>
                </a:cubicBezTo>
                <a:cubicBezTo>
                  <a:pt x="266" y="100"/>
                  <a:pt x="262" y="96"/>
                  <a:pt x="256" y="96"/>
                </a:cubicBezTo>
                <a:cubicBezTo>
                  <a:pt x="250" y="96"/>
                  <a:pt x="245" y="100"/>
                  <a:pt x="245" y="106"/>
                </a:cubicBezTo>
                <a:lnTo>
                  <a:pt x="245" y="202"/>
                </a:lnTo>
                <a:close/>
                <a:moveTo>
                  <a:pt x="404" y="198"/>
                </a:moveTo>
                <a:cubicBezTo>
                  <a:pt x="402" y="193"/>
                  <a:pt x="396" y="189"/>
                  <a:pt x="391" y="191"/>
                </a:cubicBezTo>
                <a:cubicBezTo>
                  <a:pt x="175" y="255"/>
                  <a:pt x="175" y="255"/>
                  <a:pt x="175" y="255"/>
                </a:cubicBezTo>
                <a:cubicBezTo>
                  <a:pt x="173" y="252"/>
                  <a:pt x="171" y="249"/>
                  <a:pt x="169" y="247"/>
                </a:cubicBezTo>
                <a:cubicBezTo>
                  <a:pt x="161" y="239"/>
                  <a:pt x="150" y="234"/>
                  <a:pt x="138" y="234"/>
                </a:cubicBezTo>
                <a:cubicBezTo>
                  <a:pt x="138" y="234"/>
                  <a:pt x="138" y="234"/>
                  <a:pt x="138" y="234"/>
                </a:cubicBezTo>
                <a:cubicBezTo>
                  <a:pt x="127" y="234"/>
                  <a:pt x="116" y="239"/>
                  <a:pt x="108" y="247"/>
                </a:cubicBezTo>
                <a:cubicBezTo>
                  <a:pt x="100" y="255"/>
                  <a:pt x="96" y="266"/>
                  <a:pt x="96" y="277"/>
                </a:cubicBezTo>
                <a:cubicBezTo>
                  <a:pt x="96" y="288"/>
                  <a:pt x="100" y="299"/>
                  <a:pt x="108" y="307"/>
                </a:cubicBezTo>
                <a:cubicBezTo>
                  <a:pt x="116" y="315"/>
                  <a:pt x="127" y="320"/>
                  <a:pt x="138" y="320"/>
                </a:cubicBezTo>
                <a:cubicBezTo>
                  <a:pt x="138" y="320"/>
                  <a:pt x="138" y="320"/>
                  <a:pt x="138" y="320"/>
                </a:cubicBezTo>
                <a:cubicBezTo>
                  <a:pt x="150" y="320"/>
                  <a:pt x="160" y="315"/>
                  <a:pt x="168" y="307"/>
                </a:cubicBezTo>
                <a:cubicBezTo>
                  <a:pt x="177" y="299"/>
                  <a:pt x="181" y="288"/>
                  <a:pt x="181" y="277"/>
                </a:cubicBezTo>
                <a:cubicBezTo>
                  <a:pt x="181" y="277"/>
                  <a:pt x="181" y="276"/>
                  <a:pt x="181" y="276"/>
                </a:cubicBezTo>
                <a:cubicBezTo>
                  <a:pt x="245" y="256"/>
                  <a:pt x="245" y="256"/>
                  <a:pt x="245" y="256"/>
                </a:cubicBezTo>
                <a:cubicBezTo>
                  <a:pt x="245" y="332"/>
                  <a:pt x="245" y="332"/>
                  <a:pt x="245" y="332"/>
                </a:cubicBezTo>
                <a:cubicBezTo>
                  <a:pt x="227" y="337"/>
                  <a:pt x="213" y="353"/>
                  <a:pt x="213" y="372"/>
                </a:cubicBezTo>
                <a:cubicBezTo>
                  <a:pt x="213" y="384"/>
                  <a:pt x="217" y="395"/>
                  <a:pt x="225" y="403"/>
                </a:cubicBezTo>
                <a:cubicBezTo>
                  <a:pt x="233" y="411"/>
                  <a:pt x="244" y="415"/>
                  <a:pt x="255" y="416"/>
                </a:cubicBezTo>
                <a:cubicBezTo>
                  <a:pt x="255" y="416"/>
                  <a:pt x="255" y="416"/>
                  <a:pt x="256" y="416"/>
                </a:cubicBezTo>
                <a:cubicBezTo>
                  <a:pt x="279" y="416"/>
                  <a:pt x="298" y="397"/>
                  <a:pt x="298" y="374"/>
                </a:cubicBezTo>
                <a:cubicBezTo>
                  <a:pt x="299" y="362"/>
                  <a:pt x="294" y="351"/>
                  <a:pt x="286" y="343"/>
                </a:cubicBezTo>
                <a:cubicBezTo>
                  <a:pt x="281" y="338"/>
                  <a:pt x="274" y="334"/>
                  <a:pt x="266" y="332"/>
                </a:cubicBezTo>
                <a:cubicBezTo>
                  <a:pt x="266" y="250"/>
                  <a:pt x="266" y="250"/>
                  <a:pt x="266" y="250"/>
                </a:cubicBezTo>
                <a:cubicBezTo>
                  <a:pt x="397" y="211"/>
                  <a:pt x="397" y="211"/>
                  <a:pt x="397" y="211"/>
                </a:cubicBezTo>
                <a:cubicBezTo>
                  <a:pt x="402" y="210"/>
                  <a:pt x="405" y="204"/>
                  <a:pt x="404" y="19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136753318"/>
      </p:ext>
    </p:extLst>
  </p:cSld>
  <p:clrMapOvr>
    <a:masterClrMapping/>
  </p:clrMapOvr>
  <p:transition>
    <p:fade/>
  </p:transition>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Charts</a:t>
            </a:r>
            <a:endParaRPr lang="en-GB" dirty="0"/>
          </a:p>
        </p:txBody>
      </p:sp>
      <p:sp>
        <p:nvSpPr>
          <p:cNvPr id="4" name="Title 3"/>
          <p:cNvSpPr>
            <a:spLocks noGrp="1"/>
          </p:cNvSpPr>
          <p:nvPr>
            <p:ph type="title"/>
          </p:nvPr>
        </p:nvSpPr>
        <p:spPr/>
        <p:txBody>
          <a:bodyPr/>
          <a:lstStyle/>
          <a:p>
            <a:r>
              <a:rPr lang="en-GB" dirty="0"/>
              <a:t>Iconography</a:t>
            </a:r>
          </a:p>
        </p:txBody>
      </p:sp>
      <p:sp>
        <p:nvSpPr>
          <p:cNvPr id="36" name="TextBox 35">
            <a:extLst>
              <a:ext uri="{FF2B5EF4-FFF2-40B4-BE49-F238E27FC236}">
                <a16:creationId xmlns:a16="http://schemas.microsoft.com/office/drawing/2014/main" id="{FA4B9C84-F6F8-4EA8-8F8A-4AC292261914}"/>
              </a:ext>
            </a:extLst>
          </p:cNvPr>
          <p:cNvSpPr txBox="1"/>
          <p:nvPr/>
        </p:nvSpPr>
        <p:spPr>
          <a:xfrm>
            <a:off x="466057" y="212440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ne graph</a:t>
            </a:r>
          </a:p>
        </p:txBody>
      </p:sp>
      <p:sp>
        <p:nvSpPr>
          <p:cNvPr id="37" name="TextBox 36">
            <a:extLst>
              <a:ext uri="{FF2B5EF4-FFF2-40B4-BE49-F238E27FC236}">
                <a16:creationId xmlns:a16="http://schemas.microsoft.com/office/drawing/2014/main" id="{7C949062-B541-4AE0-BA15-02B5B3F9B7D0}"/>
              </a:ext>
            </a:extLst>
          </p:cNvPr>
          <p:cNvSpPr txBox="1"/>
          <p:nvPr/>
        </p:nvSpPr>
        <p:spPr>
          <a:xfrm>
            <a:off x="1324616" y="212514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r chart 1</a:t>
            </a:r>
          </a:p>
        </p:txBody>
      </p:sp>
      <p:sp>
        <p:nvSpPr>
          <p:cNvPr id="38" name="TextBox 37">
            <a:extLst>
              <a:ext uri="{FF2B5EF4-FFF2-40B4-BE49-F238E27FC236}">
                <a16:creationId xmlns:a16="http://schemas.microsoft.com/office/drawing/2014/main" id="{48F79E01-CE34-4957-A2B0-92EC39D1F9A8}"/>
              </a:ext>
            </a:extLst>
          </p:cNvPr>
          <p:cNvSpPr txBox="1"/>
          <p:nvPr/>
        </p:nvSpPr>
        <p:spPr>
          <a:xfrm>
            <a:off x="2197992" y="212514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r chart 2</a:t>
            </a:r>
          </a:p>
        </p:txBody>
      </p:sp>
      <p:sp>
        <p:nvSpPr>
          <p:cNvPr id="39" name="TextBox 38">
            <a:extLst>
              <a:ext uri="{FF2B5EF4-FFF2-40B4-BE49-F238E27FC236}">
                <a16:creationId xmlns:a16="http://schemas.microsoft.com/office/drawing/2014/main" id="{8D7B8F00-ADAB-4B31-9B41-9488426153A8}"/>
              </a:ext>
            </a:extLst>
          </p:cNvPr>
          <p:cNvSpPr txBox="1"/>
          <p:nvPr/>
        </p:nvSpPr>
        <p:spPr>
          <a:xfrm>
            <a:off x="3938394" y="212514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e chart 2</a:t>
            </a:r>
          </a:p>
        </p:txBody>
      </p:sp>
      <p:sp>
        <p:nvSpPr>
          <p:cNvPr id="40" name="TextBox 39">
            <a:extLst>
              <a:ext uri="{FF2B5EF4-FFF2-40B4-BE49-F238E27FC236}">
                <a16:creationId xmlns:a16="http://schemas.microsoft.com/office/drawing/2014/main" id="{648476C2-1C2C-4EE7-84F7-88668CB5193A}"/>
              </a:ext>
            </a:extLst>
          </p:cNvPr>
          <p:cNvSpPr txBox="1"/>
          <p:nvPr/>
        </p:nvSpPr>
        <p:spPr>
          <a:xfrm>
            <a:off x="4808597" y="212514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ot graph</a:t>
            </a:r>
          </a:p>
        </p:txBody>
      </p:sp>
      <p:sp>
        <p:nvSpPr>
          <p:cNvPr id="41" name="TextBox 40">
            <a:extLst>
              <a:ext uri="{FF2B5EF4-FFF2-40B4-BE49-F238E27FC236}">
                <a16:creationId xmlns:a16="http://schemas.microsoft.com/office/drawing/2014/main" id="{24079301-4C95-433E-9EF0-D11E6A5B020F}"/>
              </a:ext>
            </a:extLst>
          </p:cNvPr>
          <p:cNvSpPr txBox="1"/>
          <p:nvPr/>
        </p:nvSpPr>
        <p:spPr>
          <a:xfrm>
            <a:off x="3068193" y="212514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e chart 1</a:t>
            </a:r>
          </a:p>
        </p:txBody>
      </p:sp>
      <p:sp>
        <p:nvSpPr>
          <p:cNvPr id="42" name="Freeform 584">
            <a:extLst>
              <a:ext uri="{FF2B5EF4-FFF2-40B4-BE49-F238E27FC236}">
                <a16:creationId xmlns:a16="http://schemas.microsoft.com/office/drawing/2014/main" id="{FF6BB7C9-18C2-4DA8-A56D-68C04E9A8268}"/>
              </a:ext>
            </a:extLst>
          </p:cNvPr>
          <p:cNvSpPr>
            <a:spLocks noChangeAspect="1" noEditPoints="1"/>
          </p:cNvSpPr>
          <p:nvPr/>
        </p:nvSpPr>
        <p:spPr bwMode="auto">
          <a:xfrm>
            <a:off x="488404" y="170021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 name="Group 587">
            <a:extLst>
              <a:ext uri="{FF2B5EF4-FFF2-40B4-BE49-F238E27FC236}">
                <a16:creationId xmlns:a16="http://schemas.microsoft.com/office/drawing/2014/main" id="{C4A4FC4C-CCFA-4B64-9EDE-8FF04F849FE3}"/>
              </a:ext>
            </a:extLst>
          </p:cNvPr>
          <p:cNvGrpSpPr>
            <a:grpSpLocks noChangeAspect="1"/>
          </p:cNvGrpSpPr>
          <p:nvPr/>
        </p:nvGrpSpPr>
        <p:grpSpPr bwMode="auto">
          <a:xfrm>
            <a:off x="921004" y="1700214"/>
            <a:ext cx="367041" cy="367041"/>
            <a:chOff x="2878" y="2417"/>
            <a:chExt cx="340" cy="340"/>
          </a:xfrm>
          <a:solidFill>
            <a:schemeClr val="accent1"/>
          </a:solidFill>
        </p:grpSpPr>
        <p:sp>
          <p:nvSpPr>
            <p:cNvPr id="44" name="Freeform 588">
              <a:extLst>
                <a:ext uri="{FF2B5EF4-FFF2-40B4-BE49-F238E27FC236}">
                  <a16:creationId xmlns:a16="http://schemas.microsoft.com/office/drawing/2014/main" id="{81DD369E-1852-407C-9856-ECC90BAEFE95}"/>
                </a:ext>
              </a:extLst>
            </p:cNvPr>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589">
              <a:extLst>
                <a:ext uri="{FF2B5EF4-FFF2-40B4-BE49-F238E27FC236}">
                  <a16:creationId xmlns:a16="http://schemas.microsoft.com/office/drawing/2014/main" id="{B7310E05-6326-45A8-824F-1D3202A16730}"/>
                </a:ext>
              </a:extLst>
            </p:cNvPr>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590">
              <a:extLst>
                <a:ext uri="{FF2B5EF4-FFF2-40B4-BE49-F238E27FC236}">
                  <a16:creationId xmlns:a16="http://schemas.microsoft.com/office/drawing/2014/main" id="{569E4F3C-647F-44C4-84B9-393E704DAAB0}"/>
                </a:ext>
              </a:extLst>
            </p:cNvPr>
            <p:cNvSpPr>
              <a:spLocks noEditPoints="1"/>
            </p:cNvSpPr>
            <p:nvPr/>
          </p:nvSpPr>
          <p:spPr bwMode="auto">
            <a:xfrm>
              <a:off x="2878" y="241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7" name="Freeform 364">
            <a:extLst>
              <a:ext uri="{FF2B5EF4-FFF2-40B4-BE49-F238E27FC236}">
                <a16:creationId xmlns:a16="http://schemas.microsoft.com/office/drawing/2014/main" id="{AC815D84-E767-4EE4-B900-1D9EBE79D4E9}"/>
              </a:ext>
            </a:extLst>
          </p:cNvPr>
          <p:cNvSpPr>
            <a:spLocks noChangeAspect="1" noEditPoints="1"/>
          </p:cNvSpPr>
          <p:nvPr/>
        </p:nvSpPr>
        <p:spPr bwMode="auto">
          <a:xfrm>
            <a:off x="1353604" y="1700213"/>
            <a:ext cx="369064" cy="367982"/>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 name="Group 367">
            <a:extLst>
              <a:ext uri="{FF2B5EF4-FFF2-40B4-BE49-F238E27FC236}">
                <a16:creationId xmlns:a16="http://schemas.microsoft.com/office/drawing/2014/main" id="{5C6E52B3-E5BD-4D0C-8153-1E993EF5FABA}"/>
              </a:ext>
            </a:extLst>
          </p:cNvPr>
          <p:cNvGrpSpPr>
            <a:grpSpLocks noChangeAspect="1"/>
          </p:cNvGrpSpPr>
          <p:nvPr/>
        </p:nvGrpSpPr>
        <p:grpSpPr bwMode="auto">
          <a:xfrm>
            <a:off x="1788227" y="1700213"/>
            <a:ext cx="367982" cy="369064"/>
            <a:chOff x="4383" y="2091"/>
            <a:chExt cx="340" cy="341"/>
          </a:xfrm>
          <a:solidFill>
            <a:schemeClr val="accent4"/>
          </a:solidFill>
        </p:grpSpPr>
        <p:sp>
          <p:nvSpPr>
            <p:cNvPr id="49" name="Freeform 262">
              <a:extLst>
                <a:ext uri="{FF2B5EF4-FFF2-40B4-BE49-F238E27FC236}">
                  <a16:creationId xmlns:a16="http://schemas.microsoft.com/office/drawing/2014/main" id="{ACD5ACD1-FB5C-47A9-9137-5935594CCA26}"/>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263">
              <a:extLst>
                <a:ext uri="{FF2B5EF4-FFF2-40B4-BE49-F238E27FC236}">
                  <a16:creationId xmlns:a16="http://schemas.microsoft.com/office/drawing/2014/main" id="{C708C427-0145-41DC-A7FE-BDAF91EEFED7}"/>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 name="Freeform 373">
            <a:extLst>
              <a:ext uri="{FF2B5EF4-FFF2-40B4-BE49-F238E27FC236}">
                <a16:creationId xmlns:a16="http://schemas.microsoft.com/office/drawing/2014/main" id="{5A91A878-E760-4C13-8069-CB0915DAAC4E}"/>
              </a:ext>
            </a:extLst>
          </p:cNvPr>
          <p:cNvSpPr>
            <a:spLocks noChangeAspect="1" noEditPoints="1"/>
          </p:cNvSpPr>
          <p:nvPr/>
        </p:nvSpPr>
        <p:spPr bwMode="auto">
          <a:xfrm>
            <a:off x="2221768" y="170021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256 h 512"/>
              <a:gd name="T12" fmla="*/ 362 w 512"/>
              <a:gd name="T13" fmla="*/ 245 h 512"/>
              <a:gd name="T14" fmla="*/ 373 w 512"/>
              <a:gd name="T15" fmla="*/ 256 h 512"/>
              <a:gd name="T16" fmla="*/ 373 w 512"/>
              <a:gd name="T17" fmla="*/ 320 h 512"/>
              <a:gd name="T18" fmla="*/ 362 w 512"/>
              <a:gd name="T19" fmla="*/ 330 h 512"/>
              <a:gd name="T20" fmla="*/ 352 w 512"/>
              <a:gd name="T21" fmla="*/ 320 h 512"/>
              <a:gd name="T22" fmla="*/ 352 w 512"/>
              <a:gd name="T23" fmla="*/ 256 h 512"/>
              <a:gd name="T24" fmla="*/ 309 w 512"/>
              <a:gd name="T25" fmla="*/ 170 h 512"/>
              <a:gd name="T26" fmla="*/ 320 w 512"/>
              <a:gd name="T27" fmla="*/ 160 h 512"/>
              <a:gd name="T28" fmla="*/ 330 w 512"/>
              <a:gd name="T29" fmla="*/ 170 h 512"/>
              <a:gd name="T30" fmla="*/ 330 w 512"/>
              <a:gd name="T31" fmla="*/ 320 h 512"/>
              <a:gd name="T32" fmla="*/ 320 w 512"/>
              <a:gd name="T33" fmla="*/ 330 h 512"/>
              <a:gd name="T34" fmla="*/ 309 w 512"/>
              <a:gd name="T35" fmla="*/ 320 h 512"/>
              <a:gd name="T36" fmla="*/ 309 w 512"/>
              <a:gd name="T37" fmla="*/ 170 h 512"/>
              <a:gd name="T38" fmla="*/ 266 w 512"/>
              <a:gd name="T39" fmla="*/ 202 h 512"/>
              <a:gd name="T40" fmla="*/ 277 w 512"/>
              <a:gd name="T41" fmla="*/ 192 h 512"/>
              <a:gd name="T42" fmla="*/ 288 w 512"/>
              <a:gd name="T43" fmla="*/ 202 h 512"/>
              <a:gd name="T44" fmla="*/ 288 w 512"/>
              <a:gd name="T45" fmla="*/ 320 h 512"/>
              <a:gd name="T46" fmla="*/ 277 w 512"/>
              <a:gd name="T47" fmla="*/ 330 h 512"/>
              <a:gd name="T48" fmla="*/ 266 w 512"/>
              <a:gd name="T49" fmla="*/ 320 h 512"/>
              <a:gd name="T50" fmla="*/ 266 w 512"/>
              <a:gd name="T51" fmla="*/ 202 h 512"/>
              <a:gd name="T52" fmla="*/ 224 w 512"/>
              <a:gd name="T53" fmla="*/ 149 h 512"/>
              <a:gd name="T54" fmla="*/ 234 w 512"/>
              <a:gd name="T55" fmla="*/ 138 h 512"/>
              <a:gd name="T56" fmla="*/ 245 w 512"/>
              <a:gd name="T57" fmla="*/ 149 h 512"/>
              <a:gd name="T58" fmla="*/ 245 w 512"/>
              <a:gd name="T59" fmla="*/ 320 h 512"/>
              <a:gd name="T60" fmla="*/ 234 w 512"/>
              <a:gd name="T61" fmla="*/ 330 h 512"/>
              <a:gd name="T62" fmla="*/ 224 w 512"/>
              <a:gd name="T63" fmla="*/ 320 h 512"/>
              <a:gd name="T64" fmla="*/ 224 w 512"/>
              <a:gd name="T65" fmla="*/ 149 h 512"/>
              <a:gd name="T66" fmla="*/ 181 w 512"/>
              <a:gd name="T67" fmla="*/ 245 h 512"/>
              <a:gd name="T68" fmla="*/ 192 w 512"/>
              <a:gd name="T69" fmla="*/ 234 h 512"/>
              <a:gd name="T70" fmla="*/ 202 w 512"/>
              <a:gd name="T71" fmla="*/ 245 h 512"/>
              <a:gd name="T72" fmla="*/ 202 w 512"/>
              <a:gd name="T73" fmla="*/ 320 h 512"/>
              <a:gd name="T74" fmla="*/ 192 w 512"/>
              <a:gd name="T75" fmla="*/ 330 h 512"/>
              <a:gd name="T76" fmla="*/ 181 w 512"/>
              <a:gd name="T77" fmla="*/ 320 h 512"/>
              <a:gd name="T78" fmla="*/ 181 w 512"/>
              <a:gd name="T79" fmla="*/ 245 h 512"/>
              <a:gd name="T80" fmla="*/ 138 w 512"/>
              <a:gd name="T81" fmla="*/ 277 h 512"/>
              <a:gd name="T82" fmla="*/ 149 w 512"/>
              <a:gd name="T83" fmla="*/ 266 h 512"/>
              <a:gd name="T84" fmla="*/ 160 w 512"/>
              <a:gd name="T85" fmla="*/ 277 h 512"/>
              <a:gd name="T86" fmla="*/ 160 w 512"/>
              <a:gd name="T87" fmla="*/ 320 h 512"/>
              <a:gd name="T88" fmla="*/ 149 w 512"/>
              <a:gd name="T89" fmla="*/ 330 h 512"/>
              <a:gd name="T90" fmla="*/ 138 w 512"/>
              <a:gd name="T91" fmla="*/ 320 h 512"/>
              <a:gd name="T92" fmla="*/ 138 w 512"/>
              <a:gd name="T93" fmla="*/ 277 h 512"/>
              <a:gd name="T94" fmla="*/ 405 w 512"/>
              <a:gd name="T95" fmla="*/ 373 h 512"/>
              <a:gd name="T96" fmla="*/ 106 w 512"/>
              <a:gd name="T97" fmla="*/ 373 h 512"/>
              <a:gd name="T98" fmla="*/ 96 w 512"/>
              <a:gd name="T99" fmla="*/ 362 h 512"/>
              <a:gd name="T100" fmla="*/ 96 w 512"/>
              <a:gd name="T101" fmla="*/ 149 h 512"/>
              <a:gd name="T102" fmla="*/ 106 w 512"/>
              <a:gd name="T103" fmla="*/ 138 h 512"/>
              <a:gd name="T104" fmla="*/ 117 w 512"/>
              <a:gd name="T105" fmla="*/ 149 h 512"/>
              <a:gd name="T106" fmla="*/ 117 w 512"/>
              <a:gd name="T107" fmla="*/ 352 h 512"/>
              <a:gd name="T108" fmla="*/ 405 w 512"/>
              <a:gd name="T109" fmla="*/ 352 h 512"/>
              <a:gd name="T110" fmla="*/ 416 w 512"/>
              <a:gd name="T111" fmla="*/ 362 h 512"/>
              <a:gd name="T112" fmla="*/ 405 w 512"/>
              <a:gd name="T11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56"/>
                </a:moveTo>
                <a:cubicBezTo>
                  <a:pt x="352" y="250"/>
                  <a:pt x="356" y="245"/>
                  <a:pt x="362" y="245"/>
                </a:cubicBezTo>
                <a:cubicBezTo>
                  <a:pt x="368" y="245"/>
                  <a:pt x="373" y="250"/>
                  <a:pt x="373" y="256"/>
                </a:cubicBezTo>
                <a:cubicBezTo>
                  <a:pt x="373" y="320"/>
                  <a:pt x="373" y="320"/>
                  <a:pt x="373" y="320"/>
                </a:cubicBezTo>
                <a:cubicBezTo>
                  <a:pt x="373" y="326"/>
                  <a:pt x="368" y="330"/>
                  <a:pt x="362" y="330"/>
                </a:cubicBezTo>
                <a:cubicBezTo>
                  <a:pt x="356" y="330"/>
                  <a:pt x="352" y="326"/>
                  <a:pt x="352" y="320"/>
                </a:cubicBezTo>
                <a:lnTo>
                  <a:pt x="352" y="256"/>
                </a:lnTo>
                <a:close/>
                <a:moveTo>
                  <a:pt x="309" y="170"/>
                </a:moveTo>
                <a:cubicBezTo>
                  <a:pt x="309" y="164"/>
                  <a:pt x="314" y="160"/>
                  <a:pt x="320" y="160"/>
                </a:cubicBezTo>
                <a:cubicBezTo>
                  <a:pt x="326" y="160"/>
                  <a:pt x="330" y="164"/>
                  <a:pt x="330" y="170"/>
                </a:cubicBezTo>
                <a:cubicBezTo>
                  <a:pt x="330" y="320"/>
                  <a:pt x="330" y="320"/>
                  <a:pt x="330" y="320"/>
                </a:cubicBezTo>
                <a:cubicBezTo>
                  <a:pt x="330" y="326"/>
                  <a:pt x="326" y="330"/>
                  <a:pt x="320" y="330"/>
                </a:cubicBezTo>
                <a:cubicBezTo>
                  <a:pt x="314" y="330"/>
                  <a:pt x="309" y="326"/>
                  <a:pt x="309" y="320"/>
                </a:cubicBezTo>
                <a:lnTo>
                  <a:pt x="309" y="170"/>
                </a:lnTo>
                <a:close/>
                <a:moveTo>
                  <a:pt x="266" y="202"/>
                </a:moveTo>
                <a:cubicBezTo>
                  <a:pt x="266" y="196"/>
                  <a:pt x="271" y="192"/>
                  <a:pt x="277" y="192"/>
                </a:cubicBezTo>
                <a:cubicBezTo>
                  <a:pt x="283" y="192"/>
                  <a:pt x="288" y="196"/>
                  <a:pt x="288" y="202"/>
                </a:cubicBezTo>
                <a:cubicBezTo>
                  <a:pt x="288" y="320"/>
                  <a:pt x="288" y="320"/>
                  <a:pt x="288" y="320"/>
                </a:cubicBezTo>
                <a:cubicBezTo>
                  <a:pt x="288" y="326"/>
                  <a:pt x="283" y="330"/>
                  <a:pt x="277" y="330"/>
                </a:cubicBezTo>
                <a:cubicBezTo>
                  <a:pt x="271" y="330"/>
                  <a:pt x="266" y="326"/>
                  <a:pt x="266" y="320"/>
                </a:cubicBezTo>
                <a:lnTo>
                  <a:pt x="266" y="202"/>
                </a:lnTo>
                <a:close/>
                <a:moveTo>
                  <a:pt x="224" y="149"/>
                </a:moveTo>
                <a:cubicBezTo>
                  <a:pt x="224" y="143"/>
                  <a:pt x="228" y="138"/>
                  <a:pt x="234" y="138"/>
                </a:cubicBezTo>
                <a:cubicBezTo>
                  <a:pt x="240" y="138"/>
                  <a:pt x="245" y="143"/>
                  <a:pt x="245" y="149"/>
                </a:cubicBezTo>
                <a:cubicBezTo>
                  <a:pt x="245" y="320"/>
                  <a:pt x="245" y="320"/>
                  <a:pt x="245" y="320"/>
                </a:cubicBezTo>
                <a:cubicBezTo>
                  <a:pt x="245" y="326"/>
                  <a:pt x="240" y="330"/>
                  <a:pt x="234" y="330"/>
                </a:cubicBezTo>
                <a:cubicBezTo>
                  <a:pt x="228" y="330"/>
                  <a:pt x="224" y="326"/>
                  <a:pt x="224" y="320"/>
                </a:cubicBezTo>
                <a:lnTo>
                  <a:pt x="224" y="149"/>
                </a:lnTo>
                <a:close/>
                <a:moveTo>
                  <a:pt x="181" y="245"/>
                </a:moveTo>
                <a:cubicBezTo>
                  <a:pt x="181" y="239"/>
                  <a:pt x="186" y="234"/>
                  <a:pt x="192" y="234"/>
                </a:cubicBezTo>
                <a:cubicBezTo>
                  <a:pt x="198" y="234"/>
                  <a:pt x="202" y="239"/>
                  <a:pt x="202" y="245"/>
                </a:cubicBezTo>
                <a:cubicBezTo>
                  <a:pt x="202" y="320"/>
                  <a:pt x="202" y="320"/>
                  <a:pt x="202" y="320"/>
                </a:cubicBezTo>
                <a:cubicBezTo>
                  <a:pt x="202" y="326"/>
                  <a:pt x="198" y="330"/>
                  <a:pt x="192" y="330"/>
                </a:cubicBezTo>
                <a:cubicBezTo>
                  <a:pt x="186" y="330"/>
                  <a:pt x="181" y="326"/>
                  <a:pt x="181" y="320"/>
                </a:cubicBezTo>
                <a:lnTo>
                  <a:pt x="181" y="245"/>
                </a:lnTo>
                <a:close/>
                <a:moveTo>
                  <a:pt x="138" y="277"/>
                </a:moveTo>
                <a:cubicBezTo>
                  <a:pt x="138" y="271"/>
                  <a:pt x="143" y="266"/>
                  <a:pt x="149" y="266"/>
                </a:cubicBezTo>
                <a:cubicBezTo>
                  <a:pt x="155" y="266"/>
                  <a:pt x="160" y="271"/>
                  <a:pt x="160" y="277"/>
                </a:cubicBezTo>
                <a:cubicBezTo>
                  <a:pt x="160" y="320"/>
                  <a:pt x="160" y="320"/>
                  <a:pt x="160" y="320"/>
                </a:cubicBezTo>
                <a:cubicBezTo>
                  <a:pt x="160" y="326"/>
                  <a:pt x="155" y="330"/>
                  <a:pt x="149" y="330"/>
                </a:cubicBezTo>
                <a:cubicBezTo>
                  <a:pt x="143" y="330"/>
                  <a:pt x="138" y="326"/>
                  <a:pt x="138" y="320"/>
                </a:cubicBezTo>
                <a:lnTo>
                  <a:pt x="138" y="277"/>
                </a:ln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2" name="Group 376">
            <a:extLst>
              <a:ext uri="{FF2B5EF4-FFF2-40B4-BE49-F238E27FC236}">
                <a16:creationId xmlns:a16="http://schemas.microsoft.com/office/drawing/2014/main" id="{61C54581-38EC-4D05-AD97-C282D796841D}"/>
              </a:ext>
            </a:extLst>
          </p:cNvPr>
          <p:cNvGrpSpPr>
            <a:grpSpLocks noChangeAspect="1"/>
          </p:cNvGrpSpPr>
          <p:nvPr/>
        </p:nvGrpSpPr>
        <p:grpSpPr bwMode="auto">
          <a:xfrm>
            <a:off x="2655309" y="1700213"/>
            <a:ext cx="367982" cy="367982"/>
            <a:chOff x="3466" y="2823"/>
            <a:chExt cx="340" cy="340"/>
          </a:xfrm>
          <a:solidFill>
            <a:schemeClr val="accent4"/>
          </a:solidFill>
        </p:grpSpPr>
        <p:sp>
          <p:nvSpPr>
            <p:cNvPr id="53" name="Freeform 377">
              <a:extLst>
                <a:ext uri="{FF2B5EF4-FFF2-40B4-BE49-F238E27FC236}">
                  <a16:creationId xmlns:a16="http://schemas.microsoft.com/office/drawing/2014/main" id="{DEB9911B-D059-4032-8119-997072C950AF}"/>
                </a:ext>
              </a:extLst>
            </p:cNvPr>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378">
              <a:extLst>
                <a:ext uri="{FF2B5EF4-FFF2-40B4-BE49-F238E27FC236}">
                  <a16:creationId xmlns:a16="http://schemas.microsoft.com/office/drawing/2014/main" id="{625EDB69-7224-42C5-99F4-DC3A5FC63F1A}"/>
                </a:ext>
              </a:extLst>
            </p:cNvPr>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 name="Group 354">
            <a:extLst>
              <a:ext uri="{FF2B5EF4-FFF2-40B4-BE49-F238E27FC236}">
                <a16:creationId xmlns:a16="http://schemas.microsoft.com/office/drawing/2014/main" id="{AB07EC30-C0B4-484C-82A5-EA1801FC0BDD}"/>
              </a:ext>
            </a:extLst>
          </p:cNvPr>
          <p:cNvGrpSpPr>
            <a:grpSpLocks noChangeAspect="1"/>
          </p:cNvGrpSpPr>
          <p:nvPr/>
        </p:nvGrpSpPr>
        <p:grpSpPr bwMode="auto">
          <a:xfrm>
            <a:off x="4392590" y="1700213"/>
            <a:ext cx="369021" cy="370106"/>
            <a:chOff x="2705" y="1184"/>
            <a:chExt cx="340" cy="341"/>
          </a:xfrm>
          <a:solidFill>
            <a:schemeClr val="accent4"/>
          </a:solidFill>
        </p:grpSpPr>
        <p:sp>
          <p:nvSpPr>
            <p:cNvPr id="56" name="Freeform 355">
              <a:extLst>
                <a:ext uri="{FF2B5EF4-FFF2-40B4-BE49-F238E27FC236}">
                  <a16:creationId xmlns:a16="http://schemas.microsoft.com/office/drawing/2014/main" id="{65F38772-F1F5-49FD-9E9B-59F62ACEAAAE}"/>
                </a:ext>
              </a:extLst>
            </p:cNvPr>
            <p:cNvSpPr>
              <a:spLocks noEditPoints="1"/>
            </p:cNvSpPr>
            <p:nvPr/>
          </p:nvSpPr>
          <p:spPr bwMode="auto">
            <a:xfrm>
              <a:off x="2769" y="1248"/>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85 w 320"/>
                <a:gd name="T11" fmla="*/ 170 h 320"/>
                <a:gd name="T12" fmla="*/ 298 w 320"/>
                <a:gd name="T13" fmla="*/ 170 h 320"/>
                <a:gd name="T14" fmla="*/ 265 w 320"/>
                <a:gd name="T15" fmla="*/ 250 h 320"/>
                <a:gd name="T16" fmla="*/ 185 w 320"/>
                <a:gd name="T17" fmla="*/ 170 h 320"/>
                <a:gd name="T18" fmla="*/ 298 w 320"/>
                <a:gd name="T19" fmla="*/ 149 h 320"/>
                <a:gd name="T20" fmla="*/ 170 w 320"/>
                <a:gd name="T21" fmla="*/ 149 h 320"/>
                <a:gd name="T22" fmla="*/ 170 w 320"/>
                <a:gd name="T23" fmla="*/ 22 h 320"/>
                <a:gd name="T24" fmla="*/ 298 w 320"/>
                <a:gd name="T25" fmla="*/ 149 h 320"/>
                <a:gd name="T26" fmla="*/ 21 w 320"/>
                <a:gd name="T27" fmla="*/ 160 h 320"/>
                <a:gd name="T28" fmla="*/ 149 w 320"/>
                <a:gd name="T29" fmla="*/ 22 h 320"/>
                <a:gd name="T30" fmla="*/ 149 w 320"/>
                <a:gd name="T31" fmla="*/ 160 h 320"/>
                <a:gd name="T32" fmla="*/ 152 w 320"/>
                <a:gd name="T33" fmla="*/ 167 h 320"/>
                <a:gd name="T34" fmla="*/ 250 w 320"/>
                <a:gd name="T35" fmla="*/ 265 h 320"/>
                <a:gd name="T36" fmla="*/ 160 w 320"/>
                <a:gd name="T37" fmla="*/ 298 h 320"/>
                <a:gd name="T38" fmla="*/ 21 w 320"/>
                <a:gd name="T39"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85" y="170"/>
                  </a:moveTo>
                  <a:cubicBezTo>
                    <a:pt x="298" y="170"/>
                    <a:pt x="298" y="170"/>
                    <a:pt x="298" y="170"/>
                  </a:cubicBezTo>
                  <a:cubicBezTo>
                    <a:pt x="295" y="201"/>
                    <a:pt x="283" y="228"/>
                    <a:pt x="265" y="250"/>
                  </a:cubicBezTo>
                  <a:lnTo>
                    <a:pt x="185" y="170"/>
                  </a:lnTo>
                  <a:close/>
                  <a:moveTo>
                    <a:pt x="298" y="149"/>
                  </a:moveTo>
                  <a:cubicBezTo>
                    <a:pt x="170" y="149"/>
                    <a:pt x="170" y="149"/>
                    <a:pt x="170" y="149"/>
                  </a:cubicBezTo>
                  <a:cubicBezTo>
                    <a:pt x="170" y="22"/>
                    <a:pt x="170" y="22"/>
                    <a:pt x="170" y="22"/>
                  </a:cubicBezTo>
                  <a:cubicBezTo>
                    <a:pt x="238" y="27"/>
                    <a:pt x="293" y="81"/>
                    <a:pt x="298" y="149"/>
                  </a:cubicBezTo>
                  <a:close/>
                  <a:moveTo>
                    <a:pt x="21" y="160"/>
                  </a:moveTo>
                  <a:cubicBezTo>
                    <a:pt x="21" y="87"/>
                    <a:pt x="78" y="27"/>
                    <a:pt x="149" y="22"/>
                  </a:cubicBezTo>
                  <a:cubicBezTo>
                    <a:pt x="149" y="160"/>
                    <a:pt x="149" y="160"/>
                    <a:pt x="149" y="160"/>
                  </a:cubicBezTo>
                  <a:cubicBezTo>
                    <a:pt x="149" y="163"/>
                    <a:pt x="150" y="165"/>
                    <a:pt x="152" y="167"/>
                  </a:cubicBezTo>
                  <a:cubicBezTo>
                    <a:pt x="250" y="265"/>
                    <a:pt x="250" y="265"/>
                    <a:pt x="250" y="265"/>
                  </a:cubicBezTo>
                  <a:cubicBezTo>
                    <a:pt x="226" y="286"/>
                    <a:pt x="194" y="298"/>
                    <a:pt x="160" y="298"/>
                  </a:cubicBezTo>
                  <a:cubicBezTo>
                    <a:pt x="83" y="298"/>
                    <a:pt x="21" y="236"/>
                    <a:pt x="21"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356">
              <a:extLst>
                <a:ext uri="{FF2B5EF4-FFF2-40B4-BE49-F238E27FC236}">
                  <a16:creationId xmlns:a16="http://schemas.microsoft.com/office/drawing/2014/main" id="{9B2E2F68-95DB-4DDB-AA4F-30DAA5DE543C}"/>
                </a:ext>
              </a:extLst>
            </p:cNvPr>
            <p:cNvSpPr>
              <a:spLocks noEditPoints="1"/>
            </p:cNvSpPr>
            <p:nvPr/>
          </p:nvSpPr>
          <p:spPr bwMode="auto">
            <a:xfrm>
              <a:off x="2705" y="118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 name="Freeform 360">
            <a:extLst>
              <a:ext uri="{FF2B5EF4-FFF2-40B4-BE49-F238E27FC236}">
                <a16:creationId xmlns:a16="http://schemas.microsoft.com/office/drawing/2014/main" id="{7683AB6E-6535-4F7B-82F9-4B4C89D89306}"/>
              </a:ext>
            </a:extLst>
          </p:cNvPr>
          <p:cNvSpPr>
            <a:spLocks noChangeAspect="1" noEditPoints="1"/>
          </p:cNvSpPr>
          <p:nvPr/>
        </p:nvSpPr>
        <p:spPr bwMode="auto">
          <a:xfrm>
            <a:off x="3958010" y="1700214"/>
            <a:ext cx="369021" cy="369021"/>
          </a:xfrm>
          <a:custGeom>
            <a:avLst/>
            <a:gdLst>
              <a:gd name="T0" fmla="*/ 281 w 512"/>
              <a:gd name="T1" fmla="*/ 266 h 512"/>
              <a:gd name="T2" fmla="*/ 394 w 512"/>
              <a:gd name="T3" fmla="*/ 266 h 512"/>
              <a:gd name="T4" fmla="*/ 361 w 512"/>
              <a:gd name="T5" fmla="*/ 346 h 512"/>
              <a:gd name="T6" fmla="*/ 281 w 512"/>
              <a:gd name="T7" fmla="*/ 266 h 512"/>
              <a:gd name="T8" fmla="*/ 245 w 512"/>
              <a:gd name="T9" fmla="*/ 256 h 512"/>
              <a:gd name="T10" fmla="*/ 245 w 512"/>
              <a:gd name="T11" fmla="*/ 118 h 512"/>
              <a:gd name="T12" fmla="*/ 117 w 512"/>
              <a:gd name="T13" fmla="*/ 256 h 512"/>
              <a:gd name="T14" fmla="*/ 256 w 512"/>
              <a:gd name="T15" fmla="*/ 394 h 512"/>
              <a:gd name="T16" fmla="*/ 346 w 512"/>
              <a:gd name="T17" fmla="*/ 361 h 512"/>
              <a:gd name="T18" fmla="*/ 248 w 512"/>
              <a:gd name="T19" fmla="*/ 263 h 512"/>
              <a:gd name="T20" fmla="*/ 245 w 512"/>
              <a:gd name="T21" fmla="*/ 256 h 512"/>
              <a:gd name="T22" fmla="*/ 266 w 512"/>
              <a:gd name="T23" fmla="*/ 118 h 512"/>
              <a:gd name="T24" fmla="*/ 266 w 512"/>
              <a:gd name="T25" fmla="*/ 245 h 512"/>
              <a:gd name="T26" fmla="*/ 394 w 512"/>
              <a:gd name="T27" fmla="*/ 245 h 512"/>
              <a:gd name="T28" fmla="*/ 266 w 512"/>
              <a:gd name="T29" fmla="*/ 11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256 h 512"/>
              <a:gd name="T42" fmla="*/ 256 w 512"/>
              <a:gd name="T43" fmla="*/ 96 h 512"/>
              <a:gd name="T44" fmla="*/ 96 w 512"/>
              <a:gd name="T45" fmla="*/ 256 h 512"/>
              <a:gd name="T46" fmla="*/ 256 w 512"/>
              <a:gd name="T47" fmla="*/ 416 h 512"/>
              <a:gd name="T48" fmla="*/ 416 w 512"/>
              <a:gd name="T4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81" y="266"/>
                </a:moveTo>
                <a:cubicBezTo>
                  <a:pt x="394" y="266"/>
                  <a:pt x="394" y="266"/>
                  <a:pt x="394" y="266"/>
                </a:cubicBezTo>
                <a:cubicBezTo>
                  <a:pt x="391" y="297"/>
                  <a:pt x="379" y="324"/>
                  <a:pt x="361" y="346"/>
                </a:cubicBezTo>
                <a:lnTo>
                  <a:pt x="281" y="266"/>
                </a:lnTo>
                <a:close/>
                <a:moveTo>
                  <a:pt x="245" y="256"/>
                </a:moveTo>
                <a:cubicBezTo>
                  <a:pt x="245" y="118"/>
                  <a:pt x="245" y="118"/>
                  <a:pt x="245" y="118"/>
                </a:cubicBezTo>
                <a:cubicBezTo>
                  <a:pt x="174" y="123"/>
                  <a:pt x="117" y="183"/>
                  <a:pt x="117" y="256"/>
                </a:cubicBezTo>
                <a:cubicBezTo>
                  <a:pt x="117" y="332"/>
                  <a:pt x="179" y="394"/>
                  <a:pt x="256" y="394"/>
                </a:cubicBezTo>
                <a:cubicBezTo>
                  <a:pt x="290" y="394"/>
                  <a:pt x="322" y="382"/>
                  <a:pt x="346" y="361"/>
                </a:cubicBezTo>
                <a:cubicBezTo>
                  <a:pt x="248" y="263"/>
                  <a:pt x="248" y="263"/>
                  <a:pt x="248" y="263"/>
                </a:cubicBezTo>
                <a:cubicBezTo>
                  <a:pt x="246" y="261"/>
                  <a:pt x="245" y="259"/>
                  <a:pt x="245" y="256"/>
                </a:cubicBezTo>
                <a:close/>
                <a:moveTo>
                  <a:pt x="266" y="118"/>
                </a:moveTo>
                <a:cubicBezTo>
                  <a:pt x="266" y="245"/>
                  <a:pt x="266" y="245"/>
                  <a:pt x="266" y="245"/>
                </a:cubicBezTo>
                <a:cubicBezTo>
                  <a:pt x="394" y="245"/>
                  <a:pt x="394" y="245"/>
                  <a:pt x="394" y="245"/>
                </a:cubicBezTo>
                <a:cubicBezTo>
                  <a:pt x="389" y="177"/>
                  <a:pt x="334" y="123"/>
                  <a:pt x="266" y="11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 name="Group 363">
            <a:extLst>
              <a:ext uri="{FF2B5EF4-FFF2-40B4-BE49-F238E27FC236}">
                <a16:creationId xmlns:a16="http://schemas.microsoft.com/office/drawing/2014/main" id="{718BB74E-9A60-4EB3-9EC3-2706E9F8DBA5}"/>
              </a:ext>
            </a:extLst>
          </p:cNvPr>
          <p:cNvGrpSpPr>
            <a:grpSpLocks noChangeAspect="1"/>
          </p:cNvGrpSpPr>
          <p:nvPr/>
        </p:nvGrpSpPr>
        <p:grpSpPr bwMode="auto">
          <a:xfrm>
            <a:off x="3523430" y="1700214"/>
            <a:ext cx="369021" cy="369021"/>
            <a:chOff x="1912" y="1204"/>
            <a:chExt cx="340" cy="340"/>
          </a:xfrm>
          <a:solidFill>
            <a:schemeClr val="accent4"/>
          </a:solidFill>
        </p:grpSpPr>
        <p:sp>
          <p:nvSpPr>
            <p:cNvPr id="60" name="Freeform 364">
              <a:extLst>
                <a:ext uri="{FF2B5EF4-FFF2-40B4-BE49-F238E27FC236}">
                  <a16:creationId xmlns:a16="http://schemas.microsoft.com/office/drawing/2014/main" id="{8079749E-D156-48EE-9ED6-96B6D6F6EFFB}"/>
                </a:ext>
              </a:extLst>
            </p:cNvPr>
            <p:cNvSpPr>
              <a:spLocks noEditPoints="1"/>
            </p:cNvSpPr>
            <p:nvPr/>
          </p:nvSpPr>
          <p:spPr bwMode="auto">
            <a:xfrm>
              <a:off x="1997" y="1289"/>
              <a:ext cx="170" cy="170"/>
            </a:xfrm>
            <a:custGeom>
              <a:avLst/>
              <a:gdLst>
                <a:gd name="T0" fmla="*/ 245 w 256"/>
                <a:gd name="T1" fmla="*/ 117 h 256"/>
                <a:gd name="T2" fmla="*/ 138 w 256"/>
                <a:gd name="T3" fmla="*/ 117 h 256"/>
                <a:gd name="T4" fmla="*/ 138 w 256"/>
                <a:gd name="T5" fmla="*/ 10 h 256"/>
                <a:gd name="T6" fmla="*/ 128 w 256"/>
                <a:gd name="T7" fmla="*/ 0 h 256"/>
                <a:gd name="T8" fmla="*/ 0 w 256"/>
                <a:gd name="T9" fmla="*/ 128 h 256"/>
                <a:gd name="T10" fmla="*/ 128 w 256"/>
                <a:gd name="T11" fmla="*/ 256 h 256"/>
                <a:gd name="T12" fmla="*/ 256 w 256"/>
                <a:gd name="T13" fmla="*/ 128 h 256"/>
                <a:gd name="T14" fmla="*/ 245 w 256"/>
                <a:gd name="T15" fmla="*/ 117 h 256"/>
                <a:gd name="T16" fmla="*/ 128 w 256"/>
                <a:gd name="T17" fmla="*/ 234 h 256"/>
                <a:gd name="T18" fmla="*/ 21 w 256"/>
                <a:gd name="T19" fmla="*/ 128 h 256"/>
                <a:gd name="T20" fmla="*/ 117 w 256"/>
                <a:gd name="T21" fmla="*/ 22 h 256"/>
                <a:gd name="T22" fmla="*/ 117 w 256"/>
                <a:gd name="T23" fmla="*/ 128 h 256"/>
                <a:gd name="T24" fmla="*/ 128 w 256"/>
                <a:gd name="T25" fmla="*/ 138 h 256"/>
                <a:gd name="T26" fmla="*/ 234 w 256"/>
                <a:gd name="T27" fmla="*/ 138 h 256"/>
                <a:gd name="T28" fmla="*/ 128 w 256"/>
                <a:gd name="T29" fmla="*/ 23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56">
                  <a:moveTo>
                    <a:pt x="245" y="117"/>
                  </a:moveTo>
                  <a:cubicBezTo>
                    <a:pt x="138" y="117"/>
                    <a:pt x="138" y="117"/>
                    <a:pt x="138" y="117"/>
                  </a:cubicBezTo>
                  <a:cubicBezTo>
                    <a:pt x="138" y="10"/>
                    <a:pt x="138" y="10"/>
                    <a:pt x="138" y="10"/>
                  </a:cubicBezTo>
                  <a:cubicBezTo>
                    <a:pt x="138" y="4"/>
                    <a:pt x="134" y="0"/>
                    <a:pt x="128" y="0"/>
                  </a:cubicBezTo>
                  <a:cubicBezTo>
                    <a:pt x="57" y="0"/>
                    <a:pt x="0" y="57"/>
                    <a:pt x="0" y="128"/>
                  </a:cubicBezTo>
                  <a:cubicBezTo>
                    <a:pt x="0" y="198"/>
                    <a:pt x="57" y="256"/>
                    <a:pt x="128" y="256"/>
                  </a:cubicBezTo>
                  <a:cubicBezTo>
                    <a:pt x="198" y="256"/>
                    <a:pt x="256" y="198"/>
                    <a:pt x="256" y="128"/>
                  </a:cubicBezTo>
                  <a:cubicBezTo>
                    <a:pt x="256" y="122"/>
                    <a:pt x="251" y="117"/>
                    <a:pt x="245" y="117"/>
                  </a:cubicBezTo>
                  <a:close/>
                  <a:moveTo>
                    <a:pt x="128" y="234"/>
                  </a:moveTo>
                  <a:cubicBezTo>
                    <a:pt x="69" y="234"/>
                    <a:pt x="21" y="186"/>
                    <a:pt x="21" y="128"/>
                  </a:cubicBezTo>
                  <a:cubicBezTo>
                    <a:pt x="21" y="72"/>
                    <a:pt x="63" y="27"/>
                    <a:pt x="117" y="22"/>
                  </a:cubicBezTo>
                  <a:cubicBezTo>
                    <a:pt x="117" y="128"/>
                    <a:pt x="117" y="128"/>
                    <a:pt x="117" y="128"/>
                  </a:cubicBezTo>
                  <a:cubicBezTo>
                    <a:pt x="117" y="134"/>
                    <a:pt x="122" y="138"/>
                    <a:pt x="128" y="138"/>
                  </a:cubicBezTo>
                  <a:cubicBezTo>
                    <a:pt x="234" y="138"/>
                    <a:pt x="234" y="138"/>
                    <a:pt x="234" y="138"/>
                  </a:cubicBezTo>
                  <a:cubicBezTo>
                    <a:pt x="228" y="192"/>
                    <a:pt x="183" y="234"/>
                    <a:pt x="128"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365">
              <a:extLst>
                <a:ext uri="{FF2B5EF4-FFF2-40B4-BE49-F238E27FC236}">
                  <a16:creationId xmlns:a16="http://schemas.microsoft.com/office/drawing/2014/main" id="{17D48AD7-61E6-45D0-A47C-D8D10E762111}"/>
                </a:ext>
              </a:extLst>
            </p:cNvPr>
            <p:cNvSpPr>
              <a:spLocks noEditPoints="1"/>
            </p:cNvSpPr>
            <p:nvPr/>
          </p:nvSpPr>
          <p:spPr bwMode="auto">
            <a:xfrm>
              <a:off x="2103" y="1280"/>
              <a:ext cx="73" cy="73"/>
            </a:xfrm>
            <a:custGeom>
              <a:avLst/>
              <a:gdLst>
                <a:gd name="T0" fmla="*/ 109 w 110"/>
                <a:gd name="T1" fmla="*/ 96 h 110"/>
                <a:gd name="T2" fmla="*/ 14 w 110"/>
                <a:gd name="T3" fmla="*/ 1 h 110"/>
                <a:gd name="T4" fmla="*/ 4 w 110"/>
                <a:gd name="T5" fmla="*/ 2 h 110"/>
                <a:gd name="T6" fmla="*/ 0 w 110"/>
                <a:gd name="T7" fmla="*/ 11 h 110"/>
                <a:gd name="T8" fmla="*/ 0 w 110"/>
                <a:gd name="T9" fmla="*/ 99 h 110"/>
                <a:gd name="T10" fmla="*/ 10 w 110"/>
                <a:gd name="T11" fmla="*/ 110 h 110"/>
                <a:gd name="T12" fmla="*/ 98 w 110"/>
                <a:gd name="T13" fmla="*/ 110 h 110"/>
                <a:gd name="T14" fmla="*/ 107 w 110"/>
                <a:gd name="T15" fmla="*/ 105 h 110"/>
                <a:gd name="T16" fmla="*/ 109 w 110"/>
                <a:gd name="T17" fmla="*/ 96 h 110"/>
                <a:gd name="T18" fmla="*/ 21 w 110"/>
                <a:gd name="T19" fmla="*/ 88 h 110"/>
                <a:gd name="T20" fmla="*/ 21 w 110"/>
                <a:gd name="T21" fmla="*/ 26 h 110"/>
                <a:gd name="T22" fmla="*/ 83 w 110"/>
                <a:gd name="T23" fmla="*/ 88 h 110"/>
                <a:gd name="T24" fmla="*/ 21 w 110"/>
                <a:gd name="T25" fmla="*/ 8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0">
                  <a:moveTo>
                    <a:pt x="109" y="96"/>
                  </a:moveTo>
                  <a:cubicBezTo>
                    <a:pt x="94" y="51"/>
                    <a:pt x="59" y="15"/>
                    <a:pt x="14" y="1"/>
                  </a:cubicBezTo>
                  <a:cubicBezTo>
                    <a:pt x="10" y="0"/>
                    <a:pt x="7" y="0"/>
                    <a:pt x="4" y="2"/>
                  </a:cubicBezTo>
                  <a:cubicBezTo>
                    <a:pt x="1" y="4"/>
                    <a:pt x="0" y="8"/>
                    <a:pt x="0" y="11"/>
                  </a:cubicBezTo>
                  <a:cubicBezTo>
                    <a:pt x="0" y="99"/>
                    <a:pt x="0" y="99"/>
                    <a:pt x="0" y="99"/>
                  </a:cubicBezTo>
                  <a:cubicBezTo>
                    <a:pt x="0" y="105"/>
                    <a:pt x="4" y="110"/>
                    <a:pt x="10" y="110"/>
                  </a:cubicBezTo>
                  <a:cubicBezTo>
                    <a:pt x="98" y="110"/>
                    <a:pt x="98" y="110"/>
                    <a:pt x="98" y="110"/>
                  </a:cubicBezTo>
                  <a:cubicBezTo>
                    <a:pt x="102" y="110"/>
                    <a:pt x="105" y="108"/>
                    <a:pt x="107" y="105"/>
                  </a:cubicBezTo>
                  <a:cubicBezTo>
                    <a:pt x="109" y="103"/>
                    <a:pt x="110" y="99"/>
                    <a:pt x="109" y="96"/>
                  </a:cubicBezTo>
                  <a:close/>
                  <a:moveTo>
                    <a:pt x="21" y="88"/>
                  </a:moveTo>
                  <a:cubicBezTo>
                    <a:pt x="21" y="26"/>
                    <a:pt x="21" y="26"/>
                    <a:pt x="21" y="26"/>
                  </a:cubicBezTo>
                  <a:cubicBezTo>
                    <a:pt x="48" y="39"/>
                    <a:pt x="70" y="61"/>
                    <a:pt x="83" y="88"/>
                  </a:cubicBezTo>
                  <a:lnTo>
                    <a:pt x="21" y="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366">
              <a:extLst>
                <a:ext uri="{FF2B5EF4-FFF2-40B4-BE49-F238E27FC236}">
                  <a16:creationId xmlns:a16="http://schemas.microsoft.com/office/drawing/2014/main" id="{838FC8F6-715B-4990-AD9F-CC9B6763211B}"/>
                </a:ext>
              </a:extLst>
            </p:cNvPr>
            <p:cNvSpPr>
              <a:spLocks noEditPoints="1"/>
            </p:cNvSpPr>
            <p:nvPr/>
          </p:nvSpPr>
          <p:spPr bwMode="auto">
            <a:xfrm>
              <a:off x="1912" y="12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 name="Freeform 370">
            <a:extLst>
              <a:ext uri="{FF2B5EF4-FFF2-40B4-BE49-F238E27FC236}">
                <a16:creationId xmlns:a16="http://schemas.microsoft.com/office/drawing/2014/main" id="{21244A0F-8397-4F97-9BAB-AFAF801782CE}"/>
              </a:ext>
            </a:extLst>
          </p:cNvPr>
          <p:cNvSpPr>
            <a:spLocks noChangeAspect="1" noEditPoints="1"/>
          </p:cNvSpPr>
          <p:nvPr/>
        </p:nvSpPr>
        <p:spPr bwMode="auto">
          <a:xfrm>
            <a:off x="3088850" y="1700214"/>
            <a:ext cx="369021" cy="369021"/>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4" name="Group 463">
            <a:extLst>
              <a:ext uri="{FF2B5EF4-FFF2-40B4-BE49-F238E27FC236}">
                <a16:creationId xmlns:a16="http://schemas.microsoft.com/office/drawing/2014/main" id="{D7EB8B3A-FBE7-4C5C-97D3-82A26CDA7727}"/>
              </a:ext>
            </a:extLst>
          </p:cNvPr>
          <p:cNvGrpSpPr>
            <a:grpSpLocks noChangeAspect="1"/>
          </p:cNvGrpSpPr>
          <p:nvPr/>
        </p:nvGrpSpPr>
        <p:grpSpPr bwMode="auto">
          <a:xfrm>
            <a:off x="5261752" y="1700214"/>
            <a:ext cx="369021" cy="369021"/>
            <a:chOff x="1110" y="1564"/>
            <a:chExt cx="340" cy="340"/>
          </a:xfrm>
          <a:solidFill>
            <a:schemeClr val="accent5"/>
          </a:solidFill>
        </p:grpSpPr>
        <p:sp>
          <p:nvSpPr>
            <p:cNvPr id="65" name="Freeform 464">
              <a:extLst>
                <a:ext uri="{FF2B5EF4-FFF2-40B4-BE49-F238E27FC236}">
                  <a16:creationId xmlns:a16="http://schemas.microsoft.com/office/drawing/2014/main" id="{5BDBFA5E-2925-4DB1-B9DD-77E15012A854}"/>
                </a:ext>
              </a:extLst>
            </p:cNvPr>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465">
              <a:extLst>
                <a:ext uri="{FF2B5EF4-FFF2-40B4-BE49-F238E27FC236}">
                  <a16:creationId xmlns:a16="http://schemas.microsoft.com/office/drawing/2014/main" id="{10BECE3E-F0DF-4183-A026-78C65A018C8E}"/>
                </a:ext>
              </a:extLst>
            </p:cNvPr>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7" name="Freeform 469">
            <a:extLst>
              <a:ext uri="{FF2B5EF4-FFF2-40B4-BE49-F238E27FC236}">
                <a16:creationId xmlns:a16="http://schemas.microsoft.com/office/drawing/2014/main" id="{876460C5-ADF2-4A37-B50B-5E2EE6D5382B}"/>
              </a:ext>
            </a:extLst>
          </p:cNvPr>
          <p:cNvSpPr>
            <a:spLocks noChangeAspect="1" noEditPoints="1"/>
          </p:cNvSpPr>
          <p:nvPr/>
        </p:nvSpPr>
        <p:spPr bwMode="auto">
          <a:xfrm>
            <a:off x="4827170" y="1700214"/>
            <a:ext cx="369021" cy="369021"/>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60272883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dirty="0">
                <a:solidFill>
                  <a:schemeClr val="tx1"/>
                </a:solidFill>
              </a:rPr>
              <a:t>Tables and structured text</a:t>
            </a:r>
          </a:p>
        </p:txBody>
      </p:sp>
    </p:spTree>
    <p:extLst>
      <p:ext uri="{BB962C8B-B14F-4D97-AF65-F5344CB8AC3E}">
        <p14:creationId xmlns:p14="http://schemas.microsoft.com/office/powerpoint/2010/main" val="13554406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Vertical chevrons with text</a:t>
            </a:r>
            <a:endParaRPr lang="en-US" dirty="0"/>
          </a:p>
        </p:txBody>
      </p:sp>
      <p:sp>
        <p:nvSpPr>
          <p:cNvPr id="3" name="Title 2"/>
          <p:cNvSpPr>
            <a:spLocks noGrp="1"/>
          </p:cNvSpPr>
          <p:nvPr>
            <p:ph type="title"/>
          </p:nvPr>
        </p:nvSpPr>
        <p:spPr/>
        <p:txBody>
          <a:bodyPr/>
          <a:lstStyle/>
          <a:p>
            <a:r>
              <a:rPr lang="en-US" altLang="ja-JP"/>
              <a:t>Text boxes</a:t>
            </a:r>
            <a:endParaRPr lang="en-US" dirty="0"/>
          </a:p>
        </p:txBody>
      </p:sp>
      <p:sp>
        <p:nvSpPr>
          <p:cNvPr id="6" name="AutoShape 3"/>
          <p:cNvSpPr>
            <a:spLocks noChangeArrowheads="1"/>
          </p:cNvSpPr>
          <p:nvPr/>
        </p:nvSpPr>
        <p:spPr bwMode="auto">
          <a:xfrm rot="5400000">
            <a:off x="1479314" y="540432"/>
            <a:ext cx="1128701" cy="3084031"/>
          </a:xfrm>
          <a:prstGeom prst="chevron">
            <a:avLst>
              <a:gd name="adj" fmla="val 25000"/>
            </a:avLst>
          </a:prstGeom>
          <a:solidFill>
            <a:schemeClr val="bg2">
              <a:lumMod val="40000"/>
              <a:lumOff val="60000"/>
            </a:schemeClr>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Text</a:t>
            </a:r>
          </a:p>
        </p:txBody>
      </p:sp>
      <p:sp>
        <p:nvSpPr>
          <p:cNvPr id="7" name="AutoShape 4"/>
          <p:cNvSpPr>
            <a:spLocks noChangeArrowheads="1"/>
          </p:cNvSpPr>
          <p:nvPr/>
        </p:nvSpPr>
        <p:spPr bwMode="auto">
          <a:xfrm rot="5400000">
            <a:off x="1479314" y="1669132"/>
            <a:ext cx="1128701" cy="3084031"/>
          </a:xfrm>
          <a:prstGeom prst="chevron">
            <a:avLst>
              <a:gd name="adj" fmla="val 25000"/>
            </a:avLst>
          </a:prstGeom>
          <a:solidFill>
            <a:schemeClr val="bg2">
              <a:lumMod val="60000"/>
              <a:lumOff val="40000"/>
            </a:schemeClr>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Text</a:t>
            </a:r>
          </a:p>
        </p:txBody>
      </p:sp>
      <p:sp>
        <p:nvSpPr>
          <p:cNvPr id="8" name="AutoShape 5"/>
          <p:cNvSpPr>
            <a:spLocks noChangeArrowheads="1"/>
          </p:cNvSpPr>
          <p:nvPr/>
        </p:nvSpPr>
        <p:spPr bwMode="auto">
          <a:xfrm rot="5400000">
            <a:off x="1479314" y="2797832"/>
            <a:ext cx="1128701" cy="3084031"/>
          </a:xfrm>
          <a:prstGeom prst="chevron">
            <a:avLst>
              <a:gd name="adj" fmla="val 25000"/>
            </a:avLst>
          </a:prstGeom>
          <a:solidFill>
            <a:schemeClr val="bg2">
              <a:lumMod val="75000"/>
            </a:schemeClr>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Text</a:t>
            </a:r>
          </a:p>
        </p:txBody>
      </p:sp>
      <p:sp>
        <p:nvSpPr>
          <p:cNvPr id="9" name="AutoShape 6"/>
          <p:cNvSpPr>
            <a:spLocks noChangeArrowheads="1"/>
          </p:cNvSpPr>
          <p:nvPr/>
        </p:nvSpPr>
        <p:spPr bwMode="auto">
          <a:xfrm rot="5400000">
            <a:off x="1479314" y="3926531"/>
            <a:ext cx="1128701" cy="3084031"/>
          </a:xfrm>
          <a:prstGeom prst="chevron">
            <a:avLst>
              <a:gd name="adj" fmla="val 25000"/>
            </a:avLst>
          </a:prstGeom>
          <a:solidFill>
            <a:schemeClr val="tx1"/>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Text</a:t>
            </a:r>
          </a:p>
        </p:txBody>
      </p:sp>
      <p:sp>
        <p:nvSpPr>
          <p:cNvPr id="10" name="Text Placeholder 5"/>
          <p:cNvSpPr txBox="1">
            <a:spLocks/>
          </p:cNvSpPr>
          <p:nvPr/>
        </p:nvSpPr>
        <p:spPr>
          <a:xfrm>
            <a:off x="4232952" y="1579743"/>
            <a:ext cx="7457398" cy="47705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bullet dummy text it is not here to be read</a:t>
            </a:r>
          </a:p>
          <a:p>
            <a:pPr marL="254000" lvl="2" indent="-114300">
              <a:spcBef>
                <a:spcPts val="600"/>
              </a:spcBef>
              <a:buSzPct val="100000"/>
              <a:buFont typeface="Arial"/>
              <a:buChar char="−"/>
            </a:pPr>
            <a:r>
              <a:rPr lang="en-GB" sz="1300" dirty="0">
                <a:solidFill>
                  <a:schemeClr val="tx1"/>
                </a:solidFill>
              </a:rPr>
              <a:t>This is second level dummy text it is not here to be read</a:t>
            </a:r>
            <a:endParaRPr lang="en-US" sz="1300" dirty="0">
              <a:solidFill>
                <a:schemeClr val="tx1"/>
              </a:solidFill>
            </a:endParaRPr>
          </a:p>
        </p:txBody>
      </p:sp>
      <p:sp>
        <p:nvSpPr>
          <p:cNvPr id="11" name="Text Placeholder 5"/>
          <p:cNvSpPr txBox="1">
            <a:spLocks/>
          </p:cNvSpPr>
          <p:nvPr/>
        </p:nvSpPr>
        <p:spPr>
          <a:xfrm>
            <a:off x="4232952" y="2708443"/>
            <a:ext cx="7457398" cy="47705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bullet dummy text it is not here to be read</a:t>
            </a:r>
          </a:p>
          <a:p>
            <a:pPr marL="254000" lvl="2" indent="-114300">
              <a:spcBef>
                <a:spcPts val="600"/>
              </a:spcBef>
              <a:buSzPct val="100000"/>
              <a:buFont typeface="Arial"/>
              <a:buChar char="−"/>
            </a:pPr>
            <a:r>
              <a:rPr lang="en-GB" sz="1300" dirty="0">
                <a:solidFill>
                  <a:schemeClr val="tx1"/>
                </a:solidFill>
              </a:rPr>
              <a:t>This is second level dummy text it is not here to be read</a:t>
            </a:r>
            <a:endParaRPr lang="en-US" sz="1300" dirty="0">
              <a:solidFill>
                <a:schemeClr val="tx1"/>
              </a:solidFill>
            </a:endParaRPr>
          </a:p>
        </p:txBody>
      </p:sp>
      <p:sp>
        <p:nvSpPr>
          <p:cNvPr id="12" name="Text Placeholder 5"/>
          <p:cNvSpPr txBox="1">
            <a:spLocks/>
          </p:cNvSpPr>
          <p:nvPr/>
        </p:nvSpPr>
        <p:spPr>
          <a:xfrm>
            <a:off x="4232952" y="3837143"/>
            <a:ext cx="7457398" cy="47705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bullet dummy text it is not here to be read</a:t>
            </a:r>
          </a:p>
          <a:p>
            <a:pPr marL="254000" lvl="2" indent="-114300">
              <a:spcBef>
                <a:spcPts val="600"/>
              </a:spcBef>
              <a:buSzPct val="100000"/>
              <a:buFont typeface="Arial"/>
              <a:buChar char="−"/>
            </a:pPr>
            <a:r>
              <a:rPr lang="en-GB" sz="1300" dirty="0">
                <a:solidFill>
                  <a:schemeClr val="tx1"/>
                </a:solidFill>
              </a:rPr>
              <a:t>This is second level dummy text it is not here to be read</a:t>
            </a:r>
            <a:endParaRPr lang="en-US" sz="1300" dirty="0">
              <a:solidFill>
                <a:schemeClr val="tx1"/>
              </a:solidFill>
            </a:endParaRPr>
          </a:p>
        </p:txBody>
      </p:sp>
      <p:sp>
        <p:nvSpPr>
          <p:cNvPr id="13" name="Text Placeholder 5"/>
          <p:cNvSpPr txBox="1">
            <a:spLocks/>
          </p:cNvSpPr>
          <p:nvPr/>
        </p:nvSpPr>
        <p:spPr>
          <a:xfrm>
            <a:off x="4232952" y="4965842"/>
            <a:ext cx="7457398" cy="47705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300" dirty="0">
                <a:solidFill>
                  <a:schemeClr val="tx1"/>
                </a:solidFill>
              </a:rPr>
              <a:t>This is bullet dummy text it is not here to be read</a:t>
            </a:r>
          </a:p>
          <a:p>
            <a:pPr marL="254000" lvl="2" indent="-114300">
              <a:spcBef>
                <a:spcPts val="600"/>
              </a:spcBef>
              <a:buSzPct val="100000"/>
              <a:buFont typeface="Arial"/>
              <a:buChar char="−"/>
            </a:pPr>
            <a:r>
              <a:rPr lang="en-GB" sz="1300" dirty="0">
                <a:solidFill>
                  <a:schemeClr val="tx1"/>
                </a:solidFill>
              </a:rPr>
              <a:t>This is second level dummy text it is not here to be read</a:t>
            </a:r>
            <a:endParaRPr lang="en-US" sz="1300" dirty="0">
              <a:solidFill>
                <a:schemeClr val="tx1"/>
              </a:solidFill>
            </a:endParaRPr>
          </a:p>
        </p:txBody>
      </p:sp>
    </p:spTree>
    <p:extLst>
      <p:ext uri="{BB962C8B-B14F-4D97-AF65-F5344CB8AC3E}">
        <p14:creationId xmlns:p14="http://schemas.microsoft.com/office/powerpoint/2010/main" val="223423633"/>
      </p:ext>
    </p:extLst>
  </p:cSld>
  <p:clrMapOvr>
    <a:masterClrMapping/>
  </p:clrMapOvr>
  <p:transition>
    <p:fade/>
  </p:transition>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Arrows</a:t>
            </a:r>
            <a:endParaRPr lang="en-GB" dirty="0"/>
          </a:p>
        </p:txBody>
      </p:sp>
      <p:sp>
        <p:nvSpPr>
          <p:cNvPr id="4" name="Title 3"/>
          <p:cNvSpPr>
            <a:spLocks noGrp="1"/>
          </p:cNvSpPr>
          <p:nvPr>
            <p:ph type="title"/>
          </p:nvPr>
        </p:nvSpPr>
        <p:spPr/>
        <p:txBody>
          <a:bodyPr/>
          <a:lstStyle/>
          <a:p>
            <a:r>
              <a:rPr lang="en-GB" dirty="0"/>
              <a:t>Iconography</a:t>
            </a:r>
          </a:p>
        </p:txBody>
      </p:sp>
      <p:sp>
        <p:nvSpPr>
          <p:cNvPr id="222" name="TextBox 221">
            <a:extLst>
              <a:ext uri="{FF2B5EF4-FFF2-40B4-BE49-F238E27FC236}">
                <a16:creationId xmlns:a16="http://schemas.microsoft.com/office/drawing/2014/main" id="{AF344C7A-F00A-4BF6-BA36-021F3B51E377}"/>
              </a:ext>
            </a:extLst>
          </p:cNvPr>
          <p:cNvSpPr txBox="1"/>
          <p:nvPr/>
        </p:nvSpPr>
        <p:spPr>
          <a:xfrm>
            <a:off x="464676" y="2120395"/>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down arrow</a:t>
            </a:r>
          </a:p>
        </p:txBody>
      </p:sp>
      <p:sp>
        <p:nvSpPr>
          <p:cNvPr id="248" name="TextBox 247">
            <a:extLst>
              <a:ext uri="{FF2B5EF4-FFF2-40B4-BE49-F238E27FC236}">
                <a16:creationId xmlns:a16="http://schemas.microsoft.com/office/drawing/2014/main" id="{2DFDA0D1-98F4-4728-B551-1CE4068F453E}"/>
              </a:ext>
            </a:extLst>
          </p:cNvPr>
          <p:cNvSpPr txBox="1"/>
          <p:nvPr/>
        </p:nvSpPr>
        <p:spPr>
          <a:xfrm>
            <a:off x="1324671" y="2120395"/>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left arrow</a:t>
            </a:r>
          </a:p>
        </p:txBody>
      </p:sp>
      <p:sp>
        <p:nvSpPr>
          <p:cNvPr id="249" name="TextBox 248">
            <a:extLst>
              <a:ext uri="{FF2B5EF4-FFF2-40B4-BE49-F238E27FC236}">
                <a16:creationId xmlns:a16="http://schemas.microsoft.com/office/drawing/2014/main" id="{87C36B28-0035-4343-BE20-D64F7DCA2B43}"/>
              </a:ext>
            </a:extLst>
          </p:cNvPr>
          <p:cNvSpPr txBox="1"/>
          <p:nvPr/>
        </p:nvSpPr>
        <p:spPr>
          <a:xfrm>
            <a:off x="2199483"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row left</a:t>
            </a:r>
          </a:p>
        </p:txBody>
      </p:sp>
      <p:sp>
        <p:nvSpPr>
          <p:cNvPr id="250" name="TextBox 249">
            <a:extLst>
              <a:ext uri="{FF2B5EF4-FFF2-40B4-BE49-F238E27FC236}">
                <a16:creationId xmlns:a16="http://schemas.microsoft.com/office/drawing/2014/main" id="{4B10CB11-2834-4A5B-B0D6-0A4397105111}"/>
              </a:ext>
            </a:extLst>
          </p:cNvPr>
          <p:cNvSpPr txBox="1"/>
          <p:nvPr/>
        </p:nvSpPr>
        <p:spPr>
          <a:xfrm>
            <a:off x="3942757"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eft up</a:t>
            </a:r>
          </a:p>
        </p:txBody>
      </p:sp>
      <p:sp>
        <p:nvSpPr>
          <p:cNvPr id="251" name="TextBox 250">
            <a:extLst>
              <a:ext uri="{FF2B5EF4-FFF2-40B4-BE49-F238E27FC236}">
                <a16:creationId xmlns:a16="http://schemas.microsoft.com/office/drawing/2014/main" id="{0BB093A7-B7C2-4963-893B-9E5296E343E3}"/>
              </a:ext>
            </a:extLst>
          </p:cNvPr>
          <p:cNvSpPr txBox="1"/>
          <p:nvPr/>
        </p:nvSpPr>
        <p:spPr>
          <a:xfrm>
            <a:off x="4814394"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eft down</a:t>
            </a:r>
          </a:p>
        </p:txBody>
      </p:sp>
      <p:sp>
        <p:nvSpPr>
          <p:cNvPr id="252" name="TextBox 251">
            <a:extLst>
              <a:ext uri="{FF2B5EF4-FFF2-40B4-BE49-F238E27FC236}">
                <a16:creationId xmlns:a16="http://schemas.microsoft.com/office/drawing/2014/main" id="{EE3B10EA-43C1-4949-A4C5-048C48642144}"/>
              </a:ext>
            </a:extLst>
          </p:cNvPr>
          <p:cNvSpPr txBox="1"/>
          <p:nvPr/>
        </p:nvSpPr>
        <p:spPr>
          <a:xfrm>
            <a:off x="3071120"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eft right</a:t>
            </a:r>
          </a:p>
        </p:txBody>
      </p:sp>
      <p:sp>
        <p:nvSpPr>
          <p:cNvPr id="253" name="TextBox 252">
            <a:extLst>
              <a:ext uri="{FF2B5EF4-FFF2-40B4-BE49-F238E27FC236}">
                <a16:creationId xmlns:a16="http://schemas.microsoft.com/office/drawing/2014/main" id="{0EDB31F0-66B2-45FA-9DC8-D7BA831D3639}"/>
              </a:ext>
            </a:extLst>
          </p:cNvPr>
          <p:cNvSpPr txBox="1"/>
          <p:nvPr/>
        </p:nvSpPr>
        <p:spPr>
          <a:xfrm>
            <a:off x="5686031"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row journey</a:t>
            </a:r>
          </a:p>
        </p:txBody>
      </p:sp>
      <p:sp>
        <p:nvSpPr>
          <p:cNvPr id="254" name="TextBox 253">
            <a:extLst>
              <a:ext uri="{FF2B5EF4-FFF2-40B4-BE49-F238E27FC236}">
                <a16:creationId xmlns:a16="http://schemas.microsoft.com/office/drawing/2014/main" id="{D36549DB-98BB-4F07-9C7C-1C5636BB9982}"/>
              </a:ext>
            </a:extLst>
          </p:cNvPr>
          <p:cNvSpPr txBox="1"/>
          <p:nvPr/>
        </p:nvSpPr>
        <p:spPr>
          <a:xfrm>
            <a:off x="8300942"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wn left</a:t>
            </a:r>
          </a:p>
        </p:txBody>
      </p:sp>
      <p:sp>
        <p:nvSpPr>
          <p:cNvPr id="255" name="TextBox 254">
            <a:extLst>
              <a:ext uri="{FF2B5EF4-FFF2-40B4-BE49-F238E27FC236}">
                <a16:creationId xmlns:a16="http://schemas.microsoft.com/office/drawing/2014/main" id="{8A38EED5-0E5B-4C8A-9893-2B5BFC8AEEE1}"/>
              </a:ext>
            </a:extLst>
          </p:cNvPr>
          <p:cNvSpPr txBox="1"/>
          <p:nvPr/>
        </p:nvSpPr>
        <p:spPr>
          <a:xfrm>
            <a:off x="7429305"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wn right</a:t>
            </a:r>
          </a:p>
        </p:txBody>
      </p:sp>
      <p:sp>
        <p:nvSpPr>
          <p:cNvPr id="278" name="TextBox 277">
            <a:extLst>
              <a:ext uri="{FF2B5EF4-FFF2-40B4-BE49-F238E27FC236}">
                <a16:creationId xmlns:a16="http://schemas.microsoft.com/office/drawing/2014/main" id="{98E652F6-83A1-4DC7-9041-00C878E62A6F}"/>
              </a:ext>
            </a:extLst>
          </p:cNvPr>
          <p:cNvSpPr txBox="1"/>
          <p:nvPr/>
        </p:nvSpPr>
        <p:spPr>
          <a:xfrm>
            <a:off x="6557668"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row down</a:t>
            </a:r>
          </a:p>
        </p:txBody>
      </p:sp>
      <p:sp>
        <p:nvSpPr>
          <p:cNvPr id="279" name="TextBox 278">
            <a:extLst>
              <a:ext uri="{FF2B5EF4-FFF2-40B4-BE49-F238E27FC236}">
                <a16:creationId xmlns:a16="http://schemas.microsoft.com/office/drawing/2014/main" id="{3E874DC8-6BA8-40F5-88B8-9F349E5F6370}"/>
              </a:ext>
            </a:extLst>
          </p:cNvPr>
          <p:cNvSpPr txBox="1"/>
          <p:nvPr/>
        </p:nvSpPr>
        <p:spPr>
          <a:xfrm>
            <a:off x="9172579" y="2120395"/>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right arrow</a:t>
            </a:r>
          </a:p>
        </p:txBody>
      </p:sp>
      <p:sp>
        <p:nvSpPr>
          <p:cNvPr id="367" name="TextBox 366">
            <a:extLst>
              <a:ext uri="{FF2B5EF4-FFF2-40B4-BE49-F238E27FC236}">
                <a16:creationId xmlns:a16="http://schemas.microsoft.com/office/drawing/2014/main" id="{0CE5D547-6306-405B-831C-45390F6F5FB3}"/>
              </a:ext>
            </a:extLst>
          </p:cNvPr>
          <p:cNvSpPr txBox="1"/>
          <p:nvPr/>
        </p:nvSpPr>
        <p:spPr>
          <a:xfrm>
            <a:off x="10032574" y="2120395"/>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up arrow</a:t>
            </a:r>
          </a:p>
        </p:txBody>
      </p:sp>
      <p:sp>
        <p:nvSpPr>
          <p:cNvPr id="368" name="TextBox 367">
            <a:extLst>
              <a:ext uri="{FF2B5EF4-FFF2-40B4-BE49-F238E27FC236}">
                <a16:creationId xmlns:a16="http://schemas.microsoft.com/office/drawing/2014/main" id="{4C889134-3723-43E8-AAEA-F718A5F885B5}"/>
              </a:ext>
            </a:extLst>
          </p:cNvPr>
          <p:cNvSpPr txBox="1"/>
          <p:nvPr/>
        </p:nvSpPr>
        <p:spPr>
          <a:xfrm>
            <a:off x="10907391" y="212039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ight down</a:t>
            </a:r>
          </a:p>
        </p:txBody>
      </p:sp>
      <p:sp>
        <p:nvSpPr>
          <p:cNvPr id="369" name="TextBox 368">
            <a:extLst>
              <a:ext uri="{FF2B5EF4-FFF2-40B4-BE49-F238E27FC236}">
                <a16:creationId xmlns:a16="http://schemas.microsoft.com/office/drawing/2014/main" id="{71588B14-4C15-4068-9D2F-5B33A32D36F6}"/>
              </a:ext>
            </a:extLst>
          </p:cNvPr>
          <p:cNvSpPr txBox="1"/>
          <p:nvPr/>
        </p:nvSpPr>
        <p:spPr>
          <a:xfrm>
            <a:off x="1347276"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row right</a:t>
            </a:r>
          </a:p>
        </p:txBody>
      </p:sp>
      <p:sp>
        <p:nvSpPr>
          <p:cNvPr id="370" name="TextBox 369">
            <a:extLst>
              <a:ext uri="{FF2B5EF4-FFF2-40B4-BE49-F238E27FC236}">
                <a16:creationId xmlns:a16="http://schemas.microsoft.com/office/drawing/2014/main" id="{1625BD41-2DDB-4F97-AF58-7D131A169C0E}"/>
              </a:ext>
            </a:extLst>
          </p:cNvPr>
          <p:cNvSpPr txBox="1"/>
          <p:nvPr/>
        </p:nvSpPr>
        <p:spPr>
          <a:xfrm>
            <a:off x="2214547"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p left</a:t>
            </a:r>
          </a:p>
        </p:txBody>
      </p:sp>
      <p:sp>
        <p:nvSpPr>
          <p:cNvPr id="393" name="TextBox 392">
            <a:extLst>
              <a:ext uri="{FF2B5EF4-FFF2-40B4-BE49-F238E27FC236}">
                <a16:creationId xmlns:a16="http://schemas.microsoft.com/office/drawing/2014/main" id="{165E9A0F-0CD2-4CED-8A1D-9B860FD55365}"/>
              </a:ext>
            </a:extLst>
          </p:cNvPr>
          <p:cNvSpPr txBox="1"/>
          <p:nvPr/>
        </p:nvSpPr>
        <p:spPr>
          <a:xfrm>
            <a:off x="480005"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ight up</a:t>
            </a:r>
          </a:p>
        </p:txBody>
      </p:sp>
      <p:sp>
        <p:nvSpPr>
          <p:cNvPr id="394" name="TextBox 393">
            <a:extLst>
              <a:ext uri="{FF2B5EF4-FFF2-40B4-BE49-F238E27FC236}">
                <a16:creationId xmlns:a16="http://schemas.microsoft.com/office/drawing/2014/main" id="{4002E77D-BDE9-475B-A721-67A263F1EA7A}"/>
              </a:ext>
            </a:extLst>
          </p:cNvPr>
          <p:cNvSpPr txBox="1"/>
          <p:nvPr/>
        </p:nvSpPr>
        <p:spPr>
          <a:xfrm>
            <a:off x="3081818"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p right</a:t>
            </a:r>
          </a:p>
        </p:txBody>
      </p:sp>
      <p:sp>
        <p:nvSpPr>
          <p:cNvPr id="395" name="TextBox 394">
            <a:extLst>
              <a:ext uri="{FF2B5EF4-FFF2-40B4-BE49-F238E27FC236}">
                <a16:creationId xmlns:a16="http://schemas.microsoft.com/office/drawing/2014/main" id="{ACFE01D0-5BC1-43D8-B31B-15B751C35245}"/>
              </a:ext>
            </a:extLst>
          </p:cNvPr>
          <p:cNvSpPr txBox="1"/>
          <p:nvPr/>
        </p:nvSpPr>
        <p:spPr>
          <a:xfrm>
            <a:off x="5683631" y="2888931"/>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left</a:t>
            </a:r>
          </a:p>
        </p:txBody>
      </p:sp>
      <p:sp>
        <p:nvSpPr>
          <p:cNvPr id="396" name="TextBox 395">
            <a:extLst>
              <a:ext uri="{FF2B5EF4-FFF2-40B4-BE49-F238E27FC236}">
                <a16:creationId xmlns:a16="http://schemas.microsoft.com/office/drawing/2014/main" id="{8A8BFAF7-6F37-48C6-A76F-DBDF05A94E55}"/>
              </a:ext>
            </a:extLst>
          </p:cNvPr>
          <p:cNvSpPr txBox="1"/>
          <p:nvPr/>
        </p:nvSpPr>
        <p:spPr>
          <a:xfrm>
            <a:off x="4816360"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row up</a:t>
            </a:r>
          </a:p>
        </p:txBody>
      </p:sp>
      <p:sp>
        <p:nvSpPr>
          <p:cNvPr id="397" name="TextBox 396">
            <a:extLst>
              <a:ext uri="{FF2B5EF4-FFF2-40B4-BE49-F238E27FC236}">
                <a16:creationId xmlns:a16="http://schemas.microsoft.com/office/drawing/2014/main" id="{EE87A2B6-2AC1-4BE7-85D9-9BB29B637B1B}"/>
              </a:ext>
            </a:extLst>
          </p:cNvPr>
          <p:cNvSpPr txBox="1"/>
          <p:nvPr/>
        </p:nvSpPr>
        <p:spPr>
          <a:xfrm>
            <a:off x="3949089"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p down</a:t>
            </a:r>
          </a:p>
        </p:txBody>
      </p:sp>
      <p:sp>
        <p:nvSpPr>
          <p:cNvPr id="398" name="TextBox 397">
            <a:extLst>
              <a:ext uri="{FF2B5EF4-FFF2-40B4-BE49-F238E27FC236}">
                <a16:creationId xmlns:a16="http://schemas.microsoft.com/office/drawing/2014/main" id="{39670A3E-7E07-4398-9A33-6BD465E20722}"/>
              </a:ext>
            </a:extLst>
          </p:cNvPr>
          <p:cNvSpPr txBox="1"/>
          <p:nvPr/>
        </p:nvSpPr>
        <p:spPr>
          <a:xfrm>
            <a:off x="6550902" y="2888931"/>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right</a:t>
            </a:r>
          </a:p>
        </p:txBody>
      </p:sp>
      <p:sp>
        <p:nvSpPr>
          <p:cNvPr id="399" name="TextBox 398">
            <a:extLst>
              <a:ext uri="{FF2B5EF4-FFF2-40B4-BE49-F238E27FC236}">
                <a16:creationId xmlns:a16="http://schemas.microsoft.com/office/drawing/2014/main" id="{922E5F06-B4DF-4684-8598-91AAD6D59F16}"/>
              </a:ext>
            </a:extLst>
          </p:cNvPr>
          <p:cNvSpPr txBox="1"/>
          <p:nvPr/>
        </p:nvSpPr>
        <p:spPr>
          <a:xfrm>
            <a:off x="7406531" y="2888931"/>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side</a:t>
            </a:r>
          </a:p>
        </p:txBody>
      </p:sp>
      <p:sp>
        <p:nvSpPr>
          <p:cNvPr id="400" name="TextBox 399">
            <a:extLst>
              <a:ext uri="{FF2B5EF4-FFF2-40B4-BE49-F238E27FC236}">
                <a16:creationId xmlns:a16="http://schemas.microsoft.com/office/drawing/2014/main" id="{EF3FAE26-33A1-4934-AEBD-3C60FE26B2D9}"/>
              </a:ext>
            </a:extLst>
          </p:cNvPr>
          <p:cNvSpPr txBox="1"/>
          <p:nvPr/>
        </p:nvSpPr>
        <p:spPr>
          <a:xfrm>
            <a:off x="8276977" y="2888931"/>
            <a:ext cx="86507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up down</a:t>
            </a:r>
          </a:p>
        </p:txBody>
      </p:sp>
      <p:sp>
        <p:nvSpPr>
          <p:cNvPr id="401" name="TextBox 400">
            <a:extLst>
              <a:ext uri="{FF2B5EF4-FFF2-40B4-BE49-F238E27FC236}">
                <a16:creationId xmlns:a16="http://schemas.microsoft.com/office/drawing/2014/main" id="{750337F8-A4D1-478A-947F-B429E1620293}"/>
              </a:ext>
            </a:extLst>
          </p:cNvPr>
          <p:cNvSpPr txBox="1"/>
          <p:nvPr/>
        </p:nvSpPr>
        <p:spPr>
          <a:xfrm>
            <a:off x="453034"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in</a:t>
            </a:r>
          </a:p>
        </p:txBody>
      </p:sp>
      <p:sp>
        <p:nvSpPr>
          <p:cNvPr id="402" name="TextBox 401">
            <a:extLst>
              <a:ext uri="{FF2B5EF4-FFF2-40B4-BE49-F238E27FC236}">
                <a16:creationId xmlns:a16="http://schemas.microsoft.com/office/drawing/2014/main" id="{CD41A4C3-B64B-4DFA-A1DC-9C305E478B47}"/>
              </a:ext>
            </a:extLst>
          </p:cNvPr>
          <p:cNvSpPr txBox="1"/>
          <p:nvPr/>
        </p:nvSpPr>
        <p:spPr>
          <a:xfrm>
            <a:off x="10913067"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crease 2</a:t>
            </a:r>
          </a:p>
        </p:txBody>
      </p:sp>
      <p:sp>
        <p:nvSpPr>
          <p:cNvPr id="403" name="TextBox 402">
            <a:extLst>
              <a:ext uri="{FF2B5EF4-FFF2-40B4-BE49-F238E27FC236}">
                <a16:creationId xmlns:a16="http://schemas.microsoft.com/office/drawing/2014/main" id="{500FBDDD-8BB5-4EF8-B76E-B14B8CCCCE1C}"/>
              </a:ext>
            </a:extLst>
          </p:cNvPr>
          <p:cNvSpPr txBox="1"/>
          <p:nvPr/>
        </p:nvSpPr>
        <p:spPr>
          <a:xfrm>
            <a:off x="9178526" y="2888931"/>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up</a:t>
            </a:r>
          </a:p>
        </p:txBody>
      </p:sp>
      <p:sp>
        <p:nvSpPr>
          <p:cNvPr id="404" name="TextBox 403">
            <a:extLst>
              <a:ext uri="{FF2B5EF4-FFF2-40B4-BE49-F238E27FC236}">
                <a16:creationId xmlns:a16="http://schemas.microsoft.com/office/drawing/2014/main" id="{27D59267-2682-4AFE-AE5D-9FF545B7F0AF}"/>
              </a:ext>
            </a:extLst>
          </p:cNvPr>
          <p:cNvSpPr txBox="1"/>
          <p:nvPr/>
        </p:nvSpPr>
        <p:spPr>
          <a:xfrm>
            <a:off x="422996"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crease 3</a:t>
            </a:r>
          </a:p>
        </p:txBody>
      </p:sp>
      <p:sp>
        <p:nvSpPr>
          <p:cNvPr id="418" name="TextBox 417">
            <a:extLst>
              <a:ext uri="{FF2B5EF4-FFF2-40B4-BE49-F238E27FC236}">
                <a16:creationId xmlns:a16="http://schemas.microsoft.com/office/drawing/2014/main" id="{0DE5EE89-3A9A-4913-AE82-B86CB4BD5E90}"/>
              </a:ext>
            </a:extLst>
          </p:cNvPr>
          <p:cNvSpPr txBox="1"/>
          <p:nvPr/>
        </p:nvSpPr>
        <p:spPr>
          <a:xfrm>
            <a:off x="3030680"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finity loop</a:t>
            </a:r>
          </a:p>
        </p:txBody>
      </p:sp>
      <p:sp>
        <p:nvSpPr>
          <p:cNvPr id="419" name="TextBox 418">
            <a:extLst>
              <a:ext uri="{FF2B5EF4-FFF2-40B4-BE49-F238E27FC236}">
                <a16:creationId xmlns:a16="http://schemas.microsoft.com/office/drawing/2014/main" id="{5E9C84ED-5181-4919-B13A-84E378E0422B}"/>
              </a:ext>
            </a:extLst>
          </p:cNvPr>
          <p:cNvSpPr txBox="1"/>
          <p:nvPr/>
        </p:nvSpPr>
        <p:spPr>
          <a:xfrm>
            <a:off x="2161452"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crease 5</a:t>
            </a:r>
          </a:p>
        </p:txBody>
      </p:sp>
      <p:sp>
        <p:nvSpPr>
          <p:cNvPr id="420" name="TextBox 419">
            <a:extLst>
              <a:ext uri="{FF2B5EF4-FFF2-40B4-BE49-F238E27FC236}">
                <a16:creationId xmlns:a16="http://schemas.microsoft.com/office/drawing/2014/main" id="{D601A3AC-E675-409A-ADFF-3B0DA7A092EA}"/>
              </a:ext>
            </a:extLst>
          </p:cNvPr>
          <p:cNvSpPr txBox="1"/>
          <p:nvPr/>
        </p:nvSpPr>
        <p:spPr>
          <a:xfrm>
            <a:off x="1292224"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crease 4</a:t>
            </a:r>
          </a:p>
        </p:txBody>
      </p:sp>
      <p:sp>
        <p:nvSpPr>
          <p:cNvPr id="421" name="TextBox 420">
            <a:extLst>
              <a:ext uri="{FF2B5EF4-FFF2-40B4-BE49-F238E27FC236}">
                <a16:creationId xmlns:a16="http://schemas.microsoft.com/office/drawing/2014/main" id="{795376E3-BA77-45B4-9D51-DB6753C89A43}"/>
              </a:ext>
            </a:extLst>
          </p:cNvPr>
          <p:cNvSpPr txBox="1"/>
          <p:nvPr/>
        </p:nvSpPr>
        <p:spPr>
          <a:xfrm>
            <a:off x="4757494" y="373611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rections 1</a:t>
            </a:r>
          </a:p>
        </p:txBody>
      </p:sp>
      <p:sp>
        <p:nvSpPr>
          <p:cNvPr id="432" name="TextBox 431">
            <a:extLst>
              <a:ext uri="{FF2B5EF4-FFF2-40B4-BE49-F238E27FC236}">
                <a16:creationId xmlns:a16="http://schemas.microsoft.com/office/drawing/2014/main" id="{A9754AE9-B056-4F36-87F1-5AF29EFBB467}"/>
              </a:ext>
            </a:extLst>
          </p:cNvPr>
          <p:cNvSpPr txBox="1"/>
          <p:nvPr/>
        </p:nvSpPr>
        <p:spPr>
          <a:xfrm>
            <a:off x="5615080" y="3736118"/>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rections 2</a:t>
            </a:r>
          </a:p>
        </p:txBody>
      </p:sp>
      <p:sp>
        <p:nvSpPr>
          <p:cNvPr id="433" name="TextBox 432">
            <a:extLst>
              <a:ext uri="{FF2B5EF4-FFF2-40B4-BE49-F238E27FC236}">
                <a16:creationId xmlns:a16="http://schemas.microsoft.com/office/drawing/2014/main" id="{46DF7E69-49A7-41E1-BB2B-B97324F70640}"/>
              </a:ext>
            </a:extLst>
          </p:cNvPr>
          <p:cNvSpPr txBox="1"/>
          <p:nvPr/>
        </p:nvSpPr>
        <p:spPr>
          <a:xfrm>
            <a:off x="3929526"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crease 4</a:t>
            </a:r>
          </a:p>
        </p:txBody>
      </p:sp>
      <p:sp>
        <p:nvSpPr>
          <p:cNvPr id="434" name="TextBox 433">
            <a:extLst>
              <a:ext uri="{FF2B5EF4-FFF2-40B4-BE49-F238E27FC236}">
                <a16:creationId xmlns:a16="http://schemas.microsoft.com/office/drawing/2014/main" id="{51F4FC90-F354-4209-A0CE-B9D4B964C6B7}"/>
              </a:ext>
            </a:extLst>
          </p:cNvPr>
          <p:cNvSpPr txBox="1"/>
          <p:nvPr/>
        </p:nvSpPr>
        <p:spPr>
          <a:xfrm>
            <a:off x="4798649"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crease 5</a:t>
            </a:r>
          </a:p>
        </p:txBody>
      </p:sp>
      <p:sp>
        <p:nvSpPr>
          <p:cNvPr id="435" name="TextBox 434">
            <a:extLst>
              <a:ext uri="{FF2B5EF4-FFF2-40B4-BE49-F238E27FC236}">
                <a16:creationId xmlns:a16="http://schemas.microsoft.com/office/drawing/2014/main" id="{61B26077-5EE7-4F50-80D0-BA297269AB2D}"/>
              </a:ext>
            </a:extLst>
          </p:cNvPr>
          <p:cNvSpPr txBox="1"/>
          <p:nvPr/>
        </p:nvSpPr>
        <p:spPr>
          <a:xfrm>
            <a:off x="9095167" y="3736119"/>
            <a:ext cx="880041"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decrease</a:t>
            </a:r>
          </a:p>
        </p:txBody>
      </p:sp>
      <p:sp>
        <p:nvSpPr>
          <p:cNvPr id="436" name="TextBox 435">
            <a:extLst>
              <a:ext uri="{FF2B5EF4-FFF2-40B4-BE49-F238E27FC236}">
                <a16:creationId xmlns:a16="http://schemas.microsoft.com/office/drawing/2014/main" id="{DF63EF06-3E72-4576-BCC9-AD81EC043283}"/>
              </a:ext>
            </a:extLst>
          </p:cNvPr>
          <p:cNvSpPr txBox="1"/>
          <p:nvPr/>
        </p:nvSpPr>
        <p:spPr>
          <a:xfrm>
            <a:off x="10882874" y="3736119"/>
            <a:ext cx="8657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increase</a:t>
            </a:r>
          </a:p>
        </p:txBody>
      </p:sp>
      <p:sp>
        <p:nvSpPr>
          <p:cNvPr id="437" name="TextBox 436">
            <a:extLst>
              <a:ext uri="{FF2B5EF4-FFF2-40B4-BE49-F238E27FC236}">
                <a16:creationId xmlns:a16="http://schemas.microsoft.com/office/drawing/2014/main" id="{670CFA70-1038-496A-ACC6-1411A2046EAB}"/>
              </a:ext>
            </a:extLst>
          </p:cNvPr>
          <p:cNvSpPr txBox="1"/>
          <p:nvPr/>
        </p:nvSpPr>
        <p:spPr>
          <a:xfrm>
            <a:off x="10013644" y="3736119"/>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imple arrow down</a:t>
            </a:r>
          </a:p>
        </p:txBody>
      </p:sp>
      <p:sp>
        <p:nvSpPr>
          <p:cNvPr id="438" name="TextBox 437">
            <a:extLst>
              <a:ext uri="{FF2B5EF4-FFF2-40B4-BE49-F238E27FC236}">
                <a16:creationId xmlns:a16="http://schemas.microsoft.com/office/drawing/2014/main" id="{1604283A-59AB-41B4-AD3D-669BB39E2F68}"/>
              </a:ext>
            </a:extLst>
          </p:cNvPr>
          <p:cNvSpPr txBox="1"/>
          <p:nvPr/>
        </p:nvSpPr>
        <p:spPr>
          <a:xfrm>
            <a:off x="2191280"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crease 2</a:t>
            </a:r>
          </a:p>
        </p:txBody>
      </p:sp>
      <p:sp>
        <p:nvSpPr>
          <p:cNvPr id="439" name="TextBox 438">
            <a:extLst>
              <a:ext uri="{FF2B5EF4-FFF2-40B4-BE49-F238E27FC236}">
                <a16:creationId xmlns:a16="http://schemas.microsoft.com/office/drawing/2014/main" id="{5F058903-505D-43EB-B722-BE6F5F9B55B8}"/>
              </a:ext>
            </a:extLst>
          </p:cNvPr>
          <p:cNvSpPr txBox="1"/>
          <p:nvPr/>
        </p:nvSpPr>
        <p:spPr>
          <a:xfrm>
            <a:off x="3060403"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crease 3</a:t>
            </a:r>
          </a:p>
        </p:txBody>
      </p:sp>
      <p:sp>
        <p:nvSpPr>
          <p:cNvPr id="440" name="TextBox 439">
            <a:extLst>
              <a:ext uri="{FF2B5EF4-FFF2-40B4-BE49-F238E27FC236}">
                <a16:creationId xmlns:a16="http://schemas.microsoft.com/office/drawing/2014/main" id="{679CEBED-ED48-4483-8F98-85DBB5A0EBB0}"/>
              </a:ext>
            </a:extLst>
          </p:cNvPr>
          <p:cNvSpPr txBox="1"/>
          <p:nvPr/>
        </p:nvSpPr>
        <p:spPr>
          <a:xfrm>
            <a:off x="1322157"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crease 1</a:t>
            </a:r>
          </a:p>
        </p:txBody>
      </p:sp>
      <p:sp>
        <p:nvSpPr>
          <p:cNvPr id="441" name="TextBox 440">
            <a:extLst>
              <a:ext uri="{FF2B5EF4-FFF2-40B4-BE49-F238E27FC236}">
                <a16:creationId xmlns:a16="http://schemas.microsoft.com/office/drawing/2014/main" id="{C635EA93-B44A-48D6-8546-4F9608DF0214}"/>
              </a:ext>
            </a:extLst>
          </p:cNvPr>
          <p:cNvSpPr txBox="1"/>
          <p:nvPr/>
        </p:nvSpPr>
        <p:spPr>
          <a:xfrm>
            <a:off x="8225939"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verse</a:t>
            </a:r>
          </a:p>
        </p:txBody>
      </p:sp>
      <p:sp>
        <p:nvSpPr>
          <p:cNvPr id="442" name="TextBox 441">
            <a:extLst>
              <a:ext uri="{FF2B5EF4-FFF2-40B4-BE49-F238E27FC236}">
                <a16:creationId xmlns:a16="http://schemas.microsoft.com/office/drawing/2014/main" id="{D140DF39-1751-4EF3-B0D0-DBA679DFA3EB}"/>
              </a:ext>
            </a:extLst>
          </p:cNvPr>
          <p:cNvSpPr txBox="1"/>
          <p:nvPr/>
        </p:nvSpPr>
        <p:spPr>
          <a:xfrm>
            <a:off x="6536897"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tate 2</a:t>
            </a:r>
          </a:p>
        </p:txBody>
      </p:sp>
      <p:sp>
        <p:nvSpPr>
          <p:cNvPr id="443" name="TextBox 442">
            <a:extLst>
              <a:ext uri="{FF2B5EF4-FFF2-40B4-BE49-F238E27FC236}">
                <a16:creationId xmlns:a16="http://schemas.microsoft.com/office/drawing/2014/main" id="{9AAFB218-8462-41B8-9DEE-7048F2B45CEA}"/>
              </a:ext>
            </a:extLst>
          </p:cNvPr>
          <p:cNvSpPr txBox="1"/>
          <p:nvPr/>
        </p:nvSpPr>
        <p:spPr>
          <a:xfrm>
            <a:off x="5667772" y="453499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tate 1</a:t>
            </a:r>
          </a:p>
        </p:txBody>
      </p:sp>
      <p:sp>
        <p:nvSpPr>
          <p:cNvPr id="444" name="Freeform 82">
            <a:extLst>
              <a:ext uri="{FF2B5EF4-FFF2-40B4-BE49-F238E27FC236}">
                <a16:creationId xmlns:a16="http://schemas.microsoft.com/office/drawing/2014/main" id="{58C41E62-1273-4048-A486-22DEED45FA32}"/>
              </a:ext>
            </a:extLst>
          </p:cNvPr>
          <p:cNvSpPr>
            <a:spLocks noChangeAspect="1" noEditPoints="1"/>
          </p:cNvSpPr>
          <p:nvPr/>
        </p:nvSpPr>
        <p:spPr bwMode="auto">
          <a:xfrm>
            <a:off x="485942" y="1717387"/>
            <a:ext cx="368254"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157 h 512"/>
              <a:gd name="T12" fmla="*/ 263 w 512"/>
              <a:gd name="T13" fmla="*/ 306 h 512"/>
              <a:gd name="T14" fmla="*/ 256 w 512"/>
              <a:gd name="T15" fmla="*/ 309 h 512"/>
              <a:gd name="T16" fmla="*/ 248 w 512"/>
              <a:gd name="T17" fmla="*/ 306 h 512"/>
              <a:gd name="T18" fmla="*/ 99 w 512"/>
              <a:gd name="T19" fmla="*/ 157 h 512"/>
              <a:gd name="T20" fmla="*/ 99 w 512"/>
              <a:gd name="T21" fmla="*/ 141 h 512"/>
              <a:gd name="T22" fmla="*/ 114 w 512"/>
              <a:gd name="T23" fmla="*/ 141 h 512"/>
              <a:gd name="T24" fmla="*/ 256 w 512"/>
              <a:gd name="T25" fmla="*/ 283 h 512"/>
              <a:gd name="T26" fmla="*/ 397 w 512"/>
              <a:gd name="T27" fmla="*/ 141 h 512"/>
              <a:gd name="T28" fmla="*/ 413 w 512"/>
              <a:gd name="T29" fmla="*/ 141 h 512"/>
              <a:gd name="T30" fmla="*/ 413 w 512"/>
              <a:gd name="T31" fmla="*/ 157 h 512"/>
              <a:gd name="T32" fmla="*/ 413 w 512"/>
              <a:gd name="T33" fmla="*/ 263 h 512"/>
              <a:gd name="T34" fmla="*/ 263 w 512"/>
              <a:gd name="T35" fmla="*/ 413 h 512"/>
              <a:gd name="T36" fmla="*/ 256 w 512"/>
              <a:gd name="T37" fmla="*/ 416 h 512"/>
              <a:gd name="T38" fmla="*/ 248 w 512"/>
              <a:gd name="T39" fmla="*/ 413 h 512"/>
              <a:gd name="T40" fmla="*/ 99 w 512"/>
              <a:gd name="T41" fmla="*/ 263 h 512"/>
              <a:gd name="T42" fmla="*/ 99 w 512"/>
              <a:gd name="T43" fmla="*/ 248 h 512"/>
              <a:gd name="T44" fmla="*/ 114 w 512"/>
              <a:gd name="T45" fmla="*/ 248 h 512"/>
              <a:gd name="T46" fmla="*/ 256 w 512"/>
              <a:gd name="T47" fmla="*/ 390 h 512"/>
              <a:gd name="T48" fmla="*/ 397 w 512"/>
              <a:gd name="T49" fmla="*/ 248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157"/>
                </a:moveTo>
                <a:cubicBezTo>
                  <a:pt x="263" y="306"/>
                  <a:pt x="263" y="306"/>
                  <a:pt x="263" y="306"/>
                </a:cubicBezTo>
                <a:cubicBezTo>
                  <a:pt x="261" y="308"/>
                  <a:pt x="258" y="309"/>
                  <a:pt x="256" y="309"/>
                </a:cubicBezTo>
                <a:cubicBezTo>
                  <a:pt x="253" y="309"/>
                  <a:pt x="250" y="308"/>
                  <a:pt x="248" y="306"/>
                </a:cubicBezTo>
                <a:cubicBezTo>
                  <a:pt x="99" y="157"/>
                  <a:pt x="99" y="157"/>
                  <a:pt x="99" y="157"/>
                </a:cubicBezTo>
                <a:cubicBezTo>
                  <a:pt x="95" y="152"/>
                  <a:pt x="95" y="146"/>
                  <a:pt x="99" y="141"/>
                </a:cubicBezTo>
                <a:cubicBezTo>
                  <a:pt x="103" y="137"/>
                  <a:pt x="110" y="137"/>
                  <a:pt x="114" y="141"/>
                </a:cubicBezTo>
                <a:cubicBezTo>
                  <a:pt x="256" y="283"/>
                  <a:pt x="256" y="283"/>
                  <a:pt x="256" y="283"/>
                </a:cubicBezTo>
                <a:cubicBezTo>
                  <a:pt x="397" y="141"/>
                  <a:pt x="397" y="141"/>
                  <a:pt x="397" y="141"/>
                </a:cubicBezTo>
                <a:cubicBezTo>
                  <a:pt x="402" y="137"/>
                  <a:pt x="408" y="137"/>
                  <a:pt x="413" y="141"/>
                </a:cubicBezTo>
                <a:cubicBezTo>
                  <a:pt x="417" y="146"/>
                  <a:pt x="417" y="152"/>
                  <a:pt x="413" y="157"/>
                </a:cubicBezTo>
                <a:close/>
                <a:moveTo>
                  <a:pt x="413" y="263"/>
                </a:moveTo>
                <a:cubicBezTo>
                  <a:pt x="263" y="413"/>
                  <a:pt x="263" y="413"/>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103" y="244"/>
                  <a:pt x="110" y="244"/>
                  <a:pt x="114" y="248"/>
                </a:cubicBezTo>
                <a:cubicBezTo>
                  <a:pt x="256" y="390"/>
                  <a:pt x="256" y="390"/>
                  <a:pt x="256" y="390"/>
                </a:cubicBezTo>
                <a:cubicBezTo>
                  <a:pt x="397" y="248"/>
                  <a:pt x="397" y="248"/>
                  <a:pt x="397" y="248"/>
                </a:cubicBezTo>
                <a:cubicBezTo>
                  <a:pt x="402" y="244"/>
                  <a:pt x="408" y="244"/>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45" name="Freeform 256">
            <a:extLst>
              <a:ext uri="{FF2B5EF4-FFF2-40B4-BE49-F238E27FC236}">
                <a16:creationId xmlns:a16="http://schemas.microsoft.com/office/drawing/2014/main" id="{37F882CD-ADBE-409F-8B12-F86AEF0B66A6}"/>
              </a:ext>
            </a:extLst>
          </p:cNvPr>
          <p:cNvSpPr>
            <a:spLocks noChangeAspect="1" noEditPoints="1"/>
          </p:cNvSpPr>
          <p:nvPr/>
        </p:nvSpPr>
        <p:spPr bwMode="auto">
          <a:xfrm>
            <a:off x="921346" y="1717387"/>
            <a:ext cx="368051"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413 w 512"/>
              <a:gd name="T21" fmla="*/ 141 h 512"/>
              <a:gd name="T22" fmla="*/ 413 w 512"/>
              <a:gd name="T23" fmla="*/ 157 h 512"/>
              <a:gd name="T24" fmla="*/ 263 w 512"/>
              <a:gd name="T25" fmla="*/ 306 h 512"/>
              <a:gd name="T26" fmla="*/ 256 w 512"/>
              <a:gd name="T27" fmla="*/ 309 h 512"/>
              <a:gd name="T28" fmla="*/ 248 w 512"/>
              <a:gd name="T29" fmla="*/ 306 h 512"/>
              <a:gd name="T30" fmla="*/ 99 w 512"/>
              <a:gd name="T31" fmla="*/ 157 h 512"/>
              <a:gd name="T32" fmla="*/ 99 w 512"/>
              <a:gd name="T33" fmla="*/ 141 h 512"/>
              <a:gd name="T34" fmla="*/ 114 w 512"/>
              <a:gd name="T35" fmla="*/ 141 h 512"/>
              <a:gd name="T36" fmla="*/ 256 w 512"/>
              <a:gd name="T37" fmla="*/ 283 h 512"/>
              <a:gd name="T38" fmla="*/ 397 w 512"/>
              <a:gd name="T39" fmla="*/ 141 h 512"/>
              <a:gd name="T40" fmla="*/ 413 w 512"/>
              <a:gd name="T41" fmla="*/ 141 h 512"/>
              <a:gd name="T42" fmla="*/ 413 w 512"/>
              <a:gd name="T43" fmla="*/ 248 h 512"/>
              <a:gd name="T44" fmla="*/ 413 w 512"/>
              <a:gd name="T45" fmla="*/ 263 h 512"/>
              <a:gd name="T46" fmla="*/ 263 w 512"/>
              <a:gd name="T47" fmla="*/ 413 h 512"/>
              <a:gd name="T48" fmla="*/ 256 w 512"/>
              <a:gd name="T49" fmla="*/ 416 h 512"/>
              <a:gd name="T50" fmla="*/ 248 w 512"/>
              <a:gd name="T51" fmla="*/ 413 h 512"/>
              <a:gd name="T52" fmla="*/ 99 w 512"/>
              <a:gd name="T53" fmla="*/ 263 h 512"/>
              <a:gd name="T54" fmla="*/ 99 w 512"/>
              <a:gd name="T55" fmla="*/ 248 h 512"/>
              <a:gd name="T56" fmla="*/ 114 w 512"/>
              <a:gd name="T57" fmla="*/ 248 h 512"/>
              <a:gd name="T58" fmla="*/ 256 w 512"/>
              <a:gd name="T59" fmla="*/ 390 h 512"/>
              <a:gd name="T60" fmla="*/ 397 w 512"/>
              <a:gd name="T61" fmla="*/ 248 h 512"/>
              <a:gd name="T62" fmla="*/ 413 w 512"/>
              <a:gd name="T63" fmla="*/ 2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413" y="141"/>
                </a:moveTo>
                <a:cubicBezTo>
                  <a:pt x="417" y="146"/>
                  <a:pt x="417" y="152"/>
                  <a:pt x="413" y="157"/>
                </a:cubicBezTo>
                <a:cubicBezTo>
                  <a:pt x="263" y="306"/>
                  <a:pt x="263" y="306"/>
                  <a:pt x="263" y="306"/>
                </a:cubicBezTo>
                <a:cubicBezTo>
                  <a:pt x="261" y="308"/>
                  <a:pt x="258" y="309"/>
                  <a:pt x="256" y="309"/>
                </a:cubicBezTo>
                <a:cubicBezTo>
                  <a:pt x="253" y="309"/>
                  <a:pt x="250" y="308"/>
                  <a:pt x="248" y="306"/>
                </a:cubicBezTo>
                <a:cubicBezTo>
                  <a:pt x="99" y="157"/>
                  <a:pt x="99" y="157"/>
                  <a:pt x="99" y="157"/>
                </a:cubicBezTo>
                <a:cubicBezTo>
                  <a:pt x="95" y="152"/>
                  <a:pt x="95" y="146"/>
                  <a:pt x="99" y="141"/>
                </a:cubicBezTo>
                <a:cubicBezTo>
                  <a:pt x="103" y="137"/>
                  <a:pt x="110" y="137"/>
                  <a:pt x="114" y="141"/>
                </a:cubicBezTo>
                <a:cubicBezTo>
                  <a:pt x="256" y="283"/>
                  <a:pt x="256" y="283"/>
                  <a:pt x="256" y="283"/>
                </a:cubicBezTo>
                <a:cubicBezTo>
                  <a:pt x="397" y="141"/>
                  <a:pt x="397" y="141"/>
                  <a:pt x="397" y="141"/>
                </a:cubicBezTo>
                <a:cubicBezTo>
                  <a:pt x="402" y="137"/>
                  <a:pt x="408" y="137"/>
                  <a:pt x="413" y="141"/>
                </a:cubicBezTo>
                <a:close/>
                <a:moveTo>
                  <a:pt x="413" y="248"/>
                </a:moveTo>
                <a:cubicBezTo>
                  <a:pt x="417" y="252"/>
                  <a:pt x="417" y="259"/>
                  <a:pt x="413" y="263"/>
                </a:cubicBezTo>
                <a:cubicBezTo>
                  <a:pt x="263" y="413"/>
                  <a:pt x="263" y="413"/>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103" y="244"/>
                  <a:pt x="110" y="244"/>
                  <a:pt x="114" y="248"/>
                </a:cubicBezTo>
                <a:cubicBezTo>
                  <a:pt x="256" y="390"/>
                  <a:pt x="256" y="390"/>
                  <a:pt x="256" y="390"/>
                </a:cubicBezTo>
                <a:cubicBezTo>
                  <a:pt x="397" y="248"/>
                  <a:pt x="397" y="248"/>
                  <a:pt x="397" y="248"/>
                </a:cubicBezTo>
                <a:cubicBezTo>
                  <a:pt x="402" y="244"/>
                  <a:pt x="408" y="244"/>
                  <a:pt x="413" y="24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6" name="Group 94">
            <a:extLst>
              <a:ext uri="{FF2B5EF4-FFF2-40B4-BE49-F238E27FC236}">
                <a16:creationId xmlns:a16="http://schemas.microsoft.com/office/drawing/2014/main" id="{A7276213-EDA0-412E-BDD3-0A34D6DB3BE6}"/>
              </a:ext>
            </a:extLst>
          </p:cNvPr>
          <p:cNvGrpSpPr>
            <a:grpSpLocks noChangeAspect="1"/>
          </p:cNvGrpSpPr>
          <p:nvPr/>
        </p:nvGrpSpPr>
        <p:grpSpPr bwMode="auto">
          <a:xfrm>
            <a:off x="1356547" y="1717387"/>
            <a:ext cx="368152" cy="368152"/>
            <a:chOff x="54" y="161"/>
            <a:chExt cx="3636" cy="3636"/>
          </a:xfrm>
          <a:solidFill>
            <a:schemeClr val="accent1"/>
          </a:solidFill>
        </p:grpSpPr>
        <p:sp>
          <p:nvSpPr>
            <p:cNvPr id="447" name="Freeform 95">
              <a:extLst>
                <a:ext uri="{FF2B5EF4-FFF2-40B4-BE49-F238E27FC236}">
                  <a16:creationId xmlns:a16="http://schemas.microsoft.com/office/drawing/2014/main" id="{9D8200F5-9A50-414A-B9BA-6DC5200EC107}"/>
                </a:ext>
              </a:extLst>
            </p:cNvPr>
            <p:cNvSpPr>
              <a:spLocks noEditPoints="1"/>
            </p:cNvSpPr>
            <p:nvPr/>
          </p:nvSpPr>
          <p:spPr bwMode="auto">
            <a:xfrm>
              <a:off x="54" y="161"/>
              <a:ext cx="3636" cy="363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3 w 512"/>
                <a:gd name="T11" fmla="*/ 413 h 512"/>
                <a:gd name="T12" fmla="*/ 256 w 512"/>
                <a:gd name="T13" fmla="*/ 416 h 512"/>
                <a:gd name="T14" fmla="*/ 248 w 512"/>
                <a:gd name="T15" fmla="*/ 413 h 512"/>
                <a:gd name="T16" fmla="*/ 99 w 512"/>
                <a:gd name="T17" fmla="*/ 263 h 512"/>
                <a:gd name="T18" fmla="*/ 99 w 512"/>
                <a:gd name="T19" fmla="*/ 248 h 512"/>
                <a:gd name="T20" fmla="*/ 248 w 512"/>
                <a:gd name="T21" fmla="*/ 99 h 512"/>
                <a:gd name="T22" fmla="*/ 263 w 512"/>
                <a:gd name="T23" fmla="*/ 99 h 512"/>
                <a:gd name="T24" fmla="*/ 263 w 512"/>
                <a:gd name="T25" fmla="*/ 114 h 512"/>
                <a:gd name="T26" fmla="*/ 121 w 512"/>
                <a:gd name="T27" fmla="*/ 256 h 512"/>
                <a:gd name="T28" fmla="*/ 263 w 512"/>
                <a:gd name="T29" fmla="*/ 397 h 512"/>
                <a:gd name="T30" fmla="*/ 263 w 512"/>
                <a:gd name="T31" fmla="*/ 413 h 512"/>
                <a:gd name="T32" fmla="*/ 370 w 512"/>
                <a:gd name="T33" fmla="*/ 397 h 512"/>
                <a:gd name="T34" fmla="*/ 370 w 512"/>
                <a:gd name="T35" fmla="*/ 413 h 512"/>
                <a:gd name="T36" fmla="*/ 362 w 512"/>
                <a:gd name="T37" fmla="*/ 416 h 512"/>
                <a:gd name="T38" fmla="*/ 355 w 512"/>
                <a:gd name="T39" fmla="*/ 413 h 512"/>
                <a:gd name="T40" fmla="*/ 205 w 512"/>
                <a:gd name="T41" fmla="*/ 263 h 512"/>
                <a:gd name="T42" fmla="*/ 205 w 512"/>
                <a:gd name="T43" fmla="*/ 248 h 512"/>
                <a:gd name="T44" fmla="*/ 355 w 512"/>
                <a:gd name="T45" fmla="*/ 99 h 512"/>
                <a:gd name="T46" fmla="*/ 370 w 512"/>
                <a:gd name="T47" fmla="*/ 99 h 512"/>
                <a:gd name="T48" fmla="*/ 370 w 512"/>
                <a:gd name="T49" fmla="*/ 114 h 512"/>
                <a:gd name="T50" fmla="*/ 228 w 512"/>
                <a:gd name="T51" fmla="*/ 256 h 512"/>
                <a:gd name="T52" fmla="*/ 370 w 512"/>
                <a:gd name="T5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3" y="413"/>
                  </a:move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cubicBezTo>
                    <a:pt x="263" y="397"/>
                    <a:pt x="263" y="397"/>
                    <a:pt x="263" y="397"/>
                  </a:cubicBezTo>
                  <a:cubicBezTo>
                    <a:pt x="267" y="402"/>
                    <a:pt x="267" y="408"/>
                    <a:pt x="263" y="413"/>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8" name="Freeform 96">
              <a:extLst>
                <a:ext uri="{FF2B5EF4-FFF2-40B4-BE49-F238E27FC236}">
                  <a16:creationId xmlns:a16="http://schemas.microsoft.com/office/drawing/2014/main" id="{D585AFB1-69DD-44FF-B943-1D43708E62EE}"/>
                </a:ext>
              </a:extLst>
            </p:cNvPr>
            <p:cNvSpPr>
              <a:spLocks noEditPoints="1"/>
            </p:cNvSpPr>
            <p:nvPr/>
          </p:nvSpPr>
          <p:spPr bwMode="auto">
            <a:xfrm>
              <a:off x="54" y="161"/>
              <a:ext cx="3636" cy="363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3 w 512"/>
                <a:gd name="T11" fmla="*/ 413 h 512"/>
                <a:gd name="T12" fmla="*/ 256 w 512"/>
                <a:gd name="T13" fmla="*/ 416 h 512"/>
                <a:gd name="T14" fmla="*/ 248 w 512"/>
                <a:gd name="T15" fmla="*/ 413 h 512"/>
                <a:gd name="T16" fmla="*/ 99 w 512"/>
                <a:gd name="T17" fmla="*/ 263 h 512"/>
                <a:gd name="T18" fmla="*/ 99 w 512"/>
                <a:gd name="T19" fmla="*/ 248 h 512"/>
                <a:gd name="T20" fmla="*/ 248 w 512"/>
                <a:gd name="T21" fmla="*/ 99 h 512"/>
                <a:gd name="T22" fmla="*/ 263 w 512"/>
                <a:gd name="T23" fmla="*/ 99 h 512"/>
                <a:gd name="T24" fmla="*/ 263 w 512"/>
                <a:gd name="T25" fmla="*/ 114 h 512"/>
                <a:gd name="T26" fmla="*/ 121 w 512"/>
                <a:gd name="T27" fmla="*/ 256 h 512"/>
                <a:gd name="T28" fmla="*/ 263 w 512"/>
                <a:gd name="T29" fmla="*/ 397 h 512"/>
                <a:gd name="T30" fmla="*/ 263 w 512"/>
                <a:gd name="T31" fmla="*/ 413 h 512"/>
                <a:gd name="T32" fmla="*/ 370 w 512"/>
                <a:gd name="T33" fmla="*/ 397 h 512"/>
                <a:gd name="T34" fmla="*/ 370 w 512"/>
                <a:gd name="T35" fmla="*/ 413 h 512"/>
                <a:gd name="T36" fmla="*/ 362 w 512"/>
                <a:gd name="T37" fmla="*/ 416 h 512"/>
                <a:gd name="T38" fmla="*/ 355 w 512"/>
                <a:gd name="T39" fmla="*/ 413 h 512"/>
                <a:gd name="T40" fmla="*/ 205 w 512"/>
                <a:gd name="T41" fmla="*/ 263 h 512"/>
                <a:gd name="T42" fmla="*/ 205 w 512"/>
                <a:gd name="T43" fmla="*/ 248 h 512"/>
                <a:gd name="T44" fmla="*/ 355 w 512"/>
                <a:gd name="T45" fmla="*/ 99 h 512"/>
                <a:gd name="T46" fmla="*/ 370 w 512"/>
                <a:gd name="T47" fmla="*/ 99 h 512"/>
                <a:gd name="T48" fmla="*/ 370 w 512"/>
                <a:gd name="T49" fmla="*/ 114 h 512"/>
                <a:gd name="T50" fmla="*/ 228 w 512"/>
                <a:gd name="T51" fmla="*/ 256 h 512"/>
                <a:gd name="T52" fmla="*/ 370 w 512"/>
                <a:gd name="T5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3" y="413"/>
                  </a:move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cubicBezTo>
                    <a:pt x="263" y="397"/>
                    <a:pt x="263" y="397"/>
                    <a:pt x="263" y="397"/>
                  </a:cubicBezTo>
                  <a:cubicBezTo>
                    <a:pt x="267" y="402"/>
                    <a:pt x="267" y="408"/>
                    <a:pt x="263" y="413"/>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49" name="Group 99">
            <a:extLst>
              <a:ext uri="{FF2B5EF4-FFF2-40B4-BE49-F238E27FC236}">
                <a16:creationId xmlns:a16="http://schemas.microsoft.com/office/drawing/2014/main" id="{7FDE2A2F-CA6F-47DD-B244-CB355FF85D2A}"/>
              </a:ext>
            </a:extLst>
          </p:cNvPr>
          <p:cNvGrpSpPr>
            <a:grpSpLocks noChangeAspect="1"/>
          </p:cNvGrpSpPr>
          <p:nvPr/>
        </p:nvGrpSpPr>
        <p:grpSpPr bwMode="auto">
          <a:xfrm>
            <a:off x="1791849" y="1717387"/>
            <a:ext cx="368152" cy="368152"/>
            <a:chOff x="521" y="390"/>
            <a:chExt cx="3635" cy="3635"/>
          </a:xfrm>
          <a:solidFill>
            <a:schemeClr val="accent1"/>
          </a:solidFill>
        </p:grpSpPr>
        <p:sp>
          <p:nvSpPr>
            <p:cNvPr id="450" name="Freeform 100">
              <a:extLst>
                <a:ext uri="{FF2B5EF4-FFF2-40B4-BE49-F238E27FC236}">
                  <a16:creationId xmlns:a16="http://schemas.microsoft.com/office/drawing/2014/main" id="{C59F095E-6402-41E6-BF61-DA24A7DD1209}"/>
                </a:ext>
              </a:extLst>
            </p:cNvPr>
            <p:cNvSpPr>
              <a:spLocks noEditPoints="1"/>
            </p:cNvSpPr>
            <p:nvPr/>
          </p:nvSpPr>
          <p:spPr bwMode="auto">
            <a:xfrm>
              <a:off x="521" y="390"/>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70 w 512"/>
                <a:gd name="T21" fmla="*/ 397 h 512"/>
                <a:gd name="T22" fmla="*/ 370 w 512"/>
                <a:gd name="T23" fmla="*/ 413 h 512"/>
                <a:gd name="T24" fmla="*/ 362 w 512"/>
                <a:gd name="T25" fmla="*/ 416 h 512"/>
                <a:gd name="T26" fmla="*/ 355 w 512"/>
                <a:gd name="T27" fmla="*/ 413 h 512"/>
                <a:gd name="T28" fmla="*/ 205 w 512"/>
                <a:gd name="T29" fmla="*/ 263 h 512"/>
                <a:gd name="T30" fmla="*/ 205 w 512"/>
                <a:gd name="T31" fmla="*/ 248 h 512"/>
                <a:gd name="T32" fmla="*/ 355 w 512"/>
                <a:gd name="T33" fmla="*/ 99 h 512"/>
                <a:gd name="T34" fmla="*/ 370 w 512"/>
                <a:gd name="T35" fmla="*/ 99 h 512"/>
                <a:gd name="T36" fmla="*/ 370 w 512"/>
                <a:gd name="T37" fmla="*/ 114 h 512"/>
                <a:gd name="T38" fmla="*/ 228 w 512"/>
                <a:gd name="T39" fmla="*/ 256 h 512"/>
                <a:gd name="T40" fmla="*/ 370 w 512"/>
                <a:gd name="T41" fmla="*/ 397 h 512"/>
                <a:gd name="T42" fmla="*/ 263 w 512"/>
                <a:gd name="T43" fmla="*/ 397 h 512"/>
                <a:gd name="T44" fmla="*/ 263 w 512"/>
                <a:gd name="T45" fmla="*/ 413 h 512"/>
                <a:gd name="T46" fmla="*/ 256 w 512"/>
                <a:gd name="T47" fmla="*/ 416 h 512"/>
                <a:gd name="T48" fmla="*/ 248 w 512"/>
                <a:gd name="T49" fmla="*/ 413 h 512"/>
                <a:gd name="T50" fmla="*/ 99 w 512"/>
                <a:gd name="T51" fmla="*/ 263 h 512"/>
                <a:gd name="T52" fmla="*/ 99 w 512"/>
                <a:gd name="T53" fmla="*/ 248 h 512"/>
                <a:gd name="T54" fmla="*/ 248 w 512"/>
                <a:gd name="T55" fmla="*/ 99 h 512"/>
                <a:gd name="T56" fmla="*/ 263 w 512"/>
                <a:gd name="T57" fmla="*/ 99 h 512"/>
                <a:gd name="T58" fmla="*/ 263 w 512"/>
                <a:gd name="T59" fmla="*/ 114 h 512"/>
                <a:gd name="T60" fmla="*/ 121 w 512"/>
                <a:gd name="T61" fmla="*/ 256 h 512"/>
                <a:gd name="T62" fmla="*/ 263 w 512"/>
                <a:gd name="T6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moveTo>
                    <a:pt x="263" y="397"/>
                  </a:moveTo>
                  <a:cubicBezTo>
                    <a:pt x="267" y="402"/>
                    <a:pt x="267" y="408"/>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lnTo>
                    <a:pt x="263"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1" name="Freeform 101">
              <a:extLst>
                <a:ext uri="{FF2B5EF4-FFF2-40B4-BE49-F238E27FC236}">
                  <a16:creationId xmlns:a16="http://schemas.microsoft.com/office/drawing/2014/main" id="{060A0EAC-9B8D-4D7A-80EA-8728CE4F0B4F}"/>
                </a:ext>
              </a:extLst>
            </p:cNvPr>
            <p:cNvSpPr>
              <a:spLocks noEditPoints="1"/>
            </p:cNvSpPr>
            <p:nvPr/>
          </p:nvSpPr>
          <p:spPr bwMode="auto">
            <a:xfrm>
              <a:off x="521" y="390"/>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70 w 512"/>
                <a:gd name="T21" fmla="*/ 397 h 512"/>
                <a:gd name="T22" fmla="*/ 370 w 512"/>
                <a:gd name="T23" fmla="*/ 413 h 512"/>
                <a:gd name="T24" fmla="*/ 362 w 512"/>
                <a:gd name="T25" fmla="*/ 416 h 512"/>
                <a:gd name="T26" fmla="*/ 355 w 512"/>
                <a:gd name="T27" fmla="*/ 413 h 512"/>
                <a:gd name="T28" fmla="*/ 205 w 512"/>
                <a:gd name="T29" fmla="*/ 263 h 512"/>
                <a:gd name="T30" fmla="*/ 205 w 512"/>
                <a:gd name="T31" fmla="*/ 248 h 512"/>
                <a:gd name="T32" fmla="*/ 355 w 512"/>
                <a:gd name="T33" fmla="*/ 99 h 512"/>
                <a:gd name="T34" fmla="*/ 370 w 512"/>
                <a:gd name="T35" fmla="*/ 99 h 512"/>
                <a:gd name="T36" fmla="*/ 370 w 512"/>
                <a:gd name="T37" fmla="*/ 114 h 512"/>
                <a:gd name="T38" fmla="*/ 228 w 512"/>
                <a:gd name="T39" fmla="*/ 256 h 512"/>
                <a:gd name="T40" fmla="*/ 370 w 512"/>
                <a:gd name="T41" fmla="*/ 397 h 512"/>
                <a:gd name="T42" fmla="*/ 263 w 512"/>
                <a:gd name="T43" fmla="*/ 397 h 512"/>
                <a:gd name="T44" fmla="*/ 263 w 512"/>
                <a:gd name="T45" fmla="*/ 413 h 512"/>
                <a:gd name="T46" fmla="*/ 256 w 512"/>
                <a:gd name="T47" fmla="*/ 416 h 512"/>
                <a:gd name="T48" fmla="*/ 248 w 512"/>
                <a:gd name="T49" fmla="*/ 413 h 512"/>
                <a:gd name="T50" fmla="*/ 99 w 512"/>
                <a:gd name="T51" fmla="*/ 263 h 512"/>
                <a:gd name="T52" fmla="*/ 99 w 512"/>
                <a:gd name="T53" fmla="*/ 248 h 512"/>
                <a:gd name="T54" fmla="*/ 248 w 512"/>
                <a:gd name="T55" fmla="*/ 99 h 512"/>
                <a:gd name="T56" fmla="*/ 263 w 512"/>
                <a:gd name="T57" fmla="*/ 99 h 512"/>
                <a:gd name="T58" fmla="*/ 263 w 512"/>
                <a:gd name="T59" fmla="*/ 114 h 512"/>
                <a:gd name="T60" fmla="*/ 121 w 512"/>
                <a:gd name="T61" fmla="*/ 256 h 512"/>
                <a:gd name="T62" fmla="*/ 263 w 512"/>
                <a:gd name="T6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moveTo>
                    <a:pt x="263" y="397"/>
                  </a:moveTo>
                  <a:cubicBezTo>
                    <a:pt x="267" y="402"/>
                    <a:pt x="267" y="408"/>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lnTo>
                    <a:pt x="263"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2" name="Freeform 105">
            <a:extLst>
              <a:ext uri="{FF2B5EF4-FFF2-40B4-BE49-F238E27FC236}">
                <a16:creationId xmlns:a16="http://schemas.microsoft.com/office/drawing/2014/main" id="{C173A560-2506-4123-AE93-B0CD0FB80BF4}"/>
              </a:ext>
            </a:extLst>
          </p:cNvPr>
          <p:cNvSpPr>
            <a:spLocks noChangeAspect="1" noEditPoints="1"/>
          </p:cNvSpPr>
          <p:nvPr/>
        </p:nvSpPr>
        <p:spPr bwMode="auto">
          <a:xfrm>
            <a:off x="9182634" y="1717285"/>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3" name="Group 452">
            <a:extLst>
              <a:ext uri="{FF2B5EF4-FFF2-40B4-BE49-F238E27FC236}">
                <a16:creationId xmlns:a16="http://schemas.microsoft.com/office/drawing/2014/main" id="{1E0321D0-BA98-4B10-9227-3CE7D060D9ED}"/>
              </a:ext>
            </a:extLst>
          </p:cNvPr>
          <p:cNvGrpSpPr>
            <a:grpSpLocks noChangeAspect="1"/>
          </p:cNvGrpSpPr>
          <p:nvPr/>
        </p:nvGrpSpPr>
        <p:grpSpPr bwMode="auto">
          <a:xfrm>
            <a:off x="9617936" y="1717387"/>
            <a:ext cx="368152" cy="368152"/>
            <a:chOff x="1153" y="614"/>
            <a:chExt cx="3635" cy="3635"/>
          </a:xfrm>
          <a:solidFill>
            <a:schemeClr val="accent2"/>
          </a:solidFill>
        </p:grpSpPr>
        <p:sp>
          <p:nvSpPr>
            <p:cNvPr id="454" name="Freeform 109">
              <a:extLst>
                <a:ext uri="{FF2B5EF4-FFF2-40B4-BE49-F238E27FC236}">
                  <a16:creationId xmlns:a16="http://schemas.microsoft.com/office/drawing/2014/main" id="{6DFD7815-EE89-4B9A-BA8F-3056E6A0D968}"/>
                </a:ext>
              </a:extLst>
            </p:cNvPr>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5" name="Freeform 110">
              <a:extLst>
                <a:ext uri="{FF2B5EF4-FFF2-40B4-BE49-F238E27FC236}">
                  <a16:creationId xmlns:a16="http://schemas.microsoft.com/office/drawing/2014/main" id="{727BD097-6F87-49A2-B843-9B8A4F7D00FB}"/>
                </a:ext>
              </a:extLst>
            </p:cNvPr>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6" name="Freeform 267">
            <a:extLst>
              <a:ext uri="{FF2B5EF4-FFF2-40B4-BE49-F238E27FC236}">
                <a16:creationId xmlns:a16="http://schemas.microsoft.com/office/drawing/2014/main" id="{BE9C5F1C-B4F5-4766-9A2E-46C8DD6C74B9}"/>
              </a:ext>
            </a:extLst>
          </p:cNvPr>
          <p:cNvSpPr>
            <a:spLocks noChangeAspect="1" noEditPoints="1"/>
          </p:cNvSpPr>
          <p:nvPr/>
        </p:nvSpPr>
        <p:spPr bwMode="auto">
          <a:xfrm>
            <a:off x="10053238" y="1717387"/>
            <a:ext cx="368051" cy="36815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3 w 512"/>
              <a:gd name="T21" fmla="*/ 370 h 512"/>
              <a:gd name="T22" fmla="*/ 413 w 512"/>
              <a:gd name="T23" fmla="*/ 355 h 512"/>
              <a:gd name="T24" fmla="*/ 263 w 512"/>
              <a:gd name="T25" fmla="*/ 205 h 512"/>
              <a:gd name="T26" fmla="*/ 248 w 512"/>
              <a:gd name="T27" fmla="*/ 205 h 512"/>
              <a:gd name="T28" fmla="*/ 99 w 512"/>
              <a:gd name="T29" fmla="*/ 355 h 512"/>
              <a:gd name="T30" fmla="*/ 99 w 512"/>
              <a:gd name="T31" fmla="*/ 370 h 512"/>
              <a:gd name="T32" fmla="*/ 114 w 512"/>
              <a:gd name="T33" fmla="*/ 370 h 512"/>
              <a:gd name="T34" fmla="*/ 256 w 512"/>
              <a:gd name="T35" fmla="*/ 228 h 512"/>
              <a:gd name="T36" fmla="*/ 397 w 512"/>
              <a:gd name="T37" fmla="*/ 370 h 512"/>
              <a:gd name="T38" fmla="*/ 405 w 512"/>
              <a:gd name="T39" fmla="*/ 373 h 512"/>
              <a:gd name="T40" fmla="*/ 413 w 512"/>
              <a:gd name="T41" fmla="*/ 370 h 512"/>
              <a:gd name="T42" fmla="*/ 413 w 512"/>
              <a:gd name="T43" fmla="*/ 263 h 512"/>
              <a:gd name="T44" fmla="*/ 413 w 512"/>
              <a:gd name="T45" fmla="*/ 248 h 512"/>
              <a:gd name="T46" fmla="*/ 263 w 512"/>
              <a:gd name="T47" fmla="*/ 99 h 512"/>
              <a:gd name="T48" fmla="*/ 248 w 512"/>
              <a:gd name="T49" fmla="*/ 99 h 512"/>
              <a:gd name="T50" fmla="*/ 99 w 512"/>
              <a:gd name="T51" fmla="*/ 248 h 512"/>
              <a:gd name="T52" fmla="*/ 99 w 512"/>
              <a:gd name="T53" fmla="*/ 263 h 512"/>
              <a:gd name="T54" fmla="*/ 114 w 512"/>
              <a:gd name="T55" fmla="*/ 263 h 512"/>
              <a:gd name="T56" fmla="*/ 256 w 512"/>
              <a:gd name="T57" fmla="*/ 121 h 512"/>
              <a:gd name="T58" fmla="*/ 397 w 512"/>
              <a:gd name="T59" fmla="*/ 263 h 512"/>
              <a:gd name="T60" fmla="*/ 405 w 512"/>
              <a:gd name="T61" fmla="*/ 266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370"/>
                </a:moveTo>
                <a:cubicBezTo>
                  <a:pt x="417" y="366"/>
                  <a:pt x="417" y="359"/>
                  <a:pt x="413" y="355"/>
                </a:cubicBezTo>
                <a:cubicBezTo>
                  <a:pt x="263" y="205"/>
                  <a:pt x="263" y="205"/>
                  <a:pt x="263" y="205"/>
                </a:cubicBezTo>
                <a:cubicBezTo>
                  <a:pt x="259" y="201"/>
                  <a:pt x="252" y="201"/>
                  <a:pt x="248" y="205"/>
                </a:cubicBezTo>
                <a:cubicBezTo>
                  <a:pt x="99" y="355"/>
                  <a:pt x="99" y="355"/>
                  <a:pt x="99" y="355"/>
                </a:cubicBezTo>
                <a:cubicBezTo>
                  <a:pt x="95" y="359"/>
                  <a:pt x="95" y="366"/>
                  <a:pt x="99" y="370"/>
                </a:cubicBezTo>
                <a:cubicBezTo>
                  <a:pt x="103" y="374"/>
                  <a:pt x="110" y="374"/>
                  <a:pt x="114" y="370"/>
                </a:cubicBezTo>
                <a:cubicBezTo>
                  <a:pt x="256" y="228"/>
                  <a:pt x="256" y="228"/>
                  <a:pt x="256" y="228"/>
                </a:cubicBezTo>
                <a:cubicBezTo>
                  <a:pt x="397" y="370"/>
                  <a:pt x="397" y="370"/>
                  <a:pt x="397" y="370"/>
                </a:cubicBezTo>
                <a:cubicBezTo>
                  <a:pt x="400" y="372"/>
                  <a:pt x="402" y="373"/>
                  <a:pt x="405" y="373"/>
                </a:cubicBezTo>
                <a:cubicBezTo>
                  <a:pt x="408" y="373"/>
                  <a:pt x="410" y="372"/>
                  <a:pt x="413" y="370"/>
                </a:cubicBezTo>
                <a:close/>
                <a:moveTo>
                  <a:pt x="413" y="263"/>
                </a:moveTo>
                <a:cubicBezTo>
                  <a:pt x="417" y="259"/>
                  <a:pt x="417" y="252"/>
                  <a:pt x="413" y="248"/>
                </a:cubicBezTo>
                <a:cubicBezTo>
                  <a:pt x="263" y="99"/>
                  <a:pt x="263" y="99"/>
                  <a:pt x="263" y="99"/>
                </a:cubicBezTo>
                <a:cubicBezTo>
                  <a:pt x="259" y="95"/>
                  <a:pt x="252" y="95"/>
                  <a:pt x="248" y="99"/>
                </a:cubicBezTo>
                <a:cubicBezTo>
                  <a:pt x="99" y="248"/>
                  <a:pt x="99" y="248"/>
                  <a:pt x="99" y="248"/>
                </a:cubicBezTo>
                <a:cubicBezTo>
                  <a:pt x="95" y="252"/>
                  <a:pt x="95" y="259"/>
                  <a:pt x="99" y="263"/>
                </a:cubicBezTo>
                <a:cubicBezTo>
                  <a:pt x="103" y="267"/>
                  <a:pt x="110" y="267"/>
                  <a:pt x="114" y="263"/>
                </a:cubicBezTo>
                <a:cubicBezTo>
                  <a:pt x="256" y="121"/>
                  <a:pt x="256" y="121"/>
                  <a:pt x="256" y="121"/>
                </a:cubicBezTo>
                <a:cubicBezTo>
                  <a:pt x="397" y="263"/>
                  <a:pt x="397" y="263"/>
                  <a:pt x="397" y="263"/>
                </a:cubicBezTo>
                <a:cubicBezTo>
                  <a:pt x="400" y="265"/>
                  <a:pt x="402" y="266"/>
                  <a:pt x="405" y="266"/>
                </a:cubicBezTo>
                <a:cubicBezTo>
                  <a:pt x="408" y="266"/>
                  <a:pt x="410" y="265"/>
                  <a:pt x="413" y="26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7" name="Freeform 122">
            <a:extLst>
              <a:ext uri="{FF2B5EF4-FFF2-40B4-BE49-F238E27FC236}">
                <a16:creationId xmlns:a16="http://schemas.microsoft.com/office/drawing/2014/main" id="{23F78721-5CF6-4FBA-9ADD-362435D22DCC}"/>
              </a:ext>
            </a:extLst>
          </p:cNvPr>
          <p:cNvSpPr>
            <a:spLocks noChangeAspect="1" noEditPoints="1"/>
          </p:cNvSpPr>
          <p:nvPr/>
        </p:nvSpPr>
        <p:spPr bwMode="auto">
          <a:xfrm>
            <a:off x="8312370" y="1716475"/>
            <a:ext cx="367982"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09 h 512"/>
              <a:gd name="T12" fmla="*/ 405 w 512"/>
              <a:gd name="T13" fmla="*/ 320 h 512"/>
              <a:gd name="T14" fmla="*/ 132 w 512"/>
              <a:gd name="T15" fmla="*/ 320 h 512"/>
              <a:gd name="T16" fmla="*/ 199 w 512"/>
              <a:gd name="T17" fmla="*/ 387 h 512"/>
              <a:gd name="T18" fmla="*/ 199 w 512"/>
              <a:gd name="T19" fmla="*/ 402 h 512"/>
              <a:gd name="T20" fmla="*/ 192 w 512"/>
              <a:gd name="T21" fmla="*/ 405 h 512"/>
              <a:gd name="T22" fmla="*/ 184 w 512"/>
              <a:gd name="T23" fmla="*/ 402 h 512"/>
              <a:gd name="T24" fmla="*/ 99 w 512"/>
              <a:gd name="T25" fmla="*/ 317 h 512"/>
              <a:gd name="T26" fmla="*/ 96 w 512"/>
              <a:gd name="T27" fmla="*/ 313 h 512"/>
              <a:gd name="T28" fmla="*/ 96 w 512"/>
              <a:gd name="T29" fmla="*/ 305 h 512"/>
              <a:gd name="T30" fmla="*/ 99 w 512"/>
              <a:gd name="T31" fmla="*/ 301 h 512"/>
              <a:gd name="T32" fmla="*/ 184 w 512"/>
              <a:gd name="T33" fmla="*/ 216 h 512"/>
              <a:gd name="T34" fmla="*/ 199 w 512"/>
              <a:gd name="T35" fmla="*/ 216 h 512"/>
              <a:gd name="T36" fmla="*/ 199 w 512"/>
              <a:gd name="T37" fmla="*/ 231 h 512"/>
              <a:gd name="T38" fmla="*/ 132 w 512"/>
              <a:gd name="T39" fmla="*/ 298 h 512"/>
              <a:gd name="T40" fmla="*/ 394 w 512"/>
              <a:gd name="T41" fmla="*/ 298 h 512"/>
              <a:gd name="T42" fmla="*/ 394 w 512"/>
              <a:gd name="T43" fmla="*/ 181 h 512"/>
              <a:gd name="T44" fmla="*/ 405 w 512"/>
              <a:gd name="T45" fmla="*/ 170 h 512"/>
              <a:gd name="T46" fmla="*/ 416 w 512"/>
              <a:gd name="T47" fmla="*/ 181 h 512"/>
              <a:gd name="T48" fmla="*/ 416 w 512"/>
              <a:gd name="T4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09"/>
                </a:moveTo>
                <a:cubicBezTo>
                  <a:pt x="416" y="315"/>
                  <a:pt x="411" y="320"/>
                  <a:pt x="405" y="320"/>
                </a:cubicBezTo>
                <a:cubicBezTo>
                  <a:pt x="132" y="320"/>
                  <a:pt x="132" y="320"/>
                  <a:pt x="132" y="320"/>
                </a:cubicBezTo>
                <a:cubicBezTo>
                  <a:pt x="199" y="387"/>
                  <a:pt x="199" y="387"/>
                  <a:pt x="199" y="387"/>
                </a:cubicBezTo>
                <a:cubicBezTo>
                  <a:pt x="203" y="391"/>
                  <a:pt x="203" y="398"/>
                  <a:pt x="199" y="402"/>
                </a:cubicBezTo>
                <a:cubicBezTo>
                  <a:pt x="197" y="404"/>
                  <a:pt x="194" y="405"/>
                  <a:pt x="192" y="405"/>
                </a:cubicBezTo>
                <a:cubicBezTo>
                  <a:pt x="189" y="405"/>
                  <a:pt x="186" y="404"/>
                  <a:pt x="184" y="402"/>
                </a:cubicBezTo>
                <a:cubicBezTo>
                  <a:pt x="99" y="317"/>
                  <a:pt x="99" y="317"/>
                  <a:pt x="99" y="317"/>
                </a:cubicBezTo>
                <a:cubicBezTo>
                  <a:pt x="98" y="316"/>
                  <a:pt x="97" y="314"/>
                  <a:pt x="96" y="313"/>
                </a:cubicBezTo>
                <a:cubicBezTo>
                  <a:pt x="95" y="310"/>
                  <a:pt x="95" y="308"/>
                  <a:pt x="96" y="305"/>
                </a:cubicBezTo>
                <a:cubicBezTo>
                  <a:pt x="97" y="304"/>
                  <a:pt x="98" y="302"/>
                  <a:pt x="99" y="301"/>
                </a:cubicBezTo>
                <a:cubicBezTo>
                  <a:pt x="184" y="216"/>
                  <a:pt x="184" y="216"/>
                  <a:pt x="184" y="216"/>
                </a:cubicBezTo>
                <a:cubicBezTo>
                  <a:pt x="188" y="212"/>
                  <a:pt x="195" y="212"/>
                  <a:pt x="199" y="216"/>
                </a:cubicBezTo>
                <a:cubicBezTo>
                  <a:pt x="203" y="220"/>
                  <a:pt x="203" y="227"/>
                  <a:pt x="199" y="231"/>
                </a:cubicBezTo>
                <a:cubicBezTo>
                  <a:pt x="132" y="298"/>
                  <a:pt x="132" y="298"/>
                  <a:pt x="132" y="298"/>
                </a:cubicBezTo>
                <a:cubicBezTo>
                  <a:pt x="394" y="298"/>
                  <a:pt x="394" y="298"/>
                  <a:pt x="394" y="298"/>
                </a:cubicBezTo>
                <a:cubicBezTo>
                  <a:pt x="394" y="181"/>
                  <a:pt x="394" y="181"/>
                  <a:pt x="394" y="181"/>
                </a:cubicBezTo>
                <a:cubicBezTo>
                  <a:pt x="394" y="175"/>
                  <a:pt x="399" y="170"/>
                  <a:pt x="405" y="170"/>
                </a:cubicBezTo>
                <a:cubicBezTo>
                  <a:pt x="411" y="170"/>
                  <a:pt x="416" y="175"/>
                  <a:pt x="416" y="181"/>
                </a:cubicBezTo>
                <a:lnTo>
                  <a:pt x="416" y="30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8" name="Freeform 126">
            <a:extLst>
              <a:ext uri="{FF2B5EF4-FFF2-40B4-BE49-F238E27FC236}">
                <a16:creationId xmlns:a16="http://schemas.microsoft.com/office/drawing/2014/main" id="{B54DBEA1-E5B9-4CEB-A0BF-5CB0F16350CF}"/>
              </a:ext>
            </a:extLst>
          </p:cNvPr>
          <p:cNvSpPr>
            <a:spLocks noChangeAspect="1" noEditPoints="1"/>
          </p:cNvSpPr>
          <p:nvPr/>
        </p:nvSpPr>
        <p:spPr bwMode="auto">
          <a:xfrm>
            <a:off x="8747502" y="1717557"/>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394 w 512"/>
              <a:gd name="T23" fmla="*/ 181 h 512"/>
              <a:gd name="T24" fmla="*/ 394 w 512"/>
              <a:gd name="T25" fmla="*/ 298 h 512"/>
              <a:gd name="T26" fmla="*/ 132 w 512"/>
              <a:gd name="T27" fmla="*/ 298 h 512"/>
              <a:gd name="T28" fmla="*/ 199 w 512"/>
              <a:gd name="T29" fmla="*/ 231 h 512"/>
              <a:gd name="T30" fmla="*/ 199 w 512"/>
              <a:gd name="T31" fmla="*/ 216 h 512"/>
              <a:gd name="T32" fmla="*/ 184 w 512"/>
              <a:gd name="T33" fmla="*/ 216 h 512"/>
              <a:gd name="T34" fmla="*/ 99 w 512"/>
              <a:gd name="T35" fmla="*/ 301 h 512"/>
              <a:gd name="T36" fmla="*/ 96 w 512"/>
              <a:gd name="T37" fmla="*/ 305 h 512"/>
              <a:gd name="T38" fmla="*/ 96 w 512"/>
              <a:gd name="T39" fmla="*/ 313 h 512"/>
              <a:gd name="T40" fmla="*/ 99 w 512"/>
              <a:gd name="T41" fmla="*/ 317 h 512"/>
              <a:gd name="T42" fmla="*/ 184 w 512"/>
              <a:gd name="T43" fmla="*/ 402 h 512"/>
              <a:gd name="T44" fmla="*/ 192 w 512"/>
              <a:gd name="T45" fmla="*/ 405 h 512"/>
              <a:gd name="T46" fmla="*/ 199 w 512"/>
              <a:gd name="T47" fmla="*/ 402 h 512"/>
              <a:gd name="T48" fmla="*/ 199 w 512"/>
              <a:gd name="T49" fmla="*/ 387 h 512"/>
              <a:gd name="T50" fmla="*/ 132 w 512"/>
              <a:gd name="T51" fmla="*/ 320 h 512"/>
              <a:gd name="T52" fmla="*/ 405 w 512"/>
              <a:gd name="T53" fmla="*/ 320 h 512"/>
              <a:gd name="T54" fmla="*/ 416 w 512"/>
              <a:gd name="T55" fmla="*/ 309 h 512"/>
              <a:gd name="T56" fmla="*/ 416 w 512"/>
              <a:gd name="T57" fmla="*/ 181 h 512"/>
              <a:gd name="T58" fmla="*/ 405 w 512"/>
              <a:gd name="T5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399" y="170"/>
                  <a:pt x="394" y="175"/>
                  <a:pt x="394" y="181"/>
                </a:cubicBezTo>
                <a:cubicBezTo>
                  <a:pt x="394" y="298"/>
                  <a:pt x="394" y="298"/>
                  <a:pt x="394" y="298"/>
                </a:cubicBezTo>
                <a:cubicBezTo>
                  <a:pt x="132" y="298"/>
                  <a:pt x="132" y="298"/>
                  <a:pt x="132" y="298"/>
                </a:cubicBezTo>
                <a:cubicBezTo>
                  <a:pt x="199" y="231"/>
                  <a:pt x="199" y="231"/>
                  <a:pt x="199" y="231"/>
                </a:cubicBezTo>
                <a:cubicBezTo>
                  <a:pt x="203" y="227"/>
                  <a:pt x="203" y="220"/>
                  <a:pt x="199" y="216"/>
                </a:cubicBezTo>
                <a:cubicBezTo>
                  <a:pt x="195" y="212"/>
                  <a:pt x="188" y="212"/>
                  <a:pt x="184" y="216"/>
                </a:cubicBezTo>
                <a:cubicBezTo>
                  <a:pt x="99" y="301"/>
                  <a:pt x="99" y="301"/>
                  <a:pt x="99" y="301"/>
                </a:cubicBezTo>
                <a:cubicBezTo>
                  <a:pt x="98" y="302"/>
                  <a:pt x="97" y="304"/>
                  <a:pt x="96" y="305"/>
                </a:cubicBezTo>
                <a:cubicBezTo>
                  <a:pt x="95" y="308"/>
                  <a:pt x="95" y="310"/>
                  <a:pt x="96" y="313"/>
                </a:cubicBezTo>
                <a:cubicBezTo>
                  <a:pt x="97" y="314"/>
                  <a:pt x="98" y="316"/>
                  <a:pt x="99" y="317"/>
                </a:cubicBezTo>
                <a:cubicBezTo>
                  <a:pt x="184" y="402"/>
                  <a:pt x="184" y="402"/>
                  <a:pt x="184" y="402"/>
                </a:cubicBezTo>
                <a:cubicBezTo>
                  <a:pt x="186" y="404"/>
                  <a:pt x="189" y="405"/>
                  <a:pt x="192" y="405"/>
                </a:cubicBezTo>
                <a:cubicBezTo>
                  <a:pt x="194" y="405"/>
                  <a:pt x="197" y="404"/>
                  <a:pt x="199" y="402"/>
                </a:cubicBezTo>
                <a:cubicBezTo>
                  <a:pt x="203" y="398"/>
                  <a:pt x="203" y="391"/>
                  <a:pt x="199" y="387"/>
                </a:cubicBezTo>
                <a:cubicBezTo>
                  <a:pt x="132" y="320"/>
                  <a:pt x="132" y="320"/>
                  <a:pt x="132" y="320"/>
                </a:cubicBezTo>
                <a:cubicBezTo>
                  <a:pt x="405" y="320"/>
                  <a:pt x="405" y="320"/>
                  <a:pt x="405" y="320"/>
                </a:cubicBezTo>
                <a:cubicBezTo>
                  <a:pt x="411" y="320"/>
                  <a:pt x="416" y="315"/>
                  <a:pt x="416" y="309"/>
                </a:cubicBezTo>
                <a:cubicBezTo>
                  <a:pt x="416" y="181"/>
                  <a:pt x="416" y="181"/>
                  <a:pt x="416" y="181"/>
                </a:cubicBezTo>
                <a:cubicBezTo>
                  <a:pt x="416" y="175"/>
                  <a:pt x="411" y="170"/>
                  <a:pt x="405" y="1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9" name="Freeform 130">
            <a:extLst>
              <a:ext uri="{FF2B5EF4-FFF2-40B4-BE49-F238E27FC236}">
                <a16:creationId xmlns:a16="http://schemas.microsoft.com/office/drawing/2014/main" id="{1E63CD91-01D2-42EF-817C-F48EFE39D068}"/>
              </a:ext>
            </a:extLst>
          </p:cNvPr>
          <p:cNvSpPr>
            <a:spLocks noChangeAspect="1" noEditPoints="1"/>
          </p:cNvSpPr>
          <p:nvPr/>
        </p:nvSpPr>
        <p:spPr bwMode="auto">
          <a:xfrm>
            <a:off x="7441024" y="1717557"/>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313 h 512"/>
              <a:gd name="T12" fmla="*/ 413 w 512"/>
              <a:gd name="T13" fmla="*/ 317 h 512"/>
              <a:gd name="T14" fmla="*/ 327 w 512"/>
              <a:gd name="T15" fmla="*/ 402 h 512"/>
              <a:gd name="T16" fmla="*/ 320 w 512"/>
              <a:gd name="T17" fmla="*/ 405 h 512"/>
              <a:gd name="T18" fmla="*/ 312 w 512"/>
              <a:gd name="T19" fmla="*/ 402 h 512"/>
              <a:gd name="T20" fmla="*/ 312 w 512"/>
              <a:gd name="T21" fmla="*/ 387 h 512"/>
              <a:gd name="T22" fmla="*/ 379 w 512"/>
              <a:gd name="T23" fmla="*/ 320 h 512"/>
              <a:gd name="T24" fmla="*/ 106 w 512"/>
              <a:gd name="T25" fmla="*/ 320 h 512"/>
              <a:gd name="T26" fmla="*/ 96 w 512"/>
              <a:gd name="T27" fmla="*/ 309 h 512"/>
              <a:gd name="T28" fmla="*/ 96 w 512"/>
              <a:gd name="T29" fmla="*/ 181 h 512"/>
              <a:gd name="T30" fmla="*/ 106 w 512"/>
              <a:gd name="T31" fmla="*/ 170 h 512"/>
              <a:gd name="T32" fmla="*/ 117 w 512"/>
              <a:gd name="T33" fmla="*/ 181 h 512"/>
              <a:gd name="T34" fmla="*/ 117 w 512"/>
              <a:gd name="T35" fmla="*/ 298 h 512"/>
              <a:gd name="T36" fmla="*/ 379 w 512"/>
              <a:gd name="T37" fmla="*/ 298 h 512"/>
              <a:gd name="T38" fmla="*/ 312 w 512"/>
              <a:gd name="T39" fmla="*/ 231 h 512"/>
              <a:gd name="T40" fmla="*/ 312 w 512"/>
              <a:gd name="T41" fmla="*/ 216 h 512"/>
              <a:gd name="T42" fmla="*/ 327 w 512"/>
              <a:gd name="T43" fmla="*/ 216 h 512"/>
              <a:gd name="T44" fmla="*/ 413 w 512"/>
              <a:gd name="T45" fmla="*/ 301 h 512"/>
              <a:gd name="T46" fmla="*/ 415 w 512"/>
              <a:gd name="T47" fmla="*/ 305 h 512"/>
              <a:gd name="T48" fmla="*/ 415 w 512"/>
              <a:gd name="T4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13"/>
                </a:moveTo>
                <a:cubicBezTo>
                  <a:pt x="414" y="314"/>
                  <a:pt x="414" y="316"/>
                  <a:pt x="413" y="317"/>
                </a:cubicBezTo>
                <a:cubicBezTo>
                  <a:pt x="327" y="402"/>
                  <a:pt x="327" y="402"/>
                  <a:pt x="327" y="402"/>
                </a:cubicBezTo>
                <a:cubicBezTo>
                  <a:pt x="325" y="404"/>
                  <a:pt x="322" y="405"/>
                  <a:pt x="320" y="405"/>
                </a:cubicBezTo>
                <a:cubicBezTo>
                  <a:pt x="317" y="405"/>
                  <a:pt x="314" y="404"/>
                  <a:pt x="312" y="402"/>
                </a:cubicBezTo>
                <a:cubicBezTo>
                  <a:pt x="308" y="398"/>
                  <a:pt x="308" y="391"/>
                  <a:pt x="312" y="387"/>
                </a:cubicBezTo>
                <a:cubicBezTo>
                  <a:pt x="379" y="320"/>
                  <a:pt x="379" y="320"/>
                  <a:pt x="379" y="320"/>
                </a:cubicBezTo>
                <a:cubicBezTo>
                  <a:pt x="106" y="320"/>
                  <a:pt x="106" y="320"/>
                  <a:pt x="106" y="320"/>
                </a:cubicBezTo>
                <a:cubicBezTo>
                  <a:pt x="100" y="320"/>
                  <a:pt x="96" y="315"/>
                  <a:pt x="96" y="309"/>
                </a:cubicBezTo>
                <a:cubicBezTo>
                  <a:pt x="96" y="181"/>
                  <a:pt x="96" y="181"/>
                  <a:pt x="96" y="181"/>
                </a:cubicBezTo>
                <a:cubicBezTo>
                  <a:pt x="96" y="175"/>
                  <a:pt x="100" y="170"/>
                  <a:pt x="106" y="170"/>
                </a:cubicBezTo>
                <a:cubicBezTo>
                  <a:pt x="112" y="170"/>
                  <a:pt x="117" y="175"/>
                  <a:pt x="117" y="181"/>
                </a:cubicBezTo>
                <a:cubicBezTo>
                  <a:pt x="117" y="298"/>
                  <a:pt x="117" y="298"/>
                  <a:pt x="117" y="298"/>
                </a:cubicBezTo>
                <a:cubicBezTo>
                  <a:pt x="379" y="298"/>
                  <a:pt x="379" y="298"/>
                  <a:pt x="379" y="298"/>
                </a:cubicBezTo>
                <a:cubicBezTo>
                  <a:pt x="312" y="231"/>
                  <a:pt x="312" y="231"/>
                  <a:pt x="312" y="231"/>
                </a:cubicBezTo>
                <a:cubicBezTo>
                  <a:pt x="308" y="227"/>
                  <a:pt x="308" y="220"/>
                  <a:pt x="312" y="216"/>
                </a:cubicBezTo>
                <a:cubicBezTo>
                  <a:pt x="316" y="212"/>
                  <a:pt x="323" y="212"/>
                  <a:pt x="327" y="216"/>
                </a:cubicBezTo>
                <a:cubicBezTo>
                  <a:pt x="413" y="301"/>
                  <a:pt x="413" y="301"/>
                  <a:pt x="413" y="301"/>
                </a:cubicBezTo>
                <a:cubicBezTo>
                  <a:pt x="414" y="302"/>
                  <a:pt x="414" y="304"/>
                  <a:pt x="415" y="305"/>
                </a:cubicBezTo>
                <a:cubicBezTo>
                  <a:pt x="416" y="308"/>
                  <a:pt x="416" y="310"/>
                  <a:pt x="415" y="3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0" name="Freeform 134">
            <a:extLst>
              <a:ext uri="{FF2B5EF4-FFF2-40B4-BE49-F238E27FC236}">
                <a16:creationId xmlns:a16="http://schemas.microsoft.com/office/drawing/2014/main" id="{BCFDD63B-5A2A-4038-844A-0D5EC9C5783E}"/>
              </a:ext>
            </a:extLst>
          </p:cNvPr>
          <p:cNvSpPr>
            <a:spLocks noChangeAspect="1" noEditPoints="1"/>
          </p:cNvSpPr>
          <p:nvPr/>
        </p:nvSpPr>
        <p:spPr bwMode="auto">
          <a:xfrm>
            <a:off x="7877238" y="1717557"/>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5 w 512"/>
              <a:gd name="T21" fmla="*/ 313 h 512"/>
              <a:gd name="T22" fmla="*/ 415 w 512"/>
              <a:gd name="T23" fmla="*/ 305 h 512"/>
              <a:gd name="T24" fmla="*/ 413 w 512"/>
              <a:gd name="T25" fmla="*/ 301 h 512"/>
              <a:gd name="T26" fmla="*/ 327 w 512"/>
              <a:gd name="T27" fmla="*/ 216 h 512"/>
              <a:gd name="T28" fmla="*/ 312 w 512"/>
              <a:gd name="T29" fmla="*/ 216 h 512"/>
              <a:gd name="T30" fmla="*/ 312 w 512"/>
              <a:gd name="T31" fmla="*/ 231 h 512"/>
              <a:gd name="T32" fmla="*/ 379 w 512"/>
              <a:gd name="T33" fmla="*/ 298 h 512"/>
              <a:gd name="T34" fmla="*/ 117 w 512"/>
              <a:gd name="T35" fmla="*/ 298 h 512"/>
              <a:gd name="T36" fmla="*/ 117 w 512"/>
              <a:gd name="T37" fmla="*/ 181 h 512"/>
              <a:gd name="T38" fmla="*/ 106 w 512"/>
              <a:gd name="T39" fmla="*/ 170 h 512"/>
              <a:gd name="T40" fmla="*/ 96 w 512"/>
              <a:gd name="T41" fmla="*/ 181 h 512"/>
              <a:gd name="T42" fmla="*/ 96 w 512"/>
              <a:gd name="T43" fmla="*/ 309 h 512"/>
              <a:gd name="T44" fmla="*/ 106 w 512"/>
              <a:gd name="T45" fmla="*/ 320 h 512"/>
              <a:gd name="T46" fmla="*/ 379 w 512"/>
              <a:gd name="T47" fmla="*/ 320 h 512"/>
              <a:gd name="T48" fmla="*/ 312 w 512"/>
              <a:gd name="T49" fmla="*/ 387 h 512"/>
              <a:gd name="T50" fmla="*/ 312 w 512"/>
              <a:gd name="T51" fmla="*/ 402 h 512"/>
              <a:gd name="T52" fmla="*/ 320 w 512"/>
              <a:gd name="T53" fmla="*/ 405 h 512"/>
              <a:gd name="T54" fmla="*/ 327 w 512"/>
              <a:gd name="T55" fmla="*/ 402 h 512"/>
              <a:gd name="T56" fmla="*/ 413 w 512"/>
              <a:gd name="T57" fmla="*/ 317 h 512"/>
              <a:gd name="T58" fmla="*/ 415 w 512"/>
              <a:gd name="T5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13"/>
                </a:moveTo>
                <a:cubicBezTo>
                  <a:pt x="416" y="310"/>
                  <a:pt x="416" y="308"/>
                  <a:pt x="415" y="305"/>
                </a:cubicBezTo>
                <a:cubicBezTo>
                  <a:pt x="414" y="304"/>
                  <a:pt x="414" y="302"/>
                  <a:pt x="413" y="301"/>
                </a:cubicBezTo>
                <a:cubicBezTo>
                  <a:pt x="327" y="216"/>
                  <a:pt x="327" y="216"/>
                  <a:pt x="327" y="216"/>
                </a:cubicBezTo>
                <a:cubicBezTo>
                  <a:pt x="323" y="212"/>
                  <a:pt x="316" y="212"/>
                  <a:pt x="312" y="216"/>
                </a:cubicBezTo>
                <a:cubicBezTo>
                  <a:pt x="308" y="220"/>
                  <a:pt x="308" y="227"/>
                  <a:pt x="312" y="231"/>
                </a:cubicBezTo>
                <a:cubicBezTo>
                  <a:pt x="379" y="298"/>
                  <a:pt x="379" y="298"/>
                  <a:pt x="379" y="298"/>
                </a:cubicBezTo>
                <a:cubicBezTo>
                  <a:pt x="117" y="298"/>
                  <a:pt x="117" y="298"/>
                  <a:pt x="117" y="298"/>
                </a:cubicBezTo>
                <a:cubicBezTo>
                  <a:pt x="117" y="181"/>
                  <a:pt x="117" y="181"/>
                  <a:pt x="117" y="181"/>
                </a:cubicBezTo>
                <a:cubicBezTo>
                  <a:pt x="117" y="175"/>
                  <a:pt x="112" y="170"/>
                  <a:pt x="106" y="170"/>
                </a:cubicBezTo>
                <a:cubicBezTo>
                  <a:pt x="100" y="170"/>
                  <a:pt x="96" y="175"/>
                  <a:pt x="96" y="181"/>
                </a:cubicBezTo>
                <a:cubicBezTo>
                  <a:pt x="96" y="309"/>
                  <a:pt x="96" y="309"/>
                  <a:pt x="96" y="309"/>
                </a:cubicBezTo>
                <a:cubicBezTo>
                  <a:pt x="96" y="315"/>
                  <a:pt x="100" y="320"/>
                  <a:pt x="106" y="320"/>
                </a:cubicBezTo>
                <a:cubicBezTo>
                  <a:pt x="379" y="320"/>
                  <a:pt x="379" y="320"/>
                  <a:pt x="379" y="320"/>
                </a:cubicBezTo>
                <a:cubicBezTo>
                  <a:pt x="312" y="387"/>
                  <a:pt x="312" y="387"/>
                  <a:pt x="312" y="387"/>
                </a:cubicBezTo>
                <a:cubicBezTo>
                  <a:pt x="308" y="391"/>
                  <a:pt x="308" y="398"/>
                  <a:pt x="312" y="402"/>
                </a:cubicBezTo>
                <a:cubicBezTo>
                  <a:pt x="314" y="404"/>
                  <a:pt x="317" y="405"/>
                  <a:pt x="320" y="405"/>
                </a:cubicBezTo>
                <a:cubicBezTo>
                  <a:pt x="322" y="405"/>
                  <a:pt x="325" y="404"/>
                  <a:pt x="327" y="402"/>
                </a:cubicBezTo>
                <a:cubicBezTo>
                  <a:pt x="413" y="317"/>
                  <a:pt x="413" y="317"/>
                  <a:pt x="413" y="317"/>
                </a:cubicBezTo>
                <a:cubicBezTo>
                  <a:pt x="414" y="316"/>
                  <a:pt x="414" y="314"/>
                  <a:pt x="415" y="3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1" name="Freeform 272">
            <a:extLst>
              <a:ext uri="{FF2B5EF4-FFF2-40B4-BE49-F238E27FC236}">
                <a16:creationId xmlns:a16="http://schemas.microsoft.com/office/drawing/2014/main" id="{C50922B0-6CAC-49E8-A502-DF6B1528A846}"/>
              </a:ext>
            </a:extLst>
          </p:cNvPr>
          <p:cNvSpPr>
            <a:spLocks noChangeAspect="1" noEditPoints="1"/>
          </p:cNvSpPr>
          <p:nvPr/>
        </p:nvSpPr>
        <p:spPr bwMode="auto">
          <a:xfrm>
            <a:off x="6569336" y="1717387"/>
            <a:ext cx="368152"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327 h 512"/>
              <a:gd name="T12" fmla="*/ 263 w 512"/>
              <a:gd name="T13" fmla="*/ 413 h 512"/>
              <a:gd name="T14" fmla="*/ 260 w 512"/>
              <a:gd name="T15" fmla="*/ 415 h 512"/>
              <a:gd name="T16" fmla="*/ 256 w 512"/>
              <a:gd name="T17" fmla="*/ 416 h 512"/>
              <a:gd name="T18" fmla="*/ 252 w 512"/>
              <a:gd name="T19" fmla="*/ 415 h 512"/>
              <a:gd name="T20" fmla="*/ 248 w 512"/>
              <a:gd name="T21" fmla="*/ 413 h 512"/>
              <a:gd name="T22" fmla="*/ 163 w 512"/>
              <a:gd name="T23" fmla="*/ 327 h 512"/>
              <a:gd name="T24" fmla="*/ 163 w 512"/>
              <a:gd name="T25" fmla="*/ 312 h 512"/>
              <a:gd name="T26" fmla="*/ 178 w 512"/>
              <a:gd name="T27" fmla="*/ 312 h 512"/>
              <a:gd name="T28" fmla="*/ 245 w 512"/>
              <a:gd name="T29" fmla="*/ 379 h 512"/>
              <a:gd name="T30" fmla="*/ 245 w 512"/>
              <a:gd name="T31" fmla="*/ 106 h 512"/>
              <a:gd name="T32" fmla="*/ 256 w 512"/>
              <a:gd name="T33" fmla="*/ 96 h 512"/>
              <a:gd name="T34" fmla="*/ 266 w 512"/>
              <a:gd name="T35" fmla="*/ 106 h 512"/>
              <a:gd name="T36" fmla="*/ 266 w 512"/>
              <a:gd name="T37" fmla="*/ 379 h 512"/>
              <a:gd name="T38" fmla="*/ 333 w 512"/>
              <a:gd name="T39" fmla="*/ 312 h 512"/>
              <a:gd name="T40" fmla="*/ 349 w 512"/>
              <a:gd name="T41" fmla="*/ 312 h 512"/>
              <a:gd name="T42" fmla="*/ 349 w 512"/>
              <a:gd name="T43" fmla="*/ 3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327"/>
                </a:moveTo>
                <a:cubicBezTo>
                  <a:pt x="263" y="413"/>
                  <a:pt x="263" y="413"/>
                  <a:pt x="263" y="413"/>
                </a:cubicBezTo>
                <a:cubicBezTo>
                  <a:pt x="262" y="414"/>
                  <a:pt x="261" y="414"/>
                  <a:pt x="260" y="415"/>
                </a:cubicBezTo>
                <a:cubicBezTo>
                  <a:pt x="258" y="415"/>
                  <a:pt x="257" y="416"/>
                  <a:pt x="256" y="416"/>
                </a:cubicBezTo>
                <a:cubicBezTo>
                  <a:pt x="254" y="416"/>
                  <a:pt x="253" y="415"/>
                  <a:pt x="252" y="415"/>
                </a:cubicBezTo>
                <a:cubicBezTo>
                  <a:pt x="250" y="414"/>
                  <a:pt x="249" y="414"/>
                  <a:pt x="248" y="413"/>
                </a:cubicBezTo>
                <a:cubicBezTo>
                  <a:pt x="163" y="327"/>
                  <a:pt x="163" y="327"/>
                  <a:pt x="163" y="327"/>
                </a:cubicBezTo>
                <a:cubicBezTo>
                  <a:pt x="159" y="323"/>
                  <a:pt x="159" y="316"/>
                  <a:pt x="163" y="312"/>
                </a:cubicBezTo>
                <a:cubicBezTo>
                  <a:pt x="167" y="308"/>
                  <a:pt x="174" y="308"/>
                  <a:pt x="178" y="312"/>
                </a:cubicBezTo>
                <a:cubicBezTo>
                  <a:pt x="245" y="379"/>
                  <a:pt x="245" y="379"/>
                  <a:pt x="245" y="379"/>
                </a:cubicBezTo>
                <a:cubicBezTo>
                  <a:pt x="245" y="106"/>
                  <a:pt x="245" y="106"/>
                  <a:pt x="245" y="106"/>
                </a:cubicBezTo>
                <a:cubicBezTo>
                  <a:pt x="245" y="100"/>
                  <a:pt x="250" y="96"/>
                  <a:pt x="256" y="96"/>
                </a:cubicBezTo>
                <a:cubicBezTo>
                  <a:pt x="262" y="96"/>
                  <a:pt x="266" y="100"/>
                  <a:pt x="266" y="106"/>
                </a:cubicBezTo>
                <a:cubicBezTo>
                  <a:pt x="266" y="379"/>
                  <a:pt x="266" y="379"/>
                  <a:pt x="266" y="379"/>
                </a:cubicBezTo>
                <a:cubicBezTo>
                  <a:pt x="333" y="312"/>
                  <a:pt x="333" y="312"/>
                  <a:pt x="333" y="312"/>
                </a:cubicBezTo>
                <a:cubicBezTo>
                  <a:pt x="338" y="308"/>
                  <a:pt x="344" y="308"/>
                  <a:pt x="349" y="312"/>
                </a:cubicBezTo>
                <a:cubicBezTo>
                  <a:pt x="353" y="316"/>
                  <a:pt x="353" y="323"/>
                  <a:pt x="349" y="32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2" name="Group 141">
            <a:extLst>
              <a:ext uri="{FF2B5EF4-FFF2-40B4-BE49-F238E27FC236}">
                <a16:creationId xmlns:a16="http://schemas.microsoft.com/office/drawing/2014/main" id="{8F499D86-5AAD-4F04-ACA7-5FFE1920EA07}"/>
              </a:ext>
            </a:extLst>
          </p:cNvPr>
          <p:cNvGrpSpPr>
            <a:grpSpLocks noChangeAspect="1"/>
          </p:cNvGrpSpPr>
          <p:nvPr/>
        </p:nvGrpSpPr>
        <p:grpSpPr bwMode="auto">
          <a:xfrm>
            <a:off x="7004638" y="1717387"/>
            <a:ext cx="369236" cy="368152"/>
            <a:chOff x="3478" y="1502"/>
            <a:chExt cx="341" cy="340"/>
          </a:xfrm>
          <a:solidFill>
            <a:schemeClr val="accent2"/>
          </a:solidFill>
        </p:grpSpPr>
        <p:sp>
          <p:nvSpPr>
            <p:cNvPr id="463" name="Freeform 142">
              <a:extLst>
                <a:ext uri="{FF2B5EF4-FFF2-40B4-BE49-F238E27FC236}">
                  <a16:creationId xmlns:a16="http://schemas.microsoft.com/office/drawing/2014/main" id="{324FBE69-133E-4D02-B16B-45C37CA0042D}"/>
                </a:ext>
              </a:extLst>
            </p:cNvPr>
            <p:cNvSpPr>
              <a:spLocks/>
            </p:cNvSpPr>
            <p:nvPr/>
          </p:nvSpPr>
          <p:spPr bwMode="auto">
            <a:xfrm>
              <a:off x="3584" y="1566"/>
              <a:ext cx="129" cy="212"/>
            </a:xfrm>
            <a:custGeom>
              <a:avLst/>
              <a:gdLst>
                <a:gd name="T0" fmla="*/ 190 w 194"/>
                <a:gd name="T1" fmla="*/ 216 h 320"/>
                <a:gd name="T2" fmla="*/ 174 w 194"/>
                <a:gd name="T3" fmla="*/ 216 h 320"/>
                <a:gd name="T4" fmla="*/ 107 w 194"/>
                <a:gd name="T5" fmla="*/ 283 h 320"/>
                <a:gd name="T6" fmla="*/ 107 w 194"/>
                <a:gd name="T7" fmla="*/ 10 h 320"/>
                <a:gd name="T8" fmla="*/ 97 w 194"/>
                <a:gd name="T9" fmla="*/ 0 h 320"/>
                <a:gd name="T10" fmla="*/ 86 w 194"/>
                <a:gd name="T11" fmla="*/ 10 h 320"/>
                <a:gd name="T12" fmla="*/ 86 w 194"/>
                <a:gd name="T13" fmla="*/ 283 h 320"/>
                <a:gd name="T14" fmla="*/ 19 w 194"/>
                <a:gd name="T15" fmla="*/ 216 h 320"/>
                <a:gd name="T16" fmla="*/ 4 w 194"/>
                <a:gd name="T17" fmla="*/ 216 h 320"/>
                <a:gd name="T18" fmla="*/ 4 w 194"/>
                <a:gd name="T19" fmla="*/ 231 h 320"/>
                <a:gd name="T20" fmla="*/ 89 w 194"/>
                <a:gd name="T21" fmla="*/ 317 h 320"/>
                <a:gd name="T22" fmla="*/ 93 w 194"/>
                <a:gd name="T23" fmla="*/ 319 h 320"/>
                <a:gd name="T24" fmla="*/ 97 w 194"/>
                <a:gd name="T25" fmla="*/ 320 h 320"/>
                <a:gd name="T26" fmla="*/ 101 w 194"/>
                <a:gd name="T27" fmla="*/ 319 h 320"/>
                <a:gd name="T28" fmla="*/ 104 w 194"/>
                <a:gd name="T29" fmla="*/ 317 h 320"/>
                <a:gd name="T30" fmla="*/ 190 w 194"/>
                <a:gd name="T31" fmla="*/ 231 h 320"/>
                <a:gd name="T32" fmla="*/ 190 w 194"/>
                <a:gd name="T33" fmla="*/ 21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4" h="320">
                  <a:moveTo>
                    <a:pt x="190" y="216"/>
                  </a:moveTo>
                  <a:cubicBezTo>
                    <a:pt x="185" y="212"/>
                    <a:pt x="179" y="212"/>
                    <a:pt x="174" y="216"/>
                  </a:cubicBezTo>
                  <a:cubicBezTo>
                    <a:pt x="107" y="283"/>
                    <a:pt x="107" y="283"/>
                    <a:pt x="107" y="283"/>
                  </a:cubicBezTo>
                  <a:cubicBezTo>
                    <a:pt x="107" y="10"/>
                    <a:pt x="107" y="10"/>
                    <a:pt x="107" y="10"/>
                  </a:cubicBezTo>
                  <a:cubicBezTo>
                    <a:pt x="107" y="4"/>
                    <a:pt x="103" y="0"/>
                    <a:pt x="97" y="0"/>
                  </a:cubicBezTo>
                  <a:cubicBezTo>
                    <a:pt x="91" y="0"/>
                    <a:pt x="86" y="4"/>
                    <a:pt x="86" y="10"/>
                  </a:cubicBezTo>
                  <a:cubicBezTo>
                    <a:pt x="86" y="283"/>
                    <a:pt x="86" y="283"/>
                    <a:pt x="86" y="283"/>
                  </a:cubicBezTo>
                  <a:cubicBezTo>
                    <a:pt x="19" y="216"/>
                    <a:pt x="19" y="216"/>
                    <a:pt x="19" y="216"/>
                  </a:cubicBezTo>
                  <a:cubicBezTo>
                    <a:pt x="15" y="212"/>
                    <a:pt x="8" y="212"/>
                    <a:pt x="4" y="216"/>
                  </a:cubicBezTo>
                  <a:cubicBezTo>
                    <a:pt x="0" y="220"/>
                    <a:pt x="0" y="227"/>
                    <a:pt x="4" y="231"/>
                  </a:cubicBezTo>
                  <a:cubicBezTo>
                    <a:pt x="89" y="317"/>
                    <a:pt x="89" y="317"/>
                    <a:pt x="89" y="317"/>
                  </a:cubicBezTo>
                  <a:cubicBezTo>
                    <a:pt x="90" y="318"/>
                    <a:pt x="91" y="318"/>
                    <a:pt x="93" y="319"/>
                  </a:cubicBezTo>
                  <a:cubicBezTo>
                    <a:pt x="94" y="319"/>
                    <a:pt x="95" y="320"/>
                    <a:pt x="97" y="320"/>
                  </a:cubicBezTo>
                  <a:cubicBezTo>
                    <a:pt x="98" y="320"/>
                    <a:pt x="99" y="319"/>
                    <a:pt x="101" y="319"/>
                  </a:cubicBezTo>
                  <a:cubicBezTo>
                    <a:pt x="102" y="318"/>
                    <a:pt x="103" y="318"/>
                    <a:pt x="104" y="317"/>
                  </a:cubicBezTo>
                  <a:cubicBezTo>
                    <a:pt x="190" y="231"/>
                    <a:pt x="190" y="231"/>
                    <a:pt x="190" y="231"/>
                  </a:cubicBezTo>
                  <a:cubicBezTo>
                    <a:pt x="194" y="227"/>
                    <a:pt x="194" y="220"/>
                    <a:pt x="190" y="2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143">
              <a:extLst>
                <a:ext uri="{FF2B5EF4-FFF2-40B4-BE49-F238E27FC236}">
                  <a16:creationId xmlns:a16="http://schemas.microsoft.com/office/drawing/2014/main" id="{45B5318E-CC2B-422E-950B-349C8D43DE4D}"/>
                </a:ext>
              </a:extLst>
            </p:cNvPr>
            <p:cNvSpPr>
              <a:spLocks noEditPoints="1"/>
            </p:cNvSpPr>
            <p:nvPr/>
          </p:nvSpPr>
          <p:spPr bwMode="auto">
            <a:xfrm>
              <a:off x="3478" y="1502"/>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5" name="Freeform 174">
            <a:extLst>
              <a:ext uri="{FF2B5EF4-FFF2-40B4-BE49-F238E27FC236}">
                <a16:creationId xmlns:a16="http://schemas.microsoft.com/office/drawing/2014/main" id="{3C57A2F4-F834-4B8F-8A39-E12C8F40279B}"/>
              </a:ext>
            </a:extLst>
          </p:cNvPr>
          <p:cNvSpPr>
            <a:spLocks noChangeAspect="1" noEditPoints="1"/>
          </p:cNvSpPr>
          <p:nvPr/>
        </p:nvSpPr>
        <p:spPr bwMode="auto">
          <a:xfrm>
            <a:off x="5711453" y="1717557"/>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6" name="Freeform 183">
            <a:extLst>
              <a:ext uri="{FF2B5EF4-FFF2-40B4-BE49-F238E27FC236}">
                <a16:creationId xmlns:a16="http://schemas.microsoft.com/office/drawing/2014/main" id="{4A9A1DF0-D9C4-4075-8A11-8A39D6404A15}"/>
              </a:ext>
            </a:extLst>
          </p:cNvPr>
          <p:cNvSpPr>
            <a:spLocks noChangeAspect="1" noEditPoints="1"/>
          </p:cNvSpPr>
          <p:nvPr/>
        </p:nvSpPr>
        <p:spPr bwMode="auto">
          <a:xfrm>
            <a:off x="4840107" y="1717557"/>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117 h 512"/>
              <a:gd name="T12" fmla="*/ 213 w 512"/>
              <a:gd name="T13" fmla="*/ 117 h 512"/>
              <a:gd name="T14" fmla="*/ 213 w 512"/>
              <a:gd name="T15" fmla="*/ 379 h 512"/>
              <a:gd name="T16" fmla="*/ 280 w 512"/>
              <a:gd name="T17" fmla="*/ 312 h 512"/>
              <a:gd name="T18" fmla="*/ 295 w 512"/>
              <a:gd name="T19" fmla="*/ 312 h 512"/>
              <a:gd name="T20" fmla="*/ 295 w 512"/>
              <a:gd name="T21" fmla="*/ 327 h 512"/>
              <a:gd name="T22" fmla="*/ 210 w 512"/>
              <a:gd name="T23" fmla="*/ 413 h 512"/>
              <a:gd name="T24" fmla="*/ 206 w 512"/>
              <a:gd name="T25" fmla="*/ 415 h 512"/>
              <a:gd name="T26" fmla="*/ 202 w 512"/>
              <a:gd name="T27" fmla="*/ 416 h 512"/>
              <a:gd name="T28" fmla="*/ 198 w 512"/>
              <a:gd name="T29" fmla="*/ 415 h 512"/>
              <a:gd name="T30" fmla="*/ 195 w 512"/>
              <a:gd name="T31" fmla="*/ 413 h 512"/>
              <a:gd name="T32" fmla="*/ 109 w 512"/>
              <a:gd name="T33" fmla="*/ 327 h 512"/>
              <a:gd name="T34" fmla="*/ 109 w 512"/>
              <a:gd name="T35" fmla="*/ 312 h 512"/>
              <a:gd name="T36" fmla="*/ 125 w 512"/>
              <a:gd name="T37" fmla="*/ 312 h 512"/>
              <a:gd name="T38" fmla="*/ 192 w 512"/>
              <a:gd name="T39" fmla="*/ 379 h 512"/>
              <a:gd name="T40" fmla="*/ 192 w 512"/>
              <a:gd name="T41" fmla="*/ 106 h 512"/>
              <a:gd name="T42" fmla="*/ 202 w 512"/>
              <a:gd name="T43" fmla="*/ 96 h 512"/>
              <a:gd name="T44" fmla="*/ 330 w 512"/>
              <a:gd name="T45" fmla="*/ 96 h 512"/>
              <a:gd name="T46" fmla="*/ 341 w 512"/>
              <a:gd name="T47" fmla="*/ 106 h 512"/>
              <a:gd name="T48" fmla="*/ 330 w 512"/>
              <a:gd name="T49"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117"/>
                </a:moveTo>
                <a:cubicBezTo>
                  <a:pt x="213" y="117"/>
                  <a:pt x="213" y="117"/>
                  <a:pt x="213" y="117"/>
                </a:cubicBezTo>
                <a:cubicBezTo>
                  <a:pt x="213" y="379"/>
                  <a:pt x="213" y="379"/>
                  <a:pt x="213" y="379"/>
                </a:cubicBezTo>
                <a:cubicBezTo>
                  <a:pt x="280" y="312"/>
                  <a:pt x="280" y="312"/>
                  <a:pt x="280" y="312"/>
                </a:cubicBezTo>
                <a:cubicBezTo>
                  <a:pt x="284" y="308"/>
                  <a:pt x="291" y="308"/>
                  <a:pt x="295" y="312"/>
                </a:cubicBezTo>
                <a:cubicBezTo>
                  <a:pt x="299" y="316"/>
                  <a:pt x="299" y="323"/>
                  <a:pt x="295" y="327"/>
                </a:cubicBezTo>
                <a:cubicBezTo>
                  <a:pt x="210" y="413"/>
                  <a:pt x="210" y="413"/>
                  <a:pt x="210" y="413"/>
                </a:cubicBezTo>
                <a:cubicBezTo>
                  <a:pt x="209" y="414"/>
                  <a:pt x="208" y="414"/>
                  <a:pt x="206" y="415"/>
                </a:cubicBezTo>
                <a:cubicBezTo>
                  <a:pt x="205" y="415"/>
                  <a:pt x="204" y="416"/>
                  <a:pt x="202" y="416"/>
                </a:cubicBezTo>
                <a:cubicBezTo>
                  <a:pt x="201" y="416"/>
                  <a:pt x="200" y="415"/>
                  <a:pt x="198" y="415"/>
                </a:cubicBezTo>
                <a:cubicBezTo>
                  <a:pt x="197" y="414"/>
                  <a:pt x="196" y="414"/>
                  <a:pt x="195" y="413"/>
                </a:cubicBezTo>
                <a:cubicBezTo>
                  <a:pt x="109" y="327"/>
                  <a:pt x="109" y="327"/>
                  <a:pt x="109" y="327"/>
                </a:cubicBezTo>
                <a:cubicBezTo>
                  <a:pt x="105" y="323"/>
                  <a:pt x="105" y="316"/>
                  <a:pt x="109" y="312"/>
                </a:cubicBezTo>
                <a:cubicBezTo>
                  <a:pt x="114" y="308"/>
                  <a:pt x="120" y="308"/>
                  <a:pt x="125" y="312"/>
                </a:cubicBezTo>
                <a:cubicBezTo>
                  <a:pt x="192" y="379"/>
                  <a:pt x="192" y="379"/>
                  <a:pt x="192" y="379"/>
                </a:cubicBezTo>
                <a:cubicBezTo>
                  <a:pt x="192" y="106"/>
                  <a:pt x="192" y="106"/>
                  <a:pt x="192" y="106"/>
                </a:cubicBezTo>
                <a:cubicBezTo>
                  <a:pt x="192" y="100"/>
                  <a:pt x="196" y="96"/>
                  <a:pt x="202" y="96"/>
                </a:cubicBezTo>
                <a:cubicBezTo>
                  <a:pt x="330" y="96"/>
                  <a:pt x="330" y="96"/>
                  <a:pt x="330" y="96"/>
                </a:cubicBezTo>
                <a:cubicBezTo>
                  <a:pt x="336" y="96"/>
                  <a:pt x="341" y="100"/>
                  <a:pt x="341" y="106"/>
                </a:cubicBezTo>
                <a:cubicBezTo>
                  <a:pt x="341" y="112"/>
                  <a:pt x="336" y="117"/>
                  <a:pt x="330" y="11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7" name="Freeform 187">
            <a:extLst>
              <a:ext uri="{FF2B5EF4-FFF2-40B4-BE49-F238E27FC236}">
                <a16:creationId xmlns:a16="http://schemas.microsoft.com/office/drawing/2014/main" id="{C7ADC709-4B56-42CD-B02F-D87E5C9DC059}"/>
              </a:ext>
            </a:extLst>
          </p:cNvPr>
          <p:cNvSpPr>
            <a:spLocks noChangeAspect="1" noEditPoints="1"/>
          </p:cNvSpPr>
          <p:nvPr/>
        </p:nvSpPr>
        <p:spPr bwMode="auto">
          <a:xfrm>
            <a:off x="5275239" y="1717557"/>
            <a:ext cx="369064"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30 w 512"/>
              <a:gd name="T21" fmla="*/ 96 h 512"/>
              <a:gd name="T22" fmla="*/ 202 w 512"/>
              <a:gd name="T23" fmla="*/ 96 h 512"/>
              <a:gd name="T24" fmla="*/ 192 w 512"/>
              <a:gd name="T25" fmla="*/ 106 h 512"/>
              <a:gd name="T26" fmla="*/ 192 w 512"/>
              <a:gd name="T27" fmla="*/ 379 h 512"/>
              <a:gd name="T28" fmla="*/ 125 w 512"/>
              <a:gd name="T29" fmla="*/ 312 h 512"/>
              <a:gd name="T30" fmla="*/ 109 w 512"/>
              <a:gd name="T31" fmla="*/ 312 h 512"/>
              <a:gd name="T32" fmla="*/ 109 w 512"/>
              <a:gd name="T33" fmla="*/ 327 h 512"/>
              <a:gd name="T34" fmla="*/ 195 w 512"/>
              <a:gd name="T35" fmla="*/ 413 h 512"/>
              <a:gd name="T36" fmla="*/ 198 w 512"/>
              <a:gd name="T37" fmla="*/ 415 h 512"/>
              <a:gd name="T38" fmla="*/ 202 w 512"/>
              <a:gd name="T39" fmla="*/ 416 h 512"/>
              <a:gd name="T40" fmla="*/ 206 w 512"/>
              <a:gd name="T41" fmla="*/ 415 h 512"/>
              <a:gd name="T42" fmla="*/ 210 w 512"/>
              <a:gd name="T43" fmla="*/ 413 h 512"/>
              <a:gd name="T44" fmla="*/ 295 w 512"/>
              <a:gd name="T45" fmla="*/ 327 h 512"/>
              <a:gd name="T46" fmla="*/ 295 w 512"/>
              <a:gd name="T47" fmla="*/ 312 h 512"/>
              <a:gd name="T48" fmla="*/ 280 w 512"/>
              <a:gd name="T49" fmla="*/ 312 h 512"/>
              <a:gd name="T50" fmla="*/ 213 w 512"/>
              <a:gd name="T51" fmla="*/ 379 h 512"/>
              <a:gd name="T52" fmla="*/ 213 w 512"/>
              <a:gd name="T53" fmla="*/ 117 h 512"/>
              <a:gd name="T54" fmla="*/ 330 w 512"/>
              <a:gd name="T55" fmla="*/ 117 h 512"/>
              <a:gd name="T56" fmla="*/ 341 w 512"/>
              <a:gd name="T57" fmla="*/ 106 h 512"/>
              <a:gd name="T58" fmla="*/ 330 w 512"/>
              <a:gd name="T59" fmla="*/ 9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202" y="96"/>
                  <a:pt x="202" y="96"/>
                  <a:pt x="202" y="96"/>
                </a:cubicBezTo>
                <a:cubicBezTo>
                  <a:pt x="196" y="96"/>
                  <a:pt x="192" y="100"/>
                  <a:pt x="192" y="106"/>
                </a:cubicBezTo>
                <a:cubicBezTo>
                  <a:pt x="192" y="379"/>
                  <a:pt x="192" y="379"/>
                  <a:pt x="192" y="379"/>
                </a:cubicBezTo>
                <a:cubicBezTo>
                  <a:pt x="125" y="312"/>
                  <a:pt x="125" y="312"/>
                  <a:pt x="125" y="312"/>
                </a:cubicBezTo>
                <a:cubicBezTo>
                  <a:pt x="120" y="308"/>
                  <a:pt x="114" y="308"/>
                  <a:pt x="109" y="312"/>
                </a:cubicBezTo>
                <a:cubicBezTo>
                  <a:pt x="105" y="316"/>
                  <a:pt x="105" y="323"/>
                  <a:pt x="109" y="327"/>
                </a:cubicBezTo>
                <a:cubicBezTo>
                  <a:pt x="195" y="413"/>
                  <a:pt x="195" y="413"/>
                  <a:pt x="195" y="413"/>
                </a:cubicBezTo>
                <a:cubicBezTo>
                  <a:pt x="196" y="414"/>
                  <a:pt x="197" y="414"/>
                  <a:pt x="198" y="415"/>
                </a:cubicBezTo>
                <a:cubicBezTo>
                  <a:pt x="200" y="415"/>
                  <a:pt x="201" y="416"/>
                  <a:pt x="202" y="416"/>
                </a:cubicBezTo>
                <a:cubicBezTo>
                  <a:pt x="204" y="416"/>
                  <a:pt x="205" y="415"/>
                  <a:pt x="206" y="415"/>
                </a:cubicBezTo>
                <a:cubicBezTo>
                  <a:pt x="208" y="414"/>
                  <a:pt x="209" y="414"/>
                  <a:pt x="210" y="413"/>
                </a:cubicBezTo>
                <a:cubicBezTo>
                  <a:pt x="295" y="327"/>
                  <a:pt x="295" y="327"/>
                  <a:pt x="295" y="327"/>
                </a:cubicBezTo>
                <a:cubicBezTo>
                  <a:pt x="299" y="323"/>
                  <a:pt x="299" y="316"/>
                  <a:pt x="295" y="312"/>
                </a:cubicBezTo>
                <a:cubicBezTo>
                  <a:pt x="291" y="308"/>
                  <a:pt x="284" y="308"/>
                  <a:pt x="280" y="312"/>
                </a:cubicBezTo>
                <a:cubicBezTo>
                  <a:pt x="213" y="379"/>
                  <a:pt x="213" y="379"/>
                  <a:pt x="213" y="379"/>
                </a:cubicBezTo>
                <a:cubicBezTo>
                  <a:pt x="213" y="117"/>
                  <a:pt x="213" y="117"/>
                  <a:pt x="213" y="117"/>
                </a:cubicBezTo>
                <a:cubicBezTo>
                  <a:pt x="330" y="117"/>
                  <a:pt x="330" y="117"/>
                  <a:pt x="330" y="117"/>
                </a:cubicBezTo>
                <a:cubicBezTo>
                  <a:pt x="336" y="117"/>
                  <a:pt x="341" y="112"/>
                  <a:pt x="341" y="106"/>
                </a:cubicBezTo>
                <a:cubicBezTo>
                  <a:pt x="341" y="100"/>
                  <a:pt x="336" y="96"/>
                  <a:pt x="330" y="9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8" name="Freeform 282">
            <a:extLst>
              <a:ext uri="{FF2B5EF4-FFF2-40B4-BE49-F238E27FC236}">
                <a16:creationId xmlns:a16="http://schemas.microsoft.com/office/drawing/2014/main" id="{DCDEE2EA-990B-4024-A6E0-0AC6C8354CEB}"/>
              </a:ext>
            </a:extLst>
          </p:cNvPr>
          <p:cNvSpPr>
            <a:spLocks noChangeAspect="1" noEditPoints="1"/>
          </p:cNvSpPr>
          <p:nvPr/>
        </p:nvSpPr>
        <p:spPr bwMode="auto">
          <a:xfrm>
            <a:off x="3968761" y="1716475"/>
            <a:ext cx="369064"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416 h 512"/>
              <a:gd name="T12" fmla="*/ 202 w 512"/>
              <a:gd name="T13" fmla="*/ 416 h 512"/>
              <a:gd name="T14" fmla="*/ 192 w 512"/>
              <a:gd name="T15" fmla="*/ 405 h 512"/>
              <a:gd name="T16" fmla="*/ 192 w 512"/>
              <a:gd name="T17" fmla="*/ 132 h 512"/>
              <a:gd name="T18" fmla="*/ 125 w 512"/>
              <a:gd name="T19" fmla="*/ 199 h 512"/>
              <a:gd name="T20" fmla="*/ 117 w 512"/>
              <a:gd name="T21" fmla="*/ 202 h 512"/>
              <a:gd name="T22" fmla="*/ 109 w 512"/>
              <a:gd name="T23" fmla="*/ 199 h 512"/>
              <a:gd name="T24" fmla="*/ 109 w 512"/>
              <a:gd name="T25" fmla="*/ 184 h 512"/>
              <a:gd name="T26" fmla="*/ 195 w 512"/>
              <a:gd name="T27" fmla="*/ 99 h 512"/>
              <a:gd name="T28" fmla="*/ 198 w 512"/>
              <a:gd name="T29" fmla="*/ 96 h 512"/>
              <a:gd name="T30" fmla="*/ 206 w 512"/>
              <a:gd name="T31" fmla="*/ 96 h 512"/>
              <a:gd name="T32" fmla="*/ 210 w 512"/>
              <a:gd name="T33" fmla="*/ 99 h 512"/>
              <a:gd name="T34" fmla="*/ 295 w 512"/>
              <a:gd name="T35" fmla="*/ 184 h 512"/>
              <a:gd name="T36" fmla="*/ 295 w 512"/>
              <a:gd name="T37" fmla="*/ 199 h 512"/>
              <a:gd name="T38" fmla="*/ 288 w 512"/>
              <a:gd name="T39" fmla="*/ 202 h 512"/>
              <a:gd name="T40" fmla="*/ 280 w 512"/>
              <a:gd name="T41" fmla="*/ 199 h 512"/>
              <a:gd name="T42" fmla="*/ 213 w 512"/>
              <a:gd name="T43" fmla="*/ 132 h 512"/>
              <a:gd name="T44" fmla="*/ 213 w 512"/>
              <a:gd name="T45" fmla="*/ 394 h 512"/>
              <a:gd name="T46" fmla="*/ 330 w 512"/>
              <a:gd name="T47" fmla="*/ 394 h 512"/>
              <a:gd name="T48" fmla="*/ 341 w 512"/>
              <a:gd name="T49" fmla="*/ 405 h 512"/>
              <a:gd name="T50" fmla="*/ 330 w 512"/>
              <a:gd name="T5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416"/>
                </a:moveTo>
                <a:cubicBezTo>
                  <a:pt x="202" y="416"/>
                  <a:pt x="202" y="416"/>
                  <a:pt x="202" y="416"/>
                </a:cubicBezTo>
                <a:cubicBezTo>
                  <a:pt x="196" y="416"/>
                  <a:pt x="192" y="411"/>
                  <a:pt x="192" y="405"/>
                </a:cubicBezTo>
                <a:cubicBezTo>
                  <a:pt x="192" y="132"/>
                  <a:pt x="192" y="132"/>
                  <a:pt x="192" y="132"/>
                </a:cubicBezTo>
                <a:cubicBezTo>
                  <a:pt x="125" y="199"/>
                  <a:pt x="125" y="199"/>
                  <a:pt x="125" y="199"/>
                </a:cubicBezTo>
                <a:cubicBezTo>
                  <a:pt x="122" y="201"/>
                  <a:pt x="120" y="202"/>
                  <a:pt x="117" y="202"/>
                </a:cubicBezTo>
                <a:cubicBezTo>
                  <a:pt x="114" y="202"/>
                  <a:pt x="112" y="201"/>
                  <a:pt x="109" y="199"/>
                </a:cubicBezTo>
                <a:cubicBezTo>
                  <a:pt x="105" y="195"/>
                  <a:pt x="105" y="188"/>
                  <a:pt x="109" y="184"/>
                </a:cubicBezTo>
                <a:cubicBezTo>
                  <a:pt x="195" y="99"/>
                  <a:pt x="195" y="99"/>
                  <a:pt x="195" y="99"/>
                </a:cubicBezTo>
                <a:cubicBezTo>
                  <a:pt x="196" y="98"/>
                  <a:pt x="197" y="97"/>
                  <a:pt x="198" y="96"/>
                </a:cubicBezTo>
                <a:cubicBezTo>
                  <a:pt x="201" y="95"/>
                  <a:pt x="204" y="95"/>
                  <a:pt x="206" y="96"/>
                </a:cubicBezTo>
                <a:cubicBezTo>
                  <a:pt x="208" y="97"/>
                  <a:pt x="209" y="98"/>
                  <a:pt x="210" y="99"/>
                </a:cubicBezTo>
                <a:cubicBezTo>
                  <a:pt x="295" y="184"/>
                  <a:pt x="295" y="184"/>
                  <a:pt x="295" y="184"/>
                </a:cubicBezTo>
                <a:cubicBezTo>
                  <a:pt x="299" y="188"/>
                  <a:pt x="299" y="195"/>
                  <a:pt x="295" y="199"/>
                </a:cubicBezTo>
                <a:cubicBezTo>
                  <a:pt x="293" y="201"/>
                  <a:pt x="290" y="202"/>
                  <a:pt x="288" y="202"/>
                </a:cubicBezTo>
                <a:cubicBezTo>
                  <a:pt x="285" y="202"/>
                  <a:pt x="282" y="201"/>
                  <a:pt x="280" y="199"/>
                </a:cubicBezTo>
                <a:cubicBezTo>
                  <a:pt x="213" y="132"/>
                  <a:pt x="213" y="132"/>
                  <a:pt x="213" y="132"/>
                </a:cubicBezTo>
                <a:cubicBezTo>
                  <a:pt x="213" y="394"/>
                  <a:pt x="213" y="394"/>
                  <a:pt x="213" y="394"/>
                </a:cubicBezTo>
                <a:cubicBezTo>
                  <a:pt x="330" y="394"/>
                  <a:pt x="330" y="394"/>
                  <a:pt x="330" y="394"/>
                </a:cubicBezTo>
                <a:cubicBezTo>
                  <a:pt x="336" y="394"/>
                  <a:pt x="341" y="399"/>
                  <a:pt x="341" y="405"/>
                </a:cubicBezTo>
                <a:cubicBezTo>
                  <a:pt x="341" y="411"/>
                  <a:pt x="336" y="416"/>
                  <a:pt x="330" y="4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9" name="Freeform 195">
            <a:extLst>
              <a:ext uri="{FF2B5EF4-FFF2-40B4-BE49-F238E27FC236}">
                <a16:creationId xmlns:a16="http://schemas.microsoft.com/office/drawing/2014/main" id="{17400868-F963-43D2-8EB3-87523BBFB62A}"/>
              </a:ext>
            </a:extLst>
          </p:cNvPr>
          <p:cNvSpPr>
            <a:spLocks noChangeAspect="1" noEditPoints="1"/>
          </p:cNvSpPr>
          <p:nvPr/>
        </p:nvSpPr>
        <p:spPr bwMode="auto">
          <a:xfrm>
            <a:off x="4404975" y="1717557"/>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30 w 512"/>
              <a:gd name="T21" fmla="*/ 394 h 512"/>
              <a:gd name="T22" fmla="*/ 213 w 512"/>
              <a:gd name="T23" fmla="*/ 394 h 512"/>
              <a:gd name="T24" fmla="*/ 213 w 512"/>
              <a:gd name="T25" fmla="*/ 132 h 512"/>
              <a:gd name="T26" fmla="*/ 280 w 512"/>
              <a:gd name="T27" fmla="*/ 199 h 512"/>
              <a:gd name="T28" fmla="*/ 288 w 512"/>
              <a:gd name="T29" fmla="*/ 202 h 512"/>
              <a:gd name="T30" fmla="*/ 295 w 512"/>
              <a:gd name="T31" fmla="*/ 199 h 512"/>
              <a:gd name="T32" fmla="*/ 295 w 512"/>
              <a:gd name="T33" fmla="*/ 184 h 512"/>
              <a:gd name="T34" fmla="*/ 210 w 512"/>
              <a:gd name="T35" fmla="*/ 99 h 512"/>
              <a:gd name="T36" fmla="*/ 206 w 512"/>
              <a:gd name="T37" fmla="*/ 96 h 512"/>
              <a:gd name="T38" fmla="*/ 198 w 512"/>
              <a:gd name="T39" fmla="*/ 96 h 512"/>
              <a:gd name="T40" fmla="*/ 195 w 512"/>
              <a:gd name="T41" fmla="*/ 99 h 512"/>
              <a:gd name="T42" fmla="*/ 109 w 512"/>
              <a:gd name="T43" fmla="*/ 184 h 512"/>
              <a:gd name="T44" fmla="*/ 109 w 512"/>
              <a:gd name="T45" fmla="*/ 199 h 512"/>
              <a:gd name="T46" fmla="*/ 117 w 512"/>
              <a:gd name="T47" fmla="*/ 202 h 512"/>
              <a:gd name="T48" fmla="*/ 125 w 512"/>
              <a:gd name="T49" fmla="*/ 199 h 512"/>
              <a:gd name="T50" fmla="*/ 192 w 512"/>
              <a:gd name="T51" fmla="*/ 132 h 512"/>
              <a:gd name="T52" fmla="*/ 192 w 512"/>
              <a:gd name="T53" fmla="*/ 405 h 512"/>
              <a:gd name="T54" fmla="*/ 202 w 512"/>
              <a:gd name="T55" fmla="*/ 416 h 512"/>
              <a:gd name="T56" fmla="*/ 330 w 512"/>
              <a:gd name="T57" fmla="*/ 416 h 512"/>
              <a:gd name="T58" fmla="*/ 341 w 512"/>
              <a:gd name="T59" fmla="*/ 405 h 512"/>
              <a:gd name="T60" fmla="*/ 330 w 512"/>
              <a:gd name="T61"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394"/>
                </a:moveTo>
                <a:cubicBezTo>
                  <a:pt x="213" y="394"/>
                  <a:pt x="213" y="394"/>
                  <a:pt x="213" y="394"/>
                </a:cubicBezTo>
                <a:cubicBezTo>
                  <a:pt x="213" y="132"/>
                  <a:pt x="213" y="132"/>
                  <a:pt x="213" y="132"/>
                </a:cubicBezTo>
                <a:cubicBezTo>
                  <a:pt x="280" y="199"/>
                  <a:pt x="280" y="199"/>
                  <a:pt x="280" y="199"/>
                </a:cubicBezTo>
                <a:cubicBezTo>
                  <a:pt x="282" y="201"/>
                  <a:pt x="285" y="202"/>
                  <a:pt x="288" y="202"/>
                </a:cubicBezTo>
                <a:cubicBezTo>
                  <a:pt x="290" y="202"/>
                  <a:pt x="293" y="201"/>
                  <a:pt x="295" y="199"/>
                </a:cubicBezTo>
                <a:cubicBezTo>
                  <a:pt x="299" y="195"/>
                  <a:pt x="299" y="188"/>
                  <a:pt x="295" y="184"/>
                </a:cubicBezTo>
                <a:cubicBezTo>
                  <a:pt x="210" y="99"/>
                  <a:pt x="210" y="99"/>
                  <a:pt x="210" y="99"/>
                </a:cubicBezTo>
                <a:cubicBezTo>
                  <a:pt x="209" y="98"/>
                  <a:pt x="208" y="97"/>
                  <a:pt x="206" y="96"/>
                </a:cubicBezTo>
                <a:cubicBezTo>
                  <a:pt x="204" y="95"/>
                  <a:pt x="201" y="95"/>
                  <a:pt x="198" y="96"/>
                </a:cubicBezTo>
                <a:cubicBezTo>
                  <a:pt x="197" y="97"/>
                  <a:pt x="196" y="98"/>
                  <a:pt x="195" y="99"/>
                </a:cubicBezTo>
                <a:cubicBezTo>
                  <a:pt x="109" y="184"/>
                  <a:pt x="109" y="184"/>
                  <a:pt x="109" y="184"/>
                </a:cubicBezTo>
                <a:cubicBezTo>
                  <a:pt x="105" y="188"/>
                  <a:pt x="105" y="195"/>
                  <a:pt x="109" y="199"/>
                </a:cubicBezTo>
                <a:cubicBezTo>
                  <a:pt x="112" y="201"/>
                  <a:pt x="114" y="202"/>
                  <a:pt x="117" y="202"/>
                </a:cubicBezTo>
                <a:cubicBezTo>
                  <a:pt x="120" y="202"/>
                  <a:pt x="122" y="201"/>
                  <a:pt x="125" y="199"/>
                </a:cubicBezTo>
                <a:cubicBezTo>
                  <a:pt x="192" y="132"/>
                  <a:pt x="192" y="132"/>
                  <a:pt x="192" y="132"/>
                </a:cubicBezTo>
                <a:cubicBezTo>
                  <a:pt x="192" y="405"/>
                  <a:pt x="192" y="405"/>
                  <a:pt x="192" y="405"/>
                </a:cubicBezTo>
                <a:cubicBezTo>
                  <a:pt x="192" y="411"/>
                  <a:pt x="196" y="416"/>
                  <a:pt x="202" y="416"/>
                </a:cubicBezTo>
                <a:cubicBezTo>
                  <a:pt x="330" y="416"/>
                  <a:pt x="330" y="416"/>
                  <a:pt x="330" y="416"/>
                </a:cubicBezTo>
                <a:cubicBezTo>
                  <a:pt x="336" y="416"/>
                  <a:pt x="341" y="411"/>
                  <a:pt x="341" y="405"/>
                </a:cubicBezTo>
                <a:cubicBezTo>
                  <a:pt x="341" y="399"/>
                  <a:pt x="336" y="394"/>
                  <a:pt x="330" y="3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70" name="Freeform 199">
            <a:extLst>
              <a:ext uri="{FF2B5EF4-FFF2-40B4-BE49-F238E27FC236}">
                <a16:creationId xmlns:a16="http://schemas.microsoft.com/office/drawing/2014/main" id="{FCC16F57-B1EF-4B16-B3AD-C0F77F140380}"/>
              </a:ext>
            </a:extLst>
          </p:cNvPr>
          <p:cNvSpPr>
            <a:spLocks noChangeAspect="1" noEditPoints="1"/>
          </p:cNvSpPr>
          <p:nvPr/>
        </p:nvSpPr>
        <p:spPr bwMode="auto">
          <a:xfrm>
            <a:off x="3098497" y="1717557"/>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27 w 512"/>
              <a:gd name="T15" fmla="*/ 349 h 512"/>
              <a:gd name="T16" fmla="*/ 320 w 512"/>
              <a:gd name="T17" fmla="*/ 352 h 512"/>
              <a:gd name="T18" fmla="*/ 312 w 512"/>
              <a:gd name="T19" fmla="*/ 349 h 512"/>
              <a:gd name="T20" fmla="*/ 312 w 512"/>
              <a:gd name="T21" fmla="*/ 333 h 512"/>
              <a:gd name="T22" fmla="*/ 379 w 512"/>
              <a:gd name="T23" fmla="*/ 266 h 512"/>
              <a:gd name="T24" fmla="*/ 132 w 512"/>
              <a:gd name="T25" fmla="*/ 266 h 512"/>
              <a:gd name="T26" fmla="*/ 199 w 512"/>
              <a:gd name="T27" fmla="*/ 333 h 512"/>
              <a:gd name="T28" fmla="*/ 199 w 512"/>
              <a:gd name="T29" fmla="*/ 349 h 512"/>
              <a:gd name="T30" fmla="*/ 184 w 512"/>
              <a:gd name="T31" fmla="*/ 349 h 512"/>
              <a:gd name="T32" fmla="*/ 99 w 512"/>
              <a:gd name="T33" fmla="*/ 263 h 512"/>
              <a:gd name="T34" fmla="*/ 96 w 512"/>
              <a:gd name="T35" fmla="*/ 260 h 512"/>
              <a:gd name="T36" fmla="*/ 96 w 512"/>
              <a:gd name="T37" fmla="*/ 252 h 512"/>
              <a:gd name="T38" fmla="*/ 99 w 512"/>
              <a:gd name="T39" fmla="*/ 248 h 512"/>
              <a:gd name="T40" fmla="*/ 184 w 512"/>
              <a:gd name="T41" fmla="*/ 163 h 512"/>
              <a:gd name="T42" fmla="*/ 192 w 512"/>
              <a:gd name="T43" fmla="*/ 160 h 512"/>
              <a:gd name="T44" fmla="*/ 199 w 512"/>
              <a:gd name="T45" fmla="*/ 163 h 512"/>
              <a:gd name="T46" fmla="*/ 199 w 512"/>
              <a:gd name="T47" fmla="*/ 178 h 512"/>
              <a:gd name="T48" fmla="*/ 132 w 512"/>
              <a:gd name="T49" fmla="*/ 245 h 512"/>
              <a:gd name="T50" fmla="*/ 379 w 512"/>
              <a:gd name="T51" fmla="*/ 245 h 512"/>
              <a:gd name="T52" fmla="*/ 312 w 512"/>
              <a:gd name="T53" fmla="*/ 178 h 512"/>
              <a:gd name="T54" fmla="*/ 312 w 512"/>
              <a:gd name="T55" fmla="*/ 163 h 512"/>
              <a:gd name="T56" fmla="*/ 327 w 512"/>
              <a:gd name="T57" fmla="*/ 163 h 512"/>
              <a:gd name="T58" fmla="*/ 413 w 512"/>
              <a:gd name="T59" fmla="*/ 248 h 512"/>
              <a:gd name="T60" fmla="*/ 415 w 512"/>
              <a:gd name="T61" fmla="*/ 252 h 512"/>
              <a:gd name="T62" fmla="*/ 415 w 512"/>
              <a:gd name="T63"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27" y="349"/>
                  <a:pt x="327" y="349"/>
                  <a:pt x="327" y="349"/>
                </a:cubicBezTo>
                <a:cubicBezTo>
                  <a:pt x="325" y="351"/>
                  <a:pt x="322" y="352"/>
                  <a:pt x="320" y="352"/>
                </a:cubicBezTo>
                <a:cubicBezTo>
                  <a:pt x="317" y="352"/>
                  <a:pt x="314" y="351"/>
                  <a:pt x="312" y="349"/>
                </a:cubicBezTo>
                <a:cubicBezTo>
                  <a:pt x="308" y="344"/>
                  <a:pt x="308" y="338"/>
                  <a:pt x="312" y="333"/>
                </a:cubicBezTo>
                <a:cubicBezTo>
                  <a:pt x="379" y="266"/>
                  <a:pt x="379" y="266"/>
                  <a:pt x="379" y="266"/>
                </a:cubicBezTo>
                <a:cubicBezTo>
                  <a:pt x="132" y="266"/>
                  <a:pt x="132" y="266"/>
                  <a:pt x="132" y="266"/>
                </a:cubicBezTo>
                <a:cubicBezTo>
                  <a:pt x="199" y="333"/>
                  <a:pt x="199" y="333"/>
                  <a:pt x="199" y="333"/>
                </a:cubicBezTo>
                <a:cubicBezTo>
                  <a:pt x="203" y="338"/>
                  <a:pt x="203" y="344"/>
                  <a:pt x="199" y="349"/>
                </a:cubicBezTo>
                <a:cubicBezTo>
                  <a:pt x="195" y="353"/>
                  <a:pt x="188" y="353"/>
                  <a:pt x="184" y="349"/>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84" y="163"/>
                  <a:pt x="184" y="163"/>
                  <a:pt x="184" y="163"/>
                </a:cubicBezTo>
                <a:cubicBezTo>
                  <a:pt x="186" y="161"/>
                  <a:pt x="189" y="160"/>
                  <a:pt x="192" y="160"/>
                </a:cubicBezTo>
                <a:cubicBezTo>
                  <a:pt x="194" y="160"/>
                  <a:pt x="197" y="161"/>
                  <a:pt x="199" y="163"/>
                </a:cubicBezTo>
                <a:cubicBezTo>
                  <a:pt x="203" y="167"/>
                  <a:pt x="203" y="174"/>
                  <a:pt x="199" y="178"/>
                </a:cubicBezTo>
                <a:cubicBezTo>
                  <a:pt x="132" y="245"/>
                  <a:pt x="132" y="245"/>
                  <a:pt x="132" y="245"/>
                </a:cubicBezTo>
                <a:cubicBezTo>
                  <a:pt x="379" y="245"/>
                  <a:pt x="379" y="245"/>
                  <a:pt x="379" y="245"/>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4" y="249"/>
                  <a:pt x="414" y="250"/>
                  <a:pt x="415" y="252"/>
                </a:cubicBezTo>
                <a:cubicBezTo>
                  <a:pt x="416" y="254"/>
                  <a:pt x="416" y="257"/>
                  <a:pt x="415" y="26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71" name="Freeform 203">
            <a:extLst>
              <a:ext uri="{FF2B5EF4-FFF2-40B4-BE49-F238E27FC236}">
                <a16:creationId xmlns:a16="http://schemas.microsoft.com/office/drawing/2014/main" id="{439E5B98-BE5A-41E1-B27D-1232775694C9}"/>
              </a:ext>
            </a:extLst>
          </p:cNvPr>
          <p:cNvSpPr>
            <a:spLocks noChangeAspect="1" noEditPoints="1"/>
          </p:cNvSpPr>
          <p:nvPr/>
        </p:nvSpPr>
        <p:spPr bwMode="auto">
          <a:xfrm>
            <a:off x="3533629" y="1717557"/>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79 w 512"/>
              <a:gd name="T21" fmla="*/ 266 h 512"/>
              <a:gd name="T22" fmla="*/ 312 w 512"/>
              <a:gd name="T23" fmla="*/ 333 h 512"/>
              <a:gd name="T24" fmla="*/ 312 w 512"/>
              <a:gd name="T25" fmla="*/ 349 h 512"/>
              <a:gd name="T26" fmla="*/ 320 w 512"/>
              <a:gd name="T27" fmla="*/ 352 h 512"/>
              <a:gd name="T28" fmla="*/ 327 w 512"/>
              <a:gd name="T29" fmla="*/ 349 h 512"/>
              <a:gd name="T30" fmla="*/ 413 w 512"/>
              <a:gd name="T31" fmla="*/ 263 h 512"/>
              <a:gd name="T32" fmla="*/ 415 w 512"/>
              <a:gd name="T33" fmla="*/ 260 h 512"/>
              <a:gd name="T34" fmla="*/ 415 w 512"/>
              <a:gd name="T35" fmla="*/ 252 h 512"/>
              <a:gd name="T36" fmla="*/ 413 w 512"/>
              <a:gd name="T37" fmla="*/ 248 h 512"/>
              <a:gd name="T38" fmla="*/ 327 w 512"/>
              <a:gd name="T39" fmla="*/ 163 h 512"/>
              <a:gd name="T40" fmla="*/ 312 w 512"/>
              <a:gd name="T41" fmla="*/ 163 h 512"/>
              <a:gd name="T42" fmla="*/ 312 w 512"/>
              <a:gd name="T43" fmla="*/ 178 h 512"/>
              <a:gd name="T44" fmla="*/ 379 w 512"/>
              <a:gd name="T45" fmla="*/ 245 h 512"/>
              <a:gd name="T46" fmla="*/ 132 w 512"/>
              <a:gd name="T47" fmla="*/ 245 h 512"/>
              <a:gd name="T48" fmla="*/ 199 w 512"/>
              <a:gd name="T49" fmla="*/ 178 h 512"/>
              <a:gd name="T50" fmla="*/ 199 w 512"/>
              <a:gd name="T51" fmla="*/ 163 h 512"/>
              <a:gd name="T52" fmla="*/ 192 w 512"/>
              <a:gd name="T53" fmla="*/ 160 h 512"/>
              <a:gd name="T54" fmla="*/ 184 w 512"/>
              <a:gd name="T55" fmla="*/ 163 h 512"/>
              <a:gd name="T56" fmla="*/ 99 w 512"/>
              <a:gd name="T57" fmla="*/ 248 h 512"/>
              <a:gd name="T58" fmla="*/ 96 w 512"/>
              <a:gd name="T59" fmla="*/ 252 h 512"/>
              <a:gd name="T60" fmla="*/ 96 w 512"/>
              <a:gd name="T61" fmla="*/ 260 h 512"/>
              <a:gd name="T62" fmla="*/ 99 w 512"/>
              <a:gd name="T63" fmla="*/ 263 h 512"/>
              <a:gd name="T64" fmla="*/ 184 w 512"/>
              <a:gd name="T65" fmla="*/ 349 h 512"/>
              <a:gd name="T66" fmla="*/ 199 w 512"/>
              <a:gd name="T67" fmla="*/ 349 h 512"/>
              <a:gd name="T68" fmla="*/ 199 w 512"/>
              <a:gd name="T69" fmla="*/ 333 h 512"/>
              <a:gd name="T70" fmla="*/ 132 w 512"/>
              <a:gd name="T71" fmla="*/ 266 h 512"/>
              <a:gd name="T72" fmla="*/ 379 w 512"/>
              <a:gd name="T7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9" y="266"/>
                </a:moveTo>
                <a:cubicBezTo>
                  <a:pt x="312" y="333"/>
                  <a:pt x="312" y="333"/>
                  <a:pt x="312" y="333"/>
                </a:cubicBezTo>
                <a:cubicBezTo>
                  <a:pt x="308" y="338"/>
                  <a:pt x="308" y="344"/>
                  <a:pt x="312" y="349"/>
                </a:cubicBezTo>
                <a:cubicBezTo>
                  <a:pt x="314" y="351"/>
                  <a:pt x="317" y="352"/>
                  <a:pt x="320" y="352"/>
                </a:cubicBezTo>
                <a:cubicBezTo>
                  <a:pt x="322" y="352"/>
                  <a:pt x="325" y="351"/>
                  <a:pt x="327" y="349"/>
                </a:cubicBezTo>
                <a:cubicBezTo>
                  <a:pt x="413" y="263"/>
                  <a:pt x="413" y="263"/>
                  <a:pt x="413" y="263"/>
                </a:cubicBezTo>
                <a:cubicBezTo>
                  <a:pt x="414" y="262"/>
                  <a:pt x="414" y="261"/>
                  <a:pt x="415" y="260"/>
                </a:cubicBezTo>
                <a:cubicBezTo>
                  <a:pt x="416" y="257"/>
                  <a:pt x="416" y="254"/>
                  <a:pt x="415" y="252"/>
                </a:cubicBezTo>
                <a:cubicBezTo>
                  <a:pt x="414" y="250"/>
                  <a:pt x="414" y="249"/>
                  <a:pt x="413" y="248"/>
                </a:cubicBezTo>
                <a:cubicBezTo>
                  <a:pt x="327" y="163"/>
                  <a:pt x="327" y="163"/>
                  <a:pt x="327" y="163"/>
                </a:cubicBezTo>
                <a:cubicBezTo>
                  <a:pt x="323" y="159"/>
                  <a:pt x="316" y="159"/>
                  <a:pt x="312" y="163"/>
                </a:cubicBezTo>
                <a:cubicBezTo>
                  <a:pt x="308" y="167"/>
                  <a:pt x="308" y="174"/>
                  <a:pt x="312" y="178"/>
                </a:cubicBezTo>
                <a:cubicBezTo>
                  <a:pt x="379" y="245"/>
                  <a:pt x="379" y="245"/>
                  <a:pt x="379" y="245"/>
                </a:cubicBezTo>
                <a:cubicBezTo>
                  <a:pt x="132" y="245"/>
                  <a:pt x="132" y="245"/>
                  <a:pt x="132" y="245"/>
                </a:cubicBezTo>
                <a:cubicBezTo>
                  <a:pt x="199" y="178"/>
                  <a:pt x="199" y="178"/>
                  <a:pt x="199" y="178"/>
                </a:cubicBezTo>
                <a:cubicBezTo>
                  <a:pt x="203" y="174"/>
                  <a:pt x="203" y="167"/>
                  <a:pt x="199" y="163"/>
                </a:cubicBezTo>
                <a:cubicBezTo>
                  <a:pt x="197" y="161"/>
                  <a:pt x="194" y="160"/>
                  <a:pt x="192" y="160"/>
                </a:cubicBezTo>
                <a:cubicBezTo>
                  <a:pt x="189" y="160"/>
                  <a:pt x="186" y="161"/>
                  <a:pt x="184" y="163"/>
                </a:cubicBezTo>
                <a:cubicBezTo>
                  <a:pt x="99" y="248"/>
                  <a:pt x="99" y="248"/>
                  <a:pt x="99" y="248"/>
                </a:cubicBezTo>
                <a:cubicBezTo>
                  <a:pt x="98" y="249"/>
                  <a:pt x="97" y="250"/>
                  <a:pt x="96" y="252"/>
                </a:cubicBezTo>
                <a:cubicBezTo>
                  <a:pt x="95" y="254"/>
                  <a:pt x="95" y="257"/>
                  <a:pt x="96" y="260"/>
                </a:cubicBezTo>
                <a:cubicBezTo>
                  <a:pt x="97" y="261"/>
                  <a:pt x="98" y="262"/>
                  <a:pt x="99" y="263"/>
                </a:cubicBezTo>
                <a:cubicBezTo>
                  <a:pt x="184" y="349"/>
                  <a:pt x="184" y="349"/>
                  <a:pt x="184" y="349"/>
                </a:cubicBezTo>
                <a:cubicBezTo>
                  <a:pt x="188" y="353"/>
                  <a:pt x="195" y="353"/>
                  <a:pt x="199" y="349"/>
                </a:cubicBezTo>
                <a:cubicBezTo>
                  <a:pt x="203" y="344"/>
                  <a:pt x="203" y="338"/>
                  <a:pt x="199" y="333"/>
                </a:cubicBezTo>
                <a:cubicBezTo>
                  <a:pt x="132" y="266"/>
                  <a:pt x="132" y="266"/>
                  <a:pt x="132" y="266"/>
                </a:cubicBezTo>
                <a:lnTo>
                  <a:pt x="379" y="2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2" name="Freeform 207">
            <a:extLst>
              <a:ext uri="{FF2B5EF4-FFF2-40B4-BE49-F238E27FC236}">
                <a16:creationId xmlns:a16="http://schemas.microsoft.com/office/drawing/2014/main" id="{F8B342C0-1C65-4BCF-8A9A-867177BA82BB}"/>
              </a:ext>
            </a:extLst>
          </p:cNvPr>
          <p:cNvSpPr>
            <a:spLocks noChangeAspect="1" noEditPoints="1"/>
          </p:cNvSpPr>
          <p:nvPr/>
        </p:nvSpPr>
        <p:spPr bwMode="auto">
          <a:xfrm>
            <a:off x="2227151" y="1717557"/>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32 w 512"/>
              <a:gd name="T13" fmla="*/ 266 h 512"/>
              <a:gd name="T14" fmla="*/ 199 w 512"/>
              <a:gd name="T15" fmla="*/ 333 h 512"/>
              <a:gd name="T16" fmla="*/ 199 w 512"/>
              <a:gd name="T17" fmla="*/ 349 h 512"/>
              <a:gd name="T18" fmla="*/ 192 w 512"/>
              <a:gd name="T19" fmla="*/ 352 h 512"/>
              <a:gd name="T20" fmla="*/ 184 w 512"/>
              <a:gd name="T21" fmla="*/ 349 h 512"/>
              <a:gd name="T22" fmla="*/ 99 w 512"/>
              <a:gd name="T23" fmla="*/ 263 h 512"/>
              <a:gd name="T24" fmla="*/ 96 w 512"/>
              <a:gd name="T25" fmla="*/ 260 h 512"/>
              <a:gd name="T26" fmla="*/ 96 w 512"/>
              <a:gd name="T27" fmla="*/ 252 h 512"/>
              <a:gd name="T28" fmla="*/ 99 w 512"/>
              <a:gd name="T29" fmla="*/ 248 h 512"/>
              <a:gd name="T30" fmla="*/ 184 w 512"/>
              <a:gd name="T31" fmla="*/ 163 h 512"/>
              <a:gd name="T32" fmla="*/ 199 w 512"/>
              <a:gd name="T33" fmla="*/ 163 h 512"/>
              <a:gd name="T34" fmla="*/ 199 w 512"/>
              <a:gd name="T35" fmla="*/ 178 h 512"/>
              <a:gd name="T36" fmla="*/ 132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32" y="266"/>
                  <a:pt x="132" y="266"/>
                  <a:pt x="132" y="266"/>
                </a:cubicBezTo>
                <a:cubicBezTo>
                  <a:pt x="199" y="333"/>
                  <a:pt x="199" y="333"/>
                  <a:pt x="199" y="333"/>
                </a:cubicBezTo>
                <a:cubicBezTo>
                  <a:pt x="203" y="338"/>
                  <a:pt x="203" y="344"/>
                  <a:pt x="199" y="349"/>
                </a:cubicBezTo>
                <a:cubicBezTo>
                  <a:pt x="197" y="351"/>
                  <a:pt x="194" y="352"/>
                  <a:pt x="192" y="352"/>
                </a:cubicBezTo>
                <a:cubicBezTo>
                  <a:pt x="189" y="352"/>
                  <a:pt x="186" y="351"/>
                  <a:pt x="184" y="349"/>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84" y="163"/>
                  <a:pt x="184" y="163"/>
                  <a:pt x="184" y="163"/>
                </a:cubicBezTo>
                <a:cubicBezTo>
                  <a:pt x="188" y="159"/>
                  <a:pt x="195" y="159"/>
                  <a:pt x="199" y="163"/>
                </a:cubicBezTo>
                <a:cubicBezTo>
                  <a:pt x="203" y="167"/>
                  <a:pt x="203" y="174"/>
                  <a:pt x="199" y="178"/>
                </a:cubicBezTo>
                <a:cubicBezTo>
                  <a:pt x="132" y="245"/>
                  <a:pt x="132" y="245"/>
                  <a:pt x="132" y="245"/>
                </a:cubicBezTo>
                <a:cubicBezTo>
                  <a:pt x="405" y="245"/>
                  <a:pt x="405" y="245"/>
                  <a:pt x="405" y="245"/>
                </a:cubicBezTo>
                <a:cubicBezTo>
                  <a:pt x="411" y="245"/>
                  <a:pt x="416" y="250"/>
                  <a:pt x="416" y="256"/>
                </a:cubicBezTo>
                <a:cubicBezTo>
                  <a:pt x="416" y="262"/>
                  <a:pt x="411" y="266"/>
                  <a:pt x="405" y="26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3" name="Group 482">
            <a:extLst>
              <a:ext uri="{FF2B5EF4-FFF2-40B4-BE49-F238E27FC236}">
                <a16:creationId xmlns:a16="http://schemas.microsoft.com/office/drawing/2014/main" id="{10CB6527-8782-49AD-81DE-0F5955876E26}"/>
              </a:ext>
            </a:extLst>
          </p:cNvPr>
          <p:cNvGrpSpPr>
            <a:grpSpLocks noChangeAspect="1"/>
          </p:cNvGrpSpPr>
          <p:nvPr/>
        </p:nvGrpSpPr>
        <p:grpSpPr bwMode="auto">
          <a:xfrm>
            <a:off x="2662283" y="1717557"/>
            <a:ext cx="369064" cy="367982"/>
            <a:chOff x="4186" y="1669"/>
            <a:chExt cx="341" cy="340"/>
          </a:xfrm>
          <a:solidFill>
            <a:schemeClr val="accent2"/>
          </a:solidFill>
        </p:grpSpPr>
        <p:sp>
          <p:nvSpPr>
            <p:cNvPr id="484" name="Freeform 211">
              <a:extLst>
                <a:ext uri="{FF2B5EF4-FFF2-40B4-BE49-F238E27FC236}">
                  <a16:creationId xmlns:a16="http://schemas.microsoft.com/office/drawing/2014/main" id="{F64FF0DF-A8B1-4C28-9B64-C49AEE91E69E}"/>
                </a:ext>
              </a:extLst>
            </p:cNvPr>
            <p:cNvSpPr>
              <a:spLocks/>
            </p:cNvSpPr>
            <p:nvPr/>
          </p:nvSpPr>
          <p:spPr bwMode="auto">
            <a:xfrm>
              <a:off x="4249" y="1775"/>
              <a:ext cx="214" cy="128"/>
            </a:xfrm>
            <a:custGeom>
              <a:avLst/>
              <a:gdLst>
                <a:gd name="T0" fmla="*/ 310 w 321"/>
                <a:gd name="T1" fmla="*/ 86 h 193"/>
                <a:gd name="T2" fmla="*/ 37 w 321"/>
                <a:gd name="T3" fmla="*/ 86 h 193"/>
                <a:gd name="T4" fmla="*/ 104 w 321"/>
                <a:gd name="T5" fmla="*/ 19 h 193"/>
                <a:gd name="T6" fmla="*/ 104 w 321"/>
                <a:gd name="T7" fmla="*/ 4 h 193"/>
                <a:gd name="T8" fmla="*/ 89 w 321"/>
                <a:gd name="T9" fmla="*/ 4 h 193"/>
                <a:gd name="T10" fmla="*/ 4 w 321"/>
                <a:gd name="T11" fmla="*/ 89 h 193"/>
                <a:gd name="T12" fmla="*/ 1 w 321"/>
                <a:gd name="T13" fmla="*/ 93 h 193"/>
                <a:gd name="T14" fmla="*/ 1 w 321"/>
                <a:gd name="T15" fmla="*/ 101 h 193"/>
                <a:gd name="T16" fmla="*/ 4 w 321"/>
                <a:gd name="T17" fmla="*/ 104 h 193"/>
                <a:gd name="T18" fmla="*/ 89 w 321"/>
                <a:gd name="T19" fmla="*/ 190 h 193"/>
                <a:gd name="T20" fmla="*/ 97 w 321"/>
                <a:gd name="T21" fmla="*/ 193 h 193"/>
                <a:gd name="T22" fmla="*/ 104 w 321"/>
                <a:gd name="T23" fmla="*/ 190 h 193"/>
                <a:gd name="T24" fmla="*/ 104 w 321"/>
                <a:gd name="T25" fmla="*/ 174 h 193"/>
                <a:gd name="T26" fmla="*/ 37 w 321"/>
                <a:gd name="T27" fmla="*/ 107 h 193"/>
                <a:gd name="T28" fmla="*/ 310 w 321"/>
                <a:gd name="T29" fmla="*/ 107 h 193"/>
                <a:gd name="T30" fmla="*/ 321 w 321"/>
                <a:gd name="T31" fmla="*/ 97 h 193"/>
                <a:gd name="T32" fmla="*/ 310 w 321"/>
                <a:gd name="T33" fmla="*/ 8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1" h="193">
                  <a:moveTo>
                    <a:pt x="310" y="86"/>
                  </a:moveTo>
                  <a:cubicBezTo>
                    <a:pt x="37" y="86"/>
                    <a:pt x="37" y="86"/>
                    <a:pt x="37" y="86"/>
                  </a:cubicBezTo>
                  <a:cubicBezTo>
                    <a:pt x="104" y="19"/>
                    <a:pt x="104" y="19"/>
                    <a:pt x="104" y="19"/>
                  </a:cubicBezTo>
                  <a:cubicBezTo>
                    <a:pt x="108" y="15"/>
                    <a:pt x="108" y="8"/>
                    <a:pt x="104" y="4"/>
                  </a:cubicBezTo>
                  <a:cubicBezTo>
                    <a:pt x="100" y="0"/>
                    <a:pt x="93" y="0"/>
                    <a:pt x="89" y="4"/>
                  </a:cubicBezTo>
                  <a:cubicBezTo>
                    <a:pt x="4" y="89"/>
                    <a:pt x="4" y="89"/>
                    <a:pt x="4" y="89"/>
                  </a:cubicBezTo>
                  <a:cubicBezTo>
                    <a:pt x="3" y="90"/>
                    <a:pt x="2" y="91"/>
                    <a:pt x="1" y="93"/>
                  </a:cubicBezTo>
                  <a:cubicBezTo>
                    <a:pt x="0" y="95"/>
                    <a:pt x="0" y="98"/>
                    <a:pt x="1" y="101"/>
                  </a:cubicBezTo>
                  <a:cubicBezTo>
                    <a:pt x="2" y="102"/>
                    <a:pt x="3" y="103"/>
                    <a:pt x="4" y="104"/>
                  </a:cubicBezTo>
                  <a:cubicBezTo>
                    <a:pt x="89" y="190"/>
                    <a:pt x="89" y="190"/>
                    <a:pt x="89" y="190"/>
                  </a:cubicBezTo>
                  <a:cubicBezTo>
                    <a:pt x="91" y="192"/>
                    <a:pt x="94" y="193"/>
                    <a:pt x="97" y="193"/>
                  </a:cubicBezTo>
                  <a:cubicBezTo>
                    <a:pt x="99" y="193"/>
                    <a:pt x="102" y="192"/>
                    <a:pt x="104" y="190"/>
                  </a:cubicBezTo>
                  <a:cubicBezTo>
                    <a:pt x="108" y="185"/>
                    <a:pt x="108" y="179"/>
                    <a:pt x="104" y="174"/>
                  </a:cubicBezTo>
                  <a:cubicBezTo>
                    <a:pt x="37" y="107"/>
                    <a:pt x="37" y="107"/>
                    <a:pt x="37" y="107"/>
                  </a:cubicBezTo>
                  <a:cubicBezTo>
                    <a:pt x="310" y="107"/>
                    <a:pt x="310" y="107"/>
                    <a:pt x="310" y="107"/>
                  </a:cubicBezTo>
                  <a:cubicBezTo>
                    <a:pt x="316" y="107"/>
                    <a:pt x="321" y="103"/>
                    <a:pt x="321" y="97"/>
                  </a:cubicBezTo>
                  <a:cubicBezTo>
                    <a:pt x="321" y="91"/>
                    <a:pt x="316" y="86"/>
                    <a:pt x="310"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5" name="Freeform 212">
              <a:extLst>
                <a:ext uri="{FF2B5EF4-FFF2-40B4-BE49-F238E27FC236}">
                  <a16:creationId xmlns:a16="http://schemas.microsoft.com/office/drawing/2014/main" id="{1AA85F01-2940-4BE2-90C3-A92670AB5C96}"/>
                </a:ext>
              </a:extLst>
            </p:cNvPr>
            <p:cNvSpPr>
              <a:spLocks noEditPoints="1"/>
            </p:cNvSpPr>
            <p:nvPr/>
          </p:nvSpPr>
          <p:spPr bwMode="auto">
            <a:xfrm>
              <a:off x="4186" y="166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6" name="Freeform 290">
            <a:extLst>
              <a:ext uri="{FF2B5EF4-FFF2-40B4-BE49-F238E27FC236}">
                <a16:creationId xmlns:a16="http://schemas.microsoft.com/office/drawing/2014/main" id="{5822708E-2FCB-4EF9-9AA0-C2C5612A6775}"/>
              </a:ext>
            </a:extLst>
          </p:cNvPr>
          <p:cNvSpPr>
            <a:spLocks noChangeAspect="1" noEditPoints="1"/>
          </p:cNvSpPr>
          <p:nvPr/>
        </p:nvSpPr>
        <p:spPr bwMode="auto">
          <a:xfrm>
            <a:off x="10923741" y="1717557"/>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327 h 512"/>
              <a:gd name="T12" fmla="*/ 317 w 512"/>
              <a:gd name="T13" fmla="*/ 413 h 512"/>
              <a:gd name="T14" fmla="*/ 313 w 512"/>
              <a:gd name="T15" fmla="*/ 415 h 512"/>
              <a:gd name="T16" fmla="*/ 309 w 512"/>
              <a:gd name="T17" fmla="*/ 416 h 512"/>
              <a:gd name="T18" fmla="*/ 305 w 512"/>
              <a:gd name="T19" fmla="*/ 415 h 512"/>
              <a:gd name="T20" fmla="*/ 301 w 512"/>
              <a:gd name="T21" fmla="*/ 413 h 512"/>
              <a:gd name="T22" fmla="*/ 216 w 512"/>
              <a:gd name="T23" fmla="*/ 327 h 512"/>
              <a:gd name="T24" fmla="*/ 216 w 512"/>
              <a:gd name="T25" fmla="*/ 312 h 512"/>
              <a:gd name="T26" fmla="*/ 231 w 512"/>
              <a:gd name="T27" fmla="*/ 312 h 512"/>
              <a:gd name="T28" fmla="*/ 298 w 512"/>
              <a:gd name="T29" fmla="*/ 379 h 512"/>
              <a:gd name="T30" fmla="*/ 298 w 512"/>
              <a:gd name="T31" fmla="*/ 117 h 512"/>
              <a:gd name="T32" fmla="*/ 181 w 512"/>
              <a:gd name="T33" fmla="*/ 117 h 512"/>
              <a:gd name="T34" fmla="*/ 170 w 512"/>
              <a:gd name="T35" fmla="*/ 106 h 512"/>
              <a:gd name="T36" fmla="*/ 181 w 512"/>
              <a:gd name="T37" fmla="*/ 96 h 512"/>
              <a:gd name="T38" fmla="*/ 309 w 512"/>
              <a:gd name="T39" fmla="*/ 96 h 512"/>
              <a:gd name="T40" fmla="*/ 320 w 512"/>
              <a:gd name="T41" fmla="*/ 106 h 512"/>
              <a:gd name="T42" fmla="*/ 320 w 512"/>
              <a:gd name="T43" fmla="*/ 379 h 512"/>
              <a:gd name="T44" fmla="*/ 387 w 512"/>
              <a:gd name="T45" fmla="*/ 312 h 512"/>
              <a:gd name="T46" fmla="*/ 402 w 512"/>
              <a:gd name="T47" fmla="*/ 312 h 512"/>
              <a:gd name="T48" fmla="*/ 402 w 512"/>
              <a:gd name="T49" fmla="*/ 3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327"/>
                </a:moveTo>
                <a:cubicBezTo>
                  <a:pt x="317" y="413"/>
                  <a:pt x="317" y="413"/>
                  <a:pt x="317" y="413"/>
                </a:cubicBezTo>
                <a:cubicBezTo>
                  <a:pt x="316" y="414"/>
                  <a:pt x="314" y="414"/>
                  <a:pt x="313" y="415"/>
                </a:cubicBezTo>
                <a:cubicBezTo>
                  <a:pt x="312" y="415"/>
                  <a:pt x="310" y="416"/>
                  <a:pt x="309" y="416"/>
                </a:cubicBezTo>
                <a:cubicBezTo>
                  <a:pt x="308" y="416"/>
                  <a:pt x="306" y="415"/>
                  <a:pt x="305" y="415"/>
                </a:cubicBezTo>
                <a:cubicBezTo>
                  <a:pt x="304" y="414"/>
                  <a:pt x="302" y="414"/>
                  <a:pt x="301" y="413"/>
                </a:cubicBezTo>
                <a:cubicBezTo>
                  <a:pt x="216" y="327"/>
                  <a:pt x="216" y="327"/>
                  <a:pt x="216" y="327"/>
                </a:cubicBezTo>
                <a:cubicBezTo>
                  <a:pt x="212" y="323"/>
                  <a:pt x="212" y="316"/>
                  <a:pt x="216" y="312"/>
                </a:cubicBezTo>
                <a:cubicBezTo>
                  <a:pt x="220" y="308"/>
                  <a:pt x="227" y="308"/>
                  <a:pt x="231" y="312"/>
                </a:cubicBezTo>
                <a:cubicBezTo>
                  <a:pt x="298" y="379"/>
                  <a:pt x="298" y="379"/>
                  <a:pt x="298" y="379"/>
                </a:cubicBezTo>
                <a:cubicBezTo>
                  <a:pt x="298" y="117"/>
                  <a:pt x="298" y="117"/>
                  <a:pt x="298" y="117"/>
                </a:cubicBezTo>
                <a:cubicBezTo>
                  <a:pt x="181" y="117"/>
                  <a:pt x="181" y="117"/>
                  <a:pt x="181" y="117"/>
                </a:cubicBezTo>
                <a:cubicBezTo>
                  <a:pt x="175" y="117"/>
                  <a:pt x="170" y="112"/>
                  <a:pt x="170" y="106"/>
                </a:cubicBezTo>
                <a:cubicBezTo>
                  <a:pt x="170" y="100"/>
                  <a:pt x="175" y="96"/>
                  <a:pt x="181" y="96"/>
                </a:cubicBezTo>
                <a:cubicBezTo>
                  <a:pt x="309" y="96"/>
                  <a:pt x="309" y="96"/>
                  <a:pt x="309" y="96"/>
                </a:cubicBezTo>
                <a:cubicBezTo>
                  <a:pt x="315" y="96"/>
                  <a:pt x="320" y="100"/>
                  <a:pt x="320" y="106"/>
                </a:cubicBezTo>
                <a:cubicBezTo>
                  <a:pt x="320" y="379"/>
                  <a:pt x="320" y="379"/>
                  <a:pt x="320" y="379"/>
                </a:cubicBezTo>
                <a:cubicBezTo>
                  <a:pt x="387" y="312"/>
                  <a:pt x="387" y="312"/>
                  <a:pt x="387" y="312"/>
                </a:cubicBezTo>
                <a:cubicBezTo>
                  <a:pt x="391" y="308"/>
                  <a:pt x="398" y="308"/>
                  <a:pt x="402" y="312"/>
                </a:cubicBezTo>
                <a:cubicBezTo>
                  <a:pt x="406" y="316"/>
                  <a:pt x="406" y="323"/>
                  <a:pt x="402" y="32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7" name="Freeform 220">
            <a:extLst>
              <a:ext uri="{FF2B5EF4-FFF2-40B4-BE49-F238E27FC236}">
                <a16:creationId xmlns:a16="http://schemas.microsoft.com/office/drawing/2014/main" id="{C873DE78-6AC5-4D95-88F0-4E5CFEE1BCF9}"/>
              </a:ext>
            </a:extLst>
          </p:cNvPr>
          <p:cNvSpPr>
            <a:spLocks noChangeAspect="1" noEditPoints="1"/>
          </p:cNvSpPr>
          <p:nvPr/>
        </p:nvSpPr>
        <p:spPr bwMode="auto">
          <a:xfrm>
            <a:off x="11359964" y="1717557"/>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2 w 512"/>
              <a:gd name="T21" fmla="*/ 312 h 512"/>
              <a:gd name="T22" fmla="*/ 387 w 512"/>
              <a:gd name="T23" fmla="*/ 312 h 512"/>
              <a:gd name="T24" fmla="*/ 320 w 512"/>
              <a:gd name="T25" fmla="*/ 379 h 512"/>
              <a:gd name="T26" fmla="*/ 320 w 512"/>
              <a:gd name="T27" fmla="*/ 106 h 512"/>
              <a:gd name="T28" fmla="*/ 309 w 512"/>
              <a:gd name="T29" fmla="*/ 96 h 512"/>
              <a:gd name="T30" fmla="*/ 181 w 512"/>
              <a:gd name="T31" fmla="*/ 96 h 512"/>
              <a:gd name="T32" fmla="*/ 170 w 512"/>
              <a:gd name="T33" fmla="*/ 106 h 512"/>
              <a:gd name="T34" fmla="*/ 181 w 512"/>
              <a:gd name="T35" fmla="*/ 117 h 512"/>
              <a:gd name="T36" fmla="*/ 298 w 512"/>
              <a:gd name="T37" fmla="*/ 117 h 512"/>
              <a:gd name="T38" fmla="*/ 298 w 512"/>
              <a:gd name="T39" fmla="*/ 379 h 512"/>
              <a:gd name="T40" fmla="*/ 231 w 512"/>
              <a:gd name="T41" fmla="*/ 312 h 512"/>
              <a:gd name="T42" fmla="*/ 216 w 512"/>
              <a:gd name="T43" fmla="*/ 312 h 512"/>
              <a:gd name="T44" fmla="*/ 216 w 512"/>
              <a:gd name="T45" fmla="*/ 327 h 512"/>
              <a:gd name="T46" fmla="*/ 301 w 512"/>
              <a:gd name="T47" fmla="*/ 413 h 512"/>
              <a:gd name="T48" fmla="*/ 305 w 512"/>
              <a:gd name="T49" fmla="*/ 415 h 512"/>
              <a:gd name="T50" fmla="*/ 309 w 512"/>
              <a:gd name="T51" fmla="*/ 416 h 512"/>
              <a:gd name="T52" fmla="*/ 313 w 512"/>
              <a:gd name="T53" fmla="*/ 415 h 512"/>
              <a:gd name="T54" fmla="*/ 317 w 512"/>
              <a:gd name="T55" fmla="*/ 413 h 512"/>
              <a:gd name="T56" fmla="*/ 402 w 512"/>
              <a:gd name="T57" fmla="*/ 327 h 512"/>
              <a:gd name="T58" fmla="*/ 402 w 512"/>
              <a:gd name="T59"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312"/>
                </a:moveTo>
                <a:cubicBezTo>
                  <a:pt x="398" y="308"/>
                  <a:pt x="391" y="308"/>
                  <a:pt x="387" y="312"/>
                </a:cubicBezTo>
                <a:cubicBezTo>
                  <a:pt x="320" y="379"/>
                  <a:pt x="320" y="379"/>
                  <a:pt x="320" y="379"/>
                </a:cubicBezTo>
                <a:cubicBezTo>
                  <a:pt x="320" y="106"/>
                  <a:pt x="320" y="106"/>
                  <a:pt x="320" y="106"/>
                </a:cubicBezTo>
                <a:cubicBezTo>
                  <a:pt x="320" y="100"/>
                  <a:pt x="315" y="96"/>
                  <a:pt x="309" y="96"/>
                </a:cubicBezTo>
                <a:cubicBezTo>
                  <a:pt x="181" y="96"/>
                  <a:pt x="181" y="96"/>
                  <a:pt x="181" y="96"/>
                </a:cubicBezTo>
                <a:cubicBezTo>
                  <a:pt x="175" y="96"/>
                  <a:pt x="170" y="100"/>
                  <a:pt x="170" y="106"/>
                </a:cubicBezTo>
                <a:cubicBezTo>
                  <a:pt x="170" y="112"/>
                  <a:pt x="175" y="117"/>
                  <a:pt x="181" y="117"/>
                </a:cubicBezTo>
                <a:cubicBezTo>
                  <a:pt x="298" y="117"/>
                  <a:pt x="298" y="117"/>
                  <a:pt x="298" y="117"/>
                </a:cubicBezTo>
                <a:cubicBezTo>
                  <a:pt x="298" y="379"/>
                  <a:pt x="298" y="379"/>
                  <a:pt x="298" y="379"/>
                </a:cubicBezTo>
                <a:cubicBezTo>
                  <a:pt x="231" y="312"/>
                  <a:pt x="231" y="312"/>
                  <a:pt x="231" y="312"/>
                </a:cubicBezTo>
                <a:cubicBezTo>
                  <a:pt x="227" y="308"/>
                  <a:pt x="220" y="308"/>
                  <a:pt x="216" y="312"/>
                </a:cubicBezTo>
                <a:cubicBezTo>
                  <a:pt x="212" y="316"/>
                  <a:pt x="212" y="323"/>
                  <a:pt x="216" y="327"/>
                </a:cubicBezTo>
                <a:cubicBezTo>
                  <a:pt x="301" y="413"/>
                  <a:pt x="301" y="413"/>
                  <a:pt x="301" y="413"/>
                </a:cubicBezTo>
                <a:cubicBezTo>
                  <a:pt x="302" y="414"/>
                  <a:pt x="304" y="414"/>
                  <a:pt x="305" y="415"/>
                </a:cubicBezTo>
                <a:cubicBezTo>
                  <a:pt x="306" y="415"/>
                  <a:pt x="308" y="416"/>
                  <a:pt x="309" y="416"/>
                </a:cubicBezTo>
                <a:cubicBezTo>
                  <a:pt x="310" y="416"/>
                  <a:pt x="312" y="415"/>
                  <a:pt x="313" y="415"/>
                </a:cubicBezTo>
                <a:cubicBezTo>
                  <a:pt x="314" y="414"/>
                  <a:pt x="316" y="414"/>
                  <a:pt x="317" y="413"/>
                </a:cubicBezTo>
                <a:cubicBezTo>
                  <a:pt x="402" y="327"/>
                  <a:pt x="402" y="327"/>
                  <a:pt x="402" y="327"/>
                </a:cubicBezTo>
                <a:cubicBezTo>
                  <a:pt x="406" y="323"/>
                  <a:pt x="406" y="316"/>
                  <a:pt x="402" y="31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8" name="Freeform 224">
            <a:extLst>
              <a:ext uri="{FF2B5EF4-FFF2-40B4-BE49-F238E27FC236}">
                <a16:creationId xmlns:a16="http://schemas.microsoft.com/office/drawing/2014/main" id="{DA5AFF26-3F6E-4AF5-9AC8-0C6C7CB68D5C}"/>
              </a:ext>
            </a:extLst>
          </p:cNvPr>
          <p:cNvSpPr>
            <a:spLocks noChangeAspect="1" noEditPoints="1"/>
          </p:cNvSpPr>
          <p:nvPr/>
        </p:nvSpPr>
        <p:spPr bwMode="auto">
          <a:xfrm>
            <a:off x="487039" y="2511225"/>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99 h 512"/>
              <a:gd name="T12" fmla="*/ 394 w 512"/>
              <a:gd name="T13" fmla="*/ 202 h 512"/>
              <a:gd name="T14" fmla="*/ 387 w 512"/>
              <a:gd name="T15" fmla="*/ 199 h 512"/>
              <a:gd name="T16" fmla="*/ 320 w 512"/>
              <a:gd name="T17" fmla="*/ 132 h 512"/>
              <a:gd name="T18" fmla="*/ 320 w 512"/>
              <a:gd name="T19" fmla="*/ 405 h 512"/>
              <a:gd name="T20" fmla="*/ 309 w 512"/>
              <a:gd name="T21" fmla="*/ 416 h 512"/>
              <a:gd name="T22" fmla="*/ 181 w 512"/>
              <a:gd name="T23" fmla="*/ 416 h 512"/>
              <a:gd name="T24" fmla="*/ 170 w 512"/>
              <a:gd name="T25" fmla="*/ 405 h 512"/>
              <a:gd name="T26" fmla="*/ 181 w 512"/>
              <a:gd name="T27" fmla="*/ 394 h 512"/>
              <a:gd name="T28" fmla="*/ 298 w 512"/>
              <a:gd name="T29" fmla="*/ 394 h 512"/>
              <a:gd name="T30" fmla="*/ 298 w 512"/>
              <a:gd name="T31" fmla="*/ 132 h 512"/>
              <a:gd name="T32" fmla="*/ 231 w 512"/>
              <a:gd name="T33" fmla="*/ 199 h 512"/>
              <a:gd name="T34" fmla="*/ 224 w 512"/>
              <a:gd name="T35" fmla="*/ 202 h 512"/>
              <a:gd name="T36" fmla="*/ 216 w 512"/>
              <a:gd name="T37" fmla="*/ 199 h 512"/>
              <a:gd name="T38" fmla="*/ 216 w 512"/>
              <a:gd name="T39" fmla="*/ 184 h 512"/>
              <a:gd name="T40" fmla="*/ 301 w 512"/>
              <a:gd name="T41" fmla="*/ 99 h 512"/>
              <a:gd name="T42" fmla="*/ 305 w 512"/>
              <a:gd name="T43" fmla="*/ 96 h 512"/>
              <a:gd name="T44" fmla="*/ 313 w 512"/>
              <a:gd name="T45" fmla="*/ 96 h 512"/>
              <a:gd name="T46" fmla="*/ 317 w 512"/>
              <a:gd name="T47" fmla="*/ 99 h 512"/>
              <a:gd name="T48" fmla="*/ 402 w 512"/>
              <a:gd name="T49" fmla="*/ 184 h 512"/>
              <a:gd name="T50" fmla="*/ 402 w 512"/>
              <a:gd name="T51"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99"/>
                </a:moveTo>
                <a:cubicBezTo>
                  <a:pt x="400" y="201"/>
                  <a:pt x="397" y="202"/>
                  <a:pt x="394" y="202"/>
                </a:cubicBezTo>
                <a:cubicBezTo>
                  <a:pt x="392" y="202"/>
                  <a:pt x="389" y="201"/>
                  <a:pt x="387" y="199"/>
                </a:cubicBezTo>
                <a:cubicBezTo>
                  <a:pt x="320" y="132"/>
                  <a:pt x="320" y="132"/>
                  <a:pt x="320" y="132"/>
                </a:cubicBezTo>
                <a:cubicBezTo>
                  <a:pt x="320" y="405"/>
                  <a:pt x="320" y="405"/>
                  <a:pt x="320" y="405"/>
                </a:cubicBezTo>
                <a:cubicBezTo>
                  <a:pt x="320" y="411"/>
                  <a:pt x="315" y="416"/>
                  <a:pt x="309" y="416"/>
                </a:cubicBezTo>
                <a:cubicBezTo>
                  <a:pt x="181" y="416"/>
                  <a:pt x="181" y="416"/>
                  <a:pt x="181" y="416"/>
                </a:cubicBezTo>
                <a:cubicBezTo>
                  <a:pt x="175" y="416"/>
                  <a:pt x="170" y="411"/>
                  <a:pt x="170" y="405"/>
                </a:cubicBezTo>
                <a:cubicBezTo>
                  <a:pt x="170" y="399"/>
                  <a:pt x="175" y="394"/>
                  <a:pt x="181" y="394"/>
                </a:cubicBezTo>
                <a:cubicBezTo>
                  <a:pt x="298" y="394"/>
                  <a:pt x="298" y="394"/>
                  <a:pt x="298" y="394"/>
                </a:cubicBezTo>
                <a:cubicBezTo>
                  <a:pt x="298" y="132"/>
                  <a:pt x="298" y="132"/>
                  <a:pt x="298" y="132"/>
                </a:cubicBezTo>
                <a:cubicBezTo>
                  <a:pt x="231" y="199"/>
                  <a:pt x="231" y="199"/>
                  <a:pt x="231" y="199"/>
                </a:cubicBezTo>
                <a:cubicBezTo>
                  <a:pt x="229" y="201"/>
                  <a:pt x="226" y="202"/>
                  <a:pt x="224" y="202"/>
                </a:cubicBezTo>
                <a:cubicBezTo>
                  <a:pt x="221" y="202"/>
                  <a:pt x="218" y="201"/>
                  <a:pt x="216" y="199"/>
                </a:cubicBezTo>
                <a:cubicBezTo>
                  <a:pt x="212" y="195"/>
                  <a:pt x="212" y="188"/>
                  <a:pt x="216" y="184"/>
                </a:cubicBezTo>
                <a:cubicBezTo>
                  <a:pt x="301" y="99"/>
                  <a:pt x="301" y="99"/>
                  <a:pt x="301" y="99"/>
                </a:cubicBezTo>
                <a:cubicBezTo>
                  <a:pt x="302" y="98"/>
                  <a:pt x="304" y="97"/>
                  <a:pt x="305" y="96"/>
                </a:cubicBezTo>
                <a:cubicBezTo>
                  <a:pt x="308" y="95"/>
                  <a:pt x="310" y="95"/>
                  <a:pt x="313" y="96"/>
                </a:cubicBezTo>
                <a:cubicBezTo>
                  <a:pt x="314" y="97"/>
                  <a:pt x="316" y="98"/>
                  <a:pt x="317" y="99"/>
                </a:cubicBezTo>
                <a:cubicBezTo>
                  <a:pt x="402" y="184"/>
                  <a:pt x="402" y="184"/>
                  <a:pt x="402" y="184"/>
                </a:cubicBezTo>
                <a:cubicBezTo>
                  <a:pt x="406" y="188"/>
                  <a:pt x="406" y="195"/>
                  <a:pt x="402" y="19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9" name="Freeform 228">
            <a:extLst>
              <a:ext uri="{FF2B5EF4-FFF2-40B4-BE49-F238E27FC236}">
                <a16:creationId xmlns:a16="http://schemas.microsoft.com/office/drawing/2014/main" id="{6C504710-425C-4D54-A1A9-7E82A9E69ACC}"/>
              </a:ext>
            </a:extLst>
          </p:cNvPr>
          <p:cNvSpPr>
            <a:spLocks noChangeAspect="1" noEditPoints="1"/>
          </p:cNvSpPr>
          <p:nvPr/>
        </p:nvSpPr>
        <p:spPr bwMode="auto">
          <a:xfrm>
            <a:off x="922295" y="2511225"/>
            <a:ext cx="369064"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2 w 512"/>
              <a:gd name="T21" fmla="*/ 184 h 512"/>
              <a:gd name="T22" fmla="*/ 317 w 512"/>
              <a:gd name="T23" fmla="*/ 99 h 512"/>
              <a:gd name="T24" fmla="*/ 313 w 512"/>
              <a:gd name="T25" fmla="*/ 96 h 512"/>
              <a:gd name="T26" fmla="*/ 305 w 512"/>
              <a:gd name="T27" fmla="*/ 96 h 512"/>
              <a:gd name="T28" fmla="*/ 301 w 512"/>
              <a:gd name="T29" fmla="*/ 99 h 512"/>
              <a:gd name="T30" fmla="*/ 216 w 512"/>
              <a:gd name="T31" fmla="*/ 184 h 512"/>
              <a:gd name="T32" fmla="*/ 216 w 512"/>
              <a:gd name="T33" fmla="*/ 199 h 512"/>
              <a:gd name="T34" fmla="*/ 224 w 512"/>
              <a:gd name="T35" fmla="*/ 202 h 512"/>
              <a:gd name="T36" fmla="*/ 231 w 512"/>
              <a:gd name="T37" fmla="*/ 199 h 512"/>
              <a:gd name="T38" fmla="*/ 298 w 512"/>
              <a:gd name="T39" fmla="*/ 132 h 512"/>
              <a:gd name="T40" fmla="*/ 298 w 512"/>
              <a:gd name="T41" fmla="*/ 394 h 512"/>
              <a:gd name="T42" fmla="*/ 181 w 512"/>
              <a:gd name="T43" fmla="*/ 394 h 512"/>
              <a:gd name="T44" fmla="*/ 170 w 512"/>
              <a:gd name="T45" fmla="*/ 405 h 512"/>
              <a:gd name="T46" fmla="*/ 181 w 512"/>
              <a:gd name="T47" fmla="*/ 416 h 512"/>
              <a:gd name="T48" fmla="*/ 309 w 512"/>
              <a:gd name="T49" fmla="*/ 416 h 512"/>
              <a:gd name="T50" fmla="*/ 320 w 512"/>
              <a:gd name="T51" fmla="*/ 405 h 512"/>
              <a:gd name="T52" fmla="*/ 320 w 512"/>
              <a:gd name="T53" fmla="*/ 132 h 512"/>
              <a:gd name="T54" fmla="*/ 387 w 512"/>
              <a:gd name="T55" fmla="*/ 199 h 512"/>
              <a:gd name="T56" fmla="*/ 394 w 512"/>
              <a:gd name="T57" fmla="*/ 202 h 512"/>
              <a:gd name="T58" fmla="*/ 402 w 512"/>
              <a:gd name="T59" fmla="*/ 199 h 512"/>
              <a:gd name="T60" fmla="*/ 402 w 512"/>
              <a:gd name="T61" fmla="*/ 1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84"/>
                </a:moveTo>
                <a:cubicBezTo>
                  <a:pt x="317" y="99"/>
                  <a:pt x="317" y="99"/>
                  <a:pt x="317" y="99"/>
                </a:cubicBezTo>
                <a:cubicBezTo>
                  <a:pt x="316" y="98"/>
                  <a:pt x="314" y="97"/>
                  <a:pt x="313" y="96"/>
                </a:cubicBezTo>
                <a:cubicBezTo>
                  <a:pt x="310" y="95"/>
                  <a:pt x="308" y="95"/>
                  <a:pt x="305" y="96"/>
                </a:cubicBezTo>
                <a:cubicBezTo>
                  <a:pt x="304" y="97"/>
                  <a:pt x="302" y="98"/>
                  <a:pt x="301" y="99"/>
                </a:cubicBezTo>
                <a:cubicBezTo>
                  <a:pt x="216" y="184"/>
                  <a:pt x="216" y="184"/>
                  <a:pt x="216" y="184"/>
                </a:cubicBezTo>
                <a:cubicBezTo>
                  <a:pt x="212" y="188"/>
                  <a:pt x="212" y="195"/>
                  <a:pt x="216" y="199"/>
                </a:cubicBezTo>
                <a:cubicBezTo>
                  <a:pt x="218" y="201"/>
                  <a:pt x="221" y="202"/>
                  <a:pt x="224" y="202"/>
                </a:cubicBezTo>
                <a:cubicBezTo>
                  <a:pt x="226" y="202"/>
                  <a:pt x="229" y="201"/>
                  <a:pt x="231" y="199"/>
                </a:cubicBezTo>
                <a:cubicBezTo>
                  <a:pt x="298" y="132"/>
                  <a:pt x="298" y="132"/>
                  <a:pt x="298" y="132"/>
                </a:cubicBezTo>
                <a:cubicBezTo>
                  <a:pt x="298" y="394"/>
                  <a:pt x="298" y="394"/>
                  <a:pt x="298" y="394"/>
                </a:cubicBezTo>
                <a:cubicBezTo>
                  <a:pt x="181" y="394"/>
                  <a:pt x="181" y="394"/>
                  <a:pt x="181" y="394"/>
                </a:cubicBezTo>
                <a:cubicBezTo>
                  <a:pt x="175" y="394"/>
                  <a:pt x="170" y="399"/>
                  <a:pt x="170" y="405"/>
                </a:cubicBezTo>
                <a:cubicBezTo>
                  <a:pt x="170" y="411"/>
                  <a:pt x="175" y="416"/>
                  <a:pt x="181" y="416"/>
                </a:cubicBezTo>
                <a:cubicBezTo>
                  <a:pt x="309" y="416"/>
                  <a:pt x="309" y="416"/>
                  <a:pt x="309" y="416"/>
                </a:cubicBezTo>
                <a:cubicBezTo>
                  <a:pt x="315" y="416"/>
                  <a:pt x="320" y="411"/>
                  <a:pt x="320" y="405"/>
                </a:cubicBezTo>
                <a:cubicBezTo>
                  <a:pt x="320" y="132"/>
                  <a:pt x="320" y="132"/>
                  <a:pt x="320" y="132"/>
                </a:cubicBezTo>
                <a:cubicBezTo>
                  <a:pt x="387" y="199"/>
                  <a:pt x="387" y="199"/>
                  <a:pt x="387" y="199"/>
                </a:cubicBezTo>
                <a:cubicBezTo>
                  <a:pt x="389" y="201"/>
                  <a:pt x="392" y="202"/>
                  <a:pt x="394" y="202"/>
                </a:cubicBezTo>
                <a:cubicBezTo>
                  <a:pt x="397" y="202"/>
                  <a:pt x="400" y="201"/>
                  <a:pt x="402" y="199"/>
                </a:cubicBezTo>
                <a:cubicBezTo>
                  <a:pt x="406" y="195"/>
                  <a:pt x="406" y="188"/>
                  <a:pt x="402" y="18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0" name="Freeform 232">
            <a:extLst>
              <a:ext uri="{FF2B5EF4-FFF2-40B4-BE49-F238E27FC236}">
                <a16:creationId xmlns:a16="http://schemas.microsoft.com/office/drawing/2014/main" id="{E3845549-1412-488C-9879-25BA42F6C477}"/>
              </a:ext>
            </a:extLst>
          </p:cNvPr>
          <p:cNvSpPr>
            <a:spLocks noChangeAspect="1" noEditPoints="1"/>
          </p:cNvSpPr>
          <p:nvPr/>
        </p:nvSpPr>
        <p:spPr bwMode="auto">
          <a:xfrm>
            <a:off x="1357551" y="251122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27 w 512"/>
              <a:gd name="T15" fmla="*/ 349 h 512"/>
              <a:gd name="T16" fmla="*/ 320 w 512"/>
              <a:gd name="T17" fmla="*/ 352 h 512"/>
              <a:gd name="T18" fmla="*/ 312 w 512"/>
              <a:gd name="T19" fmla="*/ 349 h 512"/>
              <a:gd name="T20" fmla="*/ 312 w 512"/>
              <a:gd name="T21" fmla="*/ 333 h 512"/>
              <a:gd name="T22" fmla="*/ 379 w 512"/>
              <a:gd name="T23" fmla="*/ 266 h 512"/>
              <a:gd name="T24" fmla="*/ 106 w 512"/>
              <a:gd name="T25" fmla="*/ 266 h 512"/>
              <a:gd name="T26" fmla="*/ 96 w 512"/>
              <a:gd name="T27" fmla="*/ 256 h 512"/>
              <a:gd name="T28" fmla="*/ 106 w 512"/>
              <a:gd name="T29" fmla="*/ 245 h 512"/>
              <a:gd name="T30" fmla="*/ 379 w 512"/>
              <a:gd name="T31" fmla="*/ 245 h 512"/>
              <a:gd name="T32" fmla="*/ 312 w 512"/>
              <a:gd name="T33" fmla="*/ 178 h 512"/>
              <a:gd name="T34" fmla="*/ 312 w 512"/>
              <a:gd name="T35" fmla="*/ 163 h 512"/>
              <a:gd name="T36" fmla="*/ 327 w 512"/>
              <a:gd name="T37" fmla="*/ 163 h 512"/>
              <a:gd name="T38" fmla="*/ 413 w 512"/>
              <a:gd name="T39" fmla="*/ 248 h 512"/>
              <a:gd name="T40" fmla="*/ 415 w 512"/>
              <a:gd name="T41" fmla="*/ 252 h 512"/>
              <a:gd name="T42" fmla="*/ 415 w 512"/>
              <a:gd name="T43"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27" y="349"/>
                  <a:pt x="327" y="349"/>
                  <a:pt x="327" y="349"/>
                </a:cubicBezTo>
                <a:cubicBezTo>
                  <a:pt x="325" y="351"/>
                  <a:pt x="322" y="352"/>
                  <a:pt x="320" y="352"/>
                </a:cubicBezTo>
                <a:cubicBezTo>
                  <a:pt x="317" y="352"/>
                  <a:pt x="314" y="351"/>
                  <a:pt x="312" y="349"/>
                </a:cubicBezTo>
                <a:cubicBezTo>
                  <a:pt x="308" y="344"/>
                  <a:pt x="308" y="338"/>
                  <a:pt x="312" y="333"/>
                </a:cubicBezTo>
                <a:cubicBezTo>
                  <a:pt x="379" y="266"/>
                  <a:pt x="379" y="266"/>
                  <a:pt x="379" y="266"/>
                </a:cubicBezTo>
                <a:cubicBezTo>
                  <a:pt x="106" y="266"/>
                  <a:pt x="106" y="266"/>
                  <a:pt x="106" y="266"/>
                </a:cubicBezTo>
                <a:cubicBezTo>
                  <a:pt x="100" y="266"/>
                  <a:pt x="96" y="262"/>
                  <a:pt x="96" y="256"/>
                </a:cubicBezTo>
                <a:cubicBezTo>
                  <a:pt x="96" y="250"/>
                  <a:pt x="100" y="245"/>
                  <a:pt x="106" y="245"/>
                </a:cubicBezTo>
                <a:cubicBezTo>
                  <a:pt x="379" y="245"/>
                  <a:pt x="379" y="245"/>
                  <a:pt x="379" y="245"/>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4" y="249"/>
                  <a:pt x="414" y="250"/>
                  <a:pt x="415" y="252"/>
                </a:cubicBezTo>
                <a:cubicBezTo>
                  <a:pt x="416" y="254"/>
                  <a:pt x="416" y="257"/>
                  <a:pt x="415" y="2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1" name="Group 490">
            <a:extLst>
              <a:ext uri="{FF2B5EF4-FFF2-40B4-BE49-F238E27FC236}">
                <a16:creationId xmlns:a16="http://schemas.microsoft.com/office/drawing/2014/main" id="{849F971B-60E8-4BE7-B5CE-7F740D293DD0}"/>
              </a:ext>
            </a:extLst>
          </p:cNvPr>
          <p:cNvGrpSpPr>
            <a:grpSpLocks noChangeAspect="1"/>
          </p:cNvGrpSpPr>
          <p:nvPr/>
        </p:nvGrpSpPr>
        <p:grpSpPr bwMode="auto">
          <a:xfrm>
            <a:off x="1791725" y="2511225"/>
            <a:ext cx="367982" cy="367982"/>
            <a:chOff x="3852" y="1696"/>
            <a:chExt cx="340" cy="340"/>
          </a:xfrm>
          <a:solidFill>
            <a:schemeClr val="accent3"/>
          </a:solidFill>
        </p:grpSpPr>
        <p:sp>
          <p:nvSpPr>
            <p:cNvPr id="492" name="Freeform 236">
              <a:extLst>
                <a:ext uri="{FF2B5EF4-FFF2-40B4-BE49-F238E27FC236}">
                  <a16:creationId xmlns:a16="http://schemas.microsoft.com/office/drawing/2014/main" id="{98B9AC2A-3F54-4453-8FCB-0941055A3268}"/>
                </a:ext>
              </a:extLst>
            </p:cNvPr>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3" name="Freeform 237">
              <a:extLst>
                <a:ext uri="{FF2B5EF4-FFF2-40B4-BE49-F238E27FC236}">
                  <a16:creationId xmlns:a16="http://schemas.microsoft.com/office/drawing/2014/main" id="{8EA06001-E147-4A3D-93B1-414A67159726}"/>
                </a:ext>
              </a:extLst>
            </p:cNvPr>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4" name="Freeform 298">
            <a:extLst>
              <a:ext uri="{FF2B5EF4-FFF2-40B4-BE49-F238E27FC236}">
                <a16:creationId xmlns:a16="http://schemas.microsoft.com/office/drawing/2014/main" id="{21263E67-9584-420E-93E9-88EBDC86B40D}"/>
              </a:ext>
            </a:extLst>
          </p:cNvPr>
          <p:cNvSpPr>
            <a:spLocks noChangeAspect="1" noEditPoints="1"/>
          </p:cNvSpPr>
          <p:nvPr/>
        </p:nvSpPr>
        <p:spPr bwMode="auto">
          <a:xfrm>
            <a:off x="2225899" y="251122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30 h 512"/>
              <a:gd name="T12" fmla="*/ 405 w 512"/>
              <a:gd name="T13" fmla="*/ 341 h 512"/>
              <a:gd name="T14" fmla="*/ 394 w 512"/>
              <a:gd name="T15" fmla="*/ 330 h 512"/>
              <a:gd name="T16" fmla="*/ 394 w 512"/>
              <a:gd name="T17" fmla="*/ 213 h 512"/>
              <a:gd name="T18" fmla="*/ 132 w 512"/>
              <a:gd name="T19" fmla="*/ 213 h 512"/>
              <a:gd name="T20" fmla="*/ 199 w 512"/>
              <a:gd name="T21" fmla="*/ 280 h 512"/>
              <a:gd name="T22" fmla="*/ 199 w 512"/>
              <a:gd name="T23" fmla="*/ 295 h 512"/>
              <a:gd name="T24" fmla="*/ 192 w 512"/>
              <a:gd name="T25" fmla="*/ 298 h 512"/>
              <a:gd name="T26" fmla="*/ 184 w 512"/>
              <a:gd name="T27" fmla="*/ 295 h 512"/>
              <a:gd name="T28" fmla="*/ 99 w 512"/>
              <a:gd name="T29" fmla="*/ 210 h 512"/>
              <a:gd name="T30" fmla="*/ 96 w 512"/>
              <a:gd name="T31" fmla="*/ 206 h 512"/>
              <a:gd name="T32" fmla="*/ 96 w 512"/>
              <a:gd name="T33" fmla="*/ 198 h 512"/>
              <a:gd name="T34" fmla="*/ 99 w 512"/>
              <a:gd name="T35" fmla="*/ 195 h 512"/>
              <a:gd name="T36" fmla="*/ 184 w 512"/>
              <a:gd name="T37" fmla="*/ 109 h 512"/>
              <a:gd name="T38" fmla="*/ 199 w 512"/>
              <a:gd name="T39" fmla="*/ 109 h 512"/>
              <a:gd name="T40" fmla="*/ 199 w 512"/>
              <a:gd name="T41" fmla="*/ 125 h 512"/>
              <a:gd name="T42" fmla="*/ 132 w 512"/>
              <a:gd name="T43" fmla="*/ 192 h 512"/>
              <a:gd name="T44" fmla="*/ 405 w 512"/>
              <a:gd name="T45" fmla="*/ 192 h 512"/>
              <a:gd name="T46" fmla="*/ 416 w 512"/>
              <a:gd name="T47" fmla="*/ 202 h 512"/>
              <a:gd name="T48" fmla="*/ 416 w 512"/>
              <a:gd name="T49"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9" y="341"/>
                  <a:pt x="394" y="336"/>
                  <a:pt x="394" y="330"/>
                </a:cubicBezTo>
                <a:cubicBezTo>
                  <a:pt x="394" y="213"/>
                  <a:pt x="394" y="213"/>
                  <a:pt x="394" y="213"/>
                </a:cubicBezTo>
                <a:cubicBezTo>
                  <a:pt x="132" y="213"/>
                  <a:pt x="132" y="213"/>
                  <a:pt x="132" y="213"/>
                </a:cubicBezTo>
                <a:cubicBezTo>
                  <a:pt x="199" y="280"/>
                  <a:pt x="199" y="280"/>
                  <a:pt x="199" y="280"/>
                </a:cubicBezTo>
                <a:cubicBezTo>
                  <a:pt x="203" y="284"/>
                  <a:pt x="203" y="291"/>
                  <a:pt x="199" y="295"/>
                </a:cubicBezTo>
                <a:cubicBezTo>
                  <a:pt x="197" y="297"/>
                  <a:pt x="194" y="298"/>
                  <a:pt x="192" y="298"/>
                </a:cubicBezTo>
                <a:cubicBezTo>
                  <a:pt x="189" y="298"/>
                  <a:pt x="186" y="297"/>
                  <a:pt x="184" y="295"/>
                </a:cubicBezTo>
                <a:cubicBezTo>
                  <a:pt x="99" y="210"/>
                  <a:pt x="99" y="210"/>
                  <a:pt x="99" y="210"/>
                </a:cubicBezTo>
                <a:cubicBezTo>
                  <a:pt x="98" y="209"/>
                  <a:pt x="97" y="208"/>
                  <a:pt x="96" y="206"/>
                </a:cubicBezTo>
                <a:cubicBezTo>
                  <a:pt x="95" y="204"/>
                  <a:pt x="95" y="201"/>
                  <a:pt x="96" y="198"/>
                </a:cubicBezTo>
                <a:cubicBezTo>
                  <a:pt x="97" y="197"/>
                  <a:pt x="98" y="196"/>
                  <a:pt x="99" y="195"/>
                </a:cubicBezTo>
                <a:cubicBezTo>
                  <a:pt x="184" y="109"/>
                  <a:pt x="184" y="109"/>
                  <a:pt x="184" y="109"/>
                </a:cubicBezTo>
                <a:cubicBezTo>
                  <a:pt x="188" y="105"/>
                  <a:pt x="195" y="105"/>
                  <a:pt x="199" y="109"/>
                </a:cubicBezTo>
                <a:cubicBezTo>
                  <a:pt x="203" y="114"/>
                  <a:pt x="203" y="120"/>
                  <a:pt x="199" y="125"/>
                </a:cubicBezTo>
                <a:cubicBezTo>
                  <a:pt x="132" y="192"/>
                  <a:pt x="132" y="192"/>
                  <a:pt x="132" y="192"/>
                </a:cubicBezTo>
                <a:cubicBezTo>
                  <a:pt x="405" y="192"/>
                  <a:pt x="405" y="192"/>
                  <a:pt x="405" y="192"/>
                </a:cubicBezTo>
                <a:cubicBezTo>
                  <a:pt x="411" y="192"/>
                  <a:pt x="416" y="196"/>
                  <a:pt x="416" y="202"/>
                </a:cubicBezTo>
                <a:lnTo>
                  <a:pt x="416" y="33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5" name="Freeform 245">
            <a:extLst>
              <a:ext uri="{FF2B5EF4-FFF2-40B4-BE49-F238E27FC236}">
                <a16:creationId xmlns:a16="http://schemas.microsoft.com/office/drawing/2014/main" id="{14A39985-EE1D-4B80-9D2C-96B870C4D9E1}"/>
              </a:ext>
            </a:extLst>
          </p:cNvPr>
          <p:cNvSpPr>
            <a:spLocks noChangeAspect="1" noEditPoints="1"/>
          </p:cNvSpPr>
          <p:nvPr/>
        </p:nvSpPr>
        <p:spPr bwMode="auto">
          <a:xfrm>
            <a:off x="2660073" y="2511225"/>
            <a:ext cx="369064"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92 h 512"/>
              <a:gd name="T22" fmla="*/ 132 w 512"/>
              <a:gd name="T23" fmla="*/ 192 h 512"/>
              <a:gd name="T24" fmla="*/ 199 w 512"/>
              <a:gd name="T25" fmla="*/ 125 h 512"/>
              <a:gd name="T26" fmla="*/ 199 w 512"/>
              <a:gd name="T27" fmla="*/ 109 h 512"/>
              <a:gd name="T28" fmla="*/ 184 w 512"/>
              <a:gd name="T29" fmla="*/ 109 h 512"/>
              <a:gd name="T30" fmla="*/ 99 w 512"/>
              <a:gd name="T31" fmla="*/ 195 h 512"/>
              <a:gd name="T32" fmla="*/ 96 w 512"/>
              <a:gd name="T33" fmla="*/ 198 h 512"/>
              <a:gd name="T34" fmla="*/ 96 w 512"/>
              <a:gd name="T35" fmla="*/ 206 h 512"/>
              <a:gd name="T36" fmla="*/ 99 w 512"/>
              <a:gd name="T37" fmla="*/ 210 h 512"/>
              <a:gd name="T38" fmla="*/ 184 w 512"/>
              <a:gd name="T39" fmla="*/ 295 h 512"/>
              <a:gd name="T40" fmla="*/ 192 w 512"/>
              <a:gd name="T41" fmla="*/ 298 h 512"/>
              <a:gd name="T42" fmla="*/ 199 w 512"/>
              <a:gd name="T43" fmla="*/ 295 h 512"/>
              <a:gd name="T44" fmla="*/ 199 w 512"/>
              <a:gd name="T45" fmla="*/ 280 h 512"/>
              <a:gd name="T46" fmla="*/ 132 w 512"/>
              <a:gd name="T47" fmla="*/ 213 h 512"/>
              <a:gd name="T48" fmla="*/ 394 w 512"/>
              <a:gd name="T49" fmla="*/ 213 h 512"/>
              <a:gd name="T50" fmla="*/ 394 w 512"/>
              <a:gd name="T51" fmla="*/ 330 h 512"/>
              <a:gd name="T52" fmla="*/ 405 w 512"/>
              <a:gd name="T53" fmla="*/ 341 h 512"/>
              <a:gd name="T54" fmla="*/ 416 w 512"/>
              <a:gd name="T55" fmla="*/ 330 h 512"/>
              <a:gd name="T56" fmla="*/ 416 w 512"/>
              <a:gd name="T57" fmla="*/ 202 h 512"/>
              <a:gd name="T58" fmla="*/ 405 w 512"/>
              <a:gd name="T5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92"/>
                </a:moveTo>
                <a:cubicBezTo>
                  <a:pt x="132" y="192"/>
                  <a:pt x="132" y="192"/>
                  <a:pt x="132" y="192"/>
                </a:cubicBezTo>
                <a:cubicBezTo>
                  <a:pt x="199" y="125"/>
                  <a:pt x="199" y="125"/>
                  <a:pt x="199" y="125"/>
                </a:cubicBezTo>
                <a:cubicBezTo>
                  <a:pt x="203" y="120"/>
                  <a:pt x="203" y="114"/>
                  <a:pt x="199" y="109"/>
                </a:cubicBezTo>
                <a:cubicBezTo>
                  <a:pt x="195" y="105"/>
                  <a:pt x="188" y="105"/>
                  <a:pt x="184" y="109"/>
                </a:cubicBezTo>
                <a:cubicBezTo>
                  <a:pt x="99" y="195"/>
                  <a:pt x="99" y="195"/>
                  <a:pt x="99" y="195"/>
                </a:cubicBezTo>
                <a:cubicBezTo>
                  <a:pt x="98" y="196"/>
                  <a:pt x="97" y="197"/>
                  <a:pt x="96" y="198"/>
                </a:cubicBezTo>
                <a:cubicBezTo>
                  <a:pt x="95" y="201"/>
                  <a:pt x="95" y="204"/>
                  <a:pt x="96" y="206"/>
                </a:cubicBezTo>
                <a:cubicBezTo>
                  <a:pt x="97" y="208"/>
                  <a:pt x="98" y="209"/>
                  <a:pt x="99" y="210"/>
                </a:cubicBezTo>
                <a:cubicBezTo>
                  <a:pt x="184" y="295"/>
                  <a:pt x="184" y="295"/>
                  <a:pt x="184" y="295"/>
                </a:cubicBezTo>
                <a:cubicBezTo>
                  <a:pt x="186" y="297"/>
                  <a:pt x="189" y="298"/>
                  <a:pt x="192" y="298"/>
                </a:cubicBezTo>
                <a:cubicBezTo>
                  <a:pt x="194" y="298"/>
                  <a:pt x="197" y="297"/>
                  <a:pt x="199" y="295"/>
                </a:cubicBezTo>
                <a:cubicBezTo>
                  <a:pt x="203" y="291"/>
                  <a:pt x="203" y="284"/>
                  <a:pt x="199" y="280"/>
                </a:cubicBezTo>
                <a:cubicBezTo>
                  <a:pt x="132" y="213"/>
                  <a:pt x="132" y="213"/>
                  <a:pt x="132" y="213"/>
                </a:cubicBezTo>
                <a:cubicBezTo>
                  <a:pt x="394" y="213"/>
                  <a:pt x="394" y="213"/>
                  <a:pt x="394" y="213"/>
                </a:cubicBezTo>
                <a:cubicBezTo>
                  <a:pt x="394" y="330"/>
                  <a:pt x="394" y="330"/>
                  <a:pt x="394" y="330"/>
                </a:cubicBezTo>
                <a:cubicBezTo>
                  <a:pt x="394" y="336"/>
                  <a:pt x="399" y="341"/>
                  <a:pt x="405" y="341"/>
                </a:cubicBezTo>
                <a:cubicBezTo>
                  <a:pt x="411" y="341"/>
                  <a:pt x="416" y="336"/>
                  <a:pt x="416" y="330"/>
                </a:cubicBezTo>
                <a:cubicBezTo>
                  <a:pt x="416" y="202"/>
                  <a:pt x="416" y="202"/>
                  <a:pt x="416" y="202"/>
                </a:cubicBezTo>
                <a:cubicBezTo>
                  <a:pt x="416" y="196"/>
                  <a:pt x="411" y="192"/>
                  <a:pt x="405" y="19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6" name="Freeform 249">
            <a:extLst>
              <a:ext uri="{FF2B5EF4-FFF2-40B4-BE49-F238E27FC236}">
                <a16:creationId xmlns:a16="http://schemas.microsoft.com/office/drawing/2014/main" id="{B9061742-E89F-4E52-A5F8-8CAD62298D97}"/>
              </a:ext>
            </a:extLst>
          </p:cNvPr>
          <p:cNvSpPr>
            <a:spLocks noChangeAspect="1" noEditPoints="1"/>
          </p:cNvSpPr>
          <p:nvPr/>
        </p:nvSpPr>
        <p:spPr bwMode="auto">
          <a:xfrm>
            <a:off x="3095329" y="2511225"/>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06 h 512"/>
              <a:gd name="T12" fmla="*/ 413 w 512"/>
              <a:gd name="T13" fmla="*/ 210 h 512"/>
              <a:gd name="T14" fmla="*/ 327 w 512"/>
              <a:gd name="T15" fmla="*/ 295 h 512"/>
              <a:gd name="T16" fmla="*/ 320 w 512"/>
              <a:gd name="T17" fmla="*/ 298 h 512"/>
              <a:gd name="T18" fmla="*/ 312 w 512"/>
              <a:gd name="T19" fmla="*/ 295 h 512"/>
              <a:gd name="T20" fmla="*/ 312 w 512"/>
              <a:gd name="T21" fmla="*/ 280 h 512"/>
              <a:gd name="T22" fmla="*/ 379 w 512"/>
              <a:gd name="T23" fmla="*/ 213 h 512"/>
              <a:gd name="T24" fmla="*/ 117 w 512"/>
              <a:gd name="T25" fmla="*/ 213 h 512"/>
              <a:gd name="T26" fmla="*/ 117 w 512"/>
              <a:gd name="T27" fmla="*/ 330 h 512"/>
              <a:gd name="T28" fmla="*/ 106 w 512"/>
              <a:gd name="T29" fmla="*/ 341 h 512"/>
              <a:gd name="T30" fmla="*/ 96 w 512"/>
              <a:gd name="T31" fmla="*/ 330 h 512"/>
              <a:gd name="T32" fmla="*/ 96 w 512"/>
              <a:gd name="T33" fmla="*/ 202 h 512"/>
              <a:gd name="T34" fmla="*/ 106 w 512"/>
              <a:gd name="T35" fmla="*/ 192 h 512"/>
              <a:gd name="T36" fmla="*/ 379 w 512"/>
              <a:gd name="T37" fmla="*/ 192 h 512"/>
              <a:gd name="T38" fmla="*/ 312 w 512"/>
              <a:gd name="T39" fmla="*/ 125 h 512"/>
              <a:gd name="T40" fmla="*/ 312 w 512"/>
              <a:gd name="T41" fmla="*/ 109 h 512"/>
              <a:gd name="T42" fmla="*/ 327 w 512"/>
              <a:gd name="T43" fmla="*/ 109 h 512"/>
              <a:gd name="T44" fmla="*/ 413 w 512"/>
              <a:gd name="T45" fmla="*/ 195 h 512"/>
              <a:gd name="T46" fmla="*/ 415 w 512"/>
              <a:gd name="T47" fmla="*/ 198 h 512"/>
              <a:gd name="T48" fmla="*/ 415 w 512"/>
              <a:gd name="T49" fmla="*/ 2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06"/>
                </a:moveTo>
                <a:cubicBezTo>
                  <a:pt x="414" y="208"/>
                  <a:pt x="414" y="209"/>
                  <a:pt x="413" y="210"/>
                </a:cubicBezTo>
                <a:cubicBezTo>
                  <a:pt x="327" y="295"/>
                  <a:pt x="327" y="295"/>
                  <a:pt x="327" y="295"/>
                </a:cubicBezTo>
                <a:cubicBezTo>
                  <a:pt x="325" y="297"/>
                  <a:pt x="322" y="298"/>
                  <a:pt x="320" y="298"/>
                </a:cubicBezTo>
                <a:cubicBezTo>
                  <a:pt x="317" y="298"/>
                  <a:pt x="314" y="297"/>
                  <a:pt x="312" y="295"/>
                </a:cubicBezTo>
                <a:cubicBezTo>
                  <a:pt x="308" y="291"/>
                  <a:pt x="308" y="284"/>
                  <a:pt x="312" y="280"/>
                </a:cubicBezTo>
                <a:cubicBezTo>
                  <a:pt x="379" y="213"/>
                  <a:pt x="379" y="213"/>
                  <a:pt x="379" y="213"/>
                </a:cubicBezTo>
                <a:cubicBezTo>
                  <a:pt x="117" y="213"/>
                  <a:pt x="117" y="213"/>
                  <a:pt x="117" y="213"/>
                </a:cubicBezTo>
                <a:cubicBezTo>
                  <a:pt x="117" y="330"/>
                  <a:pt x="117" y="330"/>
                  <a:pt x="117" y="330"/>
                </a:cubicBezTo>
                <a:cubicBezTo>
                  <a:pt x="117" y="336"/>
                  <a:pt x="112" y="341"/>
                  <a:pt x="106" y="341"/>
                </a:cubicBezTo>
                <a:cubicBezTo>
                  <a:pt x="100" y="341"/>
                  <a:pt x="96" y="336"/>
                  <a:pt x="96" y="330"/>
                </a:cubicBezTo>
                <a:cubicBezTo>
                  <a:pt x="96" y="202"/>
                  <a:pt x="96" y="202"/>
                  <a:pt x="96" y="202"/>
                </a:cubicBezTo>
                <a:cubicBezTo>
                  <a:pt x="96" y="196"/>
                  <a:pt x="100" y="192"/>
                  <a:pt x="106" y="192"/>
                </a:cubicBezTo>
                <a:cubicBezTo>
                  <a:pt x="379" y="192"/>
                  <a:pt x="379" y="192"/>
                  <a:pt x="379" y="192"/>
                </a:cubicBezTo>
                <a:cubicBezTo>
                  <a:pt x="312" y="125"/>
                  <a:pt x="312" y="125"/>
                  <a:pt x="312" y="125"/>
                </a:cubicBezTo>
                <a:cubicBezTo>
                  <a:pt x="308" y="120"/>
                  <a:pt x="308" y="114"/>
                  <a:pt x="312" y="109"/>
                </a:cubicBezTo>
                <a:cubicBezTo>
                  <a:pt x="316" y="105"/>
                  <a:pt x="323" y="105"/>
                  <a:pt x="327" y="109"/>
                </a:cubicBezTo>
                <a:cubicBezTo>
                  <a:pt x="413" y="195"/>
                  <a:pt x="413" y="195"/>
                  <a:pt x="413" y="195"/>
                </a:cubicBezTo>
                <a:cubicBezTo>
                  <a:pt x="414" y="196"/>
                  <a:pt x="414" y="197"/>
                  <a:pt x="415" y="198"/>
                </a:cubicBezTo>
                <a:cubicBezTo>
                  <a:pt x="416" y="201"/>
                  <a:pt x="416" y="204"/>
                  <a:pt x="415" y="20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7" name="Freeform 253">
            <a:extLst>
              <a:ext uri="{FF2B5EF4-FFF2-40B4-BE49-F238E27FC236}">
                <a16:creationId xmlns:a16="http://schemas.microsoft.com/office/drawing/2014/main" id="{2787F261-79AE-4DF2-8DDB-2D047A286CFF}"/>
              </a:ext>
            </a:extLst>
          </p:cNvPr>
          <p:cNvSpPr>
            <a:spLocks noChangeAspect="1" noEditPoints="1"/>
          </p:cNvSpPr>
          <p:nvPr/>
        </p:nvSpPr>
        <p:spPr bwMode="auto">
          <a:xfrm>
            <a:off x="3530585" y="2511225"/>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5 w 512"/>
              <a:gd name="T21" fmla="*/ 206 h 512"/>
              <a:gd name="T22" fmla="*/ 415 w 512"/>
              <a:gd name="T23" fmla="*/ 198 h 512"/>
              <a:gd name="T24" fmla="*/ 413 w 512"/>
              <a:gd name="T25" fmla="*/ 195 h 512"/>
              <a:gd name="T26" fmla="*/ 327 w 512"/>
              <a:gd name="T27" fmla="*/ 109 h 512"/>
              <a:gd name="T28" fmla="*/ 312 w 512"/>
              <a:gd name="T29" fmla="*/ 109 h 512"/>
              <a:gd name="T30" fmla="*/ 312 w 512"/>
              <a:gd name="T31" fmla="*/ 125 h 512"/>
              <a:gd name="T32" fmla="*/ 379 w 512"/>
              <a:gd name="T33" fmla="*/ 192 h 512"/>
              <a:gd name="T34" fmla="*/ 106 w 512"/>
              <a:gd name="T35" fmla="*/ 192 h 512"/>
              <a:gd name="T36" fmla="*/ 96 w 512"/>
              <a:gd name="T37" fmla="*/ 202 h 512"/>
              <a:gd name="T38" fmla="*/ 96 w 512"/>
              <a:gd name="T39" fmla="*/ 330 h 512"/>
              <a:gd name="T40" fmla="*/ 106 w 512"/>
              <a:gd name="T41" fmla="*/ 341 h 512"/>
              <a:gd name="T42" fmla="*/ 117 w 512"/>
              <a:gd name="T43" fmla="*/ 330 h 512"/>
              <a:gd name="T44" fmla="*/ 117 w 512"/>
              <a:gd name="T45" fmla="*/ 213 h 512"/>
              <a:gd name="T46" fmla="*/ 379 w 512"/>
              <a:gd name="T47" fmla="*/ 213 h 512"/>
              <a:gd name="T48" fmla="*/ 312 w 512"/>
              <a:gd name="T49" fmla="*/ 280 h 512"/>
              <a:gd name="T50" fmla="*/ 312 w 512"/>
              <a:gd name="T51" fmla="*/ 295 h 512"/>
              <a:gd name="T52" fmla="*/ 320 w 512"/>
              <a:gd name="T53" fmla="*/ 298 h 512"/>
              <a:gd name="T54" fmla="*/ 327 w 512"/>
              <a:gd name="T55" fmla="*/ 295 h 512"/>
              <a:gd name="T56" fmla="*/ 413 w 512"/>
              <a:gd name="T57" fmla="*/ 210 h 512"/>
              <a:gd name="T58" fmla="*/ 415 w 512"/>
              <a:gd name="T59" fmla="*/ 2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06"/>
                </a:moveTo>
                <a:cubicBezTo>
                  <a:pt x="416" y="204"/>
                  <a:pt x="416" y="201"/>
                  <a:pt x="415" y="198"/>
                </a:cubicBezTo>
                <a:cubicBezTo>
                  <a:pt x="414" y="197"/>
                  <a:pt x="414" y="196"/>
                  <a:pt x="413" y="195"/>
                </a:cubicBezTo>
                <a:cubicBezTo>
                  <a:pt x="327" y="109"/>
                  <a:pt x="327" y="109"/>
                  <a:pt x="327" y="109"/>
                </a:cubicBezTo>
                <a:cubicBezTo>
                  <a:pt x="323" y="105"/>
                  <a:pt x="316" y="105"/>
                  <a:pt x="312" y="109"/>
                </a:cubicBezTo>
                <a:cubicBezTo>
                  <a:pt x="308" y="114"/>
                  <a:pt x="308" y="120"/>
                  <a:pt x="312" y="125"/>
                </a:cubicBezTo>
                <a:cubicBezTo>
                  <a:pt x="379" y="192"/>
                  <a:pt x="379" y="192"/>
                  <a:pt x="379" y="192"/>
                </a:cubicBezTo>
                <a:cubicBezTo>
                  <a:pt x="106" y="192"/>
                  <a:pt x="106" y="192"/>
                  <a:pt x="106" y="192"/>
                </a:cubicBezTo>
                <a:cubicBezTo>
                  <a:pt x="100" y="192"/>
                  <a:pt x="96" y="196"/>
                  <a:pt x="96" y="202"/>
                </a:cubicBezTo>
                <a:cubicBezTo>
                  <a:pt x="96" y="330"/>
                  <a:pt x="96" y="330"/>
                  <a:pt x="96" y="330"/>
                </a:cubicBezTo>
                <a:cubicBezTo>
                  <a:pt x="96" y="336"/>
                  <a:pt x="100" y="341"/>
                  <a:pt x="106" y="341"/>
                </a:cubicBezTo>
                <a:cubicBezTo>
                  <a:pt x="112" y="341"/>
                  <a:pt x="117" y="336"/>
                  <a:pt x="117" y="330"/>
                </a:cubicBezTo>
                <a:cubicBezTo>
                  <a:pt x="117" y="213"/>
                  <a:pt x="117" y="213"/>
                  <a:pt x="117" y="213"/>
                </a:cubicBezTo>
                <a:cubicBezTo>
                  <a:pt x="379" y="213"/>
                  <a:pt x="379" y="213"/>
                  <a:pt x="379" y="213"/>
                </a:cubicBezTo>
                <a:cubicBezTo>
                  <a:pt x="312" y="280"/>
                  <a:pt x="312" y="280"/>
                  <a:pt x="312" y="280"/>
                </a:cubicBezTo>
                <a:cubicBezTo>
                  <a:pt x="308" y="284"/>
                  <a:pt x="308" y="291"/>
                  <a:pt x="312" y="295"/>
                </a:cubicBezTo>
                <a:cubicBezTo>
                  <a:pt x="314" y="297"/>
                  <a:pt x="317" y="298"/>
                  <a:pt x="320" y="298"/>
                </a:cubicBezTo>
                <a:cubicBezTo>
                  <a:pt x="322" y="298"/>
                  <a:pt x="325" y="297"/>
                  <a:pt x="327" y="295"/>
                </a:cubicBezTo>
                <a:cubicBezTo>
                  <a:pt x="413" y="210"/>
                  <a:pt x="413" y="210"/>
                  <a:pt x="413" y="210"/>
                </a:cubicBezTo>
                <a:cubicBezTo>
                  <a:pt x="414" y="209"/>
                  <a:pt x="414" y="208"/>
                  <a:pt x="415" y="20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8" name="Freeform 257">
            <a:extLst>
              <a:ext uri="{FF2B5EF4-FFF2-40B4-BE49-F238E27FC236}">
                <a16:creationId xmlns:a16="http://schemas.microsoft.com/office/drawing/2014/main" id="{392E7907-BC2D-4472-88E4-3D5EC3F61B95}"/>
              </a:ext>
            </a:extLst>
          </p:cNvPr>
          <p:cNvSpPr>
            <a:spLocks noChangeAspect="1" noEditPoints="1"/>
          </p:cNvSpPr>
          <p:nvPr/>
        </p:nvSpPr>
        <p:spPr bwMode="auto">
          <a:xfrm>
            <a:off x="3964759" y="251122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3 w 512"/>
              <a:gd name="T11" fmla="*/ 312 h 512"/>
              <a:gd name="T12" fmla="*/ 349 w 512"/>
              <a:gd name="T13" fmla="*/ 312 h 512"/>
              <a:gd name="T14" fmla="*/ 349 w 512"/>
              <a:gd name="T15" fmla="*/ 327 h 512"/>
              <a:gd name="T16" fmla="*/ 263 w 512"/>
              <a:gd name="T17" fmla="*/ 413 h 512"/>
              <a:gd name="T18" fmla="*/ 260 w 512"/>
              <a:gd name="T19" fmla="*/ 415 h 512"/>
              <a:gd name="T20" fmla="*/ 252 w 512"/>
              <a:gd name="T21" fmla="*/ 415 h 512"/>
              <a:gd name="T22" fmla="*/ 248 w 512"/>
              <a:gd name="T23" fmla="*/ 413 h 512"/>
              <a:gd name="T24" fmla="*/ 163 w 512"/>
              <a:gd name="T25" fmla="*/ 327 h 512"/>
              <a:gd name="T26" fmla="*/ 160 w 512"/>
              <a:gd name="T27" fmla="*/ 320 h 512"/>
              <a:gd name="T28" fmla="*/ 163 w 512"/>
              <a:gd name="T29" fmla="*/ 312 h 512"/>
              <a:gd name="T30" fmla="*/ 178 w 512"/>
              <a:gd name="T31" fmla="*/ 312 h 512"/>
              <a:gd name="T32" fmla="*/ 245 w 512"/>
              <a:gd name="T33" fmla="*/ 379 h 512"/>
              <a:gd name="T34" fmla="*/ 245 w 512"/>
              <a:gd name="T35" fmla="*/ 132 h 512"/>
              <a:gd name="T36" fmla="*/ 178 w 512"/>
              <a:gd name="T37" fmla="*/ 199 h 512"/>
              <a:gd name="T38" fmla="*/ 163 w 512"/>
              <a:gd name="T39" fmla="*/ 199 h 512"/>
              <a:gd name="T40" fmla="*/ 163 w 512"/>
              <a:gd name="T41" fmla="*/ 184 h 512"/>
              <a:gd name="T42" fmla="*/ 248 w 512"/>
              <a:gd name="T43" fmla="*/ 99 h 512"/>
              <a:gd name="T44" fmla="*/ 252 w 512"/>
              <a:gd name="T45" fmla="*/ 96 h 512"/>
              <a:gd name="T46" fmla="*/ 260 w 512"/>
              <a:gd name="T47" fmla="*/ 96 h 512"/>
              <a:gd name="T48" fmla="*/ 263 w 512"/>
              <a:gd name="T49" fmla="*/ 99 h 512"/>
              <a:gd name="T50" fmla="*/ 349 w 512"/>
              <a:gd name="T51" fmla="*/ 184 h 512"/>
              <a:gd name="T52" fmla="*/ 352 w 512"/>
              <a:gd name="T53" fmla="*/ 192 h 512"/>
              <a:gd name="T54" fmla="*/ 349 w 512"/>
              <a:gd name="T55" fmla="*/ 199 h 512"/>
              <a:gd name="T56" fmla="*/ 333 w 512"/>
              <a:gd name="T57" fmla="*/ 199 h 512"/>
              <a:gd name="T58" fmla="*/ 266 w 512"/>
              <a:gd name="T59" fmla="*/ 132 h 512"/>
              <a:gd name="T60" fmla="*/ 266 w 512"/>
              <a:gd name="T61" fmla="*/ 379 h 512"/>
              <a:gd name="T62" fmla="*/ 333 w 512"/>
              <a:gd name="T63"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3" y="312"/>
                </a:moveTo>
                <a:cubicBezTo>
                  <a:pt x="338" y="308"/>
                  <a:pt x="344" y="308"/>
                  <a:pt x="349" y="312"/>
                </a:cubicBezTo>
                <a:cubicBezTo>
                  <a:pt x="353" y="316"/>
                  <a:pt x="353" y="323"/>
                  <a:pt x="349" y="327"/>
                </a:cubicBezTo>
                <a:cubicBezTo>
                  <a:pt x="263" y="413"/>
                  <a:pt x="263" y="413"/>
                  <a:pt x="263" y="413"/>
                </a:cubicBezTo>
                <a:cubicBezTo>
                  <a:pt x="262" y="414"/>
                  <a:pt x="261" y="414"/>
                  <a:pt x="260" y="415"/>
                </a:cubicBezTo>
                <a:cubicBezTo>
                  <a:pt x="257" y="416"/>
                  <a:pt x="254" y="416"/>
                  <a:pt x="252" y="415"/>
                </a:cubicBezTo>
                <a:cubicBezTo>
                  <a:pt x="250" y="414"/>
                  <a:pt x="249" y="414"/>
                  <a:pt x="248" y="413"/>
                </a:cubicBezTo>
                <a:cubicBezTo>
                  <a:pt x="163" y="327"/>
                  <a:pt x="163" y="327"/>
                  <a:pt x="163" y="327"/>
                </a:cubicBezTo>
                <a:cubicBezTo>
                  <a:pt x="161" y="325"/>
                  <a:pt x="160" y="322"/>
                  <a:pt x="160" y="320"/>
                </a:cubicBezTo>
                <a:cubicBezTo>
                  <a:pt x="160" y="317"/>
                  <a:pt x="161" y="314"/>
                  <a:pt x="163" y="312"/>
                </a:cubicBezTo>
                <a:cubicBezTo>
                  <a:pt x="167" y="308"/>
                  <a:pt x="174" y="308"/>
                  <a:pt x="178" y="312"/>
                </a:cubicBezTo>
                <a:cubicBezTo>
                  <a:pt x="245" y="379"/>
                  <a:pt x="245" y="379"/>
                  <a:pt x="245" y="379"/>
                </a:cubicBezTo>
                <a:cubicBezTo>
                  <a:pt x="245" y="132"/>
                  <a:pt x="245" y="132"/>
                  <a:pt x="245" y="132"/>
                </a:cubicBezTo>
                <a:cubicBezTo>
                  <a:pt x="178" y="199"/>
                  <a:pt x="178" y="199"/>
                  <a:pt x="178" y="199"/>
                </a:cubicBezTo>
                <a:cubicBezTo>
                  <a:pt x="174" y="203"/>
                  <a:pt x="167" y="203"/>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1" y="186"/>
                  <a:pt x="352" y="189"/>
                  <a:pt x="352" y="192"/>
                </a:cubicBezTo>
                <a:cubicBezTo>
                  <a:pt x="352" y="194"/>
                  <a:pt x="351" y="197"/>
                  <a:pt x="349" y="199"/>
                </a:cubicBezTo>
                <a:cubicBezTo>
                  <a:pt x="344" y="203"/>
                  <a:pt x="338" y="203"/>
                  <a:pt x="333" y="199"/>
                </a:cubicBezTo>
                <a:cubicBezTo>
                  <a:pt x="266" y="132"/>
                  <a:pt x="266" y="132"/>
                  <a:pt x="266" y="132"/>
                </a:cubicBezTo>
                <a:cubicBezTo>
                  <a:pt x="266" y="379"/>
                  <a:pt x="266" y="379"/>
                  <a:pt x="266" y="379"/>
                </a:cubicBezTo>
                <a:lnTo>
                  <a:pt x="333" y="31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9" name="Freeform 261">
            <a:extLst>
              <a:ext uri="{FF2B5EF4-FFF2-40B4-BE49-F238E27FC236}">
                <a16:creationId xmlns:a16="http://schemas.microsoft.com/office/drawing/2014/main" id="{D9F6371C-BC5D-4DE0-B320-54CBC0CC4DDE}"/>
              </a:ext>
            </a:extLst>
          </p:cNvPr>
          <p:cNvSpPr>
            <a:spLocks noChangeAspect="1" noEditPoints="1"/>
          </p:cNvSpPr>
          <p:nvPr/>
        </p:nvSpPr>
        <p:spPr bwMode="auto">
          <a:xfrm>
            <a:off x="4398933" y="2511225"/>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66 w 512"/>
              <a:gd name="T21" fmla="*/ 132 h 512"/>
              <a:gd name="T22" fmla="*/ 333 w 512"/>
              <a:gd name="T23" fmla="*/ 199 h 512"/>
              <a:gd name="T24" fmla="*/ 349 w 512"/>
              <a:gd name="T25" fmla="*/ 199 h 512"/>
              <a:gd name="T26" fmla="*/ 352 w 512"/>
              <a:gd name="T27" fmla="*/ 192 h 512"/>
              <a:gd name="T28" fmla="*/ 349 w 512"/>
              <a:gd name="T29" fmla="*/ 184 h 512"/>
              <a:gd name="T30" fmla="*/ 263 w 512"/>
              <a:gd name="T31" fmla="*/ 99 h 512"/>
              <a:gd name="T32" fmla="*/ 260 w 512"/>
              <a:gd name="T33" fmla="*/ 96 h 512"/>
              <a:gd name="T34" fmla="*/ 252 w 512"/>
              <a:gd name="T35" fmla="*/ 96 h 512"/>
              <a:gd name="T36" fmla="*/ 248 w 512"/>
              <a:gd name="T37" fmla="*/ 99 h 512"/>
              <a:gd name="T38" fmla="*/ 163 w 512"/>
              <a:gd name="T39" fmla="*/ 184 h 512"/>
              <a:gd name="T40" fmla="*/ 163 w 512"/>
              <a:gd name="T41" fmla="*/ 199 h 512"/>
              <a:gd name="T42" fmla="*/ 178 w 512"/>
              <a:gd name="T43" fmla="*/ 199 h 512"/>
              <a:gd name="T44" fmla="*/ 245 w 512"/>
              <a:gd name="T45" fmla="*/ 132 h 512"/>
              <a:gd name="T46" fmla="*/ 245 w 512"/>
              <a:gd name="T47" fmla="*/ 379 h 512"/>
              <a:gd name="T48" fmla="*/ 178 w 512"/>
              <a:gd name="T49" fmla="*/ 312 h 512"/>
              <a:gd name="T50" fmla="*/ 163 w 512"/>
              <a:gd name="T51" fmla="*/ 312 h 512"/>
              <a:gd name="T52" fmla="*/ 160 w 512"/>
              <a:gd name="T53" fmla="*/ 320 h 512"/>
              <a:gd name="T54" fmla="*/ 163 w 512"/>
              <a:gd name="T55" fmla="*/ 327 h 512"/>
              <a:gd name="T56" fmla="*/ 248 w 512"/>
              <a:gd name="T57" fmla="*/ 413 h 512"/>
              <a:gd name="T58" fmla="*/ 252 w 512"/>
              <a:gd name="T59" fmla="*/ 415 h 512"/>
              <a:gd name="T60" fmla="*/ 260 w 512"/>
              <a:gd name="T61" fmla="*/ 415 h 512"/>
              <a:gd name="T62" fmla="*/ 263 w 512"/>
              <a:gd name="T63" fmla="*/ 413 h 512"/>
              <a:gd name="T64" fmla="*/ 349 w 512"/>
              <a:gd name="T65" fmla="*/ 327 h 512"/>
              <a:gd name="T66" fmla="*/ 349 w 512"/>
              <a:gd name="T67" fmla="*/ 312 h 512"/>
              <a:gd name="T68" fmla="*/ 333 w 512"/>
              <a:gd name="T69" fmla="*/ 312 h 512"/>
              <a:gd name="T70" fmla="*/ 266 w 512"/>
              <a:gd name="T71" fmla="*/ 379 h 512"/>
              <a:gd name="T72" fmla="*/ 266 w 512"/>
              <a:gd name="T73" fmla="*/ 1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132"/>
                </a:moveTo>
                <a:cubicBezTo>
                  <a:pt x="333" y="199"/>
                  <a:pt x="333" y="199"/>
                  <a:pt x="333" y="199"/>
                </a:cubicBezTo>
                <a:cubicBezTo>
                  <a:pt x="338" y="203"/>
                  <a:pt x="344" y="203"/>
                  <a:pt x="349" y="199"/>
                </a:cubicBezTo>
                <a:cubicBezTo>
                  <a:pt x="351" y="197"/>
                  <a:pt x="352" y="194"/>
                  <a:pt x="352" y="192"/>
                </a:cubicBezTo>
                <a:cubicBezTo>
                  <a:pt x="352" y="189"/>
                  <a:pt x="351" y="186"/>
                  <a:pt x="349" y="184"/>
                </a:cubicBezTo>
                <a:cubicBezTo>
                  <a:pt x="263" y="99"/>
                  <a:pt x="263" y="99"/>
                  <a:pt x="263" y="99"/>
                </a:cubicBezTo>
                <a:cubicBezTo>
                  <a:pt x="262" y="98"/>
                  <a:pt x="261" y="97"/>
                  <a:pt x="260" y="96"/>
                </a:cubicBezTo>
                <a:cubicBezTo>
                  <a:pt x="257" y="95"/>
                  <a:pt x="254" y="95"/>
                  <a:pt x="252" y="96"/>
                </a:cubicBezTo>
                <a:cubicBezTo>
                  <a:pt x="250" y="97"/>
                  <a:pt x="249" y="98"/>
                  <a:pt x="248" y="99"/>
                </a:cubicBezTo>
                <a:cubicBezTo>
                  <a:pt x="163" y="184"/>
                  <a:pt x="163" y="184"/>
                  <a:pt x="163" y="184"/>
                </a:cubicBezTo>
                <a:cubicBezTo>
                  <a:pt x="159" y="188"/>
                  <a:pt x="159" y="195"/>
                  <a:pt x="163" y="199"/>
                </a:cubicBezTo>
                <a:cubicBezTo>
                  <a:pt x="167" y="203"/>
                  <a:pt x="174" y="203"/>
                  <a:pt x="178" y="199"/>
                </a:cubicBezTo>
                <a:cubicBezTo>
                  <a:pt x="245" y="132"/>
                  <a:pt x="245" y="132"/>
                  <a:pt x="245" y="132"/>
                </a:cubicBezTo>
                <a:cubicBezTo>
                  <a:pt x="245" y="379"/>
                  <a:pt x="245" y="379"/>
                  <a:pt x="245" y="379"/>
                </a:cubicBezTo>
                <a:cubicBezTo>
                  <a:pt x="178" y="312"/>
                  <a:pt x="178" y="312"/>
                  <a:pt x="178" y="312"/>
                </a:cubicBezTo>
                <a:cubicBezTo>
                  <a:pt x="174" y="308"/>
                  <a:pt x="167" y="308"/>
                  <a:pt x="163" y="312"/>
                </a:cubicBezTo>
                <a:cubicBezTo>
                  <a:pt x="161" y="314"/>
                  <a:pt x="160" y="317"/>
                  <a:pt x="160" y="320"/>
                </a:cubicBezTo>
                <a:cubicBezTo>
                  <a:pt x="160" y="322"/>
                  <a:pt x="161" y="325"/>
                  <a:pt x="163" y="327"/>
                </a:cubicBezTo>
                <a:cubicBezTo>
                  <a:pt x="248" y="413"/>
                  <a:pt x="248" y="413"/>
                  <a:pt x="248" y="413"/>
                </a:cubicBezTo>
                <a:cubicBezTo>
                  <a:pt x="249" y="414"/>
                  <a:pt x="250" y="414"/>
                  <a:pt x="252" y="415"/>
                </a:cubicBezTo>
                <a:cubicBezTo>
                  <a:pt x="254" y="416"/>
                  <a:pt x="257" y="416"/>
                  <a:pt x="260" y="415"/>
                </a:cubicBezTo>
                <a:cubicBezTo>
                  <a:pt x="261" y="414"/>
                  <a:pt x="262" y="414"/>
                  <a:pt x="263" y="413"/>
                </a:cubicBezTo>
                <a:cubicBezTo>
                  <a:pt x="349" y="327"/>
                  <a:pt x="349" y="327"/>
                  <a:pt x="349" y="327"/>
                </a:cubicBezTo>
                <a:cubicBezTo>
                  <a:pt x="353" y="323"/>
                  <a:pt x="353" y="316"/>
                  <a:pt x="349" y="312"/>
                </a:cubicBezTo>
                <a:cubicBezTo>
                  <a:pt x="344" y="308"/>
                  <a:pt x="338" y="308"/>
                  <a:pt x="333" y="312"/>
                </a:cubicBezTo>
                <a:cubicBezTo>
                  <a:pt x="266" y="379"/>
                  <a:pt x="266" y="379"/>
                  <a:pt x="266" y="379"/>
                </a:cubicBezTo>
                <a:lnTo>
                  <a:pt x="266" y="13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00" name="Freeform 304">
            <a:extLst>
              <a:ext uri="{FF2B5EF4-FFF2-40B4-BE49-F238E27FC236}">
                <a16:creationId xmlns:a16="http://schemas.microsoft.com/office/drawing/2014/main" id="{44C38847-ADCB-434A-962E-FF3AEF9D804A}"/>
              </a:ext>
            </a:extLst>
          </p:cNvPr>
          <p:cNvSpPr>
            <a:spLocks noChangeAspect="1" noEditPoints="1"/>
          </p:cNvSpPr>
          <p:nvPr/>
        </p:nvSpPr>
        <p:spPr bwMode="auto">
          <a:xfrm>
            <a:off x="4833107" y="251122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199 h 512"/>
              <a:gd name="T12" fmla="*/ 341 w 512"/>
              <a:gd name="T13" fmla="*/ 202 h 512"/>
              <a:gd name="T14" fmla="*/ 333 w 512"/>
              <a:gd name="T15" fmla="*/ 199 h 512"/>
              <a:gd name="T16" fmla="*/ 266 w 512"/>
              <a:gd name="T17" fmla="*/ 132 h 512"/>
              <a:gd name="T18" fmla="*/ 266 w 512"/>
              <a:gd name="T19" fmla="*/ 405 h 512"/>
              <a:gd name="T20" fmla="*/ 256 w 512"/>
              <a:gd name="T21" fmla="*/ 416 h 512"/>
              <a:gd name="T22" fmla="*/ 245 w 512"/>
              <a:gd name="T23" fmla="*/ 405 h 512"/>
              <a:gd name="T24" fmla="*/ 245 w 512"/>
              <a:gd name="T25" fmla="*/ 132 h 512"/>
              <a:gd name="T26" fmla="*/ 178 w 512"/>
              <a:gd name="T27" fmla="*/ 199 h 512"/>
              <a:gd name="T28" fmla="*/ 170 w 512"/>
              <a:gd name="T29" fmla="*/ 202 h 512"/>
              <a:gd name="T30" fmla="*/ 163 w 512"/>
              <a:gd name="T31" fmla="*/ 199 h 512"/>
              <a:gd name="T32" fmla="*/ 163 w 512"/>
              <a:gd name="T33" fmla="*/ 184 h 512"/>
              <a:gd name="T34" fmla="*/ 248 w 512"/>
              <a:gd name="T35" fmla="*/ 99 h 512"/>
              <a:gd name="T36" fmla="*/ 252 w 512"/>
              <a:gd name="T37" fmla="*/ 96 h 512"/>
              <a:gd name="T38" fmla="*/ 260 w 512"/>
              <a:gd name="T39" fmla="*/ 96 h 512"/>
              <a:gd name="T40" fmla="*/ 263 w 512"/>
              <a:gd name="T41" fmla="*/ 99 h 512"/>
              <a:gd name="T42" fmla="*/ 349 w 512"/>
              <a:gd name="T43" fmla="*/ 184 h 512"/>
              <a:gd name="T44" fmla="*/ 349 w 512"/>
              <a:gd name="T45"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199"/>
                </a:moveTo>
                <a:cubicBezTo>
                  <a:pt x="346" y="201"/>
                  <a:pt x="344" y="202"/>
                  <a:pt x="341" y="202"/>
                </a:cubicBezTo>
                <a:cubicBezTo>
                  <a:pt x="338" y="202"/>
                  <a:pt x="336" y="201"/>
                  <a:pt x="333" y="199"/>
                </a:cubicBezTo>
                <a:cubicBezTo>
                  <a:pt x="266" y="132"/>
                  <a:pt x="266" y="132"/>
                  <a:pt x="266" y="132"/>
                </a:cubicBezTo>
                <a:cubicBezTo>
                  <a:pt x="266" y="405"/>
                  <a:pt x="266" y="405"/>
                  <a:pt x="266" y="405"/>
                </a:cubicBezTo>
                <a:cubicBezTo>
                  <a:pt x="266" y="411"/>
                  <a:pt x="262" y="416"/>
                  <a:pt x="256" y="416"/>
                </a:cubicBezTo>
                <a:cubicBezTo>
                  <a:pt x="250" y="416"/>
                  <a:pt x="245" y="411"/>
                  <a:pt x="245" y="405"/>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1" name="Group 268">
            <a:extLst>
              <a:ext uri="{FF2B5EF4-FFF2-40B4-BE49-F238E27FC236}">
                <a16:creationId xmlns:a16="http://schemas.microsoft.com/office/drawing/2014/main" id="{92D2AE94-FEFD-4A4F-A084-F402FF948CFE}"/>
              </a:ext>
            </a:extLst>
          </p:cNvPr>
          <p:cNvGrpSpPr>
            <a:grpSpLocks noChangeAspect="1"/>
          </p:cNvGrpSpPr>
          <p:nvPr/>
        </p:nvGrpSpPr>
        <p:grpSpPr bwMode="auto">
          <a:xfrm>
            <a:off x="5267281" y="2511225"/>
            <a:ext cx="367982" cy="367982"/>
            <a:chOff x="5497" y="2036"/>
            <a:chExt cx="340" cy="340"/>
          </a:xfrm>
          <a:solidFill>
            <a:schemeClr val="accent3"/>
          </a:solidFill>
        </p:grpSpPr>
        <p:sp>
          <p:nvSpPr>
            <p:cNvPr id="502" name="Freeform 269">
              <a:extLst>
                <a:ext uri="{FF2B5EF4-FFF2-40B4-BE49-F238E27FC236}">
                  <a16:creationId xmlns:a16="http://schemas.microsoft.com/office/drawing/2014/main" id="{20027A8E-3432-4DA6-9B39-FF56E870A615}"/>
                </a:ext>
              </a:extLst>
            </p:cNvPr>
            <p:cNvSpPr>
              <a:spLocks noEditPoints="1"/>
            </p:cNvSpPr>
            <p:nvPr/>
          </p:nvSpPr>
          <p:spPr bwMode="auto">
            <a:xfrm>
              <a:off x="5497" y="203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3" name="Freeform 270">
              <a:extLst>
                <a:ext uri="{FF2B5EF4-FFF2-40B4-BE49-F238E27FC236}">
                  <a16:creationId xmlns:a16="http://schemas.microsoft.com/office/drawing/2014/main" id="{CD8F2944-C07B-47D2-B65C-316F5573804F}"/>
                </a:ext>
              </a:extLst>
            </p:cNvPr>
            <p:cNvSpPr>
              <a:spLocks/>
            </p:cNvSpPr>
            <p:nvPr/>
          </p:nvSpPr>
          <p:spPr bwMode="auto">
            <a:xfrm>
              <a:off x="5603" y="2100"/>
              <a:ext cx="128" cy="212"/>
            </a:xfrm>
            <a:custGeom>
              <a:avLst/>
              <a:gdLst>
                <a:gd name="T0" fmla="*/ 190 w 194"/>
                <a:gd name="T1" fmla="*/ 89 h 320"/>
                <a:gd name="T2" fmla="*/ 105 w 194"/>
                <a:gd name="T3" fmla="*/ 3 h 320"/>
                <a:gd name="T4" fmla="*/ 101 w 194"/>
                <a:gd name="T5" fmla="*/ 1 h 320"/>
                <a:gd name="T6" fmla="*/ 93 w 194"/>
                <a:gd name="T7" fmla="*/ 1 h 320"/>
                <a:gd name="T8" fmla="*/ 89 w 194"/>
                <a:gd name="T9" fmla="*/ 3 h 320"/>
                <a:gd name="T10" fmla="*/ 4 w 194"/>
                <a:gd name="T11" fmla="*/ 89 h 320"/>
                <a:gd name="T12" fmla="*/ 4 w 194"/>
                <a:gd name="T13" fmla="*/ 104 h 320"/>
                <a:gd name="T14" fmla="*/ 12 w 194"/>
                <a:gd name="T15" fmla="*/ 107 h 320"/>
                <a:gd name="T16" fmla="*/ 19 w 194"/>
                <a:gd name="T17" fmla="*/ 104 h 320"/>
                <a:gd name="T18" fmla="*/ 86 w 194"/>
                <a:gd name="T19" fmla="*/ 37 h 320"/>
                <a:gd name="T20" fmla="*/ 86 w 194"/>
                <a:gd name="T21" fmla="*/ 310 h 320"/>
                <a:gd name="T22" fmla="*/ 97 w 194"/>
                <a:gd name="T23" fmla="*/ 320 h 320"/>
                <a:gd name="T24" fmla="*/ 108 w 194"/>
                <a:gd name="T25" fmla="*/ 310 h 320"/>
                <a:gd name="T26" fmla="*/ 108 w 194"/>
                <a:gd name="T27" fmla="*/ 37 h 320"/>
                <a:gd name="T28" fmla="*/ 175 w 194"/>
                <a:gd name="T29" fmla="*/ 104 h 320"/>
                <a:gd name="T30" fmla="*/ 182 w 194"/>
                <a:gd name="T31" fmla="*/ 107 h 320"/>
                <a:gd name="T32" fmla="*/ 190 w 194"/>
                <a:gd name="T33" fmla="*/ 104 h 320"/>
                <a:gd name="T34" fmla="*/ 190 w 194"/>
                <a:gd name="T35" fmla="*/ 8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320">
                  <a:moveTo>
                    <a:pt x="190" y="89"/>
                  </a:moveTo>
                  <a:cubicBezTo>
                    <a:pt x="105" y="3"/>
                    <a:pt x="105" y="3"/>
                    <a:pt x="105" y="3"/>
                  </a:cubicBezTo>
                  <a:cubicBezTo>
                    <a:pt x="104" y="2"/>
                    <a:pt x="102" y="2"/>
                    <a:pt x="101" y="1"/>
                  </a:cubicBezTo>
                  <a:cubicBezTo>
                    <a:pt x="98" y="0"/>
                    <a:pt x="96" y="0"/>
                    <a:pt x="93" y="1"/>
                  </a:cubicBezTo>
                  <a:cubicBezTo>
                    <a:pt x="92" y="2"/>
                    <a:pt x="90" y="2"/>
                    <a:pt x="89" y="3"/>
                  </a:cubicBezTo>
                  <a:cubicBezTo>
                    <a:pt x="4" y="89"/>
                    <a:pt x="4" y="89"/>
                    <a:pt x="4" y="89"/>
                  </a:cubicBezTo>
                  <a:cubicBezTo>
                    <a:pt x="0" y="93"/>
                    <a:pt x="0" y="100"/>
                    <a:pt x="4" y="104"/>
                  </a:cubicBezTo>
                  <a:cubicBezTo>
                    <a:pt x="6" y="106"/>
                    <a:pt x="9" y="107"/>
                    <a:pt x="12" y="107"/>
                  </a:cubicBezTo>
                  <a:cubicBezTo>
                    <a:pt x="14" y="107"/>
                    <a:pt x="17" y="106"/>
                    <a:pt x="19" y="104"/>
                  </a:cubicBezTo>
                  <a:cubicBezTo>
                    <a:pt x="86" y="37"/>
                    <a:pt x="86" y="37"/>
                    <a:pt x="86" y="37"/>
                  </a:cubicBezTo>
                  <a:cubicBezTo>
                    <a:pt x="86" y="310"/>
                    <a:pt x="86" y="310"/>
                    <a:pt x="86" y="310"/>
                  </a:cubicBezTo>
                  <a:cubicBezTo>
                    <a:pt x="86" y="316"/>
                    <a:pt x="91" y="320"/>
                    <a:pt x="97" y="320"/>
                  </a:cubicBezTo>
                  <a:cubicBezTo>
                    <a:pt x="103" y="320"/>
                    <a:pt x="108" y="316"/>
                    <a:pt x="108" y="310"/>
                  </a:cubicBezTo>
                  <a:cubicBezTo>
                    <a:pt x="108" y="37"/>
                    <a:pt x="108" y="37"/>
                    <a:pt x="108" y="37"/>
                  </a:cubicBezTo>
                  <a:cubicBezTo>
                    <a:pt x="175" y="104"/>
                    <a:pt x="175" y="104"/>
                    <a:pt x="175" y="104"/>
                  </a:cubicBezTo>
                  <a:cubicBezTo>
                    <a:pt x="177" y="106"/>
                    <a:pt x="180" y="107"/>
                    <a:pt x="182" y="107"/>
                  </a:cubicBezTo>
                  <a:cubicBezTo>
                    <a:pt x="185" y="107"/>
                    <a:pt x="188" y="106"/>
                    <a:pt x="190" y="104"/>
                  </a:cubicBezTo>
                  <a:cubicBezTo>
                    <a:pt x="194" y="100"/>
                    <a:pt x="194" y="93"/>
                    <a:pt x="190"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4" name="Freeform 118">
            <a:extLst>
              <a:ext uri="{FF2B5EF4-FFF2-40B4-BE49-F238E27FC236}">
                <a16:creationId xmlns:a16="http://schemas.microsoft.com/office/drawing/2014/main" id="{6E1D62D4-B3FE-4E3A-8D81-8AF86E6A9D03}"/>
              </a:ext>
            </a:extLst>
          </p:cNvPr>
          <p:cNvSpPr>
            <a:spLocks noChangeAspect="1" noEditPoints="1"/>
          </p:cNvSpPr>
          <p:nvPr/>
        </p:nvSpPr>
        <p:spPr bwMode="auto">
          <a:xfrm>
            <a:off x="10488439" y="1717387"/>
            <a:ext cx="368152"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3 h 512"/>
              <a:gd name="T14" fmla="*/ 397 w 512"/>
              <a:gd name="T15" fmla="*/ 370 h 512"/>
              <a:gd name="T16" fmla="*/ 256 w 512"/>
              <a:gd name="T17" fmla="*/ 228 h 512"/>
              <a:gd name="T18" fmla="*/ 114 w 512"/>
              <a:gd name="T19" fmla="*/ 370 h 512"/>
              <a:gd name="T20" fmla="*/ 99 w 512"/>
              <a:gd name="T21" fmla="*/ 370 h 512"/>
              <a:gd name="T22" fmla="*/ 99 w 512"/>
              <a:gd name="T23" fmla="*/ 355 h 512"/>
              <a:gd name="T24" fmla="*/ 248 w 512"/>
              <a:gd name="T25" fmla="*/ 205 h 512"/>
              <a:gd name="T26" fmla="*/ 263 w 512"/>
              <a:gd name="T27" fmla="*/ 205 h 512"/>
              <a:gd name="T28" fmla="*/ 413 w 512"/>
              <a:gd name="T29" fmla="*/ 355 h 512"/>
              <a:gd name="T30" fmla="*/ 413 w 512"/>
              <a:gd name="T31" fmla="*/ 370 h 512"/>
              <a:gd name="T32" fmla="*/ 413 w 512"/>
              <a:gd name="T33" fmla="*/ 263 h 512"/>
              <a:gd name="T34" fmla="*/ 405 w 512"/>
              <a:gd name="T35" fmla="*/ 266 h 512"/>
              <a:gd name="T36" fmla="*/ 397 w 512"/>
              <a:gd name="T37" fmla="*/ 263 h 512"/>
              <a:gd name="T38" fmla="*/ 256 w 512"/>
              <a:gd name="T39" fmla="*/ 121 h 512"/>
              <a:gd name="T40" fmla="*/ 114 w 512"/>
              <a:gd name="T41" fmla="*/ 263 h 512"/>
              <a:gd name="T42" fmla="*/ 99 w 512"/>
              <a:gd name="T43" fmla="*/ 263 h 512"/>
              <a:gd name="T44" fmla="*/ 99 w 512"/>
              <a:gd name="T45" fmla="*/ 248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370"/>
                </a:moveTo>
                <a:cubicBezTo>
                  <a:pt x="410" y="372"/>
                  <a:pt x="408" y="373"/>
                  <a:pt x="405" y="373"/>
                </a:cubicBezTo>
                <a:cubicBezTo>
                  <a:pt x="402" y="373"/>
                  <a:pt x="400" y="372"/>
                  <a:pt x="397" y="370"/>
                </a:cubicBezTo>
                <a:cubicBezTo>
                  <a:pt x="256" y="228"/>
                  <a:pt x="256" y="228"/>
                  <a:pt x="256" y="228"/>
                </a:cubicBezTo>
                <a:cubicBezTo>
                  <a:pt x="114" y="370"/>
                  <a:pt x="114" y="370"/>
                  <a:pt x="114" y="370"/>
                </a:cubicBezTo>
                <a:cubicBezTo>
                  <a:pt x="110" y="374"/>
                  <a:pt x="103" y="374"/>
                  <a:pt x="99" y="370"/>
                </a:cubicBezTo>
                <a:cubicBezTo>
                  <a:pt x="95" y="366"/>
                  <a:pt x="95" y="359"/>
                  <a:pt x="99" y="355"/>
                </a:cubicBezTo>
                <a:cubicBezTo>
                  <a:pt x="248" y="205"/>
                  <a:pt x="248" y="205"/>
                  <a:pt x="248" y="205"/>
                </a:cubicBezTo>
                <a:cubicBezTo>
                  <a:pt x="252" y="201"/>
                  <a:pt x="259" y="201"/>
                  <a:pt x="263" y="205"/>
                </a:cubicBezTo>
                <a:cubicBezTo>
                  <a:pt x="413" y="355"/>
                  <a:pt x="413" y="355"/>
                  <a:pt x="413" y="355"/>
                </a:cubicBezTo>
                <a:cubicBezTo>
                  <a:pt x="417" y="359"/>
                  <a:pt x="417" y="366"/>
                  <a:pt x="413" y="370"/>
                </a:cubicBezTo>
                <a:close/>
                <a:moveTo>
                  <a:pt x="413" y="263"/>
                </a:moveTo>
                <a:cubicBezTo>
                  <a:pt x="410" y="265"/>
                  <a:pt x="408" y="266"/>
                  <a:pt x="405" y="266"/>
                </a:cubicBezTo>
                <a:cubicBezTo>
                  <a:pt x="402" y="266"/>
                  <a:pt x="400" y="265"/>
                  <a:pt x="397" y="263"/>
                </a:cubicBezTo>
                <a:cubicBezTo>
                  <a:pt x="256" y="121"/>
                  <a:pt x="256" y="121"/>
                  <a:pt x="256" y="121"/>
                </a:cubicBezTo>
                <a:cubicBezTo>
                  <a:pt x="114" y="263"/>
                  <a:pt x="114" y="263"/>
                  <a:pt x="114" y="263"/>
                </a:cubicBezTo>
                <a:cubicBezTo>
                  <a:pt x="110" y="267"/>
                  <a:pt x="103" y="267"/>
                  <a:pt x="99" y="263"/>
                </a:cubicBezTo>
                <a:cubicBezTo>
                  <a:pt x="95" y="259"/>
                  <a:pt x="95" y="252"/>
                  <a:pt x="99" y="248"/>
                </a:cubicBezTo>
                <a:cubicBezTo>
                  <a:pt x="248" y="99"/>
                  <a:pt x="248" y="99"/>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5" name="Group 53">
            <a:extLst>
              <a:ext uri="{FF2B5EF4-FFF2-40B4-BE49-F238E27FC236}">
                <a16:creationId xmlns:a16="http://schemas.microsoft.com/office/drawing/2014/main" id="{C4481256-D8CF-4718-A3DF-067A165E8522}"/>
              </a:ext>
            </a:extLst>
          </p:cNvPr>
          <p:cNvGrpSpPr>
            <a:grpSpLocks noChangeAspect="1"/>
          </p:cNvGrpSpPr>
          <p:nvPr/>
        </p:nvGrpSpPr>
        <p:grpSpPr bwMode="auto">
          <a:xfrm>
            <a:off x="9624267" y="2511225"/>
            <a:ext cx="369676" cy="369676"/>
            <a:chOff x="3730" y="9"/>
            <a:chExt cx="340" cy="340"/>
          </a:xfrm>
          <a:solidFill>
            <a:schemeClr val="accent1"/>
          </a:solidFill>
        </p:grpSpPr>
        <p:sp>
          <p:nvSpPr>
            <p:cNvPr id="506" name="Freeform 54">
              <a:extLst>
                <a:ext uri="{FF2B5EF4-FFF2-40B4-BE49-F238E27FC236}">
                  <a16:creationId xmlns:a16="http://schemas.microsoft.com/office/drawing/2014/main" id="{0C9F14DF-3C79-4145-9004-33577216AE5F}"/>
                </a:ext>
              </a:extLst>
            </p:cNvPr>
            <p:cNvSpPr>
              <a:spLocks/>
            </p:cNvSpPr>
            <p:nvPr/>
          </p:nvSpPr>
          <p:spPr bwMode="auto">
            <a:xfrm>
              <a:off x="3793" y="115"/>
              <a:ext cx="214" cy="114"/>
            </a:xfrm>
            <a:custGeom>
              <a:avLst/>
              <a:gdLst>
                <a:gd name="T0" fmla="*/ 310 w 322"/>
                <a:gd name="T1" fmla="*/ 171 h 172"/>
                <a:gd name="T2" fmla="*/ 302 w 322"/>
                <a:gd name="T3" fmla="*/ 168 h 172"/>
                <a:gd name="T4" fmla="*/ 161 w 322"/>
                <a:gd name="T5" fmla="*/ 26 h 172"/>
                <a:gd name="T6" fmla="*/ 19 w 322"/>
                <a:gd name="T7" fmla="*/ 168 h 172"/>
                <a:gd name="T8" fmla="*/ 4 w 322"/>
                <a:gd name="T9" fmla="*/ 168 h 172"/>
                <a:gd name="T10" fmla="*/ 4 w 322"/>
                <a:gd name="T11" fmla="*/ 153 h 172"/>
                <a:gd name="T12" fmla="*/ 153 w 322"/>
                <a:gd name="T13" fmla="*/ 4 h 172"/>
                <a:gd name="T14" fmla="*/ 168 w 322"/>
                <a:gd name="T15" fmla="*/ 4 h 172"/>
                <a:gd name="T16" fmla="*/ 318 w 322"/>
                <a:gd name="T17" fmla="*/ 153 h 172"/>
                <a:gd name="T18" fmla="*/ 318 w 322"/>
                <a:gd name="T19" fmla="*/ 168 h 172"/>
                <a:gd name="T20" fmla="*/ 310 w 322"/>
                <a:gd name="T21" fmla="*/ 17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172">
                  <a:moveTo>
                    <a:pt x="310" y="171"/>
                  </a:moveTo>
                  <a:cubicBezTo>
                    <a:pt x="307" y="171"/>
                    <a:pt x="305" y="170"/>
                    <a:pt x="302" y="168"/>
                  </a:cubicBezTo>
                  <a:cubicBezTo>
                    <a:pt x="161" y="26"/>
                    <a:pt x="161" y="26"/>
                    <a:pt x="161" y="26"/>
                  </a:cubicBezTo>
                  <a:cubicBezTo>
                    <a:pt x="19" y="168"/>
                    <a:pt x="19" y="168"/>
                    <a:pt x="19" y="168"/>
                  </a:cubicBezTo>
                  <a:cubicBezTo>
                    <a:pt x="15" y="172"/>
                    <a:pt x="8" y="172"/>
                    <a:pt x="4" y="168"/>
                  </a:cubicBezTo>
                  <a:cubicBezTo>
                    <a:pt x="0" y="164"/>
                    <a:pt x="0" y="157"/>
                    <a:pt x="4" y="153"/>
                  </a:cubicBezTo>
                  <a:cubicBezTo>
                    <a:pt x="153" y="4"/>
                    <a:pt x="153" y="4"/>
                    <a:pt x="153" y="4"/>
                  </a:cubicBezTo>
                  <a:cubicBezTo>
                    <a:pt x="157" y="0"/>
                    <a:pt x="164" y="0"/>
                    <a:pt x="168" y="4"/>
                  </a:cubicBezTo>
                  <a:cubicBezTo>
                    <a:pt x="318" y="153"/>
                    <a:pt x="318" y="153"/>
                    <a:pt x="318" y="153"/>
                  </a:cubicBezTo>
                  <a:cubicBezTo>
                    <a:pt x="322" y="157"/>
                    <a:pt x="322" y="164"/>
                    <a:pt x="318" y="168"/>
                  </a:cubicBezTo>
                  <a:cubicBezTo>
                    <a:pt x="315" y="170"/>
                    <a:pt x="313" y="171"/>
                    <a:pt x="310"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7" name="Freeform 55">
              <a:extLst>
                <a:ext uri="{FF2B5EF4-FFF2-40B4-BE49-F238E27FC236}">
                  <a16:creationId xmlns:a16="http://schemas.microsoft.com/office/drawing/2014/main" id="{A4C30BA9-78FB-4AEF-BA80-3BE10B6403E7}"/>
                </a:ext>
              </a:extLst>
            </p:cNvPr>
            <p:cNvSpPr>
              <a:spLocks noEditPoints="1"/>
            </p:cNvSpPr>
            <p:nvPr/>
          </p:nvSpPr>
          <p:spPr bwMode="auto">
            <a:xfrm>
              <a:off x="3730" y="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8" name="Freeform 59">
            <a:extLst>
              <a:ext uri="{FF2B5EF4-FFF2-40B4-BE49-F238E27FC236}">
                <a16:creationId xmlns:a16="http://schemas.microsoft.com/office/drawing/2014/main" id="{6DECD375-C057-427C-A685-3081F0177E4D}"/>
              </a:ext>
            </a:extLst>
          </p:cNvPr>
          <p:cNvSpPr>
            <a:spLocks noChangeAspect="1" noEditPoints="1"/>
          </p:cNvSpPr>
          <p:nvPr/>
        </p:nvSpPr>
        <p:spPr bwMode="auto">
          <a:xfrm>
            <a:off x="9188399" y="251122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30 h 512"/>
              <a:gd name="T12" fmla="*/ 397 w 512"/>
              <a:gd name="T13" fmla="*/ 327 h 512"/>
              <a:gd name="T14" fmla="*/ 256 w 512"/>
              <a:gd name="T15" fmla="*/ 185 h 512"/>
              <a:gd name="T16" fmla="*/ 114 w 512"/>
              <a:gd name="T17" fmla="*/ 327 h 512"/>
              <a:gd name="T18" fmla="*/ 99 w 512"/>
              <a:gd name="T19" fmla="*/ 327 h 512"/>
              <a:gd name="T20" fmla="*/ 99 w 512"/>
              <a:gd name="T21" fmla="*/ 312 h 512"/>
              <a:gd name="T22" fmla="*/ 248 w 512"/>
              <a:gd name="T23" fmla="*/ 163 h 512"/>
              <a:gd name="T24" fmla="*/ 263 w 512"/>
              <a:gd name="T25" fmla="*/ 163 h 512"/>
              <a:gd name="T26" fmla="*/ 413 w 512"/>
              <a:gd name="T27" fmla="*/ 312 h 512"/>
              <a:gd name="T28" fmla="*/ 413 w 512"/>
              <a:gd name="T29" fmla="*/ 327 h 512"/>
              <a:gd name="T30" fmla="*/ 405 w 512"/>
              <a:gd name="T31"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30"/>
                </a:moveTo>
                <a:cubicBezTo>
                  <a:pt x="402" y="330"/>
                  <a:pt x="400" y="329"/>
                  <a:pt x="397" y="327"/>
                </a:cubicBezTo>
                <a:cubicBezTo>
                  <a:pt x="256" y="185"/>
                  <a:pt x="256" y="185"/>
                  <a:pt x="256" y="185"/>
                </a:cubicBezTo>
                <a:cubicBezTo>
                  <a:pt x="114" y="327"/>
                  <a:pt x="114" y="327"/>
                  <a:pt x="114" y="327"/>
                </a:cubicBezTo>
                <a:cubicBezTo>
                  <a:pt x="110" y="331"/>
                  <a:pt x="103" y="331"/>
                  <a:pt x="99" y="327"/>
                </a:cubicBezTo>
                <a:cubicBezTo>
                  <a:pt x="95" y="323"/>
                  <a:pt x="95" y="316"/>
                  <a:pt x="99" y="312"/>
                </a:cubicBezTo>
                <a:cubicBezTo>
                  <a:pt x="248" y="163"/>
                  <a:pt x="248" y="163"/>
                  <a:pt x="248" y="163"/>
                </a:cubicBezTo>
                <a:cubicBezTo>
                  <a:pt x="252" y="159"/>
                  <a:pt x="259" y="159"/>
                  <a:pt x="263" y="163"/>
                </a:cubicBezTo>
                <a:cubicBezTo>
                  <a:pt x="413" y="312"/>
                  <a:pt x="413" y="312"/>
                  <a:pt x="413" y="312"/>
                </a:cubicBezTo>
                <a:cubicBezTo>
                  <a:pt x="417" y="316"/>
                  <a:pt x="417" y="323"/>
                  <a:pt x="413" y="327"/>
                </a:cubicBezTo>
                <a:cubicBezTo>
                  <a:pt x="410" y="329"/>
                  <a:pt x="408" y="330"/>
                  <a:pt x="405" y="3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9" name="Group 62">
            <a:extLst>
              <a:ext uri="{FF2B5EF4-FFF2-40B4-BE49-F238E27FC236}">
                <a16:creationId xmlns:a16="http://schemas.microsoft.com/office/drawing/2014/main" id="{A69708BE-3171-490B-A6B6-6ADB9E6F7E98}"/>
              </a:ext>
            </a:extLst>
          </p:cNvPr>
          <p:cNvGrpSpPr>
            <a:grpSpLocks noChangeAspect="1"/>
          </p:cNvGrpSpPr>
          <p:nvPr/>
        </p:nvGrpSpPr>
        <p:grpSpPr bwMode="auto">
          <a:xfrm>
            <a:off x="8752531" y="2511225"/>
            <a:ext cx="369676" cy="369676"/>
            <a:chOff x="2980" y="0"/>
            <a:chExt cx="340" cy="340"/>
          </a:xfrm>
          <a:solidFill>
            <a:schemeClr val="accent1"/>
          </a:solidFill>
        </p:grpSpPr>
        <p:sp>
          <p:nvSpPr>
            <p:cNvPr id="510" name="Freeform 63">
              <a:extLst>
                <a:ext uri="{FF2B5EF4-FFF2-40B4-BE49-F238E27FC236}">
                  <a16:creationId xmlns:a16="http://schemas.microsoft.com/office/drawing/2014/main" id="{4F614AD1-9DE4-4B69-AAAC-B17A8B2E8813}"/>
                </a:ext>
              </a:extLst>
            </p:cNvPr>
            <p:cNvSpPr>
              <a:spLocks/>
            </p:cNvSpPr>
            <p:nvPr/>
          </p:nvSpPr>
          <p:spPr bwMode="auto">
            <a:xfrm>
              <a:off x="3071" y="191"/>
              <a:ext cx="157" cy="85"/>
            </a:xfrm>
            <a:custGeom>
              <a:avLst/>
              <a:gdLst>
                <a:gd name="T0" fmla="*/ 218 w 237"/>
                <a:gd name="T1" fmla="*/ 4 h 129"/>
                <a:gd name="T2" fmla="*/ 119 w 237"/>
                <a:gd name="T3" fmla="*/ 103 h 129"/>
                <a:gd name="T4" fmla="*/ 20 w 237"/>
                <a:gd name="T5" fmla="*/ 4 h 129"/>
                <a:gd name="T6" fmla="*/ 4 w 237"/>
                <a:gd name="T7" fmla="*/ 4 h 129"/>
                <a:gd name="T8" fmla="*/ 4 w 237"/>
                <a:gd name="T9" fmla="*/ 19 h 129"/>
                <a:gd name="T10" fmla="*/ 111 w 237"/>
                <a:gd name="T11" fmla="*/ 126 h 129"/>
                <a:gd name="T12" fmla="*/ 119 w 237"/>
                <a:gd name="T13" fmla="*/ 129 h 129"/>
                <a:gd name="T14" fmla="*/ 126 w 237"/>
                <a:gd name="T15" fmla="*/ 126 h 129"/>
                <a:gd name="T16" fmla="*/ 233 w 237"/>
                <a:gd name="T17" fmla="*/ 19 h 129"/>
                <a:gd name="T18" fmla="*/ 233 w 237"/>
                <a:gd name="T19" fmla="*/ 4 h 129"/>
                <a:gd name="T20" fmla="*/ 218 w 237"/>
                <a:gd name="T21" fmla="*/ 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29">
                  <a:moveTo>
                    <a:pt x="218" y="4"/>
                  </a:moveTo>
                  <a:cubicBezTo>
                    <a:pt x="119" y="103"/>
                    <a:pt x="119" y="103"/>
                    <a:pt x="119" y="103"/>
                  </a:cubicBezTo>
                  <a:cubicBezTo>
                    <a:pt x="20" y="4"/>
                    <a:pt x="20" y="4"/>
                    <a:pt x="20" y="4"/>
                  </a:cubicBezTo>
                  <a:cubicBezTo>
                    <a:pt x="15" y="0"/>
                    <a:pt x="9" y="0"/>
                    <a:pt x="4" y="4"/>
                  </a:cubicBezTo>
                  <a:cubicBezTo>
                    <a:pt x="0" y="8"/>
                    <a:pt x="0" y="15"/>
                    <a:pt x="4" y="19"/>
                  </a:cubicBezTo>
                  <a:cubicBezTo>
                    <a:pt x="111" y="126"/>
                    <a:pt x="111" y="126"/>
                    <a:pt x="111" y="126"/>
                  </a:cubicBezTo>
                  <a:cubicBezTo>
                    <a:pt x="113" y="128"/>
                    <a:pt x="116" y="129"/>
                    <a:pt x="119" y="129"/>
                  </a:cubicBezTo>
                  <a:cubicBezTo>
                    <a:pt x="121" y="129"/>
                    <a:pt x="124" y="128"/>
                    <a:pt x="126" y="126"/>
                  </a:cubicBezTo>
                  <a:cubicBezTo>
                    <a:pt x="233" y="19"/>
                    <a:pt x="233" y="19"/>
                    <a:pt x="233" y="19"/>
                  </a:cubicBezTo>
                  <a:cubicBezTo>
                    <a:pt x="237" y="15"/>
                    <a:pt x="237" y="8"/>
                    <a:pt x="233" y="4"/>
                  </a:cubicBezTo>
                  <a:cubicBezTo>
                    <a:pt x="229" y="0"/>
                    <a:pt x="222" y="0"/>
                    <a:pt x="2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1" name="Freeform 64">
              <a:extLst>
                <a:ext uri="{FF2B5EF4-FFF2-40B4-BE49-F238E27FC236}">
                  <a16:creationId xmlns:a16="http://schemas.microsoft.com/office/drawing/2014/main" id="{1F8F01AC-6A77-45FD-9CB1-F13999660D57}"/>
                </a:ext>
              </a:extLst>
            </p:cNvPr>
            <p:cNvSpPr>
              <a:spLocks/>
            </p:cNvSpPr>
            <p:nvPr/>
          </p:nvSpPr>
          <p:spPr bwMode="auto">
            <a:xfrm>
              <a:off x="3071" y="63"/>
              <a:ext cx="157" cy="86"/>
            </a:xfrm>
            <a:custGeom>
              <a:avLst/>
              <a:gdLst>
                <a:gd name="T0" fmla="*/ 20 w 237"/>
                <a:gd name="T1" fmla="*/ 126 h 130"/>
                <a:gd name="T2" fmla="*/ 119 w 237"/>
                <a:gd name="T3" fmla="*/ 26 h 130"/>
                <a:gd name="T4" fmla="*/ 218 w 237"/>
                <a:gd name="T5" fmla="*/ 126 h 130"/>
                <a:gd name="T6" fmla="*/ 225 w 237"/>
                <a:gd name="T7" fmla="*/ 129 h 130"/>
                <a:gd name="T8" fmla="*/ 233 w 237"/>
                <a:gd name="T9" fmla="*/ 126 h 130"/>
                <a:gd name="T10" fmla="*/ 233 w 237"/>
                <a:gd name="T11" fmla="*/ 110 h 130"/>
                <a:gd name="T12" fmla="*/ 126 w 237"/>
                <a:gd name="T13" fmla="*/ 4 h 130"/>
                <a:gd name="T14" fmla="*/ 111 w 237"/>
                <a:gd name="T15" fmla="*/ 4 h 130"/>
                <a:gd name="T16" fmla="*/ 4 w 237"/>
                <a:gd name="T17" fmla="*/ 110 h 130"/>
                <a:gd name="T18" fmla="*/ 4 w 237"/>
                <a:gd name="T19" fmla="*/ 126 h 130"/>
                <a:gd name="T20" fmla="*/ 20 w 237"/>
                <a:gd name="T21"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30">
                  <a:moveTo>
                    <a:pt x="20" y="126"/>
                  </a:moveTo>
                  <a:cubicBezTo>
                    <a:pt x="119" y="26"/>
                    <a:pt x="119" y="26"/>
                    <a:pt x="119" y="26"/>
                  </a:cubicBezTo>
                  <a:cubicBezTo>
                    <a:pt x="218" y="126"/>
                    <a:pt x="218" y="126"/>
                    <a:pt x="218" y="126"/>
                  </a:cubicBezTo>
                  <a:cubicBezTo>
                    <a:pt x="220" y="128"/>
                    <a:pt x="223" y="129"/>
                    <a:pt x="225" y="129"/>
                  </a:cubicBezTo>
                  <a:cubicBezTo>
                    <a:pt x="228" y="129"/>
                    <a:pt x="231" y="128"/>
                    <a:pt x="233" y="126"/>
                  </a:cubicBezTo>
                  <a:cubicBezTo>
                    <a:pt x="237" y="121"/>
                    <a:pt x="237" y="115"/>
                    <a:pt x="233" y="110"/>
                  </a:cubicBezTo>
                  <a:cubicBezTo>
                    <a:pt x="126" y="4"/>
                    <a:pt x="126" y="4"/>
                    <a:pt x="126" y="4"/>
                  </a:cubicBezTo>
                  <a:cubicBezTo>
                    <a:pt x="122" y="0"/>
                    <a:pt x="115" y="0"/>
                    <a:pt x="111" y="4"/>
                  </a:cubicBezTo>
                  <a:cubicBezTo>
                    <a:pt x="4" y="110"/>
                    <a:pt x="4" y="110"/>
                    <a:pt x="4" y="110"/>
                  </a:cubicBezTo>
                  <a:cubicBezTo>
                    <a:pt x="0" y="115"/>
                    <a:pt x="0" y="121"/>
                    <a:pt x="4" y="126"/>
                  </a:cubicBezTo>
                  <a:cubicBezTo>
                    <a:pt x="9" y="130"/>
                    <a:pt x="15" y="130"/>
                    <a:pt x="20" y="1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2" name="Freeform 65">
              <a:extLst>
                <a:ext uri="{FF2B5EF4-FFF2-40B4-BE49-F238E27FC236}">
                  <a16:creationId xmlns:a16="http://schemas.microsoft.com/office/drawing/2014/main" id="{FEE1A0DE-FF0C-4B07-A7D1-1294C009C487}"/>
                </a:ext>
              </a:extLst>
            </p:cNvPr>
            <p:cNvSpPr>
              <a:spLocks noEditPoints="1"/>
            </p:cNvSpPr>
            <p:nvPr/>
          </p:nvSpPr>
          <p:spPr bwMode="auto">
            <a:xfrm>
              <a:off x="2980" y="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3" name="Freeform 69">
            <a:extLst>
              <a:ext uri="{FF2B5EF4-FFF2-40B4-BE49-F238E27FC236}">
                <a16:creationId xmlns:a16="http://schemas.microsoft.com/office/drawing/2014/main" id="{63F38462-EE8B-4EF0-A609-B6D5AA4211F7}"/>
              </a:ext>
            </a:extLst>
          </p:cNvPr>
          <p:cNvSpPr>
            <a:spLocks noChangeAspect="1" noEditPoints="1"/>
          </p:cNvSpPr>
          <p:nvPr/>
        </p:nvSpPr>
        <p:spPr bwMode="auto">
          <a:xfrm>
            <a:off x="8316663" y="251122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06 h 512"/>
              <a:gd name="T12" fmla="*/ 263 w 512"/>
              <a:gd name="T13" fmla="*/ 413 h 512"/>
              <a:gd name="T14" fmla="*/ 256 w 512"/>
              <a:gd name="T15" fmla="*/ 416 h 512"/>
              <a:gd name="T16" fmla="*/ 248 w 512"/>
              <a:gd name="T17" fmla="*/ 413 h 512"/>
              <a:gd name="T18" fmla="*/ 141 w 512"/>
              <a:gd name="T19" fmla="*/ 306 h 512"/>
              <a:gd name="T20" fmla="*/ 141 w 512"/>
              <a:gd name="T21" fmla="*/ 291 h 512"/>
              <a:gd name="T22" fmla="*/ 157 w 512"/>
              <a:gd name="T23" fmla="*/ 291 h 512"/>
              <a:gd name="T24" fmla="*/ 256 w 512"/>
              <a:gd name="T25" fmla="*/ 390 h 512"/>
              <a:gd name="T26" fmla="*/ 355 w 512"/>
              <a:gd name="T27" fmla="*/ 291 h 512"/>
              <a:gd name="T28" fmla="*/ 370 w 512"/>
              <a:gd name="T29" fmla="*/ 291 h 512"/>
              <a:gd name="T30" fmla="*/ 370 w 512"/>
              <a:gd name="T31" fmla="*/ 306 h 512"/>
              <a:gd name="T32" fmla="*/ 370 w 512"/>
              <a:gd name="T33" fmla="*/ 221 h 512"/>
              <a:gd name="T34" fmla="*/ 362 w 512"/>
              <a:gd name="T35" fmla="*/ 224 h 512"/>
              <a:gd name="T36" fmla="*/ 355 w 512"/>
              <a:gd name="T37" fmla="*/ 221 h 512"/>
              <a:gd name="T38" fmla="*/ 256 w 512"/>
              <a:gd name="T39" fmla="*/ 121 h 512"/>
              <a:gd name="T40" fmla="*/ 157 w 512"/>
              <a:gd name="T41" fmla="*/ 221 h 512"/>
              <a:gd name="T42" fmla="*/ 141 w 512"/>
              <a:gd name="T43" fmla="*/ 221 h 512"/>
              <a:gd name="T44" fmla="*/ 141 w 512"/>
              <a:gd name="T45" fmla="*/ 205 h 512"/>
              <a:gd name="T46" fmla="*/ 248 w 512"/>
              <a:gd name="T47" fmla="*/ 99 h 512"/>
              <a:gd name="T48" fmla="*/ 263 w 512"/>
              <a:gd name="T49" fmla="*/ 99 h 512"/>
              <a:gd name="T50" fmla="*/ 370 w 512"/>
              <a:gd name="T51" fmla="*/ 205 h 512"/>
              <a:gd name="T52" fmla="*/ 370 w 512"/>
              <a:gd name="T53"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06"/>
                </a:moveTo>
                <a:cubicBezTo>
                  <a:pt x="263" y="413"/>
                  <a:pt x="263" y="413"/>
                  <a:pt x="263" y="413"/>
                </a:cubicBezTo>
                <a:cubicBezTo>
                  <a:pt x="261" y="415"/>
                  <a:pt x="258" y="416"/>
                  <a:pt x="256" y="416"/>
                </a:cubicBezTo>
                <a:cubicBezTo>
                  <a:pt x="253" y="416"/>
                  <a:pt x="250" y="415"/>
                  <a:pt x="248" y="413"/>
                </a:cubicBezTo>
                <a:cubicBezTo>
                  <a:pt x="141" y="306"/>
                  <a:pt x="141" y="306"/>
                  <a:pt x="141" y="306"/>
                </a:cubicBezTo>
                <a:cubicBezTo>
                  <a:pt x="137" y="302"/>
                  <a:pt x="137" y="295"/>
                  <a:pt x="141" y="291"/>
                </a:cubicBezTo>
                <a:cubicBezTo>
                  <a:pt x="146" y="287"/>
                  <a:pt x="152" y="287"/>
                  <a:pt x="157" y="291"/>
                </a:cubicBezTo>
                <a:cubicBezTo>
                  <a:pt x="256" y="390"/>
                  <a:pt x="256" y="390"/>
                  <a:pt x="256" y="390"/>
                </a:cubicBezTo>
                <a:cubicBezTo>
                  <a:pt x="355" y="291"/>
                  <a:pt x="355" y="291"/>
                  <a:pt x="355" y="291"/>
                </a:cubicBezTo>
                <a:cubicBezTo>
                  <a:pt x="359" y="287"/>
                  <a:pt x="366" y="287"/>
                  <a:pt x="370" y="291"/>
                </a:cubicBezTo>
                <a:cubicBezTo>
                  <a:pt x="374" y="295"/>
                  <a:pt x="374" y="302"/>
                  <a:pt x="370" y="306"/>
                </a:cubicBezTo>
                <a:close/>
                <a:moveTo>
                  <a:pt x="370" y="221"/>
                </a:moveTo>
                <a:cubicBezTo>
                  <a:pt x="368" y="223"/>
                  <a:pt x="365" y="224"/>
                  <a:pt x="362" y="224"/>
                </a:cubicBezTo>
                <a:cubicBezTo>
                  <a:pt x="360" y="224"/>
                  <a:pt x="357" y="223"/>
                  <a:pt x="355" y="221"/>
                </a:cubicBezTo>
                <a:cubicBezTo>
                  <a:pt x="256" y="121"/>
                  <a:pt x="256" y="121"/>
                  <a:pt x="256" y="121"/>
                </a:cubicBezTo>
                <a:cubicBezTo>
                  <a:pt x="157" y="221"/>
                  <a:pt x="157" y="221"/>
                  <a:pt x="157" y="221"/>
                </a:cubicBezTo>
                <a:cubicBezTo>
                  <a:pt x="152" y="225"/>
                  <a:pt x="146" y="225"/>
                  <a:pt x="141" y="221"/>
                </a:cubicBezTo>
                <a:cubicBezTo>
                  <a:pt x="137" y="216"/>
                  <a:pt x="137" y="210"/>
                  <a:pt x="141" y="205"/>
                </a:cubicBezTo>
                <a:cubicBezTo>
                  <a:pt x="248" y="99"/>
                  <a:pt x="248" y="99"/>
                  <a:pt x="248" y="99"/>
                </a:cubicBezTo>
                <a:cubicBezTo>
                  <a:pt x="252" y="95"/>
                  <a:pt x="259" y="95"/>
                  <a:pt x="263" y="99"/>
                </a:cubicBezTo>
                <a:cubicBezTo>
                  <a:pt x="370" y="205"/>
                  <a:pt x="370" y="205"/>
                  <a:pt x="370" y="205"/>
                </a:cubicBezTo>
                <a:cubicBezTo>
                  <a:pt x="374" y="210"/>
                  <a:pt x="374" y="216"/>
                  <a:pt x="370" y="22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4" name="Group 72">
            <a:extLst>
              <a:ext uri="{FF2B5EF4-FFF2-40B4-BE49-F238E27FC236}">
                <a16:creationId xmlns:a16="http://schemas.microsoft.com/office/drawing/2014/main" id="{888CCD79-81ED-49D3-88D4-A5C69F015D00}"/>
              </a:ext>
            </a:extLst>
          </p:cNvPr>
          <p:cNvGrpSpPr>
            <a:grpSpLocks noChangeAspect="1"/>
          </p:cNvGrpSpPr>
          <p:nvPr/>
        </p:nvGrpSpPr>
        <p:grpSpPr bwMode="auto">
          <a:xfrm>
            <a:off x="7880795" y="2511225"/>
            <a:ext cx="369676" cy="369676"/>
            <a:chOff x="2246" y="6"/>
            <a:chExt cx="340" cy="340"/>
          </a:xfrm>
          <a:solidFill>
            <a:schemeClr val="accent1"/>
          </a:solidFill>
        </p:grpSpPr>
        <p:sp>
          <p:nvSpPr>
            <p:cNvPr id="515" name="Freeform 73">
              <a:extLst>
                <a:ext uri="{FF2B5EF4-FFF2-40B4-BE49-F238E27FC236}">
                  <a16:creationId xmlns:a16="http://schemas.microsoft.com/office/drawing/2014/main" id="{A6961614-B015-45C0-A9E6-D20DA6585E74}"/>
                </a:ext>
              </a:extLst>
            </p:cNvPr>
            <p:cNvSpPr>
              <a:spLocks/>
            </p:cNvSpPr>
            <p:nvPr/>
          </p:nvSpPr>
          <p:spPr bwMode="auto">
            <a:xfrm>
              <a:off x="2437" y="97"/>
              <a:ext cx="86" cy="157"/>
            </a:xfrm>
            <a:custGeom>
              <a:avLst/>
              <a:gdLst>
                <a:gd name="T0" fmla="*/ 126 w 130"/>
                <a:gd name="T1" fmla="*/ 111 h 236"/>
                <a:gd name="T2" fmla="*/ 19 w 130"/>
                <a:gd name="T3" fmla="*/ 4 h 236"/>
                <a:gd name="T4" fmla="*/ 4 w 130"/>
                <a:gd name="T5" fmla="*/ 4 h 236"/>
                <a:gd name="T6" fmla="*/ 4 w 130"/>
                <a:gd name="T7" fmla="*/ 20 h 236"/>
                <a:gd name="T8" fmla="*/ 103 w 130"/>
                <a:gd name="T9" fmla="*/ 119 h 236"/>
                <a:gd name="T10" fmla="*/ 4 w 130"/>
                <a:gd name="T11" fmla="*/ 218 h 236"/>
                <a:gd name="T12" fmla="*/ 4 w 130"/>
                <a:gd name="T13" fmla="*/ 233 h 236"/>
                <a:gd name="T14" fmla="*/ 11 w 130"/>
                <a:gd name="T15" fmla="*/ 236 h 236"/>
                <a:gd name="T16" fmla="*/ 19 w 130"/>
                <a:gd name="T17" fmla="*/ 233 h 236"/>
                <a:gd name="T18" fmla="*/ 126 w 130"/>
                <a:gd name="T19" fmla="*/ 126 h 236"/>
                <a:gd name="T20" fmla="*/ 126 w 130"/>
                <a:gd name="T21" fmla="*/ 11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236">
                  <a:moveTo>
                    <a:pt x="126" y="111"/>
                  </a:moveTo>
                  <a:cubicBezTo>
                    <a:pt x="19" y="4"/>
                    <a:pt x="19" y="4"/>
                    <a:pt x="19" y="4"/>
                  </a:cubicBezTo>
                  <a:cubicBezTo>
                    <a:pt x="15" y="0"/>
                    <a:pt x="8" y="0"/>
                    <a:pt x="4" y="4"/>
                  </a:cubicBezTo>
                  <a:cubicBezTo>
                    <a:pt x="0" y="9"/>
                    <a:pt x="0" y="15"/>
                    <a:pt x="4" y="20"/>
                  </a:cubicBezTo>
                  <a:cubicBezTo>
                    <a:pt x="103" y="119"/>
                    <a:pt x="103" y="119"/>
                    <a:pt x="103" y="119"/>
                  </a:cubicBezTo>
                  <a:cubicBezTo>
                    <a:pt x="4" y="218"/>
                    <a:pt x="4" y="218"/>
                    <a:pt x="4" y="218"/>
                  </a:cubicBezTo>
                  <a:cubicBezTo>
                    <a:pt x="0" y="222"/>
                    <a:pt x="0" y="229"/>
                    <a:pt x="4" y="233"/>
                  </a:cubicBezTo>
                  <a:cubicBezTo>
                    <a:pt x="6" y="235"/>
                    <a:pt x="9" y="236"/>
                    <a:pt x="11" y="236"/>
                  </a:cubicBezTo>
                  <a:cubicBezTo>
                    <a:pt x="14" y="236"/>
                    <a:pt x="17" y="235"/>
                    <a:pt x="19" y="233"/>
                  </a:cubicBezTo>
                  <a:cubicBezTo>
                    <a:pt x="126" y="126"/>
                    <a:pt x="126" y="126"/>
                    <a:pt x="126" y="126"/>
                  </a:cubicBezTo>
                  <a:cubicBezTo>
                    <a:pt x="130" y="122"/>
                    <a:pt x="130" y="115"/>
                    <a:pt x="126" y="1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6" name="Freeform 74">
              <a:extLst>
                <a:ext uri="{FF2B5EF4-FFF2-40B4-BE49-F238E27FC236}">
                  <a16:creationId xmlns:a16="http://schemas.microsoft.com/office/drawing/2014/main" id="{16CCC0AE-9487-45EB-9EFA-F0AF5686E41D}"/>
                </a:ext>
              </a:extLst>
            </p:cNvPr>
            <p:cNvSpPr>
              <a:spLocks/>
            </p:cNvSpPr>
            <p:nvPr/>
          </p:nvSpPr>
          <p:spPr bwMode="auto">
            <a:xfrm>
              <a:off x="2309" y="97"/>
              <a:ext cx="86" cy="157"/>
            </a:xfrm>
            <a:custGeom>
              <a:avLst/>
              <a:gdLst>
                <a:gd name="T0" fmla="*/ 126 w 130"/>
                <a:gd name="T1" fmla="*/ 4 h 236"/>
                <a:gd name="T2" fmla="*/ 110 w 130"/>
                <a:gd name="T3" fmla="*/ 4 h 236"/>
                <a:gd name="T4" fmla="*/ 4 w 130"/>
                <a:gd name="T5" fmla="*/ 111 h 236"/>
                <a:gd name="T6" fmla="*/ 4 w 130"/>
                <a:gd name="T7" fmla="*/ 126 h 236"/>
                <a:gd name="T8" fmla="*/ 110 w 130"/>
                <a:gd name="T9" fmla="*/ 233 h 236"/>
                <a:gd name="T10" fmla="*/ 118 w 130"/>
                <a:gd name="T11" fmla="*/ 236 h 236"/>
                <a:gd name="T12" fmla="*/ 126 w 130"/>
                <a:gd name="T13" fmla="*/ 233 h 236"/>
                <a:gd name="T14" fmla="*/ 126 w 130"/>
                <a:gd name="T15" fmla="*/ 218 h 236"/>
                <a:gd name="T16" fmla="*/ 26 w 130"/>
                <a:gd name="T17" fmla="*/ 119 h 236"/>
                <a:gd name="T18" fmla="*/ 126 w 130"/>
                <a:gd name="T19" fmla="*/ 20 h 236"/>
                <a:gd name="T20" fmla="*/ 126 w 130"/>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236">
                  <a:moveTo>
                    <a:pt x="126" y="4"/>
                  </a:moveTo>
                  <a:cubicBezTo>
                    <a:pt x="121" y="0"/>
                    <a:pt x="115" y="0"/>
                    <a:pt x="110" y="4"/>
                  </a:cubicBezTo>
                  <a:cubicBezTo>
                    <a:pt x="4" y="111"/>
                    <a:pt x="4" y="111"/>
                    <a:pt x="4" y="111"/>
                  </a:cubicBezTo>
                  <a:cubicBezTo>
                    <a:pt x="0" y="115"/>
                    <a:pt x="0" y="122"/>
                    <a:pt x="4" y="126"/>
                  </a:cubicBezTo>
                  <a:cubicBezTo>
                    <a:pt x="110" y="233"/>
                    <a:pt x="110" y="233"/>
                    <a:pt x="110" y="233"/>
                  </a:cubicBezTo>
                  <a:cubicBezTo>
                    <a:pt x="113" y="235"/>
                    <a:pt x="115" y="236"/>
                    <a:pt x="118" y="236"/>
                  </a:cubicBezTo>
                  <a:cubicBezTo>
                    <a:pt x="121" y="236"/>
                    <a:pt x="123" y="235"/>
                    <a:pt x="126" y="233"/>
                  </a:cubicBezTo>
                  <a:cubicBezTo>
                    <a:pt x="130" y="229"/>
                    <a:pt x="130" y="222"/>
                    <a:pt x="126" y="218"/>
                  </a:cubicBezTo>
                  <a:cubicBezTo>
                    <a:pt x="26" y="119"/>
                    <a:pt x="26" y="119"/>
                    <a:pt x="26" y="119"/>
                  </a:cubicBezTo>
                  <a:cubicBezTo>
                    <a:pt x="126" y="20"/>
                    <a:pt x="126" y="20"/>
                    <a:pt x="126" y="20"/>
                  </a:cubicBezTo>
                  <a:cubicBezTo>
                    <a:pt x="130" y="15"/>
                    <a:pt x="130" y="9"/>
                    <a:pt x="12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75">
              <a:extLst>
                <a:ext uri="{FF2B5EF4-FFF2-40B4-BE49-F238E27FC236}">
                  <a16:creationId xmlns:a16="http://schemas.microsoft.com/office/drawing/2014/main" id="{1BA987DF-DE9B-4B39-82A3-5C21EA4DAAE2}"/>
                </a:ext>
              </a:extLst>
            </p:cNvPr>
            <p:cNvSpPr>
              <a:spLocks noEditPoints="1"/>
            </p:cNvSpPr>
            <p:nvPr/>
          </p:nvSpPr>
          <p:spPr bwMode="auto">
            <a:xfrm>
              <a:off x="2246"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8" name="Freeform 79">
            <a:extLst>
              <a:ext uri="{FF2B5EF4-FFF2-40B4-BE49-F238E27FC236}">
                <a16:creationId xmlns:a16="http://schemas.microsoft.com/office/drawing/2014/main" id="{106AD13D-758C-4208-952B-376C24C70BCD}"/>
              </a:ext>
            </a:extLst>
          </p:cNvPr>
          <p:cNvSpPr>
            <a:spLocks noChangeAspect="1" noEditPoints="1"/>
          </p:cNvSpPr>
          <p:nvPr/>
        </p:nvSpPr>
        <p:spPr bwMode="auto">
          <a:xfrm>
            <a:off x="7444927" y="251122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21 w 512"/>
              <a:gd name="T11" fmla="*/ 355 h 512"/>
              <a:gd name="T12" fmla="*/ 221 w 512"/>
              <a:gd name="T13" fmla="*/ 370 h 512"/>
              <a:gd name="T14" fmla="*/ 213 w 512"/>
              <a:gd name="T15" fmla="*/ 373 h 512"/>
              <a:gd name="T16" fmla="*/ 205 w 512"/>
              <a:gd name="T17" fmla="*/ 370 h 512"/>
              <a:gd name="T18" fmla="*/ 99 w 512"/>
              <a:gd name="T19" fmla="*/ 263 h 512"/>
              <a:gd name="T20" fmla="*/ 99 w 512"/>
              <a:gd name="T21" fmla="*/ 248 h 512"/>
              <a:gd name="T22" fmla="*/ 205 w 512"/>
              <a:gd name="T23" fmla="*/ 141 h 512"/>
              <a:gd name="T24" fmla="*/ 221 w 512"/>
              <a:gd name="T25" fmla="*/ 141 h 512"/>
              <a:gd name="T26" fmla="*/ 221 w 512"/>
              <a:gd name="T27" fmla="*/ 157 h 512"/>
              <a:gd name="T28" fmla="*/ 121 w 512"/>
              <a:gd name="T29" fmla="*/ 256 h 512"/>
              <a:gd name="T30" fmla="*/ 221 w 512"/>
              <a:gd name="T31" fmla="*/ 355 h 512"/>
              <a:gd name="T32" fmla="*/ 413 w 512"/>
              <a:gd name="T33" fmla="*/ 263 h 512"/>
              <a:gd name="T34" fmla="*/ 306 w 512"/>
              <a:gd name="T35" fmla="*/ 370 h 512"/>
              <a:gd name="T36" fmla="*/ 298 w 512"/>
              <a:gd name="T37" fmla="*/ 373 h 512"/>
              <a:gd name="T38" fmla="*/ 291 w 512"/>
              <a:gd name="T39" fmla="*/ 370 h 512"/>
              <a:gd name="T40" fmla="*/ 291 w 512"/>
              <a:gd name="T41" fmla="*/ 355 h 512"/>
              <a:gd name="T42" fmla="*/ 390 w 512"/>
              <a:gd name="T43" fmla="*/ 256 h 512"/>
              <a:gd name="T44" fmla="*/ 291 w 512"/>
              <a:gd name="T45" fmla="*/ 157 h 512"/>
              <a:gd name="T46" fmla="*/ 291 w 512"/>
              <a:gd name="T47" fmla="*/ 141 h 512"/>
              <a:gd name="T48" fmla="*/ 306 w 512"/>
              <a:gd name="T49" fmla="*/ 141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1" y="355"/>
                </a:moveTo>
                <a:cubicBezTo>
                  <a:pt x="225" y="359"/>
                  <a:pt x="225" y="366"/>
                  <a:pt x="221" y="370"/>
                </a:cubicBezTo>
                <a:cubicBezTo>
                  <a:pt x="218" y="372"/>
                  <a:pt x="216" y="373"/>
                  <a:pt x="213" y="373"/>
                </a:cubicBezTo>
                <a:cubicBezTo>
                  <a:pt x="210" y="373"/>
                  <a:pt x="208" y="372"/>
                  <a:pt x="205" y="370"/>
                </a:cubicBezTo>
                <a:cubicBezTo>
                  <a:pt x="99" y="263"/>
                  <a:pt x="99" y="263"/>
                  <a:pt x="99" y="263"/>
                </a:cubicBezTo>
                <a:cubicBezTo>
                  <a:pt x="95" y="259"/>
                  <a:pt x="95" y="252"/>
                  <a:pt x="99" y="248"/>
                </a:cubicBezTo>
                <a:cubicBezTo>
                  <a:pt x="205" y="141"/>
                  <a:pt x="205" y="141"/>
                  <a:pt x="205" y="141"/>
                </a:cubicBezTo>
                <a:cubicBezTo>
                  <a:pt x="210" y="137"/>
                  <a:pt x="216" y="137"/>
                  <a:pt x="221" y="141"/>
                </a:cubicBezTo>
                <a:cubicBezTo>
                  <a:pt x="225" y="146"/>
                  <a:pt x="225" y="152"/>
                  <a:pt x="221" y="157"/>
                </a:cubicBezTo>
                <a:cubicBezTo>
                  <a:pt x="121" y="256"/>
                  <a:pt x="121" y="256"/>
                  <a:pt x="121" y="256"/>
                </a:cubicBezTo>
                <a:lnTo>
                  <a:pt x="221" y="355"/>
                </a:lnTo>
                <a:close/>
                <a:moveTo>
                  <a:pt x="413" y="263"/>
                </a:moveTo>
                <a:cubicBezTo>
                  <a:pt x="306" y="370"/>
                  <a:pt x="306" y="370"/>
                  <a:pt x="306" y="370"/>
                </a:cubicBezTo>
                <a:cubicBezTo>
                  <a:pt x="304" y="372"/>
                  <a:pt x="301" y="373"/>
                  <a:pt x="298" y="373"/>
                </a:cubicBezTo>
                <a:cubicBezTo>
                  <a:pt x="296" y="373"/>
                  <a:pt x="293" y="372"/>
                  <a:pt x="291" y="370"/>
                </a:cubicBezTo>
                <a:cubicBezTo>
                  <a:pt x="287" y="366"/>
                  <a:pt x="287" y="359"/>
                  <a:pt x="291" y="355"/>
                </a:cubicBezTo>
                <a:cubicBezTo>
                  <a:pt x="390" y="256"/>
                  <a:pt x="390" y="256"/>
                  <a:pt x="390" y="256"/>
                </a:cubicBezTo>
                <a:cubicBezTo>
                  <a:pt x="291" y="157"/>
                  <a:pt x="291" y="157"/>
                  <a:pt x="291" y="157"/>
                </a:cubicBezTo>
                <a:cubicBezTo>
                  <a:pt x="287" y="152"/>
                  <a:pt x="287" y="146"/>
                  <a:pt x="291" y="141"/>
                </a:cubicBezTo>
                <a:cubicBezTo>
                  <a:pt x="295" y="137"/>
                  <a:pt x="302" y="137"/>
                  <a:pt x="306" y="141"/>
                </a:cubicBezTo>
                <a:cubicBezTo>
                  <a:pt x="413" y="248"/>
                  <a:pt x="413" y="248"/>
                  <a:pt x="413" y="248"/>
                </a:cubicBezTo>
                <a:cubicBezTo>
                  <a:pt x="417" y="252"/>
                  <a:pt x="417" y="259"/>
                  <a:pt x="413" y="2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9" name="Group 82">
            <a:extLst>
              <a:ext uri="{FF2B5EF4-FFF2-40B4-BE49-F238E27FC236}">
                <a16:creationId xmlns:a16="http://schemas.microsoft.com/office/drawing/2014/main" id="{22D8708E-B33B-473D-BD05-57A04A1FB9DF}"/>
              </a:ext>
            </a:extLst>
          </p:cNvPr>
          <p:cNvGrpSpPr>
            <a:grpSpLocks noChangeAspect="1"/>
          </p:cNvGrpSpPr>
          <p:nvPr/>
        </p:nvGrpSpPr>
        <p:grpSpPr bwMode="auto">
          <a:xfrm>
            <a:off x="7009059" y="2511225"/>
            <a:ext cx="369676" cy="369676"/>
            <a:chOff x="1539" y="0"/>
            <a:chExt cx="340" cy="340"/>
          </a:xfrm>
          <a:solidFill>
            <a:schemeClr val="accent1"/>
          </a:solidFill>
        </p:grpSpPr>
        <p:sp>
          <p:nvSpPr>
            <p:cNvPr id="520" name="Freeform 83">
              <a:extLst>
                <a:ext uri="{FF2B5EF4-FFF2-40B4-BE49-F238E27FC236}">
                  <a16:creationId xmlns:a16="http://schemas.microsoft.com/office/drawing/2014/main" id="{64834C4E-4A16-4D5C-944E-3E4D51DEC449}"/>
                </a:ext>
              </a:extLst>
            </p:cNvPr>
            <p:cNvSpPr>
              <a:spLocks/>
            </p:cNvSpPr>
            <p:nvPr/>
          </p:nvSpPr>
          <p:spPr bwMode="auto">
            <a:xfrm>
              <a:off x="1659" y="63"/>
              <a:ext cx="114" cy="213"/>
            </a:xfrm>
            <a:custGeom>
              <a:avLst/>
              <a:gdLst>
                <a:gd name="T0" fmla="*/ 12 w 173"/>
                <a:gd name="T1" fmla="*/ 321 h 321"/>
                <a:gd name="T2" fmla="*/ 4 w 173"/>
                <a:gd name="T3" fmla="*/ 318 h 321"/>
                <a:gd name="T4" fmla="*/ 4 w 173"/>
                <a:gd name="T5" fmla="*/ 302 h 321"/>
                <a:gd name="T6" fmla="*/ 146 w 173"/>
                <a:gd name="T7" fmla="*/ 161 h 321"/>
                <a:gd name="T8" fmla="*/ 4 w 173"/>
                <a:gd name="T9" fmla="*/ 19 h 321"/>
                <a:gd name="T10" fmla="*/ 4 w 173"/>
                <a:gd name="T11" fmla="*/ 4 h 321"/>
                <a:gd name="T12" fmla="*/ 19 w 173"/>
                <a:gd name="T13" fmla="*/ 4 h 321"/>
                <a:gd name="T14" fmla="*/ 169 w 173"/>
                <a:gd name="T15" fmla="*/ 153 h 321"/>
                <a:gd name="T16" fmla="*/ 169 w 173"/>
                <a:gd name="T17" fmla="*/ 168 h 321"/>
                <a:gd name="T18" fmla="*/ 19 w 173"/>
                <a:gd name="T19" fmla="*/ 318 h 321"/>
                <a:gd name="T20" fmla="*/ 12 w 173"/>
                <a:gd name="T21"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321">
                  <a:moveTo>
                    <a:pt x="12" y="321"/>
                  </a:moveTo>
                  <a:cubicBezTo>
                    <a:pt x="9" y="321"/>
                    <a:pt x="6" y="320"/>
                    <a:pt x="4" y="318"/>
                  </a:cubicBezTo>
                  <a:cubicBezTo>
                    <a:pt x="0" y="313"/>
                    <a:pt x="0" y="307"/>
                    <a:pt x="4" y="302"/>
                  </a:cubicBezTo>
                  <a:cubicBezTo>
                    <a:pt x="146" y="161"/>
                    <a:pt x="146" y="161"/>
                    <a:pt x="146" y="161"/>
                  </a:cubicBezTo>
                  <a:cubicBezTo>
                    <a:pt x="4" y="19"/>
                    <a:pt x="4" y="19"/>
                    <a:pt x="4" y="19"/>
                  </a:cubicBezTo>
                  <a:cubicBezTo>
                    <a:pt x="0" y="15"/>
                    <a:pt x="0" y="8"/>
                    <a:pt x="4" y="4"/>
                  </a:cubicBezTo>
                  <a:cubicBezTo>
                    <a:pt x="8" y="0"/>
                    <a:pt x="15" y="0"/>
                    <a:pt x="19" y="4"/>
                  </a:cubicBezTo>
                  <a:cubicBezTo>
                    <a:pt x="169" y="153"/>
                    <a:pt x="169" y="153"/>
                    <a:pt x="169" y="153"/>
                  </a:cubicBezTo>
                  <a:cubicBezTo>
                    <a:pt x="173" y="157"/>
                    <a:pt x="173" y="164"/>
                    <a:pt x="169" y="168"/>
                  </a:cubicBezTo>
                  <a:cubicBezTo>
                    <a:pt x="19" y="318"/>
                    <a:pt x="19" y="318"/>
                    <a:pt x="19" y="318"/>
                  </a:cubicBezTo>
                  <a:cubicBezTo>
                    <a:pt x="17" y="320"/>
                    <a:pt x="14" y="321"/>
                    <a:pt x="12" y="3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84">
              <a:extLst>
                <a:ext uri="{FF2B5EF4-FFF2-40B4-BE49-F238E27FC236}">
                  <a16:creationId xmlns:a16="http://schemas.microsoft.com/office/drawing/2014/main" id="{68FC8794-FC25-49EE-BE0B-5A7240F9E6A3}"/>
                </a:ext>
              </a:extLst>
            </p:cNvPr>
            <p:cNvSpPr>
              <a:spLocks noEditPoints="1"/>
            </p:cNvSpPr>
            <p:nvPr/>
          </p:nvSpPr>
          <p:spPr bwMode="auto">
            <a:xfrm>
              <a:off x="1539" y="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2" name="Freeform 88">
            <a:extLst>
              <a:ext uri="{FF2B5EF4-FFF2-40B4-BE49-F238E27FC236}">
                <a16:creationId xmlns:a16="http://schemas.microsoft.com/office/drawing/2014/main" id="{409A6F1E-9B19-4C19-A6DC-693A44A6F163}"/>
              </a:ext>
            </a:extLst>
          </p:cNvPr>
          <p:cNvSpPr>
            <a:spLocks noChangeAspect="1" noEditPoints="1"/>
          </p:cNvSpPr>
          <p:nvPr/>
        </p:nvSpPr>
        <p:spPr bwMode="auto">
          <a:xfrm>
            <a:off x="6573191" y="251122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3" name="Group 91">
            <a:extLst>
              <a:ext uri="{FF2B5EF4-FFF2-40B4-BE49-F238E27FC236}">
                <a16:creationId xmlns:a16="http://schemas.microsoft.com/office/drawing/2014/main" id="{2888CE97-17AA-4971-8D3E-F59DEBF7DABC}"/>
              </a:ext>
            </a:extLst>
          </p:cNvPr>
          <p:cNvGrpSpPr>
            <a:grpSpLocks noChangeAspect="1"/>
          </p:cNvGrpSpPr>
          <p:nvPr/>
        </p:nvGrpSpPr>
        <p:grpSpPr bwMode="auto">
          <a:xfrm>
            <a:off x="6137323" y="2511225"/>
            <a:ext cx="369676" cy="369676"/>
            <a:chOff x="805" y="6"/>
            <a:chExt cx="340" cy="340"/>
          </a:xfrm>
          <a:solidFill>
            <a:schemeClr val="accent1"/>
          </a:solidFill>
        </p:grpSpPr>
        <p:sp>
          <p:nvSpPr>
            <p:cNvPr id="534" name="Freeform 328">
              <a:extLst>
                <a:ext uri="{FF2B5EF4-FFF2-40B4-BE49-F238E27FC236}">
                  <a16:creationId xmlns:a16="http://schemas.microsoft.com/office/drawing/2014/main" id="{C4E46CBC-EBFA-4F0F-B164-8B5D3C48DFC1}"/>
                </a:ext>
              </a:extLst>
            </p:cNvPr>
            <p:cNvSpPr>
              <a:spLocks/>
            </p:cNvSpPr>
            <p:nvPr/>
          </p:nvSpPr>
          <p:spPr bwMode="auto">
            <a:xfrm>
              <a:off x="911" y="69"/>
              <a:ext cx="114" cy="213"/>
            </a:xfrm>
            <a:custGeom>
              <a:avLst/>
              <a:gdLst>
                <a:gd name="T0" fmla="*/ 161 w 172"/>
                <a:gd name="T1" fmla="*/ 321 h 321"/>
                <a:gd name="T2" fmla="*/ 153 w 172"/>
                <a:gd name="T3" fmla="*/ 318 h 321"/>
                <a:gd name="T4" fmla="*/ 4 w 172"/>
                <a:gd name="T5" fmla="*/ 168 h 321"/>
                <a:gd name="T6" fmla="*/ 4 w 172"/>
                <a:gd name="T7" fmla="*/ 153 h 321"/>
                <a:gd name="T8" fmla="*/ 153 w 172"/>
                <a:gd name="T9" fmla="*/ 4 h 321"/>
                <a:gd name="T10" fmla="*/ 168 w 172"/>
                <a:gd name="T11" fmla="*/ 4 h 321"/>
                <a:gd name="T12" fmla="*/ 168 w 172"/>
                <a:gd name="T13" fmla="*/ 19 h 321"/>
                <a:gd name="T14" fmla="*/ 26 w 172"/>
                <a:gd name="T15" fmla="*/ 161 h 321"/>
                <a:gd name="T16" fmla="*/ 168 w 172"/>
                <a:gd name="T17" fmla="*/ 302 h 321"/>
                <a:gd name="T18" fmla="*/ 168 w 172"/>
                <a:gd name="T19" fmla="*/ 318 h 321"/>
                <a:gd name="T20" fmla="*/ 161 w 172"/>
                <a:gd name="T21"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 h="321">
                  <a:moveTo>
                    <a:pt x="161" y="321"/>
                  </a:moveTo>
                  <a:cubicBezTo>
                    <a:pt x="158" y="321"/>
                    <a:pt x="155" y="320"/>
                    <a:pt x="153" y="318"/>
                  </a:cubicBezTo>
                  <a:cubicBezTo>
                    <a:pt x="4" y="168"/>
                    <a:pt x="4" y="168"/>
                    <a:pt x="4" y="168"/>
                  </a:cubicBezTo>
                  <a:cubicBezTo>
                    <a:pt x="0" y="164"/>
                    <a:pt x="0" y="157"/>
                    <a:pt x="4" y="153"/>
                  </a:cubicBezTo>
                  <a:cubicBezTo>
                    <a:pt x="153" y="4"/>
                    <a:pt x="153" y="4"/>
                    <a:pt x="153" y="4"/>
                  </a:cubicBezTo>
                  <a:cubicBezTo>
                    <a:pt x="157" y="0"/>
                    <a:pt x="164" y="0"/>
                    <a:pt x="168" y="4"/>
                  </a:cubicBezTo>
                  <a:cubicBezTo>
                    <a:pt x="172" y="8"/>
                    <a:pt x="172" y="15"/>
                    <a:pt x="168" y="19"/>
                  </a:cubicBezTo>
                  <a:cubicBezTo>
                    <a:pt x="26" y="161"/>
                    <a:pt x="26" y="161"/>
                    <a:pt x="26" y="161"/>
                  </a:cubicBezTo>
                  <a:cubicBezTo>
                    <a:pt x="168" y="302"/>
                    <a:pt x="168" y="302"/>
                    <a:pt x="168" y="302"/>
                  </a:cubicBezTo>
                  <a:cubicBezTo>
                    <a:pt x="172" y="307"/>
                    <a:pt x="172" y="313"/>
                    <a:pt x="168" y="318"/>
                  </a:cubicBezTo>
                  <a:cubicBezTo>
                    <a:pt x="166" y="320"/>
                    <a:pt x="163" y="321"/>
                    <a:pt x="161" y="3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5" name="Freeform 329">
              <a:extLst>
                <a:ext uri="{FF2B5EF4-FFF2-40B4-BE49-F238E27FC236}">
                  <a16:creationId xmlns:a16="http://schemas.microsoft.com/office/drawing/2014/main" id="{79F2C521-1547-4FAE-8E2A-7061F2268466}"/>
                </a:ext>
              </a:extLst>
            </p:cNvPr>
            <p:cNvSpPr>
              <a:spLocks noEditPoints="1"/>
            </p:cNvSpPr>
            <p:nvPr/>
          </p:nvSpPr>
          <p:spPr bwMode="auto">
            <a:xfrm>
              <a:off x="80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6" name="Freeform 97">
            <a:extLst>
              <a:ext uri="{FF2B5EF4-FFF2-40B4-BE49-F238E27FC236}">
                <a16:creationId xmlns:a16="http://schemas.microsoft.com/office/drawing/2014/main" id="{B88A9040-C429-421E-87E3-68EA2F7C3F09}"/>
              </a:ext>
            </a:extLst>
          </p:cNvPr>
          <p:cNvSpPr>
            <a:spLocks noChangeAspect="1" noEditPoints="1"/>
          </p:cNvSpPr>
          <p:nvPr/>
        </p:nvSpPr>
        <p:spPr bwMode="auto">
          <a:xfrm>
            <a:off x="5701455" y="2511225"/>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7 w 512"/>
              <a:gd name="T11" fmla="*/ 397 h 512"/>
              <a:gd name="T12" fmla="*/ 327 w 512"/>
              <a:gd name="T13" fmla="*/ 413 h 512"/>
              <a:gd name="T14" fmla="*/ 320 w 512"/>
              <a:gd name="T15" fmla="*/ 416 h 512"/>
              <a:gd name="T16" fmla="*/ 312 w 512"/>
              <a:gd name="T17" fmla="*/ 413 h 512"/>
              <a:gd name="T18" fmla="*/ 163 w 512"/>
              <a:gd name="T19" fmla="*/ 263 h 512"/>
              <a:gd name="T20" fmla="*/ 163 w 512"/>
              <a:gd name="T21" fmla="*/ 248 h 512"/>
              <a:gd name="T22" fmla="*/ 312 w 512"/>
              <a:gd name="T23" fmla="*/ 99 h 512"/>
              <a:gd name="T24" fmla="*/ 327 w 512"/>
              <a:gd name="T25" fmla="*/ 99 h 512"/>
              <a:gd name="T26" fmla="*/ 327 w 512"/>
              <a:gd name="T27" fmla="*/ 114 h 512"/>
              <a:gd name="T28" fmla="*/ 185 w 512"/>
              <a:gd name="T29" fmla="*/ 256 h 512"/>
              <a:gd name="T30" fmla="*/ 327 w 512"/>
              <a:gd name="T31"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7" y="397"/>
                </a:moveTo>
                <a:cubicBezTo>
                  <a:pt x="331" y="402"/>
                  <a:pt x="331" y="408"/>
                  <a:pt x="327" y="413"/>
                </a:cubicBezTo>
                <a:cubicBezTo>
                  <a:pt x="325" y="415"/>
                  <a:pt x="322" y="416"/>
                  <a:pt x="320" y="416"/>
                </a:cubicBezTo>
                <a:cubicBezTo>
                  <a:pt x="317" y="416"/>
                  <a:pt x="314" y="415"/>
                  <a:pt x="312" y="413"/>
                </a:cubicBezTo>
                <a:cubicBezTo>
                  <a:pt x="163" y="263"/>
                  <a:pt x="163" y="263"/>
                  <a:pt x="163" y="263"/>
                </a:cubicBezTo>
                <a:cubicBezTo>
                  <a:pt x="159" y="259"/>
                  <a:pt x="159" y="252"/>
                  <a:pt x="163" y="248"/>
                </a:cubicBezTo>
                <a:cubicBezTo>
                  <a:pt x="312" y="99"/>
                  <a:pt x="312" y="99"/>
                  <a:pt x="312" y="99"/>
                </a:cubicBezTo>
                <a:cubicBezTo>
                  <a:pt x="316" y="95"/>
                  <a:pt x="323" y="95"/>
                  <a:pt x="327" y="99"/>
                </a:cubicBezTo>
                <a:cubicBezTo>
                  <a:pt x="331" y="103"/>
                  <a:pt x="331" y="110"/>
                  <a:pt x="327" y="114"/>
                </a:cubicBezTo>
                <a:cubicBezTo>
                  <a:pt x="185" y="256"/>
                  <a:pt x="185" y="256"/>
                  <a:pt x="185" y="256"/>
                </a:cubicBezTo>
                <a:lnTo>
                  <a:pt x="327" y="39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37" name="Freeform 383">
            <a:extLst>
              <a:ext uri="{FF2B5EF4-FFF2-40B4-BE49-F238E27FC236}">
                <a16:creationId xmlns:a16="http://schemas.microsoft.com/office/drawing/2014/main" id="{2A78A547-4056-4D1B-B7A8-F90FA21E9CC0}"/>
              </a:ext>
            </a:extLst>
          </p:cNvPr>
          <p:cNvSpPr>
            <a:spLocks noChangeAspect="1" noEditPoints="1"/>
          </p:cNvSpPr>
          <p:nvPr/>
        </p:nvSpPr>
        <p:spPr bwMode="auto">
          <a:xfrm>
            <a:off x="10927681" y="251122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1 w 512"/>
              <a:gd name="T11" fmla="*/ 231 h 512"/>
              <a:gd name="T12" fmla="*/ 224 w 512"/>
              <a:gd name="T13" fmla="*/ 234 h 512"/>
              <a:gd name="T14" fmla="*/ 216 w 512"/>
              <a:gd name="T15" fmla="*/ 231 h 512"/>
              <a:gd name="T16" fmla="*/ 160 w 512"/>
              <a:gd name="T17" fmla="*/ 175 h 512"/>
              <a:gd name="T18" fmla="*/ 160 w 512"/>
              <a:gd name="T19" fmla="*/ 213 h 512"/>
              <a:gd name="T20" fmla="*/ 149 w 512"/>
              <a:gd name="T21" fmla="*/ 224 h 512"/>
              <a:gd name="T22" fmla="*/ 138 w 512"/>
              <a:gd name="T23" fmla="*/ 213 h 512"/>
              <a:gd name="T24" fmla="*/ 138 w 512"/>
              <a:gd name="T25" fmla="*/ 149 h 512"/>
              <a:gd name="T26" fmla="*/ 145 w 512"/>
              <a:gd name="T27" fmla="*/ 139 h 512"/>
              <a:gd name="T28" fmla="*/ 149 w 512"/>
              <a:gd name="T29" fmla="*/ 138 h 512"/>
              <a:gd name="T30" fmla="*/ 213 w 512"/>
              <a:gd name="T31" fmla="*/ 138 h 512"/>
              <a:gd name="T32" fmla="*/ 224 w 512"/>
              <a:gd name="T33" fmla="*/ 149 h 512"/>
              <a:gd name="T34" fmla="*/ 213 w 512"/>
              <a:gd name="T35" fmla="*/ 160 h 512"/>
              <a:gd name="T36" fmla="*/ 175 w 512"/>
              <a:gd name="T37" fmla="*/ 160 h 512"/>
              <a:gd name="T38" fmla="*/ 231 w 512"/>
              <a:gd name="T39" fmla="*/ 216 h 512"/>
              <a:gd name="T40" fmla="*/ 231 w 512"/>
              <a:gd name="T41" fmla="*/ 231 h 512"/>
              <a:gd name="T42" fmla="*/ 373 w 512"/>
              <a:gd name="T43" fmla="*/ 362 h 512"/>
              <a:gd name="T44" fmla="*/ 366 w 512"/>
              <a:gd name="T45" fmla="*/ 372 h 512"/>
              <a:gd name="T46" fmla="*/ 362 w 512"/>
              <a:gd name="T47" fmla="*/ 373 h 512"/>
              <a:gd name="T48" fmla="*/ 298 w 512"/>
              <a:gd name="T49" fmla="*/ 373 h 512"/>
              <a:gd name="T50" fmla="*/ 288 w 512"/>
              <a:gd name="T51" fmla="*/ 362 h 512"/>
              <a:gd name="T52" fmla="*/ 298 w 512"/>
              <a:gd name="T53" fmla="*/ 352 h 512"/>
              <a:gd name="T54" fmla="*/ 337 w 512"/>
              <a:gd name="T55" fmla="*/ 352 h 512"/>
              <a:gd name="T56" fmla="*/ 280 w 512"/>
              <a:gd name="T57" fmla="*/ 295 h 512"/>
              <a:gd name="T58" fmla="*/ 280 w 512"/>
              <a:gd name="T59" fmla="*/ 280 h 512"/>
              <a:gd name="T60" fmla="*/ 288 w 512"/>
              <a:gd name="T61" fmla="*/ 277 h 512"/>
              <a:gd name="T62" fmla="*/ 295 w 512"/>
              <a:gd name="T63" fmla="*/ 280 h 512"/>
              <a:gd name="T64" fmla="*/ 352 w 512"/>
              <a:gd name="T65" fmla="*/ 337 h 512"/>
              <a:gd name="T66" fmla="*/ 352 w 512"/>
              <a:gd name="T67" fmla="*/ 298 h 512"/>
              <a:gd name="T68" fmla="*/ 362 w 512"/>
              <a:gd name="T69" fmla="*/ 288 h 512"/>
              <a:gd name="T70" fmla="*/ 373 w 512"/>
              <a:gd name="T71" fmla="*/ 298 h 512"/>
              <a:gd name="T72" fmla="*/ 373 w 512"/>
              <a:gd name="T7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231"/>
                </a:moveTo>
                <a:cubicBezTo>
                  <a:pt x="229" y="233"/>
                  <a:pt x="226" y="234"/>
                  <a:pt x="224" y="234"/>
                </a:cubicBezTo>
                <a:cubicBezTo>
                  <a:pt x="221" y="234"/>
                  <a:pt x="218" y="233"/>
                  <a:pt x="216" y="231"/>
                </a:cubicBezTo>
                <a:cubicBezTo>
                  <a:pt x="160" y="175"/>
                  <a:pt x="160" y="175"/>
                  <a:pt x="160" y="175"/>
                </a:cubicBezTo>
                <a:cubicBezTo>
                  <a:pt x="160" y="213"/>
                  <a:pt x="160" y="213"/>
                  <a:pt x="160" y="213"/>
                </a:cubicBezTo>
                <a:cubicBezTo>
                  <a:pt x="160" y="219"/>
                  <a:pt x="155" y="224"/>
                  <a:pt x="149" y="224"/>
                </a:cubicBezTo>
                <a:cubicBezTo>
                  <a:pt x="143" y="224"/>
                  <a:pt x="138" y="219"/>
                  <a:pt x="138" y="213"/>
                </a:cubicBezTo>
                <a:cubicBezTo>
                  <a:pt x="138" y="149"/>
                  <a:pt x="138" y="149"/>
                  <a:pt x="138" y="149"/>
                </a:cubicBezTo>
                <a:cubicBezTo>
                  <a:pt x="138" y="145"/>
                  <a:pt x="141" y="141"/>
                  <a:pt x="145" y="139"/>
                </a:cubicBezTo>
                <a:cubicBezTo>
                  <a:pt x="146" y="139"/>
                  <a:pt x="148" y="138"/>
                  <a:pt x="149" y="138"/>
                </a:cubicBezTo>
                <a:cubicBezTo>
                  <a:pt x="213" y="138"/>
                  <a:pt x="213" y="138"/>
                  <a:pt x="213" y="138"/>
                </a:cubicBezTo>
                <a:cubicBezTo>
                  <a:pt x="219" y="138"/>
                  <a:pt x="224" y="143"/>
                  <a:pt x="224" y="149"/>
                </a:cubicBezTo>
                <a:cubicBezTo>
                  <a:pt x="224" y="155"/>
                  <a:pt x="219" y="160"/>
                  <a:pt x="213" y="160"/>
                </a:cubicBezTo>
                <a:cubicBezTo>
                  <a:pt x="175" y="160"/>
                  <a:pt x="175" y="160"/>
                  <a:pt x="175" y="160"/>
                </a:cubicBezTo>
                <a:cubicBezTo>
                  <a:pt x="231" y="216"/>
                  <a:pt x="231" y="216"/>
                  <a:pt x="231" y="216"/>
                </a:cubicBezTo>
                <a:cubicBezTo>
                  <a:pt x="235" y="220"/>
                  <a:pt x="235" y="227"/>
                  <a:pt x="231" y="231"/>
                </a:cubicBezTo>
                <a:close/>
                <a:moveTo>
                  <a:pt x="373" y="362"/>
                </a:moveTo>
                <a:cubicBezTo>
                  <a:pt x="373" y="367"/>
                  <a:pt x="370" y="371"/>
                  <a:pt x="366" y="372"/>
                </a:cubicBezTo>
                <a:cubicBezTo>
                  <a:pt x="365" y="373"/>
                  <a:pt x="364" y="373"/>
                  <a:pt x="362" y="373"/>
                </a:cubicBezTo>
                <a:cubicBezTo>
                  <a:pt x="298" y="373"/>
                  <a:pt x="298" y="373"/>
                  <a:pt x="298" y="373"/>
                </a:cubicBezTo>
                <a:cubicBezTo>
                  <a:pt x="292" y="373"/>
                  <a:pt x="288" y="368"/>
                  <a:pt x="288" y="362"/>
                </a:cubicBezTo>
                <a:cubicBezTo>
                  <a:pt x="288" y="356"/>
                  <a:pt x="292" y="352"/>
                  <a:pt x="298" y="352"/>
                </a:cubicBezTo>
                <a:cubicBezTo>
                  <a:pt x="337" y="352"/>
                  <a:pt x="337" y="352"/>
                  <a:pt x="337" y="352"/>
                </a:cubicBezTo>
                <a:cubicBezTo>
                  <a:pt x="280" y="295"/>
                  <a:pt x="280" y="295"/>
                  <a:pt x="280" y="295"/>
                </a:cubicBezTo>
                <a:cubicBezTo>
                  <a:pt x="276" y="291"/>
                  <a:pt x="276" y="284"/>
                  <a:pt x="280" y="280"/>
                </a:cubicBezTo>
                <a:cubicBezTo>
                  <a:pt x="282" y="278"/>
                  <a:pt x="285" y="277"/>
                  <a:pt x="288" y="277"/>
                </a:cubicBezTo>
                <a:cubicBezTo>
                  <a:pt x="290" y="277"/>
                  <a:pt x="293" y="278"/>
                  <a:pt x="295" y="280"/>
                </a:cubicBezTo>
                <a:cubicBezTo>
                  <a:pt x="352" y="337"/>
                  <a:pt x="352" y="337"/>
                  <a:pt x="352" y="337"/>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8" name="Group 386">
            <a:extLst>
              <a:ext uri="{FF2B5EF4-FFF2-40B4-BE49-F238E27FC236}">
                <a16:creationId xmlns:a16="http://schemas.microsoft.com/office/drawing/2014/main" id="{A65E73CB-2A5E-4E15-9AF3-3CAA43B2FE07}"/>
              </a:ext>
            </a:extLst>
          </p:cNvPr>
          <p:cNvGrpSpPr>
            <a:grpSpLocks noChangeAspect="1"/>
          </p:cNvGrpSpPr>
          <p:nvPr/>
        </p:nvGrpSpPr>
        <p:grpSpPr bwMode="auto">
          <a:xfrm>
            <a:off x="11360905" y="2511225"/>
            <a:ext cx="367041" cy="367041"/>
            <a:chOff x="1863" y="1867"/>
            <a:chExt cx="340" cy="340"/>
          </a:xfrm>
          <a:solidFill>
            <a:schemeClr val="accent5"/>
          </a:solidFill>
        </p:grpSpPr>
        <p:sp>
          <p:nvSpPr>
            <p:cNvPr id="539" name="Freeform 387">
              <a:extLst>
                <a:ext uri="{FF2B5EF4-FFF2-40B4-BE49-F238E27FC236}">
                  <a16:creationId xmlns:a16="http://schemas.microsoft.com/office/drawing/2014/main" id="{A164DDC0-4C39-4FD8-A644-45F21788A802}"/>
                </a:ext>
              </a:extLst>
            </p:cNvPr>
            <p:cNvSpPr>
              <a:spLocks noEditPoints="1"/>
            </p:cNvSpPr>
            <p:nvPr/>
          </p:nvSpPr>
          <p:spPr bwMode="auto">
            <a:xfrm>
              <a:off x="1863" y="18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0" name="Freeform 388">
              <a:extLst>
                <a:ext uri="{FF2B5EF4-FFF2-40B4-BE49-F238E27FC236}">
                  <a16:creationId xmlns:a16="http://schemas.microsoft.com/office/drawing/2014/main" id="{8E6566D1-F168-425B-8C06-B92C4BA2B497}"/>
                </a:ext>
              </a:extLst>
            </p:cNvPr>
            <p:cNvSpPr>
              <a:spLocks noEditPoints="1"/>
            </p:cNvSpPr>
            <p:nvPr/>
          </p:nvSpPr>
          <p:spPr bwMode="auto">
            <a:xfrm>
              <a:off x="1955" y="1959"/>
              <a:ext cx="156" cy="156"/>
            </a:xfrm>
            <a:custGeom>
              <a:avLst/>
              <a:gdLst>
                <a:gd name="T0" fmla="*/ 235 w 235"/>
                <a:gd name="T1" fmla="*/ 160 h 235"/>
                <a:gd name="T2" fmla="*/ 235 w 235"/>
                <a:gd name="T3" fmla="*/ 224 h 235"/>
                <a:gd name="T4" fmla="*/ 228 w 235"/>
                <a:gd name="T5" fmla="*/ 234 h 235"/>
                <a:gd name="T6" fmla="*/ 224 w 235"/>
                <a:gd name="T7" fmla="*/ 235 h 235"/>
                <a:gd name="T8" fmla="*/ 160 w 235"/>
                <a:gd name="T9" fmla="*/ 235 h 235"/>
                <a:gd name="T10" fmla="*/ 150 w 235"/>
                <a:gd name="T11" fmla="*/ 224 h 235"/>
                <a:gd name="T12" fmla="*/ 160 w 235"/>
                <a:gd name="T13" fmla="*/ 214 h 235"/>
                <a:gd name="T14" fmla="*/ 199 w 235"/>
                <a:gd name="T15" fmla="*/ 214 h 235"/>
                <a:gd name="T16" fmla="*/ 142 w 235"/>
                <a:gd name="T17" fmla="*/ 157 h 235"/>
                <a:gd name="T18" fmla="*/ 142 w 235"/>
                <a:gd name="T19" fmla="*/ 142 h 235"/>
                <a:gd name="T20" fmla="*/ 150 w 235"/>
                <a:gd name="T21" fmla="*/ 139 h 235"/>
                <a:gd name="T22" fmla="*/ 157 w 235"/>
                <a:gd name="T23" fmla="*/ 142 h 235"/>
                <a:gd name="T24" fmla="*/ 214 w 235"/>
                <a:gd name="T25" fmla="*/ 199 h 235"/>
                <a:gd name="T26" fmla="*/ 214 w 235"/>
                <a:gd name="T27" fmla="*/ 160 h 235"/>
                <a:gd name="T28" fmla="*/ 224 w 235"/>
                <a:gd name="T29" fmla="*/ 150 h 235"/>
                <a:gd name="T30" fmla="*/ 235 w 235"/>
                <a:gd name="T31" fmla="*/ 160 h 235"/>
                <a:gd name="T32" fmla="*/ 37 w 235"/>
                <a:gd name="T33" fmla="*/ 22 h 235"/>
                <a:gd name="T34" fmla="*/ 75 w 235"/>
                <a:gd name="T35" fmla="*/ 22 h 235"/>
                <a:gd name="T36" fmla="*/ 86 w 235"/>
                <a:gd name="T37" fmla="*/ 11 h 235"/>
                <a:gd name="T38" fmla="*/ 75 w 235"/>
                <a:gd name="T39" fmla="*/ 0 h 235"/>
                <a:gd name="T40" fmla="*/ 11 w 235"/>
                <a:gd name="T41" fmla="*/ 0 h 235"/>
                <a:gd name="T42" fmla="*/ 7 w 235"/>
                <a:gd name="T43" fmla="*/ 1 h 235"/>
                <a:gd name="T44" fmla="*/ 0 w 235"/>
                <a:gd name="T45" fmla="*/ 11 h 235"/>
                <a:gd name="T46" fmla="*/ 0 w 235"/>
                <a:gd name="T47" fmla="*/ 75 h 235"/>
                <a:gd name="T48" fmla="*/ 11 w 235"/>
                <a:gd name="T49" fmla="*/ 86 h 235"/>
                <a:gd name="T50" fmla="*/ 22 w 235"/>
                <a:gd name="T51" fmla="*/ 75 h 235"/>
                <a:gd name="T52" fmla="*/ 22 w 235"/>
                <a:gd name="T53" fmla="*/ 37 h 235"/>
                <a:gd name="T54" fmla="*/ 78 w 235"/>
                <a:gd name="T55" fmla="*/ 93 h 235"/>
                <a:gd name="T56" fmla="*/ 86 w 235"/>
                <a:gd name="T57" fmla="*/ 96 h 235"/>
                <a:gd name="T58" fmla="*/ 93 w 235"/>
                <a:gd name="T59" fmla="*/ 93 h 235"/>
                <a:gd name="T60" fmla="*/ 93 w 235"/>
                <a:gd name="T61" fmla="*/ 78 h 235"/>
                <a:gd name="T62" fmla="*/ 37 w 235"/>
                <a:gd name="T63"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5" h="235">
                  <a:moveTo>
                    <a:pt x="235" y="160"/>
                  </a:moveTo>
                  <a:cubicBezTo>
                    <a:pt x="235" y="224"/>
                    <a:pt x="235" y="224"/>
                    <a:pt x="235" y="224"/>
                  </a:cubicBezTo>
                  <a:cubicBezTo>
                    <a:pt x="235" y="229"/>
                    <a:pt x="232" y="233"/>
                    <a:pt x="228" y="234"/>
                  </a:cubicBezTo>
                  <a:cubicBezTo>
                    <a:pt x="227" y="235"/>
                    <a:pt x="226" y="235"/>
                    <a:pt x="224" y="235"/>
                  </a:cubicBezTo>
                  <a:cubicBezTo>
                    <a:pt x="160" y="235"/>
                    <a:pt x="160" y="235"/>
                    <a:pt x="160" y="235"/>
                  </a:cubicBezTo>
                  <a:cubicBezTo>
                    <a:pt x="154" y="235"/>
                    <a:pt x="150" y="230"/>
                    <a:pt x="150" y="224"/>
                  </a:cubicBezTo>
                  <a:cubicBezTo>
                    <a:pt x="150" y="218"/>
                    <a:pt x="154" y="214"/>
                    <a:pt x="160" y="214"/>
                  </a:cubicBezTo>
                  <a:cubicBezTo>
                    <a:pt x="199" y="214"/>
                    <a:pt x="199" y="214"/>
                    <a:pt x="199" y="214"/>
                  </a:cubicBezTo>
                  <a:cubicBezTo>
                    <a:pt x="142" y="157"/>
                    <a:pt x="142" y="157"/>
                    <a:pt x="142" y="157"/>
                  </a:cubicBezTo>
                  <a:cubicBezTo>
                    <a:pt x="138" y="153"/>
                    <a:pt x="138" y="146"/>
                    <a:pt x="142" y="142"/>
                  </a:cubicBezTo>
                  <a:cubicBezTo>
                    <a:pt x="144" y="140"/>
                    <a:pt x="147" y="139"/>
                    <a:pt x="150" y="139"/>
                  </a:cubicBezTo>
                  <a:cubicBezTo>
                    <a:pt x="152" y="139"/>
                    <a:pt x="155" y="140"/>
                    <a:pt x="157" y="142"/>
                  </a:cubicBezTo>
                  <a:cubicBezTo>
                    <a:pt x="214" y="199"/>
                    <a:pt x="214" y="199"/>
                    <a:pt x="214" y="199"/>
                  </a:cubicBezTo>
                  <a:cubicBezTo>
                    <a:pt x="214" y="160"/>
                    <a:pt x="214" y="160"/>
                    <a:pt x="214" y="160"/>
                  </a:cubicBezTo>
                  <a:cubicBezTo>
                    <a:pt x="214" y="154"/>
                    <a:pt x="218" y="150"/>
                    <a:pt x="224" y="150"/>
                  </a:cubicBezTo>
                  <a:cubicBezTo>
                    <a:pt x="230" y="150"/>
                    <a:pt x="235" y="154"/>
                    <a:pt x="235" y="160"/>
                  </a:cubicBezTo>
                  <a:close/>
                  <a:moveTo>
                    <a:pt x="37" y="22"/>
                  </a:moveTo>
                  <a:cubicBezTo>
                    <a:pt x="75" y="22"/>
                    <a:pt x="75" y="22"/>
                    <a:pt x="75" y="22"/>
                  </a:cubicBezTo>
                  <a:cubicBezTo>
                    <a:pt x="81" y="22"/>
                    <a:pt x="86" y="17"/>
                    <a:pt x="86" y="11"/>
                  </a:cubicBezTo>
                  <a:cubicBezTo>
                    <a:pt x="86" y="5"/>
                    <a:pt x="81" y="0"/>
                    <a:pt x="75" y="0"/>
                  </a:cubicBezTo>
                  <a:cubicBezTo>
                    <a:pt x="11" y="0"/>
                    <a:pt x="11" y="0"/>
                    <a:pt x="11" y="0"/>
                  </a:cubicBezTo>
                  <a:cubicBezTo>
                    <a:pt x="10" y="0"/>
                    <a:pt x="8" y="1"/>
                    <a:pt x="7" y="1"/>
                  </a:cubicBezTo>
                  <a:cubicBezTo>
                    <a:pt x="3" y="3"/>
                    <a:pt x="0" y="7"/>
                    <a:pt x="0" y="11"/>
                  </a:cubicBezTo>
                  <a:cubicBezTo>
                    <a:pt x="0" y="75"/>
                    <a:pt x="0" y="75"/>
                    <a:pt x="0" y="75"/>
                  </a:cubicBezTo>
                  <a:cubicBezTo>
                    <a:pt x="0" y="81"/>
                    <a:pt x="5" y="86"/>
                    <a:pt x="11" y="86"/>
                  </a:cubicBezTo>
                  <a:cubicBezTo>
                    <a:pt x="17" y="86"/>
                    <a:pt x="22" y="81"/>
                    <a:pt x="22" y="75"/>
                  </a:cubicBezTo>
                  <a:cubicBezTo>
                    <a:pt x="22" y="37"/>
                    <a:pt x="22" y="37"/>
                    <a:pt x="22" y="37"/>
                  </a:cubicBezTo>
                  <a:cubicBezTo>
                    <a:pt x="78" y="93"/>
                    <a:pt x="78" y="93"/>
                    <a:pt x="78" y="93"/>
                  </a:cubicBezTo>
                  <a:cubicBezTo>
                    <a:pt x="80" y="95"/>
                    <a:pt x="83" y="96"/>
                    <a:pt x="86" y="96"/>
                  </a:cubicBezTo>
                  <a:cubicBezTo>
                    <a:pt x="88" y="96"/>
                    <a:pt x="91" y="95"/>
                    <a:pt x="93" y="93"/>
                  </a:cubicBezTo>
                  <a:cubicBezTo>
                    <a:pt x="97" y="89"/>
                    <a:pt x="97" y="82"/>
                    <a:pt x="93" y="78"/>
                  </a:cubicBezTo>
                  <a:lnTo>
                    <a:pt x="37"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1" name="Freeform 392">
            <a:extLst>
              <a:ext uri="{FF2B5EF4-FFF2-40B4-BE49-F238E27FC236}">
                <a16:creationId xmlns:a16="http://schemas.microsoft.com/office/drawing/2014/main" id="{4E0B7638-0570-4482-BF60-B8B7924C7066}"/>
              </a:ext>
            </a:extLst>
          </p:cNvPr>
          <p:cNvSpPr>
            <a:spLocks noChangeAspect="1" noEditPoints="1"/>
          </p:cNvSpPr>
          <p:nvPr/>
        </p:nvSpPr>
        <p:spPr bwMode="auto">
          <a:xfrm>
            <a:off x="464676" y="330489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6 w 512"/>
              <a:gd name="T11" fmla="*/ 370 h 512"/>
              <a:gd name="T12" fmla="*/ 263 w 512"/>
              <a:gd name="T13" fmla="*/ 413 h 512"/>
              <a:gd name="T14" fmla="*/ 256 w 512"/>
              <a:gd name="T15" fmla="*/ 416 h 512"/>
              <a:gd name="T16" fmla="*/ 248 w 512"/>
              <a:gd name="T17" fmla="*/ 413 h 512"/>
              <a:gd name="T18" fmla="*/ 205 w 512"/>
              <a:gd name="T19" fmla="*/ 370 h 512"/>
              <a:gd name="T20" fmla="*/ 205 w 512"/>
              <a:gd name="T21" fmla="*/ 355 h 512"/>
              <a:gd name="T22" fmla="*/ 221 w 512"/>
              <a:gd name="T23" fmla="*/ 355 h 512"/>
              <a:gd name="T24" fmla="*/ 245 w 512"/>
              <a:gd name="T25" fmla="*/ 379 h 512"/>
              <a:gd name="T26" fmla="*/ 245 w 512"/>
              <a:gd name="T27" fmla="*/ 298 h 512"/>
              <a:gd name="T28" fmla="*/ 256 w 512"/>
              <a:gd name="T29" fmla="*/ 288 h 512"/>
              <a:gd name="T30" fmla="*/ 266 w 512"/>
              <a:gd name="T31" fmla="*/ 298 h 512"/>
              <a:gd name="T32" fmla="*/ 266 w 512"/>
              <a:gd name="T33" fmla="*/ 379 h 512"/>
              <a:gd name="T34" fmla="*/ 291 w 512"/>
              <a:gd name="T35" fmla="*/ 355 h 512"/>
              <a:gd name="T36" fmla="*/ 306 w 512"/>
              <a:gd name="T37" fmla="*/ 355 h 512"/>
              <a:gd name="T38" fmla="*/ 306 w 512"/>
              <a:gd name="T39" fmla="*/ 370 h 512"/>
              <a:gd name="T40" fmla="*/ 306 w 512"/>
              <a:gd name="T41" fmla="*/ 157 h 512"/>
              <a:gd name="T42" fmla="*/ 298 w 512"/>
              <a:gd name="T43" fmla="*/ 160 h 512"/>
              <a:gd name="T44" fmla="*/ 291 w 512"/>
              <a:gd name="T45" fmla="*/ 157 h 512"/>
              <a:gd name="T46" fmla="*/ 266 w 512"/>
              <a:gd name="T47" fmla="*/ 132 h 512"/>
              <a:gd name="T48" fmla="*/ 266 w 512"/>
              <a:gd name="T49" fmla="*/ 213 h 512"/>
              <a:gd name="T50" fmla="*/ 256 w 512"/>
              <a:gd name="T51" fmla="*/ 224 h 512"/>
              <a:gd name="T52" fmla="*/ 245 w 512"/>
              <a:gd name="T53" fmla="*/ 213 h 512"/>
              <a:gd name="T54" fmla="*/ 245 w 512"/>
              <a:gd name="T55" fmla="*/ 132 h 512"/>
              <a:gd name="T56" fmla="*/ 221 w 512"/>
              <a:gd name="T57" fmla="*/ 157 h 512"/>
              <a:gd name="T58" fmla="*/ 205 w 512"/>
              <a:gd name="T59" fmla="*/ 157 h 512"/>
              <a:gd name="T60" fmla="*/ 205 w 512"/>
              <a:gd name="T61" fmla="*/ 141 h 512"/>
              <a:gd name="T62" fmla="*/ 248 w 512"/>
              <a:gd name="T63" fmla="*/ 99 h 512"/>
              <a:gd name="T64" fmla="*/ 263 w 512"/>
              <a:gd name="T65" fmla="*/ 99 h 512"/>
              <a:gd name="T66" fmla="*/ 306 w 512"/>
              <a:gd name="T67" fmla="*/ 141 h 512"/>
              <a:gd name="T68" fmla="*/ 306 w 512"/>
              <a:gd name="T69"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6" y="370"/>
                </a:moveTo>
                <a:cubicBezTo>
                  <a:pt x="263" y="413"/>
                  <a:pt x="263" y="413"/>
                  <a:pt x="263" y="413"/>
                </a:cubicBezTo>
                <a:cubicBezTo>
                  <a:pt x="261" y="415"/>
                  <a:pt x="258" y="416"/>
                  <a:pt x="256" y="416"/>
                </a:cubicBezTo>
                <a:cubicBezTo>
                  <a:pt x="253" y="416"/>
                  <a:pt x="250" y="415"/>
                  <a:pt x="248" y="413"/>
                </a:cubicBezTo>
                <a:cubicBezTo>
                  <a:pt x="205" y="370"/>
                  <a:pt x="205" y="370"/>
                  <a:pt x="205" y="370"/>
                </a:cubicBezTo>
                <a:cubicBezTo>
                  <a:pt x="201" y="366"/>
                  <a:pt x="201" y="359"/>
                  <a:pt x="205" y="355"/>
                </a:cubicBezTo>
                <a:cubicBezTo>
                  <a:pt x="210" y="351"/>
                  <a:pt x="216" y="351"/>
                  <a:pt x="221" y="355"/>
                </a:cubicBezTo>
                <a:cubicBezTo>
                  <a:pt x="245" y="379"/>
                  <a:pt x="245" y="379"/>
                  <a:pt x="245" y="379"/>
                </a:cubicBezTo>
                <a:cubicBezTo>
                  <a:pt x="245" y="298"/>
                  <a:pt x="245" y="298"/>
                  <a:pt x="245" y="298"/>
                </a:cubicBezTo>
                <a:cubicBezTo>
                  <a:pt x="245" y="292"/>
                  <a:pt x="250" y="288"/>
                  <a:pt x="256" y="288"/>
                </a:cubicBezTo>
                <a:cubicBezTo>
                  <a:pt x="262" y="288"/>
                  <a:pt x="266" y="292"/>
                  <a:pt x="266" y="298"/>
                </a:cubicBezTo>
                <a:cubicBezTo>
                  <a:pt x="266" y="379"/>
                  <a:pt x="266" y="379"/>
                  <a:pt x="266" y="379"/>
                </a:cubicBezTo>
                <a:cubicBezTo>
                  <a:pt x="291" y="355"/>
                  <a:pt x="291" y="355"/>
                  <a:pt x="291" y="355"/>
                </a:cubicBezTo>
                <a:cubicBezTo>
                  <a:pt x="295" y="351"/>
                  <a:pt x="302" y="351"/>
                  <a:pt x="306" y="355"/>
                </a:cubicBezTo>
                <a:cubicBezTo>
                  <a:pt x="310" y="359"/>
                  <a:pt x="310" y="366"/>
                  <a:pt x="306" y="370"/>
                </a:cubicBezTo>
                <a:close/>
                <a:moveTo>
                  <a:pt x="306" y="157"/>
                </a:moveTo>
                <a:cubicBezTo>
                  <a:pt x="304" y="159"/>
                  <a:pt x="301" y="160"/>
                  <a:pt x="298" y="160"/>
                </a:cubicBezTo>
                <a:cubicBezTo>
                  <a:pt x="296" y="160"/>
                  <a:pt x="293" y="159"/>
                  <a:pt x="291" y="157"/>
                </a:cubicBezTo>
                <a:cubicBezTo>
                  <a:pt x="266" y="132"/>
                  <a:pt x="266" y="132"/>
                  <a:pt x="266" y="132"/>
                </a:cubicBezTo>
                <a:cubicBezTo>
                  <a:pt x="266" y="213"/>
                  <a:pt x="266" y="213"/>
                  <a:pt x="266" y="213"/>
                </a:cubicBezTo>
                <a:cubicBezTo>
                  <a:pt x="266" y="219"/>
                  <a:pt x="262" y="224"/>
                  <a:pt x="256" y="224"/>
                </a:cubicBezTo>
                <a:cubicBezTo>
                  <a:pt x="250" y="224"/>
                  <a:pt x="245" y="219"/>
                  <a:pt x="245" y="213"/>
                </a:cubicBezTo>
                <a:cubicBezTo>
                  <a:pt x="245" y="132"/>
                  <a:pt x="245" y="132"/>
                  <a:pt x="245" y="132"/>
                </a:cubicBezTo>
                <a:cubicBezTo>
                  <a:pt x="221" y="157"/>
                  <a:pt x="221" y="157"/>
                  <a:pt x="221" y="157"/>
                </a:cubicBezTo>
                <a:cubicBezTo>
                  <a:pt x="216" y="161"/>
                  <a:pt x="210" y="161"/>
                  <a:pt x="205" y="157"/>
                </a:cubicBezTo>
                <a:cubicBezTo>
                  <a:pt x="201" y="152"/>
                  <a:pt x="201" y="146"/>
                  <a:pt x="205" y="141"/>
                </a:cubicBezTo>
                <a:cubicBezTo>
                  <a:pt x="248" y="99"/>
                  <a:pt x="248" y="99"/>
                  <a:pt x="248" y="99"/>
                </a:cubicBezTo>
                <a:cubicBezTo>
                  <a:pt x="252" y="95"/>
                  <a:pt x="259" y="95"/>
                  <a:pt x="263" y="99"/>
                </a:cubicBezTo>
                <a:cubicBezTo>
                  <a:pt x="306" y="141"/>
                  <a:pt x="306" y="141"/>
                  <a:pt x="306" y="141"/>
                </a:cubicBezTo>
                <a:cubicBezTo>
                  <a:pt x="310" y="146"/>
                  <a:pt x="310" y="152"/>
                  <a:pt x="306" y="15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2" name="Group 395">
            <a:extLst>
              <a:ext uri="{FF2B5EF4-FFF2-40B4-BE49-F238E27FC236}">
                <a16:creationId xmlns:a16="http://schemas.microsoft.com/office/drawing/2014/main" id="{D10AF8E6-EE47-4441-9D26-39DF73565581}"/>
              </a:ext>
            </a:extLst>
          </p:cNvPr>
          <p:cNvGrpSpPr>
            <a:grpSpLocks noChangeAspect="1"/>
          </p:cNvGrpSpPr>
          <p:nvPr/>
        </p:nvGrpSpPr>
        <p:grpSpPr bwMode="auto">
          <a:xfrm>
            <a:off x="899409" y="3304893"/>
            <a:ext cx="367041" cy="367041"/>
            <a:chOff x="2637" y="2053"/>
            <a:chExt cx="340" cy="340"/>
          </a:xfrm>
          <a:solidFill>
            <a:schemeClr val="accent5"/>
          </a:solidFill>
        </p:grpSpPr>
        <p:sp>
          <p:nvSpPr>
            <p:cNvPr id="543" name="Freeform 396">
              <a:extLst>
                <a:ext uri="{FF2B5EF4-FFF2-40B4-BE49-F238E27FC236}">
                  <a16:creationId xmlns:a16="http://schemas.microsoft.com/office/drawing/2014/main" id="{69C2341A-048A-4F51-A238-76CB36C4897C}"/>
                </a:ext>
              </a:extLst>
            </p:cNvPr>
            <p:cNvSpPr>
              <a:spLocks noEditPoints="1"/>
            </p:cNvSpPr>
            <p:nvPr/>
          </p:nvSpPr>
          <p:spPr bwMode="auto">
            <a:xfrm>
              <a:off x="2637" y="205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4" name="Freeform 397">
              <a:extLst>
                <a:ext uri="{FF2B5EF4-FFF2-40B4-BE49-F238E27FC236}">
                  <a16:creationId xmlns:a16="http://schemas.microsoft.com/office/drawing/2014/main" id="{F5C72513-9FC8-4D56-9E6A-DE355B011B5E}"/>
                </a:ext>
              </a:extLst>
            </p:cNvPr>
            <p:cNvSpPr>
              <a:spLocks/>
            </p:cNvSpPr>
            <p:nvPr/>
          </p:nvSpPr>
          <p:spPr bwMode="auto">
            <a:xfrm>
              <a:off x="2770" y="2116"/>
              <a:ext cx="73" cy="86"/>
            </a:xfrm>
            <a:custGeom>
              <a:avLst/>
              <a:gdLst>
                <a:gd name="T0" fmla="*/ 20 w 109"/>
                <a:gd name="T1" fmla="*/ 62 h 129"/>
                <a:gd name="T2" fmla="*/ 44 w 109"/>
                <a:gd name="T3" fmla="*/ 37 h 129"/>
                <a:gd name="T4" fmla="*/ 44 w 109"/>
                <a:gd name="T5" fmla="*/ 118 h 129"/>
                <a:gd name="T6" fmla="*/ 55 w 109"/>
                <a:gd name="T7" fmla="*/ 129 h 129"/>
                <a:gd name="T8" fmla="*/ 65 w 109"/>
                <a:gd name="T9" fmla="*/ 118 h 129"/>
                <a:gd name="T10" fmla="*/ 65 w 109"/>
                <a:gd name="T11" fmla="*/ 37 h 129"/>
                <a:gd name="T12" fmla="*/ 90 w 109"/>
                <a:gd name="T13" fmla="*/ 62 h 129"/>
                <a:gd name="T14" fmla="*/ 97 w 109"/>
                <a:gd name="T15" fmla="*/ 65 h 129"/>
                <a:gd name="T16" fmla="*/ 105 w 109"/>
                <a:gd name="T17" fmla="*/ 62 h 129"/>
                <a:gd name="T18" fmla="*/ 105 w 109"/>
                <a:gd name="T19" fmla="*/ 46 h 129"/>
                <a:gd name="T20" fmla="*/ 62 w 109"/>
                <a:gd name="T21" fmla="*/ 4 h 129"/>
                <a:gd name="T22" fmla="*/ 47 w 109"/>
                <a:gd name="T23" fmla="*/ 4 h 129"/>
                <a:gd name="T24" fmla="*/ 4 w 109"/>
                <a:gd name="T25" fmla="*/ 46 h 129"/>
                <a:gd name="T26" fmla="*/ 4 w 109"/>
                <a:gd name="T27" fmla="*/ 62 h 129"/>
                <a:gd name="T28" fmla="*/ 20 w 109"/>
                <a:gd name="T29" fmla="*/ 6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29">
                  <a:moveTo>
                    <a:pt x="20" y="62"/>
                  </a:moveTo>
                  <a:cubicBezTo>
                    <a:pt x="44" y="37"/>
                    <a:pt x="44" y="37"/>
                    <a:pt x="44" y="37"/>
                  </a:cubicBezTo>
                  <a:cubicBezTo>
                    <a:pt x="44" y="118"/>
                    <a:pt x="44" y="118"/>
                    <a:pt x="44" y="118"/>
                  </a:cubicBezTo>
                  <a:cubicBezTo>
                    <a:pt x="44" y="124"/>
                    <a:pt x="49" y="129"/>
                    <a:pt x="55" y="129"/>
                  </a:cubicBezTo>
                  <a:cubicBezTo>
                    <a:pt x="61" y="129"/>
                    <a:pt x="65" y="124"/>
                    <a:pt x="65" y="118"/>
                  </a:cubicBezTo>
                  <a:cubicBezTo>
                    <a:pt x="65" y="37"/>
                    <a:pt x="65" y="37"/>
                    <a:pt x="65" y="37"/>
                  </a:cubicBezTo>
                  <a:cubicBezTo>
                    <a:pt x="90" y="62"/>
                    <a:pt x="90" y="62"/>
                    <a:pt x="90" y="62"/>
                  </a:cubicBezTo>
                  <a:cubicBezTo>
                    <a:pt x="92" y="64"/>
                    <a:pt x="95" y="65"/>
                    <a:pt x="97" y="65"/>
                  </a:cubicBezTo>
                  <a:cubicBezTo>
                    <a:pt x="100" y="65"/>
                    <a:pt x="103" y="64"/>
                    <a:pt x="105" y="62"/>
                  </a:cubicBezTo>
                  <a:cubicBezTo>
                    <a:pt x="109" y="57"/>
                    <a:pt x="109" y="51"/>
                    <a:pt x="105" y="46"/>
                  </a:cubicBezTo>
                  <a:cubicBezTo>
                    <a:pt x="62" y="4"/>
                    <a:pt x="62" y="4"/>
                    <a:pt x="62" y="4"/>
                  </a:cubicBezTo>
                  <a:cubicBezTo>
                    <a:pt x="58" y="0"/>
                    <a:pt x="51" y="0"/>
                    <a:pt x="47" y="4"/>
                  </a:cubicBezTo>
                  <a:cubicBezTo>
                    <a:pt x="4" y="46"/>
                    <a:pt x="4" y="46"/>
                    <a:pt x="4" y="46"/>
                  </a:cubicBezTo>
                  <a:cubicBezTo>
                    <a:pt x="0" y="51"/>
                    <a:pt x="0" y="57"/>
                    <a:pt x="4" y="62"/>
                  </a:cubicBezTo>
                  <a:cubicBezTo>
                    <a:pt x="9" y="66"/>
                    <a:pt x="15" y="66"/>
                    <a:pt x="20" y="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5" name="Freeform 398">
              <a:extLst>
                <a:ext uri="{FF2B5EF4-FFF2-40B4-BE49-F238E27FC236}">
                  <a16:creationId xmlns:a16="http://schemas.microsoft.com/office/drawing/2014/main" id="{40B6EA0C-B857-4658-A8A7-36DB2B150842}"/>
                </a:ext>
              </a:extLst>
            </p:cNvPr>
            <p:cNvSpPr>
              <a:spLocks/>
            </p:cNvSpPr>
            <p:nvPr/>
          </p:nvSpPr>
          <p:spPr bwMode="auto">
            <a:xfrm>
              <a:off x="2770" y="2244"/>
              <a:ext cx="73" cy="85"/>
            </a:xfrm>
            <a:custGeom>
              <a:avLst/>
              <a:gdLst>
                <a:gd name="T0" fmla="*/ 90 w 109"/>
                <a:gd name="T1" fmla="*/ 67 h 128"/>
                <a:gd name="T2" fmla="*/ 65 w 109"/>
                <a:gd name="T3" fmla="*/ 91 h 128"/>
                <a:gd name="T4" fmla="*/ 65 w 109"/>
                <a:gd name="T5" fmla="*/ 10 h 128"/>
                <a:gd name="T6" fmla="*/ 55 w 109"/>
                <a:gd name="T7" fmla="*/ 0 h 128"/>
                <a:gd name="T8" fmla="*/ 44 w 109"/>
                <a:gd name="T9" fmla="*/ 10 h 128"/>
                <a:gd name="T10" fmla="*/ 44 w 109"/>
                <a:gd name="T11" fmla="*/ 91 h 128"/>
                <a:gd name="T12" fmla="*/ 20 w 109"/>
                <a:gd name="T13" fmla="*/ 67 h 128"/>
                <a:gd name="T14" fmla="*/ 4 w 109"/>
                <a:gd name="T15" fmla="*/ 67 h 128"/>
                <a:gd name="T16" fmla="*/ 4 w 109"/>
                <a:gd name="T17" fmla="*/ 82 h 128"/>
                <a:gd name="T18" fmla="*/ 47 w 109"/>
                <a:gd name="T19" fmla="*/ 125 h 128"/>
                <a:gd name="T20" fmla="*/ 55 w 109"/>
                <a:gd name="T21" fmla="*/ 128 h 128"/>
                <a:gd name="T22" fmla="*/ 62 w 109"/>
                <a:gd name="T23" fmla="*/ 125 h 128"/>
                <a:gd name="T24" fmla="*/ 105 w 109"/>
                <a:gd name="T25" fmla="*/ 82 h 128"/>
                <a:gd name="T26" fmla="*/ 105 w 109"/>
                <a:gd name="T27" fmla="*/ 67 h 128"/>
                <a:gd name="T28" fmla="*/ 90 w 109"/>
                <a:gd name="T29" fmla="*/ 6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28">
                  <a:moveTo>
                    <a:pt x="90" y="67"/>
                  </a:moveTo>
                  <a:cubicBezTo>
                    <a:pt x="65" y="91"/>
                    <a:pt x="65" y="91"/>
                    <a:pt x="65" y="91"/>
                  </a:cubicBezTo>
                  <a:cubicBezTo>
                    <a:pt x="65" y="10"/>
                    <a:pt x="65" y="10"/>
                    <a:pt x="65" y="10"/>
                  </a:cubicBezTo>
                  <a:cubicBezTo>
                    <a:pt x="65" y="4"/>
                    <a:pt x="61" y="0"/>
                    <a:pt x="55" y="0"/>
                  </a:cubicBezTo>
                  <a:cubicBezTo>
                    <a:pt x="49" y="0"/>
                    <a:pt x="44" y="4"/>
                    <a:pt x="44" y="10"/>
                  </a:cubicBezTo>
                  <a:cubicBezTo>
                    <a:pt x="44" y="91"/>
                    <a:pt x="44" y="91"/>
                    <a:pt x="44" y="91"/>
                  </a:cubicBezTo>
                  <a:cubicBezTo>
                    <a:pt x="20" y="67"/>
                    <a:pt x="20" y="67"/>
                    <a:pt x="20" y="67"/>
                  </a:cubicBezTo>
                  <a:cubicBezTo>
                    <a:pt x="15" y="63"/>
                    <a:pt x="9" y="63"/>
                    <a:pt x="4" y="67"/>
                  </a:cubicBezTo>
                  <a:cubicBezTo>
                    <a:pt x="0" y="71"/>
                    <a:pt x="0" y="78"/>
                    <a:pt x="4" y="82"/>
                  </a:cubicBezTo>
                  <a:cubicBezTo>
                    <a:pt x="47" y="125"/>
                    <a:pt x="47" y="125"/>
                    <a:pt x="47" y="125"/>
                  </a:cubicBezTo>
                  <a:cubicBezTo>
                    <a:pt x="49" y="127"/>
                    <a:pt x="52" y="128"/>
                    <a:pt x="55" y="128"/>
                  </a:cubicBezTo>
                  <a:cubicBezTo>
                    <a:pt x="57" y="128"/>
                    <a:pt x="60" y="127"/>
                    <a:pt x="62" y="125"/>
                  </a:cubicBezTo>
                  <a:cubicBezTo>
                    <a:pt x="105" y="82"/>
                    <a:pt x="105" y="82"/>
                    <a:pt x="105" y="82"/>
                  </a:cubicBezTo>
                  <a:cubicBezTo>
                    <a:pt x="109" y="78"/>
                    <a:pt x="109" y="71"/>
                    <a:pt x="105" y="67"/>
                  </a:cubicBezTo>
                  <a:cubicBezTo>
                    <a:pt x="101" y="63"/>
                    <a:pt x="94" y="63"/>
                    <a:pt x="90" y="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6" name="Freeform 402">
            <a:extLst>
              <a:ext uri="{FF2B5EF4-FFF2-40B4-BE49-F238E27FC236}">
                <a16:creationId xmlns:a16="http://schemas.microsoft.com/office/drawing/2014/main" id="{43431F31-E2E2-4A24-8362-6113322E5A2B}"/>
              </a:ext>
            </a:extLst>
          </p:cNvPr>
          <p:cNvSpPr>
            <a:spLocks noChangeAspect="1" noEditPoints="1"/>
          </p:cNvSpPr>
          <p:nvPr/>
        </p:nvSpPr>
        <p:spPr bwMode="auto">
          <a:xfrm>
            <a:off x="1334142" y="330489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1 w 512"/>
              <a:gd name="T11" fmla="*/ 295 h 512"/>
              <a:gd name="T12" fmla="*/ 175 w 512"/>
              <a:gd name="T13" fmla="*/ 352 h 512"/>
              <a:gd name="T14" fmla="*/ 213 w 512"/>
              <a:gd name="T15" fmla="*/ 352 h 512"/>
              <a:gd name="T16" fmla="*/ 224 w 512"/>
              <a:gd name="T17" fmla="*/ 362 h 512"/>
              <a:gd name="T18" fmla="*/ 213 w 512"/>
              <a:gd name="T19" fmla="*/ 373 h 512"/>
              <a:gd name="T20" fmla="*/ 149 w 512"/>
              <a:gd name="T21" fmla="*/ 373 h 512"/>
              <a:gd name="T22" fmla="*/ 138 w 512"/>
              <a:gd name="T23" fmla="*/ 362 h 512"/>
              <a:gd name="T24" fmla="*/ 138 w 512"/>
              <a:gd name="T25" fmla="*/ 298 h 512"/>
              <a:gd name="T26" fmla="*/ 149 w 512"/>
              <a:gd name="T27" fmla="*/ 288 h 512"/>
              <a:gd name="T28" fmla="*/ 160 w 512"/>
              <a:gd name="T29" fmla="*/ 298 h 512"/>
              <a:gd name="T30" fmla="*/ 160 w 512"/>
              <a:gd name="T31" fmla="*/ 337 h 512"/>
              <a:gd name="T32" fmla="*/ 216 w 512"/>
              <a:gd name="T33" fmla="*/ 280 h 512"/>
              <a:gd name="T34" fmla="*/ 231 w 512"/>
              <a:gd name="T35" fmla="*/ 280 h 512"/>
              <a:gd name="T36" fmla="*/ 231 w 512"/>
              <a:gd name="T37" fmla="*/ 295 h 512"/>
              <a:gd name="T38" fmla="*/ 373 w 512"/>
              <a:gd name="T39" fmla="*/ 213 h 512"/>
              <a:gd name="T40" fmla="*/ 362 w 512"/>
              <a:gd name="T41" fmla="*/ 224 h 512"/>
              <a:gd name="T42" fmla="*/ 352 w 512"/>
              <a:gd name="T43" fmla="*/ 213 h 512"/>
              <a:gd name="T44" fmla="*/ 352 w 512"/>
              <a:gd name="T45" fmla="*/ 175 h 512"/>
              <a:gd name="T46" fmla="*/ 295 w 512"/>
              <a:gd name="T47" fmla="*/ 231 h 512"/>
              <a:gd name="T48" fmla="*/ 288 w 512"/>
              <a:gd name="T49" fmla="*/ 234 h 512"/>
              <a:gd name="T50" fmla="*/ 280 w 512"/>
              <a:gd name="T51" fmla="*/ 231 h 512"/>
              <a:gd name="T52" fmla="*/ 280 w 512"/>
              <a:gd name="T53" fmla="*/ 216 h 512"/>
              <a:gd name="T54" fmla="*/ 337 w 512"/>
              <a:gd name="T55" fmla="*/ 160 h 512"/>
              <a:gd name="T56" fmla="*/ 298 w 512"/>
              <a:gd name="T57" fmla="*/ 160 h 512"/>
              <a:gd name="T58" fmla="*/ 288 w 512"/>
              <a:gd name="T59" fmla="*/ 149 h 512"/>
              <a:gd name="T60" fmla="*/ 298 w 512"/>
              <a:gd name="T61" fmla="*/ 138 h 512"/>
              <a:gd name="T62" fmla="*/ 362 w 512"/>
              <a:gd name="T63" fmla="*/ 138 h 512"/>
              <a:gd name="T64" fmla="*/ 366 w 512"/>
              <a:gd name="T65" fmla="*/ 139 h 512"/>
              <a:gd name="T66" fmla="*/ 373 w 512"/>
              <a:gd name="T67" fmla="*/ 149 h 512"/>
              <a:gd name="T68" fmla="*/ 373 w 512"/>
              <a:gd name="T69"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295"/>
                </a:moveTo>
                <a:cubicBezTo>
                  <a:pt x="175" y="352"/>
                  <a:pt x="175" y="352"/>
                  <a:pt x="175" y="352"/>
                </a:cubicBezTo>
                <a:cubicBezTo>
                  <a:pt x="213" y="352"/>
                  <a:pt x="213" y="352"/>
                  <a:pt x="213" y="352"/>
                </a:cubicBezTo>
                <a:cubicBezTo>
                  <a:pt x="219" y="352"/>
                  <a:pt x="224" y="356"/>
                  <a:pt x="224" y="362"/>
                </a:cubicBezTo>
                <a:cubicBezTo>
                  <a:pt x="224" y="368"/>
                  <a:pt x="219" y="373"/>
                  <a:pt x="213"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37"/>
                  <a:pt x="160" y="337"/>
                  <a:pt x="160" y="337"/>
                </a:cubicBezTo>
                <a:cubicBezTo>
                  <a:pt x="216" y="280"/>
                  <a:pt x="216" y="280"/>
                  <a:pt x="216" y="280"/>
                </a:cubicBezTo>
                <a:cubicBezTo>
                  <a:pt x="220" y="276"/>
                  <a:pt x="227" y="276"/>
                  <a:pt x="231" y="280"/>
                </a:cubicBezTo>
                <a:cubicBezTo>
                  <a:pt x="235" y="284"/>
                  <a:pt x="235" y="291"/>
                  <a:pt x="231" y="295"/>
                </a:cubicBezTo>
                <a:close/>
                <a:moveTo>
                  <a:pt x="373" y="213"/>
                </a:moveTo>
                <a:cubicBezTo>
                  <a:pt x="373" y="219"/>
                  <a:pt x="368" y="224"/>
                  <a:pt x="362" y="224"/>
                </a:cubicBezTo>
                <a:cubicBezTo>
                  <a:pt x="356" y="224"/>
                  <a:pt x="352" y="219"/>
                  <a:pt x="352" y="213"/>
                </a:cubicBezTo>
                <a:cubicBezTo>
                  <a:pt x="352" y="175"/>
                  <a:pt x="352" y="175"/>
                  <a:pt x="352" y="175"/>
                </a:cubicBezTo>
                <a:cubicBezTo>
                  <a:pt x="295" y="231"/>
                  <a:pt x="295" y="231"/>
                  <a:pt x="295" y="231"/>
                </a:cubicBezTo>
                <a:cubicBezTo>
                  <a:pt x="293" y="233"/>
                  <a:pt x="290" y="234"/>
                  <a:pt x="288" y="234"/>
                </a:cubicBezTo>
                <a:cubicBezTo>
                  <a:pt x="285" y="234"/>
                  <a:pt x="282" y="233"/>
                  <a:pt x="280" y="231"/>
                </a:cubicBezTo>
                <a:cubicBezTo>
                  <a:pt x="276" y="227"/>
                  <a:pt x="276" y="220"/>
                  <a:pt x="280" y="216"/>
                </a:cubicBezTo>
                <a:cubicBezTo>
                  <a:pt x="337" y="160"/>
                  <a:pt x="337" y="160"/>
                  <a:pt x="337" y="160"/>
                </a:cubicBezTo>
                <a:cubicBezTo>
                  <a:pt x="298" y="160"/>
                  <a:pt x="298" y="160"/>
                  <a:pt x="298" y="160"/>
                </a:cubicBezTo>
                <a:cubicBezTo>
                  <a:pt x="292" y="160"/>
                  <a:pt x="288" y="155"/>
                  <a:pt x="288" y="149"/>
                </a:cubicBezTo>
                <a:cubicBezTo>
                  <a:pt x="288" y="143"/>
                  <a:pt x="292" y="138"/>
                  <a:pt x="298" y="138"/>
                </a:cubicBezTo>
                <a:cubicBezTo>
                  <a:pt x="362" y="138"/>
                  <a:pt x="362" y="138"/>
                  <a:pt x="362" y="138"/>
                </a:cubicBezTo>
                <a:cubicBezTo>
                  <a:pt x="364" y="138"/>
                  <a:pt x="365" y="139"/>
                  <a:pt x="366" y="139"/>
                </a:cubicBezTo>
                <a:cubicBezTo>
                  <a:pt x="370" y="141"/>
                  <a:pt x="373" y="145"/>
                  <a:pt x="373" y="149"/>
                </a:cubicBezTo>
                <a:lnTo>
                  <a:pt x="373" y="21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7" name="Group 405">
            <a:extLst>
              <a:ext uri="{FF2B5EF4-FFF2-40B4-BE49-F238E27FC236}">
                <a16:creationId xmlns:a16="http://schemas.microsoft.com/office/drawing/2014/main" id="{659EF9B0-1B69-423F-8232-70A54D4A08DC}"/>
              </a:ext>
            </a:extLst>
          </p:cNvPr>
          <p:cNvGrpSpPr>
            <a:grpSpLocks noChangeAspect="1"/>
          </p:cNvGrpSpPr>
          <p:nvPr/>
        </p:nvGrpSpPr>
        <p:grpSpPr bwMode="auto">
          <a:xfrm>
            <a:off x="1768875" y="3304893"/>
            <a:ext cx="368121" cy="367041"/>
            <a:chOff x="1918" y="1516"/>
            <a:chExt cx="341" cy="340"/>
          </a:xfrm>
          <a:solidFill>
            <a:schemeClr val="accent5"/>
          </a:solidFill>
        </p:grpSpPr>
        <p:sp>
          <p:nvSpPr>
            <p:cNvPr id="548" name="Freeform 406">
              <a:extLst>
                <a:ext uri="{FF2B5EF4-FFF2-40B4-BE49-F238E27FC236}">
                  <a16:creationId xmlns:a16="http://schemas.microsoft.com/office/drawing/2014/main" id="{B61C6743-6478-4CF4-A4EC-36776E3C2827}"/>
                </a:ext>
              </a:extLst>
            </p:cNvPr>
            <p:cNvSpPr>
              <a:spLocks noEditPoints="1"/>
            </p:cNvSpPr>
            <p:nvPr/>
          </p:nvSpPr>
          <p:spPr bwMode="auto">
            <a:xfrm>
              <a:off x="1918" y="151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9" name="Freeform 407">
              <a:extLst>
                <a:ext uri="{FF2B5EF4-FFF2-40B4-BE49-F238E27FC236}">
                  <a16:creationId xmlns:a16="http://schemas.microsoft.com/office/drawing/2014/main" id="{8A9BCE93-4107-4CFA-9EC9-6FBF4702E47D}"/>
                </a:ext>
              </a:extLst>
            </p:cNvPr>
            <p:cNvSpPr>
              <a:spLocks/>
            </p:cNvSpPr>
            <p:nvPr/>
          </p:nvSpPr>
          <p:spPr bwMode="auto">
            <a:xfrm>
              <a:off x="2102" y="1608"/>
              <a:ext cx="64" cy="63"/>
            </a:xfrm>
            <a:custGeom>
              <a:avLst/>
              <a:gdLst>
                <a:gd name="T0" fmla="*/ 90 w 97"/>
                <a:gd name="T1" fmla="*/ 1 h 96"/>
                <a:gd name="T2" fmla="*/ 86 w 97"/>
                <a:gd name="T3" fmla="*/ 0 h 96"/>
                <a:gd name="T4" fmla="*/ 22 w 97"/>
                <a:gd name="T5" fmla="*/ 0 h 96"/>
                <a:gd name="T6" fmla="*/ 12 w 97"/>
                <a:gd name="T7" fmla="*/ 11 h 96"/>
                <a:gd name="T8" fmla="*/ 22 w 97"/>
                <a:gd name="T9" fmla="*/ 22 h 96"/>
                <a:gd name="T10" fmla="*/ 61 w 97"/>
                <a:gd name="T11" fmla="*/ 22 h 96"/>
                <a:gd name="T12" fmla="*/ 4 w 97"/>
                <a:gd name="T13" fmla="*/ 78 h 96"/>
                <a:gd name="T14" fmla="*/ 4 w 97"/>
                <a:gd name="T15" fmla="*/ 93 h 96"/>
                <a:gd name="T16" fmla="*/ 12 w 97"/>
                <a:gd name="T17" fmla="*/ 96 h 96"/>
                <a:gd name="T18" fmla="*/ 19 w 97"/>
                <a:gd name="T19" fmla="*/ 93 h 96"/>
                <a:gd name="T20" fmla="*/ 76 w 97"/>
                <a:gd name="T21" fmla="*/ 37 h 96"/>
                <a:gd name="T22" fmla="*/ 76 w 97"/>
                <a:gd name="T23" fmla="*/ 75 h 96"/>
                <a:gd name="T24" fmla="*/ 86 w 97"/>
                <a:gd name="T25" fmla="*/ 86 h 96"/>
                <a:gd name="T26" fmla="*/ 97 w 97"/>
                <a:gd name="T27" fmla="*/ 75 h 96"/>
                <a:gd name="T28" fmla="*/ 97 w 97"/>
                <a:gd name="T29" fmla="*/ 11 h 96"/>
                <a:gd name="T30" fmla="*/ 90 w 97"/>
                <a:gd name="T31"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96">
                  <a:moveTo>
                    <a:pt x="90" y="1"/>
                  </a:moveTo>
                  <a:cubicBezTo>
                    <a:pt x="89" y="1"/>
                    <a:pt x="88" y="0"/>
                    <a:pt x="86" y="0"/>
                  </a:cubicBezTo>
                  <a:cubicBezTo>
                    <a:pt x="22" y="0"/>
                    <a:pt x="22" y="0"/>
                    <a:pt x="22" y="0"/>
                  </a:cubicBezTo>
                  <a:cubicBezTo>
                    <a:pt x="16" y="0"/>
                    <a:pt x="12" y="5"/>
                    <a:pt x="12" y="11"/>
                  </a:cubicBezTo>
                  <a:cubicBezTo>
                    <a:pt x="12" y="17"/>
                    <a:pt x="16" y="22"/>
                    <a:pt x="22" y="22"/>
                  </a:cubicBezTo>
                  <a:cubicBezTo>
                    <a:pt x="61" y="22"/>
                    <a:pt x="61" y="22"/>
                    <a:pt x="61" y="22"/>
                  </a:cubicBezTo>
                  <a:cubicBezTo>
                    <a:pt x="4" y="78"/>
                    <a:pt x="4" y="78"/>
                    <a:pt x="4" y="78"/>
                  </a:cubicBezTo>
                  <a:cubicBezTo>
                    <a:pt x="0" y="82"/>
                    <a:pt x="0" y="89"/>
                    <a:pt x="4" y="93"/>
                  </a:cubicBezTo>
                  <a:cubicBezTo>
                    <a:pt x="6" y="95"/>
                    <a:pt x="9" y="96"/>
                    <a:pt x="12" y="96"/>
                  </a:cubicBezTo>
                  <a:cubicBezTo>
                    <a:pt x="14" y="96"/>
                    <a:pt x="17" y="95"/>
                    <a:pt x="19" y="93"/>
                  </a:cubicBezTo>
                  <a:cubicBezTo>
                    <a:pt x="76" y="37"/>
                    <a:pt x="76" y="37"/>
                    <a:pt x="76" y="37"/>
                  </a:cubicBezTo>
                  <a:cubicBezTo>
                    <a:pt x="76" y="75"/>
                    <a:pt x="76" y="75"/>
                    <a:pt x="76" y="75"/>
                  </a:cubicBezTo>
                  <a:cubicBezTo>
                    <a:pt x="76" y="81"/>
                    <a:pt x="80" y="86"/>
                    <a:pt x="86" y="86"/>
                  </a:cubicBezTo>
                  <a:cubicBezTo>
                    <a:pt x="92" y="86"/>
                    <a:pt x="97" y="81"/>
                    <a:pt x="97" y="75"/>
                  </a:cubicBezTo>
                  <a:cubicBezTo>
                    <a:pt x="97" y="11"/>
                    <a:pt x="97" y="11"/>
                    <a:pt x="97" y="11"/>
                  </a:cubicBezTo>
                  <a:cubicBezTo>
                    <a:pt x="97" y="7"/>
                    <a:pt x="94" y="3"/>
                    <a:pt x="9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0" name="Freeform 408">
              <a:extLst>
                <a:ext uri="{FF2B5EF4-FFF2-40B4-BE49-F238E27FC236}">
                  <a16:creationId xmlns:a16="http://schemas.microsoft.com/office/drawing/2014/main" id="{79AE60BC-D939-4E92-AB82-75B21826247A}"/>
                </a:ext>
              </a:extLst>
            </p:cNvPr>
            <p:cNvSpPr>
              <a:spLocks/>
            </p:cNvSpPr>
            <p:nvPr/>
          </p:nvSpPr>
          <p:spPr bwMode="auto">
            <a:xfrm>
              <a:off x="2010" y="1699"/>
              <a:ext cx="65" cy="65"/>
            </a:xfrm>
            <a:custGeom>
              <a:avLst/>
              <a:gdLst>
                <a:gd name="T0" fmla="*/ 78 w 97"/>
                <a:gd name="T1" fmla="*/ 4 h 97"/>
                <a:gd name="T2" fmla="*/ 22 w 97"/>
                <a:gd name="T3" fmla="*/ 61 h 97"/>
                <a:gd name="T4" fmla="*/ 22 w 97"/>
                <a:gd name="T5" fmla="*/ 22 h 97"/>
                <a:gd name="T6" fmla="*/ 11 w 97"/>
                <a:gd name="T7" fmla="*/ 12 h 97"/>
                <a:gd name="T8" fmla="*/ 0 w 97"/>
                <a:gd name="T9" fmla="*/ 22 h 97"/>
                <a:gd name="T10" fmla="*/ 0 w 97"/>
                <a:gd name="T11" fmla="*/ 86 h 97"/>
                <a:gd name="T12" fmla="*/ 11 w 97"/>
                <a:gd name="T13" fmla="*/ 97 h 97"/>
                <a:gd name="T14" fmla="*/ 75 w 97"/>
                <a:gd name="T15" fmla="*/ 97 h 97"/>
                <a:gd name="T16" fmla="*/ 86 w 97"/>
                <a:gd name="T17" fmla="*/ 86 h 97"/>
                <a:gd name="T18" fmla="*/ 75 w 97"/>
                <a:gd name="T19" fmla="*/ 76 h 97"/>
                <a:gd name="T20" fmla="*/ 37 w 97"/>
                <a:gd name="T21" fmla="*/ 76 h 97"/>
                <a:gd name="T22" fmla="*/ 93 w 97"/>
                <a:gd name="T23" fmla="*/ 19 h 97"/>
                <a:gd name="T24" fmla="*/ 93 w 97"/>
                <a:gd name="T25" fmla="*/ 4 h 97"/>
                <a:gd name="T26" fmla="*/ 78 w 97"/>
                <a:gd name="T2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97">
                  <a:moveTo>
                    <a:pt x="78" y="4"/>
                  </a:moveTo>
                  <a:cubicBezTo>
                    <a:pt x="22" y="61"/>
                    <a:pt x="22" y="61"/>
                    <a:pt x="22" y="61"/>
                  </a:cubicBezTo>
                  <a:cubicBezTo>
                    <a:pt x="22" y="22"/>
                    <a:pt x="22" y="22"/>
                    <a:pt x="22" y="22"/>
                  </a:cubicBezTo>
                  <a:cubicBezTo>
                    <a:pt x="22" y="16"/>
                    <a:pt x="17" y="12"/>
                    <a:pt x="11" y="12"/>
                  </a:cubicBezTo>
                  <a:cubicBezTo>
                    <a:pt x="5" y="12"/>
                    <a:pt x="0" y="16"/>
                    <a:pt x="0" y="22"/>
                  </a:cubicBezTo>
                  <a:cubicBezTo>
                    <a:pt x="0" y="86"/>
                    <a:pt x="0" y="86"/>
                    <a:pt x="0" y="86"/>
                  </a:cubicBezTo>
                  <a:cubicBezTo>
                    <a:pt x="0" y="92"/>
                    <a:pt x="5" y="97"/>
                    <a:pt x="11" y="97"/>
                  </a:cubicBezTo>
                  <a:cubicBezTo>
                    <a:pt x="75" y="97"/>
                    <a:pt x="75" y="97"/>
                    <a:pt x="75" y="97"/>
                  </a:cubicBezTo>
                  <a:cubicBezTo>
                    <a:pt x="81" y="97"/>
                    <a:pt x="86" y="92"/>
                    <a:pt x="86" y="86"/>
                  </a:cubicBezTo>
                  <a:cubicBezTo>
                    <a:pt x="86" y="80"/>
                    <a:pt x="81" y="76"/>
                    <a:pt x="75" y="76"/>
                  </a:cubicBezTo>
                  <a:cubicBezTo>
                    <a:pt x="37" y="76"/>
                    <a:pt x="37" y="76"/>
                    <a:pt x="37" y="76"/>
                  </a:cubicBezTo>
                  <a:cubicBezTo>
                    <a:pt x="93" y="19"/>
                    <a:pt x="93" y="19"/>
                    <a:pt x="93" y="19"/>
                  </a:cubicBezTo>
                  <a:cubicBezTo>
                    <a:pt x="97" y="15"/>
                    <a:pt x="97" y="8"/>
                    <a:pt x="93" y="4"/>
                  </a:cubicBezTo>
                  <a:cubicBezTo>
                    <a:pt x="89" y="0"/>
                    <a:pt x="82" y="0"/>
                    <a:pt x="7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1" name="Freeform 412">
            <a:extLst>
              <a:ext uri="{FF2B5EF4-FFF2-40B4-BE49-F238E27FC236}">
                <a16:creationId xmlns:a16="http://schemas.microsoft.com/office/drawing/2014/main" id="{EF8337B3-9A82-4576-BA6A-8E79A406F38F}"/>
              </a:ext>
            </a:extLst>
          </p:cNvPr>
          <p:cNvSpPr>
            <a:spLocks noChangeAspect="1" noEditPoints="1"/>
          </p:cNvSpPr>
          <p:nvPr/>
        </p:nvSpPr>
        <p:spPr bwMode="auto">
          <a:xfrm>
            <a:off x="2204688" y="3304893"/>
            <a:ext cx="367041" cy="368120"/>
          </a:xfrm>
          <a:custGeom>
            <a:avLst/>
            <a:gdLst>
              <a:gd name="T0" fmla="*/ 0 w 512"/>
              <a:gd name="T1" fmla="*/ 256 h 512"/>
              <a:gd name="T2" fmla="*/ 512 w 512"/>
              <a:gd name="T3" fmla="*/ 256 h 512"/>
              <a:gd name="T4" fmla="*/ 232 w 512"/>
              <a:gd name="T5" fmla="*/ 296 h 512"/>
              <a:gd name="T6" fmla="*/ 203 w 512"/>
              <a:gd name="T7" fmla="*/ 352 h 512"/>
              <a:gd name="T8" fmla="*/ 203 w 512"/>
              <a:gd name="T9" fmla="*/ 374 h 512"/>
              <a:gd name="T10" fmla="*/ 139 w 512"/>
              <a:gd name="T11" fmla="*/ 367 h 512"/>
              <a:gd name="T12" fmla="*/ 139 w 512"/>
              <a:gd name="T13" fmla="*/ 363 h 512"/>
              <a:gd name="T14" fmla="*/ 149 w 512"/>
              <a:gd name="T15" fmla="*/ 299 h 512"/>
              <a:gd name="T16" fmla="*/ 160 w 512"/>
              <a:gd name="T17" fmla="*/ 337 h 512"/>
              <a:gd name="T18" fmla="*/ 232 w 512"/>
              <a:gd name="T19" fmla="*/ 281 h 512"/>
              <a:gd name="T20" fmla="*/ 232 w 512"/>
              <a:gd name="T21" fmla="*/ 232 h 512"/>
              <a:gd name="T22" fmla="*/ 216 w 512"/>
              <a:gd name="T23" fmla="*/ 232 h 512"/>
              <a:gd name="T24" fmla="*/ 160 w 512"/>
              <a:gd name="T25" fmla="*/ 203 h 512"/>
              <a:gd name="T26" fmla="*/ 139 w 512"/>
              <a:gd name="T27" fmla="*/ 203 h 512"/>
              <a:gd name="T28" fmla="*/ 145 w 512"/>
              <a:gd name="T29" fmla="*/ 140 h 512"/>
              <a:gd name="T30" fmla="*/ 149 w 512"/>
              <a:gd name="T31" fmla="*/ 139 h 512"/>
              <a:gd name="T32" fmla="*/ 213 w 512"/>
              <a:gd name="T33" fmla="*/ 150 h 512"/>
              <a:gd name="T34" fmla="*/ 175 w 512"/>
              <a:gd name="T35" fmla="*/ 160 h 512"/>
              <a:gd name="T36" fmla="*/ 232 w 512"/>
              <a:gd name="T37" fmla="*/ 232 h 512"/>
              <a:gd name="T38" fmla="*/ 373 w 512"/>
              <a:gd name="T39" fmla="*/ 363 h 512"/>
              <a:gd name="T40" fmla="*/ 363 w 512"/>
              <a:gd name="T41" fmla="*/ 374 h 512"/>
              <a:gd name="T42" fmla="*/ 299 w 512"/>
              <a:gd name="T43" fmla="*/ 363 h 512"/>
              <a:gd name="T44" fmla="*/ 337 w 512"/>
              <a:gd name="T45" fmla="*/ 352 h 512"/>
              <a:gd name="T46" fmla="*/ 280 w 512"/>
              <a:gd name="T47" fmla="*/ 281 h 512"/>
              <a:gd name="T48" fmla="*/ 352 w 512"/>
              <a:gd name="T49" fmla="*/ 337 h 512"/>
              <a:gd name="T50" fmla="*/ 363 w 512"/>
              <a:gd name="T51" fmla="*/ 299 h 512"/>
              <a:gd name="T52" fmla="*/ 373 w 512"/>
              <a:gd name="T53" fmla="*/ 363 h 512"/>
              <a:gd name="T54" fmla="*/ 363 w 512"/>
              <a:gd name="T55" fmla="*/ 214 h 512"/>
              <a:gd name="T56" fmla="*/ 352 w 512"/>
              <a:gd name="T57" fmla="*/ 175 h 512"/>
              <a:gd name="T58" fmla="*/ 288 w 512"/>
              <a:gd name="T59" fmla="*/ 235 h 512"/>
              <a:gd name="T60" fmla="*/ 280 w 512"/>
              <a:gd name="T61" fmla="*/ 217 h 512"/>
              <a:gd name="T62" fmla="*/ 309 w 512"/>
              <a:gd name="T63" fmla="*/ 160 h 512"/>
              <a:gd name="T64" fmla="*/ 309 w 512"/>
              <a:gd name="T65" fmla="*/ 139 h 512"/>
              <a:gd name="T66" fmla="*/ 363 w 512"/>
              <a:gd name="T67" fmla="*/ 139 h 512"/>
              <a:gd name="T68" fmla="*/ 373 w 512"/>
              <a:gd name="T69" fmla="*/ 1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32" y="296"/>
                </a:moveTo>
                <a:cubicBezTo>
                  <a:pt x="175" y="352"/>
                  <a:pt x="175" y="352"/>
                  <a:pt x="175" y="352"/>
                </a:cubicBezTo>
                <a:cubicBezTo>
                  <a:pt x="203" y="352"/>
                  <a:pt x="203" y="352"/>
                  <a:pt x="203" y="352"/>
                </a:cubicBezTo>
                <a:cubicBezTo>
                  <a:pt x="209" y="352"/>
                  <a:pt x="213" y="357"/>
                  <a:pt x="213" y="363"/>
                </a:cubicBezTo>
                <a:cubicBezTo>
                  <a:pt x="213" y="369"/>
                  <a:pt x="209" y="374"/>
                  <a:pt x="203" y="374"/>
                </a:cubicBezTo>
                <a:cubicBezTo>
                  <a:pt x="149" y="374"/>
                  <a:pt x="149" y="374"/>
                  <a:pt x="149" y="374"/>
                </a:cubicBezTo>
                <a:cubicBezTo>
                  <a:pt x="145" y="374"/>
                  <a:pt x="141" y="371"/>
                  <a:pt x="139" y="367"/>
                </a:cubicBezTo>
                <a:cubicBezTo>
                  <a:pt x="139" y="366"/>
                  <a:pt x="139" y="365"/>
                  <a:pt x="139" y="363"/>
                </a:cubicBezTo>
                <a:cubicBezTo>
                  <a:pt x="139" y="363"/>
                  <a:pt x="139" y="363"/>
                  <a:pt x="139" y="363"/>
                </a:cubicBezTo>
                <a:cubicBezTo>
                  <a:pt x="139" y="310"/>
                  <a:pt x="139" y="310"/>
                  <a:pt x="139" y="310"/>
                </a:cubicBezTo>
                <a:cubicBezTo>
                  <a:pt x="139" y="304"/>
                  <a:pt x="143" y="299"/>
                  <a:pt x="149" y="299"/>
                </a:cubicBezTo>
                <a:cubicBezTo>
                  <a:pt x="155" y="299"/>
                  <a:pt x="160" y="304"/>
                  <a:pt x="160" y="310"/>
                </a:cubicBezTo>
                <a:cubicBezTo>
                  <a:pt x="160" y="337"/>
                  <a:pt x="160" y="337"/>
                  <a:pt x="160" y="337"/>
                </a:cubicBezTo>
                <a:cubicBezTo>
                  <a:pt x="216" y="281"/>
                  <a:pt x="216" y="281"/>
                  <a:pt x="216" y="281"/>
                </a:cubicBezTo>
                <a:cubicBezTo>
                  <a:pt x="221" y="277"/>
                  <a:pt x="227" y="277"/>
                  <a:pt x="232" y="281"/>
                </a:cubicBezTo>
                <a:cubicBezTo>
                  <a:pt x="236" y="285"/>
                  <a:pt x="236" y="292"/>
                  <a:pt x="232" y="296"/>
                </a:cubicBezTo>
                <a:close/>
                <a:moveTo>
                  <a:pt x="232" y="232"/>
                </a:moveTo>
                <a:cubicBezTo>
                  <a:pt x="229" y="234"/>
                  <a:pt x="227" y="235"/>
                  <a:pt x="224" y="235"/>
                </a:cubicBezTo>
                <a:cubicBezTo>
                  <a:pt x="221" y="235"/>
                  <a:pt x="219" y="234"/>
                  <a:pt x="216" y="232"/>
                </a:cubicBezTo>
                <a:cubicBezTo>
                  <a:pt x="160" y="175"/>
                  <a:pt x="160" y="175"/>
                  <a:pt x="160" y="175"/>
                </a:cubicBezTo>
                <a:cubicBezTo>
                  <a:pt x="160" y="203"/>
                  <a:pt x="160" y="203"/>
                  <a:pt x="160" y="203"/>
                </a:cubicBezTo>
                <a:cubicBezTo>
                  <a:pt x="160" y="209"/>
                  <a:pt x="155" y="214"/>
                  <a:pt x="149" y="214"/>
                </a:cubicBezTo>
                <a:cubicBezTo>
                  <a:pt x="143" y="214"/>
                  <a:pt x="139" y="209"/>
                  <a:pt x="139" y="203"/>
                </a:cubicBezTo>
                <a:cubicBezTo>
                  <a:pt x="139" y="150"/>
                  <a:pt x="139" y="150"/>
                  <a:pt x="139" y="150"/>
                </a:cubicBezTo>
                <a:cubicBezTo>
                  <a:pt x="139" y="145"/>
                  <a:pt x="141" y="141"/>
                  <a:pt x="145" y="140"/>
                </a:cubicBezTo>
                <a:cubicBezTo>
                  <a:pt x="147" y="139"/>
                  <a:pt x="148" y="139"/>
                  <a:pt x="149" y="139"/>
                </a:cubicBezTo>
                <a:cubicBezTo>
                  <a:pt x="149" y="139"/>
                  <a:pt x="149" y="139"/>
                  <a:pt x="149" y="139"/>
                </a:cubicBezTo>
                <a:cubicBezTo>
                  <a:pt x="203" y="139"/>
                  <a:pt x="203" y="139"/>
                  <a:pt x="203" y="139"/>
                </a:cubicBezTo>
                <a:cubicBezTo>
                  <a:pt x="209" y="139"/>
                  <a:pt x="213" y="144"/>
                  <a:pt x="213" y="150"/>
                </a:cubicBezTo>
                <a:cubicBezTo>
                  <a:pt x="213" y="156"/>
                  <a:pt x="209" y="160"/>
                  <a:pt x="203" y="160"/>
                </a:cubicBezTo>
                <a:cubicBezTo>
                  <a:pt x="175" y="160"/>
                  <a:pt x="175" y="160"/>
                  <a:pt x="175" y="160"/>
                </a:cubicBezTo>
                <a:cubicBezTo>
                  <a:pt x="232" y="217"/>
                  <a:pt x="232" y="217"/>
                  <a:pt x="232" y="217"/>
                </a:cubicBezTo>
                <a:cubicBezTo>
                  <a:pt x="236" y="221"/>
                  <a:pt x="236" y="228"/>
                  <a:pt x="232" y="232"/>
                </a:cubicBezTo>
                <a:close/>
                <a:moveTo>
                  <a:pt x="373" y="363"/>
                </a:moveTo>
                <a:cubicBezTo>
                  <a:pt x="373" y="363"/>
                  <a:pt x="373" y="363"/>
                  <a:pt x="373" y="363"/>
                </a:cubicBezTo>
                <a:cubicBezTo>
                  <a:pt x="373" y="365"/>
                  <a:pt x="373" y="366"/>
                  <a:pt x="373" y="367"/>
                </a:cubicBezTo>
                <a:cubicBezTo>
                  <a:pt x="371" y="371"/>
                  <a:pt x="367" y="374"/>
                  <a:pt x="363" y="374"/>
                </a:cubicBezTo>
                <a:cubicBezTo>
                  <a:pt x="309" y="374"/>
                  <a:pt x="309" y="374"/>
                  <a:pt x="309" y="374"/>
                </a:cubicBezTo>
                <a:cubicBezTo>
                  <a:pt x="303" y="374"/>
                  <a:pt x="299" y="369"/>
                  <a:pt x="299" y="363"/>
                </a:cubicBezTo>
                <a:cubicBezTo>
                  <a:pt x="299" y="357"/>
                  <a:pt x="303" y="352"/>
                  <a:pt x="309" y="352"/>
                </a:cubicBezTo>
                <a:cubicBezTo>
                  <a:pt x="337" y="352"/>
                  <a:pt x="337" y="352"/>
                  <a:pt x="337" y="352"/>
                </a:cubicBezTo>
                <a:cubicBezTo>
                  <a:pt x="280" y="296"/>
                  <a:pt x="280" y="296"/>
                  <a:pt x="280" y="296"/>
                </a:cubicBezTo>
                <a:cubicBezTo>
                  <a:pt x="276" y="292"/>
                  <a:pt x="276" y="285"/>
                  <a:pt x="280" y="281"/>
                </a:cubicBezTo>
                <a:cubicBezTo>
                  <a:pt x="285" y="277"/>
                  <a:pt x="291" y="277"/>
                  <a:pt x="296" y="281"/>
                </a:cubicBezTo>
                <a:cubicBezTo>
                  <a:pt x="352" y="337"/>
                  <a:pt x="352" y="337"/>
                  <a:pt x="352" y="337"/>
                </a:cubicBezTo>
                <a:cubicBezTo>
                  <a:pt x="352" y="310"/>
                  <a:pt x="352" y="310"/>
                  <a:pt x="352" y="310"/>
                </a:cubicBezTo>
                <a:cubicBezTo>
                  <a:pt x="352" y="304"/>
                  <a:pt x="357" y="299"/>
                  <a:pt x="363" y="299"/>
                </a:cubicBezTo>
                <a:cubicBezTo>
                  <a:pt x="369" y="299"/>
                  <a:pt x="373" y="304"/>
                  <a:pt x="373" y="310"/>
                </a:cubicBezTo>
                <a:lnTo>
                  <a:pt x="373" y="363"/>
                </a:lnTo>
                <a:close/>
                <a:moveTo>
                  <a:pt x="373" y="203"/>
                </a:moveTo>
                <a:cubicBezTo>
                  <a:pt x="373" y="209"/>
                  <a:pt x="369" y="214"/>
                  <a:pt x="363" y="214"/>
                </a:cubicBezTo>
                <a:cubicBezTo>
                  <a:pt x="357" y="214"/>
                  <a:pt x="352" y="209"/>
                  <a:pt x="352" y="203"/>
                </a:cubicBezTo>
                <a:cubicBezTo>
                  <a:pt x="352" y="175"/>
                  <a:pt x="352" y="175"/>
                  <a:pt x="352" y="175"/>
                </a:cubicBezTo>
                <a:cubicBezTo>
                  <a:pt x="296" y="232"/>
                  <a:pt x="296" y="232"/>
                  <a:pt x="296" y="232"/>
                </a:cubicBezTo>
                <a:cubicBezTo>
                  <a:pt x="293" y="234"/>
                  <a:pt x="291" y="235"/>
                  <a:pt x="288" y="235"/>
                </a:cubicBezTo>
                <a:cubicBezTo>
                  <a:pt x="285" y="235"/>
                  <a:pt x="283" y="234"/>
                  <a:pt x="280" y="232"/>
                </a:cubicBezTo>
                <a:cubicBezTo>
                  <a:pt x="276" y="228"/>
                  <a:pt x="276" y="221"/>
                  <a:pt x="280" y="217"/>
                </a:cubicBezTo>
                <a:cubicBezTo>
                  <a:pt x="337" y="160"/>
                  <a:pt x="337" y="160"/>
                  <a:pt x="337" y="160"/>
                </a:cubicBezTo>
                <a:cubicBezTo>
                  <a:pt x="309" y="160"/>
                  <a:pt x="309" y="160"/>
                  <a:pt x="309" y="160"/>
                </a:cubicBezTo>
                <a:cubicBezTo>
                  <a:pt x="303" y="160"/>
                  <a:pt x="299" y="156"/>
                  <a:pt x="299" y="150"/>
                </a:cubicBezTo>
                <a:cubicBezTo>
                  <a:pt x="299" y="144"/>
                  <a:pt x="303" y="139"/>
                  <a:pt x="309" y="139"/>
                </a:cubicBezTo>
                <a:cubicBezTo>
                  <a:pt x="363" y="139"/>
                  <a:pt x="363" y="139"/>
                  <a:pt x="363" y="139"/>
                </a:cubicBezTo>
                <a:cubicBezTo>
                  <a:pt x="363" y="139"/>
                  <a:pt x="363" y="139"/>
                  <a:pt x="363" y="139"/>
                </a:cubicBezTo>
                <a:cubicBezTo>
                  <a:pt x="364" y="139"/>
                  <a:pt x="365" y="139"/>
                  <a:pt x="367" y="140"/>
                </a:cubicBezTo>
                <a:cubicBezTo>
                  <a:pt x="371" y="141"/>
                  <a:pt x="373" y="145"/>
                  <a:pt x="373" y="150"/>
                </a:cubicBezTo>
                <a:lnTo>
                  <a:pt x="373" y="20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2" name="Group 415">
            <a:extLst>
              <a:ext uri="{FF2B5EF4-FFF2-40B4-BE49-F238E27FC236}">
                <a16:creationId xmlns:a16="http://schemas.microsoft.com/office/drawing/2014/main" id="{68F5B637-3E18-4425-96E1-B80154260F1D}"/>
              </a:ext>
            </a:extLst>
          </p:cNvPr>
          <p:cNvGrpSpPr>
            <a:grpSpLocks noChangeAspect="1"/>
          </p:cNvGrpSpPr>
          <p:nvPr/>
        </p:nvGrpSpPr>
        <p:grpSpPr bwMode="auto">
          <a:xfrm>
            <a:off x="2639421" y="3304893"/>
            <a:ext cx="367041" cy="367041"/>
            <a:chOff x="3342" y="1878"/>
            <a:chExt cx="340" cy="340"/>
          </a:xfrm>
          <a:solidFill>
            <a:schemeClr val="accent5"/>
          </a:solidFill>
        </p:grpSpPr>
        <p:sp>
          <p:nvSpPr>
            <p:cNvPr id="553" name="Freeform 416">
              <a:extLst>
                <a:ext uri="{FF2B5EF4-FFF2-40B4-BE49-F238E27FC236}">
                  <a16:creationId xmlns:a16="http://schemas.microsoft.com/office/drawing/2014/main" id="{DD947127-A80F-43D4-8490-B8103C69D44C}"/>
                </a:ext>
              </a:extLst>
            </p:cNvPr>
            <p:cNvSpPr>
              <a:spLocks noEditPoints="1"/>
            </p:cNvSpPr>
            <p:nvPr/>
          </p:nvSpPr>
          <p:spPr bwMode="auto">
            <a:xfrm>
              <a:off x="3434" y="1970"/>
              <a:ext cx="156" cy="156"/>
            </a:xfrm>
            <a:custGeom>
              <a:avLst/>
              <a:gdLst>
                <a:gd name="T0" fmla="*/ 234 w 234"/>
                <a:gd name="T1" fmla="*/ 64 h 235"/>
                <a:gd name="T2" fmla="*/ 213 w 234"/>
                <a:gd name="T3" fmla="*/ 64 h 235"/>
                <a:gd name="T4" fmla="*/ 157 w 234"/>
                <a:gd name="T5" fmla="*/ 93 h 235"/>
                <a:gd name="T6" fmla="*/ 141 w 234"/>
                <a:gd name="T7" fmla="*/ 93 h 235"/>
                <a:gd name="T8" fmla="*/ 198 w 234"/>
                <a:gd name="T9" fmla="*/ 21 h 235"/>
                <a:gd name="T10" fmla="*/ 160 w 234"/>
                <a:gd name="T11" fmla="*/ 11 h 235"/>
                <a:gd name="T12" fmla="*/ 224 w 234"/>
                <a:gd name="T13" fmla="*/ 0 h 235"/>
                <a:gd name="T14" fmla="*/ 228 w 234"/>
                <a:gd name="T15" fmla="*/ 1 h 235"/>
                <a:gd name="T16" fmla="*/ 77 w 234"/>
                <a:gd name="T17" fmla="*/ 142 h 235"/>
                <a:gd name="T18" fmla="*/ 21 w 234"/>
                <a:gd name="T19" fmla="*/ 171 h 235"/>
                <a:gd name="T20" fmla="*/ 0 w 234"/>
                <a:gd name="T21" fmla="*/ 171 h 235"/>
                <a:gd name="T22" fmla="*/ 0 w 234"/>
                <a:gd name="T23" fmla="*/ 224 h 235"/>
                <a:gd name="T24" fmla="*/ 10 w 234"/>
                <a:gd name="T25" fmla="*/ 235 h 235"/>
                <a:gd name="T26" fmla="*/ 74 w 234"/>
                <a:gd name="T27" fmla="*/ 224 h 235"/>
                <a:gd name="T28" fmla="*/ 36 w 234"/>
                <a:gd name="T29" fmla="*/ 213 h 235"/>
                <a:gd name="T30" fmla="*/ 93 w 234"/>
                <a:gd name="T31" fmla="*/ 142 h 235"/>
                <a:gd name="T32" fmla="*/ 36 w 234"/>
                <a:gd name="T33" fmla="*/ 21 h 235"/>
                <a:gd name="T34" fmla="*/ 74 w 234"/>
                <a:gd name="T35" fmla="*/ 11 h 235"/>
                <a:gd name="T36" fmla="*/ 10 w 234"/>
                <a:gd name="T37" fmla="*/ 0 h 235"/>
                <a:gd name="T38" fmla="*/ 6 w 234"/>
                <a:gd name="T39" fmla="*/ 1 h 235"/>
                <a:gd name="T40" fmla="*/ 0 w 234"/>
                <a:gd name="T41" fmla="*/ 64 h 235"/>
                <a:gd name="T42" fmla="*/ 21 w 234"/>
                <a:gd name="T43" fmla="*/ 64 h 235"/>
                <a:gd name="T44" fmla="*/ 77 w 234"/>
                <a:gd name="T45" fmla="*/ 93 h 235"/>
                <a:gd name="T46" fmla="*/ 93 w 234"/>
                <a:gd name="T47" fmla="*/ 93 h 235"/>
                <a:gd name="T48" fmla="*/ 36 w 234"/>
                <a:gd name="T49" fmla="*/ 21 h 235"/>
                <a:gd name="T50" fmla="*/ 213 w 234"/>
                <a:gd name="T51" fmla="*/ 171 h 235"/>
                <a:gd name="T52" fmla="*/ 157 w 234"/>
                <a:gd name="T53" fmla="*/ 142 h 235"/>
                <a:gd name="T54" fmla="*/ 141 w 234"/>
                <a:gd name="T55" fmla="*/ 157 h 235"/>
                <a:gd name="T56" fmla="*/ 170 w 234"/>
                <a:gd name="T57" fmla="*/ 213 h 235"/>
                <a:gd name="T58" fmla="*/ 170 w 234"/>
                <a:gd name="T59" fmla="*/ 235 h 235"/>
                <a:gd name="T60" fmla="*/ 234 w 234"/>
                <a:gd name="T61" fmla="*/ 228 h 235"/>
                <a:gd name="T62" fmla="*/ 234 w 234"/>
                <a:gd name="T63" fmla="*/ 224 h 235"/>
                <a:gd name="T64" fmla="*/ 224 w 234"/>
                <a:gd name="T65" fmla="*/ 16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5">
                  <a:moveTo>
                    <a:pt x="234" y="11"/>
                  </a:moveTo>
                  <a:cubicBezTo>
                    <a:pt x="234" y="64"/>
                    <a:pt x="234" y="64"/>
                    <a:pt x="234" y="64"/>
                  </a:cubicBezTo>
                  <a:cubicBezTo>
                    <a:pt x="234" y="70"/>
                    <a:pt x="230" y="75"/>
                    <a:pt x="224" y="75"/>
                  </a:cubicBezTo>
                  <a:cubicBezTo>
                    <a:pt x="218" y="75"/>
                    <a:pt x="213" y="70"/>
                    <a:pt x="213" y="64"/>
                  </a:cubicBezTo>
                  <a:cubicBezTo>
                    <a:pt x="213" y="36"/>
                    <a:pt x="213" y="36"/>
                    <a:pt x="213" y="36"/>
                  </a:cubicBezTo>
                  <a:cubicBezTo>
                    <a:pt x="157" y="93"/>
                    <a:pt x="157" y="93"/>
                    <a:pt x="157" y="93"/>
                  </a:cubicBezTo>
                  <a:cubicBezTo>
                    <a:pt x="154" y="95"/>
                    <a:pt x="152" y="96"/>
                    <a:pt x="149" y="96"/>
                  </a:cubicBezTo>
                  <a:cubicBezTo>
                    <a:pt x="146" y="96"/>
                    <a:pt x="144" y="95"/>
                    <a:pt x="141" y="93"/>
                  </a:cubicBezTo>
                  <a:cubicBezTo>
                    <a:pt x="137" y="89"/>
                    <a:pt x="137" y="82"/>
                    <a:pt x="141" y="78"/>
                  </a:cubicBezTo>
                  <a:cubicBezTo>
                    <a:pt x="198" y="21"/>
                    <a:pt x="198" y="21"/>
                    <a:pt x="198" y="21"/>
                  </a:cubicBezTo>
                  <a:cubicBezTo>
                    <a:pt x="170" y="21"/>
                    <a:pt x="170" y="21"/>
                    <a:pt x="170" y="21"/>
                  </a:cubicBezTo>
                  <a:cubicBezTo>
                    <a:pt x="164" y="21"/>
                    <a:pt x="160" y="17"/>
                    <a:pt x="160" y="11"/>
                  </a:cubicBezTo>
                  <a:cubicBezTo>
                    <a:pt x="160" y="5"/>
                    <a:pt x="164" y="0"/>
                    <a:pt x="170" y="0"/>
                  </a:cubicBezTo>
                  <a:cubicBezTo>
                    <a:pt x="224" y="0"/>
                    <a:pt x="224" y="0"/>
                    <a:pt x="224" y="0"/>
                  </a:cubicBezTo>
                  <a:cubicBezTo>
                    <a:pt x="224" y="0"/>
                    <a:pt x="224" y="0"/>
                    <a:pt x="224" y="0"/>
                  </a:cubicBezTo>
                  <a:cubicBezTo>
                    <a:pt x="225" y="0"/>
                    <a:pt x="226" y="0"/>
                    <a:pt x="228" y="1"/>
                  </a:cubicBezTo>
                  <a:cubicBezTo>
                    <a:pt x="232" y="2"/>
                    <a:pt x="234" y="6"/>
                    <a:pt x="234" y="11"/>
                  </a:cubicBezTo>
                  <a:close/>
                  <a:moveTo>
                    <a:pt x="77" y="142"/>
                  </a:moveTo>
                  <a:cubicBezTo>
                    <a:pt x="21" y="198"/>
                    <a:pt x="21" y="198"/>
                    <a:pt x="21" y="198"/>
                  </a:cubicBezTo>
                  <a:cubicBezTo>
                    <a:pt x="21" y="171"/>
                    <a:pt x="21" y="171"/>
                    <a:pt x="21" y="171"/>
                  </a:cubicBezTo>
                  <a:cubicBezTo>
                    <a:pt x="21" y="165"/>
                    <a:pt x="16" y="160"/>
                    <a:pt x="10" y="160"/>
                  </a:cubicBezTo>
                  <a:cubicBezTo>
                    <a:pt x="4" y="160"/>
                    <a:pt x="0" y="165"/>
                    <a:pt x="0" y="171"/>
                  </a:cubicBezTo>
                  <a:cubicBezTo>
                    <a:pt x="0" y="224"/>
                    <a:pt x="0" y="224"/>
                    <a:pt x="0" y="224"/>
                  </a:cubicBezTo>
                  <a:cubicBezTo>
                    <a:pt x="0" y="224"/>
                    <a:pt x="0" y="224"/>
                    <a:pt x="0" y="224"/>
                  </a:cubicBezTo>
                  <a:cubicBezTo>
                    <a:pt x="0" y="226"/>
                    <a:pt x="0" y="227"/>
                    <a:pt x="0" y="228"/>
                  </a:cubicBezTo>
                  <a:cubicBezTo>
                    <a:pt x="2" y="232"/>
                    <a:pt x="6" y="235"/>
                    <a:pt x="10" y="235"/>
                  </a:cubicBezTo>
                  <a:cubicBezTo>
                    <a:pt x="64" y="235"/>
                    <a:pt x="64" y="235"/>
                    <a:pt x="64" y="235"/>
                  </a:cubicBezTo>
                  <a:cubicBezTo>
                    <a:pt x="70" y="235"/>
                    <a:pt x="74" y="230"/>
                    <a:pt x="74" y="224"/>
                  </a:cubicBezTo>
                  <a:cubicBezTo>
                    <a:pt x="74" y="218"/>
                    <a:pt x="70" y="213"/>
                    <a:pt x="64" y="213"/>
                  </a:cubicBezTo>
                  <a:cubicBezTo>
                    <a:pt x="36" y="213"/>
                    <a:pt x="36" y="213"/>
                    <a:pt x="36" y="213"/>
                  </a:cubicBezTo>
                  <a:cubicBezTo>
                    <a:pt x="93" y="157"/>
                    <a:pt x="93" y="157"/>
                    <a:pt x="93" y="157"/>
                  </a:cubicBezTo>
                  <a:cubicBezTo>
                    <a:pt x="97" y="153"/>
                    <a:pt x="97" y="146"/>
                    <a:pt x="93" y="142"/>
                  </a:cubicBezTo>
                  <a:cubicBezTo>
                    <a:pt x="88" y="138"/>
                    <a:pt x="82" y="138"/>
                    <a:pt x="77" y="142"/>
                  </a:cubicBezTo>
                  <a:close/>
                  <a:moveTo>
                    <a:pt x="36" y="21"/>
                  </a:moveTo>
                  <a:cubicBezTo>
                    <a:pt x="64" y="21"/>
                    <a:pt x="64" y="21"/>
                    <a:pt x="64" y="21"/>
                  </a:cubicBezTo>
                  <a:cubicBezTo>
                    <a:pt x="70" y="21"/>
                    <a:pt x="74" y="17"/>
                    <a:pt x="74" y="11"/>
                  </a:cubicBezTo>
                  <a:cubicBezTo>
                    <a:pt x="74" y="5"/>
                    <a:pt x="70" y="0"/>
                    <a:pt x="64" y="0"/>
                  </a:cubicBezTo>
                  <a:cubicBezTo>
                    <a:pt x="10" y="0"/>
                    <a:pt x="10" y="0"/>
                    <a:pt x="10" y="0"/>
                  </a:cubicBezTo>
                  <a:cubicBezTo>
                    <a:pt x="10" y="0"/>
                    <a:pt x="10" y="0"/>
                    <a:pt x="10" y="0"/>
                  </a:cubicBezTo>
                  <a:cubicBezTo>
                    <a:pt x="9" y="0"/>
                    <a:pt x="8" y="0"/>
                    <a:pt x="6" y="1"/>
                  </a:cubicBezTo>
                  <a:cubicBezTo>
                    <a:pt x="2" y="2"/>
                    <a:pt x="0" y="6"/>
                    <a:pt x="0" y="11"/>
                  </a:cubicBezTo>
                  <a:cubicBezTo>
                    <a:pt x="0" y="64"/>
                    <a:pt x="0" y="64"/>
                    <a:pt x="0" y="64"/>
                  </a:cubicBezTo>
                  <a:cubicBezTo>
                    <a:pt x="0" y="70"/>
                    <a:pt x="4" y="75"/>
                    <a:pt x="10" y="75"/>
                  </a:cubicBezTo>
                  <a:cubicBezTo>
                    <a:pt x="16" y="75"/>
                    <a:pt x="21" y="70"/>
                    <a:pt x="21" y="64"/>
                  </a:cubicBezTo>
                  <a:cubicBezTo>
                    <a:pt x="21" y="36"/>
                    <a:pt x="21" y="36"/>
                    <a:pt x="21" y="36"/>
                  </a:cubicBezTo>
                  <a:cubicBezTo>
                    <a:pt x="77" y="93"/>
                    <a:pt x="77" y="93"/>
                    <a:pt x="77" y="93"/>
                  </a:cubicBezTo>
                  <a:cubicBezTo>
                    <a:pt x="80" y="95"/>
                    <a:pt x="82" y="96"/>
                    <a:pt x="85" y="96"/>
                  </a:cubicBezTo>
                  <a:cubicBezTo>
                    <a:pt x="88" y="96"/>
                    <a:pt x="90" y="95"/>
                    <a:pt x="93" y="93"/>
                  </a:cubicBezTo>
                  <a:cubicBezTo>
                    <a:pt x="97" y="89"/>
                    <a:pt x="97" y="82"/>
                    <a:pt x="93" y="78"/>
                  </a:cubicBezTo>
                  <a:lnTo>
                    <a:pt x="36" y="21"/>
                  </a:lnTo>
                  <a:close/>
                  <a:moveTo>
                    <a:pt x="224" y="160"/>
                  </a:moveTo>
                  <a:cubicBezTo>
                    <a:pt x="218" y="160"/>
                    <a:pt x="213" y="165"/>
                    <a:pt x="213" y="171"/>
                  </a:cubicBezTo>
                  <a:cubicBezTo>
                    <a:pt x="213" y="198"/>
                    <a:pt x="213" y="198"/>
                    <a:pt x="213" y="198"/>
                  </a:cubicBezTo>
                  <a:cubicBezTo>
                    <a:pt x="157" y="142"/>
                    <a:pt x="157" y="142"/>
                    <a:pt x="157" y="142"/>
                  </a:cubicBezTo>
                  <a:cubicBezTo>
                    <a:pt x="152" y="138"/>
                    <a:pt x="146" y="138"/>
                    <a:pt x="141" y="142"/>
                  </a:cubicBezTo>
                  <a:cubicBezTo>
                    <a:pt x="137" y="146"/>
                    <a:pt x="137" y="153"/>
                    <a:pt x="141" y="157"/>
                  </a:cubicBezTo>
                  <a:cubicBezTo>
                    <a:pt x="198" y="213"/>
                    <a:pt x="198" y="213"/>
                    <a:pt x="198" y="213"/>
                  </a:cubicBezTo>
                  <a:cubicBezTo>
                    <a:pt x="170" y="213"/>
                    <a:pt x="170" y="213"/>
                    <a:pt x="170" y="213"/>
                  </a:cubicBezTo>
                  <a:cubicBezTo>
                    <a:pt x="164" y="213"/>
                    <a:pt x="160" y="218"/>
                    <a:pt x="160" y="224"/>
                  </a:cubicBezTo>
                  <a:cubicBezTo>
                    <a:pt x="160" y="230"/>
                    <a:pt x="164" y="235"/>
                    <a:pt x="170" y="235"/>
                  </a:cubicBezTo>
                  <a:cubicBezTo>
                    <a:pt x="224" y="235"/>
                    <a:pt x="224" y="235"/>
                    <a:pt x="224" y="235"/>
                  </a:cubicBezTo>
                  <a:cubicBezTo>
                    <a:pt x="228" y="235"/>
                    <a:pt x="232" y="232"/>
                    <a:pt x="234" y="228"/>
                  </a:cubicBezTo>
                  <a:cubicBezTo>
                    <a:pt x="234" y="227"/>
                    <a:pt x="234" y="226"/>
                    <a:pt x="234" y="224"/>
                  </a:cubicBezTo>
                  <a:cubicBezTo>
                    <a:pt x="234" y="224"/>
                    <a:pt x="234" y="224"/>
                    <a:pt x="234" y="224"/>
                  </a:cubicBezTo>
                  <a:cubicBezTo>
                    <a:pt x="234" y="171"/>
                    <a:pt x="234" y="171"/>
                    <a:pt x="234" y="171"/>
                  </a:cubicBezTo>
                  <a:cubicBezTo>
                    <a:pt x="234" y="165"/>
                    <a:pt x="230" y="160"/>
                    <a:pt x="224"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4" name="Freeform 417">
              <a:extLst>
                <a:ext uri="{FF2B5EF4-FFF2-40B4-BE49-F238E27FC236}">
                  <a16:creationId xmlns:a16="http://schemas.microsoft.com/office/drawing/2014/main" id="{03D392F7-B4ED-44D3-8E43-4527F343FDC5}"/>
                </a:ext>
              </a:extLst>
            </p:cNvPr>
            <p:cNvSpPr>
              <a:spLocks noEditPoints="1"/>
            </p:cNvSpPr>
            <p:nvPr/>
          </p:nvSpPr>
          <p:spPr bwMode="auto">
            <a:xfrm>
              <a:off x="3342" y="1878"/>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5" name="Freeform 421">
            <a:extLst>
              <a:ext uri="{FF2B5EF4-FFF2-40B4-BE49-F238E27FC236}">
                <a16:creationId xmlns:a16="http://schemas.microsoft.com/office/drawing/2014/main" id="{FC699985-C5E2-4EC6-9F5B-413056F781EA}"/>
              </a:ext>
            </a:extLst>
          </p:cNvPr>
          <p:cNvSpPr>
            <a:spLocks noChangeAspect="1" noEditPoints="1"/>
          </p:cNvSpPr>
          <p:nvPr/>
        </p:nvSpPr>
        <p:spPr bwMode="auto">
          <a:xfrm>
            <a:off x="3074154" y="330489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1 w 512"/>
              <a:gd name="T11" fmla="*/ 329 h 512"/>
              <a:gd name="T12" fmla="*/ 298 w 512"/>
              <a:gd name="T13" fmla="*/ 315 h 512"/>
              <a:gd name="T14" fmla="*/ 298 w 512"/>
              <a:gd name="T15" fmla="*/ 330 h 512"/>
              <a:gd name="T16" fmla="*/ 288 w 512"/>
              <a:gd name="T17" fmla="*/ 341 h 512"/>
              <a:gd name="T18" fmla="*/ 277 w 512"/>
              <a:gd name="T19" fmla="*/ 330 h 512"/>
              <a:gd name="T20" fmla="*/ 277 w 512"/>
              <a:gd name="T21" fmla="*/ 288 h 512"/>
              <a:gd name="T22" fmla="*/ 288 w 512"/>
              <a:gd name="T23" fmla="*/ 277 h 512"/>
              <a:gd name="T24" fmla="*/ 330 w 512"/>
              <a:gd name="T25" fmla="*/ 277 h 512"/>
              <a:gd name="T26" fmla="*/ 341 w 512"/>
              <a:gd name="T27" fmla="*/ 288 h 512"/>
              <a:gd name="T28" fmla="*/ 330 w 512"/>
              <a:gd name="T29" fmla="*/ 298 h 512"/>
              <a:gd name="T30" fmla="*/ 311 w 512"/>
              <a:gd name="T31" fmla="*/ 298 h 512"/>
              <a:gd name="T32" fmla="*/ 341 w 512"/>
              <a:gd name="T33" fmla="*/ 308 h 512"/>
              <a:gd name="T34" fmla="*/ 394 w 512"/>
              <a:gd name="T35" fmla="*/ 255 h 512"/>
              <a:gd name="T36" fmla="*/ 341 w 512"/>
              <a:gd name="T37" fmla="*/ 202 h 512"/>
              <a:gd name="T38" fmla="*/ 303 w 512"/>
              <a:gd name="T39" fmla="*/ 218 h 512"/>
              <a:gd name="T40" fmla="*/ 224 w 512"/>
              <a:gd name="T41" fmla="*/ 308 h 512"/>
              <a:gd name="T42" fmla="*/ 170 w 512"/>
              <a:gd name="T43" fmla="*/ 330 h 512"/>
              <a:gd name="T44" fmla="*/ 96 w 512"/>
              <a:gd name="T45" fmla="*/ 256 h 512"/>
              <a:gd name="T46" fmla="*/ 170 w 512"/>
              <a:gd name="T47" fmla="*/ 181 h 512"/>
              <a:gd name="T48" fmla="*/ 213 w 512"/>
              <a:gd name="T49" fmla="*/ 194 h 512"/>
              <a:gd name="T50" fmla="*/ 213 w 512"/>
              <a:gd name="T51" fmla="*/ 181 h 512"/>
              <a:gd name="T52" fmla="*/ 224 w 512"/>
              <a:gd name="T53" fmla="*/ 170 h 512"/>
              <a:gd name="T54" fmla="*/ 234 w 512"/>
              <a:gd name="T55" fmla="*/ 181 h 512"/>
              <a:gd name="T56" fmla="*/ 234 w 512"/>
              <a:gd name="T57" fmla="*/ 224 h 512"/>
              <a:gd name="T58" fmla="*/ 224 w 512"/>
              <a:gd name="T59" fmla="*/ 234 h 512"/>
              <a:gd name="T60" fmla="*/ 181 w 512"/>
              <a:gd name="T61" fmla="*/ 234 h 512"/>
              <a:gd name="T62" fmla="*/ 170 w 512"/>
              <a:gd name="T63" fmla="*/ 224 h 512"/>
              <a:gd name="T64" fmla="*/ 181 w 512"/>
              <a:gd name="T65" fmla="*/ 213 h 512"/>
              <a:gd name="T66" fmla="*/ 202 w 512"/>
              <a:gd name="T67" fmla="*/ 213 h 512"/>
              <a:gd name="T68" fmla="*/ 170 w 512"/>
              <a:gd name="T69" fmla="*/ 202 h 512"/>
              <a:gd name="T70" fmla="*/ 117 w 512"/>
              <a:gd name="T71" fmla="*/ 256 h 512"/>
              <a:gd name="T72" fmla="*/ 170 w 512"/>
              <a:gd name="T73" fmla="*/ 309 h 512"/>
              <a:gd name="T74" fmla="*/ 208 w 512"/>
              <a:gd name="T75" fmla="*/ 293 h 512"/>
              <a:gd name="T76" fmla="*/ 288 w 512"/>
              <a:gd name="T77" fmla="*/ 203 h 512"/>
              <a:gd name="T78" fmla="*/ 341 w 512"/>
              <a:gd name="T79" fmla="*/ 181 h 512"/>
              <a:gd name="T80" fmla="*/ 415 w 512"/>
              <a:gd name="T81" fmla="*/ 255 h 512"/>
              <a:gd name="T82" fmla="*/ 341 w 512"/>
              <a:gd name="T83" fmla="*/ 32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329"/>
                </a:moveTo>
                <a:cubicBezTo>
                  <a:pt x="325" y="329"/>
                  <a:pt x="311" y="324"/>
                  <a:pt x="298" y="315"/>
                </a:cubicBezTo>
                <a:cubicBezTo>
                  <a:pt x="298" y="330"/>
                  <a:pt x="298" y="330"/>
                  <a:pt x="298" y="330"/>
                </a:cubicBezTo>
                <a:cubicBezTo>
                  <a:pt x="298" y="336"/>
                  <a:pt x="294" y="341"/>
                  <a:pt x="288" y="341"/>
                </a:cubicBezTo>
                <a:cubicBezTo>
                  <a:pt x="282" y="341"/>
                  <a:pt x="277" y="336"/>
                  <a:pt x="277" y="330"/>
                </a:cubicBezTo>
                <a:cubicBezTo>
                  <a:pt x="277" y="288"/>
                  <a:pt x="277" y="288"/>
                  <a:pt x="277" y="288"/>
                </a:cubicBezTo>
                <a:cubicBezTo>
                  <a:pt x="277" y="282"/>
                  <a:pt x="282" y="277"/>
                  <a:pt x="288" y="277"/>
                </a:cubicBezTo>
                <a:cubicBezTo>
                  <a:pt x="330" y="277"/>
                  <a:pt x="330" y="277"/>
                  <a:pt x="330" y="277"/>
                </a:cubicBezTo>
                <a:cubicBezTo>
                  <a:pt x="336" y="277"/>
                  <a:pt x="341" y="282"/>
                  <a:pt x="341" y="288"/>
                </a:cubicBezTo>
                <a:cubicBezTo>
                  <a:pt x="341" y="294"/>
                  <a:pt x="336" y="298"/>
                  <a:pt x="330" y="298"/>
                </a:cubicBezTo>
                <a:cubicBezTo>
                  <a:pt x="311" y="298"/>
                  <a:pt x="311" y="298"/>
                  <a:pt x="311" y="298"/>
                </a:cubicBezTo>
                <a:cubicBezTo>
                  <a:pt x="320" y="304"/>
                  <a:pt x="330" y="308"/>
                  <a:pt x="341" y="308"/>
                </a:cubicBezTo>
                <a:cubicBezTo>
                  <a:pt x="370" y="308"/>
                  <a:pt x="394" y="284"/>
                  <a:pt x="394" y="255"/>
                </a:cubicBezTo>
                <a:cubicBezTo>
                  <a:pt x="394" y="226"/>
                  <a:pt x="370" y="202"/>
                  <a:pt x="341" y="202"/>
                </a:cubicBezTo>
                <a:cubicBezTo>
                  <a:pt x="327" y="202"/>
                  <a:pt x="313" y="208"/>
                  <a:pt x="303" y="218"/>
                </a:cubicBezTo>
                <a:cubicBezTo>
                  <a:pt x="224" y="308"/>
                  <a:pt x="224" y="308"/>
                  <a:pt x="224" y="308"/>
                </a:cubicBezTo>
                <a:cubicBezTo>
                  <a:pt x="209" y="323"/>
                  <a:pt x="190" y="330"/>
                  <a:pt x="170" y="330"/>
                </a:cubicBezTo>
                <a:cubicBezTo>
                  <a:pt x="129" y="330"/>
                  <a:pt x="96" y="297"/>
                  <a:pt x="96" y="256"/>
                </a:cubicBezTo>
                <a:cubicBezTo>
                  <a:pt x="96" y="214"/>
                  <a:pt x="129" y="181"/>
                  <a:pt x="170" y="181"/>
                </a:cubicBezTo>
                <a:cubicBezTo>
                  <a:pt x="186" y="181"/>
                  <a:pt x="201" y="186"/>
                  <a:pt x="213" y="194"/>
                </a:cubicBezTo>
                <a:cubicBezTo>
                  <a:pt x="213" y="181"/>
                  <a:pt x="213" y="181"/>
                  <a:pt x="213" y="181"/>
                </a:cubicBezTo>
                <a:cubicBezTo>
                  <a:pt x="213" y="175"/>
                  <a:pt x="218" y="170"/>
                  <a:pt x="224" y="170"/>
                </a:cubicBezTo>
                <a:cubicBezTo>
                  <a:pt x="230" y="170"/>
                  <a:pt x="234" y="175"/>
                  <a:pt x="234" y="181"/>
                </a:cubicBezTo>
                <a:cubicBezTo>
                  <a:pt x="234" y="224"/>
                  <a:pt x="234" y="224"/>
                  <a:pt x="234" y="224"/>
                </a:cubicBezTo>
                <a:cubicBezTo>
                  <a:pt x="234" y="230"/>
                  <a:pt x="230" y="234"/>
                  <a:pt x="224" y="234"/>
                </a:cubicBezTo>
                <a:cubicBezTo>
                  <a:pt x="181" y="234"/>
                  <a:pt x="181" y="234"/>
                  <a:pt x="181" y="234"/>
                </a:cubicBezTo>
                <a:cubicBezTo>
                  <a:pt x="175" y="234"/>
                  <a:pt x="170" y="230"/>
                  <a:pt x="170" y="224"/>
                </a:cubicBezTo>
                <a:cubicBezTo>
                  <a:pt x="170" y="218"/>
                  <a:pt x="175" y="213"/>
                  <a:pt x="181" y="213"/>
                </a:cubicBezTo>
                <a:cubicBezTo>
                  <a:pt x="202" y="213"/>
                  <a:pt x="202" y="213"/>
                  <a:pt x="202" y="213"/>
                </a:cubicBezTo>
                <a:cubicBezTo>
                  <a:pt x="193" y="206"/>
                  <a:pt x="182" y="202"/>
                  <a:pt x="170" y="202"/>
                </a:cubicBezTo>
                <a:cubicBezTo>
                  <a:pt x="141" y="202"/>
                  <a:pt x="117" y="226"/>
                  <a:pt x="117" y="256"/>
                </a:cubicBezTo>
                <a:cubicBezTo>
                  <a:pt x="117" y="285"/>
                  <a:pt x="141" y="309"/>
                  <a:pt x="170" y="309"/>
                </a:cubicBezTo>
                <a:cubicBezTo>
                  <a:pt x="185" y="309"/>
                  <a:pt x="198" y="303"/>
                  <a:pt x="208" y="293"/>
                </a:cubicBezTo>
                <a:cubicBezTo>
                  <a:pt x="288" y="203"/>
                  <a:pt x="288" y="203"/>
                  <a:pt x="288" y="203"/>
                </a:cubicBezTo>
                <a:cubicBezTo>
                  <a:pt x="302" y="189"/>
                  <a:pt x="321" y="181"/>
                  <a:pt x="341" y="181"/>
                </a:cubicBezTo>
                <a:cubicBezTo>
                  <a:pt x="382" y="181"/>
                  <a:pt x="415" y="214"/>
                  <a:pt x="415" y="255"/>
                </a:cubicBezTo>
                <a:cubicBezTo>
                  <a:pt x="415" y="296"/>
                  <a:pt x="382" y="329"/>
                  <a:pt x="341" y="32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6" name="Group 424">
            <a:extLst>
              <a:ext uri="{FF2B5EF4-FFF2-40B4-BE49-F238E27FC236}">
                <a16:creationId xmlns:a16="http://schemas.microsoft.com/office/drawing/2014/main" id="{E58E7C2D-19BD-4ED6-A530-86A00D3B1140}"/>
              </a:ext>
            </a:extLst>
          </p:cNvPr>
          <p:cNvGrpSpPr>
            <a:grpSpLocks noChangeAspect="1"/>
          </p:cNvGrpSpPr>
          <p:nvPr/>
        </p:nvGrpSpPr>
        <p:grpSpPr bwMode="auto">
          <a:xfrm>
            <a:off x="3508887" y="3304893"/>
            <a:ext cx="367041" cy="368121"/>
            <a:chOff x="3859" y="1900"/>
            <a:chExt cx="340" cy="341"/>
          </a:xfrm>
          <a:solidFill>
            <a:schemeClr val="accent5"/>
          </a:solidFill>
        </p:grpSpPr>
        <p:sp>
          <p:nvSpPr>
            <p:cNvPr id="557" name="Freeform 425">
              <a:extLst>
                <a:ext uri="{FF2B5EF4-FFF2-40B4-BE49-F238E27FC236}">
                  <a16:creationId xmlns:a16="http://schemas.microsoft.com/office/drawing/2014/main" id="{F3C851D8-7367-46EA-B205-F5B0E5AD07FA}"/>
                </a:ext>
              </a:extLst>
            </p:cNvPr>
            <p:cNvSpPr>
              <a:spLocks noEditPoints="1"/>
            </p:cNvSpPr>
            <p:nvPr/>
          </p:nvSpPr>
          <p:spPr bwMode="auto">
            <a:xfrm>
              <a:off x="3859" y="190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8" name="Freeform 426">
              <a:extLst>
                <a:ext uri="{FF2B5EF4-FFF2-40B4-BE49-F238E27FC236}">
                  <a16:creationId xmlns:a16="http://schemas.microsoft.com/office/drawing/2014/main" id="{E58D3FC0-BC2E-4E7D-8A6A-04AB9A24FBFF}"/>
                </a:ext>
              </a:extLst>
            </p:cNvPr>
            <p:cNvSpPr>
              <a:spLocks/>
            </p:cNvSpPr>
            <p:nvPr/>
          </p:nvSpPr>
          <p:spPr bwMode="auto">
            <a:xfrm>
              <a:off x="3923" y="2013"/>
              <a:ext cx="212" cy="114"/>
            </a:xfrm>
            <a:custGeom>
              <a:avLst/>
              <a:gdLst>
                <a:gd name="T0" fmla="*/ 319 w 319"/>
                <a:gd name="T1" fmla="*/ 85 h 171"/>
                <a:gd name="T2" fmla="*/ 245 w 319"/>
                <a:gd name="T3" fmla="*/ 159 h 171"/>
                <a:gd name="T4" fmla="*/ 202 w 319"/>
                <a:gd name="T5" fmla="*/ 145 h 171"/>
                <a:gd name="T6" fmla="*/ 202 w 319"/>
                <a:gd name="T7" fmla="*/ 160 h 171"/>
                <a:gd name="T8" fmla="*/ 192 w 319"/>
                <a:gd name="T9" fmla="*/ 171 h 171"/>
                <a:gd name="T10" fmla="*/ 181 w 319"/>
                <a:gd name="T11" fmla="*/ 160 h 171"/>
                <a:gd name="T12" fmla="*/ 181 w 319"/>
                <a:gd name="T13" fmla="*/ 118 h 171"/>
                <a:gd name="T14" fmla="*/ 192 w 319"/>
                <a:gd name="T15" fmla="*/ 107 h 171"/>
                <a:gd name="T16" fmla="*/ 234 w 319"/>
                <a:gd name="T17" fmla="*/ 107 h 171"/>
                <a:gd name="T18" fmla="*/ 245 w 319"/>
                <a:gd name="T19" fmla="*/ 118 h 171"/>
                <a:gd name="T20" fmla="*/ 234 w 319"/>
                <a:gd name="T21" fmla="*/ 128 h 171"/>
                <a:gd name="T22" fmla="*/ 215 w 319"/>
                <a:gd name="T23" fmla="*/ 128 h 171"/>
                <a:gd name="T24" fmla="*/ 245 w 319"/>
                <a:gd name="T25" fmla="*/ 138 h 171"/>
                <a:gd name="T26" fmla="*/ 298 w 319"/>
                <a:gd name="T27" fmla="*/ 85 h 171"/>
                <a:gd name="T28" fmla="*/ 245 w 319"/>
                <a:gd name="T29" fmla="*/ 32 h 171"/>
                <a:gd name="T30" fmla="*/ 207 w 319"/>
                <a:gd name="T31" fmla="*/ 48 h 171"/>
                <a:gd name="T32" fmla="*/ 128 w 319"/>
                <a:gd name="T33" fmla="*/ 138 h 171"/>
                <a:gd name="T34" fmla="*/ 74 w 319"/>
                <a:gd name="T35" fmla="*/ 160 h 171"/>
                <a:gd name="T36" fmla="*/ 0 w 319"/>
                <a:gd name="T37" fmla="*/ 86 h 171"/>
                <a:gd name="T38" fmla="*/ 74 w 319"/>
                <a:gd name="T39" fmla="*/ 11 h 171"/>
                <a:gd name="T40" fmla="*/ 117 w 319"/>
                <a:gd name="T41" fmla="*/ 24 h 171"/>
                <a:gd name="T42" fmla="*/ 117 w 319"/>
                <a:gd name="T43" fmla="*/ 11 h 171"/>
                <a:gd name="T44" fmla="*/ 128 w 319"/>
                <a:gd name="T45" fmla="*/ 0 h 171"/>
                <a:gd name="T46" fmla="*/ 138 w 319"/>
                <a:gd name="T47" fmla="*/ 11 h 171"/>
                <a:gd name="T48" fmla="*/ 138 w 319"/>
                <a:gd name="T49" fmla="*/ 54 h 171"/>
                <a:gd name="T50" fmla="*/ 128 w 319"/>
                <a:gd name="T51" fmla="*/ 64 h 171"/>
                <a:gd name="T52" fmla="*/ 85 w 319"/>
                <a:gd name="T53" fmla="*/ 64 h 171"/>
                <a:gd name="T54" fmla="*/ 74 w 319"/>
                <a:gd name="T55" fmla="*/ 54 h 171"/>
                <a:gd name="T56" fmla="*/ 85 w 319"/>
                <a:gd name="T57" fmla="*/ 43 h 171"/>
                <a:gd name="T58" fmla="*/ 106 w 319"/>
                <a:gd name="T59" fmla="*/ 43 h 171"/>
                <a:gd name="T60" fmla="*/ 74 w 319"/>
                <a:gd name="T61" fmla="*/ 32 h 171"/>
                <a:gd name="T62" fmla="*/ 21 w 319"/>
                <a:gd name="T63" fmla="*/ 86 h 171"/>
                <a:gd name="T64" fmla="*/ 74 w 319"/>
                <a:gd name="T65" fmla="*/ 139 h 171"/>
                <a:gd name="T66" fmla="*/ 112 w 319"/>
                <a:gd name="T67" fmla="*/ 123 h 171"/>
                <a:gd name="T68" fmla="*/ 192 w 319"/>
                <a:gd name="T69" fmla="*/ 33 h 171"/>
                <a:gd name="T70" fmla="*/ 245 w 319"/>
                <a:gd name="T71" fmla="*/ 11 h 171"/>
                <a:gd name="T72" fmla="*/ 319 w 319"/>
                <a:gd name="T7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9" h="171">
                  <a:moveTo>
                    <a:pt x="319" y="85"/>
                  </a:moveTo>
                  <a:cubicBezTo>
                    <a:pt x="319" y="126"/>
                    <a:pt x="286" y="159"/>
                    <a:pt x="245" y="159"/>
                  </a:cubicBezTo>
                  <a:cubicBezTo>
                    <a:pt x="229" y="159"/>
                    <a:pt x="215" y="154"/>
                    <a:pt x="202" y="145"/>
                  </a:cubicBezTo>
                  <a:cubicBezTo>
                    <a:pt x="202" y="160"/>
                    <a:pt x="202" y="160"/>
                    <a:pt x="202" y="160"/>
                  </a:cubicBezTo>
                  <a:cubicBezTo>
                    <a:pt x="202" y="166"/>
                    <a:pt x="198" y="171"/>
                    <a:pt x="192" y="171"/>
                  </a:cubicBezTo>
                  <a:cubicBezTo>
                    <a:pt x="186" y="171"/>
                    <a:pt x="181" y="166"/>
                    <a:pt x="181" y="160"/>
                  </a:cubicBezTo>
                  <a:cubicBezTo>
                    <a:pt x="181" y="118"/>
                    <a:pt x="181" y="118"/>
                    <a:pt x="181" y="118"/>
                  </a:cubicBezTo>
                  <a:cubicBezTo>
                    <a:pt x="181" y="112"/>
                    <a:pt x="186" y="107"/>
                    <a:pt x="192" y="107"/>
                  </a:cubicBezTo>
                  <a:cubicBezTo>
                    <a:pt x="234" y="107"/>
                    <a:pt x="234" y="107"/>
                    <a:pt x="234" y="107"/>
                  </a:cubicBezTo>
                  <a:cubicBezTo>
                    <a:pt x="240" y="107"/>
                    <a:pt x="245" y="112"/>
                    <a:pt x="245" y="118"/>
                  </a:cubicBezTo>
                  <a:cubicBezTo>
                    <a:pt x="245" y="124"/>
                    <a:pt x="240" y="128"/>
                    <a:pt x="234" y="128"/>
                  </a:cubicBezTo>
                  <a:cubicBezTo>
                    <a:pt x="215" y="128"/>
                    <a:pt x="215" y="128"/>
                    <a:pt x="215" y="128"/>
                  </a:cubicBezTo>
                  <a:cubicBezTo>
                    <a:pt x="224" y="134"/>
                    <a:pt x="234" y="138"/>
                    <a:pt x="245" y="138"/>
                  </a:cubicBezTo>
                  <a:cubicBezTo>
                    <a:pt x="274" y="138"/>
                    <a:pt x="298" y="114"/>
                    <a:pt x="298" y="85"/>
                  </a:cubicBezTo>
                  <a:cubicBezTo>
                    <a:pt x="298" y="56"/>
                    <a:pt x="274" y="32"/>
                    <a:pt x="245" y="32"/>
                  </a:cubicBezTo>
                  <a:cubicBezTo>
                    <a:pt x="231" y="32"/>
                    <a:pt x="217" y="38"/>
                    <a:pt x="207" y="48"/>
                  </a:cubicBezTo>
                  <a:cubicBezTo>
                    <a:pt x="128" y="138"/>
                    <a:pt x="128" y="138"/>
                    <a:pt x="128" y="138"/>
                  </a:cubicBezTo>
                  <a:cubicBezTo>
                    <a:pt x="113" y="153"/>
                    <a:pt x="94" y="160"/>
                    <a:pt x="74" y="160"/>
                  </a:cubicBezTo>
                  <a:cubicBezTo>
                    <a:pt x="33" y="160"/>
                    <a:pt x="0" y="127"/>
                    <a:pt x="0" y="86"/>
                  </a:cubicBezTo>
                  <a:cubicBezTo>
                    <a:pt x="0" y="44"/>
                    <a:pt x="33" y="11"/>
                    <a:pt x="74" y="11"/>
                  </a:cubicBezTo>
                  <a:cubicBezTo>
                    <a:pt x="90" y="11"/>
                    <a:pt x="105" y="16"/>
                    <a:pt x="117" y="24"/>
                  </a:cubicBezTo>
                  <a:cubicBezTo>
                    <a:pt x="117" y="11"/>
                    <a:pt x="117" y="11"/>
                    <a:pt x="117" y="11"/>
                  </a:cubicBezTo>
                  <a:cubicBezTo>
                    <a:pt x="117" y="5"/>
                    <a:pt x="122" y="0"/>
                    <a:pt x="128" y="0"/>
                  </a:cubicBezTo>
                  <a:cubicBezTo>
                    <a:pt x="134" y="0"/>
                    <a:pt x="138" y="5"/>
                    <a:pt x="138" y="11"/>
                  </a:cubicBezTo>
                  <a:cubicBezTo>
                    <a:pt x="138" y="54"/>
                    <a:pt x="138" y="54"/>
                    <a:pt x="138" y="54"/>
                  </a:cubicBezTo>
                  <a:cubicBezTo>
                    <a:pt x="138" y="60"/>
                    <a:pt x="134" y="64"/>
                    <a:pt x="128" y="64"/>
                  </a:cubicBezTo>
                  <a:cubicBezTo>
                    <a:pt x="85" y="64"/>
                    <a:pt x="85" y="64"/>
                    <a:pt x="85" y="64"/>
                  </a:cubicBezTo>
                  <a:cubicBezTo>
                    <a:pt x="79" y="64"/>
                    <a:pt x="74" y="60"/>
                    <a:pt x="74" y="54"/>
                  </a:cubicBezTo>
                  <a:cubicBezTo>
                    <a:pt x="74" y="48"/>
                    <a:pt x="79" y="43"/>
                    <a:pt x="85" y="43"/>
                  </a:cubicBezTo>
                  <a:cubicBezTo>
                    <a:pt x="106" y="43"/>
                    <a:pt x="106" y="43"/>
                    <a:pt x="106" y="43"/>
                  </a:cubicBezTo>
                  <a:cubicBezTo>
                    <a:pt x="97" y="36"/>
                    <a:pt x="86" y="32"/>
                    <a:pt x="74" y="32"/>
                  </a:cubicBezTo>
                  <a:cubicBezTo>
                    <a:pt x="45" y="32"/>
                    <a:pt x="21" y="56"/>
                    <a:pt x="21" y="86"/>
                  </a:cubicBezTo>
                  <a:cubicBezTo>
                    <a:pt x="21" y="115"/>
                    <a:pt x="45" y="139"/>
                    <a:pt x="74" y="139"/>
                  </a:cubicBezTo>
                  <a:cubicBezTo>
                    <a:pt x="89" y="139"/>
                    <a:pt x="102" y="133"/>
                    <a:pt x="112" y="123"/>
                  </a:cubicBezTo>
                  <a:cubicBezTo>
                    <a:pt x="192" y="33"/>
                    <a:pt x="192" y="33"/>
                    <a:pt x="192" y="33"/>
                  </a:cubicBezTo>
                  <a:cubicBezTo>
                    <a:pt x="206" y="19"/>
                    <a:pt x="225" y="11"/>
                    <a:pt x="245" y="11"/>
                  </a:cubicBezTo>
                  <a:cubicBezTo>
                    <a:pt x="286" y="11"/>
                    <a:pt x="319" y="44"/>
                    <a:pt x="319"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9" name="Freeform 268">
            <a:extLst>
              <a:ext uri="{FF2B5EF4-FFF2-40B4-BE49-F238E27FC236}">
                <a16:creationId xmlns:a16="http://schemas.microsoft.com/office/drawing/2014/main" id="{E9B0813A-E802-423E-B47B-93051D88CD84}"/>
              </a:ext>
            </a:extLst>
          </p:cNvPr>
          <p:cNvSpPr>
            <a:spLocks noChangeAspect="1" noEditPoints="1"/>
          </p:cNvSpPr>
          <p:nvPr/>
        </p:nvSpPr>
        <p:spPr bwMode="auto">
          <a:xfrm>
            <a:off x="4814266" y="330489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324 h 512"/>
              <a:gd name="T12" fmla="*/ 413 w 512"/>
              <a:gd name="T13" fmla="*/ 327 h 512"/>
              <a:gd name="T14" fmla="*/ 370 w 512"/>
              <a:gd name="T15" fmla="*/ 370 h 512"/>
              <a:gd name="T16" fmla="*/ 362 w 512"/>
              <a:gd name="T17" fmla="*/ 373 h 512"/>
              <a:gd name="T18" fmla="*/ 355 w 512"/>
              <a:gd name="T19" fmla="*/ 370 h 512"/>
              <a:gd name="T20" fmla="*/ 355 w 512"/>
              <a:gd name="T21" fmla="*/ 355 h 512"/>
              <a:gd name="T22" fmla="*/ 379 w 512"/>
              <a:gd name="T23" fmla="*/ 330 h 512"/>
              <a:gd name="T24" fmla="*/ 106 w 512"/>
              <a:gd name="T25" fmla="*/ 330 h 512"/>
              <a:gd name="T26" fmla="*/ 96 w 512"/>
              <a:gd name="T27" fmla="*/ 320 h 512"/>
              <a:gd name="T28" fmla="*/ 106 w 512"/>
              <a:gd name="T29" fmla="*/ 309 h 512"/>
              <a:gd name="T30" fmla="*/ 379 w 512"/>
              <a:gd name="T31" fmla="*/ 309 h 512"/>
              <a:gd name="T32" fmla="*/ 355 w 512"/>
              <a:gd name="T33" fmla="*/ 285 h 512"/>
              <a:gd name="T34" fmla="*/ 355 w 512"/>
              <a:gd name="T35" fmla="*/ 269 h 512"/>
              <a:gd name="T36" fmla="*/ 370 w 512"/>
              <a:gd name="T37" fmla="*/ 269 h 512"/>
              <a:gd name="T38" fmla="*/ 413 w 512"/>
              <a:gd name="T39" fmla="*/ 312 h 512"/>
              <a:gd name="T40" fmla="*/ 415 w 512"/>
              <a:gd name="T41" fmla="*/ 316 h 512"/>
              <a:gd name="T42" fmla="*/ 415 w 512"/>
              <a:gd name="T43" fmla="*/ 324 h 512"/>
              <a:gd name="T44" fmla="*/ 405 w 512"/>
              <a:gd name="T45" fmla="*/ 202 h 512"/>
              <a:gd name="T46" fmla="*/ 132 w 512"/>
              <a:gd name="T47" fmla="*/ 202 h 512"/>
              <a:gd name="T48" fmla="*/ 157 w 512"/>
              <a:gd name="T49" fmla="*/ 227 h 512"/>
              <a:gd name="T50" fmla="*/ 157 w 512"/>
              <a:gd name="T51" fmla="*/ 242 h 512"/>
              <a:gd name="T52" fmla="*/ 149 w 512"/>
              <a:gd name="T53" fmla="*/ 245 h 512"/>
              <a:gd name="T54" fmla="*/ 141 w 512"/>
              <a:gd name="T55" fmla="*/ 242 h 512"/>
              <a:gd name="T56" fmla="*/ 99 w 512"/>
              <a:gd name="T57" fmla="*/ 199 h 512"/>
              <a:gd name="T58" fmla="*/ 96 w 512"/>
              <a:gd name="T59" fmla="*/ 196 h 512"/>
              <a:gd name="T60" fmla="*/ 96 w 512"/>
              <a:gd name="T61" fmla="*/ 188 h 512"/>
              <a:gd name="T62" fmla="*/ 99 w 512"/>
              <a:gd name="T63" fmla="*/ 184 h 512"/>
              <a:gd name="T64" fmla="*/ 141 w 512"/>
              <a:gd name="T65" fmla="*/ 141 h 512"/>
              <a:gd name="T66" fmla="*/ 157 w 512"/>
              <a:gd name="T67" fmla="*/ 141 h 512"/>
              <a:gd name="T68" fmla="*/ 157 w 512"/>
              <a:gd name="T69" fmla="*/ 157 h 512"/>
              <a:gd name="T70" fmla="*/ 132 w 512"/>
              <a:gd name="T71" fmla="*/ 181 h 512"/>
              <a:gd name="T72" fmla="*/ 405 w 512"/>
              <a:gd name="T73" fmla="*/ 181 h 512"/>
              <a:gd name="T74" fmla="*/ 416 w 512"/>
              <a:gd name="T75" fmla="*/ 192 h 512"/>
              <a:gd name="T76" fmla="*/ 405 w 512"/>
              <a:gd name="T77"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24"/>
                </a:moveTo>
                <a:cubicBezTo>
                  <a:pt x="414" y="325"/>
                  <a:pt x="414" y="326"/>
                  <a:pt x="413" y="327"/>
                </a:cubicBezTo>
                <a:cubicBezTo>
                  <a:pt x="370" y="370"/>
                  <a:pt x="370" y="370"/>
                  <a:pt x="370" y="370"/>
                </a:cubicBezTo>
                <a:cubicBezTo>
                  <a:pt x="368" y="372"/>
                  <a:pt x="365" y="373"/>
                  <a:pt x="362" y="373"/>
                </a:cubicBezTo>
                <a:cubicBezTo>
                  <a:pt x="360" y="373"/>
                  <a:pt x="357" y="372"/>
                  <a:pt x="355" y="370"/>
                </a:cubicBezTo>
                <a:cubicBezTo>
                  <a:pt x="351" y="366"/>
                  <a:pt x="351" y="359"/>
                  <a:pt x="355" y="355"/>
                </a:cubicBezTo>
                <a:cubicBezTo>
                  <a:pt x="379" y="330"/>
                  <a:pt x="379" y="330"/>
                  <a:pt x="379" y="330"/>
                </a:cubicBezTo>
                <a:cubicBezTo>
                  <a:pt x="106" y="330"/>
                  <a:pt x="106" y="330"/>
                  <a:pt x="106" y="330"/>
                </a:cubicBezTo>
                <a:cubicBezTo>
                  <a:pt x="100" y="330"/>
                  <a:pt x="96" y="326"/>
                  <a:pt x="96" y="320"/>
                </a:cubicBezTo>
                <a:cubicBezTo>
                  <a:pt x="96" y="314"/>
                  <a:pt x="100" y="309"/>
                  <a:pt x="106" y="309"/>
                </a:cubicBezTo>
                <a:cubicBezTo>
                  <a:pt x="379" y="309"/>
                  <a:pt x="379" y="309"/>
                  <a:pt x="379" y="309"/>
                </a:cubicBezTo>
                <a:cubicBezTo>
                  <a:pt x="355" y="285"/>
                  <a:pt x="355" y="285"/>
                  <a:pt x="355" y="285"/>
                </a:cubicBezTo>
                <a:cubicBezTo>
                  <a:pt x="351" y="280"/>
                  <a:pt x="351" y="274"/>
                  <a:pt x="355" y="269"/>
                </a:cubicBezTo>
                <a:cubicBezTo>
                  <a:pt x="359" y="265"/>
                  <a:pt x="366" y="265"/>
                  <a:pt x="370" y="269"/>
                </a:cubicBezTo>
                <a:cubicBezTo>
                  <a:pt x="413" y="312"/>
                  <a:pt x="413" y="312"/>
                  <a:pt x="413" y="312"/>
                </a:cubicBezTo>
                <a:cubicBezTo>
                  <a:pt x="414" y="313"/>
                  <a:pt x="414" y="314"/>
                  <a:pt x="415" y="316"/>
                </a:cubicBezTo>
                <a:cubicBezTo>
                  <a:pt x="416" y="318"/>
                  <a:pt x="416" y="321"/>
                  <a:pt x="415" y="324"/>
                </a:cubicBezTo>
                <a:close/>
                <a:moveTo>
                  <a:pt x="405" y="202"/>
                </a:moveTo>
                <a:cubicBezTo>
                  <a:pt x="132" y="202"/>
                  <a:pt x="132" y="202"/>
                  <a:pt x="132" y="202"/>
                </a:cubicBezTo>
                <a:cubicBezTo>
                  <a:pt x="157" y="227"/>
                  <a:pt x="157" y="227"/>
                  <a:pt x="157" y="227"/>
                </a:cubicBezTo>
                <a:cubicBezTo>
                  <a:pt x="161" y="231"/>
                  <a:pt x="161" y="238"/>
                  <a:pt x="157" y="242"/>
                </a:cubicBezTo>
                <a:cubicBezTo>
                  <a:pt x="154" y="244"/>
                  <a:pt x="152" y="245"/>
                  <a:pt x="149" y="245"/>
                </a:cubicBezTo>
                <a:cubicBezTo>
                  <a:pt x="146" y="245"/>
                  <a:pt x="144" y="244"/>
                  <a:pt x="141" y="242"/>
                </a:cubicBezTo>
                <a:cubicBezTo>
                  <a:pt x="99" y="199"/>
                  <a:pt x="99" y="199"/>
                  <a:pt x="99" y="199"/>
                </a:cubicBezTo>
                <a:cubicBezTo>
                  <a:pt x="98" y="198"/>
                  <a:pt x="97" y="197"/>
                  <a:pt x="96" y="196"/>
                </a:cubicBezTo>
                <a:cubicBezTo>
                  <a:pt x="95" y="193"/>
                  <a:pt x="95" y="190"/>
                  <a:pt x="96" y="188"/>
                </a:cubicBezTo>
                <a:cubicBezTo>
                  <a:pt x="97" y="186"/>
                  <a:pt x="98" y="185"/>
                  <a:pt x="99" y="184"/>
                </a:cubicBezTo>
                <a:cubicBezTo>
                  <a:pt x="141" y="141"/>
                  <a:pt x="141" y="141"/>
                  <a:pt x="141" y="141"/>
                </a:cubicBezTo>
                <a:cubicBezTo>
                  <a:pt x="146" y="137"/>
                  <a:pt x="152" y="137"/>
                  <a:pt x="157" y="141"/>
                </a:cubicBezTo>
                <a:cubicBezTo>
                  <a:pt x="161" y="146"/>
                  <a:pt x="161" y="152"/>
                  <a:pt x="157" y="157"/>
                </a:cubicBezTo>
                <a:cubicBezTo>
                  <a:pt x="132" y="181"/>
                  <a:pt x="132" y="181"/>
                  <a:pt x="132" y="181"/>
                </a:cubicBezTo>
                <a:cubicBezTo>
                  <a:pt x="405" y="181"/>
                  <a:pt x="405" y="181"/>
                  <a:pt x="405" y="181"/>
                </a:cubicBezTo>
                <a:cubicBezTo>
                  <a:pt x="411" y="181"/>
                  <a:pt x="416" y="186"/>
                  <a:pt x="416" y="192"/>
                </a:cubicBezTo>
                <a:cubicBezTo>
                  <a:pt x="416" y="198"/>
                  <a:pt x="411" y="202"/>
                  <a:pt x="405" y="20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0" name="Group 271">
            <a:extLst>
              <a:ext uri="{FF2B5EF4-FFF2-40B4-BE49-F238E27FC236}">
                <a16:creationId xmlns:a16="http://schemas.microsoft.com/office/drawing/2014/main" id="{E2FBB24F-AA53-4D5F-A7BB-189D11DF5C86}"/>
              </a:ext>
            </a:extLst>
          </p:cNvPr>
          <p:cNvGrpSpPr>
            <a:grpSpLocks noChangeAspect="1"/>
          </p:cNvGrpSpPr>
          <p:nvPr/>
        </p:nvGrpSpPr>
        <p:grpSpPr bwMode="auto">
          <a:xfrm>
            <a:off x="5249589" y="3304893"/>
            <a:ext cx="367631" cy="367631"/>
            <a:chOff x="6585" y="783"/>
            <a:chExt cx="340" cy="340"/>
          </a:xfrm>
          <a:solidFill>
            <a:schemeClr val="accent3"/>
          </a:solidFill>
        </p:grpSpPr>
        <p:sp>
          <p:nvSpPr>
            <p:cNvPr id="561" name="Freeform 272">
              <a:extLst>
                <a:ext uri="{FF2B5EF4-FFF2-40B4-BE49-F238E27FC236}">
                  <a16:creationId xmlns:a16="http://schemas.microsoft.com/office/drawing/2014/main" id="{53D6B0F1-2098-4A20-A3F6-641F5ACE6E58}"/>
                </a:ext>
              </a:extLst>
            </p:cNvPr>
            <p:cNvSpPr>
              <a:spLocks noEditPoints="1"/>
            </p:cNvSpPr>
            <p:nvPr/>
          </p:nvSpPr>
          <p:spPr bwMode="auto">
            <a:xfrm>
              <a:off x="6648" y="874"/>
              <a:ext cx="213" cy="157"/>
            </a:xfrm>
            <a:custGeom>
              <a:avLst/>
              <a:gdLst>
                <a:gd name="T0" fmla="*/ 1 w 321"/>
                <a:gd name="T1" fmla="*/ 51 h 236"/>
                <a:gd name="T2" fmla="*/ 4 w 321"/>
                <a:gd name="T3" fmla="*/ 47 h 236"/>
                <a:gd name="T4" fmla="*/ 46 w 321"/>
                <a:gd name="T5" fmla="*/ 4 h 236"/>
                <a:gd name="T6" fmla="*/ 62 w 321"/>
                <a:gd name="T7" fmla="*/ 4 h 236"/>
                <a:gd name="T8" fmla="*/ 62 w 321"/>
                <a:gd name="T9" fmla="*/ 20 h 236"/>
                <a:gd name="T10" fmla="*/ 37 w 321"/>
                <a:gd name="T11" fmla="*/ 44 h 236"/>
                <a:gd name="T12" fmla="*/ 310 w 321"/>
                <a:gd name="T13" fmla="*/ 44 h 236"/>
                <a:gd name="T14" fmla="*/ 321 w 321"/>
                <a:gd name="T15" fmla="*/ 55 h 236"/>
                <a:gd name="T16" fmla="*/ 310 w 321"/>
                <a:gd name="T17" fmla="*/ 65 h 236"/>
                <a:gd name="T18" fmla="*/ 37 w 321"/>
                <a:gd name="T19" fmla="*/ 65 h 236"/>
                <a:gd name="T20" fmla="*/ 62 w 321"/>
                <a:gd name="T21" fmla="*/ 90 h 236"/>
                <a:gd name="T22" fmla="*/ 62 w 321"/>
                <a:gd name="T23" fmla="*/ 105 h 236"/>
                <a:gd name="T24" fmla="*/ 54 w 321"/>
                <a:gd name="T25" fmla="*/ 108 h 236"/>
                <a:gd name="T26" fmla="*/ 46 w 321"/>
                <a:gd name="T27" fmla="*/ 105 h 236"/>
                <a:gd name="T28" fmla="*/ 4 w 321"/>
                <a:gd name="T29" fmla="*/ 62 h 236"/>
                <a:gd name="T30" fmla="*/ 1 w 321"/>
                <a:gd name="T31" fmla="*/ 59 h 236"/>
                <a:gd name="T32" fmla="*/ 1 w 321"/>
                <a:gd name="T33" fmla="*/ 51 h 236"/>
                <a:gd name="T34" fmla="*/ 320 w 321"/>
                <a:gd name="T35" fmla="*/ 179 h 236"/>
                <a:gd name="T36" fmla="*/ 318 w 321"/>
                <a:gd name="T37" fmla="*/ 175 h 236"/>
                <a:gd name="T38" fmla="*/ 275 w 321"/>
                <a:gd name="T39" fmla="*/ 132 h 236"/>
                <a:gd name="T40" fmla="*/ 260 w 321"/>
                <a:gd name="T41" fmla="*/ 132 h 236"/>
                <a:gd name="T42" fmla="*/ 260 w 321"/>
                <a:gd name="T43" fmla="*/ 148 h 236"/>
                <a:gd name="T44" fmla="*/ 284 w 321"/>
                <a:gd name="T45" fmla="*/ 172 h 236"/>
                <a:gd name="T46" fmla="*/ 11 w 321"/>
                <a:gd name="T47" fmla="*/ 172 h 236"/>
                <a:gd name="T48" fmla="*/ 1 w 321"/>
                <a:gd name="T49" fmla="*/ 183 h 236"/>
                <a:gd name="T50" fmla="*/ 11 w 321"/>
                <a:gd name="T51" fmla="*/ 193 h 236"/>
                <a:gd name="T52" fmla="*/ 284 w 321"/>
                <a:gd name="T53" fmla="*/ 193 h 236"/>
                <a:gd name="T54" fmla="*/ 260 w 321"/>
                <a:gd name="T55" fmla="*/ 218 h 236"/>
                <a:gd name="T56" fmla="*/ 260 w 321"/>
                <a:gd name="T57" fmla="*/ 233 h 236"/>
                <a:gd name="T58" fmla="*/ 267 w 321"/>
                <a:gd name="T59" fmla="*/ 236 h 236"/>
                <a:gd name="T60" fmla="*/ 275 w 321"/>
                <a:gd name="T61" fmla="*/ 233 h 236"/>
                <a:gd name="T62" fmla="*/ 318 w 321"/>
                <a:gd name="T63" fmla="*/ 190 h 236"/>
                <a:gd name="T64" fmla="*/ 320 w 321"/>
                <a:gd name="T65" fmla="*/ 187 h 236"/>
                <a:gd name="T66" fmla="*/ 320 w 321"/>
                <a:gd name="T67" fmla="*/ 17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1"/>
                  </a:moveTo>
                  <a:cubicBezTo>
                    <a:pt x="2" y="49"/>
                    <a:pt x="3" y="48"/>
                    <a:pt x="4" y="47"/>
                  </a:cubicBezTo>
                  <a:cubicBezTo>
                    <a:pt x="46" y="4"/>
                    <a:pt x="46" y="4"/>
                    <a:pt x="46" y="4"/>
                  </a:cubicBezTo>
                  <a:cubicBezTo>
                    <a:pt x="51" y="0"/>
                    <a:pt x="57" y="0"/>
                    <a:pt x="62" y="4"/>
                  </a:cubicBezTo>
                  <a:cubicBezTo>
                    <a:pt x="66" y="9"/>
                    <a:pt x="66" y="15"/>
                    <a:pt x="62" y="20"/>
                  </a:cubicBezTo>
                  <a:cubicBezTo>
                    <a:pt x="37" y="44"/>
                    <a:pt x="37" y="44"/>
                    <a:pt x="37" y="44"/>
                  </a:cubicBezTo>
                  <a:cubicBezTo>
                    <a:pt x="310" y="44"/>
                    <a:pt x="310" y="44"/>
                    <a:pt x="310" y="44"/>
                  </a:cubicBezTo>
                  <a:cubicBezTo>
                    <a:pt x="316" y="44"/>
                    <a:pt x="321" y="49"/>
                    <a:pt x="321" y="55"/>
                  </a:cubicBezTo>
                  <a:cubicBezTo>
                    <a:pt x="321" y="61"/>
                    <a:pt x="316" y="65"/>
                    <a:pt x="310" y="65"/>
                  </a:cubicBezTo>
                  <a:cubicBezTo>
                    <a:pt x="37" y="65"/>
                    <a:pt x="37" y="65"/>
                    <a:pt x="37" y="65"/>
                  </a:cubicBezTo>
                  <a:cubicBezTo>
                    <a:pt x="62" y="90"/>
                    <a:pt x="62" y="90"/>
                    <a:pt x="62" y="90"/>
                  </a:cubicBezTo>
                  <a:cubicBezTo>
                    <a:pt x="66" y="94"/>
                    <a:pt x="66" y="101"/>
                    <a:pt x="62" y="105"/>
                  </a:cubicBezTo>
                  <a:cubicBezTo>
                    <a:pt x="59" y="107"/>
                    <a:pt x="57" y="108"/>
                    <a:pt x="54" y="108"/>
                  </a:cubicBezTo>
                  <a:cubicBezTo>
                    <a:pt x="51" y="108"/>
                    <a:pt x="49" y="107"/>
                    <a:pt x="46" y="105"/>
                  </a:cubicBezTo>
                  <a:cubicBezTo>
                    <a:pt x="4" y="62"/>
                    <a:pt x="4" y="62"/>
                    <a:pt x="4" y="62"/>
                  </a:cubicBezTo>
                  <a:cubicBezTo>
                    <a:pt x="3" y="61"/>
                    <a:pt x="2" y="60"/>
                    <a:pt x="1" y="59"/>
                  </a:cubicBezTo>
                  <a:cubicBezTo>
                    <a:pt x="0" y="56"/>
                    <a:pt x="0" y="53"/>
                    <a:pt x="1" y="51"/>
                  </a:cubicBezTo>
                  <a:close/>
                  <a:moveTo>
                    <a:pt x="320" y="179"/>
                  </a:moveTo>
                  <a:cubicBezTo>
                    <a:pt x="319" y="177"/>
                    <a:pt x="319" y="176"/>
                    <a:pt x="318" y="175"/>
                  </a:cubicBezTo>
                  <a:cubicBezTo>
                    <a:pt x="275" y="132"/>
                    <a:pt x="275" y="132"/>
                    <a:pt x="275" y="132"/>
                  </a:cubicBezTo>
                  <a:cubicBezTo>
                    <a:pt x="271" y="128"/>
                    <a:pt x="264" y="128"/>
                    <a:pt x="260" y="132"/>
                  </a:cubicBezTo>
                  <a:cubicBezTo>
                    <a:pt x="256" y="137"/>
                    <a:pt x="256" y="143"/>
                    <a:pt x="260" y="148"/>
                  </a:cubicBezTo>
                  <a:cubicBezTo>
                    <a:pt x="284" y="172"/>
                    <a:pt x="284" y="172"/>
                    <a:pt x="284" y="172"/>
                  </a:cubicBezTo>
                  <a:cubicBezTo>
                    <a:pt x="11" y="172"/>
                    <a:pt x="11" y="172"/>
                    <a:pt x="11" y="172"/>
                  </a:cubicBezTo>
                  <a:cubicBezTo>
                    <a:pt x="5" y="172"/>
                    <a:pt x="1" y="177"/>
                    <a:pt x="1" y="183"/>
                  </a:cubicBezTo>
                  <a:cubicBezTo>
                    <a:pt x="1" y="189"/>
                    <a:pt x="5" y="193"/>
                    <a:pt x="11" y="193"/>
                  </a:cubicBezTo>
                  <a:cubicBezTo>
                    <a:pt x="284" y="193"/>
                    <a:pt x="284" y="193"/>
                    <a:pt x="284" y="193"/>
                  </a:cubicBezTo>
                  <a:cubicBezTo>
                    <a:pt x="260" y="218"/>
                    <a:pt x="260" y="218"/>
                    <a:pt x="260" y="218"/>
                  </a:cubicBezTo>
                  <a:cubicBezTo>
                    <a:pt x="256" y="222"/>
                    <a:pt x="256" y="229"/>
                    <a:pt x="260" y="233"/>
                  </a:cubicBezTo>
                  <a:cubicBezTo>
                    <a:pt x="262" y="235"/>
                    <a:pt x="265" y="236"/>
                    <a:pt x="267" y="236"/>
                  </a:cubicBezTo>
                  <a:cubicBezTo>
                    <a:pt x="270" y="236"/>
                    <a:pt x="273" y="235"/>
                    <a:pt x="275" y="233"/>
                  </a:cubicBezTo>
                  <a:cubicBezTo>
                    <a:pt x="318" y="190"/>
                    <a:pt x="318" y="190"/>
                    <a:pt x="318" y="190"/>
                  </a:cubicBezTo>
                  <a:cubicBezTo>
                    <a:pt x="319" y="189"/>
                    <a:pt x="319" y="188"/>
                    <a:pt x="320" y="187"/>
                  </a:cubicBezTo>
                  <a:cubicBezTo>
                    <a:pt x="321" y="184"/>
                    <a:pt x="321" y="181"/>
                    <a:pt x="320" y="1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2" name="Freeform 273">
              <a:extLst>
                <a:ext uri="{FF2B5EF4-FFF2-40B4-BE49-F238E27FC236}">
                  <a16:creationId xmlns:a16="http://schemas.microsoft.com/office/drawing/2014/main" id="{4FA64B7D-70F1-458D-8EF1-55A533885DB9}"/>
                </a:ext>
              </a:extLst>
            </p:cNvPr>
            <p:cNvSpPr>
              <a:spLocks noEditPoints="1"/>
            </p:cNvSpPr>
            <p:nvPr/>
          </p:nvSpPr>
          <p:spPr bwMode="auto">
            <a:xfrm>
              <a:off x="6585"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3" name="Freeform 277">
            <a:extLst>
              <a:ext uri="{FF2B5EF4-FFF2-40B4-BE49-F238E27FC236}">
                <a16:creationId xmlns:a16="http://schemas.microsoft.com/office/drawing/2014/main" id="{5EDFA372-99D7-47A3-8881-1FB9FAB93497}"/>
              </a:ext>
            </a:extLst>
          </p:cNvPr>
          <p:cNvSpPr>
            <a:spLocks noChangeAspect="1" noEditPoints="1"/>
          </p:cNvSpPr>
          <p:nvPr/>
        </p:nvSpPr>
        <p:spPr bwMode="auto">
          <a:xfrm>
            <a:off x="5684912" y="330489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181 h 512"/>
              <a:gd name="T12" fmla="*/ 379 w 512"/>
              <a:gd name="T13" fmla="*/ 181 h 512"/>
              <a:gd name="T14" fmla="*/ 355 w 512"/>
              <a:gd name="T15" fmla="*/ 157 h 512"/>
              <a:gd name="T16" fmla="*/ 355 w 512"/>
              <a:gd name="T17" fmla="*/ 141 h 512"/>
              <a:gd name="T18" fmla="*/ 370 w 512"/>
              <a:gd name="T19" fmla="*/ 141 h 512"/>
              <a:gd name="T20" fmla="*/ 413 w 512"/>
              <a:gd name="T21" fmla="*/ 184 h 512"/>
              <a:gd name="T22" fmla="*/ 415 w 512"/>
              <a:gd name="T23" fmla="*/ 188 h 512"/>
              <a:gd name="T24" fmla="*/ 415 w 512"/>
              <a:gd name="T25" fmla="*/ 196 h 512"/>
              <a:gd name="T26" fmla="*/ 413 w 512"/>
              <a:gd name="T27" fmla="*/ 199 h 512"/>
              <a:gd name="T28" fmla="*/ 370 w 512"/>
              <a:gd name="T29" fmla="*/ 242 h 512"/>
              <a:gd name="T30" fmla="*/ 362 w 512"/>
              <a:gd name="T31" fmla="*/ 245 h 512"/>
              <a:gd name="T32" fmla="*/ 355 w 512"/>
              <a:gd name="T33" fmla="*/ 242 h 512"/>
              <a:gd name="T34" fmla="*/ 355 w 512"/>
              <a:gd name="T35" fmla="*/ 227 h 512"/>
              <a:gd name="T36" fmla="*/ 379 w 512"/>
              <a:gd name="T37" fmla="*/ 202 h 512"/>
              <a:gd name="T38" fmla="*/ 106 w 512"/>
              <a:gd name="T39" fmla="*/ 202 h 512"/>
              <a:gd name="T40" fmla="*/ 96 w 512"/>
              <a:gd name="T41" fmla="*/ 192 h 512"/>
              <a:gd name="T42" fmla="*/ 106 w 512"/>
              <a:gd name="T43" fmla="*/ 181 h 512"/>
              <a:gd name="T44" fmla="*/ 405 w 512"/>
              <a:gd name="T45" fmla="*/ 330 h 512"/>
              <a:gd name="T46" fmla="*/ 132 w 512"/>
              <a:gd name="T47" fmla="*/ 330 h 512"/>
              <a:gd name="T48" fmla="*/ 157 w 512"/>
              <a:gd name="T49" fmla="*/ 355 h 512"/>
              <a:gd name="T50" fmla="*/ 157 w 512"/>
              <a:gd name="T51" fmla="*/ 370 h 512"/>
              <a:gd name="T52" fmla="*/ 149 w 512"/>
              <a:gd name="T53" fmla="*/ 373 h 512"/>
              <a:gd name="T54" fmla="*/ 141 w 512"/>
              <a:gd name="T55" fmla="*/ 370 h 512"/>
              <a:gd name="T56" fmla="*/ 99 w 512"/>
              <a:gd name="T57" fmla="*/ 327 h 512"/>
              <a:gd name="T58" fmla="*/ 96 w 512"/>
              <a:gd name="T59" fmla="*/ 324 h 512"/>
              <a:gd name="T60" fmla="*/ 96 w 512"/>
              <a:gd name="T61" fmla="*/ 316 h 512"/>
              <a:gd name="T62" fmla="*/ 99 w 512"/>
              <a:gd name="T63" fmla="*/ 312 h 512"/>
              <a:gd name="T64" fmla="*/ 141 w 512"/>
              <a:gd name="T65" fmla="*/ 269 h 512"/>
              <a:gd name="T66" fmla="*/ 157 w 512"/>
              <a:gd name="T67" fmla="*/ 269 h 512"/>
              <a:gd name="T68" fmla="*/ 157 w 512"/>
              <a:gd name="T69" fmla="*/ 285 h 512"/>
              <a:gd name="T70" fmla="*/ 132 w 512"/>
              <a:gd name="T71" fmla="*/ 309 h 512"/>
              <a:gd name="T72" fmla="*/ 405 w 512"/>
              <a:gd name="T73" fmla="*/ 309 h 512"/>
              <a:gd name="T74" fmla="*/ 416 w 512"/>
              <a:gd name="T75" fmla="*/ 320 h 512"/>
              <a:gd name="T76" fmla="*/ 405 w 512"/>
              <a:gd name="T7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181"/>
                </a:moveTo>
                <a:cubicBezTo>
                  <a:pt x="379" y="181"/>
                  <a:pt x="379" y="181"/>
                  <a:pt x="379" y="181"/>
                </a:cubicBezTo>
                <a:cubicBezTo>
                  <a:pt x="355" y="157"/>
                  <a:pt x="355" y="157"/>
                  <a:pt x="355" y="157"/>
                </a:cubicBezTo>
                <a:cubicBezTo>
                  <a:pt x="351" y="152"/>
                  <a:pt x="351" y="146"/>
                  <a:pt x="355" y="141"/>
                </a:cubicBezTo>
                <a:cubicBezTo>
                  <a:pt x="359" y="137"/>
                  <a:pt x="366" y="137"/>
                  <a:pt x="370" y="141"/>
                </a:cubicBezTo>
                <a:cubicBezTo>
                  <a:pt x="413" y="184"/>
                  <a:pt x="413" y="184"/>
                  <a:pt x="413" y="184"/>
                </a:cubicBezTo>
                <a:cubicBezTo>
                  <a:pt x="414" y="185"/>
                  <a:pt x="414" y="186"/>
                  <a:pt x="415" y="188"/>
                </a:cubicBezTo>
                <a:cubicBezTo>
                  <a:pt x="416" y="190"/>
                  <a:pt x="416" y="193"/>
                  <a:pt x="415" y="196"/>
                </a:cubicBezTo>
                <a:cubicBezTo>
                  <a:pt x="414" y="197"/>
                  <a:pt x="414" y="198"/>
                  <a:pt x="413" y="199"/>
                </a:cubicBezTo>
                <a:cubicBezTo>
                  <a:pt x="370" y="242"/>
                  <a:pt x="370" y="242"/>
                  <a:pt x="370" y="242"/>
                </a:cubicBezTo>
                <a:cubicBezTo>
                  <a:pt x="368" y="244"/>
                  <a:pt x="365" y="245"/>
                  <a:pt x="362" y="245"/>
                </a:cubicBezTo>
                <a:cubicBezTo>
                  <a:pt x="360" y="245"/>
                  <a:pt x="357" y="244"/>
                  <a:pt x="355" y="242"/>
                </a:cubicBezTo>
                <a:cubicBezTo>
                  <a:pt x="351" y="238"/>
                  <a:pt x="351" y="231"/>
                  <a:pt x="355" y="227"/>
                </a:cubicBezTo>
                <a:cubicBezTo>
                  <a:pt x="379" y="202"/>
                  <a:pt x="379" y="202"/>
                  <a:pt x="379" y="202"/>
                </a:cubicBezTo>
                <a:cubicBezTo>
                  <a:pt x="106" y="202"/>
                  <a:pt x="106" y="202"/>
                  <a:pt x="106" y="202"/>
                </a:cubicBezTo>
                <a:cubicBezTo>
                  <a:pt x="100" y="202"/>
                  <a:pt x="96" y="198"/>
                  <a:pt x="96" y="192"/>
                </a:cubicBezTo>
                <a:cubicBezTo>
                  <a:pt x="96" y="186"/>
                  <a:pt x="100" y="181"/>
                  <a:pt x="106" y="181"/>
                </a:cubicBezTo>
                <a:close/>
                <a:moveTo>
                  <a:pt x="405" y="330"/>
                </a:moveTo>
                <a:cubicBezTo>
                  <a:pt x="132" y="330"/>
                  <a:pt x="132" y="330"/>
                  <a:pt x="132" y="330"/>
                </a:cubicBezTo>
                <a:cubicBezTo>
                  <a:pt x="157" y="355"/>
                  <a:pt x="157" y="355"/>
                  <a:pt x="157" y="355"/>
                </a:cubicBezTo>
                <a:cubicBezTo>
                  <a:pt x="161" y="359"/>
                  <a:pt x="161" y="366"/>
                  <a:pt x="157" y="370"/>
                </a:cubicBezTo>
                <a:cubicBezTo>
                  <a:pt x="154" y="372"/>
                  <a:pt x="152" y="373"/>
                  <a:pt x="149" y="373"/>
                </a:cubicBezTo>
                <a:cubicBezTo>
                  <a:pt x="146" y="373"/>
                  <a:pt x="144" y="372"/>
                  <a:pt x="141" y="370"/>
                </a:cubicBezTo>
                <a:cubicBezTo>
                  <a:pt x="99" y="327"/>
                  <a:pt x="99" y="327"/>
                  <a:pt x="99" y="327"/>
                </a:cubicBezTo>
                <a:cubicBezTo>
                  <a:pt x="98" y="326"/>
                  <a:pt x="97" y="325"/>
                  <a:pt x="96" y="324"/>
                </a:cubicBezTo>
                <a:cubicBezTo>
                  <a:pt x="95" y="321"/>
                  <a:pt x="95" y="318"/>
                  <a:pt x="96" y="316"/>
                </a:cubicBezTo>
                <a:cubicBezTo>
                  <a:pt x="97" y="314"/>
                  <a:pt x="98" y="313"/>
                  <a:pt x="99" y="312"/>
                </a:cubicBezTo>
                <a:cubicBezTo>
                  <a:pt x="141" y="269"/>
                  <a:pt x="141" y="269"/>
                  <a:pt x="141" y="269"/>
                </a:cubicBezTo>
                <a:cubicBezTo>
                  <a:pt x="146" y="265"/>
                  <a:pt x="152" y="265"/>
                  <a:pt x="157" y="269"/>
                </a:cubicBezTo>
                <a:cubicBezTo>
                  <a:pt x="161" y="274"/>
                  <a:pt x="161" y="280"/>
                  <a:pt x="157" y="285"/>
                </a:cubicBezTo>
                <a:cubicBezTo>
                  <a:pt x="132" y="309"/>
                  <a:pt x="132" y="309"/>
                  <a:pt x="132" y="309"/>
                </a:cubicBezTo>
                <a:cubicBezTo>
                  <a:pt x="405" y="309"/>
                  <a:pt x="405" y="309"/>
                  <a:pt x="405" y="309"/>
                </a:cubicBezTo>
                <a:cubicBezTo>
                  <a:pt x="411" y="309"/>
                  <a:pt x="416" y="314"/>
                  <a:pt x="416" y="320"/>
                </a:cubicBezTo>
                <a:cubicBezTo>
                  <a:pt x="416" y="326"/>
                  <a:pt x="411" y="330"/>
                  <a:pt x="405" y="3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4" name="Group 280">
            <a:extLst>
              <a:ext uri="{FF2B5EF4-FFF2-40B4-BE49-F238E27FC236}">
                <a16:creationId xmlns:a16="http://schemas.microsoft.com/office/drawing/2014/main" id="{D8C3DE5A-5E47-49C6-B7BB-C16DBA05255A}"/>
              </a:ext>
            </a:extLst>
          </p:cNvPr>
          <p:cNvGrpSpPr>
            <a:grpSpLocks noChangeAspect="1"/>
          </p:cNvGrpSpPr>
          <p:nvPr/>
        </p:nvGrpSpPr>
        <p:grpSpPr bwMode="auto">
          <a:xfrm>
            <a:off x="6120235" y="3304893"/>
            <a:ext cx="367631" cy="367631"/>
            <a:chOff x="7350" y="739"/>
            <a:chExt cx="340" cy="340"/>
          </a:xfrm>
          <a:solidFill>
            <a:schemeClr val="accent3"/>
          </a:solidFill>
        </p:grpSpPr>
        <p:sp>
          <p:nvSpPr>
            <p:cNvPr id="565" name="Freeform 281">
              <a:extLst>
                <a:ext uri="{FF2B5EF4-FFF2-40B4-BE49-F238E27FC236}">
                  <a16:creationId xmlns:a16="http://schemas.microsoft.com/office/drawing/2014/main" id="{8B35405E-32EE-4FE6-8396-D600E81D2CC2}"/>
                </a:ext>
              </a:extLst>
            </p:cNvPr>
            <p:cNvSpPr>
              <a:spLocks noEditPoints="1"/>
            </p:cNvSpPr>
            <p:nvPr/>
          </p:nvSpPr>
          <p:spPr bwMode="auto">
            <a:xfrm>
              <a:off x="7413" y="830"/>
              <a:ext cx="213" cy="157"/>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6" name="Freeform 282">
              <a:extLst>
                <a:ext uri="{FF2B5EF4-FFF2-40B4-BE49-F238E27FC236}">
                  <a16:creationId xmlns:a16="http://schemas.microsoft.com/office/drawing/2014/main" id="{87FD96CC-5A15-49B6-B5EB-E6953EEB3498}"/>
                </a:ext>
              </a:extLst>
            </p:cNvPr>
            <p:cNvSpPr>
              <a:spLocks noEditPoints="1"/>
            </p:cNvSpPr>
            <p:nvPr/>
          </p:nvSpPr>
          <p:spPr bwMode="auto">
            <a:xfrm>
              <a:off x="7350" y="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7" name="Freeform 250">
            <a:extLst>
              <a:ext uri="{FF2B5EF4-FFF2-40B4-BE49-F238E27FC236}">
                <a16:creationId xmlns:a16="http://schemas.microsoft.com/office/drawing/2014/main" id="{4C85535E-C2D5-4FA0-9A78-217E811510D2}"/>
              </a:ext>
            </a:extLst>
          </p:cNvPr>
          <p:cNvSpPr>
            <a:spLocks noChangeAspect="1" noEditPoints="1"/>
          </p:cNvSpPr>
          <p:nvPr/>
        </p:nvSpPr>
        <p:spPr bwMode="auto">
          <a:xfrm>
            <a:off x="3943620" y="330489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70 w 512"/>
              <a:gd name="T15" fmla="*/ 306 h 512"/>
              <a:gd name="T16" fmla="*/ 362 w 512"/>
              <a:gd name="T17" fmla="*/ 309 h 512"/>
              <a:gd name="T18" fmla="*/ 355 w 512"/>
              <a:gd name="T19" fmla="*/ 306 h 512"/>
              <a:gd name="T20" fmla="*/ 355 w 512"/>
              <a:gd name="T21" fmla="*/ 291 h 512"/>
              <a:gd name="T22" fmla="*/ 379 w 512"/>
              <a:gd name="T23" fmla="*/ 266 h 512"/>
              <a:gd name="T24" fmla="*/ 266 w 512"/>
              <a:gd name="T25" fmla="*/ 266 h 512"/>
              <a:gd name="T26" fmla="*/ 266 w 512"/>
              <a:gd name="T27" fmla="*/ 379 h 512"/>
              <a:gd name="T28" fmla="*/ 291 w 512"/>
              <a:gd name="T29" fmla="*/ 355 h 512"/>
              <a:gd name="T30" fmla="*/ 306 w 512"/>
              <a:gd name="T31" fmla="*/ 355 h 512"/>
              <a:gd name="T32" fmla="*/ 306 w 512"/>
              <a:gd name="T33" fmla="*/ 370 h 512"/>
              <a:gd name="T34" fmla="*/ 263 w 512"/>
              <a:gd name="T35" fmla="*/ 413 h 512"/>
              <a:gd name="T36" fmla="*/ 260 w 512"/>
              <a:gd name="T37" fmla="*/ 415 h 512"/>
              <a:gd name="T38" fmla="*/ 256 w 512"/>
              <a:gd name="T39" fmla="*/ 416 h 512"/>
              <a:gd name="T40" fmla="*/ 252 w 512"/>
              <a:gd name="T41" fmla="*/ 415 h 512"/>
              <a:gd name="T42" fmla="*/ 248 w 512"/>
              <a:gd name="T43" fmla="*/ 413 h 512"/>
              <a:gd name="T44" fmla="*/ 205 w 512"/>
              <a:gd name="T45" fmla="*/ 370 h 512"/>
              <a:gd name="T46" fmla="*/ 205 w 512"/>
              <a:gd name="T47" fmla="*/ 355 h 512"/>
              <a:gd name="T48" fmla="*/ 221 w 512"/>
              <a:gd name="T49" fmla="*/ 355 h 512"/>
              <a:gd name="T50" fmla="*/ 245 w 512"/>
              <a:gd name="T51" fmla="*/ 379 h 512"/>
              <a:gd name="T52" fmla="*/ 245 w 512"/>
              <a:gd name="T53" fmla="*/ 266 h 512"/>
              <a:gd name="T54" fmla="*/ 132 w 512"/>
              <a:gd name="T55" fmla="*/ 266 h 512"/>
              <a:gd name="T56" fmla="*/ 157 w 512"/>
              <a:gd name="T57" fmla="*/ 291 h 512"/>
              <a:gd name="T58" fmla="*/ 157 w 512"/>
              <a:gd name="T59" fmla="*/ 306 h 512"/>
              <a:gd name="T60" fmla="*/ 149 w 512"/>
              <a:gd name="T61" fmla="*/ 309 h 512"/>
              <a:gd name="T62" fmla="*/ 141 w 512"/>
              <a:gd name="T63" fmla="*/ 306 h 512"/>
              <a:gd name="T64" fmla="*/ 99 w 512"/>
              <a:gd name="T65" fmla="*/ 263 h 512"/>
              <a:gd name="T66" fmla="*/ 96 w 512"/>
              <a:gd name="T67" fmla="*/ 260 h 512"/>
              <a:gd name="T68" fmla="*/ 96 w 512"/>
              <a:gd name="T69" fmla="*/ 252 h 512"/>
              <a:gd name="T70" fmla="*/ 99 w 512"/>
              <a:gd name="T71" fmla="*/ 248 h 512"/>
              <a:gd name="T72" fmla="*/ 141 w 512"/>
              <a:gd name="T73" fmla="*/ 205 h 512"/>
              <a:gd name="T74" fmla="*/ 157 w 512"/>
              <a:gd name="T75" fmla="*/ 205 h 512"/>
              <a:gd name="T76" fmla="*/ 157 w 512"/>
              <a:gd name="T77" fmla="*/ 221 h 512"/>
              <a:gd name="T78" fmla="*/ 132 w 512"/>
              <a:gd name="T79" fmla="*/ 245 h 512"/>
              <a:gd name="T80" fmla="*/ 245 w 512"/>
              <a:gd name="T81" fmla="*/ 245 h 512"/>
              <a:gd name="T82" fmla="*/ 245 w 512"/>
              <a:gd name="T83" fmla="*/ 132 h 512"/>
              <a:gd name="T84" fmla="*/ 221 w 512"/>
              <a:gd name="T85" fmla="*/ 157 h 512"/>
              <a:gd name="T86" fmla="*/ 213 w 512"/>
              <a:gd name="T87" fmla="*/ 160 h 512"/>
              <a:gd name="T88" fmla="*/ 205 w 512"/>
              <a:gd name="T89" fmla="*/ 157 h 512"/>
              <a:gd name="T90" fmla="*/ 205 w 512"/>
              <a:gd name="T91" fmla="*/ 141 h 512"/>
              <a:gd name="T92" fmla="*/ 248 w 512"/>
              <a:gd name="T93" fmla="*/ 99 h 512"/>
              <a:gd name="T94" fmla="*/ 252 w 512"/>
              <a:gd name="T95" fmla="*/ 96 h 512"/>
              <a:gd name="T96" fmla="*/ 260 w 512"/>
              <a:gd name="T97" fmla="*/ 96 h 512"/>
              <a:gd name="T98" fmla="*/ 263 w 512"/>
              <a:gd name="T99" fmla="*/ 99 h 512"/>
              <a:gd name="T100" fmla="*/ 306 w 512"/>
              <a:gd name="T101" fmla="*/ 141 h 512"/>
              <a:gd name="T102" fmla="*/ 306 w 512"/>
              <a:gd name="T103" fmla="*/ 157 h 512"/>
              <a:gd name="T104" fmla="*/ 298 w 512"/>
              <a:gd name="T105" fmla="*/ 160 h 512"/>
              <a:gd name="T106" fmla="*/ 291 w 512"/>
              <a:gd name="T107" fmla="*/ 157 h 512"/>
              <a:gd name="T108" fmla="*/ 266 w 512"/>
              <a:gd name="T109" fmla="*/ 132 h 512"/>
              <a:gd name="T110" fmla="*/ 266 w 512"/>
              <a:gd name="T111" fmla="*/ 245 h 512"/>
              <a:gd name="T112" fmla="*/ 379 w 512"/>
              <a:gd name="T113" fmla="*/ 245 h 512"/>
              <a:gd name="T114" fmla="*/ 355 w 512"/>
              <a:gd name="T115" fmla="*/ 221 h 512"/>
              <a:gd name="T116" fmla="*/ 355 w 512"/>
              <a:gd name="T117" fmla="*/ 205 h 512"/>
              <a:gd name="T118" fmla="*/ 370 w 512"/>
              <a:gd name="T119" fmla="*/ 205 h 512"/>
              <a:gd name="T120" fmla="*/ 413 w 512"/>
              <a:gd name="T121" fmla="*/ 248 h 512"/>
              <a:gd name="T122" fmla="*/ 415 w 512"/>
              <a:gd name="T123" fmla="*/ 252 h 512"/>
              <a:gd name="T124" fmla="*/ 415 w 512"/>
              <a:gd name="T125"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66" y="266"/>
                  <a:pt x="266" y="266"/>
                  <a:pt x="266" y="266"/>
                </a:cubicBezTo>
                <a:cubicBezTo>
                  <a:pt x="266" y="379"/>
                  <a:pt x="266" y="379"/>
                  <a:pt x="266" y="379"/>
                </a:cubicBezTo>
                <a:cubicBezTo>
                  <a:pt x="291" y="355"/>
                  <a:pt x="291" y="355"/>
                  <a:pt x="291" y="355"/>
                </a:cubicBezTo>
                <a:cubicBezTo>
                  <a:pt x="295" y="351"/>
                  <a:pt x="302" y="351"/>
                  <a:pt x="306" y="355"/>
                </a:cubicBezTo>
                <a:cubicBezTo>
                  <a:pt x="310" y="359"/>
                  <a:pt x="310" y="366"/>
                  <a:pt x="306" y="370"/>
                </a:cubicBezTo>
                <a:cubicBezTo>
                  <a:pt x="263" y="413"/>
                  <a:pt x="263" y="413"/>
                  <a:pt x="263" y="413"/>
                </a:cubicBezTo>
                <a:cubicBezTo>
                  <a:pt x="262" y="414"/>
                  <a:pt x="261" y="414"/>
                  <a:pt x="260" y="415"/>
                </a:cubicBezTo>
                <a:cubicBezTo>
                  <a:pt x="258" y="415"/>
                  <a:pt x="257" y="416"/>
                  <a:pt x="256" y="416"/>
                </a:cubicBezTo>
                <a:cubicBezTo>
                  <a:pt x="254" y="416"/>
                  <a:pt x="253" y="415"/>
                  <a:pt x="252" y="415"/>
                </a:cubicBezTo>
                <a:cubicBezTo>
                  <a:pt x="250" y="414"/>
                  <a:pt x="249" y="414"/>
                  <a:pt x="248" y="413"/>
                </a:cubicBezTo>
                <a:cubicBezTo>
                  <a:pt x="205" y="370"/>
                  <a:pt x="205" y="370"/>
                  <a:pt x="205" y="370"/>
                </a:cubicBezTo>
                <a:cubicBezTo>
                  <a:pt x="201" y="366"/>
                  <a:pt x="201" y="359"/>
                  <a:pt x="205" y="355"/>
                </a:cubicBezTo>
                <a:cubicBezTo>
                  <a:pt x="210" y="351"/>
                  <a:pt x="216" y="351"/>
                  <a:pt x="221" y="355"/>
                </a:cubicBezTo>
                <a:cubicBezTo>
                  <a:pt x="245" y="379"/>
                  <a:pt x="245" y="379"/>
                  <a:pt x="245" y="379"/>
                </a:cubicBezTo>
                <a:cubicBezTo>
                  <a:pt x="245" y="266"/>
                  <a:pt x="245" y="266"/>
                  <a:pt x="245" y="266"/>
                </a:cubicBezTo>
                <a:cubicBezTo>
                  <a:pt x="132" y="266"/>
                  <a:pt x="132" y="266"/>
                  <a:pt x="132" y="266"/>
                </a:cubicBezTo>
                <a:cubicBezTo>
                  <a:pt x="157" y="291"/>
                  <a:pt x="157" y="291"/>
                  <a:pt x="157" y="291"/>
                </a:cubicBezTo>
                <a:cubicBezTo>
                  <a:pt x="161" y="295"/>
                  <a:pt x="161" y="302"/>
                  <a:pt x="157" y="306"/>
                </a:cubicBezTo>
                <a:cubicBezTo>
                  <a:pt x="154" y="308"/>
                  <a:pt x="152" y="309"/>
                  <a:pt x="149" y="309"/>
                </a:cubicBezTo>
                <a:cubicBezTo>
                  <a:pt x="146" y="309"/>
                  <a:pt x="144" y="308"/>
                  <a:pt x="141" y="306"/>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41" y="205"/>
                  <a:pt x="141" y="205"/>
                  <a:pt x="141" y="205"/>
                </a:cubicBezTo>
                <a:cubicBezTo>
                  <a:pt x="146" y="201"/>
                  <a:pt x="152" y="201"/>
                  <a:pt x="157" y="205"/>
                </a:cubicBezTo>
                <a:cubicBezTo>
                  <a:pt x="161" y="210"/>
                  <a:pt x="161" y="216"/>
                  <a:pt x="157" y="221"/>
                </a:cubicBezTo>
                <a:cubicBezTo>
                  <a:pt x="132" y="245"/>
                  <a:pt x="132" y="245"/>
                  <a:pt x="132" y="245"/>
                </a:cubicBezTo>
                <a:cubicBezTo>
                  <a:pt x="245" y="245"/>
                  <a:pt x="245" y="245"/>
                  <a:pt x="245" y="245"/>
                </a:cubicBezTo>
                <a:cubicBezTo>
                  <a:pt x="245" y="132"/>
                  <a:pt x="245" y="132"/>
                  <a:pt x="245" y="132"/>
                </a:cubicBezTo>
                <a:cubicBezTo>
                  <a:pt x="221" y="157"/>
                  <a:pt x="221" y="157"/>
                  <a:pt x="221" y="157"/>
                </a:cubicBezTo>
                <a:cubicBezTo>
                  <a:pt x="218" y="159"/>
                  <a:pt x="216" y="160"/>
                  <a:pt x="213" y="160"/>
                </a:cubicBezTo>
                <a:cubicBezTo>
                  <a:pt x="210" y="160"/>
                  <a:pt x="208" y="159"/>
                  <a:pt x="205" y="157"/>
                </a:cubicBezTo>
                <a:cubicBezTo>
                  <a:pt x="201" y="152"/>
                  <a:pt x="201" y="146"/>
                  <a:pt x="205" y="141"/>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06" y="141"/>
                  <a:pt x="306" y="141"/>
                  <a:pt x="306" y="141"/>
                </a:cubicBezTo>
                <a:cubicBezTo>
                  <a:pt x="310" y="146"/>
                  <a:pt x="310" y="152"/>
                  <a:pt x="306" y="157"/>
                </a:cubicBezTo>
                <a:cubicBezTo>
                  <a:pt x="304" y="159"/>
                  <a:pt x="301" y="160"/>
                  <a:pt x="298" y="160"/>
                </a:cubicBezTo>
                <a:cubicBezTo>
                  <a:pt x="296" y="160"/>
                  <a:pt x="293" y="159"/>
                  <a:pt x="291" y="157"/>
                </a:cubicBezTo>
                <a:cubicBezTo>
                  <a:pt x="266" y="132"/>
                  <a:pt x="266" y="132"/>
                  <a:pt x="266" y="132"/>
                </a:cubicBezTo>
                <a:cubicBezTo>
                  <a:pt x="266" y="245"/>
                  <a:pt x="266" y="245"/>
                  <a:pt x="266"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8" name="Group 253">
            <a:extLst>
              <a:ext uri="{FF2B5EF4-FFF2-40B4-BE49-F238E27FC236}">
                <a16:creationId xmlns:a16="http://schemas.microsoft.com/office/drawing/2014/main" id="{FD5540E1-82F4-4A16-8919-71910FD18B0B}"/>
              </a:ext>
            </a:extLst>
          </p:cNvPr>
          <p:cNvGrpSpPr>
            <a:grpSpLocks noChangeAspect="1"/>
          </p:cNvGrpSpPr>
          <p:nvPr/>
        </p:nvGrpSpPr>
        <p:grpSpPr bwMode="auto">
          <a:xfrm>
            <a:off x="4378943" y="3304893"/>
            <a:ext cx="367631" cy="367631"/>
            <a:chOff x="4266" y="1820"/>
            <a:chExt cx="340" cy="340"/>
          </a:xfrm>
          <a:solidFill>
            <a:schemeClr val="accent3"/>
          </a:solidFill>
        </p:grpSpPr>
        <p:sp>
          <p:nvSpPr>
            <p:cNvPr id="569" name="Freeform 254">
              <a:extLst>
                <a:ext uri="{FF2B5EF4-FFF2-40B4-BE49-F238E27FC236}">
                  <a16:creationId xmlns:a16="http://schemas.microsoft.com/office/drawing/2014/main" id="{A80BDA1B-A3AA-4DAA-A32B-A25241698EF0}"/>
                </a:ext>
              </a:extLst>
            </p:cNvPr>
            <p:cNvSpPr>
              <a:spLocks/>
            </p:cNvSpPr>
            <p:nvPr/>
          </p:nvSpPr>
          <p:spPr bwMode="auto">
            <a:xfrm>
              <a:off x="4329" y="1883"/>
              <a:ext cx="213" cy="213"/>
            </a:xfrm>
            <a:custGeom>
              <a:avLst/>
              <a:gdLst>
                <a:gd name="T0" fmla="*/ 320 w 321"/>
                <a:gd name="T1" fmla="*/ 165 h 321"/>
                <a:gd name="T2" fmla="*/ 320 w 321"/>
                <a:gd name="T3" fmla="*/ 157 h 321"/>
                <a:gd name="T4" fmla="*/ 318 w 321"/>
                <a:gd name="T5" fmla="*/ 153 h 321"/>
                <a:gd name="T6" fmla="*/ 275 w 321"/>
                <a:gd name="T7" fmla="*/ 110 h 321"/>
                <a:gd name="T8" fmla="*/ 260 w 321"/>
                <a:gd name="T9" fmla="*/ 110 h 321"/>
                <a:gd name="T10" fmla="*/ 260 w 321"/>
                <a:gd name="T11" fmla="*/ 126 h 321"/>
                <a:gd name="T12" fmla="*/ 284 w 321"/>
                <a:gd name="T13" fmla="*/ 150 h 321"/>
                <a:gd name="T14" fmla="*/ 171 w 321"/>
                <a:gd name="T15" fmla="*/ 150 h 321"/>
                <a:gd name="T16" fmla="*/ 171 w 321"/>
                <a:gd name="T17" fmla="*/ 37 h 321"/>
                <a:gd name="T18" fmla="*/ 196 w 321"/>
                <a:gd name="T19" fmla="*/ 62 h 321"/>
                <a:gd name="T20" fmla="*/ 203 w 321"/>
                <a:gd name="T21" fmla="*/ 65 h 321"/>
                <a:gd name="T22" fmla="*/ 211 w 321"/>
                <a:gd name="T23" fmla="*/ 62 h 321"/>
                <a:gd name="T24" fmla="*/ 211 w 321"/>
                <a:gd name="T25" fmla="*/ 46 h 321"/>
                <a:gd name="T26" fmla="*/ 168 w 321"/>
                <a:gd name="T27" fmla="*/ 4 h 321"/>
                <a:gd name="T28" fmla="*/ 165 w 321"/>
                <a:gd name="T29" fmla="*/ 1 h 321"/>
                <a:gd name="T30" fmla="*/ 157 w 321"/>
                <a:gd name="T31" fmla="*/ 1 h 321"/>
                <a:gd name="T32" fmla="*/ 153 w 321"/>
                <a:gd name="T33" fmla="*/ 4 h 321"/>
                <a:gd name="T34" fmla="*/ 110 w 321"/>
                <a:gd name="T35" fmla="*/ 46 h 321"/>
                <a:gd name="T36" fmla="*/ 110 w 321"/>
                <a:gd name="T37" fmla="*/ 62 h 321"/>
                <a:gd name="T38" fmla="*/ 118 w 321"/>
                <a:gd name="T39" fmla="*/ 65 h 321"/>
                <a:gd name="T40" fmla="*/ 126 w 321"/>
                <a:gd name="T41" fmla="*/ 62 h 321"/>
                <a:gd name="T42" fmla="*/ 150 w 321"/>
                <a:gd name="T43" fmla="*/ 37 h 321"/>
                <a:gd name="T44" fmla="*/ 150 w 321"/>
                <a:gd name="T45" fmla="*/ 150 h 321"/>
                <a:gd name="T46" fmla="*/ 37 w 321"/>
                <a:gd name="T47" fmla="*/ 150 h 321"/>
                <a:gd name="T48" fmla="*/ 62 w 321"/>
                <a:gd name="T49" fmla="*/ 126 h 321"/>
                <a:gd name="T50" fmla="*/ 62 w 321"/>
                <a:gd name="T51" fmla="*/ 110 h 321"/>
                <a:gd name="T52" fmla="*/ 46 w 321"/>
                <a:gd name="T53" fmla="*/ 110 h 321"/>
                <a:gd name="T54" fmla="*/ 4 w 321"/>
                <a:gd name="T55" fmla="*/ 153 h 321"/>
                <a:gd name="T56" fmla="*/ 1 w 321"/>
                <a:gd name="T57" fmla="*/ 157 h 321"/>
                <a:gd name="T58" fmla="*/ 1 w 321"/>
                <a:gd name="T59" fmla="*/ 165 h 321"/>
                <a:gd name="T60" fmla="*/ 4 w 321"/>
                <a:gd name="T61" fmla="*/ 168 h 321"/>
                <a:gd name="T62" fmla="*/ 46 w 321"/>
                <a:gd name="T63" fmla="*/ 211 h 321"/>
                <a:gd name="T64" fmla="*/ 54 w 321"/>
                <a:gd name="T65" fmla="*/ 214 h 321"/>
                <a:gd name="T66" fmla="*/ 62 w 321"/>
                <a:gd name="T67" fmla="*/ 211 h 321"/>
                <a:gd name="T68" fmla="*/ 62 w 321"/>
                <a:gd name="T69" fmla="*/ 196 h 321"/>
                <a:gd name="T70" fmla="*/ 37 w 321"/>
                <a:gd name="T71" fmla="*/ 171 h 321"/>
                <a:gd name="T72" fmla="*/ 150 w 321"/>
                <a:gd name="T73" fmla="*/ 171 h 321"/>
                <a:gd name="T74" fmla="*/ 150 w 321"/>
                <a:gd name="T75" fmla="*/ 284 h 321"/>
                <a:gd name="T76" fmla="*/ 126 w 321"/>
                <a:gd name="T77" fmla="*/ 260 h 321"/>
                <a:gd name="T78" fmla="*/ 110 w 321"/>
                <a:gd name="T79" fmla="*/ 260 h 321"/>
                <a:gd name="T80" fmla="*/ 110 w 321"/>
                <a:gd name="T81" fmla="*/ 275 h 321"/>
                <a:gd name="T82" fmla="*/ 153 w 321"/>
                <a:gd name="T83" fmla="*/ 318 h 321"/>
                <a:gd name="T84" fmla="*/ 157 w 321"/>
                <a:gd name="T85" fmla="*/ 320 h 321"/>
                <a:gd name="T86" fmla="*/ 161 w 321"/>
                <a:gd name="T87" fmla="*/ 321 h 321"/>
                <a:gd name="T88" fmla="*/ 165 w 321"/>
                <a:gd name="T89" fmla="*/ 320 h 321"/>
                <a:gd name="T90" fmla="*/ 168 w 321"/>
                <a:gd name="T91" fmla="*/ 318 h 321"/>
                <a:gd name="T92" fmla="*/ 211 w 321"/>
                <a:gd name="T93" fmla="*/ 275 h 321"/>
                <a:gd name="T94" fmla="*/ 211 w 321"/>
                <a:gd name="T95" fmla="*/ 260 h 321"/>
                <a:gd name="T96" fmla="*/ 196 w 321"/>
                <a:gd name="T97" fmla="*/ 260 h 321"/>
                <a:gd name="T98" fmla="*/ 171 w 321"/>
                <a:gd name="T99" fmla="*/ 284 h 321"/>
                <a:gd name="T100" fmla="*/ 171 w 321"/>
                <a:gd name="T101" fmla="*/ 171 h 321"/>
                <a:gd name="T102" fmla="*/ 284 w 321"/>
                <a:gd name="T103" fmla="*/ 171 h 321"/>
                <a:gd name="T104" fmla="*/ 260 w 321"/>
                <a:gd name="T105" fmla="*/ 196 h 321"/>
                <a:gd name="T106" fmla="*/ 260 w 321"/>
                <a:gd name="T107" fmla="*/ 211 h 321"/>
                <a:gd name="T108" fmla="*/ 267 w 321"/>
                <a:gd name="T109" fmla="*/ 214 h 321"/>
                <a:gd name="T110" fmla="*/ 275 w 321"/>
                <a:gd name="T111" fmla="*/ 211 h 321"/>
                <a:gd name="T112" fmla="*/ 318 w 321"/>
                <a:gd name="T113" fmla="*/ 168 h 321"/>
                <a:gd name="T114" fmla="*/ 320 w 321"/>
                <a:gd name="T115" fmla="*/ 16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1" h="321">
                  <a:moveTo>
                    <a:pt x="320" y="165"/>
                  </a:moveTo>
                  <a:cubicBezTo>
                    <a:pt x="321" y="162"/>
                    <a:pt x="321" y="159"/>
                    <a:pt x="320" y="157"/>
                  </a:cubicBezTo>
                  <a:cubicBezTo>
                    <a:pt x="319" y="155"/>
                    <a:pt x="319" y="154"/>
                    <a:pt x="318" y="153"/>
                  </a:cubicBezTo>
                  <a:cubicBezTo>
                    <a:pt x="275" y="110"/>
                    <a:pt x="275" y="110"/>
                    <a:pt x="275" y="110"/>
                  </a:cubicBezTo>
                  <a:cubicBezTo>
                    <a:pt x="271" y="106"/>
                    <a:pt x="264" y="106"/>
                    <a:pt x="260" y="110"/>
                  </a:cubicBezTo>
                  <a:cubicBezTo>
                    <a:pt x="256" y="115"/>
                    <a:pt x="256" y="121"/>
                    <a:pt x="260" y="126"/>
                  </a:cubicBezTo>
                  <a:cubicBezTo>
                    <a:pt x="284" y="150"/>
                    <a:pt x="284" y="150"/>
                    <a:pt x="284" y="150"/>
                  </a:cubicBezTo>
                  <a:cubicBezTo>
                    <a:pt x="171" y="150"/>
                    <a:pt x="171" y="150"/>
                    <a:pt x="171" y="150"/>
                  </a:cubicBezTo>
                  <a:cubicBezTo>
                    <a:pt x="171" y="37"/>
                    <a:pt x="171" y="37"/>
                    <a:pt x="171" y="37"/>
                  </a:cubicBezTo>
                  <a:cubicBezTo>
                    <a:pt x="196" y="62"/>
                    <a:pt x="196" y="62"/>
                    <a:pt x="196" y="62"/>
                  </a:cubicBezTo>
                  <a:cubicBezTo>
                    <a:pt x="198" y="64"/>
                    <a:pt x="201" y="65"/>
                    <a:pt x="203" y="65"/>
                  </a:cubicBezTo>
                  <a:cubicBezTo>
                    <a:pt x="206" y="65"/>
                    <a:pt x="209" y="64"/>
                    <a:pt x="211" y="62"/>
                  </a:cubicBezTo>
                  <a:cubicBezTo>
                    <a:pt x="215" y="57"/>
                    <a:pt x="215" y="51"/>
                    <a:pt x="211" y="46"/>
                  </a:cubicBezTo>
                  <a:cubicBezTo>
                    <a:pt x="168" y="4"/>
                    <a:pt x="168" y="4"/>
                    <a:pt x="168" y="4"/>
                  </a:cubicBezTo>
                  <a:cubicBezTo>
                    <a:pt x="167" y="3"/>
                    <a:pt x="166" y="2"/>
                    <a:pt x="165" y="1"/>
                  </a:cubicBezTo>
                  <a:cubicBezTo>
                    <a:pt x="162" y="0"/>
                    <a:pt x="159" y="0"/>
                    <a:pt x="157" y="1"/>
                  </a:cubicBezTo>
                  <a:cubicBezTo>
                    <a:pt x="155" y="2"/>
                    <a:pt x="154" y="3"/>
                    <a:pt x="153" y="4"/>
                  </a:cubicBezTo>
                  <a:cubicBezTo>
                    <a:pt x="110" y="46"/>
                    <a:pt x="110" y="46"/>
                    <a:pt x="110" y="46"/>
                  </a:cubicBezTo>
                  <a:cubicBezTo>
                    <a:pt x="106" y="51"/>
                    <a:pt x="106" y="57"/>
                    <a:pt x="110" y="62"/>
                  </a:cubicBezTo>
                  <a:cubicBezTo>
                    <a:pt x="113" y="64"/>
                    <a:pt x="115" y="65"/>
                    <a:pt x="118" y="65"/>
                  </a:cubicBezTo>
                  <a:cubicBezTo>
                    <a:pt x="121" y="65"/>
                    <a:pt x="123" y="64"/>
                    <a:pt x="126" y="62"/>
                  </a:cubicBezTo>
                  <a:cubicBezTo>
                    <a:pt x="150" y="37"/>
                    <a:pt x="150" y="37"/>
                    <a:pt x="150" y="37"/>
                  </a:cubicBezTo>
                  <a:cubicBezTo>
                    <a:pt x="150" y="150"/>
                    <a:pt x="150" y="150"/>
                    <a:pt x="150" y="150"/>
                  </a:cubicBezTo>
                  <a:cubicBezTo>
                    <a:pt x="37" y="150"/>
                    <a:pt x="37" y="150"/>
                    <a:pt x="37" y="150"/>
                  </a:cubicBezTo>
                  <a:cubicBezTo>
                    <a:pt x="62" y="126"/>
                    <a:pt x="62" y="126"/>
                    <a:pt x="62" y="126"/>
                  </a:cubicBezTo>
                  <a:cubicBezTo>
                    <a:pt x="66" y="121"/>
                    <a:pt x="66" y="115"/>
                    <a:pt x="62" y="110"/>
                  </a:cubicBezTo>
                  <a:cubicBezTo>
                    <a:pt x="57" y="106"/>
                    <a:pt x="51" y="106"/>
                    <a:pt x="46" y="110"/>
                  </a:cubicBezTo>
                  <a:cubicBezTo>
                    <a:pt x="4" y="153"/>
                    <a:pt x="4" y="153"/>
                    <a:pt x="4" y="153"/>
                  </a:cubicBezTo>
                  <a:cubicBezTo>
                    <a:pt x="3" y="154"/>
                    <a:pt x="2" y="155"/>
                    <a:pt x="1" y="157"/>
                  </a:cubicBezTo>
                  <a:cubicBezTo>
                    <a:pt x="0" y="159"/>
                    <a:pt x="0" y="162"/>
                    <a:pt x="1" y="165"/>
                  </a:cubicBezTo>
                  <a:cubicBezTo>
                    <a:pt x="2" y="166"/>
                    <a:pt x="3" y="167"/>
                    <a:pt x="4" y="168"/>
                  </a:cubicBezTo>
                  <a:cubicBezTo>
                    <a:pt x="46" y="211"/>
                    <a:pt x="46" y="211"/>
                    <a:pt x="46" y="211"/>
                  </a:cubicBezTo>
                  <a:cubicBezTo>
                    <a:pt x="49" y="213"/>
                    <a:pt x="51" y="214"/>
                    <a:pt x="54" y="214"/>
                  </a:cubicBezTo>
                  <a:cubicBezTo>
                    <a:pt x="57" y="214"/>
                    <a:pt x="59" y="213"/>
                    <a:pt x="62" y="211"/>
                  </a:cubicBezTo>
                  <a:cubicBezTo>
                    <a:pt x="66" y="207"/>
                    <a:pt x="66" y="200"/>
                    <a:pt x="62" y="196"/>
                  </a:cubicBezTo>
                  <a:cubicBezTo>
                    <a:pt x="37" y="171"/>
                    <a:pt x="37" y="171"/>
                    <a:pt x="37" y="171"/>
                  </a:cubicBezTo>
                  <a:cubicBezTo>
                    <a:pt x="150" y="171"/>
                    <a:pt x="150" y="171"/>
                    <a:pt x="150" y="171"/>
                  </a:cubicBezTo>
                  <a:cubicBezTo>
                    <a:pt x="150" y="284"/>
                    <a:pt x="150" y="284"/>
                    <a:pt x="150" y="284"/>
                  </a:cubicBezTo>
                  <a:cubicBezTo>
                    <a:pt x="126" y="260"/>
                    <a:pt x="126" y="260"/>
                    <a:pt x="126" y="260"/>
                  </a:cubicBezTo>
                  <a:cubicBezTo>
                    <a:pt x="121" y="256"/>
                    <a:pt x="115" y="256"/>
                    <a:pt x="110" y="260"/>
                  </a:cubicBezTo>
                  <a:cubicBezTo>
                    <a:pt x="106" y="264"/>
                    <a:pt x="106" y="271"/>
                    <a:pt x="110" y="275"/>
                  </a:cubicBezTo>
                  <a:cubicBezTo>
                    <a:pt x="153" y="318"/>
                    <a:pt x="153" y="318"/>
                    <a:pt x="153" y="318"/>
                  </a:cubicBezTo>
                  <a:cubicBezTo>
                    <a:pt x="154" y="319"/>
                    <a:pt x="155" y="319"/>
                    <a:pt x="157" y="320"/>
                  </a:cubicBezTo>
                  <a:cubicBezTo>
                    <a:pt x="158" y="320"/>
                    <a:pt x="159" y="321"/>
                    <a:pt x="161" y="321"/>
                  </a:cubicBezTo>
                  <a:cubicBezTo>
                    <a:pt x="162" y="321"/>
                    <a:pt x="163" y="320"/>
                    <a:pt x="165" y="320"/>
                  </a:cubicBezTo>
                  <a:cubicBezTo>
                    <a:pt x="166" y="319"/>
                    <a:pt x="167" y="319"/>
                    <a:pt x="168" y="318"/>
                  </a:cubicBezTo>
                  <a:cubicBezTo>
                    <a:pt x="211" y="275"/>
                    <a:pt x="211" y="275"/>
                    <a:pt x="211" y="275"/>
                  </a:cubicBezTo>
                  <a:cubicBezTo>
                    <a:pt x="215" y="271"/>
                    <a:pt x="215" y="264"/>
                    <a:pt x="211" y="260"/>
                  </a:cubicBezTo>
                  <a:cubicBezTo>
                    <a:pt x="207" y="256"/>
                    <a:pt x="200" y="256"/>
                    <a:pt x="196" y="260"/>
                  </a:cubicBezTo>
                  <a:cubicBezTo>
                    <a:pt x="171" y="284"/>
                    <a:pt x="171" y="284"/>
                    <a:pt x="171" y="284"/>
                  </a:cubicBezTo>
                  <a:cubicBezTo>
                    <a:pt x="171" y="171"/>
                    <a:pt x="171" y="171"/>
                    <a:pt x="171" y="171"/>
                  </a:cubicBezTo>
                  <a:cubicBezTo>
                    <a:pt x="284" y="171"/>
                    <a:pt x="284" y="171"/>
                    <a:pt x="284" y="171"/>
                  </a:cubicBezTo>
                  <a:cubicBezTo>
                    <a:pt x="260" y="196"/>
                    <a:pt x="260" y="196"/>
                    <a:pt x="260" y="196"/>
                  </a:cubicBezTo>
                  <a:cubicBezTo>
                    <a:pt x="256" y="200"/>
                    <a:pt x="256" y="207"/>
                    <a:pt x="260" y="211"/>
                  </a:cubicBezTo>
                  <a:cubicBezTo>
                    <a:pt x="262" y="213"/>
                    <a:pt x="265" y="214"/>
                    <a:pt x="267" y="214"/>
                  </a:cubicBezTo>
                  <a:cubicBezTo>
                    <a:pt x="270" y="214"/>
                    <a:pt x="273" y="213"/>
                    <a:pt x="275" y="211"/>
                  </a:cubicBezTo>
                  <a:cubicBezTo>
                    <a:pt x="318" y="168"/>
                    <a:pt x="318" y="168"/>
                    <a:pt x="318" y="168"/>
                  </a:cubicBezTo>
                  <a:cubicBezTo>
                    <a:pt x="319" y="167"/>
                    <a:pt x="319" y="166"/>
                    <a:pt x="320" y="1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0" name="Freeform 255">
              <a:extLst>
                <a:ext uri="{FF2B5EF4-FFF2-40B4-BE49-F238E27FC236}">
                  <a16:creationId xmlns:a16="http://schemas.microsoft.com/office/drawing/2014/main" id="{91BB8CE0-5A25-4359-A069-212DA651838E}"/>
                </a:ext>
              </a:extLst>
            </p:cNvPr>
            <p:cNvSpPr>
              <a:spLocks noEditPoints="1"/>
            </p:cNvSpPr>
            <p:nvPr/>
          </p:nvSpPr>
          <p:spPr bwMode="auto">
            <a:xfrm>
              <a:off x="4266" y="18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1" name="TextBox 570">
            <a:extLst>
              <a:ext uri="{FF2B5EF4-FFF2-40B4-BE49-F238E27FC236}">
                <a16:creationId xmlns:a16="http://schemas.microsoft.com/office/drawing/2014/main" id="{C5B86774-1355-4F75-8EE8-49CB70BB53BF}"/>
              </a:ext>
            </a:extLst>
          </p:cNvPr>
          <p:cNvSpPr txBox="1"/>
          <p:nvPr/>
        </p:nvSpPr>
        <p:spPr>
          <a:xfrm>
            <a:off x="3899908" y="373611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rections</a:t>
            </a:r>
          </a:p>
        </p:txBody>
      </p:sp>
      <p:sp>
        <p:nvSpPr>
          <p:cNvPr id="572" name="Freeform 196">
            <a:extLst>
              <a:ext uri="{FF2B5EF4-FFF2-40B4-BE49-F238E27FC236}">
                <a16:creationId xmlns:a16="http://schemas.microsoft.com/office/drawing/2014/main" id="{03E00247-05EB-4536-A13D-212F05372FEB}"/>
              </a:ext>
            </a:extLst>
          </p:cNvPr>
          <p:cNvSpPr>
            <a:spLocks noChangeAspect="1" noEditPoints="1"/>
          </p:cNvSpPr>
          <p:nvPr/>
        </p:nvSpPr>
        <p:spPr bwMode="auto">
          <a:xfrm>
            <a:off x="3946353" y="4097620"/>
            <a:ext cx="36763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352 h 512"/>
              <a:gd name="T12" fmla="*/ 224 w 512"/>
              <a:gd name="T13" fmla="*/ 362 h 512"/>
              <a:gd name="T14" fmla="*/ 213 w 512"/>
              <a:gd name="T15" fmla="*/ 352 h 512"/>
              <a:gd name="T16" fmla="*/ 213 w 512"/>
              <a:gd name="T17" fmla="*/ 313 h 512"/>
              <a:gd name="T18" fmla="*/ 157 w 512"/>
              <a:gd name="T19" fmla="*/ 370 h 512"/>
              <a:gd name="T20" fmla="*/ 149 w 512"/>
              <a:gd name="T21" fmla="*/ 373 h 512"/>
              <a:gd name="T22" fmla="*/ 141 w 512"/>
              <a:gd name="T23" fmla="*/ 370 h 512"/>
              <a:gd name="T24" fmla="*/ 141 w 512"/>
              <a:gd name="T25" fmla="*/ 355 h 512"/>
              <a:gd name="T26" fmla="*/ 198 w 512"/>
              <a:gd name="T27" fmla="*/ 298 h 512"/>
              <a:gd name="T28" fmla="*/ 160 w 512"/>
              <a:gd name="T29" fmla="*/ 298 h 512"/>
              <a:gd name="T30" fmla="*/ 149 w 512"/>
              <a:gd name="T31" fmla="*/ 288 h 512"/>
              <a:gd name="T32" fmla="*/ 160 w 512"/>
              <a:gd name="T33" fmla="*/ 277 h 512"/>
              <a:gd name="T34" fmla="*/ 224 w 512"/>
              <a:gd name="T35" fmla="*/ 277 h 512"/>
              <a:gd name="T36" fmla="*/ 234 w 512"/>
              <a:gd name="T37" fmla="*/ 288 h 512"/>
              <a:gd name="T38" fmla="*/ 234 w 512"/>
              <a:gd name="T39" fmla="*/ 352 h 512"/>
              <a:gd name="T40" fmla="*/ 370 w 512"/>
              <a:gd name="T41" fmla="*/ 157 h 512"/>
              <a:gd name="T42" fmla="*/ 313 w 512"/>
              <a:gd name="T43" fmla="*/ 213 h 512"/>
              <a:gd name="T44" fmla="*/ 352 w 512"/>
              <a:gd name="T45" fmla="*/ 213 h 512"/>
              <a:gd name="T46" fmla="*/ 362 w 512"/>
              <a:gd name="T47" fmla="*/ 224 h 512"/>
              <a:gd name="T48" fmla="*/ 352 w 512"/>
              <a:gd name="T49" fmla="*/ 234 h 512"/>
              <a:gd name="T50" fmla="*/ 288 w 512"/>
              <a:gd name="T51" fmla="*/ 234 h 512"/>
              <a:gd name="T52" fmla="*/ 277 w 512"/>
              <a:gd name="T53" fmla="*/ 224 h 512"/>
              <a:gd name="T54" fmla="*/ 277 w 512"/>
              <a:gd name="T55" fmla="*/ 160 h 512"/>
              <a:gd name="T56" fmla="*/ 288 w 512"/>
              <a:gd name="T57" fmla="*/ 149 h 512"/>
              <a:gd name="T58" fmla="*/ 298 w 512"/>
              <a:gd name="T59" fmla="*/ 160 h 512"/>
              <a:gd name="T60" fmla="*/ 298 w 512"/>
              <a:gd name="T61" fmla="*/ 198 h 512"/>
              <a:gd name="T62" fmla="*/ 355 w 512"/>
              <a:gd name="T63" fmla="*/ 141 h 512"/>
              <a:gd name="T64" fmla="*/ 370 w 512"/>
              <a:gd name="T65" fmla="*/ 141 h 512"/>
              <a:gd name="T66" fmla="*/ 370 w 512"/>
              <a:gd name="T67"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352"/>
                </a:moveTo>
                <a:cubicBezTo>
                  <a:pt x="234" y="358"/>
                  <a:pt x="230" y="362"/>
                  <a:pt x="224" y="362"/>
                </a:cubicBezTo>
                <a:cubicBezTo>
                  <a:pt x="218" y="362"/>
                  <a:pt x="213" y="358"/>
                  <a:pt x="213" y="352"/>
                </a:cubicBezTo>
                <a:cubicBezTo>
                  <a:pt x="213" y="313"/>
                  <a:pt x="213" y="313"/>
                  <a:pt x="213" y="313"/>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8" y="298"/>
                  <a:pt x="198" y="298"/>
                  <a:pt x="198" y="298"/>
                </a:cubicBezTo>
                <a:cubicBezTo>
                  <a:pt x="160" y="298"/>
                  <a:pt x="160" y="298"/>
                  <a:pt x="160" y="298"/>
                </a:cubicBezTo>
                <a:cubicBezTo>
                  <a:pt x="154" y="298"/>
                  <a:pt x="149" y="294"/>
                  <a:pt x="149" y="288"/>
                </a:cubicBezTo>
                <a:cubicBezTo>
                  <a:pt x="149" y="282"/>
                  <a:pt x="154" y="277"/>
                  <a:pt x="160" y="277"/>
                </a:cubicBezTo>
                <a:cubicBezTo>
                  <a:pt x="224" y="277"/>
                  <a:pt x="224" y="277"/>
                  <a:pt x="224" y="277"/>
                </a:cubicBezTo>
                <a:cubicBezTo>
                  <a:pt x="230" y="277"/>
                  <a:pt x="234" y="282"/>
                  <a:pt x="234" y="288"/>
                </a:cubicBezTo>
                <a:lnTo>
                  <a:pt x="234" y="352"/>
                </a:lnTo>
                <a:close/>
                <a:moveTo>
                  <a:pt x="370" y="157"/>
                </a:moveTo>
                <a:cubicBezTo>
                  <a:pt x="313" y="213"/>
                  <a:pt x="313" y="213"/>
                  <a:pt x="313" y="213"/>
                </a:cubicBezTo>
                <a:cubicBezTo>
                  <a:pt x="352" y="213"/>
                  <a:pt x="352" y="213"/>
                  <a:pt x="352" y="213"/>
                </a:cubicBezTo>
                <a:cubicBezTo>
                  <a:pt x="358" y="213"/>
                  <a:pt x="362" y="218"/>
                  <a:pt x="362" y="224"/>
                </a:cubicBezTo>
                <a:cubicBezTo>
                  <a:pt x="362" y="230"/>
                  <a:pt x="358" y="234"/>
                  <a:pt x="352" y="234"/>
                </a:cubicBezTo>
                <a:cubicBezTo>
                  <a:pt x="288" y="234"/>
                  <a:pt x="288" y="234"/>
                  <a:pt x="288" y="234"/>
                </a:cubicBezTo>
                <a:cubicBezTo>
                  <a:pt x="282" y="234"/>
                  <a:pt x="277" y="230"/>
                  <a:pt x="277" y="224"/>
                </a:cubicBezTo>
                <a:cubicBezTo>
                  <a:pt x="277" y="160"/>
                  <a:pt x="277" y="160"/>
                  <a:pt x="277" y="160"/>
                </a:cubicBezTo>
                <a:cubicBezTo>
                  <a:pt x="277" y="154"/>
                  <a:pt x="282" y="149"/>
                  <a:pt x="288" y="149"/>
                </a:cubicBezTo>
                <a:cubicBezTo>
                  <a:pt x="294" y="149"/>
                  <a:pt x="298" y="154"/>
                  <a:pt x="298" y="160"/>
                </a:cubicBezTo>
                <a:cubicBezTo>
                  <a:pt x="298" y="198"/>
                  <a:pt x="298" y="198"/>
                  <a:pt x="298" y="198"/>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3" name="Group 199">
            <a:extLst>
              <a:ext uri="{FF2B5EF4-FFF2-40B4-BE49-F238E27FC236}">
                <a16:creationId xmlns:a16="http://schemas.microsoft.com/office/drawing/2014/main" id="{EDC06F9A-976B-4F65-A894-50B6012C8AD9}"/>
              </a:ext>
            </a:extLst>
          </p:cNvPr>
          <p:cNvGrpSpPr>
            <a:grpSpLocks noChangeAspect="1"/>
          </p:cNvGrpSpPr>
          <p:nvPr/>
        </p:nvGrpSpPr>
        <p:grpSpPr bwMode="auto">
          <a:xfrm>
            <a:off x="4380015" y="4097620"/>
            <a:ext cx="367631" cy="368713"/>
            <a:chOff x="1172" y="1056"/>
            <a:chExt cx="340" cy="341"/>
          </a:xfrm>
          <a:solidFill>
            <a:schemeClr val="accent3"/>
          </a:solidFill>
        </p:grpSpPr>
        <p:sp>
          <p:nvSpPr>
            <p:cNvPr id="574" name="Freeform 200">
              <a:extLst>
                <a:ext uri="{FF2B5EF4-FFF2-40B4-BE49-F238E27FC236}">
                  <a16:creationId xmlns:a16="http://schemas.microsoft.com/office/drawing/2014/main" id="{840C9A42-876D-4269-9635-9474C60CD1DD}"/>
                </a:ext>
              </a:extLst>
            </p:cNvPr>
            <p:cNvSpPr>
              <a:spLocks noEditPoints="1"/>
            </p:cNvSpPr>
            <p:nvPr/>
          </p:nvSpPr>
          <p:spPr bwMode="auto">
            <a:xfrm>
              <a:off x="1172" y="105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5" name="Freeform 201">
              <a:extLst>
                <a:ext uri="{FF2B5EF4-FFF2-40B4-BE49-F238E27FC236}">
                  <a16:creationId xmlns:a16="http://schemas.microsoft.com/office/drawing/2014/main" id="{216359C4-8149-499B-8429-27091AE6C6ED}"/>
                </a:ext>
              </a:extLst>
            </p:cNvPr>
            <p:cNvSpPr>
              <a:spLocks noEditPoints="1"/>
            </p:cNvSpPr>
            <p:nvPr/>
          </p:nvSpPr>
          <p:spPr bwMode="auto">
            <a:xfrm>
              <a:off x="1263" y="1147"/>
              <a:ext cx="157" cy="157"/>
            </a:xfrm>
            <a:custGeom>
              <a:avLst/>
              <a:gdLst>
                <a:gd name="T0" fmla="*/ 233 w 237"/>
                <a:gd name="T1" fmla="*/ 20 h 236"/>
                <a:gd name="T2" fmla="*/ 176 w 237"/>
                <a:gd name="T3" fmla="*/ 76 h 236"/>
                <a:gd name="T4" fmla="*/ 215 w 237"/>
                <a:gd name="T5" fmla="*/ 76 h 236"/>
                <a:gd name="T6" fmla="*/ 225 w 237"/>
                <a:gd name="T7" fmla="*/ 87 h 236"/>
                <a:gd name="T8" fmla="*/ 215 w 237"/>
                <a:gd name="T9" fmla="*/ 97 h 236"/>
                <a:gd name="T10" fmla="*/ 151 w 237"/>
                <a:gd name="T11" fmla="*/ 97 h 236"/>
                <a:gd name="T12" fmla="*/ 140 w 237"/>
                <a:gd name="T13" fmla="*/ 87 h 236"/>
                <a:gd name="T14" fmla="*/ 140 w 237"/>
                <a:gd name="T15" fmla="*/ 23 h 236"/>
                <a:gd name="T16" fmla="*/ 151 w 237"/>
                <a:gd name="T17" fmla="*/ 12 h 236"/>
                <a:gd name="T18" fmla="*/ 161 w 237"/>
                <a:gd name="T19" fmla="*/ 23 h 236"/>
                <a:gd name="T20" fmla="*/ 161 w 237"/>
                <a:gd name="T21" fmla="*/ 61 h 236"/>
                <a:gd name="T22" fmla="*/ 218 w 237"/>
                <a:gd name="T23" fmla="*/ 4 h 236"/>
                <a:gd name="T24" fmla="*/ 233 w 237"/>
                <a:gd name="T25" fmla="*/ 4 h 236"/>
                <a:gd name="T26" fmla="*/ 233 w 237"/>
                <a:gd name="T27" fmla="*/ 20 h 236"/>
                <a:gd name="T28" fmla="*/ 87 w 237"/>
                <a:gd name="T29" fmla="*/ 140 h 236"/>
                <a:gd name="T30" fmla="*/ 23 w 237"/>
                <a:gd name="T31" fmla="*/ 140 h 236"/>
                <a:gd name="T32" fmla="*/ 12 w 237"/>
                <a:gd name="T33" fmla="*/ 151 h 236"/>
                <a:gd name="T34" fmla="*/ 23 w 237"/>
                <a:gd name="T35" fmla="*/ 161 h 236"/>
                <a:gd name="T36" fmla="*/ 61 w 237"/>
                <a:gd name="T37" fmla="*/ 161 h 236"/>
                <a:gd name="T38" fmla="*/ 4 w 237"/>
                <a:gd name="T39" fmla="*/ 218 h 236"/>
                <a:gd name="T40" fmla="*/ 4 w 237"/>
                <a:gd name="T41" fmla="*/ 233 h 236"/>
                <a:gd name="T42" fmla="*/ 12 w 237"/>
                <a:gd name="T43" fmla="*/ 236 h 236"/>
                <a:gd name="T44" fmla="*/ 20 w 237"/>
                <a:gd name="T45" fmla="*/ 233 h 236"/>
                <a:gd name="T46" fmla="*/ 76 w 237"/>
                <a:gd name="T47" fmla="*/ 176 h 236"/>
                <a:gd name="T48" fmla="*/ 76 w 237"/>
                <a:gd name="T49" fmla="*/ 215 h 236"/>
                <a:gd name="T50" fmla="*/ 87 w 237"/>
                <a:gd name="T51" fmla="*/ 225 h 236"/>
                <a:gd name="T52" fmla="*/ 97 w 237"/>
                <a:gd name="T53" fmla="*/ 215 h 236"/>
                <a:gd name="T54" fmla="*/ 97 w 237"/>
                <a:gd name="T55" fmla="*/ 151 h 236"/>
                <a:gd name="T56" fmla="*/ 87 w 237"/>
                <a:gd name="T57"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236">
                  <a:moveTo>
                    <a:pt x="233" y="20"/>
                  </a:moveTo>
                  <a:cubicBezTo>
                    <a:pt x="176" y="76"/>
                    <a:pt x="176" y="76"/>
                    <a:pt x="176" y="76"/>
                  </a:cubicBezTo>
                  <a:cubicBezTo>
                    <a:pt x="215" y="76"/>
                    <a:pt x="215" y="76"/>
                    <a:pt x="215" y="76"/>
                  </a:cubicBezTo>
                  <a:cubicBezTo>
                    <a:pt x="221" y="76"/>
                    <a:pt x="225" y="81"/>
                    <a:pt x="225" y="87"/>
                  </a:cubicBezTo>
                  <a:cubicBezTo>
                    <a:pt x="225" y="93"/>
                    <a:pt x="221" y="97"/>
                    <a:pt x="215" y="97"/>
                  </a:cubicBezTo>
                  <a:cubicBezTo>
                    <a:pt x="151" y="97"/>
                    <a:pt x="151" y="97"/>
                    <a:pt x="151" y="97"/>
                  </a:cubicBezTo>
                  <a:cubicBezTo>
                    <a:pt x="145" y="97"/>
                    <a:pt x="140" y="93"/>
                    <a:pt x="140" y="87"/>
                  </a:cubicBezTo>
                  <a:cubicBezTo>
                    <a:pt x="140" y="23"/>
                    <a:pt x="140" y="23"/>
                    <a:pt x="140" y="23"/>
                  </a:cubicBezTo>
                  <a:cubicBezTo>
                    <a:pt x="140" y="17"/>
                    <a:pt x="145" y="12"/>
                    <a:pt x="151" y="12"/>
                  </a:cubicBezTo>
                  <a:cubicBezTo>
                    <a:pt x="157" y="12"/>
                    <a:pt x="161" y="17"/>
                    <a:pt x="161" y="23"/>
                  </a:cubicBezTo>
                  <a:cubicBezTo>
                    <a:pt x="161" y="61"/>
                    <a:pt x="161" y="61"/>
                    <a:pt x="161" y="61"/>
                  </a:cubicBezTo>
                  <a:cubicBezTo>
                    <a:pt x="218" y="4"/>
                    <a:pt x="218" y="4"/>
                    <a:pt x="218" y="4"/>
                  </a:cubicBezTo>
                  <a:cubicBezTo>
                    <a:pt x="222" y="0"/>
                    <a:pt x="229" y="0"/>
                    <a:pt x="233" y="4"/>
                  </a:cubicBezTo>
                  <a:cubicBezTo>
                    <a:pt x="237" y="9"/>
                    <a:pt x="237" y="15"/>
                    <a:pt x="233" y="20"/>
                  </a:cubicBezTo>
                  <a:close/>
                  <a:moveTo>
                    <a:pt x="87" y="140"/>
                  </a:moveTo>
                  <a:cubicBezTo>
                    <a:pt x="23" y="140"/>
                    <a:pt x="23" y="140"/>
                    <a:pt x="23" y="140"/>
                  </a:cubicBezTo>
                  <a:cubicBezTo>
                    <a:pt x="17" y="140"/>
                    <a:pt x="12" y="145"/>
                    <a:pt x="12" y="151"/>
                  </a:cubicBezTo>
                  <a:cubicBezTo>
                    <a:pt x="12" y="157"/>
                    <a:pt x="17" y="161"/>
                    <a:pt x="23" y="161"/>
                  </a:cubicBezTo>
                  <a:cubicBezTo>
                    <a:pt x="61" y="161"/>
                    <a:pt x="61" y="161"/>
                    <a:pt x="61" y="161"/>
                  </a:cubicBezTo>
                  <a:cubicBezTo>
                    <a:pt x="4" y="218"/>
                    <a:pt x="4" y="218"/>
                    <a:pt x="4" y="218"/>
                  </a:cubicBezTo>
                  <a:cubicBezTo>
                    <a:pt x="0" y="222"/>
                    <a:pt x="0" y="229"/>
                    <a:pt x="4" y="233"/>
                  </a:cubicBezTo>
                  <a:cubicBezTo>
                    <a:pt x="7" y="235"/>
                    <a:pt x="9" y="236"/>
                    <a:pt x="12" y="236"/>
                  </a:cubicBezTo>
                  <a:cubicBezTo>
                    <a:pt x="15" y="236"/>
                    <a:pt x="17" y="235"/>
                    <a:pt x="20" y="233"/>
                  </a:cubicBezTo>
                  <a:cubicBezTo>
                    <a:pt x="76" y="176"/>
                    <a:pt x="76" y="176"/>
                    <a:pt x="76" y="176"/>
                  </a:cubicBezTo>
                  <a:cubicBezTo>
                    <a:pt x="76" y="215"/>
                    <a:pt x="76" y="215"/>
                    <a:pt x="76" y="215"/>
                  </a:cubicBezTo>
                  <a:cubicBezTo>
                    <a:pt x="76" y="221"/>
                    <a:pt x="81" y="225"/>
                    <a:pt x="87" y="225"/>
                  </a:cubicBezTo>
                  <a:cubicBezTo>
                    <a:pt x="93" y="225"/>
                    <a:pt x="97" y="221"/>
                    <a:pt x="97" y="215"/>
                  </a:cubicBezTo>
                  <a:cubicBezTo>
                    <a:pt x="97" y="151"/>
                    <a:pt x="97" y="151"/>
                    <a:pt x="97" y="151"/>
                  </a:cubicBezTo>
                  <a:cubicBezTo>
                    <a:pt x="97" y="145"/>
                    <a:pt x="93" y="140"/>
                    <a:pt x="87"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6" name="Freeform 205">
            <a:extLst>
              <a:ext uri="{FF2B5EF4-FFF2-40B4-BE49-F238E27FC236}">
                <a16:creationId xmlns:a16="http://schemas.microsoft.com/office/drawing/2014/main" id="{C7B9D688-FC19-4DD6-BDF9-9D4F1B8EDF99}"/>
              </a:ext>
            </a:extLst>
          </p:cNvPr>
          <p:cNvSpPr>
            <a:spLocks noChangeAspect="1" noEditPoints="1"/>
          </p:cNvSpPr>
          <p:nvPr/>
        </p:nvSpPr>
        <p:spPr bwMode="auto">
          <a:xfrm>
            <a:off x="4813676" y="4097620"/>
            <a:ext cx="367631" cy="367631"/>
          </a:xfrm>
          <a:custGeom>
            <a:avLst/>
            <a:gdLst>
              <a:gd name="T0" fmla="*/ 0 w 512"/>
              <a:gd name="T1" fmla="*/ 256 h 512"/>
              <a:gd name="T2" fmla="*/ 512 w 512"/>
              <a:gd name="T3" fmla="*/ 256 h 512"/>
              <a:gd name="T4" fmla="*/ 234 w 512"/>
              <a:gd name="T5" fmla="*/ 341 h 512"/>
              <a:gd name="T6" fmla="*/ 213 w 512"/>
              <a:gd name="T7" fmla="*/ 341 h 512"/>
              <a:gd name="T8" fmla="*/ 157 w 512"/>
              <a:gd name="T9" fmla="*/ 370 h 512"/>
              <a:gd name="T10" fmla="*/ 141 w 512"/>
              <a:gd name="T11" fmla="*/ 370 h 512"/>
              <a:gd name="T12" fmla="*/ 198 w 512"/>
              <a:gd name="T13" fmla="*/ 298 h 512"/>
              <a:gd name="T14" fmla="*/ 160 w 512"/>
              <a:gd name="T15" fmla="*/ 288 h 512"/>
              <a:gd name="T16" fmla="*/ 224 w 512"/>
              <a:gd name="T17" fmla="*/ 277 h 512"/>
              <a:gd name="T18" fmla="*/ 234 w 512"/>
              <a:gd name="T19" fmla="*/ 288 h 512"/>
              <a:gd name="T20" fmla="*/ 234 w 512"/>
              <a:gd name="T21" fmla="*/ 341 h 512"/>
              <a:gd name="T22" fmla="*/ 228 w 512"/>
              <a:gd name="T23" fmla="*/ 234 h 512"/>
              <a:gd name="T24" fmla="*/ 170 w 512"/>
              <a:gd name="T25" fmla="*/ 234 h 512"/>
              <a:gd name="T26" fmla="*/ 170 w 512"/>
              <a:gd name="T27" fmla="*/ 213 h 512"/>
              <a:gd name="T28" fmla="*/ 141 w 512"/>
              <a:gd name="T29" fmla="*/ 157 h 512"/>
              <a:gd name="T30" fmla="*/ 157 w 512"/>
              <a:gd name="T31" fmla="*/ 141 h 512"/>
              <a:gd name="T32" fmla="*/ 213 w 512"/>
              <a:gd name="T33" fmla="*/ 170 h 512"/>
              <a:gd name="T34" fmla="*/ 234 w 512"/>
              <a:gd name="T35" fmla="*/ 170 h 512"/>
              <a:gd name="T36" fmla="*/ 370 w 512"/>
              <a:gd name="T37" fmla="*/ 370 h 512"/>
              <a:gd name="T38" fmla="*/ 355 w 512"/>
              <a:gd name="T39" fmla="*/ 370 h 512"/>
              <a:gd name="T40" fmla="*/ 298 w 512"/>
              <a:gd name="T41" fmla="*/ 341 h 512"/>
              <a:gd name="T42" fmla="*/ 277 w 512"/>
              <a:gd name="T43" fmla="*/ 341 h 512"/>
              <a:gd name="T44" fmla="*/ 277 w 512"/>
              <a:gd name="T45" fmla="*/ 288 h 512"/>
              <a:gd name="T46" fmla="*/ 288 w 512"/>
              <a:gd name="T47" fmla="*/ 277 h 512"/>
              <a:gd name="T48" fmla="*/ 352 w 512"/>
              <a:gd name="T49" fmla="*/ 288 h 512"/>
              <a:gd name="T50" fmla="*/ 313 w 512"/>
              <a:gd name="T51" fmla="*/ 298 h 512"/>
              <a:gd name="T52" fmla="*/ 370 w 512"/>
              <a:gd name="T53" fmla="*/ 370 h 512"/>
              <a:gd name="T54" fmla="*/ 313 w 512"/>
              <a:gd name="T55" fmla="*/ 213 h 512"/>
              <a:gd name="T56" fmla="*/ 352 w 512"/>
              <a:gd name="T57" fmla="*/ 224 h 512"/>
              <a:gd name="T58" fmla="*/ 288 w 512"/>
              <a:gd name="T59" fmla="*/ 234 h 512"/>
              <a:gd name="T60" fmla="*/ 277 w 512"/>
              <a:gd name="T61" fmla="*/ 224 h 512"/>
              <a:gd name="T62" fmla="*/ 288 w 512"/>
              <a:gd name="T63" fmla="*/ 160 h 512"/>
              <a:gd name="T64" fmla="*/ 298 w 512"/>
              <a:gd name="T65" fmla="*/ 198 h 512"/>
              <a:gd name="T66" fmla="*/ 370 w 512"/>
              <a:gd name="T67"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341"/>
                </a:moveTo>
                <a:cubicBezTo>
                  <a:pt x="234" y="347"/>
                  <a:pt x="230" y="352"/>
                  <a:pt x="224" y="352"/>
                </a:cubicBezTo>
                <a:cubicBezTo>
                  <a:pt x="218" y="352"/>
                  <a:pt x="213" y="347"/>
                  <a:pt x="213" y="341"/>
                </a:cubicBezTo>
                <a:cubicBezTo>
                  <a:pt x="213" y="313"/>
                  <a:pt x="213" y="313"/>
                  <a:pt x="213" y="313"/>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8" y="298"/>
                  <a:pt x="198" y="298"/>
                  <a:pt x="198" y="298"/>
                </a:cubicBezTo>
                <a:cubicBezTo>
                  <a:pt x="170" y="298"/>
                  <a:pt x="170" y="298"/>
                  <a:pt x="170" y="298"/>
                </a:cubicBezTo>
                <a:cubicBezTo>
                  <a:pt x="164" y="298"/>
                  <a:pt x="160" y="294"/>
                  <a:pt x="160" y="288"/>
                </a:cubicBezTo>
                <a:cubicBezTo>
                  <a:pt x="160" y="282"/>
                  <a:pt x="164" y="277"/>
                  <a:pt x="170" y="277"/>
                </a:cubicBezTo>
                <a:cubicBezTo>
                  <a:pt x="224" y="277"/>
                  <a:pt x="224" y="277"/>
                  <a:pt x="224" y="277"/>
                </a:cubicBezTo>
                <a:cubicBezTo>
                  <a:pt x="228" y="277"/>
                  <a:pt x="232" y="280"/>
                  <a:pt x="234" y="284"/>
                </a:cubicBezTo>
                <a:cubicBezTo>
                  <a:pt x="234" y="285"/>
                  <a:pt x="234" y="286"/>
                  <a:pt x="234" y="288"/>
                </a:cubicBezTo>
                <a:cubicBezTo>
                  <a:pt x="234" y="288"/>
                  <a:pt x="234" y="288"/>
                  <a:pt x="234" y="288"/>
                </a:cubicBezTo>
                <a:lnTo>
                  <a:pt x="234" y="341"/>
                </a:lnTo>
                <a:close/>
                <a:moveTo>
                  <a:pt x="234" y="224"/>
                </a:moveTo>
                <a:cubicBezTo>
                  <a:pt x="234" y="228"/>
                  <a:pt x="232" y="232"/>
                  <a:pt x="228" y="234"/>
                </a:cubicBezTo>
                <a:cubicBezTo>
                  <a:pt x="226" y="234"/>
                  <a:pt x="225" y="234"/>
                  <a:pt x="224" y="234"/>
                </a:cubicBezTo>
                <a:cubicBezTo>
                  <a:pt x="170" y="234"/>
                  <a:pt x="170" y="234"/>
                  <a:pt x="170" y="234"/>
                </a:cubicBezTo>
                <a:cubicBezTo>
                  <a:pt x="164" y="234"/>
                  <a:pt x="160" y="230"/>
                  <a:pt x="160" y="224"/>
                </a:cubicBezTo>
                <a:cubicBezTo>
                  <a:pt x="160" y="218"/>
                  <a:pt x="164" y="213"/>
                  <a:pt x="170" y="213"/>
                </a:cubicBezTo>
                <a:cubicBezTo>
                  <a:pt x="198" y="213"/>
                  <a:pt x="198" y="213"/>
                  <a:pt x="198" y="213"/>
                </a:cubicBezTo>
                <a:cubicBezTo>
                  <a:pt x="141" y="157"/>
                  <a:pt x="141" y="157"/>
                  <a:pt x="141" y="157"/>
                </a:cubicBezTo>
                <a:cubicBezTo>
                  <a:pt x="137" y="152"/>
                  <a:pt x="137" y="146"/>
                  <a:pt x="141" y="141"/>
                </a:cubicBezTo>
                <a:cubicBezTo>
                  <a:pt x="146" y="137"/>
                  <a:pt x="152" y="137"/>
                  <a:pt x="157" y="141"/>
                </a:cubicBezTo>
                <a:cubicBezTo>
                  <a:pt x="213" y="198"/>
                  <a:pt x="213" y="198"/>
                  <a:pt x="213" y="198"/>
                </a:cubicBezTo>
                <a:cubicBezTo>
                  <a:pt x="213" y="170"/>
                  <a:pt x="213" y="170"/>
                  <a:pt x="213" y="170"/>
                </a:cubicBezTo>
                <a:cubicBezTo>
                  <a:pt x="213" y="164"/>
                  <a:pt x="218" y="160"/>
                  <a:pt x="224" y="160"/>
                </a:cubicBezTo>
                <a:cubicBezTo>
                  <a:pt x="230" y="160"/>
                  <a:pt x="234" y="164"/>
                  <a:pt x="234" y="170"/>
                </a:cubicBezTo>
                <a:lnTo>
                  <a:pt x="234" y="224"/>
                </a:lnTo>
                <a:close/>
                <a:moveTo>
                  <a:pt x="370" y="370"/>
                </a:moveTo>
                <a:cubicBezTo>
                  <a:pt x="368" y="372"/>
                  <a:pt x="365" y="373"/>
                  <a:pt x="362" y="373"/>
                </a:cubicBezTo>
                <a:cubicBezTo>
                  <a:pt x="360" y="373"/>
                  <a:pt x="357" y="372"/>
                  <a:pt x="355" y="370"/>
                </a:cubicBezTo>
                <a:cubicBezTo>
                  <a:pt x="298" y="313"/>
                  <a:pt x="298" y="313"/>
                  <a:pt x="298" y="313"/>
                </a:cubicBezTo>
                <a:cubicBezTo>
                  <a:pt x="298" y="341"/>
                  <a:pt x="298" y="341"/>
                  <a:pt x="298" y="341"/>
                </a:cubicBezTo>
                <a:cubicBezTo>
                  <a:pt x="298" y="347"/>
                  <a:pt x="294" y="352"/>
                  <a:pt x="288" y="352"/>
                </a:cubicBezTo>
                <a:cubicBezTo>
                  <a:pt x="282" y="352"/>
                  <a:pt x="277" y="347"/>
                  <a:pt x="277" y="341"/>
                </a:cubicBezTo>
                <a:cubicBezTo>
                  <a:pt x="277" y="288"/>
                  <a:pt x="277" y="288"/>
                  <a:pt x="277" y="288"/>
                </a:cubicBezTo>
                <a:cubicBezTo>
                  <a:pt x="277" y="288"/>
                  <a:pt x="277" y="288"/>
                  <a:pt x="277" y="288"/>
                </a:cubicBezTo>
                <a:cubicBezTo>
                  <a:pt x="277" y="286"/>
                  <a:pt x="277" y="285"/>
                  <a:pt x="278" y="284"/>
                </a:cubicBezTo>
                <a:cubicBezTo>
                  <a:pt x="279" y="280"/>
                  <a:pt x="283" y="277"/>
                  <a:pt x="288" y="277"/>
                </a:cubicBezTo>
                <a:cubicBezTo>
                  <a:pt x="341" y="277"/>
                  <a:pt x="341" y="277"/>
                  <a:pt x="341" y="277"/>
                </a:cubicBezTo>
                <a:cubicBezTo>
                  <a:pt x="347" y="277"/>
                  <a:pt x="352" y="282"/>
                  <a:pt x="352" y="288"/>
                </a:cubicBezTo>
                <a:cubicBezTo>
                  <a:pt x="352" y="294"/>
                  <a:pt x="347" y="298"/>
                  <a:pt x="341" y="298"/>
                </a:cubicBezTo>
                <a:cubicBezTo>
                  <a:pt x="313" y="298"/>
                  <a:pt x="313" y="298"/>
                  <a:pt x="313" y="298"/>
                </a:cubicBezTo>
                <a:cubicBezTo>
                  <a:pt x="370" y="355"/>
                  <a:pt x="370" y="355"/>
                  <a:pt x="370" y="355"/>
                </a:cubicBezTo>
                <a:cubicBezTo>
                  <a:pt x="374" y="359"/>
                  <a:pt x="374" y="366"/>
                  <a:pt x="370" y="370"/>
                </a:cubicBezTo>
                <a:close/>
                <a:moveTo>
                  <a:pt x="370" y="157"/>
                </a:moveTo>
                <a:cubicBezTo>
                  <a:pt x="313" y="213"/>
                  <a:pt x="313" y="213"/>
                  <a:pt x="313" y="213"/>
                </a:cubicBezTo>
                <a:cubicBezTo>
                  <a:pt x="341" y="213"/>
                  <a:pt x="341" y="213"/>
                  <a:pt x="341" y="213"/>
                </a:cubicBezTo>
                <a:cubicBezTo>
                  <a:pt x="347" y="213"/>
                  <a:pt x="352" y="218"/>
                  <a:pt x="352" y="224"/>
                </a:cubicBezTo>
                <a:cubicBezTo>
                  <a:pt x="352" y="230"/>
                  <a:pt x="347" y="234"/>
                  <a:pt x="341" y="234"/>
                </a:cubicBezTo>
                <a:cubicBezTo>
                  <a:pt x="288" y="234"/>
                  <a:pt x="288" y="234"/>
                  <a:pt x="288" y="234"/>
                </a:cubicBezTo>
                <a:cubicBezTo>
                  <a:pt x="286" y="234"/>
                  <a:pt x="285" y="234"/>
                  <a:pt x="284" y="234"/>
                </a:cubicBezTo>
                <a:cubicBezTo>
                  <a:pt x="280" y="232"/>
                  <a:pt x="277" y="228"/>
                  <a:pt x="277" y="224"/>
                </a:cubicBezTo>
                <a:cubicBezTo>
                  <a:pt x="277" y="170"/>
                  <a:pt x="277" y="170"/>
                  <a:pt x="277" y="170"/>
                </a:cubicBezTo>
                <a:cubicBezTo>
                  <a:pt x="277" y="164"/>
                  <a:pt x="282" y="160"/>
                  <a:pt x="288" y="160"/>
                </a:cubicBezTo>
                <a:cubicBezTo>
                  <a:pt x="294" y="160"/>
                  <a:pt x="298" y="164"/>
                  <a:pt x="298" y="170"/>
                </a:cubicBezTo>
                <a:cubicBezTo>
                  <a:pt x="298" y="198"/>
                  <a:pt x="298" y="198"/>
                  <a:pt x="298" y="198"/>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7" name="Group 208">
            <a:extLst>
              <a:ext uri="{FF2B5EF4-FFF2-40B4-BE49-F238E27FC236}">
                <a16:creationId xmlns:a16="http://schemas.microsoft.com/office/drawing/2014/main" id="{A3EF2C07-69B6-4B88-9B43-23B1DDB0E309}"/>
              </a:ext>
            </a:extLst>
          </p:cNvPr>
          <p:cNvGrpSpPr>
            <a:grpSpLocks noChangeAspect="1"/>
          </p:cNvGrpSpPr>
          <p:nvPr/>
        </p:nvGrpSpPr>
        <p:grpSpPr bwMode="auto">
          <a:xfrm>
            <a:off x="5247337" y="4097620"/>
            <a:ext cx="368713" cy="367631"/>
            <a:chOff x="1818" y="1193"/>
            <a:chExt cx="341" cy="340"/>
          </a:xfrm>
          <a:solidFill>
            <a:schemeClr val="accent3"/>
          </a:solidFill>
        </p:grpSpPr>
        <p:sp>
          <p:nvSpPr>
            <p:cNvPr id="578" name="Freeform 209">
              <a:extLst>
                <a:ext uri="{FF2B5EF4-FFF2-40B4-BE49-F238E27FC236}">
                  <a16:creationId xmlns:a16="http://schemas.microsoft.com/office/drawing/2014/main" id="{29A78449-A959-442F-BE7F-9ED45E79E3D2}"/>
                </a:ext>
              </a:extLst>
            </p:cNvPr>
            <p:cNvSpPr>
              <a:spLocks noEditPoints="1"/>
            </p:cNvSpPr>
            <p:nvPr/>
          </p:nvSpPr>
          <p:spPr bwMode="auto">
            <a:xfrm>
              <a:off x="1909" y="1284"/>
              <a:ext cx="158" cy="157"/>
            </a:xfrm>
            <a:custGeom>
              <a:avLst/>
              <a:gdLst>
                <a:gd name="T0" fmla="*/ 140 w 237"/>
                <a:gd name="T1" fmla="*/ 33 h 236"/>
                <a:gd name="T2" fmla="*/ 161 w 237"/>
                <a:gd name="T3" fmla="*/ 33 h 236"/>
                <a:gd name="T4" fmla="*/ 218 w 237"/>
                <a:gd name="T5" fmla="*/ 4 h 236"/>
                <a:gd name="T6" fmla="*/ 233 w 237"/>
                <a:gd name="T7" fmla="*/ 20 h 236"/>
                <a:gd name="T8" fmla="*/ 204 w 237"/>
                <a:gd name="T9" fmla="*/ 76 h 236"/>
                <a:gd name="T10" fmla="*/ 204 w 237"/>
                <a:gd name="T11" fmla="*/ 97 h 236"/>
                <a:gd name="T12" fmla="*/ 147 w 237"/>
                <a:gd name="T13" fmla="*/ 97 h 236"/>
                <a:gd name="T14" fmla="*/ 97 w 237"/>
                <a:gd name="T15" fmla="*/ 147 h 236"/>
                <a:gd name="T16" fmla="*/ 33 w 237"/>
                <a:gd name="T17" fmla="*/ 140 h 236"/>
                <a:gd name="T18" fmla="*/ 33 w 237"/>
                <a:gd name="T19" fmla="*/ 161 h 236"/>
                <a:gd name="T20" fmla="*/ 4 w 237"/>
                <a:gd name="T21" fmla="*/ 218 h 236"/>
                <a:gd name="T22" fmla="*/ 12 w 237"/>
                <a:gd name="T23" fmla="*/ 236 h 236"/>
                <a:gd name="T24" fmla="*/ 76 w 237"/>
                <a:gd name="T25" fmla="*/ 176 h 236"/>
                <a:gd name="T26" fmla="*/ 87 w 237"/>
                <a:gd name="T27" fmla="*/ 215 h 236"/>
                <a:gd name="T28" fmla="*/ 97 w 237"/>
                <a:gd name="T29" fmla="*/ 151 h 236"/>
                <a:gd name="T30" fmla="*/ 97 w 237"/>
                <a:gd name="T31" fmla="*/ 147 h 236"/>
                <a:gd name="T32" fmla="*/ 204 w 237"/>
                <a:gd name="T33" fmla="*/ 161 h 236"/>
                <a:gd name="T34" fmla="*/ 204 w 237"/>
                <a:gd name="T35" fmla="*/ 140 h 236"/>
                <a:gd name="T36" fmla="*/ 141 w 237"/>
                <a:gd name="T37" fmla="*/ 147 h 236"/>
                <a:gd name="T38" fmla="*/ 140 w 237"/>
                <a:gd name="T39" fmla="*/ 151 h 236"/>
                <a:gd name="T40" fmla="*/ 151 w 237"/>
                <a:gd name="T41" fmla="*/ 215 h 236"/>
                <a:gd name="T42" fmla="*/ 161 w 237"/>
                <a:gd name="T43" fmla="*/ 176 h 236"/>
                <a:gd name="T44" fmla="*/ 225 w 237"/>
                <a:gd name="T45" fmla="*/ 236 h 236"/>
                <a:gd name="T46" fmla="*/ 233 w 237"/>
                <a:gd name="T47" fmla="*/ 218 h 236"/>
                <a:gd name="T48" fmla="*/ 87 w 237"/>
                <a:gd name="T49" fmla="*/ 23 h 236"/>
                <a:gd name="T50" fmla="*/ 76 w 237"/>
                <a:gd name="T51" fmla="*/ 61 h 236"/>
                <a:gd name="T52" fmla="*/ 4 w 237"/>
                <a:gd name="T53" fmla="*/ 4 h 236"/>
                <a:gd name="T54" fmla="*/ 61 w 237"/>
                <a:gd name="T55" fmla="*/ 76 h 236"/>
                <a:gd name="T56" fmla="*/ 23 w 237"/>
                <a:gd name="T57" fmla="*/ 87 h 236"/>
                <a:gd name="T58" fmla="*/ 87 w 237"/>
                <a:gd name="T59" fmla="*/ 97 h 236"/>
                <a:gd name="T60" fmla="*/ 97 w 237"/>
                <a:gd name="T61" fmla="*/ 87 h 236"/>
                <a:gd name="T62" fmla="*/ 87 w 237"/>
                <a:gd name="T63" fmla="*/ 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7" h="236">
                  <a:moveTo>
                    <a:pt x="140" y="87"/>
                  </a:moveTo>
                  <a:cubicBezTo>
                    <a:pt x="140" y="33"/>
                    <a:pt x="140" y="33"/>
                    <a:pt x="140" y="33"/>
                  </a:cubicBezTo>
                  <a:cubicBezTo>
                    <a:pt x="140" y="27"/>
                    <a:pt x="145" y="23"/>
                    <a:pt x="151" y="23"/>
                  </a:cubicBezTo>
                  <a:cubicBezTo>
                    <a:pt x="157" y="23"/>
                    <a:pt x="161" y="27"/>
                    <a:pt x="161" y="33"/>
                  </a:cubicBezTo>
                  <a:cubicBezTo>
                    <a:pt x="161" y="61"/>
                    <a:pt x="161" y="61"/>
                    <a:pt x="161" y="61"/>
                  </a:cubicBezTo>
                  <a:cubicBezTo>
                    <a:pt x="218" y="4"/>
                    <a:pt x="218" y="4"/>
                    <a:pt x="218" y="4"/>
                  </a:cubicBezTo>
                  <a:cubicBezTo>
                    <a:pt x="222" y="0"/>
                    <a:pt x="229" y="0"/>
                    <a:pt x="233" y="4"/>
                  </a:cubicBezTo>
                  <a:cubicBezTo>
                    <a:pt x="237" y="9"/>
                    <a:pt x="237" y="15"/>
                    <a:pt x="233" y="20"/>
                  </a:cubicBezTo>
                  <a:cubicBezTo>
                    <a:pt x="176" y="76"/>
                    <a:pt x="176" y="76"/>
                    <a:pt x="176" y="76"/>
                  </a:cubicBezTo>
                  <a:cubicBezTo>
                    <a:pt x="204" y="76"/>
                    <a:pt x="204" y="76"/>
                    <a:pt x="204" y="76"/>
                  </a:cubicBezTo>
                  <a:cubicBezTo>
                    <a:pt x="210" y="76"/>
                    <a:pt x="215" y="81"/>
                    <a:pt x="215" y="87"/>
                  </a:cubicBezTo>
                  <a:cubicBezTo>
                    <a:pt x="215" y="93"/>
                    <a:pt x="210" y="97"/>
                    <a:pt x="204" y="97"/>
                  </a:cubicBezTo>
                  <a:cubicBezTo>
                    <a:pt x="151" y="97"/>
                    <a:pt x="151" y="97"/>
                    <a:pt x="151" y="97"/>
                  </a:cubicBezTo>
                  <a:cubicBezTo>
                    <a:pt x="149" y="97"/>
                    <a:pt x="148" y="97"/>
                    <a:pt x="147" y="97"/>
                  </a:cubicBezTo>
                  <a:cubicBezTo>
                    <a:pt x="143" y="95"/>
                    <a:pt x="140" y="91"/>
                    <a:pt x="140" y="87"/>
                  </a:cubicBezTo>
                  <a:close/>
                  <a:moveTo>
                    <a:pt x="97" y="147"/>
                  </a:moveTo>
                  <a:cubicBezTo>
                    <a:pt x="95" y="143"/>
                    <a:pt x="91" y="140"/>
                    <a:pt x="87" y="140"/>
                  </a:cubicBezTo>
                  <a:cubicBezTo>
                    <a:pt x="33" y="140"/>
                    <a:pt x="33" y="140"/>
                    <a:pt x="33" y="140"/>
                  </a:cubicBezTo>
                  <a:cubicBezTo>
                    <a:pt x="27" y="140"/>
                    <a:pt x="23" y="145"/>
                    <a:pt x="23" y="151"/>
                  </a:cubicBezTo>
                  <a:cubicBezTo>
                    <a:pt x="23" y="157"/>
                    <a:pt x="27" y="161"/>
                    <a:pt x="33" y="161"/>
                  </a:cubicBezTo>
                  <a:cubicBezTo>
                    <a:pt x="61" y="161"/>
                    <a:pt x="61" y="161"/>
                    <a:pt x="61" y="161"/>
                  </a:cubicBezTo>
                  <a:cubicBezTo>
                    <a:pt x="4" y="218"/>
                    <a:pt x="4" y="218"/>
                    <a:pt x="4" y="218"/>
                  </a:cubicBezTo>
                  <a:cubicBezTo>
                    <a:pt x="0" y="222"/>
                    <a:pt x="0" y="229"/>
                    <a:pt x="4" y="233"/>
                  </a:cubicBezTo>
                  <a:cubicBezTo>
                    <a:pt x="7" y="235"/>
                    <a:pt x="9" y="236"/>
                    <a:pt x="12" y="236"/>
                  </a:cubicBezTo>
                  <a:cubicBezTo>
                    <a:pt x="15" y="236"/>
                    <a:pt x="17" y="235"/>
                    <a:pt x="20" y="233"/>
                  </a:cubicBezTo>
                  <a:cubicBezTo>
                    <a:pt x="76" y="176"/>
                    <a:pt x="76" y="176"/>
                    <a:pt x="76" y="176"/>
                  </a:cubicBezTo>
                  <a:cubicBezTo>
                    <a:pt x="76" y="204"/>
                    <a:pt x="76" y="204"/>
                    <a:pt x="76" y="204"/>
                  </a:cubicBezTo>
                  <a:cubicBezTo>
                    <a:pt x="76" y="210"/>
                    <a:pt x="81" y="215"/>
                    <a:pt x="87" y="215"/>
                  </a:cubicBezTo>
                  <a:cubicBezTo>
                    <a:pt x="93" y="215"/>
                    <a:pt x="97" y="210"/>
                    <a:pt x="97" y="204"/>
                  </a:cubicBezTo>
                  <a:cubicBezTo>
                    <a:pt x="97" y="151"/>
                    <a:pt x="97" y="151"/>
                    <a:pt x="97" y="151"/>
                  </a:cubicBezTo>
                  <a:cubicBezTo>
                    <a:pt x="97" y="151"/>
                    <a:pt x="97" y="151"/>
                    <a:pt x="97" y="151"/>
                  </a:cubicBezTo>
                  <a:cubicBezTo>
                    <a:pt x="97" y="149"/>
                    <a:pt x="97" y="148"/>
                    <a:pt x="97" y="147"/>
                  </a:cubicBezTo>
                  <a:close/>
                  <a:moveTo>
                    <a:pt x="176" y="161"/>
                  </a:moveTo>
                  <a:cubicBezTo>
                    <a:pt x="204" y="161"/>
                    <a:pt x="204" y="161"/>
                    <a:pt x="204" y="161"/>
                  </a:cubicBezTo>
                  <a:cubicBezTo>
                    <a:pt x="210" y="161"/>
                    <a:pt x="215" y="157"/>
                    <a:pt x="215" y="151"/>
                  </a:cubicBezTo>
                  <a:cubicBezTo>
                    <a:pt x="215" y="145"/>
                    <a:pt x="210" y="140"/>
                    <a:pt x="204" y="140"/>
                  </a:cubicBezTo>
                  <a:cubicBezTo>
                    <a:pt x="151" y="140"/>
                    <a:pt x="151" y="140"/>
                    <a:pt x="151" y="140"/>
                  </a:cubicBezTo>
                  <a:cubicBezTo>
                    <a:pt x="146" y="140"/>
                    <a:pt x="142" y="143"/>
                    <a:pt x="141" y="147"/>
                  </a:cubicBezTo>
                  <a:cubicBezTo>
                    <a:pt x="140" y="148"/>
                    <a:pt x="140" y="149"/>
                    <a:pt x="140" y="151"/>
                  </a:cubicBezTo>
                  <a:cubicBezTo>
                    <a:pt x="140" y="151"/>
                    <a:pt x="140" y="151"/>
                    <a:pt x="140" y="151"/>
                  </a:cubicBezTo>
                  <a:cubicBezTo>
                    <a:pt x="140" y="204"/>
                    <a:pt x="140" y="204"/>
                    <a:pt x="140" y="204"/>
                  </a:cubicBezTo>
                  <a:cubicBezTo>
                    <a:pt x="140" y="210"/>
                    <a:pt x="145" y="215"/>
                    <a:pt x="151" y="215"/>
                  </a:cubicBezTo>
                  <a:cubicBezTo>
                    <a:pt x="157" y="215"/>
                    <a:pt x="161" y="210"/>
                    <a:pt x="161" y="204"/>
                  </a:cubicBezTo>
                  <a:cubicBezTo>
                    <a:pt x="161" y="176"/>
                    <a:pt x="161" y="176"/>
                    <a:pt x="161" y="176"/>
                  </a:cubicBezTo>
                  <a:cubicBezTo>
                    <a:pt x="218" y="233"/>
                    <a:pt x="218" y="233"/>
                    <a:pt x="218" y="233"/>
                  </a:cubicBezTo>
                  <a:cubicBezTo>
                    <a:pt x="220" y="235"/>
                    <a:pt x="223" y="236"/>
                    <a:pt x="225" y="236"/>
                  </a:cubicBezTo>
                  <a:cubicBezTo>
                    <a:pt x="228" y="236"/>
                    <a:pt x="231" y="235"/>
                    <a:pt x="233" y="233"/>
                  </a:cubicBezTo>
                  <a:cubicBezTo>
                    <a:pt x="237" y="229"/>
                    <a:pt x="237" y="222"/>
                    <a:pt x="233" y="218"/>
                  </a:cubicBezTo>
                  <a:lnTo>
                    <a:pt x="176" y="161"/>
                  </a:lnTo>
                  <a:close/>
                  <a:moveTo>
                    <a:pt x="87" y="23"/>
                  </a:moveTo>
                  <a:cubicBezTo>
                    <a:pt x="81" y="23"/>
                    <a:pt x="76" y="27"/>
                    <a:pt x="76" y="33"/>
                  </a:cubicBezTo>
                  <a:cubicBezTo>
                    <a:pt x="76" y="61"/>
                    <a:pt x="76" y="61"/>
                    <a:pt x="76" y="61"/>
                  </a:cubicBezTo>
                  <a:cubicBezTo>
                    <a:pt x="20" y="4"/>
                    <a:pt x="20" y="4"/>
                    <a:pt x="20" y="4"/>
                  </a:cubicBezTo>
                  <a:cubicBezTo>
                    <a:pt x="15" y="0"/>
                    <a:pt x="9" y="0"/>
                    <a:pt x="4" y="4"/>
                  </a:cubicBezTo>
                  <a:cubicBezTo>
                    <a:pt x="0" y="9"/>
                    <a:pt x="0" y="15"/>
                    <a:pt x="4" y="20"/>
                  </a:cubicBezTo>
                  <a:cubicBezTo>
                    <a:pt x="61" y="76"/>
                    <a:pt x="61" y="76"/>
                    <a:pt x="61" y="76"/>
                  </a:cubicBezTo>
                  <a:cubicBezTo>
                    <a:pt x="33" y="76"/>
                    <a:pt x="33" y="76"/>
                    <a:pt x="33" y="76"/>
                  </a:cubicBezTo>
                  <a:cubicBezTo>
                    <a:pt x="27" y="76"/>
                    <a:pt x="23" y="81"/>
                    <a:pt x="23" y="87"/>
                  </a:cubicBezTo>
                  <a:cubicBezTo>
                    <a:pt x="23" y="93"/>
                    <a:pt x="27" y="97"/>
                    <a:pt x="33" y="97"/>
                  </a:cubicBezTo>
                  <a:cubicBezTo>
                    <a:pt x="87" y="97"/>
                    <a:pt x="87" y="97"/>
                    <a:pt x="87" y="97"/>
                  </a:cubicBezTo>
                  <a:cubicBezTo>
                    <a:pt x="88" y="97"/>
                    <a:pt x="89" y="97"/>
                    <a:pt x="91" y="97"/>
                  </a:cubicBezTo>
                  <a:cubicBezTo>
                    <a:pt x="95" y="95"/>
                    <a:pt x="97" y="91"/>
                    <a:pt x="97" y="87"/>
                  </a:cubicBezTo>
                  <a:cubicBezTo>
                    <a:pt x="97" y="33"/>
                    <a:pt x="97" y="33"/>
                    <a:pt x="97" y="33"/>
                  </a:cubicBezTo>
                  <a:cubicBezTo>
                    <a:pt x="97" y="27"/>
                    <a:pt x="93" y="23"/>
                    <a:pt x="87"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9" name="Freeform 210">
              <a:extLst>
                <a:ext uri="{FF2B5EF4-FFF2-40B4-BE49-F238E27FC236}">
                  <a16:creationId xmlns:a16="http://schemas.microsoft.com/office/drawing/2014/main" id="{7CAECA59-7845-4331-B976-4A18FD75B77E}"/>
                </a:ext>
              </a:extLst>
            </p:cNvPr>
            <p:cNvSpPr>
              <a:spLocks noEditPoints="1"/>
            </p:cNvSpPr>
            <p:nvPr/>
          </p:nvSpPr>
          <p:spPr bwMode="auto">
            <a:xfrm>
              <a:off x="1818"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80" name="Group 948">
            <a:extLst>
              <a:ext uri="{FF2B5EF4-FFF2-40B4-BE49-F238E27FC236}">
                <a16:creationId xmlns:a16="http://schemas.microsoft.com/office/drawing/2014/main" id="{8459A677-7AB9-4584-A2C7-0468D38C005E}"/>
              </a:ext>
            </a:extLst>
          </p:cNvPr>
          <p:cNvGrpSpPr>
            <a:grpSpLocks noChangeAspect="1"/>
          </p:cNvGrpSpPr>
          <p:nvPr/>
        </p:nvGrpSpPr>
        <p:grpSpPr bwMode="auto">
          <a:xfrm>
            <a:off x="11358925" y="3304893"/>
            <a:ext cx="369021" cy="369021"/>
            <a:chOff x="7353" y="3999"/>
            <a:chExt cx="340" cy="340"/>
          </a:xfrm>
          <a:solidFill>
            <a:schemeClr val="accent5"/>
          </a:solidFill>
        </p:grpSpPr>
        <p:sp>
          <p:nvSpPr>
            <p:cNvPr id="581" name="Freeform 949">
              <a:extLst>
                <a:ext uri="{FF2B5EF4-FFF2-40B4-BE49-F238E27FC236}">
                  <a16:creationId xmlns:a16="http://schemas.microsoft.com/office/drawing/2014/main" id="{CC995021-7C52-4E41-B57C-9AB9E7763993}"/>
                </a:ext>
              </a:extLst>
            </p:cNvPr>
            <p:cNvSpPr>
              <a:spLocks/>
            </p:cNvSpPr>
            <p:nvPr/>
          </p:nvSpPr>
          <p:spPr bwMode="auto">
            <a:xfrm>
              <a:off x="7445" y="4148"/>
              <a:ext cx="99" cy="99"/>
            </a:xfrm>
            <a:custGeom>
              <a:avLst/>
              <a:gdLst>
                <a:gd name="T0" fmla="*/ 139 w 150"/>
                <a:gd name="T1" fmla="*/ 128 h 149"/>
                <a:gd name="T2" fmla="*/ 22 w 150"/>
                <a:gd name="T3" fmla="*/ 128 h 149"/>
                <a:gd name="T4" fmla="*/ 22 w 150"/>
                <a:gd name="T5" fmla="*/ 10 h 149"/>
                <a:gd name="T6" fmla="*/ 11 w 150"/>
                <a:gd name="T7" fmla="*/ 0 h 149"/>
                <a:gd name="T8" fmla="*/ 0 w 150"/>
                <a:gd name="T9" fmla="*/ 10 h 149"/>
                <a:gd name="T10" fmla="*/ 0 w 150"/>
                <a:gd name="T11" fmla="*/ 138 h 149"/>
                <a:gd name="T12" fmla="*/ 11 w 150"/>
                <a:gd name="T13" fmla="*/ 149 h 149"/>
                <a:gd name="T14" fmla="*/ 139 w 150"/>
                <a:gd name="T15" fmla="*/ 149 h 149"/>
                <a:gd name="T16" fmla="*/ 150 w 150"/>
                <a:gd name="T17" fmla="*/ 138 h 149"/>
                <a:gd name="T18" fmla="*/ 139 w 150"/>
                <a:gd name="T1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49">
                  <a:moveTo>
                    <a:pt x="139" y="128"/>
                  </a:moveTo>
                  <a:cubicBezTo>
                    <a:pt x="22" y="128"/>
                    <a:pt x="22" y="128"/>
                    <a:pt x="22" y="128"/>
                  </a:cubicBezTo>
                  <a:cubicBezTo>
                    <a:pt x="22" y="10"/>
                    <a:pt x="22" y="10"/>
                    <a:pt x="22" y="10"/>
                  </a:cubicBezTo>
                  <a:cubicBezTo>
                    <a:pt x="22" y="4"/>
                    <a:pt x="17" y="0"/>
                    <a:pt x="11" y="0"/>
                  </a:cubicBezTo>
                  <a:cubicBezTo>
                    <a:pt x="5" y="0"/>
                    <a:pt x="0" y="4"/>
                    <a:pt x="0" y="10"/>
                  </a:cubicBezTo>
                  <a:cubicBezTo>
                    <a:pt x="0" y="138"/>
                    <a:pt x="0" y="138"/>
                    <a:pt x="0" y="138"/>
                  </a:cubicBezTo>
                  <a:cubicBezTo>
                    <a:pt x="0" y="144"/>
                    <a:pt x="5" y="149"/>
                    <a:pt x="11" y="149"/>
                  </a:cubicBezTo>
                  <a:cubicBezTo>
                    <a:pt x="139" y="149"/>
                    <a:pt x="139" y="149"/>
                    <a:pt x="139" y="149"/>
                  </a:cubicBezTo>
                  <a:cubicBezTo>
                    <a:pt x="145" y="149"/>
                    <a:pt x="150" y="144"/>
                    <a:pt x="150" y="138"/>
                  </a:cubicBezTo>
                  <a:cubicBezTo>
                    <a:pt x="150" y="132"/>
                    <a:pt x="145" y="128"/>
                    <a:pt x="139"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2" name="Freeform 950">
              <a:extLst>
                <a:ext uri="{FF2B5EF4-FFF2-40B4-BE49-F238E27FC236}">
                  <a16:creationId xmlns:a16="http://schemas.microsoft.com/office/drawing/2014/main" id="{95673129-E725-4223-9E77-B01DCBF315A7}"/>
                </a:ext>
              </a:extLst>
            </p:cNvPr>
            <p:cNvSpPr>
              <a:spLocks/>
            </p:cNvSpPr>
            <p:nvPr/>
          </p:nvSpPr>
          <p:spPr bwMode="auto">
            <a:xfrm>
              <a:off x="7502" y="4091"/>
              <a:ext cx="99" cy="99"/>
            </a:xfrm>
            <a:custGeom>
              <a:avLst/>
              <a:gdLst>
                <a:gd name="T0" fmla="*/ 138 w 149"/>
                <a:gd name="T1" fmla="*/ 0 h 150"/>
                <a:gd name="T2" fmla="*/ 10 w 149"/>
                <a:gd name="T3" fmla="*/ 0 h 150"/>
                <a:gd name="T4" fmla="*/ 0 w 149"/>
                <a:gd name="T5" fmla="*/ 11 h 150"/>
                <a:gd name="T6" fmla="*/ 10 w 149"/>
                <a:gd name="T7" fmla="*/ 22 h 150"/>
                <a:gd name="T8" fmla="*/ 128 w 149"/>
                <a:gd name="T9" fmla="*/ 22 h 150"/>
                <a:gd name="T10" fmla="*/ 128 w 149"/>
                <a:gd name="T11" fmla="*/ 139 h 150"/>
                <a:gd name="T12" fmla="*/ 138 w 149"/>
                <a:gd name="T13" fmla="*/ 150 h 150"/>
                <a:gd name="T14" fmla="*/ 149 w 149"/>
                <a:gd name="T15" fmla="*/ 139 h 150"/>
                <a:gd name="T16" fmla="*/ 149 w 149"/>
                <a:gd name="T17" fmla="*/ 11 h 150"/>
                <a:gd name="T18" fmla="*/ 138 w 149"/>
                <a:gd name="T1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50">
                  <a:moveTo>
                    <a:pt x="138" y="0"/>
                  </a:moveTo>
                  <a:cubicBezTo>
                    <a:pt x="10" y="0"/>
                    <a:pt x="10" y="0"/>
                    <a:pt x="10" y="0"/>
                  </a:cubicBezTo>
                  <a:cubicBezTo>
                    <a:pt x="4" y="0"/>
                    <a:pt x="0" y="5"/>
                    <a:pt x="0" y="11"/>
                  </a:cubicBezTo>
                  <a:cubicBezTo>
                    <a:pt x="0" y="17"/>
                    <a:pt x="4" y="22"/>
                    <a:pt x="10" y="22"/>
                  </a:cubicBezTo>
                  <a:cubicBezTo>
                    <a:pt x="128" y="22"/>
                    <a:pt x="128" y="22"/>
                    <a:pt x="128" y="22"/>
                  </a:cubicBezTo>
                  <a:cubicBezTo>
                    <a:pt x="128" y="139"/>
                    <a:pt x="128" y="139"/>
                    <a:pt x="128" y="139"/>
                  </a:cubicBezTo>
                  <a:cubicBezTo>
                    <a:pt x="128" y="145"/>
                    <a:pt x="132" y="150"/>
                    <a:pt x="138" y="150"/>
                  </a:cubicBezTo>
                  <a:cubicBezTo>
                    <a:pt x="144" y="150"/>
                    <a:pt x="149" y="145"/>
                    <a:pt x="149" y="139"/>
                  </a:cubicBezTo>
                  <a:cubicBezTo>
                    <a:pt x="149" y="11"/>
                    <a:pt x="149" y="11"/>
                    <a:pt x="149" y="11"/>
                  </a:cubicBezTo>
                  <a:cubicBezTo>
                    <a:pt x="149" y="5"/>
                    <a:pt x="144" y="0"/>
                    <a:pt x="13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3" name="Freeform 951">
              <a:extLst>
                <a:ext uri="{FF2B5EF4-FFF2-40B4-BE49-F238E27FC236}">
                  <a16:creationId xmlns:a16="http://schemas.microsoft.com/office/drawing/2014/main" id="{5AD3A2A5-233D-49A2-8CB2-9EFF2969A517}"/>
                </a:ext>
              </a:extLst>
            </p:cNvPr>
            <p:cNvSpPr>
              <a:spLocks noEditPoints="1"/>
            </p:cNvSpPr>
            <p:nvPr/>
          </p:nvSpPr>
          <p:spPr bwMode="auto">
            <a:xfrm>
              <a:off x="7353" y="39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4" name="Freeform 955">
            <a:extLst>
              <a:ext uri="{FF2B5EF4-FFF2-40B4-BE49-F238E27FC236}">
                <a16:creationId xmlns:a16="http://schemas.microsoft.com/office/drawing/2014/main" id="{246CB153-7702-4A6F-80AF-B5778BD81DF1}"/>
              </a:ext>
            </a:extLst>
          </p:cNvPr>
          <p:cNvSpPr>
            <a:spLocks noChangeAspect="1" noEditPoints="1"/>
          </p:cNvSpPr>
          <p:nvPr/>
        </p:nvSpPr>
        <p:spPr bwMode="auto">
          <a:xfrm>
            <a:off x="10922210" y="330489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77 w 512"/>
              <a:gd name="T11" fmla="*/ 373 h 512"/>
              <a:gd name="T12" fmla="*/ 149 w 512"/>
              <a:gd name="T13" fmla="*/ 373 h 512"/>
              <a:gd name="T14" fmla="*/ 138 w 512"/>
              <a:gd name="T15" fmla="*/ 362 h 512"/>
              <a:gd name="T16" fmla="*/ 138 w 512"/>
              <a:gd name="T17" fmla="*/ 234 h 512"/>
              <a:gd name="T18" fmla="*/ 149 w 512"/>
              <a:gd name="T19" fmla="*/ 224 h 512"/>
              <a:gd name="T20" fmla="*/ 160 w 512"/>
              <a:gd name="T21" fmla="*/ 234 h 512"/>
              <a:gd name="T22" fmla="*/ 160 w 512"/>
              <a:gd name="T23" fmla="*/ 352 h 512"/>
              <a:gd name="T24" fmla="*/ 277 w 512"/>
              <a:gd name="T25" fmla="*/ 352 h 512"/>
              <a:gd name="T26" fmla="*/ 288 w 512"/>
              <a:gd name="T27" fmla="*/ 362 h 512"/>
              <a:gd name="T28" fmla="*/ 277 w 512"/>
              <a:gd name="T29" fmla="*/ 373 h 512"/>
              <a:gd name="T30" fmla="*/ 373 w 512"/>
              <a:gd name="T31" fmla="*/ 277 h 512"/>
              <a:gd name="T32" fmla="*/ 362 w 512"/>
              <a:gd name="T33" fmla="*/ 288 h 512"/>
              <a:gd name="T34" fmla="*/ 352 w 512"/>
              <a:gd name="T35" fmla="*/ 277 h 512"/>
              <a:gd name="T36" fmla="*/ 352 w 512"/>
              <a:gd name="T37" fmla="*/ 160 h 512"/>
              <a:gd name="T38" fmla="*/ 234 w 512"/>
              <a:gd name="T39" fmla="*/ 160 h 512"/>
              <a:gd name="T40" fmla="*/ 224 w 512"/>
              <a:gd name="T41" fmla="*/ 149 h 512"/>
              <a:gd name="T42" fmla="*/ 234 w 512"/>
              <a:gd name="T43" fmla="*/ 138 h 512"/>
              <a:gd name="T44" fmla="*/ 362 w 512"/>
              <a:gd name="T45" fmla="*/ 138 h 512"/>
              <a:gd name="T46" fmla="*/ 373 w 512"/>
              <a:gd name="T47" fmla="*/ 149 h 512"/>
              <a:gd name="T48" fmla="*/ 373 w 512"/>
              <a:gd name="T4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373"/>
                </a:moveTo>
                <a:cubicBezTo>
                  <a:pt x="149" y="373"/>
                  <a:pt x="149" y="373"/>
                  <a:pt x="149" y="373"/>
                </a:cubicBezTo>
                <a:cubicBezTo>
                  <a:pt x="143" y="373"/>
                  <a:pt x="138" y="368"/>
                  <a:pt x="138" y="362"/>
                </a:cubicBezTo>
                <a:cubicBezTo>
                  <a:pt x="138" y="234"/>
                  <a:pt x="138" y="234"/>
                  <a:pt x="138" y="234"/>
                </a:cubicBezTo>
                <a:cubicBezTo>
                  <a:pt x="138" y="228"/>
                  <a:pt x="143" y="224"/>
                  <a:pt x="149" y="224"/>
                </a:cubicBezTo>
                <a:cubicBezTo>
                  <a:pt x="155" y="224"/>
                  <a:pt x="160" y="228"/>
                  <a:pt x="160" y="234"/>
                </a:cubicBezTo>
                <a:cubicBezTo>
                  <a:pt x="160" y="352"/>
                  <a:pt x="160" y="352"/>
                  <a:pt x="160" y="352"/>
                </a:cubicBezTo>
                <a:cubicBezTo>
                  <a:pt x="277" y="352"/>
                  <a:pt x="277" y="352"/>
                  <a:pt x="277" y="352"/>
                </a:cubicBezTo>
                <a:cubicBezTo>
                  <a:pt x="283" y="352"/>
                  <a:pt x="288" y="356"/>
                  <a:pt x="288" y="362"/>
                </a:cubicBezTo>
                <a:cubicBezTo>
                  <a:pt x="288" y="368"/>
                  <a:pt x="283" y="373"/>
                  <a:pt x="277" y="373"/>
                </a:cubicBezTo>
                <a:close/>
                <a:moveTo>
                  <a:pt x="373" y="277"/>
                </a:moveTo>
                <a:cubicBezTo>
                  <a:pt x="373" y="283"/>
                  <a:pt x="368" y="288"/>
                  <a:pt x="362" y="288"/>
                </a:cubicBezTo>
                <a:cubicBezTo>
                  <a:pt x="356" y="288"/>
                  <a:pt x="352" y="283"/>
                  <a:pt x="352" y="277"/>
                </a:cubicBezTo>
                <a:cubicBezTo>
                  <a:pt x="352" y="160"/>
                  <a:pt x="352" y="160"/>
                  <a:pt x="352" y="160"/>
                </a:cubicBezTo>
                <a:cubicBezTo>
                  <a:pt x="234" y="160"/>
                  <a:pt x="234" y="160"/>
                  <a:pt x="234" y="160"/>
                </a:cubicBezTo>
                <a:cubicBezTo>
                  <a:pt x="228" y="160"/>
                  <a:pt x="224" y="155"/>
                  <a:pt x="224" y="149"/>
                </a:cubicBezTo>
                <a:cubicBezTo>
                  <a:pt x="224" y="143"/>
                  <a:pt x="228" y="138"/>
                  <a:pt x="234" y="138"/>
                </a:cubicBezTo>
                <a:cubicBezTo>
                  <a:pt x="362" y="138"/>
                  <a:pt x="362" y="138"/>
                  <a:pt x="362" y="138"/>
                </a:cubicBezTo>
                <a:cubicBezTo>
                  <a:pt x="368" y="138"/>
                  <a:pt x="373" y="143"/>
                  <a:pt x="373" y="149"/>
                </a:cubicBezTo>
                <a:lnTo>
                  <a:pt x="373" y="27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5" name="Group 958">
            <a:extLst>
              <a:ext uri="{FF2B5EF4-FFF2-40B4-BE49-F238E27FC236}">
                <a16:creationId xmlns:a16="http://schemas.microsoft.com/office/drawing/2014/main" id="{F5EE66C1-197D-42E7-9798-69F9452FAA6B}"/>
              </a:ext>
            </a:extLst>
          </p:cNvPr>
          <p:cNvGrpSpPr>
            <a:grpSpLocks noChangeAspect="1"/>
          </p:cNvGrpSpPr>
          <p:nvPr/>
        </p:nvGrpSpPr>
        <p:grpSpPr bwMode="auto">
          <a:xfrm>
            <a:off x="10485497" y="3304893"/>
            <a:ext cx="369021" cy="369021"/>
            <a:chOff x="6627" y="3991"/>
            <a:chExt cx="340" cy="340"/>
          </a:xfrm>
          <a:solidFill>
            <a:schemeClr val="accent5"/>
          </a:solidFill>
        </p:grpSpPr>
        <p:sp>
          <p:nvSpPr>
            <p:cNvPr id="586" name="Freeform 959">
              <a:extLst>
                <a:ext uri="{FF2B5EF4-FFF2-40B4-BE49-F238E27FC236}">
                  <a16:creationId xmlns:a16="http://schemas.microsoft.com/office/drawing/2014/main" id="{7036ED3F-CB9B-4762-915F-A1AAD2CB7E30}"/>
                </a:ext>
              </a:extLst>
            </p:cNvPr>
            <p:cNvSpPr>
              <a:spLocks/>
            </p:cNvSpPr>
            <p:nvPr/>
          </p:nvSpPr>
          <p:spPr bwMode="auto">
            <a:xfrm>
              <a:off x="6690" y="4111"/>
              <a:ext cx="214" cy="114"/>
            </a:xfrm>
            <a:custGeom>
              <a:avLst/>
              <a:gdLst>
                <a:gd name="T0" fmla="*/ 161 w 322"/>
                <a:gd name="T1" fmla="*/ 172 h 172"/>
                <a:gd name="T2" fmla="*/ 153 w 322"/>
                <a:gd name="T3" fmla="*/ 169 h 172"/>
                <a:gd name="T4" fmla="*/ 4 w 322"/>
                <a:gd name="T5" fmla="*/ 19 h 172"/>
                <a:gd name="T6" fmla="*/ 4 w 322"/>
                <a:gd name="T7" fmla="*/ 4 h 172"/>
                <a:gd name="T8" fmla="*/ 19 w 322"/>
                <a:gd name="T9" fmla="*/ 4 h 172"/>
                <a:gd name="T10" fmla="*/ 161 w 322"/>
                <a:gd name="T11" fmla="*/ 146 h 172"/>
                <a:gd name="T12" fmla="*/ 302 w 322"/>
                <a:gd name="T13" fmla="*/ 4 h 172"/>
                <a:gd name="T14" fmla="*/ 318 w 322"/>
                <a:gd name="T15" fmla="*/ 4 h 172"/>
                <a:gd name="T16" fmla="*/ 318 w 322"/>
                <a:gd name="T17" fmla="*/ 19 h 172"/>
                <a:gd name="T18" fmla="*/ 168 w 322"/>
                <a:gd name="T19" fmla="*/ 169 h 172"/>
                <a:gd name="T20" fmla="*/ 161 w 322"/>
                <a:gd name="T2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172">
                  <a:moveTo>
                    <a:pt x="161" y="172"/>
                  </a:moveTo>
                  <a:cubicBezTo>
                    <a:pt x="158" y="172"/>
                    <a:pt x="155" y="171"/>
                    <a:pt x="153" y="169"/>
                  </a:cubicBezTo>
                  <a:cubicBezTo>
                    <a:pt x="4" y="19"/>
                    <a:pt x="4" y="19"/>
                    <a:pt x="4" y="19"/>
                  </a:cubicBezTo>
                  <a:cubicBezTo>
                    <a:pt x="0" y="15"/>
                    <a:pt x="0" y="8"/>
                    <a:pt x="4" y="4"/>
                  </a:cubicBezTo>
                  <a:cubicBezTo>
                    <a:pt x="8" y="0"/>
                    <a:pt x="15" y="0"/>
                    <a:pt x="19" y="4"/>
                  </a:cubicBezTo>
                  <a:cubicBezTo>
                    <a:pt x="161" y="146"/>
                    <a:pt x="161" y="146"/>
                    <a:pt x="161" y="146"/>
                  </a:cubicBezTo>
                  <a:cubicBezTo>
                    <a:pt x="302" y="4"/>
                    <a:pt x="302" y="4"/>
                    <a:pt x="302" y="4"/>
                  </a:cubicBezTo>
                  <a:cubicBezTo>
                    <a:pt x="307" y="0"/>
                    <a:pt x="313" y="0"/>
                    <a:pt x="318" y="4"/>
                  </a:cubicBezTo>
                  <a:cubicBezTo>
                    <a:pt x="322" y="8"/>
                    <a:pt x="322" y="15"/>
                    <a:pt x="318" y="19"/>
                  </a:cubicBezTo>
                  <a:cubicBezTo>
                    <a:pt x="168" y="169"/>
                    <a:pt x="168" y="169"/>
                    <a:pt x="168" y="169"/>
                  </a:cubicBezTo>
                  <a:cubicBezTo>
                    <a:pt x="166" y="171"/>
                    <a:pt x="163" y="172"/>
                    <a:pt x="161"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7" name="Freeform 960">
              <a:extLst>
                <a:ext uri="{FF2B5EF4-FFF2-40B4-BE49-F238E27FC236}">
                  <a16:creationId xmlns:a16="http://schemas.microsoft.com/office/drawing/2014/main" id="{3CEEB934-AAF7-4A75-8984-EB3A0DDBB908}"/>
                </a:ext>
              </a:extLst>
            </p:cNvPr>
            <p:cNvSpPr>
              <a:spLocks noEditPoints="1"/>
            </p:cNvSpPr>
            <p:nvPr/>
          </p:nvSpPr>
          <p:spPr bwMode="auto">
            <a:xfrm>
              <a:off x="6627" y="39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8" name="Freeform 964">
            <a:extLst>
              <a:ext uri="{FF2B5EF4-FFF2-40B4-BE49-F238E27FC236}">
                <a16:creationId xmlns:a16="http://schemas.microsoft.com/office/drawing/2014/main" id="{C84B6103-5763-4087-93B2-7F67EE764554}"/>
              </a:ext>
            </a:extLst>
          </p:cNvPr>
          <p:cNvSpPr>
            <a:spLocks noChangeAspect="1" noEditPoints="1"/>
          </p:cNvSpPr>
          <p:nvPr/>
        </p:nvSpPr>
        <p:spPr bwMode="auto">
          <a:xfrm>
            <a:off x="10048784" y="330489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199 h 512"/>
              <a:gd name="T12" fmla="*/ 263 w 512"/>
              <a:gd name="T13" fmla="*/ 349 h 512"/>
              <a:gd name="T14" fmla="*/ 256 w 512"/>
              <a:gd name="T15" fmla="*/ 352 h 512"/>
              <a:gd name="T16" fmla="*/ 248 w 512"/>
              <a:gd name="T17" fmla="*/ 349 h 512"/>
              <a:gd name="T18" fmla="*/ 99 w 512"/>
              <a:gd name="T19" fmla="*/ 199 h 512"/>
              <a:gd name="T20" fmla="*/ 99 w 512"/>
              <a:gd name="T21" fmla="*/ 184 h 512"/>
              <a:gd name="T22" fmla="*/ 114 w 512"/>
              <a:gd name="T23" fmla="*/ 184 h 512"/>
              <a:gd name="T24" fmla="*/ 256 w 512"/>
              <a:gd name="T25" fmla="*/ 326 h 512"/>
              <a:gd name="T26" fmla="*/ 397 w 512"/>
              <a:gd name="T27" fmla="*/ 184 h 512"/>
              <a:gd name="T28" fmla="*/ 413 w 512"/>
              <a:gd name="T29" fmla="*/ 184 h 512"/>
              <a:gd name="T30" fmla="*/ 413 w 512"/>
              <a:gd name="T31"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199"/>
                </a:moveTo>
                <a:cubicBezTo>
                  <a:pt x="263" y="349"/>
                  <a:pt x="263" y="349"/>
                  <a:pt x="263" y="349"/>
                </a:cubicBezTo>
                <a:cubicBezTo>
                  <a:pt x="261" y="351"/>
                  <a:pt x="258" y="352"/>
                  <a:pt x="256" y="352"/>
                </a:cubicBezTo>
                <a:cubicBezTo>
                  <a:pt x="253" y="352"/>
                  <a:pt x="250" y="351"/>
                  <a:pt x="248" y="349"/>
                </a:cubicBezTo>
                <a:cubicBezTo>
                  <a:pt x="99" y="199"/>
                  <a:pt x="99" y="199"/>
                  <a:pt x="99" y="199"/>
                </a:cubicBezTo>
                <a:cubicBezTo>
                  <a:pt x="95" y="195"/>
                  <a:pt x="95" y="188"/>
                  <a:pt x="99" y="184"/>
                </a:cubicBezTo>
                <a:cubicBezTo>
                  <a:pt x="103" y="180"/>
                  <a:pt x="110" y="180"/>
                  <a:pt x="114" y="184"/>
                </a:cubicBezTo>
                <a:cubicBezTo>
                  <a:pt x="256" y="326"/>
                  <a:pt x="256" y="326"/>
                  <a:pt x="256" y="326"/>
                </a:cubicBezTo>
                <a:cubicBezTo>
                  <a:pt x="397" y="184"/>
                  <a:pt x="397" y="184"/>
                  <a:pt x="397" y="184"/>
                </a:cubicBezTo>
                <a:cubicBezTo>
                  <a:pt x="402" y="180"/>
                  <a:pt x="408" y="180"/>
                  <a:pt x="413" y="184"/>
                </a:cubicBezTo>
                <a:cubicBezTo>
                  <a:pt x="417" y="188"/>
                  <a:pt x="417" y="195"/>
                  <a:pt x="413" y="19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9" name="Group 967">
            <a:extLst>
              <a:ext uri="{FF2B5EF4-FFF2-40B4-BE49-F238E27FC236}">
                <a16:creationId xmlns:a16="http://schemas.microsoft.com/office/drawing/2014/main" id="{B58FE18E-1F21-4EAA-83E1-FAFE5787BCB7}"/>
              </a:ext>
            </a:extLst>
          </p:cNvPr>
          <p:cNvGrpSpPr>
            <a:grpSpLocks noChangeAspect="1"/>
          </p:cNvGrpSpPr>
          <p:nvPr/>
        </p:nvGrpSpPr>
        <p:grpSpPr bwMode="auto">
          <a:xfrm>
            <a:off x="9610986" y="3304893"/>
            <a:ext cx="370106" cy="369021"/>
            <a:chOff x="5832" y="3984"/>
            <a:chExt cx="341" cy="340"/>
          </a:xfrm>
          <a:solidFill>
            <a:schemeClr val="accent5"/>
          </a:solidFill>
        </p:grpSpPr>
        <p:sp>
          <p:nvSpPr>
            <p:cNvPr id="590" name="Freeform 968">
              <a:extLst>
                <a:ext uri="{FF2B5EF4-FFF2-40B4-BE49-F238E27FC236}">
                  <a16:creationId xmlns:a16="http://schemas.microsoft.com/office/drawing/2014/main" id="{FC177F61-D488-4896-AE70-40C2C6C72120}"/>
                </a:ext>
              </a:extLst>
            </p:cNvPr>
            <p:cNvSpPr>
              <a:spLocks/>
            </p:cNvSpPr>
            <p:nvPr/>
          </p:nvSpPr>
          <p:spPr bwMode="auto">
            <a:xfrm>
              <a:off x="5896" y="4161"/>
              <a:ext cx="99" cy="99"/>
            </a:xfrm>
            <a:custGeom>
              <a:avLst/>
              <a:gdLst>
                <a:gd name="T0" fmla="*/ 138 w 149"/>
                <a:gd name="T1" fmla="*/ 0 h 150"/>
                <a:gd name="T2" fmla="*/ 10 w 149"/>
                <a:gd name="T3" fmla="*/ 0 h 150"/>
                <a:gd name="T4" fmla="*/ 0 w 149"/>
                <a:gd name="T5" fmla="*/ 11 h 150"/>
                <a:gd name="T6" fmla="*/ 10 w 149"/>
                <a:gd name="T7" fmla="*/ 22 h 150"/>
                <a:gd name="T8" fmla="*/ 128 w 149"/>
                <a:gd name="T9" fmla="*/ 22 h 150"/>
                <a:gd name="T10" fmla="*/ 128 w 149"/>
                <a:gd name="T11" fmla="*/ 139 h 150"/>
                <a:gd name="T12" fmla="*/ 138 w 149"/>
                <a:gd name="T13" fmla="*/ 150 h 150"/>
                <a:gd name="T14" fmla="*/ 149 w 149"/>
                <a:gd name="T15" fmla="*/ 139 h 150"/>
                <a:gd name="T16" fmla="*/ 149 w 149"/>
                <a:gd name="T17" fmla="*/ 11 h 150"/>
                <a:gd name="T18" fmla="*/ 138 w 149"/>
                <a:gd name="T1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50">
                  <a:moveTo>
                    <a:pt x="138" y="0"/>
                  </a:moveTo>
                  <a:cubicBezTo>
                    <a:pt x="10" y="0"/>
                    <a:pt x="10" y="0"/>
                    <a:pt x="10" y="0"/>
                  </a:cubicBezTo>
                  <a:cubicBezTo>
                    <a:pt x="4" y="0"/>
                    <a:pt x="0" y="5"/>
                    <a:pt x="0" y="11"/>
                  </a:cubicBezTo>
                  <a:cubicBezTo>
                    <a:pt x="0" y="17"/>
                    <a:pt x="4" y="22"/>
                    <a:pt x="10" y="22"/>
                  </a:cubicBezTo>
                  <a:cubicBezTo>
                    <a:pt x="128" y="22"/>
                    <a:pt x="128" y="22"/>
                    <a:pt x="128" y="22"/>
                  </a:cubicBezTo>
                  <a:cubicBezTo>
                    <a:pt x="128" y="139"/>
                    <a:pt x="128" y="139"/>
                    <a:pt x="128" y="139"/>
                  </a:cubicBezTo>
                  <a:cubicBezTo>
                    <a:pt x="128" y="145"/>
                    <a:pt x="132" y="150"/>
                    <a:pt x="138" y="150"/>
                  </a:cubicBezTo>
                  <a:cubicBezTo>
                    <a:pt x="144" y="150"/>
                    <a:pt x="149" y="145"/>
                    <a:pt x="149" y="139"/>
                  </a:cubicBezTo>
                  <a:cubicBezTo>
                    <a:pt x="149" y="11"/>
                    <a:pt x="149" y="11"/>
                    <a:pt x="149" y="11"/>
                  </a:cubicBezTo>
                  <a:cubicBezTo>
                    <a:pt x="149" y="5"/>
                    <a:pt x="144" y="0"/>
                    <a:pt x="13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1" name="Freeform 969">
              <a:extLst>
                <a:ext uri="{FF2B5EF4-FFF2-40B4-BE49-F238E27FC236}">
                  <a16:creationId xmlns:a16="http://schemas.microsoft.com/office/drawing/2014/main" id="{4C1B88BD-1F9D-4736-B725-1B2C0F2FE069}"/>
                </a:ext>
              </a:extLst>
            </p:cNvPr>
            <p:cNvSpPr>
              <a:spLocks/>
            </p:cNvSpPr>
            <p:nvPr/>
          </p:nvSpPr>
          <p:spPr bwMode="auto">
            <a:xfrm>
              <a:off x="6009" y="4048"/>
              <a:ext cx="100" cy="99"/>
            </a:xfrm>
            <a:custGeom>
              <a:avLst/>
              <a:gdLst>
                <a:gd name="T0" fmla="*/ 139 w 150"/>
                <a:gd name="T1" fmla="*/ 128 h 149"/>
                <a:gd name="T2" fmla="*/ 22 w 150"/>
                <a:gd name="T3" fmla="*/ 128 h 149"/>
                <a:gd name="T4" fmla="*/ 22 w 150"/>
                <a:gd name="T5" fmla="*/ 10 h 149"/>
                <a:gd name="T6" fmla="*/ 11 w 150"/>
                <a:gd name="T7" fmla="*/ 0 h 149"/>
                <a:gd name="T8" fmla="*/ 0 w 150"/>
                <a:gd name="T9" fmla="*/ 10 h 149"/>
                <a:gd name="T10" fmla="*/ 0 w 150"/>
                <a:gd name="T11" fmla="*/ 138 h 149"/>
                <a:gd name="T12" fmla="*/ 11 w 150"/>
                <a:gd name="T13" fmla="*/ 149 h 149"/>
                <a:gd name="T14" fmla="*/ 139 w 150"/>
                <a:gd name="T15" fmla="*/ 149 h 149"/>
                <a:gd name="T16" fmla="*/ 150 w 150"/>
                <a:gd name="T17" fmla="*/ 138 h 149"/>
                <a:gd name="T18" fmla="*/ 139 w 150"/>
                <a:gd name="T1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49">
                  <a:moveTo>
                    <a:pt x="139" y="128"/>
                  </a:moveTo>
                  <a:cubicBezTo>
                    <a:pt x="22" y="128"/>
                    <a:pt x="22" y="128"/>
                    <a:pt x="22" y="128"/>
                  </a:cubicBezTo>
                  <a:cubicBezTo>
                    <a:pt x="22" y="10"/>
                    <a:pt x="22" y="10"/>
                    <a:pt x="22" y="10"/>
                  </a:cubicBezTo>
                  <a:cubicBezTo>
                    <a:pt x="22" y="4"/>
                    <a:pt x="17" y="0"/>
                    <a:pt x="11" y="0"/>
                  </a:cubicBezTo>
                  <a:cubicBezTo>
                    <a:pt x="5" y="0"/>
                    <a:pt x="0" y="4"/>
                    <a:pt x="0" y="10"/>
                  </a:cubicBezTo>
                  <a:cubicBezTo>
                    <a:pt x="0" y="138"/>
                    <a:pt x="0" y="138"/>
                    <a:pt x="0" y="138"/>
                  </a:cubicBezTo>
                  <a:cubicBezTo>
                    <a:pt x="0" y="144"/>
                    <a:pt x="5" y="149"/>
                    <a:pt x="11" y="149"/>
                  </a:cubicBezTo>
                  <a:cubicBezTo>
                    <a:pt x="139" y="149"/>
                    <a:pt x="139" y="149"/>
                    <a:pt x="139" y="149"/>
                  </a:cubicBezTo>
                  <a:cubicBezTo>
                    <a:pt x="145" y="149"/>
                    <a:pt x="150" y="144"/>
                    <a:pt x="150" y="138"/>
                  </a:cubicBezTo>
                  <a:cubicBezTo>
                    <a:pt x="150" y="132"/>
                    <a:pt x="145" y="128"/>
                    <a:pt x="139"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2" name="Freeform 970">
              <a:extLst>
                <a:ext uri="{FF2B5EF4-FFF2-40B4-BE49-F238E27FC236}">
                  <a16:creationId xmlns:a16="http://schemas.microsoft.com/office/drawing/2014/main" id="{3A752DCC-E418-405E-A552-E3A8C2A97EB5}"/>
                </a:ext>
              </a:extLst>
            </p:cNvPr>
            <p:cNvSpPr>
              <a:spLocks noEditPoints="1"/>
            </p:cNvSpPr>
            <p:nvPr/>
          </p:nvSpPr>
          <p:spPr bwMode="auto">
            <a:xfrm>
              <a:off x="5832" y="39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3" name="Freeform 974">
            <a:extLst>
              <a:ext uri="{FF2B5EF4-FFF2-40B4-BE49-F238E27FC236}">
                <a16:creationId xmlns:a16="http://schemas.microsoft.com/office/drawing/2014/main" id="{FA486484-E27A-425E-A585-B0F2A900EE93}"/>
              </a:ext>
            </a:extLst>
          </p:cNvPr>
          <p:cNvSpPr>
            <a:spLocks noChangeAspect="1" noEditPoints="1"/>
          </p:cNvSpPr>
          <p:nvPr/>
        </p:nvSpPr>
        <p:spPr bwMode="auto">
          <a:xfrm>
            <a:off x="9174273" y="330489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45 w 512"/>
              <a:gd name="T11" fmla="*/ 405 h 512"/>
              <a:gd name="T12" fmla="*/ 234 w 512"/>
              <a:gd name="T13" fmla="*/ 416 h 512"/>
              <a:gd name="T14" fmla="*/ 224 w 512"/>
              <a:gd name="T15" fmla="*/ 405 h 512"/>
              <a:gd name="T16" fmla="*/ 224 w 512"/>
              <a:gd name="T17" fmla="*/ 288 h 512"/>
              <a:gd name="T18" fmla="*/ 106 w 512"/>
              <a:gd name="T19" fmla="*/ 288 h 512"/>
              <a:gd name="T20" fmla="*/ 96 w 512"/>
              <a:gd name="T21" fmla="*/ 277 h 512"/>
              <a:gd name="T22" fmla="*/ 106 w 512"/>
              <a:gd name="T23" fmla="*/ 266 h 512"/>
              <a:gd name="T24" fmla="*/ 234 w 512"/>
              <a:gd name="T25" fmla="*/ 266 h 512"/>
              <a:gd name="T26" fmla="*/ 245 w 512"/>
              <a:gd name="T27" fmla="*/ 277 h 512"/>
              <a:gd name="T28" fmla="*/ 245 w 512"/>
              <a:gd name="T29" fmla="*/ 405 h 512"/>
              <a:gd name="T30" fmla="*/ 405 w 512"/>
              <a:gd name="T31" fmla="*/ 245 h 512"/>
              <a:gd name="T32" fmla="*/ 277 w 512"/>
              <a:gd name="T33" fmla="*/ 245 h 512"/>
              <a:gd name="T34" fmla="*/ 266 w 512"/>
              <a:gd name="T35" fmla="*/ 234 h 512"/>
              <a:gd name="T36" fmla="*/ 266 w 512"/>
              <a:gd name="T37" fmla="*/ 106 h 512"/>
              <a:gd name="T38" fmla="*/ 277 w 512"/>
              <a:gd name="T39" fmla="*/ 96 h 512"/>
              <a:gd name="T40" fmla="*/ 288 w 512"/>
              <a:gd name="T41" fmla="*/ 106 h 512"/>
              <a:gd name="T42" fmla="*/ 288 w 512"/>
              <a:gd name="T43" fmla="*/ 224 h 512"/>
              <a:gd name="T44" fmla="*/ 405 w 512"/>
              <a:gd name="T45" fmla="*/ 224 h 512"/>
              <a:gd name="T46" fmla="*/ 416 w 512"/>
              <a:gd name="T47" fmla="*/ 234 h 512"/>
              <a:gd name="T48" fmla="*/ 405 w 512"/>
              <a:gd name="T4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405"/>
                </a:moveTo>
                <a:cubicBezTo>
                  <a:pt x="245" y="411"/>
                  <a:pt x="240" y="416"/>
                  <a:pt x="234" y="416"/>
                </a:cubicBezTo>
                <a:cubicBezTo>
                  <a:pt x="228" y="416"/>
                  <a:pt x="224" y="411"/>
                  <a:pt x="224" y="405"/>
                </a:cubicBezTo>
                <a:cubicBezTo>
                  <a:pt x="224" y="288"/>
                  <a:pt x="224" y="288"/>
                  <a:pt x="224" y="288"/>
                </a:cubicBezTo>
                <a:cubicBezTo>
                  <a:pt x="106" y="288"/>
                  <a:pt x="106" y="288"/>
                  <a:pt x="106" y="288"/>
                </a:cubicBezTo>
                <a:cubicBezTo>
                  <a:pt x="100" y="288"/>
                  <a:pt x="96" y="283"/>
                  <a:pt x="96" y="277"/>
                </a:cubicBezTo>
                <a:cubicBezTo>
                  <a:pt x="96" y="271"/>
                  <a:pt x="100" y="266"/>
                  <a:pt x="106" y="266"/>
                </a:cubicBezTo>
                <a:cubicBezTo>
                  <a:pt x="234" y="266"/>
                  <a:pt x="234" y="266"/>
                  <a:pt x="234" y="266"/>
                </a:cubicBezTo>
                <a:cubicBezTo>
                  <a:pt x="240" y="266"/>
                  <a:pt x="245" y="271"/>
                  <a:pt x="245" y="277"/>
                </a:cubicBezTo>
                <a:lnTo>
                  <a:pt x="245" y="405"/>
                </a:lnTo>
                <a:close/>
                <a:moveTo>
                  <a:pt x="405" y="245"/>
                </a:moveTo>
                <a:cubicBezTo>
                  <a:pt x="277" y="245"/>
                  <a:pt x="277" y="245"/>
                  <a:pt x="277" y="245"/>
                </a:cubicBezTo>
                <a:cubicBezTo>
                  <a:pt x="271" y="245"/>
                  <a:pt x="266" y="240"/>
                  <a:pt x="266" y="234"/>
                </a:cubicBezTo>
                <a:cubicBezTo>
                  <a:pt x="266" y="106"/>
                  <a:pt x="266" y="106"/>
                  <a:pt x="266" y="106"/>
                </a:cubicBezTo>
                <a:cubicBezTo>
                  <a:pt x="266" y="100"/>
                  <a:pt x="271" y="96"/>
                  <a:pt x="277" y="96"/>
                </a:cubicBezTo>
                <a:cubicBezTo>
                  <a:pt x="283" y="96"/>
                  <a:pt x="288" y="100"/>
                  <a:pt x="288" y="106"/>
                </a:cubicBezTo>
                <a:cubicBezTo>
                  <a:pt x="288" y="224"/>
                  <a:pt x="288" y="224"/>
                  <a:pt x="288" y="224"/>
                </a:cubicBezTo>
                <a:cubicBezTo>
                  <a:pt x="405" y="224"/>
                  <a:pt x="405" y="224"/>
                  <a:pt x="405" y="224"/>
                </a:cubicBezTo>
                <a:cubicBezTo>
                  <a:pt x="411" y="224"/>
                  <a:pt x="416" y="228"/>
                  <a:pt x="416" y="234"/>
                </a:cubicBezTo>
                <a:cubicBezTo>
                  <a:pt x="416" y="240"/>
                  <a:pt x="411" y="245"/>
                  <a:pt x="405" y="24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94" name="Freeform 168">
            <a:extLst>
              <a:ext uri="{FF2B5EF4-FFF2-40B4-BE49-F238E27FC236}">
                <a16:creationId xmlns:a16="http://schemas.microsoft.com/office/drawing/2014/main" id="{10EAC53D-6F93-49D0-AE4C-BA4810DC54B6}"/>
              </a:ext>
            </a:extLst>
          </p:cNvPr>
          <p:cNvSpPr>
            <a:spLocks noChangeAspect="1" noEditPoints="1"/>
          </p:cNvSpPr>
          <p:nvPr/>
        </p:nvSpPr>
        <p:spPr bwMode="auto">
          <a:xfrm>
            <a:off x="1343305" y="4097620"/>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21 w 512"/>
              <a:gd name="T11" fmla="*/ 263 h 512"/>
              <a:gd name="T12" fmla="*/ 178 w 512"/>
              <a:gd name="T13" fmla="*/ 306 h 512"/>
              <a:gd name="T14" fmla="*/ 170 w 512"/>
              <a:gd name="T15" fmla="*/ 309 h 512"/>
              <a:gd name="T16" fmla="*/ 163 w 512"/>
              <a:gd name="T17" fmla="*/ 306 h 512"/>
              <a:gd name="T18" fmla="*/ 163 w 512"/>
              <a:gd name="T19" fmla="*/ 291 h 512"/>
              <a:gd name="T20" fmla="*/ 187 w 512"/>
              <a:gd name="T21" fmla="*/ 266 h 512"/>
              <a:gd name="T22" fmla="*/ 106 w 512"/>
              <a:gd name="T23" fmla="*/ 266 h 512"/>
              <a:gd name="T24" fmla="*/ 96 w 512"/>
              <a:gd name="T25" fmla="*/ 256 h 512"/>
              <a:gd name="T26" fmla="*/ 106 w 512"/>
              <a:gd name="T27" fmla="*/ 245 h 512"/>
              <a:gd name="T28" fmla="*/ 187 w 512"/>
              <a:gd name="T29" fmla="*/ 245 h 512"/>
              <a:gd name="T30" fmla="*/ 163 w 512"/>
              <a:gd name="T31" fmla="*/ 221 h 512"/>
              <a:gd name="T32" fmla="*/ 163 w 512"/>
              <a:gd name="T33" fmla="*/ 205 h 512"/>
              <a:gd name="T34" fmla="*/ 178 w 512"/>
              <a:gd name="T35" fmla="*/ 205 h 512"/>
              <a:gd name="T36" fmla="*/ 221 w 512"/>
              <a:gd name="T37" fmla="*/ 248 h 512"/>
              <a:gd name="T38" fmla="*/ 221 w 512"/>
              <a:gd name="T39" fmla="*/ 263 h 512"/>
              <a:gd name="T40" fmla="*/ 405 w 512"/>
              <a:gd name="T41" fmla="*/ 266 h 512"/>
              <a:gd name="T42" fmla="*/ 324 w 512"/>
              <a:gd name="T43" fmla="*/ 266 h 512"/>
              <a:gd name="T44" fmla="*/ 349 w 512"/>
              <a:gd name="T45" fmla="*/ 291 h 512"/>
              <a:gd name="T46" fmla="*/ 349 w 512"/>
              <a:gd name="T47" fmla="*/ 306 h 512"/>
              <a:gd name="T48" fmla="*/ 341 w 512"/>
              <a:gd name="T49" fmla="*/ 309 h 512"/>
              <a:gd name="T50" fmla="*/ 333 w 512"/>
              <a:gd name="T51" fmla="*/ 306 h 512"/>
              <a:gd name="T52" fmla="*/ 291 w 512"/>
              <a:gd name="T53" fmla="*/ 263 h 512"/>
              <a:gd name="T54" fmla="*/ 291 w 512"/>
              <a:gd name="T55" fmla="*/ 248 h 512"/>
              <a:gd name="T56" fmla="*/ 333 w 512"/>
              <a:gd name="T57" fmla="*/ 205 h 512"/>
              <a:gd name="T58" fmla="*/ 349 w 512"/>
              <a:gd name="T59" fmla="*/ 205 h 512"/>
              <a:gd name="T60" fmla="*/ 349 w 512"/>
              <a:gd name="T61" fmla="*/ 221 h 512"/>
              <a:gd name="T62" fmla="*/ 324 w 512"/>
              <a:gd name="T63" fmla="*/ 245 h 512"/>
              <a:gd name="T64" fmla="*/ 405 w 512"/>
              <a:gd name="T65" fmla="*/ 245 h 512"/>
              <a:gd name="T66" fmla="*/ 416 w 512"/>
              <a:gd name="T67" fmla="*/ 256 h 512"/>
              <a:gd name="T68" fmla="*/ 405 w 512"/>
              <a:gd name="T6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1" y="263"/>
                </a:moveTo>
                <a:cubicBezTo>
                  <a:pt x="178" y="306"/>
                  <a:pt x="178" y="306"/>
                  <a:pt x="178" y="306"/>
                </a:cubicBezTo>
                <a:cubicBezTo>
                  <a:pt x="176" y="308"/>
                  <a:pt x="173" y="309"/>
                  <a:pt x="170" y="309"/>
                </a:cubicBezTo>
                <a:cubicBezTo>
                  <a:pt x="168" y="309"/>
                  <a:pt x="165" y="308"/>
                  <a:pt x="163" y="306"/>
                </a:cubicBezTo>
                <a:cubicBezTo>
                  <a:pt x="159" y="302"/>
                  <a:pt x="159" y="295"/>
                  <a:pt x="163" y="291"/>
                </a:cubicBezTo>
                <a:cubicBezTo>
                  <a:pt x="187" y="266"/>
                  <a:pt x="187" y="266"/>
                  <a:pt x="187" y="266"/>
                </a:cubicBezTo>
                <a:cubicBezTo>
                  <a:pt x="106" y="266"/>
                  <a:pt x="106" y="266"/>
                  <a:pt x="106" y="266"/>
                </a:cubicBezTo>
                <a:cubicBezTo>
                  <a:pt x="100" y="266"/>
                  <a:pt x="96" y="262"/>
                  <a:pt x="96" y="256"/>
                </a:cubicBezTo>
                <a:cubicBezTo>
                  <a:pt x="96" y="250"/>
                  <a:pt x="100" y="245"/>
                  <a:pt x="106" y="245"/>
                </a:cubicBezTo>
                <a:cubicBezTo>
                  <a:pt x="187" y="245"/>
                  <a:pt x="187" y="245"/>
                  <a:pt x="187" y="245"/>
                </a:cubicBezTo>
                <a:cubicBezTo>
                  <a:pt x="163" y="221"/>
                  <a:pt x="163" y="221"/>
                  <a:pt x="163" y="221"/>
                </a:cubicBezTo>
                <a:cubicBezTo>
                  <a:pt x="159" y="216"/>
                  <a:pt x="159" y="210"/>
                  <a:pt x="163" y="205"/>
                </a:cubicBezTo>
                <a:cubicBezTo>
                  <a:pt x="167" y="201"/>
                  <a:pt x="174" y="201"/>
                  <a:pt x="178" y="205"/>
                </a:cubicBezTo>
                <a:cubicBezTo>
                  <a:pt x="221" y="248"/>
                  <a:pt x="221" y="248"/>
                  <a:pt x="221" y="248"/>
                </a:cubicBezTo>
                <a:cubicBezTo>
                  <a:pt x="225" y="252"/>
                  <a:pt x="225" y="259"/>
                  <a:pt x="221" y="263"/>
                </a:cubicBezTo>
                <a:close/>
                <a:moveTo>
                  <a:pt x="405" y="266"/>
                </a:moveTo>
                <a:cubicBezTo>
                  <a:pt x="324" y="266"/>
                  <a:pt x="324" y="266"/>
                  <a:pt x="324" y="266"/>
                </a:cubicBezTo>
                <a:cubicBezTo>
                  <a:pt x="349" y="291"/>
                  <a:pt x="349" y="291"/>
                  <a:pt x="349" y="291"/>
                </a:cubicBezTo>
                <a:cubicBezTo>
                  <a:pt x="353" y="295"/>
                  <a:pt x="353" y="302"/>
                  <a:pt x="349" y="306"/>
                </a:cubicBezTo>
                <a:cubicBezTo>
                  <a:pt x="346" y="308"/>
                  <a:pt x="344" y="309"/>
                  <a:pt x="341" y="309"/>
                </a:cubicBezTo>
                <a:cubicBezTo>
                  <a:pt x="338" y="309"/>
                  <a:pt x="336" y="308"/>
                  <a:pt x="333" y="306"/>
                </a:cubicBezTo>
                <a:cubicBezTo>
                  <a:pt x="291" y="263"/>
                  <a:pt x="291" y="263"/>
                  <a:pt x="291" y="263"/>
                </a:cubicBezTo>
                <a:cubicBezTo>
                  <a:pt x="287" y="259"/>
                  <a:pt x="287" y="252"/>
                  <a:pt x="291" y="248"/>
                </a:cubicBezTo>
                <a:cubicBezTo>
                  <a:pt x="333" y="205"/>
                  <a:pt x="333" y="205"/>
                  <a:pt x="333" y="205"/>
                </a:cubicBezTo>
                <a:cubicBezTo>
                  <a:pt x="338" y="201"/>
                  <a:pt x="344" y="201"/>
                  <a:pt x="349" y="205"/>
                </a:cubicBezTo>
                <a:cubicBezTo>
                  <a:pt x="353" y="210"/>
                  <a:pt x="353" y="216"/>
                  <a:pt x="349" y="221"/>
                </a:cubicBezTo>
                <a:cubicBezTo>
                  <a:pt x="324" y="245"/>
                  <a:pt x="324" y="245"/>
                  <a:pt x="324" y="245"/>
                </a:cubicBezTo>
                <a:cubicBezTo>
                  <a:pt x="405" y="245"/>
                  <a:pt x="405" y="245"/>
                  <a:pt x="405" y="245"/>
                </a:cubicBezTo>
                <a:cubicBezTo>
                  <a:pt x="411" y="245"/>
                  <a:pt x="416" y="250"/>
                  <a:pt x="416" y="256"/>
                </a:cubicBezTo>
                <a:cubicBezTo>
                  <a:pt x="416" y="262"/>
                  <a:pt x="411" y="266"/>
                  <a:pt x="405" y="26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5" name="Group 171">
            <a:extLst>
              <a:ext uri="{FF2B5EF4-FFF2-40B4-BE49-F238E27FC236}">
                <a16:creationId xmlns:a16="http://schemas.microsoft.com/office/drawing/2014/main" id="{6DCD037F-79D7-4D1D-85E6-A6A744C5C616}"/>
              </a:ext>
            </a:extLst>
          </p:cNvPr>
          <p:cNvGrpSpPr>
            <a:grpSpLocks noChangeAspect="1"/>
          </p:cNvGrpSpPr>
          <p:nvPr/>
        </p:nvGrpSpPr>
        <p:grpSpPr bwMode="auto">
          <a:xfrm>
            <a:off x="1776966" y="4097620"/>
            <a:ext cx="367631" cy="367631"/>
            <a:chOff x="4146" y="1371"/>
            <a:chExt cx="340" cy="340"/>
          </a:xfrm>
          <a:solidFill>
            <a:schemeClr val="accent2"/>
          </a:solidFill>
        </p:grpSpPr>
        <p:sp>
          <p:nvSpPr>
            <p:cNvPr id="596" name="Freeform 172">
              <a:extLst>
                <a:ext uri="{FF2B5EF4-FFF2-40B4-BE49-F238E27FC236}">
                  <a16:creationId xmlns:a16="http://schemas.microsoft.com/office/drawing/2014/main" id="{705F7D03-CEE5-4AFD-BDFA-1E06BC60D8A9}"/>
                </a:ext>
              </a:extLst>
            </p:cNvPr>
            <p:cNvSpPr>
              <a:spLocks noEditPoints="1"/>
            </p:cNvSpPr>
            <p:nvPr/>
          </p:nvSpPr>
          <p:spPr bwMode="auto">
            <a:xfrm>
              <a:off x="4146" y="13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7" name="Freeform 173">
              <a:extLst>
                <a:ext uri="{FF2B5EF4-FFF2-40B4-BE49-F238E27FC236}">
                  <a16:creationId xmlns:a16="http://schemas.microsoft.com/office/drawing/2014/main" id="{FE4D3FD5-F180-4044-B2CA-6E7BBF2384B7}"/>
                </a:ext>
              </a:extLst>
            </p:cNvPr>
            <p:cNvSpPr>
              <a:spLocks noEditPoints="1"/>
            </p:cNvSpPr>
            <p:nvPr/>
          </p:nvSpPr>
          <p:spPr bwMode="auto">
            <a:xfrm>
              <a:off x="4210" y="1504"/>
              <a:ext cx="212" cy="72"/>
            </a:xfrm>
            <a:custGeom>
              <a:avLst/>
              <a:gdLst>
                <a:gd name="T0" fmla="*/ 320 w 320"/>
                <a:gd name="T1" fmla="*/ 55 h 108"/>
                <a:gd name="T2" fmla="*/ 309 w 320"/>
                <a:gd name="T3" fmla="*/ 65 h 108"/>
                <a:gd name="T4" fmla="*/ 228 w 320"/>
                <a:gd name="T5" fmla="*/ 65 h 108"/>
                <a:gd name="T6" fmla="*/ 253 w 320"/>
                <a:gd name="T7" fmla="*/ 90 h 108"/>
                <a:gd name="T8" fmla="*/ 253 w 320"/>
                <a:gd name="T9" fmla="*/ 105 h 108"/>
                <a:gd name="T10" fmla="*/ 245 w 320"/>
                <a:gd name="T11" fmla="*/ 108 h 108"/>
                <a:gd name="T12" fmla="*/ 237 w 320"/>
                <a:gd name="T13" fmla="*/ 105 h 108"/>
                <a:gd name="T14" fmla="*/ 195 w 320"/>
                <a:gd name="T15" fmla="*/ 62 h 108"/>
                <a:gd name="T16" fmla="*/ 195 w 320"/>
                <a:gd name="T17" fmla="*/ 47 h 108"/>
                <a:gd name="T18" fmla="*/ 237 w 320"/>
                <a:gd name="T19" fmla="*/ 4 h 108"/>
                <a:gd name="T20" fmla="*/ 253 w 320"/>
                <a:gd name="T21" fmla="*/ 4 h 108"/>
                <a:gd name="T22" fmla="*/ 253 w 320"/>
                <a:gd name="T23" fmla="*/ 20 h 108"/>
                <a:gd name="T24" fmla="*/ 228 w 320"/>
                <a:gd name="T25" fmla="*/ 44 h 108"/>
                <a:gd name="T26" fmla="*/ 309 w 320"/>
                <a:gd name="T27" fmla="*/ 44 h 108"/>
                <a:gd name="T28" fmla="*/ 320 w 320"/>
                <a:gd name="T29" fmla="*/ 55 h 108"/>
                <a:gd name="T30" fmla="*/ 125 w 320"/>
                <a:gd name="T31" fmla="*/ 47 h 108"/>
                <a:gd name="T32" fmla="*/ 82 w 320"/>
                <a:gd name="T33" fmla="*/ 4 h 108"/>
                <a:gd name="T34" fmla="*/ 67 w 320"/>
                <a:gd name="T35" fmla="*/ 4 h 108"/>
                <a:gd name="T36" fmla="*/ 67 w 320"/>
                <a:gd name="T37" fmla="*/ 20 h 108"/>
                <a:gd name="T38" fmla="*/ 91 w 320"/>
                <a:gd name="T39" fmla="*/ 44 h 108"/>
                <a:gd name="T40" fmla="*/ 10 w 320"/>
                <a:gd name="T41" fmla="*/ 44 h 108"/>
                <a:gd name="T42" fmla="*/ 0 w 320"/>
                <a:gd name="T43" fmla="*/ 55 h 108"/>
                <a:gd name="T44" fmla="*/ 10 w 320"/>
                <a:gd name="T45" fmla="*/ 65 h 108"/>
                <a:gd name="T46" fmla="*/ 91 w 320"/>
                <a:gd name="T47" fmla="*/ 65 h 108"/>
                <a:gd name="T48" fmla="*/ 67 w 320"/>
                <a:gd name="T49" fmla="*/ 90 h 108"/>
                <a:gd name="T50" fmla="*/ 67 w 320"/>
                <a:gd name="T51" fmla="*/ 105 h 108"/>
                <a:gd name="T52" fmla="*/ 74 w 320"/>
                <a:gd name="T53" fmla="*/ 108 h 108"/>
                <a:gd name="T54" fmla="*/ 82 w 320"/>
                <a:gd name="T55" fmla="*/ 105 h 108"/>
                <a:gd name="T56" fmla="*/ 125 w 320"/>
                <a:gd name="T57" fmla="*/ 62 h 108"/>
                <a:gd name="T58" fmla="*/ 125 w 320"/>
                <a:gd name="T59" fmla="*/ 4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108">
                  <a:moveTo>
                    <a:pt x="320" y="55"/>
                  </a:moveTo>
                  <a:cubicBezTo>
                    <a:pt x="320" y="61"/>
                    <a:pt x="315" y="65"/>
                    <a:pt x="309" y="65"/>
                  </a:cubicBezTo>
                  <a:cubicBezTo>
                    <a:pt x="228" y="65"/>
                    <a:pt x="228" y="65"/>
                    <a:pt x="228" y="65"/>
                  </a:cubicBezTo>
                  <a:cubicBezTo>
                    <a:pt x="253" y="90"/>
                    <a:pt x="253" y="90"/>
                    <a:pt x="253" y="90"/>
                  </a:cubicBezTo>
                  <a:cubicBezTo>
                    <a:pt x="257" y="94"/>
                    <a:pt x="257" y="101"/>
                    <a:pt x="253" y="105"/>
                  </a:cubicBezTo>
                  <a:cubicBezTo>
                    <a:pt x="250" y="107"/>
                    <a:pt x="248" y="108"/>
                    <a:pt x="245" y="108"/>
                  </a:cubicBezTo>
                  <a:cubicBezTo>
                    <a:pt x="242" y="108"/>
                    <a:pt x="240" y="107"/>
                    <a:pt x="237" y="105"/>
                  </a:cubicBezTo>
                  <a:cubicBezTo>
                    <a:pt x="195" y="62"/>
                    <a:pt x="195" y="62"/>
                    <a:pt x="195" y="62"/>
                  </a:cubicBezTo>
                  <a:cubicBezTo>
                    <a:pt x="191" y="58"/>
                    <a:pt x="191" y="51"/>
                    <a:pt x="195" y="47"/>
                  </a:cubicBezTo>
                  <a:cubicBezTo>
                    <a:pt x="237" y="4"/>
                    <a:pt x="237" y="4"/>
                    <a:pt x="237" y="4"/>
                  </a:cubicBezTo>
                  <a:cubicBezTo>
                    <a:pt x="242" y="0"/>
                    <a:pt x="248" y="0"/>
                    <a:pt x="253" y="4"/>
                  </a:cubicBezTo>
                  <a:cubicBezTo>
                    <a:pt x="257" y="9"/>
                    <a:pt x="257" y="15"/>
                    <a:pt x="253" y="20"/>
                  </a:cubicBezTo>
                  <a:cubicBezTo>
                    <a:pt x="228" y="44"/>
                    <a:pt x="228" y="44"/>
                    <a:pt x="228" y="44"/>
                  </a:cubicBezTo>
                  <a:cubicBezTo>
                    <a:pt x="309" y="44"/>
                    <a:pt x="309" y="44"/>
                    <a:pt x="309" y="44"/>
                  </a:cubicBezTo>
                  <a:cubicBezTo>
                    <a:pt x="315" y="44"/>
                    <a:pt x="320" y="49"/>
                    <a:pt x="320" y="55"/>
                  </a:cubicBezTo>
                  <a:close/>
                  <a:moveTo>
                    <a:pt x="125" y="47"/>
                  </a:moveTo>
                  <a:cubicBezTo>
                    <a:pt x="82" y="4"/>
                    <a:pt x="82" y="4"/>
                    <a:pt x="82" y="4"/>
                  </a:cubicBezTo>
                  <a:cubicBezTo>
                    <a:pt x="78" y="0"/>
                    <a:pt x="71" y="0"/>
                    <a:pt x="67" y="4"/>
                  </a:cubicBezTo>
                  <a:cubicBezTo>
                    <a:pt x="63" y="9"/>
                    <a:pt x="63" y="15"/>
                    <a:pt x="67" y="20"/>
                  </a:cubicBezTo>
                  <a:cubicBezTo>
                    <a:pt x="91" y="44"/>
                    <a:pt x="91" y="44"/>
                    <a:pt x="91" y="44"/>
                  </a:cubicBezTo>
                  <a:cubicBezTo>
                    <a:pt x="10" y="44"/>
                    <a:pt x="10" y="44"/>
                    <a:pt x="10" y="44"/>
                  </a:cubicBezTo>
                  <a:cubicBezTo>
                    <a:pt x="4" y="44"/>
                    <a:pt x="0" y="49"/>
                    <a:pt x="0" y="55"/>
                  </a:cubicBezTo>
                  <a:cubicBezTo>
                    <a:pt x="0" y="61"/>
                    <a:pt x="4" y="65"/>
                    <a:pt x="10" y="65"/>
                  </a:cubicBezTo>
                  <a:cubicBezTo>
                    <a:pt x="91" y="65"/>
                    <a:pt x="91" y="65"/>
                    <a:pt x="91" y="65"/>
                  </a:cubicBezTo>
                  <a:cubicBezTo>
                    <a:pt x="67" y="90"/>
                    <a:pt x="67" y="90"/>
                    <a:pt x="67" y="90"/>
                  </a:cubicBezTo>
                  <a:cubicBezTo>
                    <a:pt x="63" y="94"/>
                    <a:pt x="63" y="101"/>
                    <a:pt x="67" y="105"/>
                  </a:cubicBezTo>
                  <a:cubicBezTo>
                    <a:pt x="69" y="107"/>
                    <a:pt x="72" y="108"/>
                    <a:pt x="74" y="108"/>
                  </a:cubicBezTo>
                  <a:cubicBezTo>
                    <a:pt x="77" y="108"/>
                    <a:pt x="80" y="107"/>
                    <a:pt x="82" y="105"/>
                  </a:cubicBezTo>
                  <a:cubicBezTo>
                    <a:pt x="125" y="62"/>
                    <a:pt x="125" y="62"/>
                    <a:pt x="125" y="62"/>
                  </a:cubicBezTo>
                  <a:cubicBezTo>
                    <a:pt x="129" y="58"/>
                    <a:pt x="129" y="51"/>
                    <a:pt x="125"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8" name="Freeform 177">
            <a:extLst>
              <a:ext uri="{FF2B5EF4-FFF2-40B4-BE49-F238E27FC236}">
                <a16:creationId xmlns:a16="http://schemas.microsoft.com/office/drawing/2014/main" id="{A23F5946-23FE-4056-8D89-882FD0FEF950}"/>
              </a:ext>
            </a:extLst>
          </p:cNvPr>
          <p:cNvSpPr>
            <a:spLocks noChangeAspect="1" noEditPoints="1"/>
          </p:cNvSpPr>
          <p:nvPr/>
        </p:nvSpPr>
        <p:spPr bwMode="auto">
          <a:xfrm>
            <a:off x="2210627" y="4097620"/>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224 h 512"/>
              <a:gd name="T12" fmla="*/ 224 w 512"/>
              <a:gd name="T13" fmla="*/ 234 h 512"/>
              <a:gd name="T14" fmla="*/ 160 w 512"/>
              <a:gd name="T15" fmla="*/ 234 h 512"/>
              <a:gd name="T16" fmla="*/ 149 w 512"/>
              <a:gd name="T17" fmla="*/ 224 h 512"/>
              <a:gd name="T18" fmla="*/ 160 w 512"/>
              <a:gd name="T19" fmla="*/ 213 h 512"/>
              <a:gd name="T20" fmla="*/ 198 w 512"/>
              <a:gd name="T21" fmla="*/ 213 h 512"/>
              <a:gd name="T22" fmla="*/ 141 w 512"/>
              <a:gd name="T23" fmla="*/ 157 h 512"/>
              <a:gd name="T24" fmla="*/ 141 w 512"/>
              <a:gd name="T25" fmla="*/ 141 h 512"/>
              <a:gd name="T26" fmla="*/ 157 w 512"/>
              <a:gd name="T27" fmla="*/ 141 h 512"/>
              <a:gd name="T28" fmla="*/ 213 w 512"/>
              <a:gd name="T29" fmla="*/ 198 h 512"/>
              <a:gd name="T30" fmla="*/ 213 w 512"/>
              <a:gd name="T31" fmla="*/ 160 h 512"/>
              <a:gd name="T32" fmla="*/ 224 w 512"/>
              <a:gd name="T33" fmla="*/ 149 h 512"/>
              <a:gd name="T34" fmla="*/ 234 w 512"/>
              <a:gd name="T35" fmla="*/ 160 h 512"/>
              <a:gd name="T36" fmla="*/ 234 w 512"/>
              <a:gd name="T37" fmla="*/ 224 h 512"/>
              <a:gd name="T38" fmla="*/ 370 w 512"/>
              <a:gd name="T39" fmla="*/ 370 h 512"/>
              <a:gd name="T40" fmla="*/ 362 w 512"/>
              <a:gd name="T41" fmla="*/ 373 h 512"/>
              <a:gd name="T42" fmla="*/ 355 w 512"/>
              <a:gd name="T43" fmla="*/ 370 h 512"/>
              <a:gd name="T44" fmla="*/ 298 w 512"/>
              <a:gd name="T45" fmla="*/ 313 h 512"/>
              <a:gd name="T46" fmla="*/ 298 w 512"/>
              <a:gd name="T47" fmla="*/ 352 h 512"/>
              <a:gd name="T48" fmla="*/ 288 w 512"/>
              <a:gd name="T49" fmla="*/ 362 h 512"/>
              <a:gd name="T50" fmla="*/ 277 w 512"/>
              <a:gd name="T51" fmla="*/ 352 h 512"/>
              <a:gd name="T52" fmla="*/ 277 w 512"/>
              <a:gd name="T53" fmla="*/ 288 h 512"/>
              <a:gd name="T54" fmla="*/ 288 w 512"/>
              <a:gd name="T55" fmla="*/ 277 h 512"/>
              <a:gd name="T56" fmla="*/ 352 w 512"/>
              <a:gd name="T57" fmla="*/ 277 h 512"/>
              <a:gd name="T58" fmla="*/ 362 w 512"/>
              <a:gd name="T59" fmla="*/ 288 h 512"/>
              <a:gd name="T60" fmla="*/ 352 w 512"/>
              <a:gd name="T61" fmla="*/ 298 h 512"/>
              <a:gd name="T62" fmla="*/ 313 w 512"/>
              <a:gd name="T63" fmla="*/ 298 h 512"/>
              <a:gd name="T64" fmla="*/ 370 w 512"/>
              <a:gd name="T65" fmla="*/ 355 h 512"/>
              <a:gd name="T66" fmla="*/ 370 w 512"/>
              <a:gd name="T6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224"/>
                </a:moveTo>
                <a:cubicBezTo>
                  <a:pt x="234" y="230"/>
                  <a:pt x="230" y="234"/>
                  <a:pt x="224" y="234"/>
                </a:cubicBezTo>
                <a:cubicBezTo>
                  <a:pt x="160" y="234"/>
                  <a:pt x="160" y="234"/>
                  <a:pt x="160" y="234"/>
                </a:cubicBezTo>
                <a:cubicBezTo>
                  <a:pt x="154" y="234"/>
                  <a:pt x="149" y="230"/>
                  <a:pt x="149" y="224"/>
                </a:cubicBezTo>
                <a:cubicBezTo>
                  <a:pt x="149" y="218"/>
                  <a:pt x="154" y="213"/>
                  <a:pt x="160" y="213"/>
                </a:cubicBezTo>
                <a:cubicBezTo>
                  <a:pt x="198" y="213"/>
                  <a:pt x="198" y="213"/>
                  <a:pt x="198" y="213"/>
                </a:cubicBezTo>
                <a:cubicBezTo>
                  <a:pt x="141" y="157"/>
                  <a:pt x="141" y="157"/>
                  <a:pt x="141" y="157"/>
                </a:cubicBezTo>
                <a:cubicBezTo>
                  <a:pt x="137" y="152"/>
                  <a:pt x="137" y="146"/>
                  <a:pt x="141" y="141"/>
                </a:cubicBezTo>
                <a:cubicBezTo>
                  <a:pt x="146" y="137"/>
                  <a:pt x="152" y="137"/>
                  <a:pt x="157" y="141"/>
                </a:cubicBezTo>
                <a:cubicBezTo>
                  <a:pt x="213" y="198"/>
                  <a:pt x="213" y="198"/>
                  <a:pt x="213" y="198"/>
                </a:cubicBezTo>
                <a:cubicBezTo>
                  <a:pt x="213" y="160"/>
                  <a:pt x="213" y="160"/>
                  <a:pt x="213" y="160"/>
                </a:cubicBezTo>
                <a:cubicBezTo>
                  <a:pt x="213" y="154"/>
                  <a:pt x="218" y="149"/>
                  <a:pt x="224" y="149"/>
                </a:cubicBezTo>
                <a:cubicBezTo>
                  <a:pt x="230" y="149"/>
                  <a:pt x="234" y="154"/>
                  <a:pt x="234" y="160"/>
                </a:cubicBezTo>
                <a:lnTo>
                  <a:pt x="234" y="224"/>
                </a:lnTo>
                <a:close/>
                <a:moveTo>
                  <a:pt x="370" y="370"/>
                </a:moveTo>
                <a:cubicBezTo>
                  <a:pt x="368" y="372"/>
                  <a:pt x="365" y="373"/>
                  <a:pt x="362" y="373"/>
                </a:cubicBezTo>
                <a:cubicBezTo>
                  <a:pt x="360" y="373"/>
                  <a:pt x="357" y="372"/>
                  <a:pt x="355" y="370"/>
                </a:cubicBezTo>
                <a:cubicBezTo>
                  <a:pt x="298" y="313"/>
                  <a:pt x="298" y="313"/>
                  <a:pt x="298" y="313"/>
                </a:cubicBezTo>
                <a:cubicBezTo>
                  <a:pt x="298" y="352"/>
                  <a:pt x="298" y="352"/>
                  <a:pt x="298" y="352"/>
                </a:cubicBezTo>
                <a:cubicBezTo>
                  <a:pt x="298" y="358"/>
                  <a:pt x="294" y="362"/>
                  <a:pt x="288" y="362"/>
                </a:cubicBezTo>
                <a:cubicBezTo>
                  <a:pt x="282" y="362"/>
                  <a:pt x="277" y="358"/>
                  <a:pt x="277" y="352"/>
                </a:cubicBezTo>
                <a:cubicBezTo>
                  <a:pt x="277" y="288"/>
                  <a:pt x="277" y="288"/>
                  <a:pt x="277" y="288"/>
                </a:cubicBezTo>
                <a:cubicBezTo>
                  <a:pt x="277" y="282"/>
                  <a:pt x="282" y="277"/>
                  <a:pt x="288" y="277"/>
                </a:cubicBezTo>
                <a:cubicBezTo>
                  <a:pt x="352" y="277"/>
                  <a:pt x="352" y="277"/>
                  <a:pt x="352" y="277"/>
                </a:cubicBezTo>
                <a:cubicBezTo>
                  <a:pt x="358" y="277"/>
                  <a:pt x="362" y="282"/>
                  <a:pt x="362" y="288"/>
                </a:cubicBezTo>
                <a:cubicBezTo>
                  <a:pt x="362" y="294"/>
                  <a:pt x="358" y="298"/>
                  <a:pt x="352" y="298"/>
                </a:cubicBezTo>
                <a:cubicBezTo>
                  <a:pt x="313" y="298"/>
                  <a:pt x="313" y="298"/>
                  <a:pt x="313" y="298"/>
                </a:cubicBezTo>
                <a:cubicBezTo>
                  <a:pt x="370" y="355"/>
                  <a:pt x="370" y="355"/>
                  <a:pt x="370" y="355"/>
                </a:cubicBezTo>
                <a:cubicBezTo>
                  <a:pt x="374" y="359"/>
                  <a:pt x="374" y="366"/>
                  <a:pt x="370" y="3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9" name="Group 598">
            <a:extLst>
              <a:ext uri="{FF2B5EF4-FFF2-40B4-BE49-F238E27FC236}">
                <a16:creationId xmlns:a16="http://schemas.microsoft.com/office/drawing/2014/main" id="{71B162E6-ED61-4F99-B78D-EE7959A11066}"/>
              </a:ext>
            </a:extLst>
          </p:cNvPr>
          <p:cNvGrpSpPr>
            <a:grpSpLocks noChangeAspect="1"/>
          </p:cNvGrpSpPr>
          <p:nvPr/>
        </p:nvGrpSpPr>
        <p:grpSpPr bwMode="auto">
          <a:xfrm>
            <a:off x="2644288" y="4097620"/>
            <a:ext cx="367631" cy="367631"/>
            <a:chOff x="4629" y="1679"/>
            <a:chExt cx="340" cy="340"/>
          </a:xfrm>
          <a:solidFill>
            <a:schemeClr val="accent2"/>
          </a:solidFill>
        </p:grpSpPr>
        <p:sp>
          <p:nvSpPr>
            <p:cNvPr id="600" name="Freeform 181">
              <a:extLst>
                <a:ext uri="{FF2B5EF4-FFF2-40B4-BE49-F238E27FC236}">
                  <a16:creationId xmlns:a16="http://schemas.microsoft.com/office/drawing/2014/main" id="{FA530223-05C9-41D3-B88A-836B2221D3D1}"/>
                </a:ext>
              </a:extLst>
            </p:cNvPr>
            <p:cNvSpPr>
              <a:spLocks noEditPoints="1"/>
            </p:cNvSpPr>
            <p:nvPr/>
          </p:nvSpPr>
          <p:spPr bwMode="auto">
            <a:xfrm>
              <a:off x="4629" y="16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1" name="Freeform 182">
              <a:extLst>
                <a:ext uri="{FF2B5EF4-FFF2-40B4-BE49-F238E27FC236}">
                  <a16:creationId xmlns:a16="http://schemas.microsoft.com/office/drawing/2014/main" id="{BE50A016-A389-45F1-8859-2A6138F76705}"/>
                </a:ext>
              </a:extLst>
            </p:cNvPr>
            <p:cNvSpPr>
              <a:spLocks/>
            </p:cNvSpPr>
            <p:nvPr/>
          </p:nvSpPr>
          <p:spPr bwMode="auto">
            <a:xfrm>
              <a:off x="4813" y="1863"/>
              <a:ext cx="64" cy="64"/>
            </a:xfrm>
            <a:custGeom>
              <a:avLst/>
              <a:gdLst>
                <a:gd name="T0" fmla="*/ 93 w 97"/>
                <a:gd name="T1" fmla="*/ 78 h 96"/>
                <a:gd name="T2" fmla="*/ 36 w 97"/>
                <a:gd name="T3" fmla="*/ 21 h 96"/>
                <a:gd name="T4" fmla="*/ 75 w 97"/>
                <a:gd name="T5" fmla="*/ 21 h 96"/>
                <a:gd name="T6" fmla="*/ 85 w 97"/>
                <a:gd name="T7" fmla="*/ 11 h 96"/>
                <a:gd name="T8" fmla="*/ 75 w 97"/>
                <a:gd name="T9" fmla="*/ 0 h 96"/>
                <a:gd name="T10" fmla="*/ 11 w 97"/>
                <a:gd name="T11" fmla="*/ 0 h 96"/>
                <a:gd name="T12" fmla="*/ 0 w 97"/>
                <a:gd name="T13" fmla="*/ 11 h 96"/>
                <a:gd name="T14" fmla="*/ 0 w 97"/>
                <a:gd name="T15" fmla="*/ 75 h 96"/>
                <a:gd name="T16" fmla="*/ 11 w 97"/>
                <a:gd name="T17" fmla="*/ 85 h 96"/>
                <a:gd name="T18" fmla="*/ 21 w 97"/>
                <a:gd name="T19" fmla="*/ 75 h 96"/>
                <a:gd name="T20" fmla="*/ 21 w 97"/>
                <a:gd name="T21" fmla="*/ 36 h 96"/>
                <a:gd name="T22" fmla="*/ 78 w 97"/>
                <a:gd name="T23" fmla="*/ 93 h 96"/>
                <a:gd name="T24" fmla="*/ 85 w 97"/>
                <a:gd name="T25" fmla="*/ 96 h 96"/>
                <a:gd name="T26" fmla="*/ 93 w 97"/>
                <a:gd name="T27" fmla="*/ 93 h 96"/>
                <a:gd name="T28" fmla="*/ 93 w 97"/>
                <a:gd name="T29"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96">
                  <a:moveTo>
                    <a:pt x="93" y="78"/>
                  </a:moveTo>
                  <a:cubicBezTo>
                    <a:pt x="36" y="21"/>
                    <a:pt x="36" y="21"/>
                    <a:pt x="36" y="21"/>
                  </a:cubicBezTo>
                  <a:cubicBezTo>
                    <a:pt x="75" y="21"/>
                    <a:pt x="75" y="21"/>
                    <a:pt x="75" y="21"/>
                  </a:cubicBezTo>
                  <a:cubicBezTo>
                    <a:pt x="81" y="21"/>
                    <a:pt x="85" y="17"/>
                    <a:pt x="85" y="11"/>
                  </a:cubicBezTo>
                  <a:cubicBezTo>
                    <a:pt x="85" y="5"/>
                    <a:pt x="81" y="0"/>
                    <a:pt x="75" y="0"/>
                  </a:cubicBezTo>
                  <a:cubicBezTo>
                    <a:pt x="11" y="0"/>
                    <a:pt x="11" y="0"/>
                    <a:pt x="11" y="0"/>
                  </a:cubicBezTo>
                  <a:cubicBezTo>
                    <a:pt x="5" y="0"/>
                    <a:pt x="0" y="5"/>
                    <a:pt x="0" y="11"/>
                  </a:cubicBezTo>
                  <a:cubicBezTo>
                    <a:pt x="0" y="75"/>
                    <a:pt x="0" y="75"/>
                    <a:pt x="0" y="75"/>
                  </a:cubicBezTo>
                  <a:cubicBezTo>
                    <a:pt x="0" y="81"/>
                    <a:pt x="5" y="85"/>
                    <a:pt x="11" y="85"/>
                  </a:cubicBezTo>
                  <a:cubicBezTo>
                    <a:pt x="17" y="85"/>
                    <a:pt x="21" y="81"/>
                    <a:pt x="21" y="75"/>
                  </a:cubicBezTo>
                  <a:cubicBezTo>
                    <a:pt x="21" y="36"/>
                    <a:pt x="21" y="36"/>
                    <a:pt x="21" y="36"/>
                  </a:cubicBezTo>
                  <a:cubicBezTo>
                    <a:pt x="78" y="93"/>
                    <a:pt x="78" y="93"/>
                    <a:pt x="78" y="93"/>
                  </a:cubicBezTo>
                  <a:cubicBezTo>
                    <a:pt x="80" y="95"/>
                    <a:pt x="83" y="96"/>
                    <a:pt x="85" y="96"/>
                  </a:cubicBezTo>
                  <a:cubicBezTo>
                    <a:pt x="88" y="96"/>
                    <a:pt x="91" y="95"/>
                    <a:pt x="93" y="93"/>
                  </a:cubicBezTo>
                  <a:cubicBezTo>
                    <a:pt x="97" y="89"/>
                    <a:pt x="97" y="82"/>
                    <a:pt x="93" y="7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2" name="Freeform 183">
              <a:extLst>
                <a:ext uri="{FF2B5EF4-FFF2-40B4-BE49-F238E27FC236}">
                  <a16:creationId xmlns:a16="http://schemas.microsoft.com/office/drawing/2014/main" id="{E948504A-DFDA-44B6-9282-8B698CBA7E58}"/>
                </a:ext>
              </a:extLst>
            </p:cNvPr>
            <p:cNvSpPr>
              <a:spLocks/>
            </p:cNvSpPr>
            <p:nvPr/>
          </p:nvSpPr>
          <p:spPr bwMode="auto">
            <a:xfrm>
              <a:off x="4720" y="1770"/>
              <a:ext cx="64" cy="64"/>
            </a:xfrm>
            <a:custGeom>
              <a:avLst/>
              <a:gdLst>
                <a:gd name="T0" fmla="*/ 87 w 97"/>
                <a:gd name="T1" fmla="*/ 12 h 97"/>
                <a:gd name="T2" fmla="*/ 76 w 97"/>
                <a:gd name="T3" fmla="*/ 23 h 97"/>
                <a:gd name="T4" fmla="*/ 76 w 97"/>
                <a:gd name="T5" fmla="*/ 61 h 97"/>
                <a:gd name="T6" fmla="*/ 20 w 97"/>
                <a:gd name="T7" fmla="*/ 4 h 97"/>
                <a:gd name="T8" fmla="*/ 4 w 97"/>
                <a:gd name="T9" fmla="*/ 4 h 97"/>
                <a:gd name="T10" fmla="*/ 4 w 97"/>
                <a:gd name="T11" fmla="*/ 20 h 97"/>
                <a:gd name="T12" fmla="*/ 61 w 97"/>
                <a:gd name="T13" fmla="*/ 76 h 97"/>
                <a:gd name="T14" fmla="*/ 23 w 97"/>
                <a:gd name="T15" fmla="*/ 76 h 97"/>
                <a:gd name="T16" fmla="*/ 12 w 97"/>
                <a:gd name="T17" fmla="*/ 87 h 97"/>
                <a:gd name="T18" fmla="*/ 23 w 97"/>
                <a:gd name="T19" fmla="*/ 97 h 97"/>
                <a:gd name="T20" fmla="*/ 87 w 97"/>
                <a:gd name="T21" fmla="*/ 97 h 97"/>
                <a:gd name="T22" fmla="*/ 97 w 97"/>
                <a:gd name="T23" fmla="*/ 87 h 97"/>
                <a:gd name="T24" fmla="*/ 97 w 97"/>
                <a:gd name="T25" fmla="*/ 23 h 97"/>
                <a:gd name="T26" fmla="*/ 87 w 97"/>
                <a:gd name="T27" fmla="*/ 1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97">
                  <a:moveTo>
                    <a:pt x="87" y="12"/>
                  </a:moveTo>
                  <a:cubicBezTo>
                    <a:pt x="81" y="12"/>
                    <a:pt x="76" y="17"/>
                    <a:pt x="76" y="23"/>
                  </a:cubicBezTo>
                  <a:cubicBezTo>
                    <a:pt x="76" y="61"/>
                    <a:pt x="76" y="61"/>
                    <a:pt x="76" y="61"/>
                  </a:cubicBezTo>
                  <a:cubicBezTo>
                    <a:pt x="20" y="4"/>
                    <a:pt x="20" y="4"/>
                    <a:pt x="20" y="4"/>
                  </a:cubicBezTo>
                  <a:cubicBezTo>
                    <a:pt x="15" y="0"/>
                    <a:pt x="9" y="0"/>
                    <a:pt x="4" y="4"/>
                  </a:cubicBezTo>
                  <a:cubicBezTo>
                    <a:pt x="0" y="9"/>
                    <a:pt x="0" y="15"/>
                    <a:pt x="4" y="20"/>
                  </a:cubicBezTo>
                  <a:cubicBezTo>
                    <a:pt x="61" y="76"/>
                    <a:pt x="61" y="76"/>
                    <a:pt x="61" y="76"/>
                  </a:cubicBezTo>
                  <a:cubicBezTo>
                    <a:pt x="23" y="76"/>
                    <a:pt x="23" y="76"/>
                    <a:pt x="23" y="76"/>
                  </a:cubicBezTo>
                  <a:cubicBezTo>
                    <a:pt x="17" y="76"/>
                    <a:pt x="12" y="81"/>
                    <a:pt x="12" y="87"/>
                  </a:cubicBezTo>
                  <a:cubicBezTo>
                    <a:pt x="12" y="93"/>
                    <a:pt x="17" y="97"/>
                    <a:pt x="23" y="97"/>
                  </a:cubicBezTo>
                  <a:cubicBezTo>
                    <a:pt x="87" y="97"/>
                    <a:pt x="87" y="97"/>
                    <a:pt x="87" y="97"/>
                  </a:cubicBezTo>
                  <a:cubicBezTo>
                    <a:pt x="93" y="97"/>
                    <a:pt x="97" y="93"/>
                    <a:pt x="97" y="87"/>
                  </a:cubicBezTo>
                  <a:cubicBezTo>
                    <a:pt x="97" y="23"/>
                    <a:pt x="97" y="23"/>
                    <a:pt x="97" y="23"/>
                  </a:cubicBezTo>
                  <a:cubicBezTo>
                    <a:pt x="97" y="17"/>
                    <a:pt x="93" y="12"/>
                    <a:pt x="87"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03" name="Freeform 413">
            <a:extLst>
              <a:ext uri="{FF2B5EF4-FFF2-40B4-BE49-F238E27FC236}">
                <a16:creationId xmlns:a16="http://schemas.microsoft.com/office/drawing/2014/main" id="{3579891E-7B94-403D-A3E5-5E7A5C062D02}"/>
              </a:ext>
            </a:extLst>
          </p:cNvPr>
          <p:cNvSpPr>
            <a:spLocks noChangeAspect="1" noEditPoints="1"/>
          </p:cNvSpPr>
          <p:nvPr/>
        </p:nvSpPr>
        <p:spPr bwMode="auto">
          <a:xfrm>
            <a:off x="3077949" y="4097620"/>
            <a:ext cx="368713"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6 w 512"/>
              <a:gd name="T11" fmla="*/ 349 h 512"/>
              <a:gd name="T12" fmla="*/ 291 w 512"/>
              <a:gd name="T13" fmla="*/ 349 h 512"/>
              <a:gd name="T14" fmla="*/ 266 w 512"/>
              <a:gd name="T15" fmla="*/ 324 h 512"/>
              <a:gd name="T16" fmla="*/ 266 w 512"/>
              <a:gd name="T17" fmla="*/ 405 h 512"/>
              <a:gd name="T18" fmla="*/ 256 w 512"/>
              <a:gd name="T19" fmla="*/ 416 h 512"/>
              <a:gd name="T20" fmla="*/ 245 w 512"/>
              <a:gd name="T21" fmla="*/ 405 h 512"/>
              <a:gd name="T22" fmla="*/ 245 w 512"/>
              <a:gd name="T23" fmla="*/ 324 h 512"/>
              <a:gd name="T24" fmla="*/ 221 w 512"/>
              <a:gd name="T25" fmla="*/ 349 h 512"/>
              <a:gd name="T26" fmla="*/ 213 w 512"/>
              <a:gd name="T27" fmla="*/ 352 h 512"/>
              <a:gd name="T28" fmla="*/ 205 w 512"/>
              <a:gd name="T29" fmla="*/ 349 h 512"/>
              <a:gd name="T30" fmla="*/ 205 w 512"/>
              <a:gd name="T31" fmla="*/ 333 h 512"/>
              <a:gd name="T32" fmla="*/ 248 w 512"/>
              <a:gd name="T33" fmla="*/ 291 h 512"/>
              <a:gd name="T34" fmla="*/ 263 w 512"/>
              <a:gd name="T35" fmla="*/ 291 h 512"/>
              <a:gd name="T36" fmla="*/ 306 w 512"/>
              <a:gd name="T37" fmla="*/ 333 h 512"/>
              <a:gd name="T38" fmla="*/ 306 w 512"/>
              <a:gd name="T39" fmla="*/ 349 h 512"/>
              <a:gd name="T40" fmla="*/ 306 w 512"/>
              <a:gd name="T41" fmla="*/ 178 h 512"/>
              <a:gd name="T42" fmla="*/ 263 w 512"/>
              <a:gd name="T43" fmla="*/ 221 h 512"/>
              <a:gd name="T44" fmla="*/ 256 w 512"/>
              <a:gd name="T45" fmla="*/ 224 h 512"/>
              <a:gd name="T46" fmla="*/ 248 w 512"/>
              <a:gd name="T47" fmla="*/ 221 h 512"/>
              <a:gd name="T48" fmla="*/ 205 w 512"/>
              <a:gd name="T49" fmla="*/ 178 h 512"/>
              <a:gd name="T50" fmla="*/ 205 w 512"/>
              <a:gd name="T51" fmla="*/ 163 h 512"/>
              <a:gd name="T52" fmla="*/ 221 w 512"/>
              <a:gd name="T53" fmla="*/ 163 h 512"/>
              <a:gd name="T54" fmla="*/ 245 w 512"/>
              <a:gd name="T55" fmla="*/ 187 h 512"/>
              <a:gd name="T56" fmla="*/ 245 w 512"/>
              <a:gd name="T57" fmla="*/ 106 h 512"/>
              <a:gd name="T58" fmla="*/ 256 w 512"/>
              <a:gd name="T59" fmla="*/ 96 h 512"/>
              <a:gd name="T60" fmla="*/ 266 w 512"/>
              <a:gd name="T61" fmla="*/ 106 h 512"/>
              <a:gd name="T62" fmla="*/ 266 w 512"/>
              <a:gd name="T63" fmla="*/ 187 h 512"/>
              <a:gd name="T64" fmla="*/ 291 w 512"/>
              <a:gd name="T65" fmla="*/ 163 h 512"/>
              <a:gd name="T66" fmla="*/ 306 w 512"/>
              <a:gd name="T67" fmla="*/ 163 h 512"/>
              <a:gd name="T68" fmla="*/ 306 w 512"/>
              <a:gd name="T69"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6" y="349"/>
                </a:moveTo>
                <a:cubicBezTo>
                  <a:pt x="302" y="353"/>
                  <a:pt x="295" y="353"/>
                  <a:pt x="291" y="349"/>
                </a:cubicBezTo>
                <a:cubicBezTo>
                  <a:pt x="266" y="324"/>
                  <a:pt x="266" y="324"/>
                  <a:pt x="266" y="324"/>
                </a:cubicBezTo>
                <a:cubicBezTo>
                  <a:pt x="266" y="405"/>
                  <a:pt x="266" y="405"/>
                  <a:pt x="266" y="405"/>
                </a:cubicBezTo>
                <a:cubicBezTo>
                  <a:pt x="266" y="411"/>
                  <a:pt x="262" y="416"/>
                  <a:pt x="256" y="416"/>
                </a:cubicBezTo>
                <a:cubicBezTo>
                  <a:pt x="250" y="416"/>
                  <a:pt x="245" y="411"/>
                  <a:pt x="245" y="405"/>
                </a:cubicBezTo>
                <a:cubicBezTo>
                  <a:pt x="245" y="324"/>
                  <a:pt x="245" y="324"/>
                  <a:pt x="245" y="324"/>
                </a:cubicBezTo>
                <a:cubicBezTo>
                  <a:pt x="221" y="349"/>
                  <a:pt x="221" y="349"/>
                  <a:pt x="221" y="349"/>
                </a:cubicBezTo>
                <a:cubicBezTo>
                  <a:pt x="218" y="351"/>
                  <a:pt x="216" y="352"/>
                  <a:pt x="213" y="352"/>
                </a:cubicBezTo>
                <a:cubicBezTo>
                  <a:pt x="210" y="352"/>
                  <a:pt x="208" y="351"/>
                  <a:pt x="205" y="349"/>
                </a:cubicBezTo>
                <a:cubicBezTo>
                  <a:pt x="201" y="344"/>
                  <a:pt x="201" y="338"/>
                  <a:pt x="205" y="333"/>
                </a:cubicBezTo>
                <a:cubicBezTo>
                  <a:pt x="248" y="291"/>
                  <a:pt x="248" y="291"/>
                  <a:pt x="248" y="291"/>
                </a:cubicBezTo>
                <a:cubicBezTo>
                  <a:pt x="252" y="287"/>
                  <a:pt x="259" y="287"/>
                  <a:pt x="263" y="291"/>
                </a:cubicBezTo>
                <a:cubicBezTo>
                  <a:pt x="306" y="333"/>
                  <a:pt x="306" y="333"/>
                  <a:pt x="306" y="333"/>
                </a:cubicBezTo>
                <a:cubicBezTo>
                  <a:pt x="310" y="338"/>
                  <a:pt x="310" y="344"/>
                  <a:pt x="306" y="349"/>
                </a:cubicBezTo>
                <a:close/>
                <a:moveTo>
                  <a:pt x="306" y="178"/>
                </a:moveTo>
                <a:cubicBezTo>
                  <a:pt x="263" y="221"/>
                  <a:pt x="263" y="221"/>
                  <a:pt x="263" y="221"/>
                </a:cubicBezTo>
                <a:cubicBezTo>
                  <a:pt x="261" y="223"/>
                  <a:pt x="258" y="224"/>
                  <a:pt x="256" y="224"/>
                </a:cubicBezTo>
                <a:cubicBezTo>
                  <a:pt x="253" y="224"/>
                  <a:pt x="250" y="223"/>
                  <a:pt x="248" y="221"/>
                </a:cubicBezTo>
                <a:cubicBezTo>
                  <a:pt x="205" y="178"/>
                  <a:pt x="205" y="178"/>
                  <a:pt x="205" y="178"/>
                </a:cubicBezTo>
                <a:cubicBezTo>
                  <a:pt x="201" y="174"/>
                  <a:pt x="201" y="167"/>
                  <a:pt x="205" y="163"/>
                </a:cubicBezTo>
                <a:cubicBezTo>
                  <a:pt x="210" y="159"/>
                  <a:pt x="216" y="159"/>
                  <a:pt x="221" y="163"/>
                </a:cubicBezTo>
                <a:cubicBezTo>
                  <a:pt x="245" y="187"/>
                  <a:pt x="245" y="187"/>
                  <a:pt x="245" y="187"/>
                </a:cubicBezTo>
                <a:cubicBezTo>
                  <a:pt x="245" y="106"/>
                  <a:pt x="245" y="106"/>
                  <a:pt x="245" y="106"/>
                </a:cubicBezTo>
                <a:cubicBezTo>
                  <a:pt x="245" y="100"/>
                  <a:pt x="250" y="96"/>
                  <a:pt x="256" y="96"/>
                </a:cubicBezTo>
                <a:cubicBezTo>
                  <a:pt x="262" y="96"/>
                  <a:pt x="266" y="100"/>
                  <a:pt x="266" y="106"/>
                </a:cubicBezTo>
                <a:cubicBezTo>
                  <a:pt x="266" y="187"/>
                  <a:pt x="266" y="187"/>
                  <a:pt x="266" y="187"/>
                </a:cubicBezTo>
                <a:cubicBezTo>
                  <a:pt x="291" y="163"/>
                  <a:pt x="291" y="163"/>
                  <a:pt x="291" y="163"/>
                </a:cubicBezTo>
                <a:cubicBezTo>
                  <a:pt x="295" y="159"/>
                  <a:pt x="302" y="159"/>
                  <a:pt x="306" y="163"/>
                </a:cubicBezTo>
                <a:cubicBezTo>
                  <a:pt x="310" y="167"/>
                  <a:pt x="310" y="174"/>
                  <a:pt x="306" y="17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04" name="Group 190">
            <a:extLst>
              <a:ext uri="{FF2B5EF4-FFF2-40B4-BE49-F238E27FC236}">
                <a16:creationId xmlns:a16="http://schemas.microsoft.com/office/drawing/2014/main" id="{21E2DB8D-8CE0-4BDE-9D76-31CE59153213}"/>
              </a:ext>
            </a:extLst>
          </p:cNvPr>
          <p:cNvGrpSpPr>
            <a:grpSpLocks noChangeAspect="1"/>
          </p:cNvGrpSpPr>
          <p:nvPr/>
        </p:nvGrpSpPr>
        <p:grpSpPr bwMode="auto">
          <a:xfrm>
            <a:off x="3512692" y="4097620"/>
            <a:ext cx="367631" cy="367631"/>
            <a:chOff x="4898" y="1582"/>
            <a:chExt cx="340" cy="340"/>
          </a:xfrm>
          <a:solidFill>
            <a:schemeClr val="accent2"/>
          </a:solidFill>
        </p:grpSpPr>
        <p:sp>
          <p:nvSpPr>
            <p:cNvPr id="605" name="Freeform 191">
              <a:extLst>
                <a:ext uri="{FF2B5EF4-FFF2-40B4-BE49-F238E27FC236}">
                  <a16:creationId xmlns:a16="http://schemas.microsoft.com/office/drawing/2014/main" id="{BF8FE90C-E12C-4081-8876-716F1815DD5B}"/>
                </a:ext>
              </a:extLst>
            </p:cNvPr>
            <p:cNvSpPr>
              <a:spLocks noEditPoints="1"/>
            </p:cNvSpPr>
            <p:nvPr/>
          </p:nvSpPr>
          <p:spPr bwMode="auto">
            <a:xfrm>
              <a:off x="4898" y="158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6" name="Freeform 192">
              <a:extLst>
                <a:ext uri="{FF2B5EF4-FFF2-40B4-BE49-F238E27FC236}">
                  <a16:creationId xmlns:a16="http://schemas.microsoft.com/office/drawing/2014/main" id="{5ADEB3FA-CC00-4EE8-A376-540CB7A41CF1}"/>
                </a:ext>
              </a:extLst>
            </p:cNvPr>
            <p:cNvSpPr>
              <a:spLocks noEditPoints="1"/>
            </p:cNvSpPr>
            <p:nvPr/>
          </p:nvSpPr>
          <p:spPr bwMode="auto">
            <a:xfrm>
              <a:off x="5031" y="1646"/>
              <a:ext cx="73" cy="212"/>
            </a:xfrm>
            <a:custGeom>
              <a:avLst/>
              <a:gdLst>
                <a:gd name="T0" fmla="*/ 105 w 109"/>
                <a:gd name="T1" fmla="*/ 82 h 320"/>
                <a:gd name="T2" fmla="*/ 62 w 109"/>
                <a:gd name="T3" fmla="*/ 125 h 320"/>
                <a:gd name="T4" fmla="*/ 55 w 109"/>
                <a:gd name="T5" fmla="*/ 128 h 320"/>
                <a:gd name="T6" fmla="*/ 47 w 109"/>
                <a:gd name="T7" fmla="*/ 125 h 320"/>
                <a:gd name="T8" fmla="*/ 4 w 109"/>
                <a:gd name="T9" fmla="*/ 82 h 320"/>
                <a:gd name="T10" fmla="*/ 4 w 109"/>
                <a:gd name="T11" fmla="*/ 67 h 320"/>
                <a:gd name="T12" fmla="*/ 20 w 109"/>
                <a:gd name="T13" fmla="*/ 67 h 320"/>
                <a:gd name="T14" fmla="*/ 44 w 109"/>
                <a:gd name="T15" fmla="*/ 91 h 320"/>
                <a:gd name="T16" fmla="*/ 44 w 109"/>
                <a:gd name="T17" fmla="*/ 10 h 320"/>
                <a:gd name="T18" fmla="*/ 55 w 109"/>
                <a:gd name="T19" fmla="*/ 0 h 320"/>
                <a:gd name="T20" fmla="*/ 65 w 109"/>
                <a:gd name="T21" fmla="*/ 10 h 320"/>
                <a:gd name="T22" fmla="*/ 65 w 109"/>
                <a:gd name="T23" fmla="*/ 91 h 320"/>
                <a:gd name="T24" fmla="*/ 90 w 109"/>
                <a:gd name="T25" fmla="*/ 67 h 320"/>
                <a:gd name="T26" fmla="*/ 105 w 109"/>
                <a:gd name="T27" fmla="*/ 67 h 320"/>
                <a:gd name="T28" fmla="*/ 105 w 109"/>
                <a:gd name="T29" fmla="*/ 82 h 320"/>
                <a:gd name="T30" fmla="*/ 105 w 109"/>
                <a:gd name="T31" fmla="*/ 237 h 320"/>
                <a:gd name="T32" fmla="*/ 62 w 109"/>
                <a:gd name="T33" fmla="*/ 195 h 320"/>
                <a:gd name="T34" fmla="*/ 47 w 109"/>
                <a:gd name="T35" fmla="*/ 195 h 320"/>
                <a:gd name="T36" fmla="*/ 4 w 109"/>
                <a:gd name="T37" fmla="*/ 237 h 320"/>
                <a:gd name="T38" fmla="*/ 4 w 109"/>
                <a:gd name="T39" fmla="*/ 253 h 320"/>
                <a:gd name="T40" fmla="*/ 12 w 109"/>
                <a:gd name="T41" fmla="*/ 256 h 320"/>
                <a:gd name="T42" fmla="*/ 20 w 109"/>
                <a:gd name="T43" fmla="*/ 253 h 320"/>
                <a:gd name="T44" fmla="*/ 44 w 109"/>
                <a:gd name="T45" fmla="*/ 228 h 320"/>
                <a:gd name="T46" fmla="*/ 44 w 109"/>
                <a:gd name="T47" fmla="*/ 309 h 320"/>
                <a:gd name="T48" fmla="*/ 55 w 109"/>
                <a:gd name="T49" fmla="*/ 320 h 320"/>
                <a:gd name="T50" fmla="*/ 65 w 109"/>
                <a:gd name="T51" fmla="*/ 309 h 320"/>
                <a:gd name="T52" fmla="*/ 65 w 109"/>
                <a:gd name="T53" fmla="*/ 228 h 320"/>
                <a:gd name="T54" fmla="*/ 90 w 109"/>
                <a:gd name="T55" fmla="*/ 253 h 320"/>
                <a:gd name="T56" fmla="*/ 105 w 109"/>
                <a:gd name="T57" fmla="*/ 253 h 320"/>
                <a:gd name="T58" fmla="*/ 105 w 109"/>
                <a:gd name="T59" fmla="*/ 23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9" h="320">
                  <a:moveTo>
                    <a:pt x="105" y="82"/>
                  </a:moveTo>
                  <a:cubicBezTo>
                    <a:pt x="62" y="125"/>
                    <a:pt x="62" y="125"/>
                    <a:pt x="62" y="125"/>
                  </a:cubicBezTo>
                  <a:cubicBezTo>
                    <a:pt x="60" y="127"/>
                    <a:pt x="57" y="128"/>
                    <a:pt x="55" y="128"/>
                  </a:cubicBezTo>
                  <a:cubicBezTo>
                    <a:pt x="52" y="128"/>
                    <a:pt x="49" y="127"/>
                    <a:pt x="47" y="125"/>
                  </a:cubicBezTo>
                  <a:cubicBezTo>
                    <a:pt x="4" y="82"/>
                    <a:pt x="4" y="82"/>
                    <a:pt x="4" y="82"/>
                  </a:cubicBezTo>
                  <a:cubicBezTo>
                    <a:pt x="0" y="78"/>
                    <a:pt x="0" y="71"/>
                    <a:pt x="4" y="67"/>
                  </a:cubicBezTo>
                  <a:cubicBezTo>
                    <a:pt x="9" y="63"/>
                    <a:pt x="15" y="63"/>
                    <a:pt x="20" y="67"/>
                  </a:cubicBezTo>
                  <a:cubicBezTo>
                    <a:pt x="44" y="91"/>
                    <a:pt x="44" y="91"/>
                    <a:pt x="44" y="91"/>
                  </a:cubicBezTo>
                  <a:cubicBezTo>
                    <a:pt x="44" y="10"/>
                    <a:pt x="44" y="10"/>
                    <a:pt x="44" y="10"/>
                  </a:cubicBezTo>
                  <a:cubicBezTo>
                    <a:pt x="44" y="4"/>
                    <a:pt x="49" y="0"/>
                    <a:pt x="55" y="0"/>
                  </a:cubicBezTo>
                  <a:cubicBezTo>
                    <a:pt x="61" y="0"/>
                    <a:pt x="65" y="4"/>
                    <a:pt x="65" y="10"/>
                  </a:cubicBezTo>
                  <a:cubicBezTo>
                    <a:pt x="65" y="91"/>
                    <a:pt x="65" y="91"/>
                    <a:pt x="65" y="91"/>
                  </a:cubicBezTo>
                  <a:cubicBezTo>
                    <a:pt x="90" y="67"/>
                    <a:pt x="90" y="67"/>
                    <a:pt x="90" y="67"/>
                  </a:cubicBezTo>
                  <a:cubicBezTo>
                    <a:pt x="94" y="63"/>
                    <a:pt x="101" y="63"/>
                    <a:pt x="105" y="67"/>
                  </a:cubicBezTo>
                  <a:cubicBezTo>
                    <a:pt x="109" y="71"/>
                    <a:pt x="109" y="78"/>
                    <a:pt x="105" y="82"/>
                  </a:cubicBezTo>
                  <a:close/>
                  <a:moveTo>
                    <a:pt x="105" y="237"/>
                  </a:moveTo>
                  <a:cubicBezTo>
                    <a:pt x="62" y="195"/>
                    <a:pt x="62" y="195"/>
                    <a:pt x="62" y="195"/>
                  </a:cubicBezTo>
                  <a:cubicBezTo>
                    <a:pt x="58" y="191"/>
                    <a:pt x="51" y="191"/>
                    <a:pt x="47" y="195"/>
                  </a:cubicBezTo>
                  <a:cubicBezTo>
                    <a:pt x="4" y="237"/>
                    <a:pt x="4" y="237"/>
                    <a:pt x="4" y="237"/>
                  </a:cubicBezTo>
                  <a:cubicBezTo>
                    <a:pt x="0" y="242"/>
                    <a:pt x="0" y="248"/>
                    <a:pt x="4" y="253"/>
                  </a:cubicBezTo>
                  <a:cubicBezTo>
                    <a:pt x="7" y="255"/>
                    <a:pt x="9" y="256"/>
                    <a:pt x="12" y="256"/>
                  </a:cubicBezTo>
                  <a:cubicBezTo>
                    <a:pt x="15" y="256"/>
                    <a:pt x="17" y="255"/>
                    <a:pt x="20" y="253"/>
                  </a:cubicBezTo>
                  <a:cubicBezTo>
                    <a:pt x="44" y="228"/>
                    <a:pt x="44" y="228"/>
                    <a:pt x="44" y="228"/>
                  </a:cubicBezTo>
                  <a:cubicBezTo>
                    <a:pt x="44" y="309"/>
                    <a:pt x="44" y="309"/>
                    <a:pt x="44" y="309"/>
                  </a:cubicBezTo>
                  <a:cubicBezTo>
                    <a:pt x="44" y="315"/>
                    <a:pt x="49" y="320"/>
                    <a:pt x="55" y="320"/>
                  </a:cubicBezTo>
                  <a:cubicBezTo>
                    <a:pt x="61" y="320"/>
                    <a:pt x="65" y="315"/>
                    <a:pt x="65" y="309"/>
                  </a:cubicBezTo>
                  <a:cubicBezTo>
                    <a:pt x="65" y="228"/>
                    <a:pt x="65" y="228"/>
                    <a:pt x="65" y="228"/>
                  </a:cubicBezTo>
                  <a:cubicBezTo>
                    <a:pt x="90" y="253"/>
                    <a:pt x="90" y="253"/>
                    <a:pt x="90" y="253"/>
                  </a:cubicBezTo>
                  <a:cubicBezTo>
                    <a:pt x="94" y="257"/>
                    <a:pt x="101" y="257"/>
                    <a:pt x="105" y="253"/>
                  </a:cubicBezTo>
                  <a:cubicBezTo>
                    <a:pt x="109" y="248"/>
                    <a:pt x="109" y="242"/>
                    <a:pt x="105" y="2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07" name="Group 217">
            <a:extLst>
              <a:ext uri="{FF2B5EF4-FFF2-40B4-BE49-F238E27FC236}">
                <a16:creationId xmlns:a16="http://schemas.microsoft.com/office/drawing/2014/main" id="{4407D151-9FD9-4EC3-B49F-8D961E7DA7BC}"/>
              </a:ext>
            </a:extLst>
          </p:cNvPr>
          <p:cNvGrpSpPr>
            <a:grpSpLocks noChangeAspect="1"/>
          </p:cNvGrpSpPr>
          <p:nvPr/>
        </p:nvGrpSpPr>
        <p:grpSpPr bwMode="auto">
          <a:xfrm>
            <a:off x="907599" y="4097620"/>
            <a:ext cx="369676" cy="369676"/>
            <a:chOff x="5807" y="746"/>
            <a:chExt cx="340" cy="340"/>
          </a:xfrm>
          <a:solidFill>
            <a:schemeClr val="accent3"/>
          </a:solidFill>
        </p:grpSpPr>
        <p:sp>
          <p:nvSpPr>
            <p:cNvPr id="608" name="Freeform 218">
              <a:extLst>
                <a:ext uri="{FF2B5EF4-FFF2-40B4-BE49-F238E27FC236}">
                  <a16:creationId xmlns:a16="http://schemas.microsoft.com/office/drawing/2014/main" id="{8FF6779A-D32B-4AC3-9298-FD6142A316C9}"/>
                </a:ext>
              </a:extLst>
            </p:cNvPr>
            <p:cNvSpPr>
              <a:spLocks noEditPoints="1"/>
            </p:cNvSpPr>
            <p:nvPr/>
          </p:nvSpPr>
          <p:spPr bwMode="auto">
            <a:xfrm>
              <a:off x="5892" y="824"/>
              <a:ext cx="170" cy="184"/>
            </a:xfrm>
            <a:custGeom>
              <a:avLst/>
              <a:gdLst>
                <a:gd name="T0" fmla="*/ 256 w 256"/>
                <a:gd name="T1" fmla="*/ 138 h 277"/>
                <a:gd name="T2" fmla="*/ 128 w 256"/>
                <a:gd name="T3" fmla="*/ 266 h 277"/>
                <a:gd name="T4" fmla="*/ 53 w 256"/>
                <a:gd name="T5" fmla="*/ 242 h 277"/>
                <a:gd name="T6" fmla="*/ 53 w 256"/>
                <a:gd name="T7" fmla="*/ 266 h 277"/>
                <a:gd name="T8" fmla="*/ 43 w 256"/>
                <a:gd name="T9" fmla="*/ 277 h 277"/>
                <a:gd name="T10" fmla="*/ 32 w 256"/>
                <a:gd name="T11" fmla="*/ 266 h 277"/>
                <a:gd name="T12" fmla="*/ 32 w 256"/>
                <a:gd name="T13" fmla="*/ 213 h 277"/>
                <a:gd name="T14" fmla="*/ 43 w 256"/>
                <a:gd name="T15" fmla="*/ 202 h 277"/>
                <a:gd name="T16" fmla="*/ 96 w 256"/>
                <a:gd name="T17" fmla="*/ 202 h 277"/>
                <a:gd name="T18" fmla="*/ 107 w 256"/>
                <a:gd name="T19" fmla="*/ 213 h 277"/>
                <a:gd name="T20" fmla="*/ 96 w 256"/>
                <a:gd name="T21" fmla="*/ 224 h 277"/>
                <a:gd name="T22" fmla="*/ 64 w 256"/>
                <a:gd name="T23" fmla="*/ 224 h 277"/>
                <a:gd name="T24" fmla="*/ 128 w 256"/>
                <a:gd name="T25" fmla="*/ 245 h 277"/>
                <a:gd name="T26" fmla="*/ 235 w 256"/>
                <a:gd name="T27" fmla="*/ 138 h 277"/>
                <a:gd name="T28" fmla="*/ 245 w 256"/>
                <a:gd name="T29" fmla="*/ 128 h 277"/>
                <a:gd name="T30" fmla="*/ 256 w 256"/>
                <a:gd name="T31" fmla="*/ 138 h 277"/>
                <a:gd name="T32" fmla="*/ 128 w 256"/>
                <a:gd name="T33" fmla="*/ 32 h 277"/>
                <a:gd name="T34" fmla="*/ 192 w 256"/>
                <a:gd name="T35" fmla="*/ 53 h 277"/>
                <a:gd name="T36" fmla="*/ 160 w 256"/>
                <a:gd name="T37" fmla="*/ 53 h 277"/>
                <a:gd name="T38" fmla="*/ 149 w 256"/>
                <a:gd name="T39" fmla="*/ 64 h 277"/>
                <a:gd name="T40" fmla="*/ 160 w 256"/>
                <a:gd name="T41" fmla="*/ 74 h 277"/>
                <a:gd name="T42" fmla="*/ 213 w 256"/>
                <a:gd name="T43" fmla="*/ 74 h 277"/>
                <a:gd name="T44" fmla="*/ 224 w 256"/>
                <a:gd name="T45" fmla="*/ 64 h 277"/>
                <a:gd name="T46" fmla="*/ 224 w 256"/>
                <a:gd name="T47" fmla="*/ 10 h 277"/>
                <a:gd name="T48" fmla="*/ 213 w 256"/>
                <a:gd name="T49" fmla="*/ 0 h 277"/>
                <a:gd name="T50" fmla="*/ 203 w 256"/>
                <a:gd name="T51" fmla="*/ 10 h 277"/>
                <a:gd name="T52" fmla="*/ 203 w 256"/>
                <a:gd name="T53" fmla="*/ 35 h 277"/>
                <a:gd name="T54" fmla="*/ 128 w 256"/>
                <a:gd name="T55" fmla="*/ 10 h 277"/>
                <a:gd name="T56" fmla="*/ 0 w 256"/>
                <a:gd name="T57" fmla="*/ 138 h 277"/>
                <a:gd name="T58" fmla="*/ 11 w 256"/>
                <a:gd name="T59" fmla="*/ 149 h 277"/>
                <a:gd name="T60" fmla="*/ 21 w 256"/>
                <a:gd name="T61" fmla="*/ 138 h 277"/>
                <a:gd name="T62" fmla="*/ 128 w 256"/>
                <a:gd name="T63" fmla="*/ 3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277">
                  <a:moveTo>
                    <a:pt x="256" y="138"/>
                  </a:moveTo>
                  <a:cubicBezTo>
                    <a:pt x="256" y="209"/>
                    <a:pt x="199" y="266"/>
                    <a:pt x="128" y="266"/>
                  </a:cubicBezTo>
                  <a:cubicBezTo>
                    <a:pt x="101" y="266"/>
                    <a:pt x="75" y="258"/>
                    <a:pt x="53" y="242"/>
                  </a:cubicBezTo>
                  <a:cubicBezTo>
                    <a:pt x="53" y="266"/>
                    <a:pt x="53" y="266"/>
                    <a:pt x="53" y="266"/>
                  </a:cubicBezTo>
                  <a:cubicBezTo>
                    <a:pt x="53" y="272"/>
                    <a:pt x="49" y="277"/>
                    <a:pt x="43" y="277"/>
                  </a:cubicBezTo>
                  <a:cubicBezTo>
                    <a:pt x="37" y="277"/>
                    <a:pt x="32" y="272"/>
                    <a:pt x="32" y="266"/>
                  </a:cubicBezTo>
                  <a:cubicBezTo>
                    <a:pt x="32" y="213"/>
                    <a:pt x="32" y="213"/>
                    <a:pt x="32" y="213"/>
                  </a:cubicBezTo>
                  <a:cubicBezTo>
                    <a:pt x="32" y="207"/>
                    <a:pt x="37" y="202"/>
                    <a:pt x="43" y="202"/>
                  </a:cubicBezTo>
                  <a:cubicBezTo>
                    <a:pt x="96" y="202"/>
                    <a:pt x="96" y="202"/>
                    <a:pt x="96" y="202"/>
                  </a:cubicBezTo>
                  <a:cubicBezTo>
                    <a:pt x="102" y="202"/>
                    <a:pt x="107" y="207"/>
                    <a:pt x="107" y="213"/>
                  </a:cubicBezTo>
                  <a:cubicBezTo>
                    <a:pt x="107" y="219"/>
                    <a:pt x="102" y="224"/>
                    <a:pt x="96" y="224"/>
                  </a:cubicBezTo>
                  <a:cubicBezTo>
                    <a:pt x="64" y="224"/>
                    <a:pt x="64" y="224"/>
                    <a:pt x="64" y="224"/>
                  </a:cubicBezTo>
                  <a:cubicBezTo>
                    <a:pt x="82" y="237"/>
                    <a:pt x="105" y="245"/>
                    <a:pt x="128" y="245"/>
                  </a:cubicBezTo>
                  <a:cubicBezTo>
                    <a:pt x="187" y="245"/>
                    <a:pt x="235" y="197"/>
                    <a:pt x="235" y="138"/>
                  </a:cubicBezTo>
                  <a:cubicBezTo>
                    <a:pt x="235" y="132"/>
                    <a:pt x="239" y="128"/>
                    <a:pt x="245" y="128"/>
                  </a:cubicBezTo>
                  <a:cubicBezTo>
                    <a:pt x="251" y="128"/>
                    <a:pt x="256" y="132"/>
                    <a:pt x="256" y="138"/>
                  </a:cubicBezTo>
                  <a:close/>
                  <a:moveTo>
                    <a:pt x="128" y="32"/>
                  </a:moveTo>
                  <a:cubicBezTo>
                    <a:pt x="151" y="32"/>
                    <a:pt x="174" y="39"/>
                    <a:pt x="192" y="53"/>
                  </a:cubicBezTo>
                  <a:cubicBezTo>
                    <a:pt x="160" y="53"/>
                    <a:pt x="160" y="53"/>
                    <a:pt x="160" y="53"/>
                  </a:cubicBezTo>
                  <a:cubicBezTo>
                    <a:pt x="154" y="53"/>
                    <a:pt x="149" y="58"/>
                    <a:pt x="149" y="64"/>
                  </a:cubicBezTo>
                  <a:cubicBezTo>
                    <a:pt x="149" y="70"/>
                    <a:pt x="154" y="74"/>
                    <a:pt x="160" y="74"/>
                  </a:cubicBezTo>
                  <a:cubicBezTo>
                    <a:pt x="213" y="74"/>
                    <a:pt x="213" y="74"/>
                    <a:pt x="213" y="74"/>
                  </a:cubicBezTo>
                  <a:cubicBezTo>
                    <a:pt x="219" y="74"/>
                    <a:pt x="224" y="70"/>
                    <a:pt x="224" y="64"/>
                  </a:cubicBezTo>
                  <a:cubicBezTo>
                    <a:pt x="224" y="10"/>
                    <a:pt x="224" y="10"/>
                    <a:pt x="224" y="10"/>
                  </a:cubicBezTo>
                  <a:cubicBezTo>
                    <a:pt x="224" y="4"/>
                    <a:pt x="219" y="0"/>
                    <a:pt x="213" y="0"/>
                  </a:cubicBezTo>
                  <a:cubicBezTo>
                    <a:pt x="207" y="0"/>
                    <a:pt x="203" y="4"/>
                    <a:pt x="203" y="10"/>
                  </a:cubicBezTo>
                  <a:cubicBezTo>
                    <a:pt x="203" y="35"/>
                    <a:pt x="203" y="35"/>
                    <a:pt x="203" y="35"/>
                  </a:cubicBezTo>
                  <a:cubicBezTo>
                    <a:pt x="181" y="19"/>
                    <a:pt x="155" y="10"/>
                    <a:pt x="128" y="10"/>
                  </a:cubicBezTo>
                  <a:cubicBezTo>
                    <a:pt x="57" y="10"/>
                    <a:pt x="0" y="68"/>
                    <a:pt x="0" y="138"/>
                  </a:cubicBezTo>
                  <a:cubicBezTo>
                    <a:pt x="0" y="144"/>
                    <a:pt x="5" y="149"/>
                    <a:pt x="11" y="149"/>
                  </a:cubicBezTo>
                  <a:cubicBezTo>
                    <a:pt x="17" y="149"/>
                    <a:pt x="21" y="144"/>
                    <a:pt x="21" y="138"/>
                  </a:cubicBezTo>
                  <a:cubicBezTo>
                    <a:pt x="21" y="80"/>
                    <a:pt x="69" y="32"/>
                    <a:pt x="128"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9" name="Freeform 219">
              <a:extLst>
                <a:ext uri="{FF2B5EF4-FFF2-40B4-BE49-F238E27FC236}">
                  <a16:creationId xmlns:a16="http://schemas.microsoft.com/office/drawing/2014/main" id="{43FB0998-34FB-4C7C-92B5-35FBAF72E850}"/>
                </a:ext>
              </a:extLst>
            </p:cNvPr>
            <p:cNvSpPr>
              <a:spLocks noEditPoints="1"/>
            </p:cNvSpPr>
            <p:nvPr/>
          </p:nvSpPr>
          <p:spPr bwMode="auto">
            <a:xfrm>
              <a:off x="5807" y="74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0" name="Freeform 223">
            <a:extLst>
              <a:ext uri="{FF2B5EF4-FFF2-40B4-BE49-F238E27FC236}">
                <a16:creationId xmlns:a16="http://schemas.microsoft.com/office/drawing/2014/main" id="{AC837139-F33F-40CD-98FB-6AC1259B9812}"/>
              </a:ext>
            </a:extLst>
          </p:cNvPr>
          <p:cNvSpPr>
            <a:spLocks noChangeAspect="1" noEditPoints="1"/>
          </p:cNvSpPr>
          <p:nvPr/>
        </p:nvSpPr>
        <p:spPr bwMode="auto">
          <a:xfrm>
            <a:off x="471893" y="4097620"/>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1" name="Group 666">
            <a:extLst>
              <a:ext uri="{FF2B5EF4-FFF2-40B4-BE49-F238E27FC236}">
                <a16:creationId xmlns:a16="http://schemas.microsoft.com/office/drawing/2014/main" id="{A41FA895-BDED-4B21-81DF-2D995C6599E9}"/>
              </a:ext>
            </a:extLst>
          </p:cNvPr>
          <p:cNvGrpSpPr>
            <a:grpSpLocks noChangeAspect="1"/>
          </p:cNvGrpSpPr>
          <p:nvPr/>
        </p:nvGrpSpPr>
        <p:grpSpPr bwMode="auto">
          <a:xfrm>
            <a:off x="6117131" y="4097620"/>
            <a:ext cx="369021" cy="369021"/>
            <a:chOff x="7340" y="2694"/>
            <a:chExt cx="340" cy="340"/>
          </a:xfrm>
          <a:solidFill>
            <a:schemeClr val="accent2"/>
          </a:solidFill>
        </p:grpSpPr>
        <p:sp>
          <p:nvSpPr>
            <p:cNvPr id="612" name="Freeform 667">
              <a:extLst>
                <a:ext uri="{FF2B5EF4-FFF2-40B4-BE49-F238E27FC236}">
                  <a16:creationId xmlns:a16="http://schemas.microsoft.com/office/drawing/2014/main" id="{095A536E-BDC3-4473-A992-834C5D020A07}"/>
                </a:ext>
              </a:extLst>
            </p:cNvPr>
            <p:cNvSpPr>
              <a:spLocks/>
            </p:cNvSpPr>
            <p:nvPr/>
          </p:nvSpPr>
          <p:spPr bwMode="auto">
            <a:xfrm>
              <a:off x="7418" y="2779"/>
              <a:ext cx="177" cy="170"/>
            </a:xfrm>
            <a:custGeom>
              <a:avLst/>
              <a:gdLst>
                <a:gd name="T0" fmla="*/ 267 w 267"/>
                <a:gd name="T1" fmla="*/ 128 h 256"/>
                <a:gd name="T2" fmla="*/ 139 w 267"/>
                <a:gd name="T3" fmla="*/ 256 h 256"/>
                <a:gd name="T4" fmla="*/ 11 w 267"/>
                <a:gd name="T5" fmla="*/ 128 h 256"/>
                <a:gd name="T6" fmla="*/ 35 w 267"/>
                <a:gd name="T7" fmla="*/ 53 h 256"/>
                <a:gd name="T8" fmla="*/ 11 w 267"/>
                <a:gd name="T9" fmla="*/ 53 h 256"/>
                <a:gd name="T10" fmla="*/ 0 w 267"/>
                <a:gd name="T11" fmla="*/ 42 h 256"/>
                <a:gd name="T12" fmla="*/ 11 w 267"/>
                <a:gd name="T13" fmla="*/ 32 h 256"/>
                <a:gd name="T14" fmla="*/ 64 w 267"/>
                <a:gd name="T15" fmla="*/ 32 h 256"/>
                <a:gd name="T16" fmla="*/ 75 w 267"/>
                <a:gd name="T17" fmla="*/ 42 h 256"/>
                <a:gd name="T18" fmla="*/ 75 w 267"/>
                <a:gd name="T19" fmla="*/ 96 h 256"/>
                <a:gd name="T20" fmla="*/ 64 w 267"/>
                <a:gd name="T21" fmla="*/ 106 h 256"/>
                <a:gd name="T22" fmla="*/ 53 w 267"/>
                <a:gd name="T23" fmla="*/ 96 h 256"/>
                <a:gd name="T24" fmla="*/ 53 w 267"/>
                <a:gd name="T25" fmla="*/ 64 h 256"/>
                <a:gd name="T26" fmla="*/ 32 w 267"/>
                <a:gd name="T27" fmla="*/ 128 h 256"/>
                <a:gd name="T28" fmla="*/ 139 w 267"/>
                <a:gd name="T29" fmla="*/ 234 h 256"/>
                <a:gd name="T30" fmla="*/ 245 w 267"/>
                <a:gd name="T31" fmla="*/ 128 h 256"/>
                <a:gd name="T32" fmla="*/ 139 w 267"/>
                <a:gd name="T33" fmla="*/ 21 h 256"/>
                <a:gd name="T34" fmla="*/ 128 w 267"/>
                <a:gd name="T35" fmla="*/ 10 h 256"/>
                <a:gd name="T36" fmla="*/ 139 w 267"/>
                <a:gd name="T37" fmla="*/ 0 h 256"/>
                <a:gd name="T38" fmla="*/ 267 w 267"/>
                <a:gd name="T3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7" h="256">
                  <a:moveTo>
                    <a:pt x="267" y="128"/>
                  </a:moveTo>
                  <a:cubicBezTo>
                    <a:pt x="267" y="198"/>
                    <a:pt x="209" y="256"/>
                    <a:pt x="139" y="256"/>
                  </a:cubicBezTo>
                  <a:cubicBezTo>
                    <a:pt x="68" y="256"/>
                    <a:pt x="11" y="198"/>
                    <a:pt x="11" y="128"/>
                  </a:cubicBezTo>
                  <a:cubicBezTo>
                    <a:pt x="11" y="101"/>
                    <a:pt x="19" y="75"/>
                    <a:pt x="35" y="53"/>
                  </a:cubicBezTo>
                  <a:cubicBezTo>
                    <a:pt x="11" y="53"/>
                    <a:pt x="11" y="53"/>
                    <a:pt x="11" y="53"/>
                  </a:cubicBezTo>
                  <a:cubicBezTo>
                    <a:pt x="5" y="53"/>
                    <a:pt x="0" y="48"/>
                    <a:pt x="0" y="42"/>
                  </a:cubicBezTo>
                  <a:cubicBezTo>
                    <a:pt x="0" y="36"/>
                    <a:pt x="5" y="32"/>
                    <a:pt x="11" y="32"/>
                  </a:cubicBezTo>
                  <a:cubicBezTo>
                    <a:pt x="64" y="32"/>
                    <a:pt x="64" y="32"/>
                    <a:pt x="64" y="32"/>
                  </a:cubicBezTo>
                  <a:cubicBezTo>
                    <a:pt x="70" y="32"/>
                    <a:pt x="75" y="36"/>
                    <a:pt x="75" y="42"/>
                  </a:cubicBezTo>
                  <a:cubicBezTo>
                    <a:pt x="75" y="96"/>
                    <a:pt x="75" y="96"/>
                    <a:pt x="75" y="96"/>
                  </a:cubicBezTo>
                  <a:cubicBezTo>
                    <a:pt x="75" y="102"/>
                    <a:pt x="70" y="106"/>
                    <a:pt x="64" y="106"/>
                  </a:cubicBezTo>
                  <a:cubicBezTo>
                    <a:pt x="58" y="106"/>
                    <a:pt x="53" y="102"/>
                    <a:pt x="53" y="96"/>
                  </a:cubicBezTo>
                  <a:cubicBezTo>
                    <a:pt x="53" y="64"/>
                    <a:pt x="53" y="64"/>
                    <a:pt x="53" y="64"/>
                  </a:cubicBezTo>
                  <a:cubicBezTo>
                    <a:pt x="40" y="82"/>
                    <a:pt x="32" y="104"/>
                    <a:pt x="32" y="128"/>
                  </a:cubicBezTo>
                  <a:cubicBezTo>
                    <a:pt x="32" y="186"/>
                    <a:pt x="80" y="234"/>
                    <a:pt x="139" y="234"/>
                  </a:cubicBezTo>
                  <a:cubicBezTo>
                    <a:pt x="197" y="234"/>
                    <a:pt x="245" y="186"/>
                    <a:pt x="245" y="128"/>
                  </a:cubicBezTo>
                  <a:cubicBezTo>
                    <a:pt x="245" y="69"/>
                    <a:pt x="197" y="21"/>
                    <a:pt x="139" y="21"/>
                  </a:cubicBezTo>
                  <a:cubicBezTo>
                    <a:pt x="133" y="21"/>
                    <a:pt x="128" y="16"/>
                    <a:pt x="128" y="10"/>
                  </a:cubicBezTo>
                  <a:cubicBezTo>
                    <a:pt x="128" y="4"/>
                    <a:pt x="133" y="0"/>
                    <a:pt x="139" y="0"/>
                  </a:cubicBezTo>
                  <a:cubicBezTo>
                    <a:pt x="209" y="0"/>
                    <a:pt x="267" y="57"/>
                    <a:pt x="267"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3" name="Freeform 668">
              <a:extLst>
                <a:ext uri="{FF2B5EF4-FFF2-40B4-BE49-F238E27FC236}">
                  <a16:creationId xmlns:a16="http://schemas.microsoft.com/office/drawing/2014/main" id="{930C819D-748C-42EC-8122-F9BF6B21A25A}"/>
                </a:ext>
              </a:extLst>
            </p:cNvPr>
            <p:cNvSpPr>
              <a:spLocks noEditPoints="1"/>
            </p:cNvSpPr>
            <p:nvPr/>
          </p:nvSpPr>
          <p:spPr bwMode="auto">
            <a:xfrm>
              <a:off x="7340" y="26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4" name="Freeform 672">
            <a:extLst>
              <a:ext uri="{FF2B5EF4-FFF2-40B4-BE49-F238E27FC236}">
                <a16:creationId xmlns:a16="http://schemas.microsoft.com/office/drawing/2014/main" id="{9DE9F303-B5FD-4CEF-8FD2-98E839A4947A}"/>
              </a:ext>
            </a:extLst>
          </p:cNvPr>
          <p:cNvSpPr>
            <a:spLocks noChangeAspect="1" noEditPoints="1"/>
          </p:cNvSpPr>
          <p:nvPr/>
        </p:nvSpPr>
        <p:spPr bwMode="auto">
          <a:xfrm>
            <a:off x="5682080" y="4097620"/>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84 h 512"/>
              <a:gd name="T12" fmla="*/ 128 w 512"/>
              <a:gd name="T13" fmla="*/ 256 h 512"/>
              <a:gd name="T14" fmla="*/ 152 w 512"/>
              <a:gd name="T15" fmla="*/ 181 h 512"/>
              <a:gd name="T16" fmla="*/ 128 w 512"/>
              <a:gd name="T17" fmla="*/ 181 h 512"/>
              <a:gd name="T18" fmla="*/ 117 w 512"/>
              <a:gd name="T19" fmla="*/ 170 h 512"/>
              <a:gd name="T20" fmla="*/ 128 w 512"/>
              <a:gd name="T21" fmla="*/ 160 h 512"/>
              <a:gd name="T22" fmla="*/ 181 w 512"/>
              <a:gd name="T23" fmla="*/ 160 h 512"/>
              <a:gd name="T24" fmla="*/ 192 w 512"/>
              <a:gd name="T25" fmla="*/ 170 h 512"/>
              <a:gd name="T26" fmla="*/ 192 w 512"/>
              <a:gd name="T27" fmla="*/ 224 h 512"/>
              <a:gd name="T28" fmla="*/ 181 w 512"/>
              <a:gd name="T29" fmla="*/ 234 h 512"/>
              <a:gd name="T30" fmla="*/ 170 w 512"/>
              <a:gd name="T31" fmla="*/ 224 h 512"/>
              <a:gd name="T32" fmla="*/ 170 w 512"/>
              <a:gd name="T33" fmla="*/ 192 h 512"/>
              <a:gd name="T34" fmla="*/ 149 w 512"/>
              <a:gd name="T35" fmla="*/ 256 h 512"/>
              <a:gd name="T36" fmla="*/ 256 w 512"/>
              <a:gd name="T37" fmla="*/ 362 h 512"/>
              <a:gd name="T38" fmla="*/ 362 w 512"/>
              <a:gd name="T39" fmla="*/ 256 h 512"/>
              <a:gd name="T40" fmla="*/ 256 w 512"/>
              <a:gd name="T41" fmla="*/ 149 h 512"/>
              <a:gd name="T42" fmla="*/ 245 w 512"/>
              <a:gd name="T43" fmla="*/ 138 h 512"/>
              <a:gd name="T44" fmla="*/ 256 w 512"/>
              <a:gd name="T45" fmla="*/ 128 h 512"/>
              <a:gd name="T46" fmla="*/ 384 w 512"/>
              <a:gd name="T47" fmla="*/ 256 h 512"/>
              <a:gd name="T48" fmla="*/ 256 w 512"/>
              <a:gd name="T4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84"/>
                </a:moveTo>
                <a:cubicBezTo>
                  <a:pt x="185" y="384"/>
                  <a:pt x="128" y="326"/>
                  <a:pt x="128" y="256"/>
                </a:cubicBezTo>
                <a:cubicBezTo>
                  <a:pt x="128" y="229"/>
                  <a:pt x="136" y="203"/>
                  <a:pt x="152" y="181"/>
                </a:cubicBezTo>
                <a:cubicBezTo>
                  <a:pt x="128" y="181"/>
                  <a:pt x="128" y="181"/>
                  <a:pt x="128" y="181"/>
                </a:cubicBezTo>
                <a:cubicBezTo>
                  <a:pt x="122" y="181"/>
                  <a:pt x="117" y="176"/>
                  <a:pt x="117" y="170"/>
                </a:cubicBezTo>
                <a:cubicBezTo>
                  <a:pt x="117" y="164"/>
                  <a:pt x="122" y="160"/>
                  <a:pt x="128" y="160"/>
                </a:cubicBezTo>
                <a:cubicBezTo>
                  <a:pt x="181" y="160"/>
                  <a:pt x="181" y="160"/>
                  <a:pt x="181" y="160"/>
                </a:cubicBezTo>
                <a:cubicBezTo>
                  <a:pt x="187" y="160"/>
                  <a:pt x="192" y="164"/>
                  <a:pt x="192" y="170"/>
                </a:cubicBezTo>
                <a:cubicBezTo>
                  <a:pt x="192" y="224"/>
                  <a:pt x="192" y="224"/>
                  <a:pt x="192" y="224"/>
                </a:cubicBezTo>
                <a:cubicBezTo>
                  <a:pt x="192" y="230"/>
                  <a:pt x="187" y="234"/>
                  <a:pt x="181" y="234"/>
                </a:cubicBezTo>
                <a:cubicBezTo>
                  <a:pt x="175" y="234"/>
                  <a:pt x="170" y="230"/>
                  <a:pt x="170" y="224"/>
                </a:cubicBezTo>
                <a:cubicBezTo>
                  <a:pt x="170" y="192"/>
                  <a:pt x="170" y="192"/>
                  <a:pt x="170" y="192"/>
                </a:cubicBezTo>
                <a:cubicBezTo>
                  <a:pt x="157" y="210"/>
                  <a:pt x="149" y="232"/>
                  <a:pt x="149" y="256"/>
                </a:cubicBezTo>
                <a:cubicBezTo>
                  <a:pt x="149" y="314"/>
                  <a:pt x="197" y="362"/>
                  <a:pt x="256" y="362"/>
                </a:cubicBezTo>
                <a:cubicBezTo>
                  <a:pt x="314" y="362"/>
                  <a:pt x="362" y="314"/>
                  <a:pt x="362" y="256"/>
                </a:cubicBezTo>
                <a:cubicBezTo>
                  <a:pt x="362" y="197"/>
                  <a:pt x="314" y="149"/>
                  <a:pt x="256" y="149"/>
                </a:cubicBezTo>
                <a:cubicBezTo>
                  <a:pt x="250" y="149"/>
                  <a:pt x="245" y="144"/>
                  <a:pt x="245" y="138"/>
                </a:cubicBezTo>
                <a:cubicBezTo>
                  <a:pt x="245" y="132"/>
                  <a:pt x="250" y="128"/>
                  <a:pt x="256" y="128"/>
                </a:cubicBezTo>
                <a:cubicBezTo>
                  <a:pt x="326" y="128"/>
                  <a:pt x="384" y="185"/>
                  <a:pt x="384" y="256"/>
                </a:cubicBezTo>
                <a:cubicBezTo>
                  <a:pt x="384" y="326"/>
                  <a:pt x="326" y="384"/>
                  <a:pt x="256" y="3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5" name="Group 724">
            <a:extLst>
              <a:ext uri="{FF2B5EF4-FFF2-40B4-BE49-F238E27FC236}">
                <a16:creationId xmlns:a16="http://schemas.microsoft.com/office/drawing/2014/main" id="{6AE67CB5-05B4-4826-AFD5-A612F146CBB8}"/>
              </a:ext>
            </a:extLst>
          </p:cNvPr>
          <p:cNvGrpSpPr>
            <a:grpSpLocks noChangeAspect="1"/>
          </p:cNvGrpSpPr>
          <p:nvPr/>
        </p:nvGrpSpPr>
        <p:grpSpPr bwMode="auto">
          <a:xfrm>
            <a:off x="8737560" y="3304893"/>
            <a:ext cx="369021" cy="370106"/>
            <a:chOff x="2637" y="2702"/>
            <a:chExt cx="340" cy="341"/>
          </a:xfrm>
          <a:solidFill>
            <a:schemeClr val="accent2"/>
          </a:solidFill>
        </p:grpSpPr>
        <p:sp>
          <p:nvSpPr>
            <p:cNvPr id="616" name="Freeform 725">
              <a:extLst>
                <a:ext uri="{FF2B5EF4-FFF2-40B4-BE49-F238E27FC236}">
                  <a16:creationId xmlns:a16="http://schemas.microsoft.com/office/drawing/2014/main" id="{B80C7278-2C8F-4A60-93E3-777A5EB15E4B}"/>
                </a:ext>
              </a:extLst>
            </p:cNvPr>
            <p:cNvSpPr>
              <a:spLocks noEditPoints="1"/>
            </p:cNvSpPr>
            <p:nvPr/>
          </p:nvSpPr>
          <p:spPr bwMode="auto">
            <a:xfrm>
              <a:off x="2637" y="270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7" name="Freeform 726">
              <a:extLst>
                <a:ext uri="{FF2B5EF4-FFF2-40B4-BE49-F238E27FC236}">
                  <a16:creationId xmlns:a16="http://schemas.microsoft.com/office/drawing/2014/main" id="{0541632E-6373-4ED7-906C-5447CDA49620}"/>
                </a:ext>
              </a:extLst>
            </p:cNvPr>
            <p:cNvSpPr>
              <a:spLocks/>
            </p:cNvSpPr>
            <p:nvPr/>
          </p:nvSpPr>
          <p:spPr bwMode="auto">
            <a:xfrm>
              <a:off x="2700" y="2793"/>
              <a:ext cx="213" cy="129"/>
            </a:xfrm>
            <a:custGeom>
              <a:avLst/>
              <a:gdLst>
                <a:gd name="T0" fmla="*/ 246 w 321"/>
                <a:gd name="T1" fmla="*/ 44 h 193"/>
                <a:gd name="T2" fmla="*/ 37 w 321"/>
                <a:gd name="T3" fmla="*/ 44 h 193"/>
                <a:gd name="T4" fmla="*/ 62 w 321"/>
                <a:gd name="T5" fmla="*/ 20 h 193"/>
                <a:gd name="T6" fmla="*/ 62 w 321"/>
                <a:gd name="T7" fmla="*/ 4 h 193"/>
                <a:gd name="T8" fmla="*/ 46 w 321"/>
                <a:gd name="T9" fmla="*/ 4 h 193"/>
                <a:gd name="T10" fmla="*/ 4 w 321"/>
                <a:gd name="T11" fmla="*/ 47 h 193"/>
                <a:gd name="T12" fmla="*/ 4 w 321"/>
                <a:gd name="T13" fmla="*/ 62 h 193"/>
                <a:gd name="T14" fmla="*/ 46 w 321"/>
                <a:gd name="T15" fmla="*/ 105 h 193"/>
                <a:gd name="T16" fmla="*/ 54 w 321"/>
                <a:gd name="T17" fmla="*/ 108 h 193"/>
                <a:gd name="T18" fmla="*/ 62 w 321"/>
                <a:gd name="T19" fmla="*/ 105 h 193"/>
                <a:gd name="T20" fmla="*/ 62 w 321"/>
                <a:gd name="T21" fmla="*/ 90 h 193"/>
                <a:gd name="T22" fmla="*/ 37 w 321"/>
                <a:gd name="T23" fmla="*/ 65 h 193"/>
                <a:gd name="T24" fmla="*/ 246 w 321"/>
                <a:gd name="T25" fmla="*/ 65 h 193"/>
                <a:gd name="T26" fmla="*/ 299 w 321"/>
                <a:gd name="T27" fmla="*/ 119 h 193"/>
                <a:gd name="T28" fmla="*/ 246 w 321"/>
                <a:gd name="T29" fmla="*/ 172 h 193"/>
                <a:gd name="T30" fmla="*/ 33 w 321"/>
                <a:gd name="T31" fmla="*/ 172 h 193"/>
                <a:gd name="T32" fmla="*/ 22 w 321"/>
                <a:gd name="T33" fmla="*/ 183 h 193"/>
                <a:gd name="T34" fmla="*/ 33 w 321"/>
                <a:gd name="T35" fmla="*/ 193 h 193"/>
                <a:gd name="T36" fmla="*/ 246 w 321"/>
                <a:gd name="T37" fmla="*/ 193 h 193"/>
                <a:gd name="T38" fmla="*/ 321 w 321"/>
                <a:gd name="T39" fmla="*/ 119 h 193"/>
                <a:gd name="T40" fmla="*/ 246 w 321"/>
                <a:gd name="T41" fmla="*/ 4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1" h="193">
                  <a:moveTo>
                    <a:pt x="246" y="44"/>
                  </a:moveTo>
                  <a:cubicBezTo>
                    <a:pt x="37" y="44"/>
                    <a:pt x="37" y="44"/>
                    <a:pt x="37" y="44"/>
                  </a:cubicBezTo>
                  <a:cubicBezTo>
                    <a:pt x="62" y="20"/>
                    <a:pt x="62" y="20"/>
                    <a:pt x="62" y="20"/>
                  </a:cubicBezTo>
                  <a:cubicBezTo>
                    <a:pt x="66" y="15"/>
                    <a:pt x="66" y="9"/>
                    <a:pt x="62" y="4"/>
                  </a:cubicBezTo>
                  <a:cubicBezTo>
                    <a:pt x="57" y="0"/>
                    <a:pt x="51" y="0"/>
                    <a:pt x="46" y="4"/>
                  </a:cubicBezTo>
                  <a:cubicBezTo>
                    <a:pt x="4" y="47"/>
                    <a:pt x="4" y="47"/>
                    <a:pt x="4" y="47"/>
                  </a:cubicBezTo>
                  <a:cubicBezTo>
                    <a:pt x="0" y="51"/>
                    <a:pt x="0" y="58"/>
                    <a:pt x="4" y="62"/>
                  </a:cubicBezTo>
                  <a:cubicBezTo>
                    <a:pt x="46" y="105"/>
                    <a:pt x="46" y="105"/>
                    <a:pt x="46" y="105"/>
                  </a:cubicBezTo>
                  <a:cubicBezTo>
                    <a:pt x="49" y="107"/>
                    <a:pt x="51" y="108"/>
                    <a:pt x="54" y="108"/>
                  </a:cubicBezTo>
                  <a:cubicBezTo>
                    <a:pt x="57" y="108"/>
                    <a:pt x="59" y="107"/>
                    <a:pt x="62" y="105"/>
                  </a:cubicBezTo>
                  <a:cubicBezTo>
                    <a:pt x="66" y="101"/>
                    <a:pt x="66" y="94"/>
                    <a:pt x="62" y="90"/>
                  </a:cubicBezTo>
                  <a:cubicBezTo>
                    <a:pt x="37" y="65"/>
                    <a:pt x="37" y="65"/>
                    <a:pt x="37" y="65"/>
                  </a:cubicBezTo>
                  <a:cubicBezTo>
                    <a:pt x="246" y="65"/>
                    <a:pt x="246" y="65"/>
                    <a:pt x="246" y="65"/>
                  </a:cubicBezTo>
                  <a:cubicBezTo>
                    <a:pt x="275" y="65"/>
                    <a:pt x="299" y="89"/>
                    <a:pt x="299" y="119"/>
                  </a:cubicBezTo>
                  <a:cubicBezTo>
                    <a:pt x="299" y="148"/>
                    <a:pt x="275" y="172"/>
                    <a:pt x="246" y="172"/>
                  </a:cubicBezTo>
                  <a:cubicBezTo>
                    <a:pt x="33" y="172"/>
                    <a:pt x="33" y="172"/>
                    <a:pt x="33" y="172"/>
                  </a:cubicBezTo>
                  <a:cubicBezTo>
                    <a:pt x="27" y="172"/>
                    <a:pt x="22" y="177"/>
                    <a:pt x="22" y="183"/>
                  </a:cubicBezTo>
                  <a:cubicBezTo>
                    <a:pt x="22" y="189"/>
                    <a:pt x="27" y="193"/>
                    <a:pt x="33" y="193"/>
                  </a:cubicBezTo>
                  <a:cubicBezTo>
                    <a:pt x="246" y="193"/>
                    <a:pt x="246" y="193"/>
                    <a:pt x="246" y="193"/>
                  </a:cubicBezTo>
                  <a:cubicBezTo>
                    <a:pt x="287" y="193"/>
                    <a:pt x="321" y="160"/>
                    <a:pt x="321" y="119"/>
                  </a:cubicBezTo>
                  <a:cubicBezTo>
                    <a:pt x="321" y="77"/>
                    <a:pt x="287" y="44"/>
                    <a:pt x="246"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8" name="Freeform 730">
            <a:extLst>
              <a:ext uri="{FF2B5EF4-FFF2-40B4-BE49-F238E27FC236}">
                <a16:creationId xmlns:a16="http://schemas.microsoft.com/office/drawing/2014/main" id="{BA7E949E-73E3-4FDF-B760-79BB01E1F05A}"/>
              </a:ext>
            </a:extLst>
          </p:cNvPr>
          <p:cNvSpPr>
            <a:spLocks noChangeAspect="1" noEditPoints="1"/>
          </p:cNvSpPr>
          <p:nvPr/>
        </p:nvSpPr>
        <p:spPr bwMode="auto">
          <a:xfrm>
            <a:off x="8300847" y="330489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1 w 512"/>
              <a:gd name="T11" fmla="*/ 330 h 512"/>
              <a:gd name="T12" fmla="*/ 128 w 512"/>
              <a:gd name="T13" fmla="*/ 330 h 512"/>
              <a:gd name="T14" fmla="*/ 117 w 512"/>
              <a:gd name="T15" fmla="*/ 320 h 512"/>
              <a:gd name="T16" fmla="*/ 128 w 512"/>
              <a:gd name="T17" fmla="*/ 309 h 512"/>
              <a:gd name="T18" fmla="*/ 341 w 512"/>
              <a:gd name="T19" fmla="*/ 309 h 512"/>
              <a:gd name="T20" fmla="*/ 394 w 512"/>
              <a:gd name="T21" fmla="*/ 256 h 512"/>
              <a:gd name="T22" fmla="*/ 341 w 512"/>
              <a:gd name="T23" fmla="*/ 202 h 512"/>
              <a:gd name="T24" fmla="*/ 132 w 512"/>
              <a:gd name="T25" fmla="*/ 202 h 512"/>
              <a:gd name="T26" fmla="*/ 157 w 512"/>
              <a:gd name="T27" fmla="*/ 227 h 512"/>
              <a:gd name="T28" fmla="*/ 157 w 512"/>
              <a:gd name="T29" fmla="*/ 242 h 512"/>
              <a:gd name="T30" fmla="*/ 149 w 512"/>
              <a:gd name="T31" fmla="*/ 245 h 512"/>
              <a:gd name="T32" fmla="*/ 141 w 512"/>
              <a:gd name="T33" fmla="*/ 242 h 512"/>
              <a:gd name="T34" fmla="*/ 99 w 512"/>
              <a:gd name="T35" fmla="*/ 199 h 512"/>
              <a:gd name="T36" fmla="*/ 99 w 512"/>
              <a:gd name="T37" fmla="*/ 184 h 512"/>
              <a:gd name="T38" fmla="*/ 141 w 512"/>
              <a:gd name="T39" fmla="*/ 141 h 512"/>
              <a:gd name="T40" fmla="*/ 157 w 512"/>
              <a:gd name="T41" fmla="*/ 141 h 512"/>
              <a:gd name="T42" fmla="*/ 157 w 512"/>
              <a:gd name="T43" fmla="*/ 157 h 512"/>
              <a:gd name="T44" fmla="*/ 132 w 512"/>
              <a:gd name="T45" fmla="*/ 181 h 512"/>
              <a:gd name="T46" fmla="*/ 341 w 512"/>
              <a:gd name="T47" fmla="*/ 181 h 512"/>
              <a:gd name="T48" fmla="*/ 416 w 512"/>
              <a:gd name="T49" fmla="*/ 256 h 512"/>
              <a:gd name="T50" fmla="*/ 341 w 512"/>
              <a:gd name="T51"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330"/>
                </a:moveTo>
                <a:cubicBezTo>
                  <a:pt x="128" y="330"/>
                  <a:pt x="128" y="330"/>
                  <a:pt x="128" y="330"/>
                </a:cubicBezTo>
                <a:cubicBezTo>
                  <a:pt x="122" y="330"/>
                  <a:pt x="117" y="326"/>
                  <a:pt x="117" y="320"/>
                </a:cubicBezTo>
                <a:cubicBezTo>
                  <a:pt x="117" y="314"/>
                  <a:pt x="122" y="309"/>
                  <a:pt x="128" y="309"/>
                </a:cubicBezTo>
                <a:cubicBezTo>
                  <a:pt x="341" y="309"/>
                  <a:pt x="341" y="309"/>
                  <a:pt x="341" y="309"/>
                </a:cubicBezTo>
                <a:cubicBezTo>
                  <a:pt x="370" y="309"/>
                  <a:pt x="394" y="285"/>
                  <a:pt x="394" y="256"/>
                </a:cubicBezTo>
                <a:cubicBezTo>
                  <a:pt x="394" y="226"/>
                  <a:pt x="370" y="202"/>
                  <a:pt x="341" y="202"/>
                </a:cubicBezTo>
                <a:cubicBezTo>
                  <a:pt x="132" y="202"/>
                  <a:pt x="132" y="202"/>
                  <a:pt x="132" y="202"/>
                </a:cubicBezTo>
                <a:cubicBezTo>
                  <a:pt x="157" y="227"/>
                  <a:pt x="157" y="227"/>
                  <a:pt x="157" y="227"/>
                </a:cubicBezTo>
                <a:cubicBezTo>
                  <a:pt x="161" y="231"/>
                  <a:pt x="161" y="238"/>
                  <a:pt x="157" y="242"/>
                </a:cubicBezTo>
                <a:cubicBezTo>
                  <a:pt x="154" y="244"/>
                  <a:pt x="152" y="245"/>
                  <a:pt x="149" y="245"/>
                </a:cubicBezTo>
                <a:cubicBezTo>
                  <a:pt x="146" y="245"/>
                  <a:pt x="144" y="244"/>
                  <a:pt x="141" y="242"/>
                </a:cubicBezTo>
                <a:cubicBezTo>
                  <a:pt x="99" y="199"/>
                  <a:pt x="99" y="199"/>
                  <a:pt x="99" y="199"/>
                </a:cubicBezTo>
                <a:cubicBezTo>
                  <a:pt x="95" y="195"/>
                  <a:pt x="95" y="188"/>
                  <a:pt x="99" y="184"/>
                </a:cubicBezTo>
                <a:cubicBezTo>
                  <a:pt x="141" y="141"/>
                  <a:pt x="141" y="141"/>
                  <a:pt x="141" y="141"/>
                </a:cubicBezTo>
                <a:cubicBezTo>
                  <a:pt x="146" y="137"/>
                  <a:pt x="152" y="137"/>
                  <a:pt x="157" y="141"/>
                </a:cubicBezTo>
                <a:cubicBezTo>
                  <a:pt x="161" y="146"/>
                  <a:pt x="161" y="152"/>
                  <a:pt x="157" y="157"/>
                </a:cubicBezTo>
                <a:cubicBezTo>
                  <a:pt x="132" y="181"/>
                  <a:pt x="132" y="181"/>
                  <a:pt x="132" y="181"/>
                </a:cubicBezTo>
                <a:cubicBezTo>
                  <a:pt x="341" y="181"/>
                  <a:pt x="341" y="181"/>
                  <a:pt x="341" y="181"/>
                </a:cubicBezTo>
                <a:cubicBezTo>
                  <a:pt x="382" y="181"/>
                  <a:pt x="416" y="214"/>
                  <a:pt x="416" y="256"/>
                </a:cubicBezTo>
                <a:cubicBezTo>
                  <a:pt x="416" y="297"/>
                  <a:pt x="382" y="330"/>
                  <a:pt x="341" y="3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9" name="Freeform 734">
            <a:extLst>
              <a:ext uri="{FF2B5EF4-FFF2-40B4-BE49-F238E27FC236}">
                <a16:creationId xmlns:a16="http://schemas.microsoft.com/office/drawing/2014/main" id="{E3533AA4-5A1D-49A0-9476-32ABE6741CDD}"/>
              </a:ext>
            </a:extLst>
          </p:cNvPr>
          <p:cNvSpPr>
            <a:spLocks noChangeAspect="1" noEditPoints="1"/>
          </p:cNvSpPr>
          <p:nvPr/>
        </p:nvSpPr>
        <p:spPr bwMode="auto">
          <a:xfrm>
            <a:off x="6987226" y="4097620"/>
            <a:ext cx="370106"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93 w 512"/>
              <a:gd name="T21" fmla="*/ 112 h 512"/>
              <a:gd name="T22" fmla="*/ 276 w 512"/>
              <a:gd name="T23" fmla="*/ 129 h 512"/>
              <a:gd name="T24" fmla="*/ 346 w 512"/>
              <a:gd name="T25" fmla="*/ 165 h 512"/>
              <a:gd name="T26" fmla="*/ 346 w 512"/>
              <a:gd name="T27" fmla="*/ 346 h 512"/>
              <a:gd name="T28" fmla="*/ 165 w 512"/>
              <a:gd name="T29" fmla="*/ 346 h 512"/>
              <a:gd name="T30" fmla="*/ 165 w 512"/>
              <a:gd name="T31" fmla="*/ 165 h 512"/>
              <a:gd name="T32" fmla="*/ 180 w 512"/>
              <a:gd name="T33" fmla="*/ 165 h 512"/>
              <a:gd name="T34" fmla="*/ 180 w 512"/>
              <a:gd name="T35" fmla="*/ 180 h 512"/>
              <a:gd name="T36" fmla="*/ 180 w 512"/>
              <a:gd name="T37" fmla="*/ 331 h 512"/>
              <a:gd name="T38" fmla="*/ 331 w 512"/>
              <a:gd name="T39" fmla="*/ 331 h 512"/>
              <a:gd name="T40" fmla="*/ 331 w 512"/>
              <a:gd name="T41" fmla="*/ 180 h 512"/>
              <a:gd name="T42" fmla="*/ 271 w 512"/>
              <a:gd name="T43" fmla="*/ 150 h 512"/>
              <a:gd name="T44" fmla="*/ 293 w 512"/>
              <a:gd name="T45" fmla="*/ 173 h 512"/>
              <a:gd name="T46" fmla="*/ 293 w 512"/>
              <a:gd name="T47" fmla="*/ 188 h 512"/>
              <a:gd name="T48" fmla="*/ 278 w 512"/>
              <a:gd name="T49" fmla="*/ 188 h 512"/>
              <a:gd name="T50" fmla="*/ 241 w 512"/>
              <a:gd name="T51" fmla="*/ 150 h 512"/>
              <a:gd name="T52" fmla="*/ 241 w 512"/>
              <a:gd name="T53" fmla="*/ 135 h 512"/>
              <a:gd name="T54" fmla="*/ 278 w 512"/>
              <a:gd name="T55" fmla="*/ 97 h 512"/>
              <a:gd name="T56" fmla="*/ 293 w 512"/>
              <a:gd name="T57" fmla="*/ 97 h 512"/>
              <a:gd name="T58" fmla="*/ 293 w 512"/>
              <a:gd name="T59" fmla="*/ 1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3" y="112"/>
                </a:moveTo>
                <a:cubicBezTo>
                  <a:pt x="276" y="129"/>
                  <a:pt x="276" y="129"/>
                  <a:pt x="276" y="129"/>
                </a:cubicBezTo>
                <a:cubicBezTo>
                  <a:pt x="302" y="134"/>
                  <a:pt x="327" y="146"/>
                  <a:pt x="346" y="165"/>
                </a:cubicBezTo>
                <a:cubicBezTo>
                  <a:pt x="396" y="215"/>
                  <a:pt x="396" y="296"/>
                  <a:pt x="346" y="346"/>
                </a:cubicBezTo>
                <a:cubicBezTo>
                  <a:pt x="296" y="396"/>
                  <a:pt x="215" y="396"/>
                  <a:pt x="165" y="346"/>
                </a:cubicBezTo>
                <a:cubicBezTo>
                  <a:pt x="115" y="296"/>
                  <a:pt x="115" y="215"/>
                  <a:pt x="165" y="165"/>
                </a:cubicBezTo>
                <a:cubicBezTo>
                  <a:pt x="169" y="161"/>
                  <a:pt x="176" y="161"/>
                  <a:pt x="180" y="165"/>
                </a:cubicBezTo>
                <a:cubicBezTo>
                  <a:pt x="184" y="169"/>
                  <a:pt x="184" y="176"/>
                  <a:pt x="180" y="180"/>
                </a:cubicBezTo>
                <a:cubicBezTo>
                  <a:pt x="139" y="222"/>
                  <a:pt x="139" y="290"/>
                  <a:pt x="180" y="331"/>
                </a:cubicBezTo>
                <a:cubicBezTo>
                  <a:pt x="222" y="373"/>
                  <a:pt x="290" y="373"/>
                  <a:pt x="331" y="331"/>
                </a:cubicBezTo>
                <a:cubicBezTo>
                  <a:pt x="373" y="290"/>
                  <a:pt x="373" y="222"/>
                  <a:pt x="331" y="180"/>
                </a:cubicBezTo>
                <a:cubicBezTo>
                  <a:pt x="315" y="164"/>
                  <a:pt x="291" y="156"/>
                  <a:pt x="271" y="150"/>
                </a:cubicBezTo>
                <a:cubicBezTo>
                  <a:pt x="293" y="173"/>
                  <a:pt x="293" y="173"/>
                  <a:pt x="293" y="173"/>
                </a:cubicBezTo>
                <a:cubicBezTo>
                  <a:pt x="298" y="177"/>
                  <a:pt x="298" y="184"/>
                  <a:pt x="293" y="188"/>
                </a:cubicBezTo>
                <a:cubicBezTo>
                  <a:pt x="289" y="192"/>
                  <a:pt x="282" y="192"/>
                  <a:pt x="278" y="188"/>
                </a:cubicBezTo>
                <a:cubicBezTo>
                  <a:pt x="241" y="150"/>
                  <a:pt x="241" y="150"/>
                  <a:pt x="241" y="150"/>
                </a:cubicBezTo>
                <a:cubicBezTo>
                  <a:pt x="236" y="146"/>
                  <a:pt x="236" y="139"/>
                  <a:pt x="241" y="135"/>
                </a:cubicBezTo>
                <a:cubicBezTo>
                  <a:pt x="278" y="97"/>
                  <a:pt x="278" y="97"/>
                  <a:pt x="278" y="97"/>
                </a:cubicBezTo>
                <a:cubicBezTo>
                  <a:pt x="282" y="93"/>
                  <a:pt x="289" y="93"/>
                  <a:pt x="293" y="97"/>
                </a:cubicBezTo>
                <a:cubicBezTo>
                  <a:pt x="298" y="101"/>
                  <a:pt x="298" y="108"/>
                  <a:pt x="293" y="1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0" name="Freeform 738">
            <a:extLst>
              <a:ext uri="{FF2B5EF4-FFF2-40B4-BE49-F238E27FC236}">
                <a16:creationId xmlns:a16="http://schemas.microsoft.com/office/drawing/2014/main" id="{5B6FA276-6130-46FD-8E5E-E6C6D4506B5E}"/>
              </a:ext>
            </a:extLst>
          </p:cNvPr>
          <p:cNvSpPr>
            <a:spLocks noChangeAspect="1" noEditPoints="1"/>
          </p:cNvSpPr>
          <p:nvPr/>
        </p:nvSpPr>
        <p:spPr bwMode="auto">
          <a:xfrm>
            <a:off x="6552182" y="4097620"/>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6 w 512"/>
              <a:gd name="T11" fmla="*/ 346 h 512"/>
              <a:gd name="T12" fmla="*/ 165 w 512"/>
              <a:gd name="T13" fmla="*/ 346 h 512"/>
              <a:gd name="T14" fmla="*/ 165 w 512"/>
              <a:gd name="T15" fmla="*/ 165 h 512"/>
              <a:gd name="T16" fmla="*/ 180 w 512"/>
              <a:gd name="T17" fmla="*/ 165 h 512"/>
              <a:gd name="T18" fmla="*/ 180 w 512"/>
              <a:gd name="T19" fmla="*/ 180 h 512"/>
              <a:gd name="T20" fmla="*/ 180 w 512"/>
              <a:gd name="T21" fmla="*/ 331 h 512"/>
              <a:gd name="T22" fmla="*/ 331 w 512"/>
              <a:gd name="T23" fmla="*/ 331 h 512"/>
              <a:gd name="T24" fmla="*/ 331 w 512"/>
              <a:gd name="T25" fmla="*/ 180 h 512"/>
              <a:gd name="T26" fmla="*/ 271 w 512"/>
              <a:gd name="T27" fmla="*/ 150 h 512"/>
              <a:gd name="T28" fmla="*/ 293 w 512"/>
              <a:gd name="T29" fmla="*/ 173 h 512"/>
              <a:gd name="T30" fmla="*/ 293 w 512"/>
              <a:gd name="T31" fmla="*/ 188 h 512"/>
              <a:gd name="T32" fmla="*/ 278 w 512"/>
              <a:gd name="T33" fmla="*/ 188 h 512"/>
              <a:gd name="T34" fmla="*/ 241 w 512"/>
              <a:gd name="T35" fmla="*/ 150 h 512"/>
              <a:gd name="T36" fmla="*/ 241 w 512"/>
              <a:gd name="T37" fmla="*/ 135 h 512"/>
              <a:gd name="T38" fmla="*/ 278 w 512"/>
              <a:gd name="T39" fmla="*/ 97 h 512"/>
              <a:gd name="T40" fmla="*/ 293 w 512"/>
              <a:gd name="T41" fmla="*/ 97 h 512"/>
              <a:gd name="T42" fmla="*/ 293 w 512"/>
              <a:gd name="T43" fmla="*/ 112 h 512"/>
              <a:gd name="T44" fmla="*/ 276 w 512"/>
              <a:gd name="T45" fmla="*/ 129 h 512"/>
              <a:gd name="T46" fmla="*/ 346 w 512"/>
              <a:gd name="T47" fmla="*/ 165 h 512"/>
              <a:gd name="T48" fmla="*/ 346 w 512"/>
              <a:gd name="T49" fmla="*/ 3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6" y="346"/>
                </a:moveTo>
                <a:cubicBezTo>
                  <a:pt x="296" y="396"/>
                  <a:pt x="215" y="396"/>
                  <a:pt x="165" y="346"/>
                </a:cubicBezTo>
                <a:cubicBezTo>
                  <a:pt x="115" y="296"/>
                  <a:pt x="115" y="215"/>
                  <a:pt x="165" y="165"/>
                </a:cubicBezTo>
                <a:cubicBezTo>
                  <a:pt x="169" y="161"/>
                  <a:pt x="176" y="161"/>
                  <a:pt x="180" y="165"/>
                </a:cubicBezTo>
                <a:cubicBezTo>
                  <a:pt x="184" y="169"/>
                  <a:pt x="184" y="176"/>
                  <a:pt x="180" y="180"/>
                </a:cubicBezTo>
                <a:cubicBezTo>
                  <a:pt x="139" y="222"/>
                  <a:pt x="139" y="290"/>
                  <a:pt x="180" y="331"/>
                </a:cubicBezTo>
                <a:cubicBezTo>
                  <a:pt x="222" y="373"/>
                  <a:pt x="290" y="373"/>
                  <a:pt x="331" y="331"/>
                </a:cubicBezTo>
                <a:cubicBezTo>
                  <a:pt x="373" y="290"/>
                  <a:pt x="373" y="222"/>
                  <a:pt x="331" y="180"/>
                </a:cubicBezTo>
                <a:cubicBezTo>
                  <a:pt x="315" y="164"/>
                  <a:pt x="291" y="156"/>
                  <a:pt x="271" y="150"/>
                </a:cubicBezTo>
                <a:cubicBezTo>
                  <a:pt x="293" y="173"/>
                  <a:pt x="293" y="173"/>
                  <a:pt x="293" y="173"/>
                </a:cubicBezTo>
                <a:cubicBezTo>
                  <a:pt x="298" y="177"/>
                  <a:pt x="298" y="184"/>
                  <a:pt x="293" y="188"/>
                </a:cubicBezTo>
                <a:cubicBezTo>
                  <a:pt x="289" y="192"/>
                  <a:pt x="282" y="192"/>
                  <a:pt x="278" y="188"/>
                </a:cubicBezTo>
                <a:cubicBezTo>
                  <a:pt x="241" y="150"/>
                  <a:pt x="241" y="150"/>
                  <a:pt x="241" y="150"/>
                </a:cubicBezTo>
                <a:cubicBezTo>
                  <a:pt x="236" y="146"/>
                  <a:pt x="236" y="139"/>
                  <a:pt x="241" y="135"/>
                </a:cubicBezTo>
                <a:cubicBezTo>
                  <a:pt x="278" y="97"/>
                  <a:pt x="278" y="97"/>
                  <a:pt x="278" y="97"/>
                </a:cubicBezTo>
                <a:cubicBezTo>
                  <a:pt x="282" y="93"/>
                  <a:pt x="289" y="93"/>
                  <a:pt x="293" y="97"/>
                </a:cubicBezTo>
                <a:cubicBezTo>
                  <a:pt x="298" y="101"/>
                  <a:pt x="298" y="108"/>
                  <a:pt x="293" y="112"/>
                </a:cubicBezTo>
                <a:cubicBezTo>
                  <a:pt x="276" y="129"/>
                  <a:pt x="276" y="129"/>
                  <a:pt x="276" y="129"/>
                </a:cubicBezTo>
                <a:cubicBezTo>
                  <a:pt x="302" y="134"/>
                  <a:pt x="327" y="146"/>
                  <a:pt x="346" y="165"/>
                </a:cubicBezTo>
                <a:cubicBezTo>
                  <a:pt x="396" y="215"/>
                  <a:pt x="396" y="296"/>
                  <a:pt x="346" y="34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1" name="Freeform 374">
            <a:extLst>
              <a:ext uri="{FF2B5EF4-FFF2-40B4-BE49-F238E27FC236}">
                <a16:creationId xmlns:a16="http://schemas.microsoft.com/office/drawing/2014/main" id="{5DA7B8FE-F0B5-4C17-9339-D50D404219F2}"/>
              </a:ext>
            </a:extLst>
          </p:cNvPr>
          <p:cNvSpPr>
            <a:spLocks noChangeAspect="1" noEditPoints="1"/>
          </p:cNvSpPr>
          <p:nvPr/>
        </p:nvSpPr>
        <p:spPr bwMode="auto">
          <a:xfrm>
            <a:off x="10060135" y="2511225"/>
            <a:ext cx="367041" cy="3681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13 w 512"/>
              <a:gd name="T11" fmla="*/ 266 h 512"/>
              <a:gd name="T12" fmla="*/ 132 w 512"/>
              <a:gd name="T13" fmla="*/ 266 h 512"/>
              <a:gd name="T14" fmla="*/ 157 w 512"/>
              <a:gd name="T15" fmla="*/ 291 h 512"/>
              <a:gd name="T16" fmla="*/ 157 w 512"/>
              <a:gd name="T17" fmla="*/ 306 h 512"/>
              <a:gd name="T18" fmla="*/ 149 w 512"/>
              <a:gd name="T19" fmla="*/ 309 h 512"/>
              <a:gd name="T20" fmla="*/ 141 w 512"/>
              <a:gd name="T21" fmla="*/ 306 h 512"/>
              <a:gd name="T22" fmla="*/ 104 w 512"/>
              <a:gd name="T23" fmla="*/ 269 h 512"/>
              <a:gd name="T24" fmla="*/ 99 w 512"/>
              <a:gd name="T25" fmla="*/ 263 h 512"/>
              <a:gd name="T26" fmla="*/ 99 w 512"/>
              <a:gd name="T27" fmla="*/ 248 h 512"/>
              <a:gd name="T28" fmla="*/ 141 w 512"/>
              <a:gd name="T29" fmla="*/ 205 h 512"/>
              <a:gd name="T30" fmla="*/ 157 w 512"/>
              <a:gd name="T31" fmla="*/ 205 h 512"/>
              <a:gd name="T32" fmla="*/ 157 w 512"/>
              <a:gd name="T33" fmla="*/ 221 h 512"/>
              <a:gd name="T34" fmla="*/ 132 w 512"/>
              <a:gd name="T35" fmla="*/ 245 h 512"/>
              <a:gd name="T36" fmla="*/ 213 w 512"/>
              <a:gd name="T37" fmla="*/ 245 h 512"/>
              <a:gd name="T38" fmla="*/ 224 w 512"/>
              <a:gd name="T39" fmla="*/ 256 h 512"/>
              <a:gd name="T40" fmla="*/ 213 w 512"/>
              <a:gd name="T41" fmla="*/ 266 h 512"/>
              <a:gd name="T42" fmla="*/ 413 w 512"/>
              <a:gd name="T43" fmla="*/ 263 h 512"/>
              <a:gd name="T44" fmla="*/ 370 w 512"/>
              <a:gd name="T45" fmla="*/ 306 h 512"/>
              <a:gd name="T46" fmla="*/ 362 w 512"/>
              <a:gd name="T47" fmla="*/ 309 h 512"/>
              <a:gd name="T48" fmla="*/ 355 w 512"/>
              <a:gd name="T49" fmla="*/ 306 h 512"/>
              <a:gd name="T50" fmla="*/ 355 w 512"/>
              <a:gd name="T51" fmla="*/ 291 h 512"/>
              <a:gd name="T52" fmla="*/ 379 w 512"/>
              <a:gd name="T53" fmla="*/ 266 h 512"/>
              <a:gd name="T54" fmla="*/ 298 w 512"/>
              <a:gd name="T55" fmla="*/ 266 h 512"/>
              <a:gd name="T56" fmla="*/ 288 w 512"/>
              <a:gd name="T57" fmla="*/ 256 h 512"/>
              <a:gd name="T58" fmla="*/ 298 w 512"/>
              <a:gd name="T59" fmla="*/ 245 h 512"/>
              <a:gd name="T60" fmla="*/ 379 w 512"/>
              <a:gd name="T61" fmla="*/ 245 h 512"/>
              <a:gd name="T62" fmla="*/ 355 w 512"/>
              <a:gd name="T63" fmla="*/ 221 h 512"/>
              <a:gd name="T64" fmla="*/ 355 w 512"/>
              <a:gd name="T65" fmla="*/ 205 h 512"/>
              <a:gd name="T66" fmla="*/ 370 w 512"/>
              <a:gd name="T67" fmla="*/ 205 h 512"/>
              <a:gd name="T68" fmla="*/ 413 w 512"/>
              <a:gd name="T69" fmla="*/ 248 h 512"/>
              <a:gd name="T70" fmla="*/ 413 w 512"/>
              <a:gd name="T71"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266"/>
                </a:moveTo>
                <a:cubicBezTo>
                  <a:pt x="132" y="266"/>
                  <a:pt x="132" y="266"/>
                  <a:pt x="132" y="266"/>
                </a:cubicBezTo>
                <a:cubicBezTo>
                  <a:pt x="157" y="291"/>
                  <a:pt x="157" y="291"/>
                  <a:pt x="157" y="291"/>
                </a:cubicBezTo>
                <a:cubicBezTo>
                  <a:pt x="161" y="295"/>
                  <a:pt x="161" y="302"/>
                  <a:pt x="157" y="306"/>
                </a:cubicBezTo>
                <a:cubicBezTo>
                  <a:pt x="154" y="308"/>
                  <a:pt x="152" y="309"/>
                  <a:pt x="149" y="309"/>
                </a:cubicBezTo>
                <a:cubicBezTo>
                  <a:pt x="146" y="309"/>
                  <a:pt x="144" y="308"/>
                  <a:pt x="141" y="306"/>
                </a:cubicBezTo>
                <a:cubicBezTo>
                  <a:pt x="104" y="269"/>
                  <a:pt x="104" y="269"/>
                  <a:pt x="104" y="269"/>
                </a:cubicBezTo>
                <a:cubicBezTo>
                  <a:pt x="99" y="263"/>
                  <a:pt x="99" y="263"/>
                  <a:pt x="99" y="263"/>
                </a:cubicBezTo>
                <a:cubicBezTo>
                  <a:pt x="95" y="259"/>
                  <a:pt x="95" y="252"/>
                  <a:pt x="99" y="248"/>
                </a:cubicBezTo>
                <a:cubicBezTo>
                  <a:pt x="141" y="205"/>
                  <a:pt x="141" y="205"/>
                  <a:pt x="141" y="205"/>
                </a:cubicBezTo>
                <a:cubicBezTo>
                  <a:pt x="146" y="201"/>
                  <a:pt x="152" y="201"/>
                  <a:pt x="157" y="205"/>
                </a:cubicBezTo>
                <a:cubicBezTo>
                  <a:pt x="161" y="210"/>
                  <a:pt x="161" y="216"/>
                  <a:pt x="157" y="221"/>
                </a:cubicBezTo>
                <a:cubicBezTo>
                  <a:pt x="132" y="245"/>
                  <a:pt x="132" y="245"/>
                  <a:pt x="132" y="245"/>
                </a:cubicBezTo>
                <a:cubicBezTo>
                  <a:pt x="213" y="245"/>
                  <a:pt x="213" y="245"/>
                  <a:pt x="213" y="245"/>
                </a:cubicBezTo>
                <a:cubicBezTo>
                  <a:pt x="219" y="245"/>
                  <a:pt x="224" y="250"/>
                  <a:pt x="224" y="256"/>
                </a:cubicBezTo>
                <a:cubicBezTo>
                  <a:pt x="224" y="262"/>
                  <a:pt x="219" y="266"/>
                  <a:pt x="213" y="266"/>
                </a:cubicBezTo>
                <a:close/>
                <a:moveTo>
                  <a:pt x="413" y="263"/>
                </a:move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98" y="266"/>
                  <a:pt x="298" y="266"/>
                  <a:pt x="298" y="266"/>
                </a:cubicBezTo>
                <a:cubicBezTo>
                  <a:pt x="292" y="266"/>
                  <a:pt x="288" y="262"/>
                  <a:pt x="288" y="256"/>
                </a:cubicBezTo>
                <a:cubicBezTo>
                  <a:pt x="288" y="250"/>
                  <a:pt x="292" y="245"/>
                  <a:pt x="298"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7" y="252"/>
                  <a:pt x="417" y="259"/>
                  <a:pt x="413" y="26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4" name="Group 377">
            <a:extLst>
              <a:ext uri="{FF2B5EF4-FFF2-40B4-BE49-F238E27FC236}">
                <a16:creationId xmlns:a16="http://schemas.microsoft.com/office/drawing/2014/main" id="{18023FA0-3567-4980-9F25-499DCF075850}"/>
              </a:ext>
            </a:extLst>
          </p:cNvPr>
          <p:cNvGrpSpPr>
            <a:grpSpLocks noChangeAspect="1"/>
          </p:cNvGrpSpPr>
          <p:nvPr/>
        </p:nvGrpSpPr>
        <p:grpSpPr bwMode="auto">
          <a:xfrm>
            <a:off x="10493368" y="2511225"/>
            <a:ext cx="368121" cy="367041"/>
            <a:chOff x="7130" y="1796"/>
            <a:chExt cx="341" cy="340"/>
          </a:xfrm>
          <a:solidFill>
            <a:schemeClr val="accent4"/>
          </a:solidFill>
        </p:grpSpPr>
        <p:sp>
          <p:nvSpPr>
            <p:cNvPr id="627" name="Freeform 234">
              <a:extLst>
                <a:ext uri="{FF2B5EF4-FFF2-40B4-BE49-F238E27FC236}">
                  <a16:creationId xmlns:a16="http://schemas.microsoft.com/office/drawing/2014/main" id="{29C4E17C-0184-4055-A591-386AC94A7E18}"/>
                </a:ext>
              </a:extLst>
            </p:cNvPr>
            <p:cNvSpPr>
              <a:spLocks noEditPoints="1"/>
            </p:cNvSpPr>
            <p:nvPr/>
          </p:nvSpPr>
          <p:spPr bwMode="auto">
            <a:xfrm>
              <a:off x="7130" y="179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9" name="Freeform 235">
              <a:extLst>
                <a:ext uri="{FF2B5EF4-FFF2-40B4-BE49-F238E27FC236}">
                  <a16:creationId xmlns:a16="http://schemas.microsoft.com/office/drawing/2014/main" id="{BDBE035D-5AFC-4C3D-93CE-EACF55FDF4F0}"/>
                </a:ext>
              </a:extLst>
            </p:cNvPr>
            <p:cNvSpPr>
              <a:spLocks noEditPoints="1"/>
            </p:cNvSpPr>
            <p:nvPr/>
          </p:nvSpPr>
          <p:spPr bwMode="auto">
            <a:xfrm>
              <a:off x="7193" y="1929"/>
              <a:ext cx="215" cy="72"/>
            </a:xfrm>
            <a:custGeom>
              <a:avLst/>
              <a:gdLst>
                <a:gd name="T0" fmla="*/ 318 w 322"/>
                <a:gd name="T1" fmla="*/ 62 h 108"/>
                <a:gd name="T2" fmla="*/ 275 w 322"/>
                <a:gd name="T3" fmla="*/ 105 h 108"/>
                <a:gd name="T4" fmla="*/ 267 w 322"/>
                <a:gd name="T5" fmla="*/ 108 h 108"/>
                <a:gd name="T6" fmla="*/ 260 w 322"/>
                <a:gd name="T7" fmla="*/ 105 h 108"/>
                <a:gd name="T8" fmla="*/ 260 w 322"/>
                <a:gd name="T9" fmla="*/ 90 h 108"/>
                <a:gd name="T10" fmla="*/ 284 w 322"/>
                <a:gd name="T11" fmla="*/ 65 h 108"/>
                <a:gd name="T12" fmla="*/ 203 w 322"/>
                <a:gd name="T13" fmla="*/ 65 h 108"/>
                <a:gd name="T14" fmla="*/ 193 w 322"/>
                <a:gd name="T15" fmla="*/ 55 h 108"/>
                <a:gd name="T16" fmla="*/ 203 w 322"/>
                <a:gd name="T17" fmla="*/ 44 h 108"/>
                <a:gd name="T18" fmla="*/ 284 w 322"/>
                <a:gd name="T19" fmla="*/ 44 h 108"/>
                <a:gd name="T20" fmla="*/ 260 w 322"/>
                <a:gd name="T21" fmla="*/ 20 h 108"/>
                <a:gd name="T22" fmla="*/ 260 w 322"/>
                <a:gd name="T23" fmla="*/ 4 h 108"/>
                <a:gd name="T24" fmla="*/ 275 w 322"/>
                <a:gd name="T25" fmla="*/ 4 h 108"/>
                <a:gd name="T26" fmla="*/ 318 w 322"/>
                <a:gd name="T27" fmla="*/ 47 h 108"/>
                <a:gd name="T28" fmla="*/ 318 w 322"/>
                <a:gd name="T29" fmla="*/ 62 h 108"/>
                <a:gd name="T30" fmla="*/ 118 w 322"/>
                <a:gd name="T31" fmla="*/ 44 h 108"/>
                <a:gd name="T32" fmla="*/ 37 w 322"/>
                <a:gd name="T33" fmla="*/ 44 h 108"/>
                <a:gd name="T34" fmla="*/ 62 w 322"/>
                <a:gd name="T35" fmla="*/ 20 h 108"/>
                <a:gd name="T36" fmla="*/ 62 w 322"/>
                <a:gd name="T37" fmla="*/ 4 h 108"/>
                <a:gd name="T38" fmla="*/ 46 w 322"/>
                <a:gd name="T39" fmla="*/ 4 h 108"/>
                <a:gd name="T40" fmla="*/ 4 w 322"/>
                <a:gd name="T41" fmla="*/ 47 h 108"/>
                <a:gd name="T42" fmla="*/ 4 w 322"/>
                <a:gd name="T43" fmla="*/ 62 h 108"/>
                <a:gd name="T44" fmla="*/ 9 w 322"/>
                <a:gd name="T45" fmla="*/ 68 h 108"/>
                <a:gd name="T46" fmla="*/ 46 w 322"/>
                <a:gd name="T47" fmla="*/ 105 h 108"/>
                <a:gd name="T48" fmla="*/ 54 w 322"/>
                <a:gd name="T49" fmla="*/ 108 h 108"/>
                <a:gd name="T50" fmla="*/ 62 w 322"/>
                <a:gd name="T51" fmla="*/ 105 h 108"/>
                <a:gd name="T52" fmla="*/ 62 w 322"/>
                <a:gd name="T53" fmla="*/ 90 h 108"/>
                <a:gd name="T54" fmla="*/ 37 w 322"/>
                <a:gd name="T55" fmla="*/ 65 h 108"/>
                <a:gd name="T56" fmla="*/ 118 w 322"/>
                <a:gd name="T57" fmla="*/ 65 h 108"/>
                <a:gd name="T58" fmla="*/ 129 w 322"/>
                <a:gd name="T59" fmla="*/ 55 h 108"/>
                <a:gd name="T60" fmla="*/ 118 w 322"/>
                <a:gd name="T6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2" h="108">
                  <a:moveTo>
                    <a:pt x="318" y="62"/>
                  </a:move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203" y="65"/>
                    <a:pt x="203" y="65"/>
                    <a:pt x="203" y="65"/>
                  </a:cubicBezTo>
                  <a:cubicBezTo>
                    <a:pt x="197" y="65"/>
                    <a:pt x="193" y="61"/>
                    <a:pt x="193" y="55"/>
                  </a:cubicBezTo>
                  <a:cubicBezTo>
                    <a:pt x="193" y="49"/>
                    <a:pt x="197" y="44"/>
                    <a:pt x="203"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22" y="51"/>
                    <a:pt x="322" y="58"/>
                    <a:pt x="318" y="62"/>
                  </a:cubicBezTo>
                  <a:close/>
                  <a:moveTo>
                    <a:pt x="118" y="44"/>
                  </a:moveTo>
                  <a:cubicBezTo>
                    <a:pt x="37" y="44"/>
                    <a:pt x="37" y="44"/>
                    <a:pt x="37" y="44"/>
                  </a:cubicBezTo>
                  <a:cubicBezTo>
                    <a:pt x="62" y="20"/>
                    <a:pt x="62" y="20"/>
                    <a:pt x="62" y="20"/>
                  </a:cubicBezTo>
                  <a:cubicBezTo>
                    <a:pt x="66" y="15"/>
                    <a:pt x="66" y="9"/>
                    <a:pt x="62" y="4"/>
                  </a:cubicBezTo>
                  <a:cubicBezTo>
                    <a:pt x="57" y="0"/>
                    <a:pt x="51" y="0"/>
                    <a:pt x="46" y="4"/>
                  </a:cubicBezTo>
                  <a:cubicBezTo>
                    <a:pt x="4" y="47"/>
                    <a:pt x="4" y="47"/>
                    <a:pt x="4" y="47"/>
                  </a:cubicBezTo>
                  <a:cubicBezTo>
                    <a:pt x="0" y="51"/>
                    <a:pt x="0" y="58"/>
                    <a:pt x="4" y="62"/>
                  </a:cubicBezTo>
                  <a:cubicBezTo>
                    <a:pt x="9" y="68"/>
                    <a:pt x="9" y="68"/>
                    <a:pt x="9" y="68"/>
                  </a:cubicBezTo>
                  <a:cubicBezTo>
                    <a:pt x="46" y="105"/>
                    <a:pt x="46" y="105"/>
                    <a:pt x="46" y="105"/>
                  </a:cubicBezTo>
                  <a:cubicBezTo>
                    <a:pt x="49" y="107"/>
                    <a:pt x="51" y="108"/>
                    <a:pt x="54" y="108"/>
                  </a:cubicBezTo>
                  <a:cubicBezTo>
                    <a:pt x="57" y="108"/>
                    <a:pt x="59" y="107"/>
                    <a:pt x="62" y="105"/>
                  </a:cubicBezTo>
                  <a:cubicBezTo>
                    <a:pt x="66" y="101"/>
                    <a:pt x="66" y="94"/>
                    <a:pt x="62" y="90"/>
                  </a:cubicBezTo>
                  <a:cubicBezTo>
                    <a:pt x="37" y="65"/>
                    <a:pt x="37" y="65"/>
                    <a:pt x="37" y="65"/>
                  </a:cubicBezTo>
                  <a:cubicBezTo>
                    <a:pt x="118" y="65"/>
                    <a:pt x="118" y="65"/>
                    <a:pt x="118" y="65"/>
                  </a:cubicBezTo>
                  <a:cubicBezTo>
                    <a:pt x="124" y="65"/>
                    <a:pt x="129" y="61"/>
                    <a:pt x="129" y="55"/>
                  </a:cubicBezTo>
                  <a:cubicBezTo>
                    <a:pt x="129" y="49"/>
                    <a:pt x="124" y="44"/>
                    <a:pt x="118"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2" name="TextBox 631">
            <a:extLst>
              <a:ext uri="{FF2B5EF4-FFF2-40B4-BE49-F238E27FC236}">
                <a16:creationId xmlns:a16="http://schemas.microsoft.com/office/drawing/2014/main" id="{CE233CBF-6E04-4272-9BB2-9D39111C492D}"/>
              </a:ext>
            </a:extLst>
          </p:cNvPr>
          <p:cNvSpPr txBox="1"/>
          <p:nvPr/>
        </p:nvSpPr>
        <p:spPr>
          <a:xfrm>
            <a:off x="10045797" y="288893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crease 1</a:t>
            </a:r>
          </a:p>
        </p:txBody>
      </p:sp>
      <p:sp>
        <p:nvSpPr>
          <p:cNvPr id="633" name="Freeform 822">
            <a:extLst>
              <a:ext uri="{FF2B5EF4-FFF2-40B4-BE49-F238E27FC236}">
                <a16:creationId xmlns:a16="http://schemas.microsoft.com/office/drawing/2014/main" id="{6F3223F1-5937-4A1E-95C0-FE8F18DAD779}"/>
              </a:ext>
            </a:extLst>
          </p:cNvPr>
          <p:cNvSpPr>
            <a:spLocks noChangeAspect="1" noEditPoints="1"/>
          </p:cNvSpPr>
          <p:nvPr/>
        </p:nvSpPr>
        <p:spPr bwMode="auto">
          <a:xfrm>
            <a:off x="6555558" y="3304893"/>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0 w 512"/>
              <a:gd name="T11" fmla="*/ 408 h 512"/>
              <a:gd name="T12" fmla="*/ 352 w 512"/>
              <a:gd name="T13" fmla="*/ 413 h 512"/>
              <a:gd name="T14" fmla="*/ 346 w 512"/>
              <a:gd name="T15" fmla="*/ 411 h 512"/>
              <a:gd name="T16" fmla="*/ 310 w 512"/>
              <a:gd name="T17" fmla="*/ 380 h 512"/>
              <a:gd name="T18" fmla="*/ 260 w 512"/>
              <a:gd name="T19" fmla="*/ 302 h 512"/>
              <a:gd name="T20" fmla="*/ 256 w 512"/>
              <a:gd name="T21" fmla="*/ 288 h 512"/>
              <a:gd name="T22" fmla="*/ 199 w 512"/>
              <a:gd name="T23" fmla="*/ 383 h 512"/>
              <a:gd name="T24" fmla="*/ 166 w 512"/>
              <a:gd name="T25" fmla="*/ 411 h 512"/>
              <a:gd name="T26" fmla="*/ 160 w 512"/>
              <a:gd name="T27" fmla="*/ 413 h 512"/>
              <a:gd name="T28" fmla="*/ 151 w 512"/>
              <a:gd name="T29" fmla="*/ 408 h 512"/>
              <a:gd name="T30" fmla="*/ 154 w 512"/>
              <a:gd name="T31" fmla="*/ 393 h 512"/>
              <a:gd name="T32" fmla="*/ 184 w 512"/>
              <a:gd name="T33" fmla="*/ 368 h 512"/>
              <a:gd name="T34" fmla="*/ 245 w 512"/>
              <a:gd name="T35" fmla="*/ 218 h 512"/>
              <a:gd name="T36" fmla="*/ 245 w 512"/>
              <a:gd name="T37" fmla="*/ 132 h 512"/>
              <a:gd name="T38" fmla="*/ 178 w 512"/>
              <a:gd name="T39" fmla="*/ 199 h 512"/>
              <a:gd name="T40" fmla="*/ 170 w 512"/>
              <a:gd name="T41" fmla="*/ 202 h 512"/>
              <a:gd name="T42" fmla="*/ 163 w 512"/>
              <a:gd name="T43" fmla="*/ 199 h 512"/>
              <a:gd name="T44" fmla="*/ 163 w 512"/>
              <a:gd name="T45" fmla="*/ 184 h 512"/>
              <a:gd name="T46" fmla="*/ 248 w 512"/>
              <a:gd name="T47" fmla="*/ 99 h 512"/>
              <a:gd name="T48" fmla="*/ 252 w 512"/>
              <a:gd name="T49" fmla="*/ 96 h 512"/>
              <a:gd name="T50" fmla="*/ 260 w 512"/>
              <a:gd name="T51" fmla="*/ 96 h 512"/>
              <a:gd name="T52" fmla="*/ 263 w 512"/>
              <a:gd name="T53" fmla="*/ 99 h 512"/>
              <a:gd name="T54" fmla="*/ 349 w 512"/>
              <a:gd name="T55" fmla="*/ 184 h 512"/>
              <a:gd name="T56" fmla="*/ 349 w 512"/>
              <a:gd name="T57" fmla="*/ 199 h 512"/>
              <a:gd name="T58" fmla="*/ 341 w 512"/>
              <a:gd name="T59" fmla="*/ 202 h 512"/>
              <a:gd name="T60" fmla="*/ 333 w 512"/>
              <a:gd name="T61" fmla="*/ 199 h 512"/>
              <a:gd name="T62" fmla="*/ 266 w 512"/>
              <a:gd name="T63" fmla="*/ 132 h 512"/>
              <a:gd name="T64" fmla="*/ 266 w 512"/>
              <a:gd name="T65" fmla="*/ 218 h 512"/>
              <a:gd name="T66" fmla="*/ 280 w 512"/>
              <a:gd name="T67" fmla="*/ 294 h 512"/>
              <a:gd name="T68" fmla="*/ 325 w 512"/>
              <a:gd name="T69" fmla="*/ 366 h 512"/>
              <a:gd name="T70" fmla="*/ 358 w 512"/>
              <a:gd name="T71" fmla="*/ 393 h 512"/>
              <a:gd name="T72" fmla="*/ 360 w 512"/>
              <a:gd name="T73" fmla="*/ 40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0" y="408"/>
                </a:moveTo>
                <a:cubicBezTo>
                  <a:pt x="358" y="411"/>
                  <a:pt x="355" y="413"/>
                  <a:pt x="352" y="413"/>
                </a:cubicBezTo>
                <a:cubicBezTo>
                  <a:pt x="350" y="413"/>
                  <a:pt x="347" y="412"/>
                  <a:pt x="346" y="411"/>
                </a:cubicBezTo>
                <a:cubicBezTo>
                  <a:pt x="333" y="402"/>
                  <a:pt x="321" y="392"/>
                  <a:pt x="310" y="380"/>
                </a:cubicBezTo>
                <a:cubicBezTo>
                  <a:pt x="288" y="358"/>
                  <a:pt x="272" y="331"/>
                  <a:pt x="260" y="302"/>
                </a:cubicBezTo>
                <a:cubicBezTo>
                  <a:pt x="259" y="297"/>
                  <a:pt x="257" y="293"/>
                  <a:pt x="256" y="288"/>
                </a:cubicBezTo>
                <a:cubicBezTo>
                  <a:pt x="245" y="323"/>
                  <a:pt x="226" y="356"/>
                  <a:pt x="199" y="383"/>
                </a:cubicBezTo>
                <a:cubicBezTo>
                  <a:pt x="189" y="393"/>
                  <a:pt x="178" y="403"/>
                  <a:pt x="166" y="411"/>
                </a:cubicBezTo>
                <a:cubicBezTo>
                  <a:pt x="164" y="412"/>
                  <a:pt x="162" y="413"/>
                  <a:pt x="160" y="413"/>
                </a:cubicBezTo>
                <a:cubicBezTo>
                  <a:pt x="156" y="413"/>
                  <a:pt x="153" y="411"/>
                  <a:pt x="151" y="408"/>
                </a:cubicBezTo>
                <a:cubicBezTo>
                  <a:pt x="148" y="403"/>
                  <a:pt x="149" y="397"/>
                  <a:pt x="154" y="393"/>
                </a:cubicBezTo>
                <a:cubicBezTo>
                  <a:pt x="164" y="386"/>
                  <a:pt x="175" y="377"/>
                  <a:pt x="184" y="368"/>
                </a:cubicBezTo>
                <a:cubicBezTo>
                  <a:pt x="223" y="328"/>
                  <a:pt x="245" y="275"/>
                  <a:pt x="245" y="218"/>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ubicBezTo>
                  <a:pt x="346" y="201"/>
                  <a:pt x="344" y="202"/>
                  <a:pt x="341" y="202"/>
                </a:cubicBezTo>
                <a:cubicBezTo>
                  <a:pt x="338" y="202"/>
                  <a:pt x="336" y="201"/>
                  <a:pt x="333" y="199"/>
                </a:cubicBezTo>
                <a:cubicBezTo>
                  <a:pt x="266" y="132"/>
                  <a:pt x="266" y="132"/>
                  <a:pt x="266" y="132"/>
                </a:cubicBezTo>
                <a:cubicBezTo>
                  <a:pt x="266" y="218"/>
                  <a:pt x="266" y="218"/>
                  <a:pt x="266" y="218"/>
                </a:cubicBezTo>
                <a:cubicBezTo>
                  <a:pt x="266" y="245"/>
                  <a:pt x="271" y="270"/>
                  <a:pt x="280" y="294"/>
                </a:cubicBezTo>
                <a:cubicBezTo>
                  <a:pt x="290" y="321"/>
                  <a:pt x="306" y="345"/>
                  <a:pt x="325" y="366"/>
                </a:cubicBezTo>
                <a:cubicBezTo>
                  <a:pt x="335" y="376"/>
                  <a:pt x="346" y="385"/>
                  <a:pt x="358" y="393"/>
                </a:cubicBezTo>
                <a:cubicBezTo>
                  <a:pt x="363" y="397"/>
                  <a:pt x="364" y="403"/>
                  <a:pt x="360" y="40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34" name="Group 825">
            <a:extLst>
              <a:ext uri="{FF2B5EF4-FFF2-40B4-BE49-F238E27FC236}">
                <a16:creationId xmlns:a16="http://schemas.microsoft.com/office/drawing/2014/main" id="{8D8C298E-FC88-45D9-B44B-2F609670EA31}"/>
              </a:ext>
            </a:extLst>
          </p:cNvPr>
          <p:cNvGrpSpPr>
            <a:grpSpLocks noChangeAspect="1"/>
          </p:cNvGrpSpPr>
          <p:nvPr/>
        </p:nvGrpSpPr>
        <p:grpSpPr bwMode="auto">
          <a:xfrm>
            <a:off x="6990291" y="3304893"/>
            <a:ext cx="367041" cy="367041"/>
            <a:chOff x="5231" y="3496"/>
            <a:chExt cx="340" cy="340"/>
          </a:xfrm>
          <a:solidFill>
            <a:schemeClr val="accent3"/>
          </a:solidFill>
        </p:grpSpPr>
        <p:sp>
          <p:nvSpPr>
            <p:cNvPr id="635" name="Freeform 826">
              <a:extLst>
                <a:ext uri="{FF2B5EF4-FFF2-40B4-BE49-F238E27FC236}">
                  <a16:creationId xmlns:a16="http://schemas.microsoft.com/office/drawing/2014/main" id="{43B519E0-6471-41D2-947A-189AB9C03AF2}"/>
                </a:ext>
              </a:extLst>
            </p:cNvPr>
            <p:cNvSpPr>
              <a:spLocks noEditPoints="1"/>
            </p:cNvSpPr>
            <p:nvPr/>
          </p:nvSpPr>
          <p:spPr bwMode="auto">
            <a:xfrm>
              <a:off x="5231" y="34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6" name="Freeform 827">
              <a:extLst>
                <a:ext uri="{FF2B5EF4-FFF2-40B4-BE49-F238E27FC236}">
                  <a16:creationId xmlns:a16="http://schemas.microsoft.com/office/drawing/2014/main" id="{6C8F076C-A8FC-473E-B1C2-63E6F31B5BC3}"/>
                </a:ext>
              </a:extLst>
            </p:cNvPr>
            <p:cNvSpPr>
              <a:spLocks/>
            </p:cNvSpPr>
            <p:nvPr/>
          </p:nvSpPr>
          <p:spPr bwMode="auto">
            <a:xfrm>
              <a:off x="5329" y="3559"/>
              <a:ext cx="144" cy="211"/>
            </a:xfrm>
            <a:custGeom>
              <a:avLst/>
              <a:gdLst>
                <a:gd name="T0" fmla="*/ 212 w 216"/>
                <a:gd name="T1" fmla="*/ 313 h 318"/>
                <a:gd name="T2" fmla="*/ 204 w 216"/>
                <a:gd name="T3" fmla="*/ 318 h 318"/>
                <a:gd name="T4" fmla="*/ 198 w 216"/>
                <a:gd name="T5" fmla="*/ 316 h 318"/>
                <a:gd name="T6" fmla="*/ 162 w 216"/>
                <a:gd name="T7" fmla="*/ 285 h 318"/>
                <a:gd name="T8" fmla="*/ 112 w 216"/>
                <a:gd name="T9" fmla="*/ 207 h 318"/>
                <a:gd name="T10" fmla="*/ 108 w 216"/>
                <a:gd name="T11" fmla="*/ 193 h 318"/>
                <a:gd name="T12" fmla="*/ 51 w 216"/>
                <a:gd name="T13" fmla="*/ 288 h 318"/>
                <a:gd name="T14" fmla="*/ 18 w 216"/>
                <a:gd name="T15" fmla="*/ 316 h 318"/>
                <a:gd name="T16" fmla="*/ 12 w 216"/>
                <a:gd name="T17" fmla="*/ 318 h 318"/>
                <a:gd name="T18" fmla="*/ 3 w 216"/>
                <a:gd name="T19" fmla="*/ 313 h 318"/>
                <a:gd name="T20" fmla="*/ 6 w 216"/>
                <a:gd name="T21" fmla="*/ 298 h 318"/>
                <a:gd name="T22" fmla="*/ 36 w 216"/>
                <a:gd name="T23" fmla="*/ 273 h 318"/>
                <a:gd name="T24" fmla="*/ 97 w 216"/>
                <a:gd name="T25" fmla="*/ 123 h 318"/>
                <a:gd name="T26" fmla="*/ 97 w 216"/>
                <a:gd name="T27" fmla="*/ 37 h 318"/>
                <a:gd name="T28" fmla="*/ 30 w 216"/>
                <a:gd name="T29" fmla="*/ 104 h 318"/>
                <a:gd name="T30" fmla="*/ 22 w 216"/>
                <a:gd name="T31" fmla="*/ 107 h 318"/>
                <a:gd name="T32" fmla="*/ 15 w 216"/>
                <a:gd name="T33" fmla="*/ 104 h 318"/>
                <a:gd name="T34" fmla="*/ 15 w 216"/>
                <a:gd name="T35" fmla="*/ 89 h 318"/>
                <a:gd name="T36" fmla="*/ 100 w 216"/>
                <a:gd name="T37" fmla="*/ 4 h 318"/>
                <a:gd name="T38" fmla="*/ 104 w 216"/>
                <a:gd name="T39" fmla="*/ 1 h 318"/>
                <a:gd name="T40" fmla="*/ 112 w 216"/>
                <a:gd name="T41" fmla="*/ 1 h 318"/>
                <a:gd name="T42" fmla="*/ 115 w 216"/>
                <a:gd name="T43" fmla="*/ 4 h 318"/>
                <a:gd name="T44" fmla="*/ 201 w 216"/>
                <a:gd name="T45" fmla="*/ 89 h 318"/>
                <a:gd name="T46" fmla="*/ 201 w 216"/>
                <a:gd name="T47" fmla="*/ 104 h 318"/>
                <a:gd name="T48" fmla="*/ 193 w 216"/>
                <a:gd name="T49" fmla="*/ 107 h 318"/>
                <a:gd name="T50" fmla="*/ 185 w 216"/>
                <a:gd name="T51" fmla="*/ 104 h 318"/>
                <a:gd name="T52" fmla="*/ 118 w 216"/>
                <a:gd name="T53" fmla="*/ 37 h 318"/>
                <a:gd name="T54" fmla="*/ 118 w 216"/>
                <a:gd name="T55" fmla="*/ 123 h 318"/>
                <a:gd name="T56" fmla="*/ 132 w 216"/>
                <a:gd name="T57" fmla="*/ 199 h 318"/>
                <a:gd name="T58" fmla="*/ 177 w 216"/>
                <a:gd name="T59" fmla="*/ 271 h 318"/>
                <a:gd name="T60" fmla="*/ 210 w 216"/>
                <a:gd name="T61" fmla="*/ 298 h 318"/>
                <a:gd name="T62" fmla="*/ 212 w 216"/>
                <a:gd name="T63" fmla="*/ 31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318">
                  <a:moveTo>
                    <a:pt x="212" y="313"/>
                  </a:moveTo>
                  <a:cubicBezTo>
                    <a:pt x="210" y="316"/>
                    <a:pt x="207" y="318"/>
                    <a:pt x="204" y="318"/>
                  </a:cubicBezTo>
                  <a:cubicBezTo>
                    <a:pt x="202" y="318"/>
                    <a:pt x="199" y="317"/>
                    <a:pt x="198" y="316"/>
                  </a:cubicBezTo>
                  <a:cubicBezTo>
                    <a:pt x="185" y="307"/>
                    <a:pt x="173" y="297"/>
                    <a:pt x="162" y="285"/>
                  </a:cubicBezTo>
                  <a:cubicBezTo>
                    <a:pt x="140" y="263"/>
                    <a:pt x="124" y="236"/>
                    <a:pt x="112" y="207"/>
                  </a:cubicBezTo>
                  <a:cubicBezTo>
                    <a:pt x="111" y="202"/>
                    <a:pt x="109" y="198"/>
                    <a:pt x="108" y="193"/>
                  </a:cubicBezTo>
                  <a:cubicBezTo>
                    <a:pt x="97" y="228"/>
                    <a:pt x="78" y="261"/>
                    <a:pt x="51" y="288"/>
                  </a:cubicBezTo>
                  <a:cubicBezTo>
                    <a:pt x="41" y="298"/>
                    <a:pt x="30" y="308"/>
                    <a:pt x="18" y="316"/>
                  </a:cubicBezTo>
                  <a:cubicBezTo>
                    <a:pt x="16" y="317"/>
                    <a:pt x="14" y="318"/>
                    <a:pt x="12" y="318"/>
                  </a:cubicBezTo>
                  <a:cubicBezTo>
                    <a:pt x="8" y="318"/>
                    <a:pt x="5" y="316"/>
                    <a:pt x="3" y="313"/>
                  </a:cubicBezTo>
                  <a:cubicBezTo>
                    <a:pt x="0" y="308"/>
                    <a:pt x="1" y="302"/>
                    <a:pt x="6" y="298"/>
                  </a:cubicBezTo>
                  <a:cubicBezTo>
                    <a:pt x="16" y="291"/>
                    <a:pt x="27" y="282"/>
                    <a:pt x="36" y="273"/>
                  </a:cubicBezTo>
                  <a:cubicBezTo>
                    <a:pt x="75" y="233"/>
                    <a:pt x="97" y="180"/>
                    <a:pt x="97" y="123"/>
                  </a:cubicBezTo>
                  <a:cubicBezTo>
                    <a:pt x="97" y="37"/>
                    <a:pt x="97" y="37"/>
                    <a:pt x="97" y="37"/>
                  </a:cubicBezTo>
                  <a:cubicBezTo>
                    <a:pt x="30" y="104"/>
                    <a:pt x="30" y="104"/>
                    <a:pt x="30" y="104"/>
                  </a:cubicBezTo>
                  <a:cubicBezTo>
                    <a:pt x="28" y="106"/>
                    <a:pt x="25" y="107"/>
                    <a:pt x="22" y="107"/>
                  </a:cubicBezTo>
                  <a:cubicBezTo>
                    <a:pt x="20" y="107"/>
                    <a:pt x="17" y="106"/>
                    <a:pt x="15" y="104"/>
                  </a:cubicBezTo>
                  <a:cubicBezTo>
                    <a:pt x="11" y="100"/>
                    <a:pt x="11" y="93"/>
                    <a:pt x="15" y="89"/>
                  </a:cubicBezTo>
                  <a:cubicBezTo>
                    <a:pt x="100" y="4"/>
                    <a:pt x="100" y="4"/>
                    <a:pt x="100" y="4"/>
                  </a:cubicBezTo>
                  <a:cubicBezTo>
                    <a:pt x="101" y="3"/>
                    <a:pt x="102" y="2"/>
                    <a:pt x="104" y="1"/>
                  </a:cubicBezTo>
                  <a:cubicBezTo>
                    <a:pt x="106" y="0"/>
                    <a:pt x="109" y="0"/>
                    <a:pt x="112" y="1"/>
                  </a:cubicBezTo>
                  <a:cubicBezTo>
                    <a:pt x="113" y="2"/>
                    <a:pt x="114" y="3"/>
                    <a:pt x="115" y="4"/>
                  </a:cubicBezTo>
                  <a:cubicBezTo>
                    <a:pt x="201" y="89"/>
                    <a:pt x="201" y="89"/>
                    <a:pt x="201" y="89"/>
                  </a:cubicBezTo>
                  <a:cubicBezTo>
                    <a:pt x="205" y="93"/>
                    <a:pt x="205" y="100"/>
                    <a:pt x="201" y="104"/>
                  </a:cubicBezTo>
                  <a:cubicBezTo>
                    <a:pt x="198" y="106"/>
                    <a:pt x="196" y="107"/>
                    <a:pt x="193" y="107"/>
                  </a:cubicBezTo>
                  <a:cubicBezTo>
                    <a:pt x="190" y="107"/>
                    <a:pt x="188" y="106"/>
                    <a:pt x="185" y="104"/>
                  </a:cubicBezTo>
                  <a:cubicBezTo>
                    <a:pt x="118" y="37"/>
                    <a:pt x="118" y="37"/>
                    <a:pt x="118" y="37"/>
                  </a:cubicBezTo>
                  <a:cubicBezTo>
                    <a:pt x="118" y="123"/>
                    <a:pt x="118" y="123"/>
                    <a:pt x="118" y="123"/>
                  </a:cubicBezTo>
                  <a:cubicBezTo>
                    <a:pt x="118" y="150"/>
                    <a:pt x="123" y="175"/>
                    <a:pt x="132" y="199"/>
                  </a:cubicBezTo>
                  <a:cubicBezTo>
                    <a:pt x="142" y="226"/>
                    <a:pt x="158" y="250"/>
                    <a:pt x="177" y="271"/>
                  </a:cubicBezTo>
                  <a:cubicBezTo>
                    <a:pt x="187" y="281"/>
                    <a:pt x="198" y="290"/>
                    <a:pt x="210" y="298"/>
                  </a:cubicBezTo>
                  <a:cubicBezTo>
                    <a:pt x="215" y="302"/>
                    <a:pt x="216" y="308"/>
                    <a:pt x="212" y="3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7" name="TextBox 636">
            <a:extLst>
              <a:ext uri="{FF2B5EF4-FFF2-40B4-BE49-F238E27FC236}">
                <a16:creationId xmlns:a16="http://schemas.microsoft.com/office/drawing/2014/main" id="{BE602258-7D45-4A5B-9679-836C79EEADFE}"/>
              </a:ext>
            </a:extLst>
          </p:cNvPr>
          <p:cNvSpPr txBox="1"/>
          <p:nvPr/>
        </p:nvSpPr>
        <p:spPr>
          <a:xfrm>
            <a:off x="6487483"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erge</a:t>
            </a:r>
          </a:p>
        </p:txBody>
      </p:sp>
      <p:grpSp>
        <p:nvGrpSpPr>
          <p:cNvPr id="638" name="Group 208">
            <a:extLst>
              <a:ext uri="{FF2B5EF4-FFF2-40B4-BE49-F238E27FC236}">
                <a16:creationId xmlns:a16="http://schemas.microsoft.com/office/drawing/2014/main" id="{D15FF8D1-18BB-4D42-8C25-06CE825709C2}"/>
              </a:ext>
            </a:extLst>
          </p:cNvPr>
          <p:cNvGrpSpPr>
            <a:grpSpLocks noChangeAspect="1"/>
          </p:cNvGrpSpPr>
          <p:nvPr/>
        </p:nvGrpSpPr>
        <p:grpSpPr bwMode="auto">
          <a:xfrm>
            <a:off x="7862392" y="3304893"/>
            <a:ext cx="370763" cy="369676"/>
            <a:chOff x="6586" y="729"/>
            <a:chExt cx="341" cy="340"/>
          </a:xfrm>
          <a:solidFill>
            <a:schemeClr val="accent3"/>
          </a:solidFill>
        </p:grpSpPr>
        <p:sp>
          <p:nvSpPr>
            <p:cNvPr id="639" name="Freeform 209">
              <a:extLst>
                <a:ext uri="{FF2B5EF4-FFF2-40B4-BE49-F238E27FC236}">
                  <a16:creationId xmlns:a16="http://schemas.microsoft.com/office/drawing/2014/main" id="{5E26986C-1CB4-4D41-A1F7-876A03ADCAF6}"/>
                </a:ext>
              </a:extLst>
            </p:cNvPr>
            <p:cNvSpPr>
              <a:spLocks/>
            </p:cNvSpPr>
            <p:nvPr/>
          </p:nvSpPr>
          <p:spPr bwMode="auto">
            <a:xfrm>
              <a:off x="6671" y="792"/>
              <a:ext cx="171" cy="213"/>
            </a:xfrm>
            <a:custGeom>
              <a:avLst/>
              <a:gdLst>
                <a:gd name="T0" fmla="*/ 254 w 258"/>
                <a:gd name="T1" fmla="*/ 62 h 321"/>
                <a:gd name="T2" fmla="*/ 246 w 258"/>
                <a:gd name="T3" fmla="*/ 65 h 321"/>
                <a:gd name="T4" fmla="*/ 238 w 258"/>
                <a:gd name="T5" fmla="*/ 62 h 321"/>
                <a:gd name="T6" fmla="*/ 214 w 258"/>
                <a:gd name="T7" fmla="*/ 37 h 321"/>
                <a:gd name="T8" fmla="*/ 214 w 258"/>
                <a:gd name="T9" fmla="*/ 107 h 321"/>
                <a:gd name="T10" fmla="*/ 153 w 258"/>
                <a:gd name="T11" fmla="*/ 207 h 321"/>
                <a:gd name="T12" fmla="*/ 148 w 258"/>
                <a:gd name="T13" fmla="*/ 211 h 321"/>
                <a:gd name="T14" fmla="*/ 139 w 258"/>
                <a:gd name="T15" fmla="*/ 225 h 321"/>
                <a:gd name="T16" fmla="*/ 139 w 258"/>
                <a:gd name="T17" fmla="*/ 225 h 321"/>
                <a:gd name="T18" fmla="*/ 139 w 258"/>
                <a:gd name="T19" fmla="*/ 310 h 321"/>
                <a:gd name="T20" fmla="*/ 129 w 258"/>
                <a:gd name="T21" fmla="*/ 321 h 321"/>
                <a:gd name="T22" fmla="*/ 118 w 258"/>
                <a:gd name="T23" fmla="*/ 310 h 321"/>
                <a:gd name="T24" fmla="*/ 118 w 258"/>
                <a:gd name="T25" fmla="*/ 225 h 321"/>
                <a:gd name="T26" fmla="*/ 118 w 258"/>
                <a:gd name="T27" fmla="*/ 224 h 321"/>
                <a:gd name="T28" fmla="*/ 109 w 258"/>
                <a:gd name="T29" fmla="*/ 211 h 321"/>
                <a:gd name="T30" fmla="*/ 104 w 258"/>
                <a:gd name="T31" fmla="*/ 207 h 321"/>
                <a:gd name="T32" fmla="*/ 43 w 258"/>
                <a:gd name="T33" fmla="*/ 107 h 321"/>
                <a:gd name="T34" fmla="*/ 43 w 258"/>
                <a:gd name="T35" fmla="*/ 37 h 321"/>
                <a:gd name="T36" fmla="*/ 19 w 258"/>
                <a:gd name="T37" fmla="*/ 62 h 321"/>
                <a:gd name="T38" fmla="*/ 11 w 258"/>
                <a:gd name="T39" fmla="*/ 65 h 321"/>
                <a:gd name="T40" fmla="*/ 4 w 258"/>
                <a:gd name="T41" fmla="*/ 62 h 321"/>
                <a:gd name="T42" fmla="*/ 4 w 258"/>
                <a:gd name="T43" fmla="*/ 46 h 321"/>
                <a:gd name="T44" fmla="*/ 46 w 258"/>
                <a:gd name="T45" fmla="*/ 4 h 321"/>
                <a:gd name="T46" fmla="*/ 50 w 258"/>
                <a:gd name="T47" fmla="*/ 1 h 321"/>
                <a:gd name="T48" fmla="*/ 58 w 258"/>
                <a:gd name="T49" fmla="*/ 1 h 321"/>
                <a:gd name="T50" fmla="*/ 62 w 258"/>
                <a:gd name="T51" fmla="*/ 4 h 321"/>
                <a:gd name="T52" fmla="*/ 104 w 258"/>
                <a:gd name="T53" fmla="*/ 46 h 321"/>
                <a:gd name="T54" fmla="*/ 104 w 258"/>
                <a:gd name="T55" fmla="*/ 62 h 321"/>
                <a:gd name="T56" fmla="*/ 97 w 258"/>
                <a:gd name="T57" fmla="*/ 65 h 321"/>
                <a:gd name="T58" fmla="*/ 89 w 258"/>
                <a:gd name="T59" fmla="*/ 62 h 321"/>
                <a:gd name="T60" fmla="*/ 65 w 258"/>
                <a:gd name="T61" fmla="*/ 37 h 321"/>
                <a:gd name="T62" fmla="*/ 65 w 258"/>
                <a:gd name="T63" fmla="*/ 107 h 321"/>
                <a:gd name="T64" fmla="*/ 118 w 258"/>
                <a:gd name="T65" fmla="*/ 191 h 321"/>
                <a:gd name="T66" fmla="*/ 124 w 258"/>
                <a:gd name="T67" fmla="*/ 195 h 321"/>
                <a:gd name="T68" fmla="*/ 129 w 258"/>
                <a:gd name="T69" fmla="*/ 200 h 321"/>
                <a:gd name="T70" fmla="*/ 134 w 258"/>
                <a:gd name="T71" fmla="*/ 195 h 321"/>
                <a:gd name="T72" fmla="*/ 139 w 258"/>
                <a:gd name="T73" fmla="*/ 191 h 321"/>
                <a:gd name="T74" fmla="*/ 193 w 258"/>
                <a:gd name="T75" fmla="*/ 107 h 321"/>
                <a:gd name="T76" fmla="*/ 193 w 258"/>
                <a:gd name="T77" fmla="*/ 37 h 321"/>
                <a:gd name="T78" fmla="*/ 168 w 258"/>
                <a:gd name="T79" fmla="*/ 62 h 321"/>
                <a:gd name="T80" fmla="*/ 161 w 258"/>
                <a:gd name="T81" fmla="*/ 65 h 321"/>
                <a:gd name="T82" fmla="*/ 153 w 258"/>
                <a:gd name="T83" fmla="*/ 62 h 321"/>
                <a:gd name="T84" fmla="*/ 153 w 258"/>
                <a:gd name="T85" fmla="*/ 46 h 321"/>
                <a:gd name="T86" fmla="*/ 196 w 258"/>
                <a:gd name="T87" fmla="*/ 4 h 321"/>
                <a:gd name="T88" fmla="*/ 199 w 258"/>
                <a:gd name="T89" fmla="*/ 1 h 321"/>
                <a:gd name="T90" fmla="*/ 207 w 258"/>
                <a:gd name="T91" fmla="*/ 1 h 321"/>
                <a:gd name="T92" fmla="*/ 211 w 258"/>
                <a:gd name="T93" fmla="*/ 4 h 321"/>
                <a:gd name="T94" fmla="*/ 254 w 258"/>
                <a:gd name="T95" fmla="*/ 46 h 321"/>
                <a:gd name="T96" fmla="*/ 254 w 258"/>
                <a:gd name="T97" fmla="*/ 6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 h="321">
                  <a:moveTo>
                    <a:pt x="254" y="62"/>
                  </a:moveTo>
                  <a:cubicBezTo>
                    <a:pt x="251" y="64"/>
                    <a:pt x="249" y="65"/>
                    <a:pt x="246" y="65"/>
                  </a:cubicBezTo>
                  <a:cubicBezTo>
                    <a:pt x="243" y="65"/>
                    <a:pt x="241" y="64"/>
                    <a:pt x="238" y="62"/>
                  </a:cubicBezTo>
                  <a:cubicBezTo>
                    <a:pt x="214" y="37"/>
                    <a:pt x="214" y="37"/>
                    <a:pt x="214" y="37"/>
                  </a:cubicBezTo>
                  <a:cubicBezTo>
                    <a:pt x="214" y="107"/>
                    <a:pt x="214" y="107"/>
                    <a:pt x="214" y="107"/>
                  </a:cubicBezTo>
                  <a:cubicBezTo>
                    <a:pt x="214" y="153"/>
                    <a:pt x="176" y="187"/>
                    <a:pt x="153" y="207"/>
                  </a:cubicBezTo>
                  <a:cubicBezTo>
                    <a:pt x="148" y="211"/>
                    <a:pt x="148" y="211"/>
                    <a:pt x="148" y="211"/>
                  </a:cubicBezTo>
                  <a:cubicBezTo>
                    <a:pt x="139" y="219"/>
                    <a:pt x="139" y="223"/>
                    <a:pt x="139" y="225"/>
                  </a:cubicBezTo>
                  <a:cubicBezTo>
                    <a:pt x="139" y="225"/>
                    <a:pt x="139" y="225"/>
                    <a:pt x="139" y="225"/>
                  </a:cubicBezTo>
                  <a:cubicBezTo>
                    <a:pt x="139" y="310"/>
                    <a:pt x="139" y="310"/>
                    <a:pt x="139" y="310"/>
                  </a:cubicBezTo>
                  <a:cubicBezTo>
                    <a:pt x="139" y="316"/>
                    <a:pt x="135" y="321"/>
                    <a:pt x="129" y="321"/>
                  </a:cubicBezTo>
                  <a:cubicBezTo>
                    <a:pt x="123" y="321"/>
                    <a:pt x="118" y="316"/>
                    <a:pt x="118" y="310"/>
                  </a:cubicBezTo>
                  <a:cubicBezTo>
                    <a:pt x="118" y="225"/>
                    <a:pt x="118" y="225"/>
                    <a:pt x="118" y="225"/>
                  </a:cubicBezTo>
                  <a:cubicBezTo>
                    <a:pt x="118" y="224"/>
                    <a:pt x="118" y="224"/>
                    <a:pt x="118" y="224"/>
                  </a:cubicBezTo>
                  <a:cubicBezTo>
                    <a:pt x="118" y="223"/>
                    <a:pt x="118" y="219"/>
                    <a:pt x="109" y="211"/>
                  </a:cubicBezTo>
                  <a:cubicBezTo>
                    <a:pt x="104" y="207"/>
                    <a:pt x="104" y="207"/>
                    <a:pt x="104" y="207"/>
                  </a:cubicBezTo>
                  <a:cubicBezTo>
                    <a:pt x="81" y="187"/>
                    <a:pt x="43" y="153"/>
                    <a:pt x="43" y="107"/>
                  </a:cubicBezTo>
                  <a:cubicBezTo>
                    <a:pt x="43" y="37"/>
                    <a:pt x="43" y="37"/>
                    <a:pt x="43" y="37"/>
                  </a:cubicBezTo>
                  <a:cubicBezTo>
                    <a:pt x="19" y="62"/>
                    <a:pt x="19" y="62"/>
                    <a:pt x="19" y="62"/>
                  </a:cubicBezTo>
                  <a:cubicBezTo>
                    <a:pt x="17" y="64"/>
                    <a:pt x="14" y="65"/>
                    <a:pt x="11" y="65"/>
                  </a:cubicBezTo>
                  <a:cubicBezTo>
                    <a:pt x="9" y="65"/>
                    <a:pt x="6" y="64"/>
                    <a:pt x="4" y="62"/>
                  </a:cubicBezTo>
                  <a:cubicBezTo>
                    <a:pt x="0" y="57"/>
                    <a:pt x="0" y="51"/>
                    <a:pt x="4" y="46"/>
                  </a:cubicBezTo>
                  <a:cubicBezTo>
                    <a:pt x="46" y="4"/>
                    <a:pt x="46" y="4"/>
                    <a:pt x="46" y="4"/>
                  </a:cubicBezTo>
                  <a:cubicBezTo>
                    <a:pt x="47" y="3"/>
                    <a:pt x="49" y="2"/>
                    <a:pt x="50" y="1"/>
                  </a:cubicBezTo>
                  <a:cubicBezTo>
                    <a:pt x="53" y="0"/>
                    <a:pt x="55" y="0"/>
                    <a:pt x="58" y="1"/>
                  </a:cubicBezTo>
                  <a:cubicBezTo>
                    <a:pt x="59" y="2"/>
                    <a:pt x="61" y="3"/>
                    <a:pt x="62" y="4"/>
                  </a:cubicBezTo>
                  <a:cubicBezTo>
                    <a:pt x="104" y="46"/>
                    <a:pt x="104" y="46"/>
                    <a:pt x="104" y="46"/>
                  </a:cubicBezTo>
                  <a:cubicBezTo>
                    <a:pt x="108" y="51"/>
                    <a:pt x="108" y="57"/>
                    <a:pt x="104" y="62"/>
                  </a:cubicBezTo>
                  <a:cubicBezTo>
                    <a:pt x="102" y="64"/>
                    <a:pt x="99" y="65"/>
                    <a:pt x="97" y="65"/>
                  </a:cubicBezTo>
                  <a:cubicBezTo>
                    <a:pt x="94" y="65"/>
                    <a:pt x="91" y="64"/>
                    <a:pt x="89" y="62"/>
                  </a:cubicBezTo>
                  <a:cubicBezTo>
                    <a:pt x="65" y="37"/>
                    <a:pt x="65" y="37"/>
                    <a:pt x="65" y="37"/>
                  </a:cubicBezTo>
                  <a:cubicBezTo>
                    <a:pt x="65" y="107"/>
                    <a:pt x="65" y="107"/>
                    <a:pt x="65" y="107"/>
                  </a:cubicBezTo>
                  <a:cubicBezTo>
                    <a:pt x="65" y="143"/>
                    <a:pt x="97" y="172"/>
                    <a:pt x="118" y="191"/>
                  </a:cubicBezTo>
                  <a:cubicBezTo>
                    <a:pt x="124" y="195"/>
                    <a:pt x="124" y="195"/>
                    <a:pt x="124" y="195"/>
                  </a:cubicBezTo>
                  <a:cubicBezTo>
                    <a:pt x="125" y="197"/>
                    <a:pt x="127" y="199"/>
                    <a:pt x="129" y="200"/>
                  </a:cubicBezTo>
                  <a:cubicBezTo>
                    <a:pt x="130" y="199"/>
                    <a:pt x="132" y="197"/>
                    <a:pt x="134" y="195"/>
                  </a:cubicBezTo>
                  <a:cubicBezTo>
                    <a:pt x="139" y="191"/>
                    <a:pt x="139" y="191"/>
                    <a:pt x="139" y="191"/>
                  </a:cubicBezTo>
                  <a:cubicBezTo>
                    <a:pt x="160" y="172"/>
                    <a:pt x="193" y="143"/>
                    <a:pt x="193" y="107"/>
                  </a:cubicBezTo>
                  <a:cubicBezTo>
                    <a:pt x="193" y="37"/>
                    <a:pt x="193" y="37"/>
                    <a:pt x="193" y="37"/>
                  </a:cubicBezTo>
                  <a:cubicBezTo>
                    <a:pt x="168" y="62"/>
                    <a:pt x="168" y="62"/>
                    <a:pt x="168" y="62"/>
                  </a:cubicBezTo>
                  <a:cubicBezTo>
                    <a:pt x="166" y="64"/>
                    <a:pt x="163" y="65"/>
                    <a:pt x="161" y="65"/>
                  </a:cubicBezTo>
                  <a:cubicBezTo>
                    <a:pt x="158" y="65"/>
                    <a:pt x="155" y="64"/>
                    <a:pt x="153" y="62"/>
                  </a:cubicBezTo>
                  <a:cubicBezTo>
                    <a:pt x="149" y="57"/>
                    <a:pt x="149" y="51"/>
                    <a:pt x="153" y="46"/>
                  </a:cubicBezTo>
                  <a:cubicBezTo>
                    <a:pt x="196" y="4"/>
                    <a:pt x="196" y="4"/>
                    <a:pt x="196" y="4"/>
                  </a:cubicBezTo>
                  <a:cubicBezTo>
                    <a:pt x="197" y="3"/>
                    <a:pt x="198" y="2"/>
                    <a:pt x="199" y="1"/>
                  </a:cubicBezTo>
                  <a:cubicBezTo>
                    <a:pt x="202" y="0"/>
                    <a:pt x="205" y="0"/>
                    <a:pt x="207" y="1"/>
                  </a:cubicBezTo>
                  <a:cubicBezTo>
                    <a:pt x="209" y="2"/>
                    <a:pt x="210" y="3"/>
                    <a:pt x="211" y="4"/>
                  </a:cubicBezTo>
                  <a:cubicBezTo>
                    <a:pt x="254" y="46"/>
                    <a:pt x="254" y="46"/>
                    <a:pt x="254" y="46"/>
                  </a:cubicBezTo>
                  <a:cubicBezTo>
                    <a:pt x="258" y="51"/>
                    <a:pt x="258" y="57"/>
                    <a:pt x="254" y="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0" name="Freeform 210">
              <a:extLst>
                <a:ext uri="{FF2B5EF4-FFF2-40B4-BE49-F238E27FC236}">
                  <a16:creationId xmlns:a16="http://schemas.microsoft.com/office/drawing/2014/main" id="{07541554-5BCA-4EAD-A3D2-30B2E504730B}"/>
                </a:ext>
              </a:extLst>
            </p:cNvPr>
            <p:cNvSpPr>
              <a:spLocks noEditPoints="1"/>
            </p:cNvSpPr>
            <p:nvPr/>
          </p:nvSpPr>
          <p:spPr bwMode="auto">
            <a:xfrm>
              <a:off x="6586" y="72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41" name="Freeform 214">
            <a:extLst>
              <a:ext uri="{FF2B5EF4-FFF2-40B4-BE49-F238E27FC236}">
                <a16:creationId xmlns:a16="http://schemas.microsoft.com/office/drawing/2014/main" id="{844115C1-647A-47E1-8194-ED3DA6A6178B}"/>
              </a:ext>
            </a:extLst>
          </p:cNvPr>
          <p:cNvSpPr>
            <a:spLocks noChangeAspect="1" noEditPoints="1"/>
          </p:cNvSpPr>
          <p:nvPr/>
        </p:nvSpPr>
        <p:spPr bwMode="auto">
          <a:xfrm>
            <a:off x="7425024" y="330489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157 h 512"/>
              <a:gd name="T12" fmla="*/ 373 w 512"/>
              <a:gd name="T13" fmla="*/ 160 h 512"/>
              <a:gd name="T14" fmla="*/ 365 w 512"/>
              <a:gd name="T15" fmla="*/ 157 h 512"/>
              <a:gd name="T16" fmla="*/ 341 w 512"/>
              <a:gd name="T17" fmla="*/ 132 h 512"/>
              <a:gd name="T18" fmla="*/ 341 w 512"/>
              <a:gd name="T19" fmla="*/ 202 h 512"/>
              <a:gd name="T20" fmla="*/ 280 w 512"/>
              <a:gd name="T21" fmla="*/ 302 h 512"/>
              <a:gd name="T22" fmla="*/ 275 w 512"/>
              <a:gd name="T23" fmla="*/ 306 h 512"/>
              <a:gd name="T24" fmla="*/ 266 w 512"/>
              <a:gd name="T25" fmla="*/ 320 h 512"/>
              <a:gd name="T26" fmla="*/ 266 w 512"/>
              <a:gd name="T27" fmla="*/ 320 h 512"/>
              <a:gd name="T28" fmla="*/ 266 w 512"/>
              <a:gd name="T29" fmla="*/ 405 h 512"/>
              <a:gd name="T30" fmla="*/ 256 w 512"/>
              <a:gd name="T31" fmla="*/ 416 h 512"/>
              <a:gd name="T32" fmla="*/ 245 w 512"/>
              <a:gd name="T33" fmla="*/ 405 h 512"/>
              <a:gd name="T34" fmla="*/ 245 w 512"/>
              <a:gd name="T35" fmla="*/ 320 h 512"/>
              <a:gd name="T36" fmla="*/ 245 w 512"/>
              <a:gd name="T37" fmla="*/ 319 h 512"/>
              <a:gd name="T38" fmla="*/ 236 w 512"/>
              <a:gd name="T39" fmla="*/ 306 h 512"/>
              <a:gd name="T40" fmla="*/ 231 w 512"/>
              <a:gd name="T41" fmla="*/ 302 h 512"/>
              <a:gd name="T42" fmla="*/ 170 w 512"/>
              <a:gd name="T43" fmla="*/ 202 h 512"/>
              <a:gd name="T44" fmla="*/ 170 w 512"/>
              <a:gd name="T45" fmla="*/ 132 h 512"/>
              <a:gd name="T46" fmla="*/ 146 w 512"/>
              <a:gd name="T47" fmla="*/ 157 h 512"/>
              <a:gd name="T48" fmla="*/ 138 w 512"/>
              <a:gd name="T49" fmla="*/ 160 h 512"/>
              <a:gd name="T50" fmla="*/ 131 w 512"/>
              <a:gd name="T51" fmla="*/ 157 h 512"/>
              <a:gd name="T52" fmla="*/ 131 w 512"/>
              <a:gd name="T53" fmla="*/ 141 h 512"/>
              <a:gd name="T54" fmla="*/ 173 w 512"/>
              <a:gd name="T55" fmla="*/ 99 h 512"/>
              <a:gd name="T56" fmla="*/ 177 w 512"/>
              <a:gd name="T57" fmla="*/ 96 h 512"/>
              <a:gd name="T58" fmla="*/ 185 w 512"/>
              <a:gd name="T59" fmla="*/ 96 h 512"/>
              <a:gd name="T60" fmla="*/ 189 w 512"/>
              <a:gd name="T61" fmla="*/ 99 h 512"/>
              <a:gd name="T62" fmla="*/ 231 w 512"/>
              <a:gd name="T63" fmla="*/ 141 h 512"/>
              <a:gd name="T64" fmla="*/ 231 w 512"/>
              <a:gd name="T65" fmla="*/ 157 h 512"/>
              <a:gd name="T66" fmla="*/ 224 w 512"/>
              <a:gd name="T67" fmla="*/ 160 h 512"/>
              <a:gd name="T68" fmla="*/ 216 w 512"/>
              <a:gd name="T69" fmla="*/ 157 h 512"/>
              <a:gd name="T70" fmla="*/ 192 w 512"/>
              <a:gd name="T71" fmla="*/ 132 h 512"/>
              <a:gd name="T72" fmla="*/ 192 w 512"/>
              <a:gd name="T73" fmla="*/ 202 h 512"/>
              <a:gd name="T74" fmla="*/ 245 w 512"/>
              <a:gd name="T75" fmla="*/ 286 h 512"/>
              <a:gd name="T76" fmla="*/ 251 w 512"/>
              <a:gd name="T77" fmla="*/ 290 h 512"/>
              <a:gd name="T78" fmla="*/ 256 w 512"/>
              <a:gd name="T79" fmla="*/ 295 h 512"/>
              <a:gd name="T80" fmla="*/ 261 w 512"/>
              <a:gd name="T81" fmla="*/ 290 h 512"/>
              <a:gd name="T82" fmla="*/ 266 w 512"/>
              <a:gd name="T83" fmla="*/ 286 h 512"/>
              <a:gd name="T84" fmla="*/ 320 w 512"/>
              <a:gd name="T85" fmla="*/ 202 h 512"/>
              <a:gd name="T86" fmla="*/ 320 w 512"/>
              <a:gd name="T87" fmla="*/ 132 h 512"/>
              <a:gd name="T88" fmla="*/ 295 w 512"/>
              <a:gd name="T89" fmla="*/ 157 h 512"/>
              <a:gd name="T90" fmla="*/ 288 w 512"/>
              <a:gd name="T91" fmla="*/ 160 h 512"/>
              <a:gd name="T92" fmla="*/ 280 w 512"/>
              <a:gd name="T93" fmla="*/ 157 h 512"/>
              <a:gd name="T94" fmla="*/ 280 w 512"/>
              <a:gd name="T95" fmla="*/ 141 h 512"/>
              <a:gd name="T96" fmla="*/ 323 w 512"/>
              <a:gd name="T97" fmla="*/ 99 h 512"/>
              <a:gd name="T98" fmla="*/ 326 w 512"/>
              <a:gd name="T99" fmla="*/ 96 h 512"/>
              <a:gd name="T100" fmla="*/ 334 w 512"/>
              <a:gd name="T101" fmla="*/ 96 h 512"/>
              <a:gd name="T102" fmla="*/ 338 w 512"/>
              <a:gd name="T103" fmla="*/ 99 h 512"/>
              <a:gd name="T104" fmla="*/ 381 w 512"/>
              <a:gd name="T105" fmla="*/ 141 h 512"/>
              <a:gd name="T106" fmla="*/ 381 w 512"/>
              <a:gd name="T107"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157"/>
                </a:moveTo>
                <a:cubicBezTo>
                  <a:pt x="378" y="159"/>
                  <a:pt x="376" y="160"/>
                  <a:pt x="373" y="160"/>
                </a:cubicBezTo>
                <a:cubicBezTo>
                  <a:pt x="370" y="160"/>
                  <a:pt x="368" y="159"/>
                  <a:pt x="365" y="157"/>
                </a:cubicBezTo>
                <a:cubicBezTo>
                  <a:pt x="341" y="132"/>
                  <a:pt x="341" y="132"/>
                  <a:pt x="341" y="132"/>
                </a:cubicBezTo>
                <a:cubicBezTo>
                  <a:pt x="341" y="202"/>
                  <a:pt x="341" y="202"/>
                  <a:pt x="341" y="202"/>
                </a:cubicBezTo>
                <a:cubicBezTo>
                  <a:pt x="341" y="248"/>
                  <a:pt x="303" y="282"/>
                  <a:pt x="280" y="302"/>
                </a:cubicBezTo>
                <a:cubicBezTo>
                  <a:pt x="275" y="306"/>
                  <a:pt x="275" y="306"/>
                  <a:pt x="275" y="306"/>
                </a:cubicBezTo>
                <a:cubicBezTo>
                  <a:pt x="266" y="314"/>
                  <a:pt x="266" y="318"/>
                  <a:pt x="266" y="320"/>
                </a:cubicBezTo>
                <a:cubicBezTo>
                  <a:pt x="266" y="320"/>
                  <a:pt x="266" y="320"/>
                  <a:pt x="266" y="320"/>
                </a:cubicBezTo>
                <a:cubicBezTo>
                  <a:pt x="266" y="405"/>
                  <a:pt x="266" y="405"/>
                  <a:pt x="266" y="405"/>
                </a:cubicBezTo>
                <a:cubicBezTo>
                  <a:pt x="266" y="411"/>
                  <a:pt x="262" y="416"/>
                  <a:pt x="256" y="416"/>
                </a:cubicBezTo>
                <a:cubicBezTo>
                  <a:pt x="250" y="416"/>
                  <a:pt x="245" y="411"/>
                  <a:pt x="245" y="405"/>
                </a:cubicBezTo>
                <a:cubicBezTo>
                  <a:pt x="245" y="320"/>
                  <a:pt x="245" y="320"/>
                  <a:pt x="245" y="320"/>
                </a:cubicBezTo>
                <a:cubicBezTo>
                  <a:pt x="245" y="319"/>
                  <a:pt x="245" y="319"/>
                  <a:pt x="245" y="319"/>
                </a:cubicBezTo>
                <a:cubicBezTo>
                  <a:pt x="245" y="318"/>
                  <a:pt x="245" y="314"/>
                  <a:pt x="236" y="306"/>
                </a:cubicBezTo>
                <a:cubicBezTo>
                  <a:pt x="231" y="302"/>
                  <a:pt x="231" y="302"/>
                  <a:pt x="231" y="302"/>
                </a:cubicBezTo>
                <a:cubicBezTo>
                  <a:pt x="208" y="282"/>
                  <a:pt x="170" y="248"/>
                  <a:pt x="170" y="202"/>
                </a:cubicBezTo>
                <a:cubicBezTo>
                  <a:pt x="170" y="132"/>
                  <a:pt x="170" y="132"/>
                  <a:pt x="170" y="132"/>
                </a:cubicBezTo>
                <a:cubicBezTo>
                  <a:pt x="146" y="157"/>
                  <a:pt x="146" y="157"/>
                  <a:pt x="146" y="157"/>
                </a:cubicBezTo>
                <a:cubicBezTo>
                  <a:pt x="144" y="159"/>
                  <a:pt x="141" y="160"/>
                  <a:pt x="138" y="160"/>
                </a:cubicBezTo>
                <a:cubicBezTo>
                  <a:pt x="136" y="160"/>
                  <a:pt x="133" y="159"/>
                  <a:pt x="131" y="157"/>
                </a:cubicBezTo>
                <a:cubicBezTo>
                  <a:pt x="127" y="152"/>
                  <a:pt x="127" y="146"/>
                  <a:pt x="131" y="141"/>
                </a:cubicBezTo>
                <a:cubicBezTo>
                  <a:pt x="173" y="99"/>
                  <a:pt x="173" y="99"/>
                  <a:pt x="173" y="99"/>
                </a:cubicBezTo>
                <a:cubicBezTo>
                  <a:pt x="174" y="98"/>
                  <a:pt x="176" y="97"/>
                  <a:pt x="177" y="96"/>
                </a:cubicBezTo>
                <a:cubicBezTo>
                  <a:pt x="180" y="95"/>
                  <a:pt x="182" y="95"/>
                  <a:pt x="185" y="96"/>
                </a:cubicBezTo>
                <a:cubicBezTo>
                  <a:pt x="186" y="97"/>
                  <a:pt x="188" y="98"/>
                  <a:pt x="189" y="99"/>
                </a:cubicBezTo>
                <a:cubicBezTo>
                  <a:pt x="231" y="141"/>
                  <a:pt x="231" y="141"/>
                  <a:pt x="231" y="141"/>
                </a:cubicBezTo>
                <a:cubicBezTo>
                  <a:pt x="235" y="146"/>
                  <a:pt x="235" y="152"/>
                  <a:pt x="231" y="157"/>
                </a:cubicBezTo>
                <a:cubicBezTo>
                  <a:pt x="229" y="159"/>
                  <a:pt x="226" y="160"/>
                  <a:pt x="224" y="160"/>
                </a:cubicBezTo>
                <a:cubicBezTo>
                  <a:pt x="221" y="160"/>
                  <a:pt x="218" y="159"/>
                  <a:pt x="216" y="157"/>
                </a:cubicBezTo>
                <a:cubicBezTo>
                  <a:pt x="192" y="132"/>
                  <a:pt x="192" y="132"/>
                  <a:pt x="192" y="132"/>
                </a:cubicBezTo>
                <a:cubicBezTo>
                  <a:pt x="192" y="202"/>
                  <a:pt x="192" y="202"/>
                  <a:pt x="192" y="202"/>
                </a:cubicBezTo>
                <a:cubicBezTo>
                  <a:pt x="192" y="238"/>
                  <a:pt x="224" y="267"/>
                  <a:pt x="245" y="286"/>
                </a:cubicBezTo>
                <a:cubicBezTo>
                  <a:pt x="251" y="290"/>
                  <a:pt x="251" y="290"/>
                  <a:pt x="251" y="290"/>
                </a:cubicBezTo>
                <a:cubicBezTo>
                  <a:pt x="252" y="292"/>
                  <a:pt x="254" y="294"/>
                  <a:pt x="256" y="295"/>
                </a:cubicBezTo>
                <a:cubicBezTo>
                  <a:pt x="257" y="294"/>
                  <a:pt x="259" y="292"/>
                  <a:pt x="261" y="290"/>
                </a:cubicBezTo>
                <a:cubicBezTo>
                  <a:pt x="266" y="286"/>
                  <a:pt x="266" y="286"/>
                  <a:pt x="266" y="286"/>
                </a:cubicBezTo>
                <a:cubicBezTo>
                  <a:pt x="287" y="267"/>
                  <a:pt x="320" y="238"/>
                  <a:pt x="320" y="202"/>
                </a:cubicBezTo>
                <a:cubicBezTo>
                  <a:pt x="320" y="132"/>
                  <a:pt x="320" y="132"/>
                  <a:pt x="320" y="132"/>
                </a:cubicBezTo>
                <a:cubicBezTo>
                  <a:pt x="295" y="157"/>
                  <a:pt x="295" y="157"/>
                  <a:pt x="295" y="157"/>
                </a:cubicBezTo>
                <a:cubicBezTo>
                  <a:pt x="293" y="159"/>
                  <a:pt x="290" y="160"/>
                  <a:pt x="288" y="160"/>
                </a:cubicBezTo>
                <a:cubicBezTo>
                  <a:pt x="285" y="160"/>
                  <a:pt x="282" y="159"/>
                  <a:pt x="280" y="157"/>
                </a:cubicBezTo>
                <a:cubicBezTo>
                  <a:pt x="276" y="152"/>
                  <a:pt x="276" y="146"/>
                  <a:pt x="280" y="141"/>
                </a:cubicBezTo>
                <a:cubicBezTo>
                  <a:pt x="323" y="99"/>
                  <a:pt x="323" y="99"/>
                  <a:pt x="323" y="99"/>
                </a:cubicBezTo>
                <a:cubicBezTo>
                  <a:pt x="324" y="98"/>
                  <a:pt x="325" y="97"/>
                  <a:pt x="326" y="96"/>
                </a:cubicBezTo>
                <a:cubicBezTo>
                  <a:pt x="329" y="95"/>
                  <a:pt x="332" y="95"/>
                  <a:pt x="334" y="96"/>
                </a:cubicBezTo>
                <a:cubicBezTo>
                  <a:pt x="336" y="97"/>
                  <a:pt x="337" y="98"/>
                  <a:pt x="338" y="99"/>
                </a:cubicBezTo>
                <a:cubicBezTo>
                  <a:pt x="381" y="141"/>
                  <a:pt x="381" y="141"/>
                  <a:pt x="381" y="141"/>
                </a:cubicBezTo>
                <a:cubicBezTo>
                  <a:pt x="385" y="146"/>
                  <a:pt x="385" y="152"/>
                  <a:pt x="381" y="1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2" name="TextBox 641">
            <a:extLst>
              <a:ext uri="{FF2B5EF4-FFF2-40B4-BE49-F238E27FC236}">
                <a16:creationId xmlns:a16="http://schemas.microsoft.com/office/drawing/2014/main" id="{99722C7D-01C6-42E2-A087-624CA36577E6}"/>
              </a:ext>
            </a:extLst>
          </p:cNvPr>
          <p:cNvSpPr txBox="1"/>
          <p:nvPr/>
        </p:nvSpPr>
        <p:spPr>
          <a:xfrm>
            <a:off x="7356711" y="373611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lit</a:t>
            </a:r>
          </a:p>
        </p:txBody>
      </p:sp>
      <p:grpSp>
        <p:nvGrpSpPr>
          <p:cNvPr id="643" name="Group 642">
            <a:extLst>
              <a:ext uri="{FF2B5EF4-FFF2-40B4-BE49-F238E27FC236}">
                <a16:creationId xmlns:a16="http://schemas.microsoft.com/office/drawing/2014/main" id="{6505A67B-CA90-4BE5-A44B-A899A853F986}"/>
              </a:ext>
            </a:extLst>
          </p:cNvPr>
          <p:cNvGrpSpPr/>
          <p:nvPr/>
        </p:nvGrpSpPr>
        <p:grpSpPr>
          <a:xfrm>
            <a:off x="6146585" y="1729938"/>
            <a:ext cx="355601" cy="355601"/>
            <a:chOff x="5797445" y="1691771"/>
            <a:chExt cx="355601" cy="355601"/>
          </a:xfrm>
        </p:grpSpPr>
        <p:sp>
          <p:nvSpPr>
            <p:cNvPr id="644" name="Freeform 179">
              <a:extLst>
                <a:ext uri="{FF2B5EF4-FFF2-40B4-BE49-F238E27FC236}">
                  <a16:creationId xmlns:a16="http://schemas.microsoft.com/office/drawing/2014/main" id="{FB300731-46C6-46FA-922E-0D54520A0580}"/>
                </a:ext>
              </a:extLst>
            </p:cNvPr>
            <p:cNvSpPr>
              <a:spLocks/>
            </p:cNvSpPr>
            <p:nvPr/>
          </p:nvSpPr>
          <p:spPr bwMode="auto">
            <a:xfrm>
              <a:off x="5863198" y="1777572"/>
              <a:ext cx="206663" cy="172713"/>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5" name="Oval 644">
              <a:extLst>
                <a:ext uri="{FF2B5EF4-FFF2-40B4-BE49-F238E27FC236}">
                  <a16:creationId xmlns:a16="http://schemas.microsoft.com/office/drawing/2014/main" id="{46E416EB-8914-4896-A056-64027ECC5DDD}"/>
                </a:ext>
              </a:extLst>
            </p:cNvPr>
            <p:cNvSpPr/>
            <p:nvPr/>
          </p:nvSpPr>
          <p:spPr bwMode="gray">
            <a:xfrm>
              <a:off x="5797445" y="1691771"/>
              <a:ext cx="355601" cy="355601"/>
            </a:xfrm>
            <a:prstGeom prst="ellipse">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3133277083"/>
      </p:ext>
    </p:extLst>
  </p:cSld>
  <p:clrMapOvr>
    <a:masterClrMapping/>
  </p:clrMapOvr>
  <p:transition>
    <p:fade/>
  </p:transition>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Life science/Healthcare</a:t>
            </a:r>
            <a:endParaRPr lang="en-GB" dirty="0"/>
          </a:p>
        </p:txBody>
      </p:sp>
      <p:sp>
        <p:nvSpPr>
          <p:cNvPr id="4" name="Title 3"/>
          <p:cNvSpPr>
            <a:spLocks noGrp="1"/>
          </p:cNvSpPr>
          <p:nvPr>
            <p:ph type="title"/>
          </p:nvPr>
        </p:nvSpPr>
        <p:spPr/>
        <p:txBody>
          <a:bodyPr/>
          <a:lstStyle/>
          <a:p>
            <a:r>
              <a:rPr lang="en-GB" dirty="0"/>
              <a:t>Iconography</a:t>
            </a:r>
          </a:p>
        </p:txBody>
      </p:sp>
      <p:sp>
        <p:nvSpPr>
          <p:cNvPr id="145" name="TextBox 144">
            <a:extLst>
              <a:ext uri="{FF2B5EF4-FFF2-40B4-BE49-F238E27FC236}">
                <a16:creationId xmlns:a16="http://schemas.microsoft.com/office/drawing/2014/main" id="{1BF17CCE-4BB4-46DD-A7E6-5F0DE6604C39}"/>
              </a:ext>
            </a:extLst>
          </p:cNvPr>
          <p:cNvSpPr txBox="1"/>
          <p:nvPr/>
        </p:nvSpPr>
        <p:spPr>
          <a:xfrm>
            <a:off x="476504" y="213538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by bottle</a:t>
            </a:r>
          </a:p>
        </p:txBody>
      </p:sp>
      <p:sp>
        <p:nvSpPr>
          <p:cNvPr id="146" name="TextBox 145">
            <a:extLst>
              <a:ext uri="{FF2B5EF4-FFF2-40B4-BE49-F238E27FC236}">
                <a16:creationId xmlns:a16="http://schemas.microsoft.com/office/drawing/2014/main" id="{4B7B69D3-07E7-4A78-A7CD-5CDA380340AE}"/>
              </a:ext>
            </a:extLst>
          </p:cNvPr>
          <p:cNvSpPr txBox="1"/>
          <p:nvPr/>
        </p:nvSpPr>
        <p:spPr>
          <a:xfrm>
            <a:off x="1334262" y="213538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by</a:t>
            </a:r>
          </a:p>
        </p:txBody>
      </p:sp>
      <p:sp>
        <p:nvSpPr>
          <p:cNvPr id="147" name="TextBox 146">
            <a:extLst>
              <a:ext uri="{FF2B5EF4-FFF2-40B4-BE49-F238E27FC236}">
                <a16:creationId xmlns:a16="http://schemas.microsoft.com/office/drawing/2014/main" id="{FFB3B239-D0BC-4725-A091-0F8E1DF581D4}"/>
              </a:ext>
            </a:extLst>
          </p:cNvPr>
          <p:cNvSpPr txBox="1"/>
          <p:nvPr/>
        </p:nvSpPr>
        <p:spPr>
          <a:xfrm>
            <a:off x="22068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by stroller</a:t>
            </a:r>
          </a:p>
        </p:txBody>
      </p:sp>
      <p:sp>
        <p:nvSpPr>
          <p:cNvPr id="148" name="TextBox 147">
            <a:extLst>
              <a:ext uri="{FF2B5EF4-FFF2-40B4-BE49-F238E27FC236}">
                <a16:creationId xmlns:a16="http://schemas.microsoft.com/office/drawing/2014/main" id="{D9CD204E-1F64-436B-9978-1778F7659465}"/>
              </a:ext>
            </a:extLst>
          </p:cNvPr>
          <p:cNvSpPr txBox="1"/>
          <p:nvPr/>
        </p:nvSpPr>
        <p:spPr>
          <a:xfrm>
            <a:off x="39456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eaker</a:t>
            </a:r>
          </a:p>
        </p:txBody>
      </p:sp>
      <p:sp>
        <p:nvSpPr>
          <p:cNvPr id="149" name="TextBox 148">
            <a:extLst>
              <a:ext uri="{FF2B5EF4-FFF2-40B4-BE49-F238E27FC236}">
                <a16:creationId xmlns:a16="http://schemas.microsoft.com/office/drawing/2014/main" id="{497DD7CC-490B-424F-95E1-479BCAF81CAD}"/>
              </a:ext>
            </a:extLst>
          </p:cNvPr>
          <p:cNvSpPr txBox="1"/>
          <p:nvPr/>
        </p:nvSpPr>
        <p:spPr>
          <a:xfrm>
            <a:off x="30762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nd Aid</a:t>
            </a:r>
          </a:p>
        </p:txBody>
      </p:sp>
      <p:sp>
        <p:nvSpPr>
          <p:cNvPr id="150" name="TextBox 149">
            <a:extLst>
              <a:ext uri="{FF2B5EF4-FFF2-40B4-BE49-F238E27FC236}">
                <a16:creationId xmlns:a16="http://schemas.microsoft.com/office/drawing/2014/main" id="{64CB5ECB-3380-4105-9AA4-EE98AE950B3F}"/>
              </a:ext>
            </a:extLst>
          </p:cNvPr>
          <p:cNvSpPr txBox="1"/>
          <p:nvPr/>
        </p:nvSpPr>
        <p:spPr>
          <a:xfrm>
            <a:off x="48150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st aid kit</a:t>
            </a:r>
          </a:p>
        </p:txBody>
      </p:sp>
      <p:sp>
        <p:nvSpPr>
          <p:cNvPr id="151" name="TextBox 150">
            <a:extLst>
              <a:ext uri="{FF2B5EF4-FFF2-40B4-BE49-F238E27FC236}">
                <a16:creationId xmlns:a16="http://schemas.microsoft.com/office/drawing/2014/main" id="{68739CA5-EF36-4CBC-BDEE-634EF30BB222}"/>
              </a:ext>
            </a:extLst>
          </p:cNvPr>
          <p:cNvSpPr txBox="1"/>
          <p:nvPr/>
        </p:nvSpPr>
        <p:spPr>
          <a:xfrm>
            <a:off x="65538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ll</a:t>
            </a:r>
          </a:p>
        </p:txBody>
      </p:sp>
      <p:sp>
        <p:nvSpPr>
          <p:cNvPr id="152" name="TextBox 151">
            <a:extLst>
              <a:ext uri="{FF2B5EF4-FFF2-40B4-BE49-F238E27FC236}">
                <a16:creationId xmlns:a16="http://schemas.microsoft.com/office/drawing/2014/main" id="{6299C19B-E713-4D68-B2C7-FF595F91039A}"/>
              </a:ext>
            </a:extLst>
          </p:cNvPr>
          <p:cNvSpPr txBox="1"/>
          <p:nvPr/>
        </p:nvSpPr>
        <p:spPr>
          <a:xfrm>
            <a:off x="56844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st aid</a:t>
            </a:r>
          </a:p>
        </p:txBody>
      </p:sp>
      <p:sp>
        <p:nvSpPr>
          <p:cNvPr id="153" name="TextBox 152">
            <a:extLst>
              <a:ext uri="{FF2B5EF4-FFF2-40B4-BE49-F238E27FC236}">
                <a16:creationId xmlns:a16="http://schemas.microsoft.com/office/drawing/2014/main" id="{94B44F6E-711C-44AD-B787-163A3D3BA68F}"/>
              </a:ext>
            </a:extLst>
          </p:cNvPr>
          <p:cNvSpPr txBox="1"/>
          <p:nvPr/>
        </p:nvSpPr>
        <p:spPr>
          <a:xfrm>
            <a:off x="8292637" y="213538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est tube</a:t>
            </a:r>
          </a:p>
        </p:txBody>
      </p:sp>
      <p:sp>
        <p:nvSpPr>
          <p:cNvPr id="154" name="TextBox 153">
            <a:extLst>
              <a:ext uri="{FF2B5EF4-FFF2-40B4-BE49-F238E27FC236}">
                <a16:creationId xmlns:a16="http://schemas.microsoft.com/office/drawing/2014/main" id="{44A99ECF-09E5-42F5-BD66-37AA44271DD3}"/>
              </a:ext>
            </a:extLst>
          </p:cNvPr>
          <p:cNvSpPr txBox="1"/>
          <p:nvPr/>
        </p:nvSpPr>
        <p:spPr>
          <a:xfrm>
            <a:off x="9165212"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est tubes</a:t>
            </a:r>
          </a:p>
        </p:txBody>
      </p:sp>
      <p:sp>
        <p:nvSpPr>
          <p:cNvPr id="155" name="TextBox 154">
            <a:extLst>
              <a:ext uri="{FF2B5EF4-FFF2-40B4-BE49-F238E27FC236}">
                <a16:creationId xmlns:a16="http://schemas.microsoft.com/office/drawing/2014/main" id="{0E702B72-7AF8-4049-B6F6-1BC648074BBE}"/>
              </a:ext>
            </a:extLst>
          </p:cNvPr>
          <p:cNvSpPr txBox="1"/>
          <p:nvPr/>
        </p:nvSpPr>
        <p:spPr>
          <a:xfrm>
            <a:off x="10904008"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kull &amp; bones</a:t>
            </a:r>
          </a:p>
        </p:txBody>
      </p:sp>
      <p:sp>
        <p:nvSpPr>
          <p:cNvPr id="156" name="TextBox 155">
            <a:extLst>
              <a:ext uri="{FF2B5EF4-FFF2-40B4-BE49-F238E27FC236}">
                <a16:creationId xmlns:a16="http://schemas.microsoft.com/office/drawing/2014/main" id="{777460A1-D138-4C30-A724-30035CE59D51}"/>
              </a:ext>
            </a:extLst>
          </p:cNvPr>
          <p:cNvSpPr txBox="1"/>
          <p:nvPr/>
        </p:nvSpPr>
        <p:spPr>
          <a:xfrm>
            <a:off x="454374"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ethoscope</a:t>
            </a:r>
          </a:p>
        </p:txBody>
      </p:sp>
      <p:sp>
        <p:nvSpPr>
          <p:cNvPr id="157" name="TextBox 156">
            <a:extLst>
              <a:ext uri="{FF2B5EF4-FFF2-40B4-BE49-F238E27FC236}">
                <a16:creationId xmlns:a16="http://schemas.microsoft.com/office/drawing/2014/main" id="{492C677F-2250-4711-AAF6-175FE47984E8}"/>
              </a:ext>
            </a:extLst>
          </p:cNvPr>
          <p:cNvSpPr txBox="1"/>
          <p:nvPr/>
        </p:nvSpPr>
        <p:spPr>
          <a:xfrm>
            <a:off x="10034612"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mbulance</a:t>
            </a:r>
          </a:p>
        </p:txBody>
      </p:sp>
      <p:sp>
        <p:nvSpPr>
          <p:cNvPr id="158" name="TextBox 157">
            <a:extLst>
              <a:ext uri="{FF2B5EF4-FFF2-40B4-BE49-F238E27FC236}">
                <a16:creationId xmlns:a16="http://schemas.microsoft.com/office/drawing/2014/main" id="{6DFBE267-79FE-47BC-BF33-8D964F91C8CC}"/>
              </a:ext>
            </a:extLst>
          </p:cNvPr>
          <p:cNvSpPr txBox="1"/>
          <p:nvPr/>
        </p:nvSpPr>
        <p:spPr>
          <a:xfrm>
            <a:off x="1324743"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yringe</a:t>
            </a:r>
          </a:p>
        </p:txBody>
      </p:sp>
      <p:sp>
        <p:nvSpPr>
          <p:cNvPr id="159" name="TextBox 158">
            <a:extLst>
              <a:ext uri="{FF2B5EF4-FFF2-40B4-BE49-F238E27FC236}">
                <a16:creationId xmlns:a16="http://schemas.microsoft.com/office/drawing/2014/main" id="{645C9454-8CDB-4096-98EA-075B5402874B}"/>
              </a:ext>
            </a:extLst>
          </p:cNvPr>
          <p:cNvSpPr txBox="1"/>
          <p:nvPr/>
        </p:nvSpPr>
        <p:spPr>
          <a:xfrm>
            <a:off x="3935850"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NA</a:t>
            </a:r>
          </a:p>
        </p:txBody>
      </p:sp>
      <p:sp>
        <p:nvSpPr>
          <p:cNvPr id="160" name="TextBox 159">
            <a:extLst>
              <a:ext uri="{FF2B5EF4-FFF2-40B4-BE49-F238E27FC236}">
                <a16:creationId xmlns:a16="http://schemas.microsoft.com/office/drawing/2014/main" id="{46D3F51F-A25C-4824-85C0-97D6B76DB3A1}"/>
              </a:ext>
            </a:extLst>
          </p:cNvPr>
          <p:cNvSpPr txBox="1"/>
          <p:nvPr/>
        </p:nvSpPr>
        <p:spPr>
          <a:xfrm>
            <a:off x="3065481"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croscope</a:t>
            </a:r>
          </a:p>
        </p:txBody>
      </p:sp>
      <p:sp>
        <p:nvSpPr>
          <p:cNvPr id="161" name="TextBox 160">
            <a:extLst>
              <a:ext uri="{FF2B5EF4-FFF2-40B4-BE49-F238E27FC236}">
                <a16:creationId xmlns:a16="http://schemas.microsoft.com/office/drawing/2014/main" id="{C74DFE3C-3B29-4D6F-8633-A5DC1E770547}"/>
              </a:ext>
            </a:extLst>
          </p:cNvPr>
          <p:cNvSpPr txBox="1"/>
          <p:nvPr/>
        </p:nvSpPr>
        <p:spPr>
          <a:xfrm>
            <a:off x="2195112"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ll bottle</a:t>
            </a:r>
          </a:p>
        </p:txBody>
      </p:sp>
      <p:sp>
        <p:nvSpPr>
          <p:cNvPr id="162" name="TextBox 161">
            <a:extLst>
              <a:ext uri="{FF2B5EF4-FFF2-40B4-BE49-F238E27FC236}">
                <a16:creationId xmlns:a16="http://schemas.microsoft.com/office/drawing/2014/main" id="{192A41D2-A963-4AEA-A33E-FC4D35C5CEA1}"/>
              </a:ext>
            </a:extLst>
          </p:cNvPr>
          <p:cNvSpPr txBox="1"/>
          <p:nvPr/>
        </p:nvSpPr>
        <p:spPr>
          <a:xfrm>
            <a:off x="4806219" y="294103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heelchair</a:t>
            </a:r>
          </a:p>
        </p:txBody>
      </p:sp>
      <p:sp>
        <p:nvSpPr>
          <p:cNvPr id="163" name="TextBox 162">
            <a:extLst>
              <a:ext uri="{FF2B5EF4-FFF2-40B4-BE49-F238E27FC236}">
                <a16:creationId xmlns:a16="http://schemas.microsoft.com/office/drawing/2014/main" id="{3EA34402-EA59-4B37-A5A8-3778FF310B1D}"/>
              </a:ext>
            </a:extLst>
          </p:cNvPr>
          <p:cNvSpPr txBox="1"/>
          <p:nvPr/>
        </p:nvSpPr>
        <p:spPr>
          <a:xfrm>
            <a:off x="5664946" y="294103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art rate</a:t>
            </a:r>
          </a:p>
        </p:txBody>
      </p:sp>
      <p:sp>
        <p:nvSpPr>
          <p:cNvPr id="164" name="TextBox 163">
            <a:extLst>
              <a:ext uri="{FF2B5EF4-FFF2-40B4-BE49-F238E27FC236}">
                <a16:creationId xmlns:a16="http://schemas.microsoft.com/office/drawing/2014/main" id="{FD2393A1-26B0-4AE6-9E71-A2B725444B2D}"/>
              </a:ext>
            </a:extLst>
          </p:cNvPr>
          <p:cNvSpPr txBox="1"/>
          <p:nvPr/>
        </p:nvSpPr>
        <p:spPr>
          <a:xfrm>
            <a:off x="6538490"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cifier</a:t>
            </a:r>
          </a:p>
        </p:txBody>
      </p:sp>
      <p:sp>
        <p:nvSpPr>
          <p:cNvPr id="165" name="TextBox 164">
            <a:extLst>
              <a:ext uri="{FF2B5EF4-FFF2-40B4-BE49-F238E27FC236}">
                <a16:creationId xmlns:a16="http://schemas.microsoft.com/office/drawing/2014/main" id="{B6E8A234-981B-4F56-8DCC-602E6F0B49F8}"/>
              </a:ext>
            </a:extLst>
          </p:cNvPr>
          <p:cNvSpPr txBox="1"/>
          <p:nvPr/>
        </p:nvSpPr>
        <p:spPr>
          <a:xfrm>
            <a:off x="8279228"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ar of life</a:t>
            </a:r>
          </a:p>
        </p:txBody>
      </p:sp>
      <p:sp>
        <p:nvSpPr>
          <p:cNvPr id="166" name="TextBox 165">
            <a:extLst>
              <a:ext uri="{FF2B5EF4-FFF2-40B4-BE49-F238E27FC236}">
                <a16:creationId xmlns:a16="http://schemas.microsoft.com/office/drawing/2014/main" id="{26B51385-8E55-409A-943D-9C0376AB9764}"/>
              </a:ext>
            </a:extLst>
          </p:cNvPr>
          <p:cNvSpPr txBox="1"/>
          <p:nvPr/>
        </p:nvSpPr>
        <p:spPr>
          <a:xfrm>
            <a:off x="9149597"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ospital </a:t>
            </a:r>
          </a:p>
        </p:txBody>
      </p:sp>
      <p:sp>
        <p:nvSpPr>
          <p:cNvPr id="167" name="TextBox 166">
            <a:extLst>
              <a:ext uri="{FF2B5EF4-FFF2-40B4-BE49-F238E27FC236}">
                <a16:creationId xmlns:a16="http://schemas.microsoft.com/office/drawing/2014/main" id="{6D7E8F6B-F915-457E-B16E-153EAEB872EF}"/>
              </a:ext>
            </a:extLst>
          </p:cNvPr>
          <p:cNvSpPr txBox="1"/>
          <p:nvPr/>
        </p:nvSpPr>
        <p:spPr>
          <a:xfrm>
            <a:off x="7408859" y="294103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ain</a:t>
            </a:r>
          </a:p>
        </p:txBody>
      </p:sp>
      <p:sp>
        <p:nvSpPr>
          <p:cNvPr id="168" name="TextBox 167">
            <a:extLst>
              <a:ext uri="{FF2B5EF4-FFF2-40B4-BE49-F238E27FC236}">
                <a16:creationId xmlns:a16="http://schemas.microsoft.com/office/drawing/2014/main" id="{748BDD4F-3309-4AD0-BCBA-9CC96AB1A76A}"/>
              </a:ext>
            </a:extLst>
          </p:cNvPr>
          <p:cNvSpPr txBox="1"/>
          <p:nvPr/>
        </p:nvSpPr>
        <p:spPr>
          <a:xfrm>
            <a:off x="7423237" y="213538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oken heart</a:t>
            </a:r>
          </a:p>
        </p:txBody>
      </p:sp>
      <p:sp>
        <p:nvSpPr>
          <p:cNvPr id="169" name="Freeform 255">
            <a:extLst>
              <a:ext uri="{FF2B5EF4-FFF2-40B4-BE49-F238E27FC236}">
                <a16:creationId xmlns:a16="http://schemas.microsoft.com/office/drawing/2014/main" id="{771E2C7F-AF45-4214-9E2F-AA09EFCDCD20}"/>
              </a:ext>
            </a:extLst>
          </p:cNvPr>
          <p:cNvSpPr>
            <a:spLocks noChangeAspect="1" noEditPoints="1"/>
          </p:cNvSpPr>
          <p:nvPr/>
        </p:nvSpPr>
        <p:spPr bwMode="auto">
          <a:xfrm>
            <a:off x="476504" y="1715126"/>
            <a:ext cx="369064" cy="367982"/>
          </a:xfrm>
          <a:custGeom>
            <a:avLst/>
            <a:gdLst>
              <a:gd name="T0" fmla="*/ 192 w 512"/>
              <a:gd name="T1" fmla="*/ 202 h 512"/>
              <a:gd name="T2" fmla="*/ 320 w 512"/>
              <a:gd name="T3" fmla="*/ 202 h 512"/>
              <a:gd name="T4" fmla="*/ 320 w 512"/>
              <a:gd name="T5" fmla="*/ 224 h 512"/>
              <a:gd name="T6" fmla="*/ 192 w 512"/>
              <a:gd name="T7" fmla="*/ 224 h 512"/>
              <a:gd name="T8" fmla="*/ 192 w 512"/>
              <a:gd name="T9" fmla="*/ 202 h 512"/>
              <a:gd name="T10" fmla="*/ 273 w 512"/>
              <a:gd name="T11" fmla="*/ 153 h 512"/>
              <a:gd name="T12" fmla="*/ 266 w 512"/>
              <a:gd name="T13" fmla="*/ 143 h 512"/>
              <a:gd name="T14" fmla="*/ 266 w 512"/>
              <a:gd name="T15" fmla="*/ 128 h 512"/>
              <a:gd name="T16" fmla="*/ 256 w 512"/>
              <a:gd name="T17" fmla="*/ 117 h 512"/>
              <a:gd name="T18" fmla="*/ 245 w 512"/>
              <a:gd name="T19" fmla="*/ 128 h 512"/>
              <a:gd name="T20" fmla="*/ 245 w 512"/>
              <a:gd name="T21" fmla="*/ 143 h 512"/>
              <a:gd name="T22" fmla="*/ 239 w 512"/>
              <a:gd name="T23" fmla="*/ 153 h 512"/>
              <a:gd name="T24" fmla="*/ 214 w 512"/>
              <a:gd name="T25" fmla="*/ 181 h 512"/>
              <a:gd name="T26" fmla="*/ 297 w 512"/>
              <a:gd name="T27" fmla="*/ 181 h 512"/>
              <a:gd name="T28" fmla="*/ 273 w 512"/>
              <a:gd name="T29" fmla="*/ 153 h 512"/>
              <a:gd name="T30" fmla="*/ 213 w 512"/>
              <a:gd name="T31" fmla="*/ 394 h 512"/>
              <a:gd name="T32" fmla="*/ 298 w 512"/>
              <a:gd name="T33" fmla="*/ 394 h 512"/>
              <a:gd name="T34" fmla="*/ 298 w 512"/>
              <a:gd name="T35" fmla="*/ 373 h 512"/>
              <a:gd name="T36" fmla="*/ 266 w 512"/>
              <a:gd name="T37" fmla="*/ 373 h 512"/>
              <a:gd name="T38" fmla="*/ 256 w 512"/>
              <a:gd name="T39" fmla="*/ 362 h 512"/>
              <a:gd name="T40" fmla="*/ 266 w 512"/>
              <a:gd name="T41" fmla="*/ 352 h 512"/>
              <a:gd name="T42" fmla="*/ 298 w 512"/>
              <a:gd name="T43" fmla="*/ 352 h 512"/>
              <a:gd name="T44" fmla="*/ 298 w 512"/>
              <a:gd name="T45" fmla="*/ 330 h 512"/>
              <a:gd name="T46" fmla="*/ 266 w 512"/>
              <a:gd name="T47" fmla="*/ 330 h 512"/>
              <a:gd name="T48" fmla="*/ 256 w 512"/>
              <a:gd name="T49" fmla="*/ 320 h 512"/>
              <a:gd name="T50" fmla="*/ 266 w 512"/>
              <a:gd name="T51" fmla="*/ 309 h 512"/>
              <a:gd name="T52" fmla="*/ 298 w 512"/>
              <a:gd name="T53" fmla="*/ 309 h 512"/>
              <a:gd name="T54" fmla="*/ 298 w 512"/>
              <a:gd name="T55" fmla="*/ 288 h 512"/>
              <a:gd name="T56" fmla="*/ 266 w 512"/>
              <a:gd name="T57" fmla="*/ 288 h 512"/>
              <a:gd name="T58" fmla="*/ 256 w 512"/>
              <a:gd name="T59" fmla="*/ 277 h 512"/>
              <a:gd name="T60" fmla="*/ 266 w 512"/>
              <a:gd name="T61" fmla="*/ 266 h 512"/>
              <a:gd name="T62" fmla="*/ 298 w 512"/>
              <a:gd name="T63" fmla="*/ 266 h 512"/>
              <a:gd name="T64" fmla="*/ 298 w 512"/>
              <a:gd name="T65" fmla="*/ 245 h 512"/>
              <a:gd name="T66" fmla="*/ 213 w 512"/>
              <a:gd name="T67" fmla="*/ 245 h 512"/>
              <a:gd name="T68" fmla="*/ 213 w 512"/>
              <a:gd name="T69" fmla="*/ 394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341 w 512"/>
              <a:gd name="T81" fmla="*/ 192 h 512"/>
              <a:gd name="T82" fmla="*/ 330 w 512"/>
              <a:gd name="T83" fmla="*/ 181 h 512"/>
              <a:gd name="T84" fmla="*/ 319 w 512"/>
              <a:gd name="T85" fmla="*/ 181 h 512"/>
              <a:gd name="T86" fmla="*/ 288 w 512"/>
              <a:gd name="T87" fmla="*/ 136 h 512"/>
              <a:gd name="T88" fmla="*/ 288 w 512"/>
              <a:gd name="T89" fmla="*/ 128 h 512"/>
              <a:gd name="T90" fmla="*/ 256 w 512"/>
              <a:gd name="T91" fmla="*/ 96 h 512"/>
              <a:gd name="T92" fmla="*/ 224 w 512"/>
              <a:gd name="T93" fmla="*/ 128 h 512"/>
              <a:gd name="T94" fmla="*/ 224 w 512"/>
              <a:gd name="T95" fmla="*/ 136 h 512"/>
              <a:gd name="T96" fmla="*/ 193 w 512"/>
              <a:gd name="T97" fmla="*/ 181 h 512"/>
              <a:gd name="T98" fmla="*/ 181 w 512"/>
              <a:gd name="T99" fmla="*/ 181 h 512"/>
              <a:gd name="T100" fmla="*/ 170 w 512"/>
              <a:gd name="T101" fmla="*/ 192 h 512"/>
              <a:gd name="T102" fmla="*/ 170 w 512"/>
              <a:gd name="T103" fmla="*/ 234 h 512"/>
              <a:gd name="T104" fmla="*/ 181 w 512"/>
              <a:gd name="T105" fmla="*/ 245 h 512"/>
              <a:gd name="T106" fmla="*/ 192 w 512"/>
              <a:gd name="T107" fmla="*/ 245 h 512"/>
              <a:gd name="T108" fmla="*/ 192 w 512"/>
              <a:gd name="T109" fmla="*/ 405 h 512"/>
              <a:gd name="T110" fmla="*/ 202 w 512"/>
              <a:gd name="T111" fmla="*/ 416 h 512"/>
              <a:gd name="T112" fmla="*/ 309 w 512"/>
              <a:gd name="T113" fmla="*/ 416 h 512"/>
              <a:gd name="T114" fmla="*/ 320 w 512"/>
              <a:gd name="T115" fmla="*/ 405 h 512"/>
              <a:gd name="T116" fmla="*/ 320 w 512"/>
              <a:gd name="T117" fmla="*/ 245 h 512"/>
              <a:gd name="T118" fmla="*/ 330 w 512"/>
              <a:gd name="T119" fmla="*/ 245 h 512"/>
              <a:gd name="T120" fmla="*/ 341 w 512"/>
              <a:gd name="T121" fmla="*/ 234 h 512"/>
              <a:gd name="T122" fmla="*/ 341 w 512"/>
              <a:gd name="T12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192" y="202"/>
                </a:moveTo>
                <a:cubicBezTo>
                  <a:pt x="320" y="202"/>
                  <a:pt x="320" y="202"/>
                  <a:pt x="320" y="202"/>
                </a:cubicBezTo>
                <a:cubicBezTo>
                  <a:pt x="320" y="224"/>
                  <a:pt x="320" y="224"/>
                  <a:pt x="320" y="224"/>
                </a:cubicBezTo>
                <a:cubicBezTo>
                  <a:pt x="192" y="224"/>
                  <a:pt x="192" y="224"/>
                  <a:pt x="192" y="224"/>
                </a:cubicBezTo>
                <a:lnTo>
                  <a:pt x="192" y="202"/>
                </a:lnTo>
                <a:close/>
                <a:moveTo>
                  <a:pt x="273" y="153"/>
                </a:moveTo>
                <a:cubicBezTo>
                  <a:pt x="269" y="151"/>
                  <a:pt x="266" y="147"/>
                  <a:pt x="266" y="143"/>
                </a:cubicBezTo>
                <a:cubicBezTo>
                  <a:pt x="266" y="128"/>
                  <a:pt x="266" y="128"/>
                  <a:pt x="266" y="128"/>
                </a:cubicBezTo>
                <a:cubicBezTo>
                  <a:pt x="266" y="122"/>
                  <a:pt x="262" y="117"/>
                  <a:pt x="256" y="117"/>
                </a:cubicBezTo>
                <a:cubicBezTo>
                  <a:pt x="250" y="117"/>
                  <a:pt x="245" y="122"/>
                  <a:pt x="245" y="128"/>
                </a:cubicBezTo>
                <a:cubicBezTo>
                  <a:pt x="245" y="143"/>
                  <a:pt x="245" y="143"/>
                  <a:pt x="245" y="143"/>
                </a:cubicBezTo>
                <a:cubicBezTo>
                  <a:pt x="245" y="147"/>
                  <a:pt x="242" y="151"/>
                  <a:pt x="239" y="153"/>
                </a:cubicBezTo>
                <a:cubicBezTo>
                  <a:pt x="226" y="158"/>
                  <a:pt x="218" y="169"/>
                  <a:pt x="214" y="181"/>
                </a:cubicBezTo>
                <a:cubicBezTo>
                  <a:pt x="297" y="181"/>
                  <a:pt x="297" y="181"/>
                  <a:pt x="297" y="181"/>
                </a:cubicBezTo>
                <a:cubicBezTo>
                  <a:pt x="294" y="169"/>
                  <a:pt x="285" y="158"/>
                  <a:pt x="273" y="153"/>
                </a:cubicBezTo>
                <a:close/>
                <a:moveTo>
                  <a:pt x="213" y="394"/>
                </a:moveTo>
                <a:cubicBezTo>
                  <a:pt x="298" y="394"/>
                  <a:pt x="298" y="394"/>
                  <a:pt x="298" y="394"/>
                </a:cubicBezTo>
                <a:cubicBezTo>
                  <a:pt x="298" y="373"/>
                  <a:pt x="298" y="373"/>
                  <a:pt x="298" y="373"/>
                </a:cubicBezTo>
                <a:cubicBezTo>
                  <a:pt x="266" y="373"/>
                  <a:pt x="266" y="373"/>
                  <a:pt x="266" y="373"/>
                </a:cubicBezTo>
                <a:cubicBezTo>
                  <a:pt x="260" y="373"/>
                  <a:pt x="256" y="368"/>
                  <a:pt x="256" y="362"/>
                </a:cubicBezTo>
                <a:cubicBezTo>
                  <a:pt x="256" y="356"/>
                  <a:pt x="260" y="352"/>
                  <a:pt x="266" y="352"/>
                </a:cubicBezTo>
                <a:cubicBezTo>
                  <a:pt x="298" y="352"/>
                  <a:pt x="298" y="352"/>
                  <a:pt x="298" y="352"/>
                </a:cubicBezTo>
                <a:cubicBezTo>
                  <a:pt x="298" y="330"/>
                  <a:pt x="298" y="330"/>
                  <a:pt x="298" y="330"/>
                </a:cubicBez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298" y="288"/>
                  <a:pt x="298" y="288"/>
                  <a:pt x="298" y="288"/>
                </a:cubicBezTo>
                <a:cubicBezTo>
                  <a:pt x="266" y="288"/>
                  <a:pt x="266" y="288"/>
                  <a:pt x="266" y="288"/>
                </a:cubicBezTo>
                <a:cubicBezTo>
                  <a:pt x="260" y="288"/>
                  <a:pt x="256" y="283"/>
                  <a:pt x="256" y="277"/>
                </a:cubicBezTo>
                <a:cubicBezTo>
                  <a:pt x="256" y="271"/>
                  <a:pt x="260" y="266"/>
                  <a:pt x="266" y="266"/>
                </a:cubicBezTo>
                <a:cubicBezTo>
                  <a:pt x="298" y="266"/>
                  <a:pt x="298" y="266"/>
                  <a:pt x="298" y="266"/>
                </a:cubicBezTo>
                <a:cubicBezTo>
                  <a:pt x="298" y="245"/>
                  <a:pt x="298" y="245"/>
                  <a:pt x="298" y="245"/>
                </a:cubicBezTo>
                <a:cubicBezTo>
                  <a:pt x="213" y="245"/>
                  <a:pt x="213" y="245"/>
                  <a:pt x="213" y="245"/>
                </a:cubicBezTo>
                <a:lnTo>
                  <a:pt x="213"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92"/>
                </a:moveTo>
                <a:cubicBezTo>
                  <a:pt x="341" y="186"/>
                  <a:pt x="336" y="181"/>
                  <a:pt x="330" y="181"/>
                </a:cubicBezTo>
                <a:cubicBezTo>
                  <a:pt x="319" y="181"/>
                  <a:pt x="319" y="181"/>
                  <a:pt x="319" y="181"/>
                </a:cubicBezTo>
                <a:cubicBezTo>
                  <a:pt x="315" y="162"/>
                  <a:pt x="304" y="146"/>
                  <a:pt x="288" y="136"/>
                </a:cubicBezTo>
                <a:cubicBezTo>
                  <a:pt x="288" y="128"/>
                  <a:pt x="288" y="128"/>
                  <a:pt x="288" y="128"/>
                </a:cubicBezTo>
                <a:cubicBezTo>
                  <a:pt x="288" y="110"/>
                  <a:pt x="273" y="96"/>
                  <a:pt x="256" y="96"/>
                </a:cubicBezTo>
                <a:cubicBezTo>
                  <a:pt x="238" y="96"/>
                  <a:pt x="224" y="110"/>
                  <a:pt x="224" y="128"/>
                </a:cubicBezTo>
                <a:cubicBezTo>
                  <a:pt x="224" y="136"/>
                  <a:pt x="224" y="136"/>
                  <a:pt x="224" y="136"/>
                </a:cubicBezTo>
                <a:cubicBezTo>
                  <a:pt x="207" y="146"/>
                  <a:pt x="196" y="162"/>
                  <a:pt x="193" y="181"/>
                </a:cubicBezTo>
                <a:cubicBezTo>
                  <a:pt x="181" y="181"/>
                  <a:pt x="181" y="181"/>
                  <a:pt x="181" y="181"/>
                </a:cubicBezTo>
                <a:cubicBezTo>
                  <a:pt x="175" y="181"/>
                  <a:pt x="170" y="186"/>
                  <a:pt x="170" y="192"/>
                </a:cubicBezTo>
                <a:cubicBezTo>
                  <a:pt x="170" y="234"/>
                  <a:pt x="170" y="234"/>
                  <a:pt x="170" y="234"/>
                </a:cubicBezTo>
                <a:cubicBezTo>
                  <a:pt x="170" y="240"/>
                  <a:pt x="175" y="245"/>
                  <a:pt x="181" y="245"/>
                </a:cubicBezTo>
                <a:cubicBezTo>
                  <a:pt x="192" y="245"/>
                  <a:pt x="192" y="245"/>
                  <a:pt x="192" y="245"/>
                </a:cubicBezTo>
                <a:cubicBezTo>
                  <a:pt x="192" y="405"/>
                  <a:pt x="192" y="405"/>
                  <a:pt x="192" y="405"/>
                </a:cubicBezTo>
                <a:cubicBezTo>
                  <a:pt x="192" y="411"/>
                  <a:pt x="196" y="416"/>
                  <a:pt x="202" y="416"/>
                </a:cubicBezTo>
                <a:cubicBezTo>
                  <a:pt x="309" y="416"/>
                  <a:pt x="309" y="416"/>
                  <a:pt x="309" y="416"/>
                </a:cubicBezTo>
                <a:cubicBezTo>
                  <a:pt x="315" y="416"/>
                  <a:pt x="320" y="411"/>
                  <a:pt x="320" y="405"/>
                </a:cubicBezTo>
                <a:cubicBezTo>
                  <a:pt x="320" y="245"/>
                  <a:pt x="320" y="245"/>
                  <a:pt x="320" y="245"/>
                </a:cubicBezTo>
                <a:cubicBezTo>
                  <a:pt x="330" y="245"/>
                  <a:pt x="330" y="245"/>
                  <a:pt x="330" y="245"/>
                </a:cubicBezTo>
                <a:cubicBezTo>
                  <a:pt x="336" y="245"/>
                  <a:pt x="341" y="240"/>
                  <a:pt x="341" y="234"/>
                </a:cubicBezTo>
                <a:lnTo>
                  <a:pt x="341" y="1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0" name="Group 313">
            <a:extLst>
              <a:ext uri="{FF2B5EF4-FFF2-40B4-BE49-F238E27FC236}">
                <a16:creationId xmlns:a16="http://schemas.microsoft.com/office/drawing/2014/main" id="{6710D477-3586-4E55-ACA5-D8655C247EB7}"/>
              </a:ext>
            </a:extLst>
          </p:cNvPr>
          <p:cNvGrpSpPr>
            <a:grpSpLocks noChangeAspect="1"/>
          </p:cNvGrpSpPr>
          <p:nvPr/>
        </p:nvGrpSpPr>
        <p:grpSpPr bwMode="auto">
          <a:xfrm>
            <a:off x="912171" y="1714044"/>
            <a:ext cx="367982" cy="369064"/>
            <a:chOff x="3467" y="1890"/>
            <a:chExt cx="340" cy="341"/>
          </a:xfrm>
          <a:solidFill>
            <a:schemeClr val="accent4"/>
          </a:solidFill>
        </p:grpSpPr>
        <p:sp>
          <p:nvSpPr>
            <p:cNvPr id="171" name="Freeform 314">
              <a:extLst>
                <a:ext uri="{FF2B5EF4-FFF2-40B4-BE49-F238E27FC236}">
                  <a16:creationId xmlns:a16="http://schemas.microsoft.com/office/drawing/2014/main" id="{3655664E-55DA-4B6A-97CE-56FBEE83EC3E}"/>
                </a:ext>
              </a:extLst>
            </p:cNvPr>
            <p:cNvSpPr>
              <a:spLocks noEditPoints="1"/>
            </p:cNvSpPr>
            <p:nvPr/>
          </p:nvSpPr>
          <p:spPr bwMode="auto">
            <a:xfrm>
              <a:off x="3467" y="1890"/>
              <a:ext cx="340" cy="341"/>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2" name="Freeform 315">
              <a:extLst>
                <a:ext uri="{FF2B5EF4-FFF2-40B4-BE49-F238E27FC236}">
                  <a16:creationId xmlns:a16="http://schemas.microsoft.com/office/drawing/2014/main" id="{A4984066-74CD-4ED8-8F6C-1F91D28B5A06}"/>
                </a:ext>
              </a:extLst>
            </p:cNvPr>
            <p:cNvSpPr>
              <a:spLocks noEditPoints="1"/>
            </p:cNvSpPr>
            <p:nvPr/>
          </p:nvSpPr>
          <p:spPr bwMode="auto">
            <a:xfrm>
              <a:off x="3581" y="1954"/>
              <a:ext cx="113" cy="214"/>
            </a:xfrm>
            <a:custGeom>
              <a:avLst/>
              <a:gdLst>
                <a:gd name="T0" fmla="*/ 160 w 171"/>
                <a:gd name="T1" fmla="*/ 86 h 321"/>
                <a:gd name="T2" fmla="*/ 148 w 171"/>
                <a:gd name="T3" fmla="*/ 86 h 321"/>
                <a:gd name="T4" fmla="*/ 117 w 171"/>
                <a:gd name="T5" fmla="*/ 41 h 321"/>
                <a:gd name="T6" fmla="*/ 117 w 171"/>
                <a:gd name="T7" fmla="*/ 32 h 321"/>
                <a:gd name="T8" fmla="*/ 85 w 171"/>
                <a:gd name="T9" fmla="*/ 0 h 321"/>
                <a:gd name="T10" fmla="*/ 53 w 171"/>
                <a:gd name="T11" fmla="*/ 32 h 321"/>
                <a:gd name="T12" fmla="*/ 53 w 171"/>
                <a:gd name="T13" fmla="*/ 41 h 321"/>
                <a:gd name="T14" fmla="*/ 22 w 171"/>
                <a:gd name="T15" fmla="*/ 86 h 321"/>
                <a:gd name="T16" fmla="*/ 11 w 171"/>
                <a:gd name="T17" fmla="*/ 86 h 321"/>
                <a:gd name="T18" fmla="*/ 0 w 171"/>
                <a:gd name="T19" fmla="*/ 96 h 321"/>
                <a:gd name="T20" fmla="*/ 0 w 171"/>
                <a:gd name="T21" fmla="*/ 139 h 321"/>
                <a:gd name="T22" fmla="*/ 11 w 171"/>
                <a:gd name="T23" fmla="*/ 150 h 321"/>
                <a:gd name="T24" fmla="*/ 21 w 171"/>
                <a:gd name="T25" fmla="*/ 150 h 321"/>
                <a:gd name="T26" fmla="*/ 21 w 171"/>
                <a:gd name="T27" fmla="*/ 309 h 321"/>
                <a:gd name="T28" fmla="*/ 32 w 171"/>
                <a:gd name="T29" fmla="*/ 321 h 321"/>
                <a:gd name="T30" fmla="*/ 139 w 171"/>
                <a:gd name="T31" fmla="*/ 321 h 321"/>
                <a:gd name="T32" fmla="*/ 149 w 171"/>
                <a:gd name="T33" fmla="*/ 309 h 321"/>
                <a:gd name="T34" fmla="*/ 149 w 171"/>
                <a:gd name="T35" fmla="*/ 150 h 321"/>
                <a:gd name="T36" fmla="*/ 160 w 171"/>
                <a:gd name="T37" fmla="*/ 150 h 321"/>
                <a:gd name="T38" fmla="*/ 171 w 171"/>
                <a:gd name="T39" fmla="*/ 139 h 321"/>
                <a:gd name="T40" fmla="*/ 171 w 171"/>
                <a:gd name="T41" fmla="*/ 96 h 321"/>
                <a:gd name="T42" fmla="*/ 160 w 171"/>
                <a:gd name="T43" fmla="*/ 86 h 321"/>
                <a:gd name="T44" fmla="*/ 68 w 171"/>
                <a:gd name="T45" fmla="*/ 57 h 321"/>
                <a:gd name="T46" fmla="*/ 75 w 171"/>
                <a:gd name="T47" fmla="*/ 47 h 321"/>
                <a:gd name="T48" fmla="*/ 75 w 171"/>
                <a:gd name="T49" fmla="*/ 32 h 321"/>
                <a:gd name="T50" fmla="*/ 85 w 171"/>
                <a:gd name="T51" fmla="*/ 21 h 321"/>
                <a:gd name="T52" fmla="*/ 96 w 171"/>
                <a:gd name="T53" fmla="*/ 32 h 321"/>
                <a:gd name="T54" fmla="*/ 96 w 171"/>
                <a:gd name="T55" fmla="*/ 47 h 321"/>
                <a:gd name="T56" fmla="*/ 102 w 171"/>
                <a:gd name="T57" fmla="*/ 57 h 321"/>
                <a:gd name="T58" fmla="*/ 127 w 171"/>
                <a:gd name="T59" fmla="*/ 86 h 321"/>
                <a:gd name="T60" fmla="*/ 44 w 171"/>
                <a:gd name="T61" fmla="*/ 86 h 321"/>
                <a:gd name="T62" fmla="*/ 68 w 171"/>
                <a:gd name="T63" fmla="*/ 57 h 321"/>
                <a:gd name="T64" fmla="*/ 128 w 171"/>
                <a:gd name="T65" fmla="*/ 171 h 321"/>
                <a:gd name="T66" fmla="*/ 96 w 171"/>
                <a:gd name="T67" fmla="*/ 171 h 321"/>
                <a:gd name="T68" fmla="*/ 85 w 171"/>
                <a:gd name="T69" fmla="*/ 182 h 321"/>
                <a:gd name="T70" fmla="*/ 96 w 171"/>
                <a:gd name="T71" fmla="*/ 193 h 321"/>
                <a:gd name="T72" fmla="*/ 128 w 171"/>
                <a:gd name="T73" fmla="*/ 193 h 321"/>
                <a:gd name="T74" fmla="*/ 128 w 171"/>
                <a:gd name="T75" fmla="*/ 214 h 321"/>
                <a:gd name="T76" fmla="*/ 96 w 171"/>
                <a:gd name="T77" fmla="*/ 214 h 321"/>
                <a:gd name="T78" fmla="*/ 85 w 171"/>
                <a:gd name="T79" fmla="*/ 225 h 321"/>
                <a:gd name="T80" fmla="*/ 96 w 171"/>
                <a:gd name="T81" fmla="*/ 235 h 321"/>
                <a:gd name="T82" fmla="*/ 128 w 171"/>
                <a:gd name="T83" fmla="*/ 235 h 321"/>
                <a:gd name="T84" fmla="*/ 128 w 171"/>
                <a:gd name="T85" fmla="*/ 257 h 321"/>
                <a:gd name="T86" fmla="*/ 96 w 171"/>
                <a:gd name="T87" fmla="*/ 257 h 321"/>
                <a:gd name="T88" fmla="*/ 85 w 171"/>
                <a:gd name="T89" fmla="*/ 267 h 321"/>
                <a:gd name="T90" fmla="*/ 96 w 171"/>
                <a:gd name="T91" fmla="*/ 278 h 321"/>
                <a:gd name="T92" fmla="*/ 128 w 171"/>
                <a:gd name="T93" fmla="*/ 278 h 321"/>
                <a:gd name="T94" fmla="*/ 128 w 171"/>
                <a:gd name="T95" fmla="*/ 299 h 321"/>
                <a:gd name="T96" fmla="*/ 43 w 171"/>
                <a:gd name="T97" fmla="*/ 299 h 321"/>
                <a:gd name="T98" fmla="*/ 43 w 171"/>
                <a:gd name="T99" fmla="*/ 150 h 321"/>
                <a:gd name="T100" fmla="*/ 128 w 171"/>
                <a:gd name="T101" fmla="*/ 150 h 321"/>
                <a:gd name="T102" fmla="*/ 128 w 171"/>
                <a:gd name="T103" fmla="*/ 171 h 321"/>
                <a:gd name="T104" fmla="*/ 149 w 171"/>
                <a:gd name="T105" fmla="*/ 129 h 321"/>
                <a:gd name="T106" fmla="*/ 21 w 171"/>
                <a:gd name="T107" fmla="*/ 129 h 321"/>
                <a:gd name="T108" fmla="*/ 21 w 171"/>
                <a:gd name="T109" fmla="*/ 107 h 321"/>
                <a:gd name="T110" fmla="*/ 149 w 171"/>
                <a:gd name="T111" fmla="*/ 107 h 321"/>
                <a:gd name="T112" fmla="*/ 149 w 171"/>
                <a:gd name="T113" fmla="*/ 12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 h="321">
                  <a:moveTo>
                    <a:pt x="160" y="86"/>
                  </a:moveTo>
                  <a:cubicBezTo>
                    <a:pt x="148" y="86"/>
                    <a:pt x="148" y="86"/>
                    <a:pt x="148" y="86"/>
                  </a:cubicBezTo>
                  <a:cubicBezTo>
                    <a:pt x="145" y="66"/>
                    <a:pt x="134" y="50"/>
                    <a:pt x="117" y="41"/>
                  </a:cubicBezTo>
                  <a:cubicBezTo>
                    <a:pt x="117" y="32"/>
                    <a:pt x="117" y="32"/>
                    <a:pt x="117" y="32"/>
                  </a:cubicBezTo>
                  <a:cubicBezTo>
                    <a:pt x="117" y="14"/>
                    <a:pt x="103" y="0"/>
                    <a:pt x="85" y="0"/>
                  </a:cubicBezTo>
                  <a:cubicBezTo>
                    <a:pt x="68" y="0"/>
                    <a:pt x="53" y="14"/>
                    <a:pt x="53" y="32"/>
                  </a:cubicBezTo>
                  <a:cubicBezTo>
                    <a:pt x="53" y="41"/>
                    <a:pt x="53" y="41"/>
                    <a:pt x="53" y="41"/>
                  </a:cubicBezTo>
                  <a:cubicBezTo>
                    <a:pt x="37" y="50"/>
                    <a:pt x="26" y="66"/>
                    <a:pt x="22" y="86"/>
                  </a:cubicBezTo>
                  <a:cubicBezTo>
                    <a:pt x="11" y="86"/>
                    <a:pt x="11" y="86"/>
                    <a:pt x="11" y="86"/>
                  </a:cubicBezTo>
                  <a:cubicBezTo>
                    <a:pt x="5" y="86"/>
                    <a:pt x="0" y="90"/>
                    <a:pt x="0" y="96"/>
                  </a:cubicBezTo>
                  <a:cubicBezTo>
                    <a:pt x="0" y="139"/>
                    <a:pt x="0" y="139"/>
                    <a:pt x="0" y="139"/>
                  </a:cubicBezTo>
                  <a:cubicBezTo>
                    <a:pt x="0" y="145"/>
                    <a:pt x="5" y="150"/>
                    <a:pt x="11" y="150"/>
                  </a:cubicBezTo>
                  <a:cubicBezTo>
                    <a:pt x="21" y="150"/>
                    <a:pt x="21" y="150"/>
                    <a:pt x="21" y="150"/>
                  </a:cubicBezTo>
                  <a:cubicBezTo>
                    <a:pt x="21" y="309"/>
                    <a:pt x="21" y="309"/>
                    <a:pt x="21" y="309"/>
                  </a:cubicBezTo>
                  <a:cubicBezTo>
                    <a:pt x="21" y="315"/>
                    <a:pt x="26" y="321"/>
                    <a:pt x="32" y="321"/>
                  </a:cubicBezTo>
                  <a:cubicBezTo>
                    <a:pt x="139" y="321"/>
                    <a:pt x="139" y="321"/>
                    <a:pt x="139" y="321"/>
                  </a:cubicBezTo>
                  <a:cubicBezTo>
                    <a:pt x="145" y="321"/>
                    <a:pt x="149" y="315"/>
                    <a:pt x="149" y="309"/>
                  </a:cubicBezTo>
                  <a:cubicBezTo>
                    <a:pt x="149" y="150"/>
                    <a:pt x="149" y="150"/>
                    <a:pt x="149" y="150"/>
                  </a:cubicBezTo>
                  <a:cubicBezTo>
                    <a:pt x="160" y="150"/>
                    <a:pt x="160" y="150"/>
                    <a:pt x="160" y="150"/>
                  </a:cubicBezTo>
                  <a:cubicBezTo>
                    <a:pt x="166" y="150"/>
                    <a:pt x="171" y="145"/>
                    <a:pt x="171" y="139"/>
                  </a:cubicBezTo>
                  <a:cubicBezTo>
                    <a:pt x="171" y="96"/>
                    <a:pt x="171" y="96"/>
                    <a:pt x="171" y="96"/>
                  </a:cubicBezTo>
                  <a:cubicBezTo>
                    <a:pt x="171" y="90"/>
                    <a:pt x="166" y="86"/>
                    <a:pt x="160" y="86"/>
                  </a:cubicBezTo>
                  <a:close/>
                  <a:moveTo>
                    <a:pt x="68" y="57"/>
                  </a:moveTo>
                  <a:cubicBezTo>
                    <a:pt x="72" y="56"/>
                    <a:pt x="75" y="51"/>
                    <a:pt x="75" y="47"/>
                  </a:cubicBezTo>
                  <a:cubicBezTo>
                    <a:pt x="75" y="32"/>
                    <a:pt x="75" y="32"/>
                    <a:pt x="75" y="32"/>
                  </a:cubicBezTo>
                  <a:cubicBezTo>
                    <a:pt x="75" y="26"/>
                    <a:pt x="79" y="21"/>
                    <a:pt x="85" y="21"/>
                  </a:cubicBezTo>
                  <a:cubicBezTo>
                    <a:pt x="91" y="21"/>
                    <a:pt x="96" y="26"/>
                    <a:pt x="96" y="32"/>
                  </a:cubicBezTo>
                  <a:cubicBezTo>
                    <a:pt x="96" y="47"/>
                    <a:pt x="96" y="47"/>
                    <a:pt x="96" y="47"/>
                  </a:cubicBezTo>
                  <a:cubicBezTo>
                    <a:pt x="96" y="51"/>
                    <a:pt x="99" y="56"/>
                    <a:pt x="102" y="57"/>
                  </a:cubicBezTo>
                  <a:cubicBezTo>
                    <a:pt x="115" y="63"/>
                    <a:pt x="123" y="73"/>
                    <a:pt x="127" y="86"/>
                  </a:cubicBezTo>
                  <a:cubicBezTo>
                    <a:pt x="44" y="86"/>
                    <a:pt x="44" y="86"/>
                    <a:pt x="44" y="86"/>
                  </a:cubicBezTo>
                  <a:cubicBezTo>
                    <a:pt x="47" y="73"/>
                    <a:pt x="56" y="63"/>
                    <a:pt x="68" y="57"/>
                  </a:cubicBezTo>
                  <a:close/>
                  <a:moveTo>
                    <a:pt x="128" y="171"/>
                  </a:moveTo>
                  <a:cubicBezTo>
                    <a:pt x="96" y="171"/>
                    <a:pt x="96" y="171"/>
                    <a:pt x="96" y="171"/>
                  </a:cubicBezTo>
                  <a:cubicBezTo>
                    <a:pt x="90" y="171"/>
                    <a:pt x="85" y="176"/>
                    <a:pt x="85" y="182"/>
                  </a:cubicBezTo>
                  <a:cubicBezTo>
                    <a:pt x="85" y="188"/>
                    <a:pt x="90" y="193"/>
                    <a:pt x="96" y="193"/>
                  </a:cubicBezTo>
                  <a:cubicBezTo>
                    <a:pt x="128" y="193"/>
                    <a:pt x="128" y="193"/>
                    <a:pt x="128" y="193"/>
                  </a:cubicBezTo>
                  <a:cubicBezTo>
                    <a:pt x="128" y="214"/>
                    <a:pt x="128" y="214"/>
                    <a:pt x="128" y="214"/>
                  </a:cubicBezTo>
                  <a:cubicBezTo>
                    <a:pt x="96" y="214"/>
                    <a:pt x="96" y="214"/>
                    <a:pt x="96" y="214"/>
                  </a:cubicBezTo>
                  <a:cubicBezTo>
                    <a:pt x="90" y="214"/>
                    <a:pt x="85" y="219"/>
                    <a:pt x="85" y="225"/>
                  </a:cubicBezTo>
                  <a:cubicBezTo>
                    <a:pt x="85" y="231"/>
                    <a:pt x="90" y="235"/>
                    <a:pt x="96" y="235"/>
                  </a:cubicBezTo>
                  <a:cubicBezTo>
                    <a:pt x="128" y="235"/>
                    <a:pt x="128" y="235"/>
                    <a:pt x="128" y="235"/>
                  </a:cubicBezTo>
                  <a:cubicBezTo>
                    <a:pt x="128" y="257"/>
                    <a:pt x="128" y="257"/>
                    <a:pt x="128" y="257"/>
                  </a:cubicBezTo>
                  <a:cubicBezTo>
                    <a:pt x="96" y="257"/>
                    <a:pt x="96" y="257"/>
                    <a:pt x="96" y="257"/>
                  </a:cubicBezTo>
                  <a:cubicBezTo>
                    <a:pt x="90" y="257"/>
                    <a:pt x="85" y="261"/>
                    <a:pt x="85" y="267"/>
                  </a:cubicBezTo>
                  <a:cubicBezTo>
                    <a:pt x="85" y="273"/>
                    <a:pt x="90" y="278"/>
                    <a:pt x="96" y="278"/>
                  </a:cubicBezTo>
                  <a:cubicBezTo>
                    <a:pt x="128" y="278"/>
                    <a:pt x="128" y="278"/>
                    <a:pt x="128" y="278"/>
                  </a:cubicBezTo>
                  <a:cubicBezTo>
                    <a:pt x="128" y="299"/>
                    <a:pt x="128" y="299"/>
                    <a:pt x="128" y="299"/>
                  </a:cubicBezTo>
                  <a:cubicBezTo>
                    <a:pt x="43" y="299"/>
                    <a:pt x="43" y="299"/>
                    <a:pt x="43" y="299"/>
                  </a:cubicBezTo>
                  <a:cubicBezTo>
                    <a:pt x="43" y="150"/>
                    <a:pt x="43" y="150"/>
                    <a:pt x="43" y="150"/>
                  </a:cubicBezTo>
                  <a:cubicBezTo>
                    <a:pt x="128" y="150"/>
                    <a:pt x="128" y="150"/>
                    <a:pt x="128" y="150"/>
                  </a:cubicBezTo>
                  <a:lnTo>
                    <a:pt x="128" y="171"/>
                  </a:lnTo>
                  <a:close/>
                  <a:moveTo>
                    <a:pt x="149" y="129"/>
                  </a:moveTo>
                  <a:cubicBezTo>
                    <a:pt x="21" y="129"/>
                    <a:pt x="21" y="129"/>
                    <a:pt x="21" y="129"/>
                  </a:cubicBezTo>
                  <a:cubicBezTo>
                    <a:pt x="21" y="107"/>
                    <a:pt x="21" y="107"/>
                    <a:pt x="21" y="107"/>
                  </a:cubicBezTo>
                  <a:cubicBezTo>
                    <a:pt x="149" y="107"/>
                    <a:pt x="149" y="107"/>
                    <a:pt x="149" y="107"/>
                  </a:cubicBezTo>
                  <a:lnTo>
                    <a:pt x="149"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3" name="Freeform 319">
            <a:extLst>
              <a:ext uri="{FF2B5EF4-FFF2-40B4-BE49-F238E27FC236}">
                <a16:creationId xmlns:a16="http://schemas.microsoft.com/office/drawing/2014/main" id="{F53AFCDB-BEEE-46E4-B1D3-97C936A47C09}"/>
              </a:ext>
            </a:extLst>
          </p:cNvPr>
          <p:cNvSpPr>
            <a:spLocks noChangeAspect="1" noEditPoints="1"/>
          </p:cNvSpPr>
          <p:nvPr/>
        </p:nvSpPr>
        <p:spPr bwMode="auto">
          <a:xfrm>
            <a:off x="1346756" y="1715126"/>
            <a:ext cx="367982" cy="367982"/>
          </a:xfrm>
          <a:custGeom>
            <a:avLst/>
            <a:gdLst>
              <a:gd name="T0" fmla="*/ 288 w 512"/>
              <a:gd name="T1" fmla="*/ 266 h 512"/>
              <a:gd name="T2" fmla="*/ 224 w 512"/>
              <a:gd name="T3" fmla="*/ 234 h 512"/>
              <a:gd name="T4" fmla="*/ 288 w 512"/>
              <a:gd name="T5" fmla="*/ 234 h 512"/>
              <a:gd name="T6" fmla="*/ 249 w 512"/>
              <a:gd name="T7" fmla="*/ 320 h 512"/>
              <a:gd name="T8" fmla="*/ 288 w 512"/>
              <a:gd name="T9" fmla="*/ 294 h 512"/>
              <a:gd name="T10" fmla="*/ 224 w 512"/>
              <a:gd name="T11" fmla="*/ 288 h 512"/>
              <a:gd name="T12" fmla="*/ 256 w 512"/>
              <a:gd name="T13" fmla="*/ 160 h 512"/>
              <a:gd name="T14" fmla="*/ 256 w 512"/>
              <a:gd name="T15" fmla="*/ 117 h 512"/>
              <a:gd name="T16" fmla="*/ 256 w 512"/>
              <a:gd name="T17" fmla="*/ 160 h 512"/>
              <a:gd name="T18" fmla="*/ 256 w 512"/>
              <a:gd name="T19" fmla="*/ 512 h 512"/>
              <a:gd name="T20" fmla="*/ 256 w 512"/>
              <a:gd name="T21" fmla="*/ 0 h 512"/>
              <a:gd name="T22" fmla="*/ 213 w 512"/>
              <a:gd name="T23" fmla="*/ 138 h 512"/>
              <a:gd name="T24" fmla="*/ 298 w 512"/>
              <a:gd name="T25" fmla="*/ 138 h 512"/>
              <a:gd name="T26" fmla="*/ 213 w 512"/>
              <a:gd name="T27" fmla="*/ 138 h 512"/>
              <a:gd name="T28" fmla="*/ 305 w 512"/>
              <a:gd name="T29" fmla="*/ 215 h 512"/>
              <a:gd name="T30" fmla="*/ 256 w 512"/>
              <a:gd name="T31" fmla="*/ 192 h 512"/>
              <a:gd name="T32" fmla="*/ 206 w 512"/>
              <a:gd name="T33" fmla="*/ 215 h 512"/>
              <a:gd name="T34" fmla="*/ 151 w 512"/>
              <a:gd name="T35" fmla="*/ 273 h 512"/>
              <a:gd name="T36" fmla="*/ 166 w 512"/>
              <a:gd name="T37" fmla="*/ 275 h 512"/>
              <a:gd name="T38" fmla="*/ 202 w 512"/>
              <a:gd name="T39" fmla="*/ 277 h 512"/>
              <a:gd name="T40" fmla="*/ 205 w 512"/>
              <a:gd name="T41" fmla="*/ 306 h 512"/>
              <a:gd name="T42" fmla="*/ 193 w 512"/>
              <a:gd name="T43" fmla="*/ 346 h 512"/>
              <a:gd name="T44" fmla="*/ 192 w 512"/>
              <a:gd name="T45" fmla="*/ 354 h 512"/>
              <a:gd name="T46" fmla="*/ 203 w 512"/>
              <a:gd name="T47" fmla="*/ 407 h 512"/>
              <a:gd name="T48" fmla="*/ 215 w 512"/>
              <a:gd name="T49" fmla="*/ 415 h 512"/>
              <a:gd name="T50" fmla="*/ 214 w 512"/>
              <a:gd name="T51" fmla="*/ 354 h 512"/>
              <a:gd name="T52" fmla="*/ 237 w 512"/>
              <a:gd name="T53" fmla="*/ 338 h 512"/>
              <a:gd name="T54" fmla="*/ 266 w 512"/>
              <a:gd name="T55" fmla="*/ 341 h 512"/>
              <a:gd name="T56" fmla="*/ 282 w 512"/>
              <a:gd name="T57" fmla="*/ 330 h 512"/>
              <a:gd name="T58" fmla="*/ 288 w 512"/>
              <a:gd name="T59" fmla="*/ 403 h 512"/>
              <a:gd name="T60" fmla="*/ 298 w 512"/>
              <a:gd name="T61" fmla="*/ 416 h 512"/>
              <a:gd name="T62" fmla="*/ 319 w 512"/>
              <a:gd name="T63" fmla="*/ 354 h 512"/>
              <a:gd name="T64" fmla="*/ 319 w 512"/>
              <a:gd name="T65" fmla="*/ 350 h 512"/>
              <a:gd name="T66" fmla="*/ 297 w 512"/>
              <a:gd name="T67" fmla="*/ 315 h 512"/>
              <a:gd name="T68" fmla="*/ 309 w 512"/>
              <a:gd name="T69" fmla="*/ 298 h 512"/>
              <a:gd name="T70" fmla="*/ 309 w 512"/>
              <a:gd name="T71" fmla="*/ 246 h 512"/>
              <a:gd name="T72" fmla="*/ 352 w 512"/>
              <a:gd name="T73" fmla="*/ 277 h 512"/>
              <a:gd name="T74" fmla="*/ 358 w 512"/>
              <a:gd name="T75" fmla="*/ 2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88" y="234"/>
                </a:moveTo>
                <a:cubicBezTo>
                  <a:pt x="288" y="266"/>
                  <a:pt x="288" y="266"/>
                  <a:pt x="288" y="266"/>
                </a:cubicBezTo>
                <a:cubicBezTo>
                  <a:pt x="224" y="266"/>
                  <a:pt x="224" y="266"/>
                  <a:pt x="224" y="266"/>
                </a:cubicBezTo>
                <a:cubicBezTo>
                  <a:pt x="224" y="234"/>
                  <a:pt x="224" y="234"/>
                  <a:pt x="224" y="234"/>
                </a:cubicBezTo>
                <a:cubicBezTo>
                  <a:pt x="224" y="228"/>
                  <a:pt x="227" y="213"/>
                  <a:pt x="256" y="213"/>
                </a:cubicBezTo>
                <a:cubicBezTo>
                  <a:pt x="285" y="213"/>
                  <a:pt x="288" y="228"/>
                  <a:pt x="288" y="234"/>
                </a:cubicBezTo>
                <a:close/>
                <a:moveTo>
                  <a:pt x="224" y="294"/>
                </a:moveTo>
                <a:cubicBezTo>
                  <a:pt x="249" y="320"/>
                  <a:pt x="249" y="320"/>
                  <a:pt x="249" y="320"/>
                </a:cubicBezTo>
                <a:cubicBezTo>
                  <a:pt x="262" y="320"/>
                  <a:pt x="262" y="320"/>
                  <a:pt x="262" y="320"/>
                </a:cubicBezTo>
                <a:cubicBezTo>
                  <a:pt x="288" y="294"/>
                  <a:pt x="288" y="294"/>
                  <a:pt x="288" y="294"/>
                </a:cubicBezTo>
                <a:cubicBezTo>
                  <a:pt x="288" y="288"/>
                  <a:pt x="288" y="288"/>
                  <a:pt x="288" y="288"/>
                </a:cubicBezTo>
                <a:cubicBezTo>
                  <a:pt x="224" y="288"/>
                  <a:pt x="224" y="288"/>
                  <a:pt x="224" y="288"/>
                </a:cubicBezTo>
                <a:lnTo>
                  <a:pt x="224" y="294"/>
                </a:lnTo>
                <a:close/>
                <a:moveTo>
                  <a:pt x="256" y="160"/>
                </a:moveTo>
                <a:cubicBezTo>
                  <a:pt x="267" y="160"/>
                  <a:pt x="277" y="150"/>
                  <a:pt x="277" y="138"/>
                </a:cubicBezTo>
                <a:cubicBezTo>
                  <a:pt x="277" y="127"/>
                  <a:pt x="267" y="117"/>
                  <a:pt x="256" y="117"/>
                </a:cubicBezTo>
                <a:cubicBezTo>
                  <a:pt x="244" y="117"/>
                  <a:pt x="234" y="127"/>
                  <a:pt x="234" y="138"/>
                </a:cubicBezTo>
                <a:cubicBezTo>
                  <a:pt x="234" y="150"/>
                  <a:pt x="244" y="160"/>
                  <a:pt x="256"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13" y="138"/>
                </a:moveTo>
                <a:cubicBezTo>
                  <a:pt x="213" y="162"/>
                  <a:pt x="232" y="181"/>
                  <a:pt x="256" y="181"/>
                </a:cubicBezTo>
                <a:cubicBezTo>
                  <a:pt x="279" y="181"/>
                  <a:pt x="298" y="162"/>
                  <a:pt x="298" y="138"/>
                </a:cubicBezTo>
                <a:cubicBezTo>
                  <a:pt x="298" y="115"/>
                  <a:pt x="279" y="96"/>
                  <a:pt x="256" y="96"/>
                </a:cubicBezTo>
                <a:cubicBezTo>
                  <a:pt x="232" y="96"/>
                  <a:pt x="213" y="115"/>
                  <a:pt x="213" y="138"/>
                </a:cubicBezTo>
                <a:close/>
                <a:moveTo>
                  <a:pt x="358" y="258"/>
                </a:moveTo>
                <a:cubicBezTo>
                  <a:pt x="305" y="215"/>
                  <a:pt x="305" y="215"/>
                  <a:pt x="305" y="215"/>
                </a:cubicBezTo>
                <a:cubicBezTo>
                  <a:pt x="305" y="215"/>
                  <a:pt x="304" y="215"/>
                  <a:pt x="304" y="215"/>
                </a:cubicBezTo>
                <a:cubicBezTo>
                  <a:pt x="297" y="202"/>
                  <a:pt x="282" y="192"/>
                  <a:pt x="256" y="192"/>
                </a:cubicBezTo>
                <a:cubicBezTo>
                  <a:pt x="229" y="192"/>
                  <a:pt x="215" y="202"/>
                  <a:pt x="208" y="215"/>
                </a:cubicBezTo>
                <a:cubicBezTo>
                  <a:pt x="207" y="215"/>
                  <a:pt x="207" y="215"/>
                  <a:pt x="206" y="215"/>
                </a:cubicBezTo>
                <a:cubicBezTo>
                  <a:pt x="153" y="258"/>
                  <a:pt x="153" y="258"/>
                  <a:pt x="153" y="258"/>
                </a:cubicBezTo>
                <a:cubicBezTo>
                  <a:pt x="148" y="262"/>
                  <a:pt x="148" y="268"/>
                  <a:pt x="151" y="273"/>
                </a:cubicBezTo>
                <a:cubicBezTo>
                  <a:pt x="153" y="276"/>
                  <a:pt x="157" y="277"/>
                  <a:pt x="160" y="277"/>
                </a:cubicBezTo>
                <a:cubicBezTo>
                  <a:pt x="162" y="277"/>
                  <a:pt x="164" y="276"/>
                  <a:pt x="166" y="275"/>
                </a:cubicBezTo>
                <a:cubicBezTo>
                  <a:pt x="202" y="246"/>
                  <a:pt x="202" y="246"/>
                  <a:pt x="202" y="246"/>
                </a:cubicBezTo>
                <a:cubicBezTo>
                  <a:pt x="202" y="277"/>
                  <a:pt x="202" y="277"/>
                  <a:pt x="202" y="277"/>
                </a:cubicBezTo>
                <a:cubicBezTo>
                  <a:pt x="202" y="298"/>
                  <a:pt x="202" y="298"/>
                  <a:pt x="202" y="298"/>
                </a:cubicBezTo>
                <a:cubicBezTo>
                  <a:pt x="202" y="301"/>
                  <a:pt x="203" y="304"/>
                  <a:pt x="205" y="306"/>
                </a:cubicBezTo>
                <a:cubicBezTo>
                  <a:pt x="214" y="315"/>
                  <a:pt x="214" y="315"/>
                  <a:pt x="214" y="315"/>
                </a:cubicBezTo>
                <a:cubicBezTo>
                  <a:pt x="193" y="346"/>
                  <a:pt x="193" y="346"/>
                  <a:pt x="193" y="346"/>
                </a:cubicBezTo>
                <a:cubicBezTo>
                  <a:pt x="193" y="347"/>
                  <a:pt x="192" y="348"/>
                  <a:pt x="192" y="350"/>
                </a:cubicBezTo>
                <a:cubicBezTo>
                  <a:pt x="192" y="351"/>
                  <a:pt x="192" y="352"/>
                  <a:pt x="192" y="354"/>
                </a:cubicBezTo>
                <a:cubicBezTo>
                  <a:pt x="192" y="354"/>
                  <a:pt x="192" y="354"/>
                  <a:pt x="192" y="354"/>
                </a:cubicBezTo>
                <a:cubicBezTo>
                  <a:pt x="203" y="407"/>
                  <a:pt x="203" y="407"/>
                  <a:pt x="203" y="407"/>
                </a:cubicBezTo>
                <a:cubicBezTo>
                  <a:pt x="204" y="412"/>
                  <a:pt x="208" y="416"/>
                  <a:pt x="213" y="416"/>
                </a:cubicBezTo>
                <a:cubicBezTo>
                  <a:pt x="214" y="416"/>
                  <a:pt x="214" y="416"/>
                  <a:pt x="215" y="415"/>
                </a:cubicBezTo>
                <a:cubicBezTo>
                  <a:pt x="221" y="414"/>
                  <a:pt x="225" y="409"/>
                  <a:pt x="223" y="403"/>
                </a:cubicBezTo>
                <a:cubicBezTo>
                  <a:pt x="214" y="354"/>
                  <a:pt x="214" y="354"/>
                  <a:pt x="214" y="354"/>
                </a:cubicBezTo>
                <a:cubicBezTo>
                  <a:pt x="230" y="330"/>
                  <a:pt x="230" y="330"/>
                  <a:pt x="230" y="330"/>
                </a:cubicBezTo>
                <a:cubicBezTo>
                  <a:pt x="237" y="338"/>
                  <a:pt x="237" y="338"/>
                  <a:pt x="237" y="338"/>
                </a:cubicBezTo>
                <a:cubicBezTo>
                  <a:pt x="239" y="340"/>
                  <a:pt x="242" y="341"/>
                  <a:pt x="245" y="341"/>
                </a:cubicBezTo>
                <a:cubicBezTo>
                  <a:pt x="266" y="341"/>
                  <a:pt x="266" y="341"/>
                  <a:pt x="266" y="341"/>
                </a:cubicBezTo>
                <a:cubicBezTo>
                  <a:pt x="269" y="341"/>
                  <a:pt x="272" y="340"/>
                  <a:pt x="274" y="338"/>
                </a:cubicBezTo>
                <a:cubicBezTo>
                  <a:pt x="282" y="330"/>
                  <a:pt x="282" y="330"/>
                  <a:pt x="282" y="330"/>
                </a:cubicBezTo>
                <a:cubicBezTo>
                  <a:pt x="298" y="354"/>
                  <a:pt x="298" y="354"/>
                  <a:pt x="298" y="354"/>
                </a:cubicBezTo>
                <a:cubicBezTo>
                  <a:pt x="288" y="403"/>
                  <a:pt x="288" y="403"/>
                  <a:pt x="288" y="403"/>
                </a:cubicBezTo>
                <a:cubicBezTo>
                  <a:pt x="287" y="409"/>
                  <a:pt x="290" y="414"/>
                  <a:pt x="296" y="415"/>
                </a:cubicBezTo>
                <a:cubicBezTo>
                  <a:pt x="297" y="416"/>
                  <a:pt x="298" y="416"/>
                  <a:pt x="298" y="416"/>
                </a:cubicBezTo>
                <a:cubicBezTo>
                  <a:pt x="303" y="416"/>
                  <a:pt x="308" y="412"/>
                  <a:pt x="309" y="407"/>
                </a:cubicBezTo>
                <a:cubicBezTo>
                  <a:pt x="319" y="354"/>
                  <a:pt x="319" y="354"/>
                  <a:pt x="319" y="354"/>
                </a:cubicBezTo>
                <a:cubicBezTo>
                  <a:pt x="319" y="354"/>
                  <a:pt x="319" y="354"/>
                  <a:pt x="319" y="354"/>
                </a:cubicBezTo>
                <a:cubicBezTo>
                  <a:pt x="320" y="352"/>
                  <a:pt x="320" y="351"/>
                  <a:pt x="319" y="350"/>
                </a:cubicBezTo>
                <a:cubicBezTo>
                  <a:pt x="319" y="348"/>
                  <a:pt x="319" y="347"/>
                  <a:pt x="318" y="346"/>
                </a:cubicBezTo>
                <a:cubicBezTo>
                  <a:pt x="297" y="315"/>
                  <a:pt x="297" y="315"/>
                  <a:pt x="297" y="315"/>
                </a:cubicBezTo>
                <a:cubicBezTo>
                  <a:pt x="306" y="306"/>
                  <a:pt x="306" y="306"/>
                  <a:pt x="306" y="306"/>
                </a:cubicBezTo>
                <a:cubicBezTo>
                  <a:pt x="308" y="304"/>
                  <a:pt x="309" y="301"/>
                  <a:pt x="309" y="298"/>
                </a:cubicBezTo>
                <a:cubicBezTo>
                  <a:pt x="309" y="277"/>
                  <a:pt x="309" y="277"/>
                  <a:pt x="309" y="277"/>
                </a:cubicBezTo>
                <a:cubicBezTo>
                  <a:pt x="309" y="246"/>
                  <a:pt x="309" y="246"/>
                  <a:pt x="309" y="246"/>
                </a:cubicBezTo>
                <a:cubicBezTo>
                  <a:pt x="345" y="275"/>
                  <a:pt x="345" y="275"/>
                  <a:pt x="345" y="275"/>
                </a:cubicBezTo>
                <a:cubicBezTo>
                  <a:pt x="347" y="276"/>
                  <a:pt x="349" y="277"/>
                  <a:pt x="352" y="277"/>
                </a:cubicBezTo>
                <a:cubicBezTo>
                  <a:pt x="355" y="277"/>
                  <a:pt x="358" y="276"/>
                  <a:pt x="360" y="273"/>
                </a:cubicBezTo>
                <a:cubicBezTo>
                  <a:pt x="364" y="268"/>
                  <a:pt x="363" y="262"/>
                  <a:pt x="358" y="25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4" name="Group 322">
            <a:extLst>
              <a:ext uri="{FF2B5EF4-FFF2-40B4-BE49-F238E27FC236}">
                <a16:creationId xmlns:a16="http://schemas.microsoft.com/office/drawing/2014/main" id="{CB154AF6-2108-40E3-836D-D68F3E2E2B12}"/>
              </a:ext>
            </a:extLst>
          </p:cNvPr>
          <p:cNvGrpSpPr>
            <a:grpSpLocks noChangeAspect="1"/>
          </p:cNvGrpSpPr>
          <p:nvPr/>
        </p:nvGrpSpPr>
        <p:grpSpPr bwMode="auto">
          <a:xfrm>
            <a:off x="1781341" y="1715126"/>
            <a:ext cx="367982" cy="367982"/>
            <a:chOff x="2874" y="2143"/>
            <a:chExt cx="340" cy="340"/>
          </a:xfrm>
          <a:solidFill>
            <a:schemeClr val="accent4"/>
          </a:solidFill>
        </p:grpSpPr>
        <p:sp>
          <p:nvSpPr>
            <p:cNvPr id="175" name="Freeform 323">
              <a:extLst>
                <a:ext uri="{FF2B5EF4-FFF2-40B4-BE49-F238E27FC236}">
                  <a16:creationId xmlns:a16="http://schemas.microsoft.com/office/drawing/2014/main" id="{F7FB580D-4A67-4230-97A4-A8C3784EB4C6}"/>
                </a:ext>
              </a:extLst>
            </p:cNvPr>
            <p:cNvSpPr>
              <a:spLocks noEditPoints="1"/>
            </p:cNvSpPr>
            <p:nvPr/>
          </p:nvSpPr>
          <p:spPr bwMode="auto">
            <a:xfrm>
              <a:off x="2874" y="2143"/>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6" name="Freeform 324">
              <a:extLst>
                <a:ext uri="{FF2B5EF4-FFF2-40B4-BE49-F238E27FC236}">
                  <a16:creationId xmlns:a16="http://schemas.microsoft.com/office/drawing/2014/main" id="{9979DD65-FB5C-4622-B030-A1765BF85659}"/>
                </a:ext>
              </a:extLst>
            </p:cNvPr>
            <p:cNvSpPr>
              <a:spLocks noEditPoints="1"/>
            </p:cNvSpPr>
            <p:nvPr/>
          </p:nvSpPr>
          <p:spPr bwMode="auto">
            <a:xfrm>
              <a:off x="3016" y="2207"/>
              <a:ext cx="57" cy="56"/>
            </a:xfrm>
            <a:custGeom>
              <a:avLst/>
              <a:gdLst>
                <a:gd name="T0" fmla="*/ 42 w 85"/>
                <a:gd name="T1" fmla="*/ 85 h 85"/>
                <a:gd name="T2" fmla="*/ 85 w 85"/>
                <a:gd name="T3" fmla="*/ 43 h 85"/>
                <a:gd name="T4" fmla="*/ 42 w 85"/>
                <a:gd name="T5" fmla="*/ 0 h 85"/>
                <a:gd name="T6" fmla="*/ 0 w 85"/>
                <a:gd name="T7" fmla="*/ 43 h 85"/>
                <a:gd name="T8" fmla="*/ 42 w 85"/>
                <a:gd name="T9" fmla="*/ 85 h 85"/>
                <a:gd name="T10" fmla="*/ 42 w 85"/>
                <a:gd name="T11" fmla="*/ 21 h 85"/>
                <a:gd name="T12" fmla="*/ 64 w 85"/>
                <a:gd name="T13" fmla="*/ 43 h 85"/>
                <a:gd name="T14" fmla="*/ 42 w 85"/>
                <a:gd name="T15" fmla="*/ 64 h 85"/>
                <a:gd name="T16" fmla="*/ 21 w 85"/>
                <a:gd name="T17" fmla="*/ 43 h 85"/>
                <a:gd name="T18" fmla="*/ 42 w 85"/>
                <a:gd name="T19" fmla="*/ 2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42" y="85"/>
                  </a:moveTo>
                  <a:cubicBezTo>
                    <a:pt x="66" y="85"/>
                    <a:pt x="85" y="66"/>
                    <a:pt x="85" y="43"/>
                  </a:cubicBezTo>
                  <a:cubicBezTo>
                    <a:pt x="85" y="19"/>
                    <a:pt x="66" y="0"/>
                    <a:pt x="42" y="0"/>
                  </a:cubicBezTo>
                  <a:cubicBezTo>
                    <a:pt x="19" y="0"/>
                    <a:pt x="0" y="19"/>
                    <a:pt x="0" y="43"/>
                  </a:cubicBezTo>
                  <a:cubicBezTo>
                    <a:pt x="0" y="66"/>
                    <a:pt x="19" y="85"/>
                    <a:pt x="42" y="85"/>
                  </a:cubicBezTo>
                  <a:close/>
                  <a:moveTo>
                    <a:pt x="42" y="21"/>
                  </a:moveTo>
                  <a:cubicBezTo>
                    <a:pt x="54" y="21"/>
                    <a:pt x="64" y="31"/>
                    <a:pt x="64" y="43"/>
                  </a:cubicBezTo>
                  <a:cubicBezTo>
                    <a:pt x="64" y="54"/>
                    <a:pt x="54" y="64"/>
                    <a:pt x="42" y="64"/>
                  </a:cubicBezTo>
                  <a:cubicBezTo>
                    <a:pt x="31" y="64"/>
                    <a:pt x="21" y="54"/>
                    <a:pt x="21" y="43"/>
                  </a:cubicBezTo>
                  <a:cubicBezTo>
                    <a:pt x="21" y="31"/>
                    <a:pt x="31" y="21"/>
                    <a:pt x="4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7" name="Freeform 325">
              <a:extLst>
                <a:ext uri="{FF2B5EF4-FFF2-40B4-BE49-F238E27FC236}">
                  <a16:creationId xmlns:a16="http://schemas.microsoft.com/office/drawing/2014/main" id="{47DC4716-8664-494C-B325-001684419E9D}"/>
                </a:ext>
              </a:extLst>
            </p:cNvPr>
            <p:cNvSpPr>
              <a:spLocks noEditPoints="1"/>
            </p:cNvSpPr>
            <p:nvPr/>
          </p:nvSpPr>
          <p:spPr bwMode="auto">
            <a:xfrm>
              <a:off x="2972" y="2271"/>
              <a:ext cx="144" cy="148"/>
            </a:xfrm>
            <a:custGeom>
              <a:avLst/>
              <a:gdLst>
                <a:gd name="T0" fmla="*/ 211 w 216"/>
                <a:gd name="T1" fmla="*/ 66 h 224"/>
                <a:gd name="T2" fmla="*/ 158 w 216"/>
                <a:gd name="T3" fmla="*/ 24 h 224"/>
                <a:gd name="T4" fmla="*/ 156 w 216"/>
                <a:gd name="T5" fmla="*/ 23 h 224"/>
                <a:gd name="T6" fmla="*/ 108 w 216"/>
                <a:gd name="T7" fmla="*/ 0 h 224"/>
                <a:gd name="T8" fmla="*/ 60 w 216"/>
                <a:gd name="T9" fmla="*/ 23 h 224"/>
                <a:gd name="T10" fmla="*/ 59 w 216"/>
                <a:gd name="T11" fmla="*/ 24 h 224"/>
                <a:gd name="T12" fmla="*/ 6 w 216"/>
                <a:gd name="T13" fmla="*/ 66 h 224"/>
                <a:gd name="T14" fmla="*/ 4 w 216"/>
                <a:gd name="T15" fmla="*/ 81 h 224"/>
                <a:gd name="T16" fmla="*/ 12 w 216"/>
                <a:gd name="T17" fmla="*/ 85 h 224"/>
                <a:gd name="T18" fmla="*/ 19 w 216"/>
                <a:gd name="T19" fmla="*/ 83 h 224"/>
                <a:gd name="T20" fmla="*/ 55 w 216"/>
                <a:gd name="T21" fmla="*/ 54 h 224"/>
                <a:gd name="T22" fmla="*/ 55 w 216"/>
                <a:gd name="T23" fmla="*/ 85 h 224"/>
                <a:gd name="T24" fmla="*/ 55 w 216"/>
                <a:gd name="T25" fmla="*/ 107 h 224"/>
                <a:gd name="T26" fmla="*/ 58 w 216"/>
                <a:gd name="T27" fmla="*/ 114 h 224"/>
                <a:gd name="T28" fmla="*/ 67 w 216"/>
                <a:gd name="T29" fmla="*/ 123 h 224"/>
                <a:gd name="T30" fmla="*/ 46 w 216"/>
                <a:gd name="T31" fmla="*/ 154 h 224"/>
                <a:gd name="T32" fmla="*/ 45 w 216"/>
                <a:gd name="T33" fmla="*/ 158 h 224"/>
                <a:gd name="T34" fmla="*/ 45 w 216"/>
                <a:gd name="T35" fmla="*/ 162 h 224"/>
                <a:gd name="T36" fmla="*/ 45 w 216"/>
                <a:gd name="T37" fmla="*/ 162 h 224"/>
                <a:gd name="T38" fmla="*/ 55 w 216"/>
                <a:gd name="T39" fmla="*/ 215 h 224"/>
                <a:gd name="T40" fmla="*/ 66 w 216"/>
                <a:gd name="T41" fmla="*/ 224 h 224"/>
                <a:gd name="T42" fmla="*/ 68 w 216"/>
                <a:gd name="T43" fmla="*/ 224 h 224"/>
                <a:gd name="T44" fmla="*/ 76 w 216"/>
                <a:gd name="T45" fmla="*/ 211 h 224"/>
                <a:gd name="T46" fmla="*/ 66 w 216"/>
                <a:gd name="T47" fmla="*/ 162 h 224"/>
                <a:gd name="T48" fmla="*/ 82 w 216"/>
                <a:gd name="T49" fmla="*/ 138 h 224"/>
                <a:gd name="T50" fmla="*/ 90 w 216"/>
                <a:gd name="T51" fmla="*/ 147 h 224"/>
                <a:gd name="T52" fmla="*/ 98 w 216"/>
                <a:gd name="T53" fmla="*/ 150 h 224"/>
                <a:gd name="T54" fmla="*/ 119 w 216"/>
                <a:gd name="T55" fmla="*/ 150 h 224"/>
                <a:gd name="T56" fmla="*/ 127 w 216"/>
                <a:gd name="T57" fmla="*/ 147 h 224"/>
                <a:gd name="T58" fmla="*/ 134 w 216"/>
                <a:gd name="T59" fmla="*/ 139 h 224"/>
                <a:gd name="T60" fmla="*/ 150 w 216"/>
                <a:gd name="T61" fmla="*/ 162 h 224"/>
                <a:gd name="T62" fmla="*/ 141 w 216"/>
                <a:gd name="T63" fmla="*/ 211 h 224"/>
                <a:gd name="T64" fmla="*/ 149 w 216"/>
                <a:gd name="T65" fmla="*/ 224 h 224"/>
                <a:gd name="T66" fmla="*/ 151 w 216"/>
                <a:gd name="T67" fmla="*/ 224 h 224"/>
                <a:gd name="T68" fmla="*/ 161 w 216"/>
                <a:gd name="T69" fmla="*/ 215 h 224"/>
                <a:gd name="T70" fmla="*/ 172 w 216"/>
                <a:gd name="T71" fmla="*/ 162 h 224"/>
                <a:gd name="T72" fmla="*/ 172 w 216"/>
                <a:gd name="T73" fmla="*/ 162 h 224"/>
                <a:gd name="T74" fmla="*/ 172 w 216"/>
                <a:gd name="T75" fmla="*/ 158 h 224"/>
                <a:gd name="T76" fmla="*/ 171 w 216"/>
                <a:gd name="T77" fmla="*/ 154 h 224"/>
                <a:gd name="T78" fmla="*/ 150 w 216"/>
                <a:gd name="T79" fmla="*/ 123 h 224"/>
                <a:gd name="T80" fmla="*/ 159 w 216"/>
                <a:gd name="T81" fmla="*/ 114 h 224"/>
                <a:gd name="T82" fmla="*/ 162 w 216"/>
                <a:gd name="T83" fmla="*/ 107 h 224"/>
                <a:gd name="T84" fmla="*/ 162 w 216"/>
                <a:gd name="T85" fmla="*/ 85 h 224"/>
                <a:gd name="T86" fmla="*/ 162 w 216"/>
                <a:gd name="T87" fmla="*/ 54 h 224"/>
                <a:gd name="T88" fmla="*/ 198 w 216"/>
                <a:gd name="T89" fmla="*/ 83 h 224"/>
                <a:gd name="T90" fmla="*/ 204 w 216"/>
                <a:gd name="T91" fmla="*/ 85 h 224"/>
                <a:gd name="T92" fmla="*/ 213 w 216"/>
                <a:gd name="T93" fmla="*/ 81 h 224"/>
                <a:gd name="T94" fmla="*/ 211 w 216"/>
                <a:gd name="T95" fmla="*/ 66 h 224"/>
                <a:gd name="T96" fmla="*/ 76 w 216"/>
                <a:gd name="T97" fmla="*/ 43 h 224"/>
                <a:gd name="T98" fmla="*/ 108 w 216"/>
                <a:gd name="T99" fmla="*/ 21 h 224"/>
                <a:gd name="T100" fmla="*/ 140 w 216"/>
                <a:gd name="T101" fmla="*/ 43 h 224"/>
                <a:gd name="T102" fmla="*/ 140 w 216"/>
                <a:gd name="T103" fmla="*/ 75 h 224"/>
                <a:gd name="T104" fmla="*/ 76 w 216"/>
                <a:gd name="T105" fmla="*/ 75 h 224"/>
                <a:gd name="T106" fmla="*/ 76 w 216"/>
                <a:gd name="T107" fmla="*/ 43 h 224"/>
                <a:gd name="T108" fmla="*/ 115 w 216"/>
                <a:gd name="T109" fmla="*/ 129 h 224"/>
                <a:gd name="T110" fmla="*/ 102 w 216"/>
                <a:gd name="T111" fmla="*/ 129 h 224"/>
                <a:gd name="T112" fmla="*/ 76 w 216"/>
                <a:gd name="T113" fmla="*/ 102 h 224"/>
                <a:gd name="T114" fmla="*/ 76 w 216"/>
                <a:gd name="T115" fmla="*/ 97 h 224"/>
                <a:gd name="T116" fmla="*/ 140 w 216"/>
                <a:gd name="T117" fmla="*/ 97 h 224"/>
                <a:gd name="T118" fmla="*/ 140 w 216"/>
                <a:gd name="T119" fmla="*/ 102 h 224"/>
                <a:gd name="T120" fmla="*/ 115 w 216"/>
                <a:gd name="T121" fmla="*/ 12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6" h="224">
                  <a:moveTo>
                    <a:pt x="211" y="66"/>
                  </a:moveTo>
                  <a:cubicBezTo>
                    <a:pt x="158" y="24"/>
                    <a:pt x="158" y="24"/>
                    <a:pt x="158" y="24"/>
                  </a:cubicBezTo>
                  <a:cubicBezTo>
                    <a:pt x="157" y="23"/>
                    <a:pt x="157" y="23"/>
                    <a:pt x="156" y="23"/>
                  </a:cubicBezTo>
                  <a:cubicBezTo>
                    <a:pt x="149" y="10"/>
                    <a:pt x="135" y="0"/>
                    <a:pt x="108" y="0"/>
                  </a:cubicBezTo>
                  <a:cubicBezTo>
                    <a:pt x="82" y="0"/>
                    <a:pt x="67" y="10"/>
                    <a:pt x="60" y="23"/>
                  </a:cubicBezTo>
                  <a:cubicBezTo>
                    <a:pt x="60" y="23"/>
                    <a:pt x="59" y="23"/>
                    <a:pt x="59" y="24"/>
                  </a:cubicBezTo>
                  <a:cubicBezTo>
                    <a:pt x="6" y="66"/>
                    <a:pt x="6" y="66"/>
                    <a:pt x="6" y="66"/>
                  </a:cubicBezTo>
                  <a:cubicBezTo>
                    <a:pt x="1" y="70"/>
                    <a:pt x="0" y="77"/>
                    <a:pt x="4" y="81"/>
                  </a:cubicBezTo>
                  <a:cubicBezTo>
                    <a:pt x="6" y="84"/>
                    <a:pt x="9" y="85"/>
                    <a:pt x="12" y="85"/>
                  </a:cubicBezTo>
                  <a:cubicBezTo>
                    <a:pt x="15" y="85"/>
                    <a:pt x="17" y="85"/>
                    <a:pt x="19" y="83"/>
                  </a:cubicBezTo>
                  <a:cubicBezTo>
                    <a:pt x="55" y="54"/>
                    <a:pt x="55" y="54"/>
                    <a:pt x="55" y="54"/>
                  </a:cubicBezTo>
                  <a:cubicBezTo>
                    <a:pt x="55" y="85"/>
                    <a:pt x="55" y="85"/>
                    <a:pt x="55" y="85"/>
                  </a:cubicBezTo>
                  <a:cubicBezTo>
                    <a:pt x="55" y="107"/>
                    <a:pt x="55" y="107"/>
                    <a:pt x="55" y="107"/>
                  </a:cubicBezTo>
                  <a:cubicBezTo>
                    <a:pt x="55" y="110"/>
                    <a:pt x="56" y="112"/>
                    <a:pt x="58" y="114"/>
                  </a:cubicBezTo>
                  <a:cubicBezTo>
                    <a:pt x="67" y="123"/>
                    <a:pt x="67" y="123"/>
                    <a:pt x="67" y="123"/>
                  </a:cubicBezTo>
                  <a:cubicBezTo>
                    <a:pt x="46" y="154"/>
                    <a:pt x="46" y="154"/>
                    <a:pt x="46" y="154"/>
                  </a:cubicBezTo>
                  <a:cubicBezTo>
                    <a:pt x="45" y="155"/>
                    <a:pt x="45" y="157"/>
                    <a:pt x="45" y="158"/>
                  </a:cubicBezTo>
                  <a:cubicBezTo>
                    <a:pt x="44" y="159"/>
                    <a:pt x="44" y="161"/>
                    <a:pt x="45" y="162"/>
                  </a:cubicBezTo>
                  <a:cubicBezTo>
                    <a:pt x="45" y="162"/>
                    <a:pt x="45" y="162"/>
                    <a:pt x="45" y="162"/>
                  </a:cubicBezTo>
                  <a:cubicBezTo>
                    <a:pt x="55" y="215"/>
                    <a:pt x="55" y="215"/>
                    <a:pt x="55" y="215"/>
                  </a:cubicBezTo>
                  <a:cubicBezTo>
                    <a:pt x="56" y="221"/>
                    <a:pt x="61" y="224"/>
                    <a:pt x="66" y="224"/>
                  </a:cubicBezTo>
                  <a:cubicBezTo>
                    <a:pt x="66" y="224"/>
                    <a:pt x="67" y="224"/>
                    <a:pt x="68" y="224"/>
                  </a:cubicBezTo>
                  <a:cubicBezTo>
                    <a:pt x="74" y="223"/>
                    <a:pt x="77" y="217"/>
                    <a:pt x="76" y="211"/>
                  </a:cubicBezTo>
                  <a:cubicBezTo>
                    <a:pt x="66" y="162"/>
                    <a:pt x="66" y="162"/>
                    <a:pt x="66" y="162"/>
                  </a:cubicBezTo>
                  <a:cubicBezTo>
                    <a:pt x="82" y="138"/>
                    <a:pt x="82" y="138"/>
                    <a:pt x="82" y="138"/>
                  </a:cubicBezTo>
                  <a:cubicBezTo>
                    <a:pt x="90" y="147"/>
                    <a:pt x="90" y="147"/>
                    <a:pt x="90" y="147"/>
                  </a:cubicBezTo>
                  <a:cubicBezTo>
                    <a:pt x="92" y="149"/>
                    <a:pt x="95" y="150"/>
                    <a:pt x="98" y="150"/>
                  </a:cubicBezTo>
                  <a:cubicBezTo>
                    <a:pt x="119" y="150"/>
                    <a:pt x="119" y="150"/>
                    <a:pt x="119" y="150"/>
                  </a:cubicBezTo>
                  <a:cubicBezTo>
                    <a:pt x="122" y="150"/>
                    <a:pt x="125" y="149"/>
                    <a:pt x="127" y="147"/>
                  </a:cubicBezTo>
                  <a:cubicBezTo>
                    <a:pt x="134" y="139"/>
                    <a:pt x="134" y="139"/>
                    <a:pt x="134" y="139"/>
                  </a:cubicBezTo>
                  <a:cubicBezTo>
                    <a:pt x="150" y="162"/>
                    <a:pt x="150" y="162"/>
                    <a:pt x="150" y="162"/>
                  </a:cubicBezTo>
                  <a:cubicBezTo>
                    <a:pt x="141" y="211"/>
                    <a:pt x="141" y="211"/>
                    <a:pt x="141" y="211"/>
                  </a:cubicBezTo>
                  <a:cubicBezTo>
                    <a:pt x="139" y="217"/>
                    <a:pt x="143" y="223"/>
                    <a:pt x="149" y="224"/>
                  </a:cubicBezTo>
                  <a:cubicBezTo>
                    <a:pt x="150" y="224"/>
                    <a:pt x="150" y="224"/>
                    <a:pt x="151" y="224"/>
                  </a:cubicBezTo>
                  <a:cubicBezTo>
                    <a:pt x="156" y="224"/>
                    <a:pt x="160" y="221"/>
                    <a:pt x="161" y="215"/>
                  </a:cubicBezTo>
                  <a:cubicBezTo>
                    <a:pt x="172" y="162"/>
                    <a:pt x="172" y="162"/>
                    <a:pt x="172" y="162"/>
                  </a:cubicBezTo>
                  <a:cubicBezTo>
                    <a:pt x="172" y="162"/>
                    <a:pt x="172" y="162"/>
                    <a:pt x="172" y="162"/>
                  </a:cubicBezTo>
                  <a:cubicBezTo>
                    <a:pt x="172" y="161"/>
                    <a:pt x="172" y="159"/>
                    <a:pt x="172" y="158"/>
                  </a:cubicBezTo>
                  <a:cubicBezTo>
                    <a:pt x="172" y="157"/>
                    <a:pt x="171" y="155"/>
                    <a:pt x="171" y="154"/>
                  </a:cubicBezTo>
                  <a:cubicBezTo>
                    <a:pt x="150" y="123"/>
                    <a:pt x="150" y="123"/>
                    <a:pt x="150" y="123"/>
                  </a:cubicBezTo>
                  <a:cubicBezTo>
                    <a:pt x="159" y="114"/>
                    <a:pt x="159" y="114"/>
                    <a:pt x="159" y="114"/>
                  </a:cubicBezTo>
                  <a:cubicBezTo>
                    <a:pt x="161" y="112"/>
                    <a:pt x="162" y="110"/>
                    <a:pt x="162" y="107"/>
                  </a:cubicBezTo>
                  <a:cubicBezTo>
                    <a:pt x="162" y="85"/>
                    <a:pt x="162" y="85"/>
                    <a:pt x="162" y="85"/>
                  </a:cubicBezTo>
                  <a:cubicBezTo>
                    <a:pt x="162" y="54"/>
                    <a:pt x="162" y="54"/>
                    <a:pt x="162" y="54"/>
                  </a:cubicBezTo>
                  <a:cubicBezTo>
                    <a:pt x="198" y="83"/>
                    <a:pt x="198" y="83"/>
                    <a:pt x="198" y="83"/>
                  </a:cubicBezTo>
                  <a:cubicBezTo>
                    <a:pt x="200" y="85"/>
                    <a:pt x="202" y="85"/>
                    <a:pt x="204" y="85"/>
                  </a:cubicBezTo>
                  <a:cubicBezTo>
                    <a:pt x="207" y="85"/>
                    <a:pt x="211" y="84"/>
                    <a:pt x="213" y="81"/>
                  </a:cubicBezTo>
                  <a:cubicBezTo>
                    <a:pt x="216" y="77"/>
                    <a:pt x="216" y="70"/>
                    <a:pt x="211" y="66"/>
                  </a:cubicBezTo>
                  <a:close/>
                  <a:moveTo>
                    <a:pt x="76" y="43"/>
                  </a:moveTo>
                  <a:cubicBezTo>
                    <a:pt x="76" y="36"/>
                    <a:pt x="79" y="21"/>
                    <a:pt x="108" y="21"/>
                  </a:cubicBezTo>
                  <a:cubicBezTo>
                    <a:pt x="137" y="21"/>
                    <a:pt x="140" y="36"/>
                    <a:pt x="140" y="43"/>
                  </a:cubicBezTo>
                  <a:cubicBezTo>
                    <a:pt x="140" y="75"/>
                    <a:pt x="140" y="75"/>
                    <a:pt x="140" y="75"/>
                  </a:cubicBezTo>
                  <a:cubicBezTo>
                    <a:pt x="76" y="75"/>
                    <a:pt x="76" y="75"/>
                    <a:pt x="76" y="75"/>
                  </a:cubicBezTo>
                  <a:lnTo>
                    <a:pt x="76" y="43"/>
                  </a:lnTo>
                  <a:close/>
                  <a:moveTo>
                    <a:pt x="115" y="129"/>
                  </a:moveTo>
                  <a:cubicBezTo>
                    <a:pt x="102" y="129"/>
                    <a:pt x="102" y="129"/>
                    <a:pt x="102" y="129"/>
                  </a:cubicBezTo>
                  <a:cubicBezTo>
                    <a:pt x="76" y="102"/>
                    <a:pt x="76" y="102"/>
                    <a:pt x="76" y="102"/>
                  </a:cubicBezTo>
                  <a:cubicBezTo>
                    <a:pt x="76" y="97"/>
                    <a:pt x="76" y="97"/>
                    <a:pt x="76" y="97"/>
                  </a:cubicBezTo>
                  <a:cubicBezTo>
                    <a:pt x="140" y="97"/>
                    <a:pt x="140" y="97"/>
                    <a:pt x="140" y="97"/>
                  </a:cubicBezTo>
                  <a:cubicBezTo>
                    <a:pt x="140" y="102"/>
                    <a:pt x="140" y="102"/>
                    <a:pt x="140" y="102"/>
                  </a:cubicBezTo>
                  <a:lnTo>
                    <a:pt x="115"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8" name="Freeform 329">
            <a:extLst>
              <a:ext uri="{FF2B5EF4-FFF2-40B4-BE49-F238E27FC236}">
                <a16:creationId xmlns:a16="http://schemas.microsoft.com/office/drawing/2014/main" id="{D820A35E-6961-41E3-8D9C-D2A569129E33}"/>
              </a:ext>
            </a:extLst>
          </p:cNvPr>
          <p:cNvSpPr>
            <a:spLocks noChangeAspect="1" noEditPoints="1"/>
          </p:cNvSpPr>
          <p:nvPr/>
        </p:nvSpPr>
        <p:spPr bwMode="auto">
          <a:xfrm>
            <a:off x="2215926" y="1715126"/>
            <a:ext cx="367982" cy="367982"/>
          </a:xfrm>
          <a:custGeom>
            <a:avLst/>
            <a:gdLst>
              <a:gd name="T0" fmla="*/ 320 w 512"/>
              <a:gd name="T1" fmla="*/ 384 h 512"/>
              <a:gd name="T2" fmla="*/ 310 w 512"/>
              <a:gd name="T3" fmla="*/ 395 h 512"/>
              <a:gd name="T4" fmla="*/ 299 w 512"/>
              <a:gd name="T5" fmla="*/ 384 h 512"/>
              <a:gd name="T6" fmla="*/ 310 w 512"/>
              <a:gd name="T7" fmla="*/ 373 h 512"/>
              <a:gd name="T8" fmla="*/ 320 w 512"/>
              <a:gd name="T9" fmla="*/ 384 h 512"/>
              <a:gd name="T10" fmla="*/ 256 w 512"/>
              <a:gd name="T11" fmla="*/ 321 h 512"/>
              <a:gd name="T12" fmla="*/ 352 w 512"/>
              <a:gd name="T13" fmla="*/ 235 h 512"/>
              <a:gd name="T14" fmla="*/ 161 w 512"/>
              <a:gd name="T15" fmla="*/ 235 h 512"/>
              <a:gd name="T16" fmla="*/ 256 w 512"/>
              <a:gd name="T17" fmla="*/ 321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35 w 512"/>
              <a:gd name="T29" fmla="*/ 384 h 512"/>
              <a:gd name="T30" fmla="*/ 203 w 512"/>
              <a:gd name="T31" fmla="*/ 352 h 512"/>
              <a:gd name="T32" fmla="*/ 171 w 512"/>
              <a:gd name="T33" fmla="*/ 384 h 512"/>
              <a:gd name="T34" fmla="*/ 203 w 512"/>
              <a:gd name="T35" fmla="*/ 416 h 512"/>
              <a:gd name="T36" fmla="*/ 235 w 512"/>
              <a:gd name="T37" fmla="*/ 384 h 512"/>
              <a:gd name="T38" fmla="*/ 342 w 512"/>
              <a:gd name="T39" fmla="*/ 384 h 512"/>
              <a:gd name="T40" fmla="*/ 310 w 512"/>
              <a:gd name="T41" fmla="*/ 352 h 512"/>
              <a:gd name="T42" fmla="*/ 278 w 512"/>
              <a:gd name="T43" fmla="*/ 384 h 512"/>
              <a:gd name="T44" fmla="*/ 310 w 512"/>
              <a:gd name="T45" fmla="*/ 416 h 512"/>
              <a:gd name="T46" fmla="*/ 342 w 512"/>
              <a:gd name="T47" fmla="*/ 384 h 512"/>
              <a:gd name="T48" fmla="*/ 374 w 512"/>
              <a:gd name="T49" fmla="*/ 224 h 512"/>
              <a:gd name="T50" fmla="*/ 256 w 512"/>
              <a:gd name="T51" fmla="*/ 107 h 512"/>
              <a:gd name="T52" fmla="*/ 246 w 512"/>
              <a:gd name="T53" fmla="*/ 117 h 512"/>
              <a:gd name="T54" fmla="*/ 246 w 512"/>
              <a:gd name="T55" fmla="*/ 214 h 512"/>
              <a:gd name="T56" fmla="*/ 159 w 512"/>
              <a:gd name="T57" fmla="*/ 214 h 512"/>
              <a:gd name="T58" fmla="*/ 107 w 512"/>
              <a:gd name="T59" fmla="*/ 171 h 512"/>
              <a:gd name="T60" fmla="*/ 96 w 512"/>
              <a:gd name="T61" fmla="*/ 182 h 512"/>
              <a:gd name="T62" fmla="*/ 107 w 512"/>
              <a:gd name="T63" fmla="*/ 192 h 512"/>
              <a:gd name="T64" fmla="*/ 139 w 512"/>
              <a:gd name="T65" fmla="*/ 224 h 512"/>
              <a:gd name="T66" fmla="*/ 256 w 512"/>
              <a:gd name="T67" fmla="*/ 341 h 512"/>
              <a:gd name="T68" fmla="*/ 374 w 512"/>
              <a:gd name="T69" fmla="*/ 224 h 512"/>
              <a:gd name="T70" fmla="*/ 203 w 512"/>
              <a:gd name="T71" fmla="*/ 373 h 512"/>
              <a:gd name="T72" fmla="*/ 192 w 512"/>
              <a:gd name="T73" fmla="*/ 384 h 512"/>
              <a:gd name="T74" fmla="*/ 203 w 512"/>
              <a:gd name="T75" fmla="*/ 395 h 512"/>
              <a:gd name="T76" fmla="*/ 214 w 512"/>
              <a:gd name="T77" fmla="*/ 384 h 512"/>
              <a:gd name="T78" fmla="*/ 203 w 512"/>
              <a:gd name="T79" fmla="*/ 373 h 512"/>
              <a:gd name="T80" fmla="*/ 267 w 512"/>
              <a:gd name="T81" fmla="*/ 129 h 512"/>
              <a:gd name="T82" fmla="*/ 267 w 512"/>
              <a:gd name="T83" fmla="*/ 214 h 512"/>
              <a:gd name="T84" fmla="*/ 352 w 512"/>
              <a:gd name="T85" fmla="*/ 214 h 512"/>
              <a:gd name="T86" fmla="*/ 267 w 512"/>
              <a:gd name="T87" fmla="*/ 12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20" y="384"/>
                </a:moveTo>
                <a:cubicBezTo>
                  <a:pt x="320" y="390"/>
                  <a:pt x="316" y="395"/>
                  <a:pt x="310" y="395"/>
                </a:cubicBezTo>
                <a:cubicBezTo>
                  <a:pt x="304" y="395"/>
                  <a:pt x="299" y="390"/>
                  <a:pt x="299" y="384"/>
                </a:cubicBezTo>
                <a:cubicBezTo>
                  <a:pt x="299" y="378"/>
                  <a:pt x="304" y="373"/>
                  <a:pt x="310" y="373"/>
                </a:cubicBezTo>
                <a:cubicBezTo>
                  <a:pt x="316" y="373"/>
                  <a:pt x="320" y="378"/>
                  <a:pt x="320" y="384"/>
                </a:cubicBezTo>
                <a:close/>
                <a:moveTo>
                  <a:pt x="256" y="321"/>
                </a:moveTo>
                <a:cubicBezTo>
                  <a:pt x="306" y="321"/>
                  <a:pt x="346" y="282"/>
                  <a:pt x="352" y="235"/>
                </a:cubicBezTo>
                <a:cubicBezTo>
                  <a:pt x="161" y="235"/>
                  <a:pt x="161" y="235"/>
                  <a:pt x="161" y="235"/>
                </a:cubicBezTo>
                <a:cubicBezTo>
                  <a:pt x="166" y="282"/>
                  <a:pt x="207" y="321"/>
                  <a:pt x="256" y="321"/>
                </a:cubicBezTo>
                <a:close/>
                <a:moveTo>
                  <a:pt x="512" y="256"/>
                </a:moveTo>
                <a:cubicBezTo>
                  <a:pt x="512" y="397"/>
                  <a:pt x="398" y="512"/>
                  <a:pt x="256" y="512"/>
                </a:cubicBezTo>
                <a:cubicBezTo>
                  <a:pt x="115" y="512"/>
                  <a:pt x="0" y="397"/>
                  <a:pt x="0" y="256"/>
                </a:cubicBezTo>
                <a:cubicBezTo>
                  <a:pt x="0" y="115"/>
                  <a:pt x="115" y="0"/>
                  <a:pt x="256" y="0"/>
                </a:cubicBezTo>
                <a:cubicBezTo>
                  <a:pt x="398" y="0"/>
                  <a:pt x="512" y="115"/>
                  <a:pt x="512" y="256"/>
                </a:cubicBezTo>
                <a:close/>
                <a:moveTo>
                  <a:pt x="235" y="384"/>
                </a:moveTo>
                <a:cubicBezTo>
                  <a:pt x="235" y="366"/>
                  <a:pt x="221" y="352"/>
                  <a:pt x="203" y="352"/>
                </a:cubicBezTo>
                <a:cubicBezTo>
                  <a:pt x="185" y="352"/>
                  <a:pt x="171" y="366"/>
                  <a:pt x="171" y="384"/>
                </a:cubicBezTo>
                <a:cubicBezTo>
                  <a:pt x="171" y="402"/>
                  <a:pt x="185" y="416"/>
                  <a:pt x="203" y="416"/>
                </a:cubicBezTo>
                <a:cubicBezTo>
                  <a:pt x="221" y="416"/>
                  <a:pt x="235" y="402"/>
                  <a:pt x="235" y="384"/>
                </a:cubicBezTo>
                <a:close/>
                <a:moveTo>
                  <a:pt x="342" y="384"/>
                </a:moveTo>
                <a:cubicBezTo>
                  <a:pt x="342" y="366"/>
                  <a:pt x="327" y="352"/>
                  <a:pt x="310" y="352"/>
                </a:cubicBezTo>
                <a:cubicBezTo>
                  <a:pt x="292" y="352"/>
                  <a:pt x="278" y="366"/>
                  <a:pt x="278" y="384"/>
                </a:cubicBezTo>
                <a:cubicBezTo>
                  <a:pt x="278" y="402"/>
                  <a:pt x="292" y="416"/>
                  <a:pt x="310" y="416"/>
                </a:cubicBezTo>
                <a:cubicBezTo>
                  <a:pt x="327" y="416"/>
                  <a:pt x="342" y="402"/>
                  <a:pt x="342" y="384"/>
                </a:cubicBezTo>
                <a:close/>
                <a:moveTo>
                  <a:pt x="374" y="224"/>
                </a:moveTo>
                <a:cubicBezTo>
                  <a:pt x="374" y="159"/>
                  <a:pt x="321" y="107"/>
                  <a:pt x="256" y="107"/>
                </a:cubicBezTo>
                <a:cubicBezTo>
                  <a:pt x="250" y="107"/>
                  <a:pt x="246" y="111"/>
                  <a:pt x="246" y="117"/>
                </a:cubicBezTo>
                <a:cubicBezTo>
                  <a:pt x="246" y="214"/>
                  <a:pt x="246" y="214"/>
                  <a:pt x="246" y="214"/>
                </a:cubicBezTo>
                <a:cubicBezTo>
                  <a:pt x="159" y="214"/>
                  <a:pt x="159" y="214"/>
                  <a:pt x="159" y="214"/>
                </a:cubicBezTo>
                <a:cubicBezTo>
                  <a:pt x="154" y="189"/>
                  <a:pt x="133" y="171"/>
                  <a:pt x="107" y="171"/>
                </a:cubicBezTo>
                <a:cubicBezTo>
                  <a:pt x="101" y="171"/>
                  <a:pt x="96" y="176"/>
                  <a:pt x="96" y="182"/>
                </a:cubicBezTo>
                <a:cubicBezTo>
                  <a:pt x="96" y="187"/>
                  <a:pt x="101" y="192"/>
                  <a:pt x="107" y="192"/>
                </a:cubicBezTo>
                <a:cubicBezTo>
                  <a:pt x="125" y="192"/>
                  <a:pt x="139" y="206"/>
                  <a:pt x="139" y="224"/>
                </a:cubicBezTo>
                <a:cubicBezTo>
                  <a:pt x="139" y="289"/>
                  <a:pt x="192" y="341"/>
                  <a:pt x="256" y="341"/>
                </a:cubicBezTo>
                <a:cubicBezTo>
                  <a:pt x="321" y="341"/>
                  <a:pt x="374" y="289"/>
                  <a:pt x="374" y="224"/>
                </a:cubicBezTo>
                <a:close/>
                <a:moveTo>
                  <a:pt x="203" y="373"/>
                </a:moveTo>
                <a:cubicBezTo>
                  <a:pt x="197" y="373"/>
                  <a:pt x="192" y="378"/>
                  <a:pt x="192" y="384"/>
                </a:cubicBezTo>
                <a:cubicBezTo>
                  <a:pt x="192" y="390"/>
                  <a:pt x="197" y="395"/>
                  <a:pt x="203" y="395"/>
                </a:cubicBezTo>
                <a:cubicBezTo>
                  <a:pt x="209" y="395"/>
                  <a:pt x="214" y="390"/>
                  <a:pt x="214" y="384"/>
                </a:cubicBezTo>
                <a:cubicBezTo>
                  <a:pt x="214" y="378"/>
                  <a:pt x="209" y="373"/>
                  <a:pt x="203" y="373"/>
                </a:cubicBezTo>
                <a:close/>
                <a:moveTo>
                  <a:pt x="267" y="129"/>
                </a:moveTo>
                <a:cubicBezTo>
                  <a:pt x="267" y="214"/>
                  <a:pt x="267" y="214"/>
                  <a:pt x="267" y="214"/>
                </a:cubicBezTo>
                <a:cubicBezTo>
                  <a:pt x="352" y="214"/>
                  <a:pt x="352" y="214"/>
                  <a:pt x="352" y="214"/>
                </a:cubicBezTo>
                <a:cubicBezTo>
                  <a:pt x="347" y="169"/>
                  <a:pt x="311" y="134"/>
                  <a:pt x="267" y="12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9" name="Group 332">
            <a:extLst>
              <a:ext uri="{FF2B5EF4-FFF2-40B4-BE49-F238E27FC236}">
                <a16:creationId xmlns:a16="http://schemas.microsoft.com/office/drawing/2014/main" id="{EFBC779E-FEC9-4D98-AAE5-2D84175AA11C}"/>
              </a:ext>
            </a:extLst>
          </p:cNvPr>
          <p:cNvGrpSpPr>
            <a:grpSpLocks noChangeAspect="1"/>
          </p:cNvGrpSpPr>
          <p:nvPr/>
        </p:nvGrpSpPr>
        <p:grpSpPr bwMode="auto">
          <a:xfrm>
            <a:off x="2650511" y="1715126"/>
            <a:ext cx="369064" cy="367982"/>
            <a:chOff x="2904" y="2134"/>
            <a:chExt cx="341" cy="340"/>
          </a:xfrm>
          <a:solidFill>
            <a:schemeClr val="accent4"/>
          </a:solidFill>
        </p:grpSpPr>
        <p:sp>
          <p:nvSpPr>
            <p:cNvPr id="180" name="Freeform 333">
              <a:extLst>
                <a:ext uri="{FF2B5EF4-FFF2-40B4-BE49-F238E27FC236}">
                  <a16:creationId xmlns:a16="http://schemas.microsoft.com/office/drawing/2014/main" id="{BCE000C1-16C4-4189-AEC2-0CAD96E97E40}"/>
                </a:ext>
              </a:extLst>
            </p:cNvPr>
            <p:cNvSpPr>
              <a:spLocks noEditPoints="1"/>
            </p:cNvSpPr>
            <p:nvPr/>
          </p:nvSpPr>
          <p:spPr bwMode="auto">
            <a:xfrm>
              <a:off x="2904" y="2134"/>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2 w 512"/>
                <a:gd name="T13" fmla="*/ 256 h 512"/>
                <a:gd name="T14" fmla="*/ 256 w 512"/>
                <a:gd name="T15" fmla="*/ 21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moveTo>
                    <a:pt x="256" y="491"/>
                  </a:moveTo>
                  <a:cubicBezTo>
                    <a:pt x="127" y="491"/>
                    <a:pt x="22" y="385"/>
                    <a:pt x="22" y="256"/>
                  </a:cubicBezTo>
                  <a:cubicBezTo>
                    <a:pt x="22" y="127"/>
                    <a:pt x="127" y="21"/>
                    <a:pt x="256" y="21"/>
                  </a:cubicBezTo>
                  <a:cubicBezTo>
                    <a:pt x="386" y="21"/>
                    <a:pt x="491" y="127"/>
                    <a:pt x="491" y="256"/>
                  </a:cubicBezTo>
                  <a:cubicBezTo>
                    <a:pt x="491" y="385"/>
                    <a:pt x="386" y="491"/>
                    <a:pt x="256" y="4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1" name="Freeform 334">
              <a:extLst>
                <a:ext uri="{FF2B5EF4-FFF2-40B4-BE49-F238E27FC236}">
                  <a16:creationId xmlns:a16="http://schemas.microsoft.com/office/drawing/2014/main" id="{54896DF3-AEA1-4A0F-AEFF-ABAF8A9ED7F7}"/>
                </a:ext>
              </a:extLst>
            </p:cNvPr>
            <p:cNvSpPr>
              <a:spLocks noEditPoints="1"/>
            </p:cNvSpPr>
            <p:nvPr/>
          </p:nvSpPr>
          <p:spPr bwMode="auto">
            <a:xfrm>
              <a:off x="2968" y="2205"/>
              <a:ext cx="185" cy="205"/>
            </a:xfrm>
            <a:custGeom>
              <a:avLst/>
              <a:gdLst>
                <a:gd name="T0" fmla="*/ 278 w 278"/>
                <a:gd name="T1" fmla="*/ 117 h 309"/>
                <a:gd name="T2" fmla="*/ 160 w 278"/>
                <a:gd name="T3" fmla="*/ 0 h 309"/>
                <a:gd name="T4" fmla="*/ 150 w 278"/>
                <a:gd name="T5" fmla="*/ 10 h 309"/>
                <a:gd name="T6" fmla="*/ 150 w 278"/>
                <a:gd name="T7" fmla="*/ 107 h 309"/>
                <a:gd name="T8" fmla="*/ 63 w 278"/>
                <a:gd name="T9" fmla="*/ 107 h 309"/>
                <a:gd name="T10" fmla="*/ 11 w 278"/>
                <a:gd name="T11" fmla="*/ 64 h 309"/>
                <a:gd name="T12" fmla="*/ 0 w 278"/>
                <a:gd name="T13" fmla="*/ 75 h 309"/>
                <a:gd name="T14" fmla="*/ 11 w 278"/>
                <a:gd name="T15" fmla="*/ 85 h 309"/>
                <a:gd name="T16" fmla="*/ 43 w 278"/>
                <a:gd name="T17" fmla="*/ 117 h 309"/>
                <a:gd name="T18" fmla="*/ 160 w 278"/>
                <a:gd name="T19" fmla="*/ 234 h 309"/>
                <a:gd name="T20" fmla="*/ 278 w 278"/>
                <a:gd name="T21" fmla="*/ 117 h 309"/>
                <a:gd name="T22" fmla="*/ 171 w 278"/>
                <a:gd name="T23" fmla="*/ 22 h 309"/>
                <a:gd name="T24" fmla="*/ 256 w 278"/>
                <a:gd name="T25" fmla="*/ 107 h 309"/>
                <a:gd name="T26" fmla="*/ 171 w 278"/>
                <a:gd name="T27" fmla="*/ 107 h 309"/>
                <a:gd name="T28" fmla="*/ 171 w 278"/>
                <a:gd name="T29" fmla="*/ 22 h 309"/>
                <a:gd name="T30" fmla="*/ 160 w 278"/>
                <a:gd name="T31" fmla="*/ 214 h 309"/>
                <a:gd name="T32" fmla="*/ 65 w 278"/>
                <a:gd name="T33" fmla="*/ 128 h 309"/>
                <a:gd name="T34" fmla="*/ 256 w 278"/>
                <a:gd name="T35" fmla="*/ 128 h 309"/>
                <a:gd name="T36" fmla="*/ 160 w 278"/>
                <a:gd name="T37" fmla="*/ 214 h 309"/>
                <a:gd name="T38" fmla="*/ 214 w 278"/>
                <a:gd name="T39" fmla="*/ 245 h 309"/>
                <a:gd name="T40" fmla="*/ 182 w 278"/>
                <a:gd name="T41" fmla="*/ 277 h 309"/>
                <a:gd name="T42" fmla="*/ 214 w 278"/>
                <a:gd name="T43" fmla="*/ 309 h 309"/>
                <a:gd name="T44" fmla="*/ 246 w 278"/>
                <a:gd name="T45" fmla="*/ 277 h 309"/>
                <a:gd name="T46" fmla="*/ 214 w 278"/>
                <a:gd name="T47" fmla="*/ 245 h 309"/>
                <a:gd name="T48" fmla="*/ 214 w 278"/>
                <a:gd name="T49" fmla="*/ 288 h 309"/>
                <a:gd name="T50" fmla="*/ 203 w 278"/>
                <a:gd name="T51" fmla="*/ 277 h 309"/>
                <a:gd name="T52" fmla="*/ 214 w 278"/>
                <a:gd name="T53" fmla="*/ 266 h 309"/>
                <a:gd name="T54" fmla="*/ 224 w 278"/>
                <a:gd name="T55" fmla="*/ 277 h 309"/>
                <a:gd name="T56" fmla="*/ 214 w 278"/>
                <a:gd name="T57" fmla="*/ 288 h 309"/>
                <a:gd name="T58" fmla="*/ 107 w 278"/>
                <a:gd name="T59" fmla="*/ 245 h 309"/>
                <a:gd name="T60" fmla="*/ 75 w 278"/>
                <a:gd name="T61" fmla="*/ 277 h 309"/>
                <a:gd name="T62" fmla="*/ 107 w 278"/>
                <a:gd name="T63" fmla="*/ 309 h 309"/>
                <a:gd name="T64" fmla="*/ 139 w 278"/>
                <a:gd name="T65" fmla="*/ 277 h 309"/>
                <a:gd name="T66" fmla="*/ 107 w 278"/>
                <a:gd name="T67" fmla="*/ 245 h 309"/>
                <a:gd name="T68" fmla="*/ 107 w 278"/>
                <a:gd name="T69" fmla="*/ 288 h 309"/>
                <a:gd name="T70" fmla="*/ 96 w 278"/>
                <a:gd name="T71" fmla="*/ 277 h 309"/>
                <a:gd name="T72" fmla="*/ 107 w 278"/>
                <a:gd name="T73" fmla="*/ 266 h 309"/>
                <a:gd name="T74" fmla="*/ 118 w 278"/>
                <a:gd name="T75" fmla="*/ 277 h 309"/>
                <a:gd name="T76" fmla="*/ 107 w 278"/>
                <a:gd name="T77"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8" h="309">
                  <a:moveTo>
                    <a:pt x="278" y="117"/>
                  </a:moveTo>
                  <a:cubicBezTo>
                    <a:pt x="278" y="52"/>
                    <a:pt x="225" y="0"/>
                    <a:pt x="160" y="0"/>
                  </a:cubicBezTo>
                  <a:cubicBezTo>
                    <a:pt x="154" y="0"/>
                    <a:pt x="150" y="4"/>
                    <a:pt x="150" y="10"/>
                  </a:cubicBezTo>
                  <a:cubicBezTo>
                    <a:pt x="150" y="107"/>
                    <a:pt x="150" y="107"/>
                    <a:pt x="150" y="107"/>
                  </a:cubicBezTo>
                  <a:cubicBezTo>
                    <a:pt x="63" y="107"/>
                    <a:pt x="63" y="107"/>
                    <a:pt x="63" y="107"/>
                  </a:cubicBezTo>
                  <a:cubicBezTo>
                    <a:pt x="58" y="82"/>
                    <a:pt x="37" y="64"/>
                    <a:pt x="11" y="64"/>
                  </a:cubicBezTo>
                  <a:cubicBezTo>
                    <a:pt x="5" y="64"/>
                    <a:pt x="0" y="69"/>
                    <a:pt x="0" y="75"/>
                  </a:cubicBezTo>
                  <a:cubicBezTo>
                    <a:pt x="0" y="80"/>
                    <a:pt x="5" y="85"/>
                    <a:pt x="11" y="85"/>
                  </a:cubicBezTo>
                  <a:cubicBezTo>
                    <a:pt x="29" y="85"/>
                    <a:pt x="43" y="99"/>
                    <a:pt x="43" y="117"/>
                  </a:cubicBezTo>
                  <a:cubicBezTo>
                    <a:pt x="43" y="182"/>
                    <a:pt x="96" y="234"/>
                    <a:pt x="160" y="234"/>
                  </a:cubicBezTo>
                  <a:cubicBezTo>
                    <a:pt x="225" y="234"/>
                    <a:pt x="278" y="182"/>
                    <a:pt x="278" y="117"/>
                  </a:cubicBezTo>
                  <a:close/>
                  <a:moveTo>
                    <a:pt x="171" y="22"/>
                  </a:moveTo>
                  <a:cubicBezTo>
                    <a:pt x="215" y="27"/>
                    <a:pt x="251" y="62"/>
                    <a:pt x="256" y="107"/>
                  </a:cubicBezTo>
                  <a:cubicBezTo>
                    <a:pt x="171" y="107"/>
                    <a:pt x="171" y="107"/>
                    <a:pt x="171" y="107"/>
                  </a:cubicBezTo>
                  <a:lnTo>
                    <a:pt x="171" y="22"/>
                  </a:lnTo>
                  <a:close/>
                  <a:moveTo>
                    <a:pt x="160" y="214"/>
                  </a:moveTo>
                  <a:cubicBezTo>
                    <a:pt x="111" y="214"/>
                    <a:pt x="70" y="175"/>
                    <a:pt x="65" y="128"/>
                  </a:cubicBezTo>
                  <a:cubicBezTo>
                    <a:pt x="256" y="128"/>
                    <a:pt x="256" y="128"/>
                    <a:pt x="256" y="128"/>
                  </a:cubicBezTo>
                  <a:cubicBezTo>
                    <a:pt x="250" y="175"/>
                    <a:pt x="210" y="214"/>
                    <a:pt x="160" y="214"/>
                  </a:cubicBezTo>
                  <a:close/>
                  <a:moveTo>
                    <a:pt x="214" y="245"/>
                  </a:moveTo>
                  <a:cubicBezTo>
                    <a:pt x="196" y="245"/>
                    <a:pt x="182" y="259"/>
                    <a:pt x="182" y="277"/>
                  </a:cubicBezTo>
                  <a:cubicBezTo>
                    <a:pt x="182" y="295"/>
                    <a:pt x="196" y="309"/>
                    <a:pt x="214" y="309"/>
                  </a:cubicBezTo>
                  <a:cubicBezTo>
                    <a:pt x="231" y="309"/>
                    <a:pt x="246" y="295"/>
                    <a:pt x="246" y="277"/>
                  </a:cubicBezTo>
                  <a:cubicBezTo>
                    <a:pt x="246" y="259"/>
                    <a:pt x="231" y="245"/>
                    <a:pt x="214" y="245"/>
                  </a:cubicBezTo>
                  <a:close/>
                  <a:moveTo>
                    <a:pt x="214" y="288"/>
                  </a:moveTo>
                  <a:cubicBezTo>
                    <a:pt x="208" y="288"/>
                    <a:pt x="203" y="283"/>
                    <a:pt x="203" y="277"/>
                  </a:cubicBezTo>
                  <a:cubicBezTo>
                    <a:pt x="203" y="271"/>
                    <a:pt x="208" y="266"/>
                    <a:pt x="214" y="266"/>
                  </a:cubicBezTo>
                  <a:cubicBezTo>
                    <a:pt x="220" y="266"/>
                    <a:pt x="224" y="271"/>
                    <a:pt x="224" y="277"/>
                  </a:cubicBezTo>
                  <a:cubicBezTo>
                    <a:pt x="224" y="283"/>
                    <a:pt x="220" y="288"/>
                    <a:pt x="214" y="288"/>
                  </a:cubicBezTo>
                  <a:close/>
                  <a:moveTo>
                    <a:pt x="107" y="245"/>
                  </a:moveTo>
                  <a:cubicBezTo>
                    <a:pt x="89" y="245"/>
                    <a:pt x="75" y="259"/>
                    <a:pt x="75" y="277"/>
                  </a:cubicBezTo>
                  <a:cubicBezTo>
                    <a:pt x="75" y="295"/>
                    <a:pt x="89" y="309"/>
                    <a:pt x="107" y="309"/>
                  </a:cubicBezTo>
                  <a:cubicBezTo>
                    <a:pt x="125" y="309"/>
                    <a:pt x="139" y="295"/>
                    <a:pt x="139" y="277"/>
                  </a:cubicBezTo>
                  <a:cubicBezTo>
                    <a:pt x="139" y="259"/>
                    <a:pt x="125" y="245"/>
                    <a:pt x="107" y="245"/>
                  </a:cubicBezTo>
                  <a:close/>
                  <a:moveTo>
                    <a:pt x="107" y="288"/>
                  </a:moveTo>
                  <a:cubicBezTo>
                    <a:pt x="101" y="288"/>
                    <a:pt x="96" y="283"/>
                    <a:pt x="96" y="277"/>
                  </a:cubicBezTo>
                  <a:cubicBezTo>
                    <a:pt x="96" y="271"/>
                    <a:pt x="101" y="266"/>
                    <a:pt x="107" y="266"/>
                  </a:cubicBezTo>
                  <a:cubicBezTo>
                    <a:pt x="113" y="266"/>
                    <a:pt x="118" y="271"/>
                    <a:pt x="118" y="277"/>
                  </a:cubicBezTo>
                  <a:cubicBezTo>
                    <a:pt x="118" y="283"/>
                    <a:pt x="113" y="288"/>
                    <a:pt x="107" y="2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2" name="Freeform 355">
            <a:extLst>
              <a:ext uri="{FF2B5EF4-FFF2-40B4-BE49-F238E27FC236}">
                <a16:creationId xmlns:a16="http://schemas.microsoft.com/office/drawing/2014/main" id="{F654816E-5CC4-4E46-950E-B1DF1D9D5A24}"/>
              </a:ext>
            </a:extLst>
          </p:cNvPr>
          <p:cNvSpPr>
            <a:spLocks noChangeAspect="1" noEditPoints="1"/>
          </p:cNvSpPr>
          <p:nvPr/>
        </p:nvSpPr>
        <p:spPr bwMode="auto">
          <a:xfrm>
            <a:off x="3086178" y="1715126"/>
            <a:ext cx="367982" cy="367982"/>
          </a:xfrm>
          <a:custGeom>
            <a:avLst/>
            <a:gdLst>
              <a:gd name="T0" fmla="*/ 390 w 512"/>
              <a:gd name="T1" fmla="*/ 315 h 512"/>
              <a:gd name="T2" fmla="*/ 390 w 512"/>
              <a:gd name="T3" fmla="*/ 330 h 512"/>
              <a:gd name="T4" fmla="*/ 330 w 512"/>
              <a:gd name="T5" fmla="*/ 390 h 512"/>
              <a:gd name="T6" fmla="*/ 315 w 512"/>
              <a:gd name="T7" fmla="*/ 390 h 512"/>
              <a:gd name="T8" fmla="*/ 271 w 512"/>
              <a:gd name="T9" fmla="*/ 346 h 512"/>
              <a:gd name="T10" fmla="*/ 346 w 512"/>
              <a:gd name="T11" fmla="*/ 271 h 512"/>
              <a:gd name="T12" fmla="*/ 390 w 512"/>
              <a:gd name="T13" fmla="*/ 315 h 512"/>
              <a:gd name="T14" fmla="*/ 331 w 512"/>
              <a:gd name="T15" fmla="*/ 256 h 512"/>
              <a:gd name="T16" fmla="*/ 256 w 512"/>
              <a:gd name="T17" fmla="*/ 331 h 512"/>
              <a:gd name="T18" fmla="*/ 180 w 512"/>
              <a:gd name="T19" fmla="*/ 256 h 512"/>
              <a:gd name="T20" fmla="*/ 256 w 512"/>
              <a:gd name="T21" fmla="*/ 180 h 512"/>
              <a:gd name="T22" fmla="*/ 331 w 512"/>
              <a:gd name="T23" fmla="*/ 256 h 512"/>
              <a:gd name="T24" fmla="*/ 233 w 512"/>
              <a:gd name="T25" fmla="*/ 248 h 512"/>
              <a:gd name="T26" fmla="*/ 218 w 512"/>
              <a:gd name="T27" fmla="*/ 248 h 512"/>
              <a:gd name="T28" fmla="*/ 218 w 512"/>
              <a:gd name="T29" fmla="*/ 263 h 512"/>
              <a:gd name="T30" fmla="*/ 233 w 512"/>
              <a:gd name="T31" fmla="*/ 263 h 512"/>
              <a:gd name="T32" fmla="*/ 233 w 512"/>
              <a:gd name="T33" fmla="*/ 248 h 512"/>
              <a:gd name="T34" fmla="*/ 263 w 512"/>
              <a:gd name="T35" fmla="*/ 278 h 512"/>
              <a:gd name="T36" fmla="*/ 248 w 512"/>
              <a:gd name="T37" fmla="*/ 278 h 512"/>
              <a:gd name="T38" fmla="*/ 248 w 512"/>
              <a:gd name="T39" fmla="*/ 293 h 512"/>
              <a:gd name="T40" fmla="*/ 263 w 512"/>
              <a:gd name="T41" fmla="*/ 293 h 512"/>
              <a:gd name="T42" fmla="*/ 263 w 512"/>
              <a:gd name="T43" fmla="*/ 278 h 512"/>
              <a:gd name="T44" fmla="*/ 263 w 512"/>
              <a:gd name="T45" fmla="*/ 218 h 512"/>
              <a:gd name="T46" fmla="*/ 248 w 512"/>
              <a:gd name="T47" fmla="*/ 218 h 512"/>
              <a:gd name="T48" fmla="*/ 248 w 512"/>
              <a:gd name="T49" fmla="*/ 233 h 512"/>
              <a:gd name="T50" fmla="*/ 263 w 512"/>
              <a:gd name="T51" fmla="*/ 233 h 512"/>
              <a:gd name="T52" fmla="*/ 263 w 512"/>
              <a:gd name="T53" fmla="*/ 218 h 512"/>
              <a:gd name="T54" fmla="*/ 293 w 512"/>
              <a:gd name="T55" fmla="*/ 263 h 512"/>
              <a:gd name="T56" fmla="*/ 293 w 512"/>
              <a:gd name="T57" fmla="*/ 248 h 512"/>
              <a:gd name="T58" fmla="*/ 278 w 512"/>
              <a:gd name="T59" fmla="*/ 248 h 512"/>
              <a:gd name="T60" fmla="*/ 278 w 512"/>
              <a:gd name="T61" fmla="*/ 263 h 512"/>
              <a:gd name="T62" fmla="*/ 293 w 512"/>
              <a:gd name="T63" fmla="*/ 263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405 w 512"/>
              <a:gd name="T75" fmla="*/ 300 h 512"/>
              <a:gd name="T76" fmla="*/ 212 w 512"/>
              <a:gd name="T77" fmla="*/ 106 h 512"/>
              <a:gd name="T78" fmla="*/ 166 w 512"/>
              <a:gd name="T79" fmla="*/ 106 h 512"/>
              <a:gd name="T80" fmla="*/ 106 w 512"/>
              <a:gd name="T81" fmla="*/ 166 h 512"/>
              <a:gd name="T82" fmla="*/ 106 w 512"/>
              <a:gd name="T83" fmla="*/ 212 h 512"/>
              <a:gd name="T84" fmla="*/ 300 w 512"/>
              <a:gd name="T85" fmla="*/ 405 h 512"/>
              <a:gd name="T86" fmla="*/ 322 w 512"/>
              <a:gd name="T87" fmla="*/ 415 h 512"/>
              <a:gd name="T88" fmla="*/ 345 w 512"/>
              <a:gd name="T89" fmla="*/ 405 h 512"/>
              <a:gd name="T90" fmla="*/ 405 w 512"/>
              <a:gd name="T91" fmla="*/ 345 h 512"/>
              <a:gd name="T92" fmla="*/ 405 w 512"/>
              <a:gd name="T93" fmla="*/ 345 h 512"/>
              <a:gd name="T94" fmla="*/ 405 w 512"/>
              <a:gd name="T95" fmla="*/ 300 h 512"/>
              <a:gd name="T96" fmla="*/ 196 w 512"/>
              <a:gd name="T97" fmla="*/ 121 h 512"/>
              <a:gd name="T98" fmla="*/ 189 w 512"/>
              <a:gd name="T99" fmla="*/ 118 h 512"/>
              <a:gd name="T100" fmla="*/ 181 w 512"/>
              <a:gd name="T101" fmla="*/ 121 h 512"/>
              <a:gd name="T102" fmla="*/ 121 w 512"/>
              <a:gd name="T103" fmla="*/ 181 h 512"/>
              <a:gd name="T104" fmla="*/ 121 w 512"/>
              <a:gd name="T105" fmla="*/ 196 h 512"/>
              <a:gd name="T106" fmla="*/ 165 w 512"/>
              <a:gd name="T107" fmla="*/ 241 h 512"/>
              <a:gd name="T108" fmla="*/ 241 w 512"/>
              <a:gd name="T109" fmla="*/ 165 h 512"/>
              <a:gd name="T110" fmla="*/ 196 w 512"/>
              <a:gd name="T111" fmla="*/ 1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0" y="315"/>
                </a:moveTo>
                <a:cubicBezTo>
                  <a:pt x="394" y="319"/>
                  <a:pt x="394" y="326"/>
                  <a:pt x="390" y="330"/>
                </a:cubicBezTo>
                <a:cubicBezTo>
                  <a:pt x="330" y="390"/>
                  <a:pt x="330" y="390"/>
                  <a:pt x="330" y="390"/>
                </a:cubicBezTo>
                <a:cubicBezTo>
                  <a:pt x="326" y="394"/>
                  <a:pt x="319" y="394"/>
                  <a:pt x="315" y="390"/>
                </a:cubicBezTo>
                <a:cubicBezTo>
                  <a:pt x="271" y="346"/>
                  <a:pt x="271" y="346"/>
                  <a:pt x="271" y="346"/>
                </a:cubicBezTo>
                <a:cubicBezTo>
                  <a:pt x="346" y="271"/>
                  <a:pt x="346" y="271"/>
                  <a:pt x="346" y="271"/>
                </a:cubicBezTo>
                <a:lnTo>
                  <a:pt x="390" y="315"/>
                </a:lnTo>
                <a:close/>
                <a:moveTo>
                  <a:pt x="331" y="256"/>
                </a:moveTo>
                <a:cubicBezTo>
                  <a:pt x="256" y="331"/>
                  <a:pt x="256" y="331"/>
                  <a:pt x="256" y="331"/>
                </a:cubicBezTo>
                <a:cubicBezTo>
                  <a:pt x="180" y="256"/>
                  <a:pt x="180" y="256"/>
                  <a:pt x="180" y="256"/>
                </a:cubicBezTo>
                <a:cubicBezTo>
                  <a:pt x="256" y="180"/>
                  <a:pt x="256" y="180"/>
                  <a:pt x="256" y="180"/>
                </a:cubicBezTo>
                <a:lnTo>
                  <a:pt x="331" y="256"/>
                </a:lnTo>
                <a:close/>
                <a:moveTo>
                  <a:pt x="233" y="248"/>
                </a:moveTo>
                <a:cubicBezTo>
                  <a:pt x="229" y="244"/>
                  <a:pt x="222" y="244"/>
                  <a:pt x="218" y="248"/>
                </a:cubicBezTo>
                <a:cubicBezTo>
                  <a:pt x="214" y="252"/>
                  <a:pt x="214" y="259"/>
                  <a:pt x="218" y="263"/>
                </a:cubicBezTo>
                <a:cubicBezTo>
                  <a:pt x="222" y="267"/>
                  <a:pt x="229" y="267"/>
                  <a:pt x="233" y="263"/>
                </a:cubicBezTo>
                <a:cubicBezTo>
                  <a:pt x="237" y="259"/>
                  <a:pt x="237" y="252"/>
                  <a:pt x="233" y="248"/>
                </a:cubicBezTo>
                <a:close/>
                <a:moveTo>
                  <a:pt x="263" y="278"/>
                </a:moveTo>
                <a:cubicBezTo>
                  <a:pt x="259" y="274"/>
                  <a:pt x="252" y="274"/>
                  <a:pt x="248" y="278"/>
                </a:cubicBezTo>
                <a:cubicBezTo>
                  <a:pt x="244" y="282"/>
                  <a:pt x="244" y="289"/>
                  <a:pt x="248" y="293"/>
                </a:cubicBezTo>
                <a:cubicBezTo>
                  <a:pt x="252" y="298"/>
                  <a:pt x="259" y="298"/>
                  <a:pt x="263" y="293"/>
                </a:cubicBezTo>
                <a:cubicBezTo>
                  <a:pt x="267" y="289"/>
                  <a:pt x="267" y="282"/>
                  <a:pt x="263" y="278"/>
                </a:cubicBezTo>
                <a:close/>
                <a:moveTo>
                  <a:pt x="263" y="218"/>
                </a:moveTo>
                <a:cubicBezTo>
                  <a:pt x="259" y="214"/>
                  <a:pt x="252" y="214"/>
                  <a:pt x="248" y="218"/>
                </a:cubicBezTo>
                <a:cubicBezTo>
                  <a:pt x="244" y="222"/>
                  <a:pt x="244" y="229"/>
                  <a:pt x="248" y="233"/>
                </a:cubicBezTo>
                <a:cubicBezTo>
                  <a:pt x="252" y="237"/>
                  <a:pt x="259" y="237"/>
                  <a:pt x="263" y="233"/>
                </a:cubicBezTo>
                <a:cubicBezTo>
                  <a:pt x="267" y="229"/>
                  <a:pt x="267" y="222"/>
                  <a:pt x="263" y="218"/>
                </a:cubicBezTo>
                <a:close/>
                <a:moveTo>
                  <a:pt x="293" y="263"/>
                </a:moveTo>
                <a:cubicBezTo>
                  <a:pt x="298" y="259"/>
                  <a:pt x="298" y="252"/>
                  <a:pt x="293" y="248"/>
                </a:cubicBezTo>
                <a:cubicBezTo>
                  <a:pt x="289" y="244"/>
                  <a:pt x="282" y="244"/>
                  <a:pt x="278" y="248"/>
                </a:cubicBezTo>
                <a:cubicBezTo>
                  <a:pt x="274" y="252"/>
                  <a:pt x="274" y="259"/>
                  <a:pt x="278" y="263"/>
                </a:cubicBezTo>
                <a:cubicBezTo>
                  <a:pt x="282" y="267"/>
                  <a:pt x="289" y="267"/>
                  <a:pt x="293" y="26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00"/>
                </a:moveTo>
                <a:cubicBezTo>
                  <a:pt x="212" y="106"/>
                  <a:pt x="212" y="106"/>
                  <a:pt x="212" y="106"/>
                </a:cubicBezTo>
                <a:cubicBezTo>
                  <a:pt x="199" y="94"/>
                  <a:pt x="178" y="94"/>
                  <a:pt x="166" y="106"/>
                </a:cubicBezTo>
                <a:cubicBezTo>
                  <a:pt x="106" y="166"/>
                  <a:pt x="106" y="166"/>
                  <a:pt x="106" y="166"/>
                </a:cubicBezTo>
                <a:cubicBezTo>
                  <a:pt x="93" y="179"/>
                  <a:pt x="93" y="199"/>
                  <a:pt x="106" y="212"/>
                </a:cubicBezTo>
                <a:cubicBezTo>
                  <a:pt x="300" y="405"/>
                  <a:pt x="300" y="405"/>
                  <a:pt x="300" y="405"/>
                </a:cubicBezTo>
                <a:cubicBezTo>
                  <a:pt x="306" y="411"/>
                  <a:pt x="314" y="415"/>
                  <a:pt x="322" y="415"/>
                </a:cubicBezTo>
                <a:cubicBezTo>
                  <a:pt x="331" y="415"/>
                  <a:pt x="339" y="411"/>
                  <a:pt x="345" y="405"/>
                </a:cubicBezTo>
                <a:cubicBezTo>
                  <a:pt x="405" y="345"/>
                  <a:pt x="405" y="345"/>
                  <a:pt x="405" y="345"/>
                </a:cubicBezTo>
                <a:cubicBezTo>
                  <a:pt x="405" y="345"/>
                  <a:pt x="405" y="345"/>
                  <a:pt x="405" y="345"/>
                </a:cubicBezTo>
                <a:cubicBezTo>
                  <a:pt x="418" y="333"/>
                  <a:pt x="418" y="312"/>
                  <a:pt x="405" y="300"/>
                </a:cubicBezTo>
                <a:close/>
                <a:moveTo>
                  <a:pt x="196" y="121"/>
                </a:moveTo>
                <a:cubicBezTo>
                  <a:pt x="194" y="119"/>
                  <a:pt x="192" y="118"/>
                  <a:pt x="189" y="118"/>
                </a:cubicBezTo>
                <a:cubicBezTo>
                  <a:pt x="186" y="118"/>
                  <a:pt x="183" y="119"/>
                  <a:pt x="181" y="121"/>
                </a:cubicBezTo>
                <a:cubicBezTo>
                  <a:pt x="121" y="181"/>
                  <a:pt x="121" y="181"/>
                  <a:pt x="121" y="181"/>
                </a:cubicBezTo>
                <a:cubicBezTo>
                  <a:pt x="117" y="186"/>
                  <a:pt x="117" y="192"/>
                  <a:pt x="121" y="196"/>
                </a:cubicBezTo>
                <a:cubicBezTo>
                  <a:pt x="165" y="241"/>
                  <a:pt x="165" y="241"/>
                  <a:pt x="165" y="241"/>
                </a:cubicBezTo>
                <a:cubicBezTo>
                  <a:pt x="241" y="165"/>
                  <a:pt x="241" y="165"/>
                  <a:pt x="241" y="165"/>
                </a:cubicBezTo>
                <a:lnTo>
                  <a:pt x="196" y="12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3" name="Group 358">
            <a:extLst>
              <a:ext uri="{FF2B5EF4-FFF2-40B4-BE49-F238E27FC236}">
                <a16:creationId xmlns:a16="http://schemas.microsoft.com/office/drawing/2014/main" id="{ECF48839-78C6-4DC8-8F20-04A56E7C7072}"/>
              </a:ext>
            </a:extLst>
          </p:cNvPr>
          <p:cNvGrpSpPr>
            <a:grpSpLocks noChangeAspect="1"/>
          </p:cNvGrpSpPr>
          <p:nvPr/>
        </p:nvGrpSpPr>
        <p:grpSpPr bwMode="auto">
          <a:xfrm>
            <a:off x="3520763" y="1715126"/>
            <a:ext cx="369064" cy="367982"/>
            <a:chOff x="3312" y="2186"/>
            <a:chExt cx="341" cy="340"/>
          </a:xfrm>
          <a:solidFill>
            <a:schemeClr val="accent4"/>
          </a:solidFill>
        </p:grpSpPr>
        <p:sp>
          <p:nvSpPr>
            <p:cNvPr id="184" name="Freeform 359">
              <a:extLst>
                <a:ext uri="{FF2B5EF4-FFF2-40B4-BE49-F238E27FC236}">
                  <a16:creationId xmlns:a16="http://schemas.microsoft.com/office/drawing/2014/main" id="{113B947D-E02C-432A-A773-40BBBBF64F92}"/>
                </a:ext>
              </a:extLst>
            </p:cNvPr>
            <p:cNvSpPr>
              <a:spLocks noEditPoints="1"/>
            </p:cNvSpPr>
            <p:nvPr/>
          </p:nvSpPr>
          <p:spPr bwMode="auto">
            <a:xfrm>
              <a:off x="3374" y="2248"/>
              <a:ext cx="216" cy="214"/>
            </a:xfrm>
            <a:custGeom>
              <a:avLst/>
              <a:gdLst>
                <a:gd name="T0" fmla="*/ 312 w 325"/>
                <a:gd name="T1" fmla="*/ 206 h 321"/>
                <a:gd name="T2" fmla="*/ 119 w 325"/>
                <a:gd name="T3" fmla="*/ 12 h 321"/>
                <a:gd name="T4" fmla="*/ 73 w 325"/>
                <a:gd name="T5" fmla="*/ 12 h 321"/>
                <a:gd name="T6" fmla="*/ 13 w 325"/>
                <a:gd name="T7" fmla="*/ 72 h 321"/>
                <a:gd name="T8" fmla="*/ 13 w 325"/>
                <a:gd name="T9" fmla="*/ 118 h 321"/>
                <a:gd name="T10" fmla="*/ 207 w 325"/>
                <a:gd name="T11" fmla="*/ 311 h 321"/>
                <a:gd name="T12" fmla="*/ 229 w 325"/>
                <a:gd name="T13" fmla="*/ 321 h 321"/>
                <a:gd name="T14" fmla="*/ 252 w 325"/>
                <a:gd name="T15" fmla="*/ 311 h 321"/>
                <a:gd name="T16" fmla="*/ 312 w 325"/>
                <a:gd name="T17" fmla="*/ 251 h 321"/>
                <a:gd name="T18" fmla="*/ 312 w 325"/>
                <a:gd name="T19" fmla="*/ 251 h 321"/>
                <a:gd name="T20" fmla="*/ 312 w 325"/>
                <a:gd name="T21" fmla="*/ 206 h 321"/>
                <a:gd name="T22" fmla="*/ 238 w 325"/>
                <a:gd name="T23" fmla="*/ 162 h 321"/>
                <a:gd name="T24" fmla="*/ 163 w 325"/>
                <a:gd name="T25" fmla="*/ 237 h 321"/>
                <a:gd name="T26" fmla="*/ 87 w 325"/>
                <a:gd name="T27" fmla="*/ 162 h 321"/>
                <a:gd name="T28" fmla="*/ 163 w 325"/>
                <a:gd name="T29" fmla="*/ 86 h 321"/>
                <a:gd name="T30" fmla="*/ 238 w 325"/>
                <a:gd name="T31" fmla="*/ 162 h 321"/>
                <a:gd name="T32" fmla="*/ 28 w 325"/>
                <a:gd name="T33" fmla="*/ 87 h 321"/>
                <a:gd name="T34" fmla="*/ 88 w 325"/>
                <a:gd name="T35" fmla="*/ 27 h 321"/>
                <a:gd name="T36" fmla="*/ 96 w 325"/>
                <a:gd name="T37" fmla="*/ 24 h 321"/>
                <a:gd name="T38" fmla="*/ 103 w 325"/>
                <a:gd name="T39" fmla="*/ 27 h 321"/>
                <a:gd name="T40" fmla="*/ 148 w 325"/>
                <a:gd name="T41" fmla="*/ 71 h 321"/>
                <a:gd name="T42" fmla="*/ 72 w 325"/>
                <a:gd name="T43" fmla="*/ 147 h 321"/>
                <a:gd name="T44" fmla="*/ 28 w 325"/>
                <a:gd name="T45" fmla="*/ 102 h 321"/>
                <a:gd name="T46" fmla="*/ 28 w 325"/>
                <a:gd name="T47" fmla="*/ 87 h 321"/>
                <a:gd name="T48" fmla="*/ 297 w 325"/>
                <a:gd name="T49" fmla="*/ 236 h 321"/>
                <a:gd name="T50" fmla="*/ 237 w 325"/>
                <a:gd name="T51" fmla="*/ 296 h 321"/>
                <a:gd name="T52" fmla="*/ 222 w 325"/>
                <a:gd name="T53" fmla="*/ 296 h 321"/>
                <a:gd name="T54" fmla="*/ 178 w 325"/>
                <a:gd name="T55" fmla="*/ 252 h 321"/>
                <a:gd name="T56" fmla="*/ 253 w 325"/>
                <a:gd name="T57" fmla="*/ 177 h 321"/>
                <a:gd name="T58" fmla="*/ 297 w 325"/>
                <a:gd name="T59" fmla="*/ 221 h 321"/>
                <a:gd name="T60" fmla="*/ 297 w 325"/>
                <a:gd name="T61" fmla="*/ 236 h 321"/>
                <a:gd name="T62" fmla="*/ 140 w 325"/>
                <a:gd name="T63" fmla="*/ 154 h 321"/>
                <a:gd name="T64" fmla="*/ 140 w 325"/>
                <a:gd name="T65" fmla="*/ 169 h 321"/>
                <a:gd name="T66" fmla="*/ 125 w 325"/>
                <a:gd name="T67" fmla="*/ 169 h 321"/>
                <a:gd name="T68" fmla="*/ 125 w 325"/>
                <a:gd name="T69" fmla="*/ 154 h 321"/>
                <a:gd name="T70" fmla="*/ 140 w 325"/>
                <a:gd name="T71" fmla="*/ 154 h 321"/>
                <a:gd name="T72" fmla="*/ 170 w 325"/>
                <a:gd name="T73" fmla="*/ 124 h 321"/>
                <a:gd name="T74" fmla="*/ 170 w 325"/>
                <a:gd name="T75" fmla="*/ 139 h 321"/>
                <a:gd name="T76" fmla="*/ 155 w 325"/>
                <a:gd name="T77" fmla="*/ 139 h 321"/>
                <a:gd name="T78" fmla="*/ 155 w 325"/>
                <a:gd name="T79" fmla="*/ 124 h 321"/>
                <a:gd name="T80" fmla="*/ 170 w 325"/>
                <a:gd name="T81" fmla="*/ 124 h 321"/>
                <a:gd name="T82" fmla="*/ 170 w 325"/>
                <a:gd name="T83" fmla="*/ 184 h 321"/>
                <a:gd name="T84" fmla="*/ 170 w 325"/>
                <a:gd name="T85" fmla="*/ 199 h 321"/>
                <a:gd name="T86" fmla="*/ 155 w 325"/>
                <a:gd name="T87" fmla="*/ 199 h 321"/>
                <a:gd name="T88" fmla="*/ 155 w 325"/>
                <a:gd name="T89" fmla="*/ 184 h 321"/>
                <a:gd name="T90" fmla="*/ 170 w 325"/>
                <a:gd name="T91" fmla="*/ 184 h 321"/>
                <a:gd name="T92" fmla="*/ 185 w 325"/>
                <a:gd name="T93" fmla="*/ 169 h 321"/>
                <a:gd name="T94" fmla="*/ 185 w 325"/>
                <a:gd name="T95" fmla="*/ 154 h 321"/>
                <a:gd name="T96" fmla="*/ 200 w 325"/>
                <a:gd name="T97" fmla="*/ 154 h 321"/>
                <a:gd name="T98" fmla="*/ 200 w 325"/>
                <a:gd name="T99" fmla="*/ 169 h 321"/>
                <a:gd name="T100" fmla="*/ 185 w 325"/>
                <a:gd name="T101" fmla="*/ 16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5" h="321">
                  <a:moveTo>
                    <a:pt x="312" y="206"/>
                  </a:moveTo>
                  <a:cubicBezTo>
                    <a:pt x="119" y="12"/>
                    <a:pt x="119" y="12"/>
                    <a:pt x="119" y="12"/>
                  </a:cubicBezTo>
                  <a:cubicBezTo>
                    <a:pt x="106" y="0"/>
                    <a:pt x="85" y="0"/>
                    <a:pt x="73" y="12"/>
                  </a:cubicBezTo>
                  <a:cubicBezTo>
                    <a:pt x="13" y="72"/>
                    <a:pt x="13" y="72"/>
                    <a:pt x="13" y="72"/>
                  </a:cubicBezTo>
                  <a:cubicBezTo>
                    <a:pt x="0" y="85"/>
                    <a:pt x="0" y="105"/>
                    <a:pt x="13" y="118"/>
                  </a:cubicBezTo>
                  <a:cubicBezTo>
                    <a:pt x="207" y="311"/>
                    <a:pt x="207" y="311"/>
                    <a:pt x="207" y="311"/>
                  </a:cubicBezTo>
                  <a:cubicBezTo>
                    <a:pt x="213" y="317"/>
                    <a:pt x="221" y="321"/>
                    <a:pt x="229" y="321"/>
                  </a:cubicBezTo>
                  <a:cubicBezTo>
                    <a:pt x="238" y="321"/>
                    <a:pt x="246" y="317"/>
                    <a:pt x="252" y="311"/>
                  </a:cubicBezTo>
                  <a:cubicBezTo>
                    <a:pt x="312" y="251"/>
                    <a:pt x="312" y="251"/>
                    <a:pt x="312" y="251"/>
                  </a:cubicBezTo>
                  <a:cubicBezTo>
                    <a:pt x="312" y="251"/>
                    <a:pt x="312" y="251"/>
                    <a:pt x="312" y="251"/>
                  </a:cubicBezTo>
                  <a:cubicBezTo>
                    <a:pt x="325" y="239"/>
                    <a:pt x="325" y="218"/>
                    <a:pt x="312" y="206"/>
                  </a:cubicBezTo>
                  <a:close/>
                  <a:moveTo>
                    <a:pt x="238" y="162"/>
                  </a:moveTo>
                  <a:cubicBezTo>
                    <a:pt x="163" y="237"/>
                    <a:pt x="163" y="237"/>
                    <a:pt x="163" y="237"/>
                  </a:cubicBezTo>
                  <a:cubicBezTo>
                    <a:pt x="87" y="162"/>
                    <a:pt x="87" y="162"/>
                    <a:pt x="87" y="162"/>
                  </a:cubicBezTo>
                  <a:cubicBezTo>
                    <a:pt x="163" y="86"/>
                    <a:pt x="163" y="86"/>
                    <a:pt x="163" y="86"/>
                  </a:cubicBezTo>
                  <a:lnTo>
                    <a:pt x="238" y="162"/>
                  </a:lnTo>
                  <a:close/>
                  <a:moveTo>
                    <a:pt x="28" y="87"/>
                  </a:moveTo>
                  <a:cubicBezTo>
                    <a:pt x="88" y="27"/>
                    <a:pt x="88" y="27"/>
                    <a:pt x="88" y="27"/>
                  </a:cubicBezTo>
                  <a:cubicBezTo>
                    <a:pt x="90" y="25"/>
                    <a:pt x="93" y="24"/>
                    <a:pt x="96" y="24"/>
                  </a:cubicBezTo>
                  <a:cubicBezTo>
                    <a:pt x="99" y="24"/>
                    <a:pt x="101" y="25"/>
                    <a:pt x="103" y="27"/>
                  </a:cubicBezTo>
                  <a:cubicBezTo>
                    <a:pt x="148" y="71"/>
                    <a:pt x="148" y="71"/>
                    <a:pt x="148" y="71"/>
                  </a:cubicBezTo>
                  <a:cubicBezTo>
                    <a:pt x="72" y="147"/>
                    <a:pt x="72" y="147"/>
                    <a:pt x="72" y="147"/>
                  </a:cubicBezTo>
                  <a:cubicBezTo>
                    <a:pt x="28" y="102"/>
                    <a:pt x="28" y="102"/>
                    <a:pt x="28" y="102"/>
                  </a:cubicBezTo>
                  <a:cubicBezTo>
                    <a:pt x="24" y="98"/>
                    <a:pt x="24" y="92"/>
                    <a:pt x="28" y="87"/>
                  </a:cubicBezTo>
                  <a:close/>
                  <a:moveTo>
                    <a:pt x="297" y="236"/>
                  </a:moveTo>
                  <a:cubicBezTo>
                    <a:pt x="237" y="296"/>
                    <a:pt x="237" y="296"/>
                    <a:pt x="237" y="296"/>
                  </a:cubicBezTo>
                  <a:cubicBezTo>
                    <a:pt x="233" y="300"/>
                    <a:pt x="226" y="300"/>
                    <a:pt x="222" y="296"/>
                  </a:cubicBezTo>
                  <a:cubicBezTo>
                    <a:pt x="178" y="252"/>
                    <a:pt x="178" y="252"/>
                    <a:pt x="178" y="252"/>
                  </a:cubicBezTo>
                  <a:cubicBezTo>
                    <a:pt x="253" y="177"/>
                    <a:pt x="253" y="177"/>
                    <a:pt x="253" y="177"/>
                  </a:cubicBezTo>
                  <a:cubicBezTo>
                    <a:pt x="297" y="221"/>
                    <a:pt x="297" y="221"/>
                    <a:pt x="297" y="221"/>
                  </a:cubicBezTo>
                  <a:cubicBezTo>
                    <a:pt x="301" y="225"/>
                    <a:pt x="301" y="232"/>
                    <a:pt x="297" y="236"/>
                  </a:cubicBezTo>
                  <a:close/>
                  <a:moveTo>
                    <a:pt x="140" y="154"/>
                  </a:moveTo>
                  <a:cubicBezTo>
                    <a:pt x="144" y="158"/>
                    <a:pt x="144" y="165"/>
                    <a:pt x="140" y="169"/>
                  </a:cubicBezTo>
                  <a:cubicBezTo>
                    <a:pt x="136" y="173"/>
                    <a:pt x="129" y="173"/>
                    <a:pt x="125" y="169"/>
                  </a:cubicBezTo>
                  <a:cubicBezTo>
                    <a:pt x="121" y="165"/>
                    <a:pt x="121" y="158"/>
                    <a:pt x="125" y="154"/>
                  </a:cubicBezTo>
                  <a:cubicBezTo>
                    <a:pt x="129" y="150"/>
                    <a:pt x="136" y="150"/>
                    <a:pt x="140" y="154"/>
                  </a:cubicBezTo>
                  <a:close/>
                  <a:moveTo>
                    <a:pt x="170" y="124"/>
                  </a:moveTo>
                  <a:cubicBezTo>
                    <a:pt x="174" y="128"/>
                    <a:pt x="174" y="135"/>
                    <a:pt x="170" y="139"/>
                  </a:cubicBezTo>
                  <a:cubicBezTo>
                    <a:pt x="166" y="143"/>
                    <a:pt x="159" y="143"/>
                    <a:pt x="155" y="139"/>
                  </a:cubicBezTo>
                  <a:cubicBezTo>
                    <a:pt x="151" y="135"/>
                    <a:pt x="151" y="128"/>
                    <a:pt x="155" y="124"/>
                  </a:cubicBezTo>
                  <a:cubicBezTo>
                    <a:pt x="159" y="120"/>
                    <a:pt x="166" y="120"/>
                    <a:pt x="170" y="124"/>
                  </a:cubicBezTo>
                  <a:close/>
                  <a:moveTo>
                    <a:pt x="170" y="184"/>
                  </a:moveTo>
                  <a:cubicBezTo>
                    <a:pt x="174" y="188"/>
                    <a:pt x="174" y="195"/>
                    <a:pt x="170" y="199"/>
                  </a:cubicBezTo>
                  <a:cubicBezTo>
                    <a:pt x="166" y="204"/>
                    <a:pt x="159" y="204"/>
                    <a:pt x="155" y="199"/>
                  </a:cubicBezTo>
                  <a:cubicBezTo>
                    <a:pt x="151" y="195"/>
                    <a:pt x="151" y="188"/>
                    <a:pt x="155" y="184"/>
                  </a:cubicBezTo>
                  <a:cubicBezTo>
                    <a:pt x="159" y="180"/>
                    <a:pt x="166" y="180"/>
                    <a:pt x="170" y="184"/>
                  </a:cubicBezTo>
                  <a:close/>
                  <a:moveTo>
                    <a:pt x="185" y="169"/>
                  </a:moveTo>
                  <a:cubicBezTo>
                    <a:pt x="181" y="165"/>
                    <a:pt x="181" y="158"/>
                    <a:pt x="185" y="154"/>
                  </a:cubicBezTo>
                  <a:cubicBezTo>
                    <a:pt x="189" y="150"/>
                    <a:pt x="196" y="150"/>
                    <a:pt x="200" y="154"/>
                  </a:cubicBezTo>
                  <a:cubicBezTo>
                    <a:pt x="205" y="158"/>
                    <a:pt x="205" y="165"/>
                    <a:pt x="200" y="169"/>
                  </a:cubicBezTo>
                  <a:cubicBezTo>
                    <a:pt x="196" y="173"/>
                    <a:pt x="189" y="173"/>
                    <a:pt x="185" y="1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5" name="Freeform 360">
              <a:extLst>
                <a:ext uri="{FF2B5EF4-FFF2-40B4-BE49-F238E27FC236}">
                  <a16:creationId xmlns:a16="http://schemas.microsoft.com/office/drawing/2014/main" id="{398FC981-699F-46EE-9597-F58EDF46083A}"/>
                </a:ext>
              </a:extLst>
            </p:cNvPr>
            <p:cNvSpPr>
              <a:spLocks noEditPoints="1"/>
            </p:cNvSpPr>
            <p:nvPr/>
          </p:nvSpPr>
          <p:spPr bwMode="auto">
            <a:xfrm>
              <a:off x="3312" y="218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6" name="Freeform 453">
            <a:extLst>
              <a:ext uri="{FF2B5EF4-FFF2-40B4-BE49-F238E27FC236}">
                <a16:creationId xmlns:a16="http://schemas.microsoft.com/office/drawing/2014/main" id="{18461809-330E-4F23-AB1F-6570CEB31B60}"/>
              </a:ext>
            </a:extLst>
          </p:cNvPr>
          <p:cNvSpPr>
            <a:spLocks noChangeAspect="1" noEditPoints="1"/>
          </p:cNvSpPr>
          <p:nvPr/>
        </p:nvSpPr>
        <p:spPr bwMode="auto">
          <a:xfrm>
            <a:off x="3956430" y="1715126"/>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1 w 512"/>
              <a:gd name="T11" fmla="*/ 411 h 512"/>
              <a:gd name="T12" fmla="*/ 362 w 512"/>
              <a:gd name="T13" fmla="*/ 416 h 512"/>
              <a:gd name="T14" fmla="*/ 149 w 512"/>
              <a:gd name="T15" fmla="*/ 416 h 512"/>
              <a:gd name="T16" fmla="*/ 140 w 512"/>
              <a:gd name="T17" fmla="*/ 411 h 512"/>
              <a:gd name="T18" fmla="*/ 139 w 512"/>
              <a:gd name="T19" fmla="*/ 400 h 512"/>
              <a:gd name="T20" fmla="*/ 224 w 512"/>
              <a:gd name="T21" fmla="*/ 221 h 512"/>
              <a:gd name="T22" fmla="*/ 224 w 512"/>
              <a:gd name="T23" fmla="*/ 117 h 512"/>
              <a:gd name="T24" fmla="*/ 213 w 512"/>
              <a:gd name="T25" fmla="*/ 106 h 512"/>
              <a:gd name="T26" fmla="*/ 224 w 512"/>
              <a:gd name="T27" fmla="*/ 96 h 512"/>
              <a:gd name="T28" fmla="*/ 288 w 512"/>
              <a:gd name="T29" fmla="*/ 96 h 512"/>
              <a:gd name="T30" fmla="*/ 298 w 512"/>
              <a:gd name="T31" fmla="*/ 106 h 512"/>
              <a:gd name="T32" fmla="*/ 288 w 512"/>
              <a:gd name="T33" fmla="*/ 117 h 512"/>
              <a:gd name="T34" fmla="*/ 288 w 512"/>
              <a:gd name="T35" fmla="*/ 221 h 512"/>
              <a:gd name="T36" fmla="*/ 372 w 512"/>
              <a:gd name="T37" fmla="*/ 400 h 512"/>
              <a:gd name="T38" fmla="*/ 371 w 512"/>
              <a:gd name="T39" fmla="*/ 411 h 512"/>
              <a:gd name="T40" fmla="*/ 315 w 512"/>
              <a:gd name="T41" fmla="*/ 330 h 512"/>
              <a:gd name="T42" fmla="*/ 346 w 512"/>
              <a:gd name="T43" fmla="*/ 394 h 512"/>
              <a:gd name="T44" fmla="*/ 166 w 512"/>
              <a:gd name="T45" fmla="*/ 394 h 512"/>
              <a:gd name="T46" fmla="*/ 196 w 512"/>
              <a:gd name="T47" fmla="*/ 330 h 512"/>
              <a:gd name="T48" fmla="*/ 315 w 512"/>
              <a:gd name="T49" fmla="*/ 330 h 512"/>
              <a:gd name="T50" fmla="*/ 305 w 512"/>
              <a:gd name="T51" fmla="*/ 309 h 512"/>
              <a:gd name="T52" fmla="*/ 206 w 512"/>
              <a:gd name="T53" fmla="*/ 309 h 512"/>
              <a:gd name="T54" fmla="*/ 244 w 512"/>
              <a:gd name="T55" fmla="*/ 228 h 512"/>
              <a:gd name="T56" fmla="*/ 245 w 512"/>
              <a:gd name="T57" fmla="*/ 224 h 512"/>
              <a:gd name="T58" fmla="*/ 245 w 512"/>
              <a:gd name="T59" fmla="*/ 117 h 512"/>
              <a:gd name="T60" fmla="*/ 266 w 512"/>
              <a:gd name="T61" fmla="*/ 117 h 512"/>
              <a:gd name="T62" fmla="*/ 266 w 512"/>
              <a:gd name="T63" fmla="*/ 224 h 512"/>
              <a:gd name="T64" fmla="*/ 267 w 512"/>
              <a:gd name="T65" fmla="*/ 228 h 512"/>
              <a:gd name="T66" fmla="*/ 305 w 512"/>
              <a:gd name="T6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1" y="411"/>
                </a:moveTo>
                <a:cubicBezTo>
                  <a:pt x="369" y="414"/>
                  <a:pt x="366" y="416"/>
                  <a:pt x="362" y="416"/>
                </a:cubicBezTo>
                <a:cubicBezTo>
                  <a:pt x="149" y="416"/>
                  <a:pt x="149" y="416"/>
                  <a:pt x="149" y="416"/>
                </a:cubicBezTo>
                <a:cubicBezTo>
                  <a:pt x="145" y="416"/>
                  <a:pt x="142" y="414"/>
                  <a:pt x="140" y="411"/>
                </a:cubicBezTo>
                <a:cubicBezTo>
                  <a:pt x="138" y="408"/>
                  <a:pt x="138" y="404"/>
                  <a:pt x="139" y="400"/>
                </a:cubicBezTo>
                <a:cubicBezTo>
                  <a:pt x="224" y="221"/>
                  <a:pt x="224" y="221"/>
                  <a:pt x="224" y="221"/>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88" y="221"/>
                  <a:pt x="288" y="221"/>
                  <a:pt x="288" y="221"/>
                </a:cubicBezTo>
                <a:cubicBezTo>
                  <a:pt x="372" y="400"/>
                  <a:pt x="372" y="400"/>
                  <a:pt x="372" y="400"/>
                </a:cubicBezTo>
                <a:cubicBezTo>
                  <a:pt x="374" y="404"/>
                  <a:pt x="373" y="408"/>
                  <a:pt x="371" y="411"/>
                </a:cubicBezTo>
                <a:close/>
                <a:moveTo>
                  <a:pt x="315" y="330"/>
                </a:moveTo>
                <a:cubicBezTo>
                  <a:pt x="346" y="394"/>
                  <a:pt x="346" y="394"/>
                  <a:pt x="346" y="394"/>
                </a:cubicBezTo>
                <a:cubicBezTo>
                  <a:pt x="166" y="394"/>
                  <a:pt x="166" y="394"/>
                  <a:pt x="166" y="394"/>
                </a:cubicBezTo>
                <a:cubicBezTo>
                  <a:pt x="196" y="330"/>
                  <a:pt x="196" y="330"/>
                  <a:pt x="196" y="330"/>
                </a:cubicBezTo>
                <a:lnTo>
                  <a:pt x="315" y="330"/>
                </a:lnTo>
                <a:close/>
                <a:moveTo>
                  <a:pt x="305" y="309"/>
                </a:moveTo>
                <a:cubicBezTo>
                  <a:pt x="206" y="309"/>
                  <a:pt x="206" y="309"/>
                  <a:pt x="206" y="309"/>
                </a:cubicBezTo>
                <a:cubicBezTo>
                  <a:pt x="244" y="228"/>
                  <a:pt x="244" y="228"/>
                  <a:pt x="244" y="228"/>
                </a:cubicBezTo>
                <a:cubicBezTo>
                  <a:pt x="245" y="227"/>
                  <a:pt x="245" y="225"/>
                  <a:pt x="245" y="224"/>
                </a:cubicBezTo>
                <a:cubicBezTo>
                  <a:pt x="245" y="117"/>
                  <a:pt x="245" y="117"/>
                  <a:pt x="245" y="117"/>
                </a:cubicBezTo>
                <a:cubicBezTo>
                  <a:pt x="266" y="117"/>
                  <a:pt x="266" y="117"/>
                  <a:pt x="266" y="117"/>
                </a:cubicBezTo>
                <a:cubicBezTo>
                  <a:pt x="266" y="224"/>
                  <a:pt x="266" y="224"/>
                  <a:pt x="266" y="224"/>
                </a:cubicBezTo>
                <a:cubicBezTo>
                  <a:pt x="266" y="225"/>
                  <a:pt x="267" y="227"/>
                  <a:pt x="267" y="228"/>
                </a:cubicBezTo>
                <a:lnTo>
                  <a:pt x="305" y="30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7" name="Group 456">
            <a:extLst>
              <a:ext uri="{FF2B5EF4-FFF2-40B4-BE49-F238E27FC236}">
                <a16:creationId xmlns:a16="http://schemas.microsoft.com/office/drawing/2014/main" id="{EE9F9580-3271-4562-95D4-D4C6DC0106BB}"/>
              </a:ext>
            </a:extLst>
          </p:cNvPr>
          <p:cNvGrpSpPr>
            <a:grpSpLocks noChangeAspect="1"/>
          </p:cNvGrpSpPr>
          <p:nvPr/>
        </p:nvGrpSpPr>
        <p:grpSpPr bwMode="auto">
          <a:xfrm>
            <a:off x="4391015" y="1715126"/>
            <a:ext cx="367982" cy="367982"/>
            <a:chOff x="3735" y="2737"/>
            <a:chExt cx="340" cy="340"/>
          </a:xfrm>
          <a:solidFill>
            <a:schemeClr val="accent5"/>
          </a:solidFill>
        </p:grpSpPr>
        <p:sp>
          <p:nvSpPr>
            <p:cNvPr id="188" name="Freeform 457">
              <a:extLst>
                <a:ext uri="{FF2B5EF4-FFF2-40B4-BE49-F238E27FC236}">
                  <a16:creationId xmlns:a16="http://schemas.microsoft.com/office/drawing/2014/main" id="{CDDEA380-F0AD-4EA3-84D5-8BD75845D7C7}"/>
                </a:ext>
              </a:extLst>
            </p:cNvPr>
            <p:cNvSpPr>
              <a:spLocks noEditPoints="1"/>
            </p:cNvSpPr>
            <p:nvPr/>
          </p:nvSpPr>
          <p:spPr bwMode="auto">
            <a:xfrm>
              <a:off x="3827" y="2801"/>
              <a:ext cx="156" cy="212"/>
            </a:xfrm>
            <a:custGeom>
              <a:avLst/>
              <a:gdLst>
                <a:gd name="T0" fmla="*/ 234 w 236"/>
                <a:gd name="T1" fmla="*/ 304 h 320"/>
                <a:gd name="T2" fmla="*/ 150 w 236"/>
                <a:gd name="T3" fmla="*/ 125 h 320"/>
                <a:gd name="T4" fmla="*/ 150 w 236"/>
                <a:gd name="T5" fmla="*/ 21 h 320"/>
                <a:gd name="T6" fmla="*/ 160 w 236"/>
                <a:gd name="T7" fmla="*/ 10 h 320"/>
                <a:gd name="T8" fmla="*/ 150 w 236"/>
                <a:gd name="T9" fmla="*/ 0 h 320"/>
                <a:gd name="T10" fmla="*/ 86 w 236"/>
                <a:gd name="T11" fmla="*/ 0 h 320"/>
                <a:gd name="T12" fmla="*/ 75 w 236"/>
                <a:gd name="T13" fmla="*/ 10 h 320"/>
                <a:gd name="T14" fmla="*/ 86 w 236"/>
                <a:gd name="T15" fmla="*/ 21 h 320"/>
                <a:gd name="T16" fmla="*/ 86 w 236"/>
                <a:gd name="T17" fmla="*/ 125 h 320"/>
                <a:gd name="T18" fmla="*/ 1 w 236"/>
                <a:gd name="T19" fmla="*/ 304 h 320"/>
                <a:gd name="T20" fmla="*/ 2 w 236"/>
                <a:gd name="T21" fmla="*/ 315 h 320"/>
                <a:gd name="T22" fmla="*/ 11 w 236"/>
                <a:gd name="T23" fmla="*/ 320 h 320"/>
                <a:gd name="T24" fmla="*/ 224 w 236"/>
                <a:gd name="T25" fmla="*/ 320 h 320"/>
                <a:gd name="T26" fmla="*/ 233 w 236"/>
                <a:gd name="T27" fmla="*/ 315 h 320"/>
                <a:gd name="T28" fmla="*/ 234 w 236"/>
                <a:gd name="T29" fmla="*/ 304 h 320"/>
                <a:gd name="T30" fmla="*/ 106 w 236"/>
                <a:gd name="T31" fmla="*/ 132 h 320"/>
                <a:gd name="T32" fmla="*/ 107 w 236"/>
                <a:gd name="T33" fmla="*/ 128 h 320"/>
                <a:gd name="T34" fmla="*/ 107 w 236"/>
                <a:gd name="T35" fmla="*/ 21 h 320"/>
                <a:gd name="T36" fmla="*/ 128 w 236"/>
                <a:gd name="T37" fmla="*/ 21 h 320"/>
                <a:gd name="T38" fmla="*/ 128 w 236"/>
                <a:gd name="T39" fmla="*/ 128 h 320"/>
                <a:gd name="T40" fmla="*/ 129 w 236"/>
                <a:gd name="T41" fmla="*/ 132 h 320"/>
                <a:gd name="T42" fmla="*/ 167 w 236"/>
                <a:gd name="T43" fmla="*/ 213 h 320"/>
                <a:gd name="T44" fmla="*/ 68 w 236"/>
                <a:gd name="T45" fmla="*/ 213 h 320"/>
                <a:gd name="T46" fmla="*/ 106 w 236"/>
                <a:gd name="T47" fmla="*/ 132 h 320"/>
                <a:gd name="T48" fmla="*/ 28 w 236"/>
                <a:gd name="T49" fmla="*/ 298 h 320"/>
                <a:gd name="T50" fmla="*/ 58 w 236"/>
                <a:gd name="T51" fmla="*/ 234 h 320"/>
                <a:gd name="T52" fmla="*/ 177 w 236"/>
                <a:gd name="T53" fmla="*/ 234 h 320"/>
                <a:gd name="T54" fmla="*/ 208 w 236"/>
                <a:gd name="T55" fmla="*/ 298 h 320"/>
                <a:gd name="T56" fmla="*/ 28 w 236"/>
                <a:gd name="T5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6" h="320">
                  <a:moveTo>
                    <a:pt x="234" y="304"/>
                  </a:moveTo>
                  <a:cubicBezTo>
                    <a:pt x="150" y="125"/>
                    <a:pt x="150" y="125"/>
                    <a:pt x="150" y="125"/>
                  </a:cubicBezTo>
                  <a:cubicBezTo>
                    <a:pt x="150" y="21"/>
                    <a:pt x="150" y="21"/>
                    <a:pt x="150" y="21"/>
                  </a:cubicBezTo>
                  <a:cubicBezTo>
                    <a:pt x="156" y="21"/>
                    <a:pt x="160" y="16"/>
                    <a:pt x="160" y="10"/>
                  </a:cubicBezTo>
                  <a:cubicBezTo>
                    <a:pt x="160" y="4"/>
                    <a:pt x="156" y="0"/>
                    <a:pt x="150" y="0"/>
                  </a:cubicBezTo>
                  <a:cubicBezTo>
                    <a:pt x="86" y="0"/>
                    <a:pt x="86" y="0"/>
                    <a:pt x="86" y="0"/>
                  </a:cubicBezTo>
                  <a:cubicBezTo>
                    <a:pt x="80" y="0"/>
                    <a:pt x="75" y="4"/>
                    <a:pt x="75" y="10"/>
                  </a:cubicBezTo>
                  <a:cubicBezTo>
                    <a:pt x="75" y="16"/>
                    <a:pt x="80" y="21"/>
                    <a:pt x="86" y="21"/>
                  </a:cubicBezTo>
                  <a:cubicBezTo>
                    <a:pt x="86" y="125"/>
                    <a:pt x="86" y="125"/>
                    <a:pt x="86" y="125"/>
                  </a:cubicBezTo>
                  <a:cubicBezTo>
                    <a:pt x="1" y="304"/>
                    <a:pt x="1" y="304"/>
                    <a:pt x="1" y="304"/>
                  </a:cubicBezTo>
                  <a:cubicBezTo>
                    <a:pt x="0" y="308"/>
                    <a:pt x="0" y="312"/>
                    <a:pt x="2" y="315"/>
                  </a:cubicBezTo>
                  <a:cubicBezTo>
                    <a:pt x="4" y="318"/>
                    <a:pt x="7" y="320"/>
                    <a:pt x="11" y="320"/>
                  </a:cubicBezTo>
                  <a:cubicBezTo>
                    <a:pt x="224" y="320"/>
                    <a:pt x="224" y="320"/>
                    <a:pt x="224" y="320"/>
                  </a:cubicBezTo>
                  <a:cubicBezTo>
                    <a:pt x="228" y="320"/>
                    <a:pt x="231" y="318"/>
                    <a:pt x="233" y="315"/>
                  </a:cubicBezTo>
                  <a:cubicBezTo>
                    <a:pt x="235" y="312"/>
                    <a:pt x="236" y="308"/>
                    <a:pt x="234" y="304"/>
                  </a:cubicBezTo>
                  <a:close/>
                  <a:moveTo>
                    <a:pt x="106" y="132"/>
                  </a:moveTo>
                  <a:cubicBezTo>
                    <a:pt x="107" y="131"/>
                    <a:pt x="107" y="129"/>
                    <a:pt x="107" y="128"/>
                  </a:cubicBezTo>
                  <a:cubicBezTo>
                    <a:pt x="107" y="21"/>
                    <a:pt x="107" y="21"/>
                    <a:pt x="107" y="21"/>
                  </a:cubicBezTo>
                  <a:cubicBezTo>
                    <a:pt x="128" y="21"/>
                    <a:pt x="128" y="21"/>
                    <a:pt x="128" y="21"/>
                  </a:cubicBezTo>
                  <a:cubicBezTo>
                    <a:pt x="128" y="128"/>
                    <a:pt x="128" y="128"/>
                    <a:pt x="128" y="128"/>
                  </a:cubicBezTo>
                  <a:cubicBezTo>
                    <a:pt x="128" y="129"/>
                    <a:pt x="129" y="131"/>
                    <a:pt x="129" y="132"/>
                  </a:cubicBezTo>
                  <a:cubicBezTo>
                    <a:pt x="167" y="213"/>
                    <a:pt x="167" y="213"/>
                    <a:pt x="167" y="213"/>
                  </a:cubicBezTo>
                  <a:cubicBezTo>
                    <a:pt x="68" y="213"/>
                    <a:pt x="68" y="213"/>
                    <a:pt x="68" y="213"/>
                  </a:cubicBezTo>
                  <a:lnTo>
                    <a:pt x="106" y="132"/>
                  </a:lnTo>
                  <a:close/>
                  <a:moveTo>
                    <a:pt x="28" y="298"/>
                  </a:moveTo>
                  <a:cubicBezTo>
                    <a:pt x="58" y="234"/>
                    <a:pt x="58" y="234"/>
                    <a:pt x="58" y="234"/>
                  </a:cubicBezTo>
                  <a:cubicBezTo>
                    <a:pt x="177" y="234"/>
                    <a:pt x="177" y="234"/>
                    <a:pt x="177" y="234"/>
                  </a:cubicBezTo>
                  <a:cubicBezTo>
                    <a:pt x="208" y="298"/>
                    <a:pt x="208" y="298"/>
                    <a:pt x="208" y="298"/>
                  </a:cubicBezTo>
                  <a:lnTo>
                    <a:pt x="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5" name="Freeform 458">
              <a:extLst>
                <a:ext uri="{FF2B5EF4-FFF2-40B4-BE49-F238E27FC236}">
                  <a16:creationId xmlns:a16="http://schemas.microsoft.com/office/drawing/2014/main" id="{A43C55F6-C86D-4571-BA17-94F73CE53324}"/>
                </a:ext>
              </a:extLst>
            </p:cNvPr>
            <p:cNvSpPr>
              <a:spLocks noEditPoints="1"/>
            </p:cNvSpPr>
            <p:nvPr/>
          </p:nvSpPr>
          <p:spPr bwMode="auto">
            <a:xfrm>
              <a:off x="3735" y="27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7" name="Freeform 828">
            <a:extLst>
              <a:ext uri="{FF2B5EF4-FFF2-40B4-BE49-F238E27FC236}">
                <a16:creationId xmlns:a16="http://schemas.microsoft.com/office/drawing/2014/main" id="{FC6836C5-DF48-4321-8082-CBBA06C6D482}"/>
              </a:ext>
            </a:extLst>
          </p:cNvPr>
          <p:cNvSpPr>
            <a:spLocks noChangeAspect="1" noEditPoints="1"/>
          </p:cNvSpPr>
          <p:nvPr/>
        </p:nvSpPr>
        <p:spPr bwMode="auto">
          <a:xfrm>
            <a:off x="4825600" y="1715477"/>
            <a:ext cx="367631" cy="367631"/>
          </a:xfrm>
          <a:custGeom>
            <a:avLst/>
            <a:gdLst>
              <a:gd name="T0" fmla="*/ 394 w 512"/>
              <a:gd name="T1" fmla="*/ 352 h 512"/>
              <a:gd name="T2" fmla="*/ 117 w 512"/>
              <a:gd name="T3" fmla="*/ 160 h 512"/>
              <a:gd name="T4" fmla="*/ 181 w 512"/>
              <a:gd name="T5" fmla="*/ 234 h 512"/>
              <a:gd name="T6" fmla="*/ 224 w 512"/>
              <a:gd name="T7" fmla="*/ 224 h 512"/>
              <a:gd name="T8" fmla="*/ 234 w 512"/>
              <a:gd name="T9" fmla="*/ 181 h 512"/>
              <a:gd name="T10" fmla="*/ 288 w 512"/>
              <a:gd name="T11" fmla="*/ 192 h 512"/>
              <a:gd name="T12" fmla="*/ 320 w 512"/>
              <a:gd name="T13" fmla="*/ 224 h 512"/>
              <a:gd name="T14" fmla="*/ 330 w 512"/>
              <a:gd name="T15" fmla="*/ 277 h 512"/>
              <a:gd name="T16" fmla="*/ 288 w 512"/>
              <a:gd name="T17" fmla="*/ 288 h 512"/>
              <a:gd name="T18" fmla="*/ 277 w 512"/>
              <a:gd name="T19" fmla="*/ 330 h 512"/>
              <a:gd name="T20" fmla="*/ 224 w 512"/>
              <a:gd name="T21" fmla="*/ 320 h 512"/>
              <a:gd name="T22" fmla="*/ 192 w 512"/>
              <a:gd name="T23" fmla="*/ 288 h 512"/>
              <a:gd name="T24" fmla="*/ 181 w 512"/>
              <a:gd name="T25" fmla="*/ 234 h 512"/>
              <a:gd name="T26" fmla="*/ 224 w 512"/>
              <a:gd name="T27" fmla="*/ 138 h 512"/>
              <a:gd name="T28" fmla="*/ 288 w 512"/>
              <a:gd name="T29" fmla="*/ 117 h 512"/>
              <a:gd name="T30" fmla="*/ 256 w 512"/>
              <a:gd name="T31" fmla="*/ 0 h 512"/>
              <a:gd name="T32" fmla="*/ 256 w 512"/>
              <a:gd name="T33" fmla="*/ 512 h 512"/>
              <a:gd name="T34" fmla="*/ 256 w 512"/>
              <a:gd name="T35" fmla="*/ 0 h 512"/>
              <a:gd name="T36" fmla="*/ 405 w 512"/>
              <a:gd name="T37" fmla="*/ 373 h 512"/>
              <a:gd name="T38" fmla="*/ 96 w 512"/>
              <a:gd name="T39" fmla="*/ 362 h 512"/>
              <a:gd name="T40" fmla="*/ 106 w 512"/>
              <a:gd name="T41" fmla="*/ 138 h 512"/>
              <a:gd name="T42" fmla="*/ 202 w 512"/>
              <a:gd name="T43" fmla="*/ 106 h 512"/>
              <a:gd name="T44" fmla="*/ 298 w 512"/>
              <a:gd name="T45" fmla="*/ 96 h 512"/>
              <a:gd name="T46" fmla="*/ 309 w 512"/>
              <a:gd name="T47" fmla="*/ 138 h 512"/>
              <a:gd name="T48" fmla="*/ 416 w 512"/>
              <a:gd name="T49" fmla="*/ 149 h 512"/>
              <a:gd name="T50" fmla="*/ 234 w 512"/>
              <a:gd name="T51" fmla="*/ 266 h 512"/>
              <a:gd name="T52" fmla="*/ 202 w 512"/>
              <a:gd name="T53" fmla="*/ 245 h 512"/>
              <a:gd name="T54" fmla="*/ 245 w 512"/>
              <a:gd name="T55" fmla="*/ 234 h 512"/>
              <a:gd name="T56" fmla="*/ 266 w 512"/>
              <a:gd name="T57" fmla="*/ 202 h 512"/>
              <a:gd name="T58" fmla="*/ 277 w 512"/>
              <a:gd name="T59" fmla="*/ 245 h 512"/>
              <a:gd name="T60" fmla="*/ 309 w 512"/>
              <a:gd name="T61" fmla="*/ 266 h 512"/>
              <a:gd name="T62" fmla="*/ 266 w 512"/>
              <a:gd name="T63" fmla="*/ 277 h 512"/>
              <a:gd name="T64" fmla="*/ 245 w 512"/>
              <a:gd name="T65" fmla="*/ 309 h 512"/>
              <a:gd name="T66" fmla="*/ 234 w 512"/>
              <a:gd name="T67"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17" y="352"/>
                </a:moveTo>
                <a:cubicBezTo>
                  <a:pt x="394" y="352"/>
                  <a:pt x="394" y="352"/>
                  <a:pt x="394" y="352"/>
                </a:cubicBezTo>
                <a:cubicBezTo>
                  <a:pt x="394" y="160"/>
                  <a:pt x="394" y="160"/>
                  <a:pt x="394" y="160"/>
                </a:cubicBezTo>
                <a:cubicBezTo>
                  <a:pt x="117" y="160"/>
                  <a:pt x="117" y="160"/>
                  <a:pt x="117" y="160"/>
                </a:cubicBezTo>
                <a:lnTo>
                  <a:pt x="117" y="352"/>
                </a:lnTo>
                <a:close/>
                <a:moveTo>
                  <a:pt x="181" y="234"/>
                </a:moveTo>
                <a:cubicBezTo>
                  <a:pt x="181" y="228"/>
                  <a:pt x="186" y="224"/>
                  <a:pt x="192" y="224"/>
                </a:cubicBezTo>
                <a:cubicBezTo>
                  <a:pt x="224" y="224"/>
                  <a:pt x="224" y="224"/>
                  <a:pt x="224" y="224"/>
                </a:cubicBezTo>
                <a:cubicBezTo>
                  <a:pt x="224" y="192"/>
                  <a:pt x="224" y="192"/>
                  <a:pt x="224" y="192"/>
                </a:cubicBezTo>
                <a:cubicBezTo>
                  <a:pt x="224" y="186"/>
                  <a:pt x="228" y="181"/>
                  <a:pt x="234" y="181"/>
                </a:cubicBezTo>
                <a:cubicBezTo>
                  <a:pt x="277" y="181"/>
                  <a:pt x="277" y="181"/>
                  <a:pt x="277" y="181"/>
                </a:cubicBezTo>
                <a:cubicBezTo>
                  <a:pt x="283" y="181"/>
                  <a:pt x="288" y="186"/>
                  <a:pt x="288" y="192"/>
                </a:cubicBezTo>
                <a:cubicBezTo>
                  <a:pt x="288" y="224"/>
                  <a:pt x="288" y="224"/>
                  <a:pt x="288" y="224"/>
                </a:cubicBezTo>
                <a:cubicBezTo>
                  <a:pt x="320" y="224"/>
                  <a:pt x="320" y="224"/>
                  <a:pt x="320" y="224"/>
                </a:cubicBezTo>
                <a:cubicBezTo>
                  <a:pt x="326" y="224"/>
                  <a:pt x="330" y="228"/>
                  <a:pt x="330" y="234"/>
                </a:cubicBezTo>
                <a:cubicBezTo>
                  <a:pt x="330" y="277"/>
                  <a:pt x="330" y="277"/>
                  <a:pt x="330" y="277"/>
                </a:cubicBezTo>
                <a:cubicBezTo>
                  <a:pt x="330" y="283"/>
                  <a:pt x="326" y="288"/>
                  <a:pt x="320" y="288"/>
                </a:cubicBezTo>
                <a:cubicBezTo>
                  <a:pt x="288" y="288"/>
                  <a:pt x="288" y="288"/>
                  <a:pt x="288" y="288"/>
                </a:cubicBez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88"/>
                  <a:pt x="224" y="288"/>
                  <a:pt x="224" y="288"/>
                </a:cubicBezTo>
                <a:cubicBezTo>
                  <a:pt x="192" y="288"/>
                  <a:pt x="192" y="288"/>
                  <a:pt x="192" y="288"/>
                </a:cubicBezTo>
                <a:cubicBezTo>
                  <a:pt x="186" y="288"/>
                  <a:pt x="181" y="283"/>
                  <a:pt x="181" y="277"/>
                </a:cubicBezTo>
                <a:lnTo>
                  <a:pt x="181" y="234"/>
                </a:lnTo>
                <a:close/>
                <a:moveTo>
                  <a:pt x="288" y="138"/>
                </a:moveTo>
                <a:cubicBezTo>
                  <a:pt x="224" y="138"/>
                  <a:pt x="224" y="138"/>
                  <a:pt x="224" y="138"/>
                </a:cubicBezTo>
                <a:cubicBezTo>
                  <a:pt x="224" y="117"/>
                  <a:pt x="224" y="117"/>
                  <a:pt x="224"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202" y="138"/>
                  <a:pt x="202" y="138"/>
                  <a:pt x="202" y="138"/>
                </a:cubicBezTo>
                <a:cubicBezTo>
                  <a:pt x="202" y="106"/>
                  <a:pt x="202" y="106"/>
                  <a:pt x="202" y="106"/>
                </a:cubicBezTo>
                <a:cubicBezTo>
                  <a:pt x="202" y="100"/>
                  <a:pt x="207" y="96"/>
                  <a:pt x="213" y="96"/>
                </a:cubicBezTo>
                <a:cubicBezTo>
                  <a:pt x="298" y="96"/>
                  <a:pt x="298" y="96"/>
                  <a:pt x="298" y="96"/>
                </a:cubicBezTo>
                <a:cubicBezTo>
                  <a:pt x="304" y="96"/>
                  <a:pt x="309" y="100"/>
                  <a:pt x="309" y="106"/>
                </a:cubicBezTo>
                <a:cubicBezTo>
                  <a:pt x="309" y="138"/>
                  <a:pt x="309" y="138"/>
                  <a:pt x="309" y="138"/>
                </a:cubicBezTo>
                <a:cubicBezTo>
                  <a:pt x="405" y="138"/>
                  <a:pt x="405" y="138"/>
                  <a:pt x="405" y="138"/>
                </a:cubicBezTo>
                <a:cubicBezTo>
                  <a:pt x="411" y="138"/>
                  <a:pt x="416" y="143"/>
                  <a:pt x="416" y="149"/>
                </a:cubicBezTo>
                <a:lnTo>
                  <a:pt x="416" y="362"/>
                </a:lnTo>
                <a:close/>
                <a:moveTo>
                  <a:pt x="234" y="266"/>
                </a:moveTo>
                <a:cubicBezTo>
                  <a:pt x="202" y="266"/>
                  <a:pt x="202" y="266"/>
                  <a:pt x="202" y="266"/>
                </a:cubicBezTo>
                <a:cubicBezTo>
                  <a:pt x="202" y="245"/>
                  <a:pt x="202" y="245"/>
                  <a:pt x="202" y="245"/>
                </a:cubicBezTo>
                <a:cubicBezTo>
                  <a:pt x="234" y="245"/>
                  <a:pt x="234" y="245"/>
                  <a:pt x="234" y="245"/>
                </a:cubicBezTo>
                <a:cubicBezTo>
                  <a:pt x="240" y="245"/>
                  <a:pt x="245" y="240"/>
                  <a:pt x="245" y="234"/>
                </a:cubicBezTo>
                <a:cubicBezTo>
                  <a:pt x="245" y="202"/>
                  <a:pt x="245" y="202"/>
                  <a:pt x="245" y="202"/>
                </a:cubicBezTo>
                <a:cubicBezTo>
                  <a:pt x="266" y="202"/>
                  <a:pt x="266" y="202"/>
                  <a:pt x="266" y="202"/>
                </a:cubicBezTo>
                <a:cubicBezTo>
                  <a:pt x="266" y="234"/>
                  <a:pt x="266" y="234"/>
                  <a:pt x="266" y="234"/>
                </a:cubicBezTo>
                <a:cubicBezTo>
                  <a:pt x="266" y="240"/>
                  <a:pt x="271" y="245"/>
                  <a:pt x="277" y="245"/>
                </a:cubicBezTo>
                <a:cubicBezTo>
                  <a:pt x="309" y="245"/>
                  <a:pt x="309" y="245"/>
                  <a:pt x="309" y="245"/>
                </a:cubicBezTo>
                <a:cubicBezTo>
                  <a:pt x="309" y="266"/>
                  <a:pt x="309" y="266"/>
                  <a:pt x="309" y="266"/>
                </a:cubicBezTo>
                <a:cubicBezTo>
                  <a:pt x="277" y="266"/>
                  <a:pt x="277" y="266"/>
                  <a:pt x="277" y="266"/>
                </a:cubicBezTo>
                <a:cubicBezTo>
                  <a:pt x="271" y="266"/>
                  <a:pt x="266" y="271"/>
                  <a:pt x="266" y="277"/>
                </a:cubicBezTo>
                <a:cubicBezTo>
                  <a:pt x="266" y="309"/>
                  <a:pt x="266" y="309"/>
                  <a:pt x="266" y="309"/>
                </a:cubicBezTo>
                <a:cubicBezTo>
                  <a:pt x="245" y="309"/>
                  <a:pt x="245" y="309"/>
                  <a:pt x="245" y="309"/>
                </a:cubicBezTo>
                <a:cubicBezTo>
                  <a:pt x="245" y="277"/>
                  <a:pt x="245" y="277"/>
                  <a:pt x="245" y="277"/>
                </a:cubicBezTo>
                <a:cubicBezTo>
                  <a:pt x="245" y="271"/>
                  <a:pt x="240" y="266"/>
                  <a:pt x="234" y="2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78" name="Group 831">
            <a:extLst>
              <a:ext uri="{FF2B5EF4-FFF2-40B4-BE49-F238E27FC236}">
                <a16:creationId xmlns:a16="http://schemas.microsoft.com/office/drawing/2014/main" id="{85C5AF22-300A-46C4-9633-3EE53FE82255}"/>
              </a:ext>
            </a:extLst>
          </p:cNvPr>
          <p:cNvGrpSpPr>
            <a:grpSpLocks noChangeAspect="1"/>
          </p:cNvGrpSpPr>
          <p:nvPr/>
        </p:nvGrpSpPr>
        <p:grpSpPr bwMode="auto">
          <a:xfrm>
            <a:off x="5259834" y="1715477"/>
            <a:ext cx="367631" cy="367631"/>
            <a:chOff x="3500" y="3210"/>
            <a:chExt cx="340" cy="340"/>
          </a:xfrm>
          <a:solidFill>
            <a:schemeClr val="accent3"/>
          </a:solidFill>
        </p:grpSpPr>
        <p:sp>
          <p:nvSpPr>
            <p:cNvPr id="279" name="Freeform 832">
              <a:extLst>
                <a:ext uri="{FF2B5EF4-FFF2-40B4-BE49-F238E27FC236}">
                  <a16:creationId xmlns:a16="http://schemas.microsoft.com/office/drawing/2014/main" id="{23D284F0-0FA8-4299-917D-4384C9DF0615}"/>
                </a:ext>
              </a:extLst>
            </p:cNvPr>
            <p:cNvSpPr>
              <a:spLocks noEditPoints="1"/>
            </p:cNvSpPr>
            <p:nvPr/>
          </p:nvSpPr>
          <p:spPr bwMode="auto">
            <a:xfrm>
              <a:off x="3564" y="3274"/>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98 w 320"/>
                <a:gd name="T41" fmla="*/ 256 h 277"/>
                <a:gd name="T42" fmla="*/ 21 w 320"/>
                <a:gd name="T43" fmla="*/ 256 h 277"/>
                <a:gd name="T44" fmla="*/ 21 w 320"/>
                <a:gd name="T45" fmla="*/ 64 h 277"/>
                <a:gd name="T46" fmla="*/ 298 w 320"/>
                <a:gd name="T47" fmla="*/ 64 h 277"/>
                <a:gd name="T48" fmla="*/ 298 w 320"/>
                <a:gd name="T4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98" y="256"/>
                  </a:moveTo>
                  <a:cubicBezTo>
                    <a:pt x="21" y="256"/>
                    <a:pt x="21" y="256"/>
                    <a:pt x="21" y="256"/>
                  </a:cubicBezTo>
                  <a:cubicBezTo>
                    <a:pt x="21" y="64"/>
                    <a:pt x="21" y="64"/>
                    <a:pt x="21" y="64"/>
                  </a:cubicBezTo>
                  <a:cubicBezTo>
                    <a:pt x="298" y="64"/>
                    <a:pt x="298" y="64"/>
                    <a:pt x="298" y="64"/>
                  </a:cubicBezTo>
                  <a:lnTo>
                    <a:pt x="298"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0" name="Freeform 833">
              <a:extLst>
                <a:ext uri="{FF2B5EF4-FFF2-40B4-BE49-F238E27FC236}">
                  <a16:creationId xmlns:a16="http://schemas.microsoft.com/office/drawing/2014/main" id="{3B86EACB-B7C1-4493-84C6-11D6C3FBE2AA}"/>
                </a:ext>
              </a:extLst>
            </p:cNvPr>
            <p:cNvSpPr>
              <a:spLocks noEditPoints="1"/>
            </p:cNvSpPr>
            <p:nvPr/>
          </p:nvSpPr>
          <p:spPr bwMode="auto">
            <a:xfrm>
              <a:off x="3620" y="3330"/>
              <a:ext cx="99" cy="99"/>
            </a:xfrm>
            <a:custGeom>
              <a:avLst/>
              <a:gdLst>
                <a:gd name="T0" fmla="*/ 107 w 149"/>
                <a:gd name="T1" fmla="*/ 11 h 149"/>
                <a:gd name="T2" fmla="*/ 96 w 149"/>
                <a:gd name="T3" fmla="*/ 0 h 149"/>
                <a:gd name="T4" fmla="*/ 53 w 149"/>
                <a:gd name="T5" fmla="*/ 0 h 149"/>
                <a:gd name="T6" fmla="*/ 43 w 149"/>
                <a:gd name="T7" fmla="*/ 11 h 149"/>
                <a:gd name="T8" fmla="*/ 43 w 149"/>
                <a:gd name="T9" fmla="*/ 43 h 149"/>
                <a:gd name="T10" fmla="*/ 11 w 149"/>
                <a:gd name="T11" fmla="*/ 43 h 149"/>
                <a:gd name="T12" fmla="*/ 0 w 149"/>
                <a:gd name="T13" fmla="*/ 53 h 149"/>
                <a:gd name="T14" fmla="*/ 0 w 149"/>
                <a:gd name="T15" fmla="*/ 96 h 149"/>
                <a:gd name="T16" fmla="*/ 11 w 149"/>
                <a:gd name="T17" fmla="*/ 107 h 149"/>
                <a:gd name="T18" fmla="*/ 43 w 149"/>
                <a:gd name="T19" fmla="*/ 107 h 149"/>
                <a:gd name="T20" fmla="*/ 43 w 149"/>
                <a:gd name="T21" fmla="*/ 139 h 149"/>
                <a:gd name="T22" fmla="*/ 53 w 149"/>
                <a:gd name="T23" fmla="*/ 149 h 149"/>
                <a:gd name="T24" fmla="*/ 96 w 149"/>
                <a:gd name="T25" fmla="*/ 149 h 149"/>
                <a:gd name="T26" fmla="*/ 107 w 149"/>
                <a:gd name="T27" fmla="*/ 139 h 149"/>
                <a:gd name="T28" fmla="*/ 107 w 149"/>
                <a:gd name="T29" fmla="*/ 107 h 149"/>
                <a:gd name="T30" fmla="*/ 139 w 149"/>
                <a:gd name="T31" fmla="*/ 107 h 149"/>
                <a:gd name="T32" fmla="*/ 149 w 149"/>
                <a:gd name="T33" fmla="*/ 96 h 149"/>
                <a:gd name="T34" fmla="*/ 149 w 149"/>
                <a:gd name="T35" fmla="*/ 53 h 149"/>
                <a:gd name="T36" fmla="*/ 139 w 149"/>
                <a:gd name="T37" fmla="*/ 43 h 149"/>
                <a:gd name="T38" fmla="*/ 107 w 149"/>
                <a:gd name="T39" fmla="*/ 43 h 149"/>
                <a:gd name="T40" fmla="*/ 107 w 149"/>
                <a:gd name="T41" fmla="*/ 11 h 149"/>
                <a:gd name="T42" fmla="*/ 128 w 149"/>
                <a:gd name="T43" fmla="*/ 64 h 149"/>
                <a:gd name="T44" fmla="*/ 128 w 149"/>
                <a:gd name="T45" fmla="*/ 85 h 149"/>
                <a:gd name="T46" fmla="*/ 96 w 149"/>
                <a:gd name="T47" fmla="*/ 85 h 149"/>
                <a:gd name="T48" fmla="*/ 85 w 149"/>
                <a:gd name="T49" fmla="*/ 96 h 149"/>
                <a:gd name="T50" fmla="*/ 85 w 149"/>
                <a:gd name="T51" fmla="*/ 128 h 149"/>
                <a:gd name="T52" fmla="*/ 64 w 149"/>
                <a:gd name="T53" fmla="*/ 128 h 149"/>
                <a:gd name="T54" fmla="*/ 64 w 149"/>
                <a:gd name="T55" fmla="*/ 96 h 149"/>
                <a:gd name="T56" fmla="*/ 53 w 149"/>
                <a:gd name="T57" fmla="*/ 85 h 149"/>
                <a:gd name="T58" fmla="*/ 21 w 149"/>
                <a:gd name="T59" fmla="*/ 85 h 149"/>
                <a:gd name="T60" fmla="*/ 21 w 149"/>
                <a:gd name="T61" fmla="*/ 64 h 149"/>
                <a:gd name="T62" fmla="*/ 53 w 149"/>
                <a:gd name="T63" fmla="*/ 64 h 149"/>
                <a:gd name="T64" fmla="*/ 64 w 149"/>
                <a:gd name="T65" fmla="*/ 53 h 149"/>
                <a:gd name="T66" fmla="*/ 64 w 149"/>
                <a:gd name="T67" fmla="*/ 21 h 149"/>
                <a:gd name="T68" fmla="*/ 85 w 149"/>
                <a:gd name="T69" fmla="*/ 21 h 149"/>
                <a:gd name="T70" fmla="*/ 85 w 149"/>
                <a:gd name="T71" fmla="*/ 53 h 149"/>
                <a:gd name="T72" fmla="*/ 96 w 149"/>
                <a:gd name="T73" fmla="*/ 64 h 149"/>
                <a:gd name="T74" fmla="*/ 128 w 149"/>
                <a:gd name="T75"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9" h="149">
                  <a:moveTo>
                    <a:pt x="107" y="11"/>
                  </a:moveTo>
                  <a:cubicBezTo>
                    <a:pt x="107" y="5"/>
                    <a:pt x="102" y="0"/>
                    <a:pt x="96" y="0"/>
                  </a:cubicBezTo>
                  <a:cubicBezTo>
                    <a:pt x="53" y="0"/>
                    <a:pt x="53"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96"/>
                    <a:pt x="0" y="96"/>
                    <a:pt x="0" y="96"/>
                  </a:cubicBezTo>
                  <a:cubicBezTo>
                    <a:pt x="0" y="102"/>
                    <a:pt x="5" y="107"/>
                    <a:pt x="11" y="107"/>
                  </a:cubicBezTo>
                  <a:cubicBezTo>
                    <a:pt x="43" y="107"/>
                    <a:pt x="43" y="107"/>
                    <a:pt x="43" y="107"/>
                  </a:cubicBezTo>
                  <a:cubicBezTo>
                    <a:pt x="43" y="139"/>
                    <a:pt x="43" y="139"/>
                    <a:pt x="43" y="139"/>
                  </a:cubicBezTo>
                  <a:cubicBezTo>
                    <a:pt x="43" y="145"/>
                    <a:pt x="47" y="149"/>
                    <a:pt x="53" y="149"/>
                  </a:cubicBezTo>
                  <a:cubicBezTo>
                    <a:pt x="96" y="149"/>
                    <a:pt x="96" y="149"/>
                    <a:pt x="96" y="149"/>
                  </a:cubicBezTo>
                  <a:cubicBezTo>
                    <a:pt x="102" y="149"/>
                    <a:pt x="107" y="145"/>
                    <a:pt x="107" y="139"/>
                  </a:cubicBezTo>
                  <a:cubicBezTo>
                    <a:pt x="107" y="107"/>
                    <a:pt x="107" y="107"/>
                    <a:pt x="107" y="107"/>
                  </a:cubicBezTo>
                  <a:cubicBezTo>
                    <a:pt x="139" y="107"/>
                    <a:pt x="139" y="107"/>
                    <a:pt x="139" y="107"/>
                  </a:cubicBezTo>
                  <a:cubicBezTo>
                    <a:pt x="145" y="107"/>
                    <a:pt x="149" y="102"/>
                    <a:pt x="149" y="96"/>
                  </a:cubicBezTo>
                  <a:cubicBezTo>
                    <a:pt x="149" y="53"/>
                    <a:pt x="149" y="53"/>
                    <a:pt x="149" y="53"/>
                  </a:cubicBezTo>
                  <a:cubicBezTo>
                    <a:pt x="149" y="47"/>
                    <a:pt x="145" y="43"/>
                    <a:pt x="139" y="43"/>
                  </a:cubicBezTo>
                  <a:cubicBezTo>
                    <a:pt x="107" y="43"/>
                    <a:pt x="107" y="43"/>
                    <a:pt x="107" y="43"/>
                  </a:cubicBezTo>
                  <a:lnTo>
                    <a:pt x="107" y="11"/>
                  </a:lnTo>
                  <a:close/>
                  <a:moveTo>
                    <a:pt x="128" y="64"/>
                  </a:moveTo>
                  <a:cubicBezTo>
                    <a:pt x="128" y="85"/>
                    <a:pt x="128" y="85"/>
                    <a:pt x="128" y="85"/>
                  </a:cubicBezTo>
                  <a:cubicBezTo>
                    <a:pt x="96" y="85"/>
                    <a:pt x="96" y="85"/>
                    <a:pt x="96" y="85"/>
                  </a:cubicBezTo>
                  <a:cubicBezTo>
                    <a:pt x="90" y="85"/>
                    <a:pt x="85" y="90"/>
                    <a:pt x="85" y="96"/>
                  </a:cubicBezTo>
                  <a:cubicBezTo>
                    <a:pt x="85" y="128"/>
                    <a:pt x="85" y="128"/>
                    <a:pt x="85" y="128"/>
                  </a:cubicBezTo>
                  <a:cubicBezTo>
                    <a:pt x="64" y="128"/>
                    <a:pt x="64" y="128"/>
                    <a:pt x="64" y="128"/>
                  </a:cubicBezTo>
                  <a:cubicBezTo>
                    <a:pt x="64" y="96"/>
                    <a:pt x="64" y="96"/>
                    <a:pt x="64" y="96"/>
                  </a:cubicBezTo>
                  <a:cubicBezTo>
                    <a:pt x="64" y="90"/>
                    <a:pt x="59" y="85"/>
                    <a:pt x="53" y="85"/>
                  </a:cubicBezTo>
                  <a:cubicBezTo>
                    <a:pt x="21" y="85"/>
                    <a:pt x="21" y="85"/>
                    <a:pt x="21" y="85"/>
                  </a:cubicBezTo>
                  <a:cubicBezTo>
                    <a:pt x="21" y="64"/>
                    <a:pt x="21" y="64"/>
                    <a:pt x="21" y="64"/>
                  </a:cubicBezTo>
                  <a:cubicBezTo>
                    <a:pt x="53" y="64"/>
                    <a:pt x="53" y="64"/>
                    <a:pt x="53" y="64"/>
                  </a:cubicBezTo>
                  <a:cubicBezTo>
                    <a:pt x="59" y="64"/>
                    <a:pt x="64" y="59"/>
                    <a:pt x="64" y="53"/>
                  </a:cubicBezTo>
                  <a:cubicBezTo>
                    <a:pt x="64" y="21"/>
                    <a:pt x="64" y="21"/>
                    <a:pt x="64" y="21"/>
                  </a:cubicBezTo>
                  <a:cubicBezTo>
                    <a:pt x="85" y="21"/>
                    <a:pt x="85" y="21"/>
                    <a:pt x="85" y="21"/>
                  </a:cubicBezTo>
                  <a:cubicBezTo>
                    <a:pt x="85" y="53"/>
                    <a:pt x="85" y="53"/>
                    <a:pt x="85" y="53"/>
                  </a:cubicBezTo>
                  <a:cubicBezTo>
                    <a:pt x="85" y="59"/>
                    <a:pt x="90" y="64"/>
                    <a:pt x="96" y="64"/>
                  </a:cubicBezTo>
                  <a:lnTo>
                    <a:pt x="128"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6" name="Freeform 834">
              <a:extLst>
                <a:ext uri="{FF2B5EF4-FFF2-40B4-BE49-F238E27FC236}">
                  <a16:creationId xmlns:a16="http://schemas.microsoft.com/office/drawing/2014/main" id="{29054BF0-AFF2-40A9-8C4D-6738B3D870F6}"/>
                </a:ext>
              </a:extLst>
            </p:cNvPr>
            <p:cNvSpPr>
              <a:spLocks noEditPoints="1"/>
            </p:cNvSpPr>
            <p:nvPr/>
          </p:nvSpPr>
          <p:spPr bwMode="auto">
            <a:xfrm>
              <a:off x="3500" y="32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07" name="Freeform 838">
            <a:extLst>
              <a:ext uri="{FF2B5EF4-FFF2-40B4-BE49-F238E27FC236}">
                <a16:creationId xmlns:a16="http://schemas.microsoft.com/office/drawing/2014/main" id="{BEB080CA-2639-417A-93C2-67143C03170E}"/>
              </a:ext>
            </a:extLst>
          </p:cNvPr>
          <p:cNvSpPr>
            <a:spLocks noChangeAspect="1" noEditPoints="1"/>
          </p:cNvSpPr>
          <p:nvPr/>
        </p:nvSpPr>
        <p:spPr bwMode="auto">
          <a:xfrm>
            <a:off x="5694068" y="1715477"/>
            <a:ext cx="367631" cy="367631"/>
          </a:xfrm>
          <a:custGeom>
            <a:avLst/>
            <a:gdLst>
              <a:gd name="T0" fmla="*/ 309 w 512"/>
              <a:gd name="T1" fmla="*/ 213 h 512"/>
              <a:gd name="T2" fmla="*/ 394 w 512"/>
              <a:gd name="T3" fmla="*/ 213 h 512"/>
              <a:gd name="T4" fmla="*/ 394 w 512"/>
              <a:gd name="T5" fmla="*/ 298 h 512"/>
              <a:gd name="T6" fmla="*/ 309 w 512"/>
              <a:gd name="T7" fmla="*/ 298 h 512"/>
              <a:gd name="T8" fmla="*/ 298 w 512"/>
              <a:gd name="T9" fmla="*/ 309 h 512"/>
              <a:gd name="T10" fmla="*/ 298 w 512"/>
              <a:gd name="T11" fmla="*/ 394 h 512"/>
              <a:gd name="T12" fmla="*/ 213 w 512"/>
              <a:gd name="T13" fmla="*/ 394 h 512"/>
              <a:gd name="T14" fmla="*/ 213 w 512"/>
              <a:gd name="T15" fmla="*/ 309 h 512"/>
              <a:gd name="T16" fmla="*/ 202 w 512"/>
              <a:gd name="T17" fmla="*/ 298 h 512"/>
              <a:gd name="T18" fmla="*/ 117 w 512"/>
              <a:gd name="T19" fmla="*/ 298 h 512"/>
              <a:gd name="T20" fmla="*/ 117 w 512"/>
              <a:gd name="T21" fmla="*/ 213 h 512"/>
              <a:gd name="T22" fmla="*/ 202 w 512"/>
              <a:gd name="T23" fmla="*/ 213 h 512"/>
              <a:gd name="T24" fmla="*/ 213 w 512"/>
              <a:gd name="T25" fmla="*/ 202 h 512"/>
              <a:gd name="T26" fmla="*/ 213 w 512"/>
              <a:gd name="T27" fmla="*/ 117 h 512"/>
              <a:gd name="T28" fmla="*/ 298 w 512"/>
              <a:gd name="T29" fmla="*/ 117 h 512"/>
              <a:gd name="T30" fmla="*/ 298 w 512"/>
              <a:gd name="T31" fmla="*/ 202 h 512"/>
              <a:gd name="T32" fmla="*/ 309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02 h 512"/>
              <a:gd name="T46" fmla="*/ 405 w 512"/>
              <a:gd name="T47" fmla="*/ 192 h 512"/>
              <a:gd name="T48" fmla="*/ 320 w 512"/>
              <a:gd name="T49" fmla="*/ 192 h 512"/>
              <a:gd name="T50" fmla="*/ 320 w 512"/>
              <a:gd name="T51" fmla="*/ 106 h 512"/>
              <a:gd name="T52" fmla="*/ 309 w 512"/>
              <a:gd name="T53" fmla="*/ 96 h 512"/>
              <a:gd name="T54" fmla="*/ 202 w 512"/>
              <a:gd name="T55" fmla="*/ 96 h 512"/>
              <a:gd name="T56" fmla="*/ 192 w 512"/>
              <a:gd name="T57" fmla="*/ 106 h 512"/>
              <a:gd name="T58" fmla="*/ 192 w 512"/>
              <a:gd name="T59" fmla="*/ 192 h 512"/>
              <a:gd name="T60" fmla="*/ 106 w 512"/>
              <a:gd name="T61" fmla="*/ 192 h 512"/>
              <a:gd name="T62" fmla="*/ 96 w 512"/>
              <a:gd name="T63" fmla="*/ 202 h 512"/>
              <a:gd name="T64" fmla="*/ 96 w 512"/>
              <a:gd name="T65" fmla="*/ 309 h 512"/>
              <a:gd name="T66" fmla="*/ 106 w 512"/>
              <a:gd name="T67" fmla="*/ 320 h 512"/>
              <a:gd name="T68" fmla="*/ 192 w 512"/>
              <a:gd name="T69" fmla="*/ 320 h 512"/>
              <a:gd name="T70" fmla="*/ 192 w 512"/>
              <a:gd name="T71" fmla="*/ 405 h 512"/>
              <a:gd name="T72" fmla="*/ 202 w 512"/>
              <a:gd name="T73" fmla="*/ 416 h 512"/>
              <a:gd name="T74" fmla="*/ 309 w 512"/>
              <a:gd name="T75" fmla="*/ 416 h 512"/>
              <a:gd name="T76" fmla="*/ 320 w 512"/>
              <a:gd name="T77" fmla="*/ 405 h 512"/>
              <a:gd name="T78" fmla="*/ 320 w 512"/>
              <a:gd name="T79" fmla="*/ 320 h 512"/>
              <a:gd name="T80" fmla="*/ 405 w 512"/>
              <a:gd name="T81" fmla="*/ 320 h 512"/>
              <a:gd name="T82" fmla="*/ 416 w 512"/>
              <a:gd name="T83" fmla="*/ 309 h 512"/>
              <a:gd name="T84" fmla="*/ 416 w 512"/>
              <a:gd name="T8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09" y="213"/>
                </a:moveTo>
                <a:cubicBezTo>
                  <a:pt x="394" y="213"/>
                  <a:pt x="394" y="213"/>
                  <a:pt x="394" y="213"/>
                </a:cubicBezTo>
                <a:cubicBezTo>
                  <a:pt x="394" y="298"/>
                  <a:pt x="394" y="298"/>
                  <a:pt x="394" y="298"/>
                </a:cubicBezTo>
                <a:cubicBezTo>
                  <a:pt x="309" y="298"/>
                  <a:pt x="309" y="298"/>
                  <a:pt x="309" y="298"/>
                </a:cubicBezTo>
                <a:cubicBezTo>
                  <a:pt x="303" y="298"/>
                  <a:pt x="298" y="303"/>
                  <a:pt x="298" y="309"/>
                </a:cubicBezTo>
                <a:cubicBezTo>
                  <a:pt x="298" y="394"/>
                  <a:pt x="298" y="394"/>
                  <a:pt x="298" y="394"/>
                </a:cubicBezTo>
                <a:cubicBezTo>
                  <a:pt x="213" y="394"/>
                  <a:pt x="213" y="394"/>
                  <a:pt x="213" y="394"/>
                </a:cubicBezTo>
                <a:cubicBezTo>
                  <a:pt x="213" y="309"/>
                  <a:pt x="213" y="309"/>
                  <a:pt x="213" y="309"/>
                </a:cubicBezTo>
                <a:cubicBezTo>
                  <a:pt x="213" y="303"/>
                  <a:pt x="208" y="298"/>
                  <a:pt x="202" y="298"/>
                </a:cubicBezTo>
                <a:cubicBezTo>
                  <a:pt x="117" y="298"/>
                  <a:pt x="117" y="298"/>
                  <a:pt x="117" y="298"/>
                </a:cubicBezTo>
                <a:cubicBezTo>
                  <a:pt x="117" y="213"/>
                  <a:pt x="117" y="213"/>
                  <a:pt x="117" y="213"/>
                </a:cubicBezTo>
                <a:cubicBezTo>
                  <a:pt x="202" y="213"/>
                  <a:pt x="202" y="213"/>
                  <a:pt x="202" y="213"/>
                </a:cubicBezTo>
                <a:cubicBezTo>
                  <a:pt x="208" y="213"/>
                  <a:pt x="213" y="208"/>
                  <a:pt x="213" y="202"/>
                </a:cubicBezTo>
                <a:cubicBezTo>
                  <a:pt x="213" y="117"/>
                  <a:pt x="213" y="117"/>
                  <a:pt x="213" y="117"/>
                </a:cubicBezTo>
                <a:cubicBezTo>
                  <a:pt x="298" y="117"/>
                  <a:pt x="298" y="117"/>
                  <a:pt x="298" y="117"/>
                </a:cubicBezTo>
                <a:cubicBezTo>
                  <a:pt x="298" y="202"/>
                  <a:pt x="298" y="202"/>
                  <a:pt x="298" y="202"/>
                </a:cubicBezTo>
                <a:cubicBezTo>
                  <a:pt x="298" y="208"/>
                  <a:pt x="303" y="213"/>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6"/>
                  <a:pt x="411" y="192"/>
                  <a:pt x="405" y="192"/>
                </a:cubicBezTo>
                <a:cubicBezTo>
                  <a:pt x="320" y="192"/>
                  <a:pt x="320" y="192"/>
                  <a:pt x="320" y="192"/>
                </a:cubicBezTo>
                <a:cubicBezTo>
                  <a:pt x="320" y="106"/>
                  <a:pt x="320" y="106"/>
                  <a:pt x="320" y="106"/>
                </a:cubicBezTo>
                <a:cubicBezTo>
                  <a:pt x="320" y="100"/>
                  <a:pt x="315" y="96"/>
                  <a:pt x="309" y="96"/>
                </a:cubicBezTo>
                <a:cubicBezTo>
                  <a:pt x="202" y="96"/>
                  <a:pt x="202" y="96"/>
                  <a:pt x="202" y="96"/>
                </a:cubicBezTo>
                <a:cubicBezTo>
                  <a:pt x="196" y="96"/>
                  <a:pt x="192" y="100"/>
                  <a:pt x="192" y="106"/>
                </a:cubicBezTo>
                <a:cubicBezTo>
                  <a:pt x="192" y="192"/>
                  <a:pt x="192" y="192"/>
                  <a:pt x="192"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92" y="320"/>
                  <a:pt x="192" y="320"/>
                  <a:pt x="192" y="320"/>
                </a:cubicBezTo>
                <a:cubicBezTo>
                  <a:pt x="192" y="405"/>
                  <a:pt x="192" y="405"/>
                  <a:pt x="192" y="405"/>
                </a:cubicBezTo>
                <a:cubicBezTo>
                  <a:pt x="192" y="411"/>
                  <a:pt x="196" y="416"/>
                  <a:pt x="202" y="416"/>
                </a:cubicBezTo>
                <a:cubicBezTo>
                  <a:pt x="309" y="416"/>
                  <a:pt x="309" y="416"/>
                  <a:pt x="309" y="416"/>
                </a:cubicBezTo>
                <a:cubicBezTo>
                  <a:pt x="315" y="416"/>
                  <a:pt x="320" y="411"/>
                  <a:pt x="320" y="405"/>
                </a:cubicBezTo>
                <a:cubicBezTo>
                  <a:pt x="320" y="320"/>
                  <a:pt x="320" y="320"/>
                  <a:pt x="320" y="320"/>
                </a:cubicBezTo>
                <a:cubicBezTo>
                  <a:pt x="405" y="320"/>
                  <a:pt x="405" y="320"/>
                  <a:pt x="405" y="320"/>
                </a:cubicBezTo>
                <a:cubicBezTo>
                  <a:pt x="411" y="320"/>
                  <a:pt x="416" y="315"/>
                  <a:pt x="416" y="309"/>
                </a:cubicBezTo>
                <a:lnTo>
                  <a:pt x="416" y="20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08" name="Group 841">
            <a:extLst>
              <a:ext uri="{FF2B5EF4-FFF2-40B4-BE49-F238E27FC236}">
                <a16:creationId xmlns:a16="http://schemas.microsoft.com/office/drawing/2014/main" id="{A3AD135B-F26B-4B49-9A18-CDA0764B590D}"/>
              </a:ext>
            </a:extLst>
          </p:cNvPr>
          <p:cNvGrpSpPr>
            <a:grpSpLocks noChangeAspect="1"/>
          </p:cNvGrpSpPr>
          <p:nvPr/>
        </p:nvGrpSpPr>
        <p:grpSpPr bwMode="auto">
          <a:xfrm>
            <a:off x="6128302" y="1715477"/>
            <a:ext cx="367631" cy="367631"/>
            <a:chOff x="4235" y="3197"/>
            <a:chExt cx="340" cy="340"/>
          </a:xfrm>
          <a:solidFill>
            <a:schemeClr val="accent3"/>
          </a:solidFill>
        </p:grpSpPr>
        <p:sp>
          <p:nvSpPr>
            <p:cNvPr id="309" name="Freeform 842">
              <a:extLst>
                <a:ext uri="{FF2B5EF4-FFF2-40B4-BE49-F238E27FC236}">
                  <a16:creationId xmlns:a16="http://schemas.microsoft.com/office/drawing/2014/main" id="{643C3A34-C5A2-414F-803B-1A175BFD4803}"/>
                </a:ext>
              </a:extLst>
            </p:cNvPr>
            <p:cNvSpPr>
              <a:spLocks noEditPoints="1"/>
            </p:cNvSpPr>
            <p:nvPr/>
          </p:nvSpPr>
          <p:spPr bwMode="auto">
            <a:xfrm>
              <a:off x="4299" y="3261"/>
              <a:ext cx="212" cy="212"/>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0" name="Freeform 843">
              <a:extLst>
                <a:ext uri="{FF2B5EF4-FFF2-40B4-BE49-F238E27FC236}">
                  <a16:creationId xmlns:a16="http://schemas.microsoft.com/office/drawing/2014/main" id="{D22C57D7-4B81-483F-B04D-5D13CA776103}"/>
                </a:ext>
              </a:extLst>
            </p:cNvPr>
            <p:cNvSpPr>
              <a:spLocks noEditPoints="1"/>
            </p:cNvSpPr>
            <p:nvPr/>
          </p:nvSpPr>
          <p:spPr bwMode="auto">
            <a:xfrm>
              <a:off x="4235" y="3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11" name="Group 327">
            <a:extLst>
              <a:ext uri="{FF2B5EF4-FFF2-40B4-BE49-F238E27FC236}">
                <a16:creationId xmlns:a16="http://schemas.microsoft.com/office/drawing/2014/main" id="{46AC91A5-575B-434B-8FB8-89B399CC3A65}"/>
              </a:ext>
            </a:extLst>
          </p:cNvPr>
          <p:cNvGrpSpPr>
            <a:grpSpLocks noChangeAspect="1"/>
          </p:cNvGrpSpPr>
          <p:nvPr/>
        </p:nvGrpSpPr>
        <p:grpSpPr bwMode="auto">
          <a:xfrm>
            <a:off x="6998160" y="1714087"/>
            <a:ext cx="369021" cy="369021"/>
            <a:chOff x="5029" y="1186"/>
            <a:chExt cx="340" cy="340"/>
          </a:xfrm>
          <a:solidFill>
            <a:schemeClr val="accent4"/>
          </a:solidFill>
        </p:grpSpPr>
        <p:sp>
          <p:nvSpPr>
            <p:cNvPr id="312" name="Freeform 328">
              <a:extLst>
                <a:ext uri="{FF2B5EF4-FFF2-40B4-BE49-F238E27FC236}">
                  <a16:creationId xmlns:a16="http://schemas.microsoft.com/office/drawing/2014/main" id="{9FB6DBFE-FEF9-4771-B98E-43C95492D7A6}"/>
                </a:ext>
              </a:extLst>
            </p:cNvPr>
            <p:cNvSpPr>
              <a:spLocks noEditPoints="1"/>
            </p:cNvSpPr>
            <p:nvPr/>
          </p:nvSpPr>
          <p:spPr bwMode="auto">
            <a:xfrm>
              <a:off x="5109" y="1266"/>
              <a:ext cx="180" cy="180"/>
            </a:xfrm>
            <a:custGeom>
              <a:avLst/>
              <a:gdLst>
                <a:gd name="T0" fmla="*/ 248 w 270"/>
                <a:gd name="T1" fmla="*/ 142 h 270"/>
                <a:gd name="T2" fmla="*/ 187 w 270"/>
                <a:gd name="T3" fmla="*/ 82 h 270"/>
                <a:gd name="T4" fmla="*/ 127 w 270"/>
                <a:gd name="T5" fmla="*/ 22 h 270"/>
                <a:gd name="T6" fmla="*/ 74 w 270"/>
                <a:gd name="T7" fmla="*/ 0 h 270"/>
                <a:gd name="T8" fmla="*/ 22 w 270"/>
                <a:gd name="T9" fmla="*/ 22 h 270"/>
                <a:gd name="T10" fmla="*/ 0 w 270"/>
                <a:gd name="T11" fmla="*/ 74 h 270"/>
                <a:gd name="T12" fmla="*/ 22 w 270"/>
                <a:gd name="T13" fmla="*/ 127 h 270"/>
                <a:gd name="T14" fmla="*/ 82 w 270"/>
                <a:gd name="T15" fmla="*/ 187 h 270"/>
                <a:gd name="T16" fmla="*/ 142 w 270"/>
                <a:gd name="T17" fmla="*/ 248 h 270"/>
                <a:gd name="T18" fmla="*/ 195 w 270"/>
                <a:gd name="T19" fmla="*/ 270 h 270"/>
                <a:gd name="T20" fmla="*/ 248 w 270"/>
                <a:gd name="T21" fmla="*/ 248 h 270"/>
                <a:gd name="T22" fmla="*/ 270 w 270"/>
                <a:gd name="T23" fmla="*/ 195 h 270"/>
                <a:gd name="T24" fmla="*/ 248 w 270"/>
                <a:gd name="T25" fmla="*/ 142 h 270"/>
                <a:gd name="T26" fmla="*/ 240 w 270"/>
                <a:gd name="T27" fmla="*/ 167 h 270"/>
                <a:gd name="T28" fmla="*/ 118 w 270"/>
                <a:gd name="T29" fmla="*/ 167 h 270"/>
                <a:gd name="T30" fmla="*/ 139 w 270"/>
                <a:gd name="T31" fmla="*/ 145 h 270"/>
                <a:gd name="T32" fmla="*/ 220 w 270"/>
                <a:gd name="T33" fmla="*/ 145 h 270"/>
                <a:gd name="T34" fmla="*/ 220 w 270"/>
                <a:gd name="T35" fmla="*/ 145 h 270"/>
                <a:gd name="T36" fmla="*/ 233 w 270"/>
                <a:gd name="T37" fmla="*/ 157 h 270"/>
                <a:gd name="T38" fmla="*/ 240 w 270"/>
                <a:gd name="T39" fmla="*/ 167 h 270"/>
                <a:gd name="T40" fmla="*/ 248 w 270"/>
                <a:gd name="T41" fmla="*/ 195 h 270"/>
                <a:gd name="T42" fmla="*/ 246 w 270"/>
                <a:gd name="T43" fmla="*/ 209 h 270"/>
                <a:gd name="T44" fmla="*/ 135 w 270"/>
                <a:gd name="T45" fmla="*/ 209 h 270"/>
                <a:gd name="T46" fmla="*/ 135 w 270"/>
                <a:gd name="T47" fmla="*/ 210 h 270"/>
                <a:gd name="T48" fmla="*/ 113 w 270"/>
                <a:gd name="T49" fmla="*/ 188 h 270"/>
                <a:gd name="T50" fmla="*/ 248 w 270"/>
                <a:gd name="T51" fmla="*/ 188 h 270"/>
                <a:gd name="T52" fmla="*/ 248 w 270"/>
                <a:gd name="T53" fmla="*/ 195 h 270"/>
                <a:gd name="T54" fmla="*/ 180 w 270"/>
                <a:gd name="T55" fmla="*/ 105 h 270"/>
                <a:gd name="T56" fmla="*/ 199 w 270"/>
                <a:gd name="T57" fmla="*/ 124 h 270"/>
                <a:gd name="T58" fmla="*/ 160 w 270"/>
                <a:gd name="T59" fmla="*/ 124 h 270"/>
                <a:gd name="T60" fmla="*/ 180 w 270"/>
                <a:gd name="T61" fmla="*/ 105 h 270"/>
                <a:gd name="T62" fmla="*/ 21 w 270"/>
                <a:gd name="T63" fmla="*/ 74 h 270"/>
                <a:gd name="T64" fmla="*/ 37 w 270"/>
                <a:gd name="T65" fmla="*/ 37 h 270"/>
                <a:gd name="T66" fmla="*/ 74 w 270"/>
                <a:gd name="T67" fmla="*/ 21 h 270"/>
                <a:gd name="T68" fmla="*/ 112 w 270"/>
                <a:gd name="T69" fmla="*/ 37 h 270"/>
                <a:gd name="T70" fmla="*/ 165 w 270"/>
                <a:gd name="T71" fmla="*/ 89 h 270"/>
                <a:gd name="T72" fmla="*/ 89 w 270"/>
                <a:gd name="T73" fmla="*/ 165 h 270"/>
                <a:gd name="T74" fmla="*/ 37 w 270"/>
                <a:gd name="T75" fmla="*/ 112 h 270"/>
                <a:gd name="T76" fmla="*/ 21 w 270"/>
                <a:gd name="T77" fmla="*/ 74 h 270"/>
                <a:gd name="T78" fmla="*/ 195 w 270"/>
                <a:gd name="T79" fmla="*/ 248 h 270"/>
                <a:gd name="T80" fmla="*/ 157 w 270"/>
                <a:gd name="T81" fmla="*/ 233 h 270"/>
                <a:gd name="T82" fmla="*/ 155 w 270"/>
                <a:gd name="T83" fmla="*/ 231 h 270"/>
                <a:gd name="T84" fmla="*/ 234 w 270"/>
                <a:gd name="T85" fmla="*/ 231 h 270"/>
                <a:gd name="T86" fmla="*/ 233 w 270"/>
                <a:gd name="T87" fmla="*/ 233 h 270"/>
                <a:gd name="T88" fmla="*/ 195 w 270"/>
                <a:gd name="T89" fmla="*/ 24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0" h="270">
                  <a:moveTo>
                    <a:pt x="248" y="142"/>
                  </a:moveTo>
                  <a:cubicBezTo>
                    <a:pt x="187" y="82"/>
                    <a:pt x="187" y="82"/>
                    <a:pt x="187" y="82"/>
                  </a:cubicBezTo>
                  <a:cubicBezTo>
                    <a:pt x="127" y="22"/>
                    <a:pt x="127" y="22"/>
                    <a:pt x="127" y="22"/>
                  </a:cubicBezTo>
                  <a:cubicBezTo>
                    <a:pt x="113" y="7"/>
                    <a:pt x="94" y="0"/>
                    <a:pt x="74" y="0"/>
                  </a:cubicBezTo>
                  <a:cubicBezTo>
                    <a:pt x="54" y="0"/>
                    <a:pt x="36" y="7"/>
                    <a:pt x="22" y="22"/>
                  </a:cubicBezTo>
                  <a:cubicBezTo>
                    <a:pt x="7" y="36"/>
                    <a:pt x="0" y="54"/>
                    <a:pt x="0" y="74"/>
                  </a:cubicBezTo>
                  <a:cubicBezTo>
                    <a:pt x="0" y="94"/>
                    <a:pt x="7" y="113"/>
                    <a:pt x="22" y="127"/>
                  </a:cubicBezTo>
                  <a:cubicBezTo>
                    <a:pt x="82" y="187"/>
                    <a:pt x="82" y="187"/>
                    <a:pt x="82" y="187"/>
                  </a:cubicBezTo>
                  <a:cubicBezTo>
                    <a:pt x="142" y="248"/>
                    <a:pt x="142" y="248"/>
                    <a:pt x="142" y="248"/>
                  </a:cubicBezTo>
                  <a:cubicBezTo>
                    <a:pt x="156" y="262"/>
                    <a:pt x="175" y="270"/>
                    <a:pt x="195" y="270"/>
                  </a:cubicBezTo>
                  <a:cubicBezTo>
                    <a:pt x="215" y="270"/>
                    <a:pt x="234" y="262"/>
                    <a:pt x="248" y="248"/>
                  </a:cubicBezTo>
                  <a:cubicBezTo>
                    <a:pt x="262" y="234"/>
                    <a:pt x="270" y="215"/>
                    <a:pt x="270" y="195"/>
                  </a:cubicBezTo>
                  <a:cubicBezTo>
                    <a:pt x="270" y="175"/>
                    <a:pt x="262" y="156"/>
                    <a:pt x="248" y="142"/>
                  </a:cubicBezTo>
                  <a:close/>
                  <a:moveTo>
                    <a:pt x="240" y="167"/>
                  </a:moveTo>
                  <a:cubicBezTo>
                    <a:pt x="118" y="167"/>
                    <a:pt x="118" y="167"/>
                    <a:pt x="118" y="167"/>
                  </a:cubicBezTo>
                  <a:cubicBezTo>
                    <a:pt x="139" y="145"/>
                    <a:pt x="139" y="145"/>
                    <a:pt x="139" y="145"/>
                  </a:cubicBezTo>
                  <a:cubicBezTo>
                    <a:pt x="220" y="145"/>
                    <a:pt x="220" y="145"/>
                    <a:pt x="220" y="145"/>
                  </a:cubicBezTo>
                  <a:cubicBezTo>
                    <a:pt x="220" y="145"/>
                    <a:pt x="220" y="145"/>
                    <a:pt x="220" y="145"/>
                  </a:cubicBezTo>
                  <a:cubicBezTo>
                    <a:pt x="233" y="157"/>
                    <a:pt x="233" y="157"/>
                    <a:pt x="233" y="157"/>
                  </a:cubicBezTo>
                  <a:cubicBezTo>
                    <a:pt x="236" y="160"/>
                    <a:pt x="238" y="163"/>
                    <a:pt x="240" y="167"/>
                  </a:cubicBezTo>
                  <a:close/>
                  <a:moveTo>
                    <a:pt x="248" y="195"/>
                  </a:moveTo>
                  <a:cubicBezTo>
                    <a:pt x="248" y="200"/>
                    <a:pt x="247" y="205"/>
                    <a:pt x="246" y="209"/>
                  </a:cubicBezTo>
                  <a:cubicBezTo>
                    <a:pt x="135" y="209"/>
                    <a:pt x="135" y="209"/>
                    <a:pt x="135" y="209"/>
                  </a:cubicBezTo>
                  <a:cubicBezTo>
                    <a:pt x="135" y="210"/>
                    <a:pt x="135" y="210"/>
                    <a:pt x="135" y="210"/>
                  </a:cubicBezTo>
                  <a:cubicBezTo>
                    <a:pt x="113" y="188"/>
                    <a:pt x="113" y="188"/>
                    <a:pt x="113" y="188"/>
                  </a:cubicBezTo>
                  <a:cubicBezTo>
                    <a:pt x="248" y="188"/>
                    <a:pt x="248" y="188"/>
                    <a:pt x="248" y="188"/>
                  </a:cubicBezTo>
                  <a:cubicBezTo>
                    <a:pt x="248" y="190"/>
                    <a:pt x="248" y="193"/>
                    <a:pt x="248" y="195"/>
                  </a:cubicBezTo>
                  <a:close/>
                  <a:moveTo>
                    <a:pt x="180" y="105"/>
                  </a:moveTo>
                  <a:cubicBezTo>
                    <a:pt x="199" y="124"/>
                    <a:pt x="199" y="124"/>
                    <a:pt x="199" y="124"/>
                  </a:cubicBezTo>
                  <a:cubicBezTo>
                    <a:pt x="160" y="124"/>
                    <a:pt x="160" y="124"/>
                    <a:pt x="160" y="124"/>
                  </a:cubicBezTo>
                  <a:lnTo>
                    <a:pt x="180" y="105"/>
                  </a:lnTo>
                  <a:close/>
                  <a:moveTo>
                    <a:pt x="21" y="74"/>
                  </a:moveTo>
                  <a:cubicBezTo>
                    <a:pt x="21" y="60"/>
                    <a:pt x="27" y="47"/>
                    <a:pt x="37" y="37"/>
                  </a:cubicBezTo>
                  <a:cubicBezTo>
                    <a:pt x="47" y="27"/>
                    <a:pt x="60" y="21"/>
                    <a:pt x="74" y="21"/>
                  </a:cubicBezTo>
                  <a:cubicBezTo>
                    <a:pt x="89" y="21"/>
                    <a:pt x="102" y="27"/>
                    <a:pt x="112" y="37"/>
                  </a:cubicBezTo>
                  <a:cubicBezTo>
                    <a:pt x="165" y="89"/>
                    <a:pt x="165" y="89"/>
                    <a:pt x="165" y="89"/>
                  </a:cubicBezTo>
                  <a:cubicBezTo>
                    <a:pt x="89" y="165"/>
                    <a:pt x="89" y="165"/>
                    <a:pt x="89" y="165"/>
                  </a:cubicBezTo>
                  <a:cubicBezTo>
                    <a:pt x="37" y="112"/>
                    <a:pt x="37" y="112"/>
                    <a:pt x="37" y="112"/>
                  </a:cubicBezTo>
                  <a:cubicBezTo>
                    <a:pt x="27" y="102"/>
                    <a:pt x="21" y="89"/>
                    <a:pt x="21" y="74"/>
                  </a:cubicBezTo>
                  <a:close/>
                  <a:moveTo>
                    <a:pt x="195" y="248"/>
                  </a:moveTo>
                  <a:cubicBezTo>
                    <a:pt x="181" y="248"/>
                    <a:pt x="167" y="243"/>
                    <a:pt x="157" y="233"/>
                  </a:cubicBezTo>
                  <a:cubicBezTo>
                    <a:pt x="155" y="231"/>
                    <a:pt x="155" y="231"/>
                    <a:pt x="155" y="231"/>
                  </a:cubicBezTo>
                  <a:cubicBezTo>
                    <a:pt x="234" y="231"/>
                    <a:pt x="234" y="231"/>
                    <a:pt x="234" y="231"/>
                  </a:cubicBezTo>
                  <a:cubicBezTo>
                    <a:pt x="234" y="231"/>
                    <a:pt x="233" y="232"/>
                    <a:pt x="233" y="233"/>
                  </a:cubicBezTo>
                  <a:cubicBezTo>
                    <a:pt x="223" y="243"/>
                    <a:pt x="209" y="248"/>
                    <a:pt x="195" y="2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3" name="Freeform 329">
              <a:extLst>
                <a:ext uri="{FF2B5EF4-FFF2-40B4-BE49-F238E27FC236}">
                  <a16:creationId xmlns:a16="http://schemas.microsoft.com/office/drawing/2014/main" id="{E821AECD-4190-42EB-B169-08DF7A0B4489}"/>
                </a:ext>
              </a:extLst>
            </p:cNvPr>
            <p:cNvSpPr>
              <a:spLocks noEditPoints="1"/>
            </p:cNvSpPr>
            <p:nvPr/>
          </p:nvSpPr>
          <p:spPr bwMode="auto">
            <a:xfrm>
              <a:off x="5029" y="11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19" name="Freeform 333">
            <a:extLst>
              <a:ext uri="{FF2B5EF4-FFF2-40B4-BE49-F238E27FC236}">
                <a16:creationId xmlns:a16="http://schemas.microsoft.com/office/drawing/2014/main" id="{2F353788-8DC6-4BD6-A9C8-570250A66EC4}"/>
              </a:ext>
            </a:extLst>
          </p:cNvPr>
          <p:cNvSpPr>
            <a:spLocks noChangeAspect="1" noEditPoints="1"/>
          </p:cNvSpPr>
          <p:nvPr/>
        </p:nvSpPr>
        <p:spPr bwMode="auto">
          <a:xfrm>
            <a:off x="6562536" y="1714087"/>
            <a:ext cx="369021" cy="369021"/>
          </a:xfrm>
          <a:custGeom>
            <a:avLst/>
            <a:gdLst>
              <a:gd name="T0" fmla="*/ 276 w 512"/>
              <a:gd name="T1" fmla="*/ 352 h 512"/>
              <a:gd name="T2" fmla="*/ 355 w 512"/>
              <a:gd name="T3" fmla="*/ 352 h 512"/>
              <a:gd name="T4" fmla="*/ 354 w 512"/>
              <a:gd name="T5" fmla="*/ 354 h 512"/>
              <a:gd name="T6" fmla="*/ 316 w 512"/>
              <a:gd name="T7" fmla="*/ 369 h 512"/>
              <a:gd name="T8" fmla="*/ 278 w 512"/>
              <a:gd name="T9" fmla="*/ 354 h 512"/>
              <a:gd name="T10" fmla="*/ 276 w 512"/>
              <a:gd name="T11" fmla="*/ 352 h 512"/>
              <a:gd name="T12" fmla="*/ 233 w 512"/>
              <a:gd name="T13" fmla="*/ 158 h 512"/>
              <a:gd name="T14" fmla="*/ 195 w 512"/>
              <a:gd name="T15" fmla="*/ 142 h 512"/>
              <a:gd name="T16" fmla="*/ 158 w 512"/>
              <a:gd name="T17" fmla="*/ 158 h 512"/>
              <a:gd name="T18" fmla="*/ 142 w 512"/>
              <a:gd name="T19" fmla="*/ 195 h 512"/>
              <a:gd name="T20" fmla="*/ 158 w 512"/>
              <a:gd name="T21" fmla="*/ 233 h 512"/>
              <a:gd name="T22" fmla="*/ 210 w 512"/>
              <a:gd name="T23" fmla="*/ 286 h 512"/>
              <a:gd name="T24" fmla="*/ 286 w 512"/>
              <a:gd name="T25" fmla="*/ 210 h 512"/>
              <a:gd name="T26" fmla="*/ 233 w 512"/>
              <a:gd name="T27" fmla="*/ 158 h 512"/>
              <a:gd name="T28" fmla="*/ 320 w 512"/>
              <a:gd name="T29" fmla="*/ 245 h 512"/>
              <a:gd name="T30" fmla="*/ 301 w 512"/>
              <a:gd name="T31" fmla="*/ 226 h 512"/>
              <a:gd name="T32" fmla="*/ 281 w 512"/>
              <a:gd name="T33" fmla="*/ 245 h 512"/>
              <a:gd name="T34" fmla="*/ 320 w 512"/>
              <a:gd name="T35" fmla="*/ 245 h 512"/>
              <a:gd name="T36" fmla="*/ 234 w 512"/>
              <a:gd name="T37" fmla="*/ 309 h 512"/>
              <a:gd name="T38" fmla="*/ 256 w 512"/>
              <a:gd name="T39" fmla="*/ 331 h 512"/>
              <a:gd name="T40" fmla="*/ 256 w 512"/>
              <a:gd name="T41" fmla="*/ 330 h 512"/>
              <a:gd name="T42" fmla="*/ 367 w 512"/>
              <a:gd name="T43" fmla="*/ 330 h 512"/>
              <a:gd name="T44" fmla="*/ 369 w 512"/>
              <a:gd name="T45" fmla="*/ 316 h 512"/>
              <a:gd name="T46" fmla="*/ 369 w 512"/>
              <a:gd name="T47" fmla="*/ 309 h 512"/>
              <a:gd name="T48" fmla="*/ 234 w 512"/>
              <a:gd name="T49" fmla="*/ 309 h 512"/>
              <a:gd name="T50" fmla="*/ 239 w 512"/>
              <a:gd name="T51" fmla="*/ 288 h 512"/>
              <a:gd name="T52" fmla="*/ 361 w 512"/>
              <a:gd name="T53" fmla="*/ 288 h 512"/>
              <a:gd name="T54" fmla="*/ 354 w 512"/>
              <a:gd name="T55" fmla="*/ 278 h 512"/>
              <a:gd name="T56" fmla="*/ 341 w 512"/>
              <a:gd name="T57" fmla="*/ 266 h 512"/>
              <a:gd name="T58" fmla="*/ 341 w 512"/>
              <a:gd name="T59" fmla="*/ 266 h 512"/>
              <a:gd name="T60" fmla="*/ 260 w 512"/>
              <a:gd name="T61" fmla="*/ 266 h 512"/>
              <a:gd name="T62" fmla="*/ 239 w 512"/>
              <a:gd name="T63" fmla="*/ 288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1 w 512"/>
              <a:gd name="T75" fmla="*/ 316 h 512"/>
              <a:gd name="T76" fmla="*/ 369 w 512"/>
              <a:gd name="T77" fmla="*/ 263 h 512"/>
              <a:gd name="T78" fmla="*/ 308 w 512"/>
              <a:gd name="T79" fmla="*/ 203 h 512"/>
              <a:gd name="T80" fmla="*/ 248 w 512"/>
              <a:gd name="T81" fmla="*/ 143 h 512"/>
              <a:gd name="T82" fmla="*/ 195 w 512"/>
              <a:gd name="T83" fmla="*/ 121 h 512"/>
              <a:gd name="T84" fmla="*/ 143 w 512"/>
              <a:gd name="T85" fmla="*/ 143 h 512"/>
              <a:gd name="T86" fmla="*/ 121 w 512"/>
              <a:gd name="T87" fmla="*/ 195 h 512"/>
              <a:gd name="T88" fmla="*/ 143 w 512"/>
              <a:gd name="T89" fmla="*/ 248 h 512"/>
              <a:gd name="T90" fmla="*/ 203 w 512"/>
              <a:gd name="T91" fmla="*/ 308 h 512"/>
              <a:gd name="T92" fmla="*/ 263 w 512"/>
              <a:gd name="T93" fmla="*/ 369 h 512"/>
              <a:gd name="T94" fmla="*/ 316 w 512"/>
              <a:gd name="T95" fmla="*/ 391 h 512"/>
              <a:gd name="T96" fmla="*/ 369 w 512"/>
              <a:gd name="T97" fmla="*/ 369 h 512"/>
              <a:gd name="T98" fmla="*/ 391 w 512"/>
              <a:gd name="T99"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76" y="352"/>
                </a:moveTo>
                <a:cubicBezTo>
                  <a:pt x="355" y="352"/>
                  <a:pt x="355" y="352"/>
                  <a:pt x="355" y="352"/>
                </a:cubicBezTo>
                <a:cubicBezTo>
                  <a:pt x="355" y="352"/>
                  <a:pt x="354" y="353"/>
                  <a:pt x="354" y="354"/>
                </a:cubicBezTo>
                <a:cubicBezTo>
                  <a:pt x="344" y="364"/>
                  <a:pt x="330" y="369"/>
                  <a:pt x="316" y="369"/>
                </a:cubicBezTo>
                <a:cubicBezTo>
                  <a:pt x="302" y="369"/>
                  <a:pt x="288" y="364"/>
                  <a:pt x="278" y="354"/>
                </a:cubicBezTo>
                <a:lnTo>
                  <a:pt x="276" y="352"/>
                </a:lnTo>
                <a:close/>
                <a:moveTo>
                  <a:pt x="233" y="158"/>
                </a:moveTo>
                <a:cubicBezTo>
                  <a:pt x="223" y="148"/>
                  <a:pt x="210" y="142"/>
                  <a:pt x="195" y="142"/>
                </a:cubicBezTo>
                <a:cubicBezTo>
                  <a:pt x="181" y="142"/>
                  <a:pt x="168" y="148"/>
                  <a:pt x="158" y="158"/>
                </a:cubicBezTo>
                <a:cubicBezTo>
                  <a:pt x="148" y="168"/>
                  <a:pt x="142" y="181"/>
                  <a:pt x="142" y="195"/>
                </a:cubicBezTo>
                <a:cubicBezTo>
                  <a:pt x="142" y="210"/>
                  <a:pt x="148" y="223"/>
                  <a:pt x="158" y="233"/>
                </a:cubicBezTo>
                <a:cubicBezTo>
                  <a:pt x="210" y="286"/>
                  <a:pt x="210" y="286"/>
                  <a:pt x="210" y="286"/>
                </a:cubicBezTo>
                <a:cubicBezTo>
                  <a:pt x="286" y="210"/>
                  <a:pt x="286" y="210"/>
                  <a:pt x="286" y="210"/>
                </a:cubicBezTo>
                <a:lnTo>
                  <a:pt x="233" y="158"/>
                </a:lnTo>
                <a:close/>
                <a:moveTo>
                  <a:pt x="320" y="245"/>
                </a:moveTo>
                <a:cubicBezTo>
                  <a:pt x="301" y="226"/>
                  <a:pt x="301" y="226"/>
                  <a:pt x="301" y="226"/>
                </a:cubicBezTo>
                <a:cubicBezTo>
                  <a:pt x="281" y="245"/>
                  <a:pt x="281" y="245"/>
                  <a:pt x="281" y="245"/>
                </a:cubicBezTo>
                <a:lnTo>
                  <a:pt x="320" y="245"/>
                </a:lnTo>
                <a:close/>
                <a:moveTo>
                  <a:pt x="234" y="309"/>
                </a:moveTo>
                <a:cubicBezTo>
                  <a:pt x="256" y="331"/>
                  <a:pt x="256" y="331"/>
                  <a:pt x="256" y="331"/>
                </a:cubicBezTo>
                <a:cubicBezTo>
                  <a:pt x="256" y="330"/>
                  <a:pt x="256" y="330"/>
                  <a:pt x="256" y="330"/>
                </a:cubicBezTo>
                <a:cubicBezTo>
                  <a:pt x="367" y="330"/>
                  <a:pt x="367" y="330"/>
                  <a:pt x="367" y="330"/>
                </a:cubicBezTo>
                <a:cubicBezTo>
                  <a:pt x="368" y="326"/>
                  <a:pt x="369" y="321"/>
                  <a:pt x="369" y="316"/>
                </a:cubicBezTo>
                <a:cubicBezTo>
                  <a:pt x="369" y="314"/>
                  <a:pt x="369" y="311"/>
                  <a:pt x="369" y="309"/>
                </a:cubicBezTo>
                <a:lnTo>
                  <a:pt x="234" y="309"/>
                </a:lnTo>
                <a:close/>
                <a:moveTo>
                  <a:pt x="239" y="288"/>
                </a:moveTo>
                <a:cubicBezTo>
                  <a:pt x="361" y="288"/>
                  <a:pt x="361" y="288"/>
                  <a:pt x="361" y="288"/>
                </a:cubicBezTo>
                <a:cubicBezTo>
                  <a:pt x="359" y="284"/>
                  <a:pt x="357" y="281"/>
                  <a:pt x="354" y="278"/>
                </a:cubicBezTo>
                <a:cubicBezTo>
                  <a:pt x="341" y="266"/>
                  <a:pt x="341" y="266"/>
                  <a:pt x="341" y="266"/>
                </a:cubicBezTo>
                <a:cubicBezTo>
                  <a:pt x="341" y="266"/>
                  <a:pt x="341" y="266"/>
                  <a:pt x="341" y="266"/>
                </a:cubicBezTo>
                <a:cubicBezTo>
                  <a:pt x="260" y="266"/>
                  <a:pt x="260" y="266"/>
                  <a:pt x="260" y="266"/>
                </a:cubicBezTo>
                <a:lnTo>
                  <a:pt x="23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316"/>
                </a:moveTo>
                <a:cubicBezTo>
                  <a:pt x="391" y="296"/>
                  <a:pt x="383" y="277"/>
                  <a:pt x="369" y="263"/>
                </a:cubicBezTo>
                <a:cubicBezTo>
                  <a:pt x="308" y="203"/>
                  <a:pt x="308" y="203"/>
                  <a:pt x="308" y="203"/>
                </a:cubicBezTo>
                <a:cubicBezTo>
                  <a:pt x="248" y="143"/>
                  <a:pt x="248" y="143"/>
                  <a:pt x="248" y="143"/>
                </a:cubicBezTo>
                <a:cubicBezTo>
                  <a:pt x="234" y="128"/>
                  <a:pt x="215" y="121"/>
                  <a:pt x="195" y="121"/>
                </a:cubicBezTo>
                <a:cubicBezTo>
                  <a:pt x="175" y="121"/>
                  <a:pt x="157" y="128"/>
                  <a:pt x="143" y="143"/>
                </a:cubicBezTo>
                <a:cubicBezTo>
                  <a:pt x="128" y="157"/>
                  <a:pt x="121" y="175"/>
                  <a:pt x="121" y="195"/>
                </a:cubicBezTo>
                <a:cubicBezTo>
                  <a:pt x="121" y="215"/>
                  <a:pt x="128" y="234"/>
                  <a:pt x="143" y="248"/>
                </a:cubicBezTo>
                <a:cubicBezTo>
                  <a:pt x="203" y="308"/>
                  <a:pt x="203" y="308"/>
                  <a:pt x="203" y="308"/>
                </a:cubicBezTo>
                <a:cubicBezTo>
                  <a:pt x="263" y="369"/>
                  <a:pt x="263" y="369"/>
                  <a:pt x="263" y="369"/>
                </a:cubicBezTo>
                <a:cubicBezTo>
                  <a:pt x="277" y="383"/>
                  <a:pt x="296" y="391"/>
                  <a:pt x="316" y="391"/>
                </a:cubicBezTo>
                <a:cubicBezTo>
                  <a:pt x="336" y="391"/>
                  <a:pt x="355" y="383"/>
                  <a:pt x="369" y="369"/>
                </a:cubicBezTo>
                <a:cubicBezTo>
                  <a:pt x="383" y="355"/>
                  <a:pt x="391" y="336"/>
                  <a:pt x="391" y="31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20" name="Freeform 687">
            <a:extLst>
              <a:ext uri="{FF2B5EF4-FFF2-40B4-BE49-F238E27FC236}">
                <a16:creationId xmlns:a16="http://schemas.microsoft.com/office/drawing/2014/main" id="{E96111D1-CAAB-4F27-8563-68EF19A5C87F}"/>
              </a:ext>
            </a:extLst>
          </p:cNvPr>
          <p:cNvSpPr>
            <a:spLocks noChangeAspect="1" noEditPoints="1"/>
          </p:cNvSpPr>
          <p:nvPr/>
        </p:nvSpPr>
        <p:spPr bwMode="auto">
          <a:xfrm>
            <a:off x="7433784" y="1715126"/>
            <a:ext cx="369064" cy="367982"/>
          </a:xfrm>
          <a:custGeom>
            <a:avLst/>
            <a:gdLst>
              <a:gd name="T0" fmla="*/ 377 w 512"/>
              <a:gd name="T1" fmla="*/ 172 h 512"/>
              <a:gd name="T2" fmla="*/ 377 w 512"/>
              <a:gd name="T3" fmla="*/ 262 h 512"/>
              <a:gd name="T4" fmla="*/ 255 w 512"/>
              <a:gd name="T5" fmla="*/ 390 h 512"/>
              <a:gd name="T6" fmla="*/ 133 w 512"/>
              <a:gd name="T7" fmla="*/ 262 h 512"/>
              <a:gd name="T8" fmla="*/ 133 w 512"/>
              <a:gd name="T9" fmla="*/ 172 h 512"/>
              <a:gd name="T10" fmla="*/ 176 w 512"/>
              <a:gd name="T11" fmla="*/ 154 h 512"/>
              <a:gd name="T12" fmla="*/ 212 w 512"/>
              <a:gd name="T13" fmla="*/ 167 h 512"/>
              <a:gd name="T14" fmla="*/ 184 w 512"/>
              <a:gd name="T15" fmla="*/ 195 h 512"/>
              <a:gd name="T16" fmla="*/ 181 w 512"/>
              <a:gd name="T17" fmla="*/ 202 h 512"/>
              <a:gd name="T18" fmla="*/ 184 w 512"/>
              <a:gd name="T19" fmla="*/ 210 h 512"/>
              <a:gd name="T20" fmla="*/ 225 w 512"/>
              <a:gd name="T21" fmla="*/ 250 h 512"/>
              <a:gd name="T22" fmla="*/ 211 w 512"/>
              <a:gd name="T23" fmla="*/ 264 h 512"/>
              <a:gd name="T24" fmla="*/ 211 w 512"/>
              <a:gd name="T25" fmla="*/ 279 h 512"/>
              <a:gd name="T26" fmla="*/ 259 w 512"/>
              <a:gd name="T27" fmla="*/ 327 h 512"/>
              <a:gd name="T28" fmla="*/ 272 w 512"/>
              <a:gd name="T29" fmla="*/ 329 h 512"/>
              <a:gd name="T30" fmla="*/ 277 w 512"/>
              <a:gd name="T31" fmla="*/ 317 h 512"/>
              <a:gd name="T32" fmla="*/ 267 w 512"/>
              <a:gd name="T33" fmla="*/ 280 h 512"/>
              <a:gd name="T34" fmla="*/ 295 w 512"/>
              <a:gd name="T35" fmla="*/ 253 h 512"/>
              <a:gd name="T36" fmla="*/ 295 w 512"/>
              <a:gd name="T37" fmla="*/ 237 h 512"/>
              <a:gd name="T38" fmla="*/ 271 w 512"/>
              <a:gd name="T39" fmla="*/ 213 h 512"/>
              <a:gd name="T40" fmla="*/ 306 w 512"/>
              <a:gd name="T41" fmla="*/ 178 h 512"/>
              <a:gd name="T42" fmla="*/ 306 w 512"/>
              <a:gd name="T43" fmla="*/ 163 h 512"/>
              <a:gd name="T44" fmla="*/ 305 w 512"/>
              <a:gd name="T45" fmla="*/ 162 h 512"/>
              <a:gd name="T46" fmla="*/ 377 w 512"/>
              <a:gd name="T47" fmla="*/ 172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7 h 512"/>
              <a:gd name="T60" fmla="*/ 281 w 512"/>
              <a:gd name="T61" fmla="*/ 152 h 512"/>
              <a:gd name="T62" fmla="*/ 278 w 512"/>
              <a:gd name="T63" fmla="*/ 160 h 512"/>
              <a:gd name="T64" fmla="*/ 281 w 512"/>
              <a:gd name="T65" fmla="*/ 168 h 512"/>
              <a:gd name="T66" fmla="*/ 283 w 512"/>
              <a:gd name="T67" fmla="*/ 170 h 512"/>
              <a:gd name="T68" fmla="*/ 248 w 512"/>
              <a:gd name="T69" fmla="*/ 205 h 512"/>
              <a:gd name="T70" fmla="*/ 248 w 512"/>
              <a:gd name="T71" fmla="*/ 221 h 512"/>
              <a:gd name="T72" fmla="*/ 273 w 512"/>
              <a:gd name="T73" fmla="*/ 245 h 512"/>
              <a:gd name="T74" fmla="*/ 248 w 512"/>
              <a:gd name="T75" fmla="*/ 269 h 512"/>
              <a:gd name="T76" fmla="*/ 245 w 512"/>
              <a:gd name="T77" fmla="*/ 280 h 512"/>
              <a:gd name="T78" fmla="*/ 247 w 512"/>
              <a:gd name="T79" fmla="*/ 285 h 512"/>
              <a:gd name="T80" fmla="*/ 233 w 512"/>
              <a:gd name="T81" fmla="*/ 272 h 512"/>
              <a:gd name="T82" fmla="*/ 247 w 512"/>
              <a:gd name="T83" fmla="*/ 258 h 512"/>
              <a:gd name="T84" fmla="*/ 247 w 512"/>
              <a:gd name="T85" fmla="*/ 243 h 512"/>
              <a:gd name="T86" fmla="*/ 207 w 512"/>
              <a:gd name="T87" fmla="*/ 202 h 512"/>
              <a:gd name="T88" fmla="*/ 235 w 512"/>
              <a:gd name="T89" fmla="*/ 174 h 512"/>
              <a:gd name="T90" fmla="*/ 235 w 512"/>
              <a:gd name="T91" fmla="*/ 159 h 512"/>
              <a:gd name="T92" fmla="*/ 234 w 512"/>
              <a:gd name="T93" fmla="*/ 157 h 512"/>
              <a:gd name="T94" fmla="*/ 176 w 512"/>
              <a:gd name="T95" fmla="*/ 132 h 512"/>
              <a:gd name="T96" fmla="*/ 118 w 512"/>
              <a:gd name="T97" fmla="*/ 157 h 512"/>
              <a:gd name="T98" fmla="*/ 118 w 512"/>
              <a:gd name="T99" fmla="*/ 277 h 512"/>
              <a:gd name="T100" fmla="*/ 246 w 512"/>
              <a:gd name="T101" fmla="*/ 412 h 512"/>
              <a:gd name="T102" fmla="*/ 254 w 512"/>
              <a:gd name="T103" fmla="*/ 416 h 512"/>
              <a:gd name="T104" fmla="*/ 256 w 512"/>
              <a:gd name="T105" fmla="*/ 416 h 512"/>
              <a:gd name="T106" fmla="*/ 263 w 512"/>
              <a:gd name="T107" fmla="*/ 412 h 512"/>
              <a:gd name="T108" fmla="*/ 392 w 512"/>
              <a:gd name="T109" fmla="*/ 277 h 512"/>
              <a:gd name="T110" fmla="*/ 392 w 512"/>
              <a:gd name="T11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7" y="172"/>
                </a:moveTo>
                <a:cubicBezTo>
                  <a:pt x="400" y="197"/>
                  <a:pt x="400" y="237"/>
                  <a:pt x="377" y="262"/>
                </a:cubicBezTo>
                <a:cubicBezTo>
                  <a:pt x="255" y="390"/>
                  <a:pt x="255" y="390"/>
                  <a:pt x="255" y="390"/>
                </a:cubicBezTo>
                <a:cubicBezTo>
                  <a:pt x="133" y="262"/>
                  <a:pt x="133" y="262"/>
                  <a:pt x="133" y="262"/>
                </a:cubicBezTo>
                <a:cubicBezTo>
                  <a:pt x="109" y="237"/>
                  <a:pt x="109" y="197"/>
                  <a:pt x="133" y="172"/>
                </a:cubicBezTo>
                <a:cubicBezTo>
                  <a:pt x="145" y="160"/>
                  <a:pt x="160" y="154"/>
                  <a:pt x="176" y="154"/>
                </a:cubicBezTo>
                <a:cubicBezTo>
                  <a:pt x="189" y="154"/>
                  <a:pt x="202" y="158"/>
                  <a:pt x="212" y="167"/>
                </a:cubicBezTo>
                <a:cubicBezTo>
                  <a:pt x="184" y="195"/>
                  <a:pt x="184" y="195"/>
                  <a:pt x="184" y="195"/>
                </a:cubicBezTo>
                <a:cubicBezTo>
                  <a:pt x="182" y="197"/>
                  <a:pt x="181" y="199"/>
                  <a:pt x="181" y="202"/>
                </a:cubicBezTo>
                <a:cubicBezTo>
                  <a:pt x="181" y="205"/>
                  <a:pt x="182" y="208"/>
                  <a:pt x="184" y="210"/>
                </a:cubicBezTo>
                <a:cubicBezTo>
                  <a:pt x="225" y="250"/>
                  <a:pt x="225" y="250"/>
                  <a:pt x="225" y="250"/>
                </a:cubicBezTo>
                <a:cubicBezTo>
                  <a:pt x="211" y="264"/>
                  <a:pt x="211" y="264"/>
                  <a:pt x="211" y="264"/>
                </a:cubicBezTo>
                <a:cubicBezTo>
                  <a:pt x="207" y="268"/>
                  <a:pt x="207" y="275"/>
                  <a:pt x="211" y="279"/>
                </a:cubicBezTo>
                <a:cubicBezTo>
                  <a:pt x="259" y="327"/>
                  <a:pt x="259" y="327"/>
                  <a:pt x="259" y="327"/>
                </a:cubicBezTo>
                <a:cubicBezTo>
                  <a:pt x="262" y="331"/>
                  <a:pt x="267" y="331"/>
                  <a:pt x="272" y="329"/>
                </a:cubicBezTo>
                <a:cubicBezTo>
                  <a:pt x="276" y="327"/>
                  <a:pt x="278" y="322"/>
                  <a:pt x="277" y="317"/>
                </a:cubicBezTo>
                <a:cubicBezTo>
                  <a:pt x="267" y="280"/>
                  <a:pt x="267" y="280"/>
                  <a:pt x="267" y="280"/>
                </a:cubicBezTo>
                <a:cubicBezTo>
                  <a:pt x="295" y="253"/>
                  <a:pt x="295" y="253"/>
                  <a:pt x="295" y="253"/>
                </a:cubicBezTo>
                <a:cubicBezTo>
                  <a:pt x="299" y="248"/>
                  <a:pt x="299" y="242"/>
                  <a:pt x="295" y="237"/>
                </a:cubicBezTo>
                <a:cubicBezTo>
                  <a:pt x="271" y="213"/>
                  <a:pt x="271" y="213"/>
                  <a:pt x="271" y="213"/>
                </a:cubicBezTo>
                <a:cubicBezTo>
                  <a:pt x="306" y="178"/>
                  <a:pt x="306" y="178"/>
                  <a:pt x="306" y="178"/>
                </a:cubicBezTo>
                <a:cubicBezTo>
                  <a:pt x="310" y="174"/>
                  <a:pt x="310" y="167"/>
                  <a:pt x="306" y="163"/>
                </a:cubicBezTo>
                <a:cubicBezTo>
                  <a:pt x="305" y="162"/>
                  <a:pt x="305" y="162"/>
                  <a:pt x="305" y="162"/>
                </a:cubicBezTo>
                <a:cubicBezTo>
                  <a:pt x="328" y="148"/>
                  <a:pt x="357" y="152"/>
                  <a:pt x="377" y="17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2" y="157"/>
                </a:moveTo>
                <a:cubicBezTo>
                  <a:pt x="362" y="126"/>
                  <a:pt x="314" y="124"/>
                  <a:pt x="281" y="152"/>
                </a:cubicBezTo>
                <a:cubicBezTo>
                  <a:pt x="279" y="154"/>
                  <a:pt x="278" y="157"/>
                  <a:pt x="278" y="160"/>
                </a:cubicBezTo>
                <a:cubicBezTo>
                  <a:pt x="278" y="163"/>
                  <a:pt x="279" y="166"/>
                  <a:pt x="281" y="168"/>
                </a:cubicBezTo>
                <a:cubicBezTo>
                  <a:pt x="283" y="170"/>
                  <a:pt x="283" y="170"/>
                  <a:pt x="283" y="170"/>
                </a:cubicBezTo>
                <a:cubicBezTo>
                  <a:pt x="248" y="205"/>
                  <a:pt x="248" y="205"/>
                  <a:pt x="248" y="205"/>
                </a:cubicBezTo>
                <a:cubicBezTo>
                  <a:pt x="244" y="210"/>
                  <a:pt x="244" y="216"/>
                  <a:pt x="248" y="221"/>
                </a:cubicBezTo>
                <a:cubicBezTo>
                  <a:pt x="273" y="245"/>
                  <a:pt x="273" y="245"/>
                  <a:pt x="273" y="245"/>
                </a:cubicBezTo>
                <a:cubicBezTo>
                  <a:pt x="248" y="269"/>
                  <a:pt x="248" y="269"/>
                  <a:pt x="248" y="269"/>
                </a:cubicBezTo>
                <a:cubicBezTo>
                  <a:pt x="245" y="272"/>
                  <a:pt x="244" y="276"/>
                  <a:pt x="245" y="280"/>
                </a:cubicBezTo>
                <a:cubicBezTo>
                  <a:pt x="247" y="285"/>
                  <a:pt x="247" y="285"/>
                  <a:pt x="247" y="285"/>
                </a:cubicBezTo>
                <a:cubicBezTo>
                  <a:pt x="233" y="272"/>
                  <a:pt x="233" y="272"/>
                  <a:pt x="233" y="272"/>
                </a:cubicBezTo>
                <a:cubicBezTo>
                  <a:pt x="247" y="258"/>
                  <a:pt x="247" y="258"/>
                  <a:pt x="247" y="258"/>
                </a:cubicBezTo>
                <a:cubicBezTo>
                  <a:pt x="251" y="254"/>
                  <a:pt x="251" y="247"/>
                  <a:pt x="247" y="243"/>
                </a:cubicBezTo>
                <a:cubicBezTo>
                  <a:pt x="207" y="202"/>
                  <a:pt x="207" y="202"/>
                  <a:pt x="207" y="202"/>
                </a:cubicBezTo>
                <a:cubicBezTo>
                  <a:pt x="235" y="174"/>
                  <a:pt x="235" y="174"/>
                  <a:pt x="235" y="174"/>
                </a:cubicBezTo>
                <a:cubicBezTo>
                  <a:pt x="239" y="170"/>
                  <a:pt x="239" y="163"/>
                  <a:pt x="235" y="159"/>
                </a:cubicBezTo>
                <a:cubicBezTo>
                  <a:pt x="234" y="157"/>
                  <a:pt x="234" y="157"/>
                  <a:pt x="234" y="157"/>
                </a:cubicBezTo>
                <a:cubicBezTo>
                  <a:pt x="218" y="141"/>
                  <a:pt x="198" y="132"/>
                  <a:pt x="176" y="132"/>
                </a:cubicBezTo>
                <a:cubicBezTo>
                  <a:pt x="154" y="132"/>
                  <a:pt x="133" y="141"/>
                  <a:pt x="118" y="157"/>
                </a:cubicBezTo>
                <a:cubicBezTo>
                  <a:pt x="86" y="190"/>
                  <a:pt x="86" y="244"/>
                  <a:pt x="118" y="277"/>
                </a:cubicBezTo>
                <a:cubicBezTo>
                  <a:pt x="246" y="412"/>
                  <a:pt x="246" y="412"/>
                  <a:pt x="246" y="412"/>
                </a:cubicBezTo>
                <a:cubicBezTo>
                  <a:pt x="248" y="414"/>
                  <a:pt x="251" y="416"/>
                  <a:pt x="254" y="416"/>
                </a:cubicBezTo>
                <a:cubicBezTo>
                  <a:pt x="256" y="416"/>
                  <a:pt x="256" y="416"/>
                  <a:pt x="256" y="416"/>
                </a:cubicBezTo>
                <a:cubicBezTo>
                  <a:pt x="259" y="416"/>
                  <a:pt x="261" y="414"/>
                  <a:pt x="263" y="412"/>
                </a:cubicBezTo>
                <a:cubicBezTo>
                  <a:pt x="392" y="277"/>
                  <a:pt x="392" y="277"/>
                  <a:pt x="392" y="277"/>
                </a:cubicBezTo>
                <a:cubicBezTo>
                  <a:pt x="424" y="244"/>
                  <a:pt x="424" y="190"/>
                  <a:pt x="392" y="1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21" name="Group 690">
            <a:extLst>
              <a:ext uri="{FF2B5EF4-FFF2-40B4-BE49-F238E27FC236}">
                <a16:creationId xmlns:a16="http://schemas.microsoft.com/office/drawing/2014/main" id="{675D2BD8-1B26-466B-9AAD-731D08FB0E66}"/>
              </a:ext>
            </a:extLst>
          </p:cNvPr>
          <p:cNvGrpSpPr>
            <a:grpSpLocks noChangeAspect="1"/>
          </p:cNvGrpSpPr>
          <p:nvPr/>
        </p:nvGrpSpPr>
        <p:grpSpPr bwMode="auto">
          <a:xfrm>
            <a:off x="7869451" y="1715126"/>
            <a:ext cx="367982" cy="367982"/>
            <a:chOff x="3494" y="2985"/>
            <a:chExt cx="340" cy="340"/>
          </a:xfrm>
          <a:solidFill>
            <a:schemeClr val="accent2"/>
          </a:solidFill>
        </p:grpSpPr>
        <p:sp>
          <p:nvSpPr>
            <p:cNvPr id="322" name="Freeform 691">
              <a:extLst>
                <a:ext uri="{FF2B5EF4-FFF2-40B4-BE49-F238E27FC236}">
                  <a16:creationId xmlns:a16="http://schemas.microsoft.com/office/drawing/2014/main" id="{BF56E0B4-5AC4-4D28-A35B-460D8DB80632}"/>
                </a:ext>
              </a:extLst>
            </p:cNvPr>
            <p:cNvSpPr>
              <a:spLocks noEditPoints="1"/>
            </p:cNvSpPr>
            <p:nvPr/>
          </p:nvSpPr>
          <p:spPr bwMode="auto">
            <a:xfrm>
              <a:off x="3494" y="2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3" name="Freeform 692">
              <a:extLst>
                <a:ext uri="{FF2B5EF4-FFF2-40B4-BE49-F238E27FC236}">
                  <a16:creationId xmlns:a16="http://schemas.microsoft.com/office/drawing/2014/main" id="{9F319DB6-0ADA-4F0D-AB19-73402C4A011C}"/>
                </a:ext>
              </a:extLst>
            </p:cNvPr>
            <p:cNvSpPr>
              <a:spLocks noEditPoints="1"/>
            </p:cNvSpPr>
            <p:nvPr/>
          </p:nvSpPr>
          <p:spPr bwMode="auto">
            <a:xfrm>
              <a:off x="3551" y="3067"/>
              <a:ext cx="225" cy="194"/>
            </a:xfrm>
            <a:custGeom>
              <a:avLst/>
              <a:gdLst>
                <a:gd name="T0" fmla="*/ 170 w 338"/>
                <a:gd name="T1" fmla="*/ 292 h 292"/>
                <a:gd name="T2" fmla="*/ 168 w 338"/>
                <a:gd name="T3" fmla="*/ 292 h 292"/>
                <a:gd name="T4" fmla="*/ 160 w 338"/>
                <a:gd name="T5" fmla="*/ 288 h 292"/>
                <a:gd name="T6" fmla="*/ 32 w 338"/>
                <a:gd name="T7" fmla="*/ 153 h 292"/>
                <a:gd name="T8" fmla="*/ 32 w 338"/>
                <a:gd name="T9" fmla="*/ 33 h 292"/>
                <a:gd name="T10" fmla="*/ 90 w 338"/>
                <a:gd name="T11" fmla="*/ 8 h 292"/>
                <a:gd name="T12" fmla="*/ 148 w 338"/>
                <a:gd name="T13" fmla="*/ 33 h 292"/>
                <a:gd name="T14" fmla="*/ 149 w 338"/>
                <a:gd name="T15" fmla="*/ 35 h 292"/>
                <a:gd name="T16" fmla="*/ 149 w 338"/>
                <a:gd name="T17" fmla="*/ 50 h 292"/>
                <a:gd name="T18" fmla="*/ 121 w 338"/>
                <a:gd name="T19" fmla="*/ 78 h 292"/>
                <a:gd name="T20" fmla="*/ 161 w 338"/>
                <a:gd name="T21" fmla="*/ 119 h 292"/>
                <a:gd name="T22" fmla="*/ 161 w 338"/>
                <a:gd name="T23" fmla="*/ 134 h 292"/>
                <a:gd name="T24" fmla="*/ 147 w 338"/>
                <a:gd name="T25" fmla="*/ 148 h 292"/>
                <a:gd name="T26" fmla="*/ 161 w 338"/>
                <a:gd name="T27" fmla="*/ 161 h 292"/>
                <a:gd name="T28" fmla="*/ 159 w 338"/>
                <a:gd name="T29" fmla="*/ 156 h 292"/>
                <a:gd name="T30" fmla="*/ 162 w 338"/>
                <a:gd name="T31" fmla="*/ 145 h 292"/>
                <a:gd name="T32" fmla="*/ 187 w 338"/>
                <a:gd name="T33" fmla="*/ 121 h 292"/>
                <a:gd name="T34" fmla="*/ 162 w 338"/>
                <a:gd name="T35" fmla="*/ 97 h 292"/>
                <a:gd name="T36" fmla="*/ 162 w 338"/>
                <a:gd name="T37" fmla="*/ 81 h 292"/>
                <a:gd name="T38" fmla="*/ 197 w 338"/>
                <a:gd name="T39" fmla="*/ 46 h 292"/>
                <a:gd name="T40" fmla="*/ 195 w 338"/>
                <a:gd name="T41" fmla="*/ 44 h 292"/>
                <a:gd name="T42" fmla="*/ 192 w 338"/>
                <a:gd name="T43" fmla="*/ 36 h 292"/>
                <a:gd name="T44" fmla="*/ 195 w 338"/>
                <a:gd name="T45" fmla="*/ 28 h 292"/>
                <a:gd name="T46" fmla="*/ 306 w 338"/>
                <a:gd name="T47" fmla="*/ 33 h 292"/>
                <a:gd name="T48" fmla="*/ 306 w 338"/>
                <a:gd name="T49" fmla="*/ 33 h 292"/>
                <a:gd name="T50" fmla="*/ 306 w 338"/>
                <a:gd name="T51" fmla="*/ 153 h 292"/>
                <a:gd name="T52" fmla="*/ 177 w 338"/>
                <a:gd name="T53" fmla="*/ 288 h 292"/>
                <a:gd name="T54" fmla="*/ 170 w 338"/>
                <a:gd name="T55" fmla="*/ 292 h 292"/>
                <a:gd name="T56" fmla="*/ 90 w 338"/>
                <a:gd name="T57" fmla="*/ 30 h 292"/>
                <a:gd name="T58" fmla="*/ 47 w 338"/>
                <a:gd name="T59" fmla="*/ 48 h 292"/>
                <a:gd name="T60" fmla="*/ 47 w 338"/>
                <a:gd name="T61" fmla="*/ 138 h 292"/>
                <a:gd name="T62" fmla="*/ 169 w 338"/>
                <a:gd name="T63" fmla="*/ 266 h 292"/>
                <a:gd name="T64" fmla="*/ 291 w 338"/>
                <a:gd name="T65" fmla="*/ 138 h 292"/>
                <a:gd name="T66" fmla="*/ 291 w 338"/>
                <a:gd name="T67" fmla="*/ 48 h 292"/>
                <a:gd name="T68" fmla="*/ 291 w 338"/>
                <a:gd name="T69" fmla="*/ 48 h 292"/>
                <a:gd name="T70" fmla="*/ 219 w 338"/>
                <a:gd name="T71" fmla="*/ 38 h 292"/>
                <a:gd name="T72" fmla="*/ 220 w 338"/>
                <a:gd name="T73" fmla="*/ 39 h 292"/>
                <a:gd name="T74" fmla="*/ 220 w 338"/>
                <a:gd name="T75" fmla="*/ 54 h 292"/>
                <a:gd name="T76" fmla="*/ 185 w 338"/>
                <a:gd name="T77" fmla="*/ 89 h 292"/>
                <a:gd name="T78" fmla="*/ 209 w 338"/>
                <a:gd name="T79" fmla="*/ 113 h 292"/>
                <a:gd name="T80" fmla="*/ 209 w 338"/>
                <a:gd name="T81" fmla="*/ 129 h 292"/>
                <a:gd name="T82" fmla="*/ 181 w 338"/>
                <a:gd name="T83" fmla="*/ 156 h 292"/>
                <a:gd name="T84" fmla="*/ 191 w 338"/>
                <a:gd name="T85" fmla="*/ 193 h 292"/>
                <a:gd name="T86" fmla="*/ 186 w 338"/>
                <a:gd name="T87" fmla="*/ 205 h 292"/>
                <a:gd name="T88" fmla="*/ 173 w 338"/>
                <a:gd name="T89" fmla="*/ 203 h 292"/>
                <a:gd name="T90" fmla="*/ 125 w 338"/>
                <a:gd name="T91" fmla="*/ 155 h 292"/>
                <a:gd name="T92" fmla="*/ 125 w 338"/>
                <a:gd name="T93" fmla="*/ 140 h 292"/>
                <a:gd name="T94" fmla="*/ 139 w 338"/>
                <a:gd name="T95" fmla="*/ 126 h 292"/>
                <a:gd name="T96" fmla="*/ 98 w 338"/>
                <a:gd name="T97" fmla="*/ 86 h 292"/>
                <a:gd name="T98" fmla="*/ 95 w 338"/>
                <a:gd name="T99" fmla="*/ 78 h 292"/>
                <a:gd name="T100" fmla="*/ 98 w 338"/>
                <a:gd name="T101" fmla="*/ 71 h 292"/>
                <a:gd name="T102" fmla="*/ 126 w 338"/>
                <a:gd name="T103" fmla="*/ 43 h 292"/>
                <a:gd name="T104" fmla="*/ 90 w 338"/>
                <a:gd name="T105" fmla="*/ 3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8" h="292">
                  <a:moveTo>
                    <a:pt x="170" y="292"/>
                  </a:moveTo>
                  <a:cubicBezTo>
                    <a:pt x="168" y="292"/>
                    <a:pt x="168" y="292"/>
                    <a:pt x="168" y="292"/>
                  </a:cubicBezTo>
                  <a:cubicBezTo>
                    <a:pt x="165" y="292"/>
                    <a:pt x="162" y="290"/>
                    <a:pt x="160" y="288"/>
                  </a:cubicBezTo>
                  <a:cubicBezTo>
                    <a:pt x="32" y="153"/>
                    <a:pt x="32" y="153"/>
                    <a:pt x="32" y="153"/>
                  </a:cubicBezTo>
                  <a:cubicBezTo>
                    <a:pt x="0" y="120"/>
                    <a:pt x="0" y="66"/>
                    <a:pt x="32" y="33"/>
                  </a:cubicBezTo>
                  <a:cubicBezTo>
                    <a:pt x="47" y="17"/>
                    <a:pt x="68" y="8"/>
                    <a:pt x="90" y="8"/>
                  </a:cubicBezTo>
                  <a:cubicBezTo>
                    <a:pt x="112" y="8"/>
                    <a:pt x="132" y="17"/>
                    <a:pt x="148" y="33"/>
                  </a:cubicBezTo>
                  <a:cubicBezTo>
                    <a:pt x="149" y="35"/>
                    <a:pt x="149" y="35"/>
                    <a:pt x="149" y="35"/>
                  </a:cubicBezTo>
                  <a:cubicBezTo>
                    <a:pt x="153" y="39"/>
                    <a:pt x="153" y="46"/>
                    <a:pt x="149" y="50"/>
                  </a:cubicBezTo>
                  <a:cubicBezTo>
                    <a:pt x="121" y="78"/>
                    <a:pt x="121" y="78"/>
                    <a:pt x="121" y="78"/>
                  </a:cubicBezTo>
                  <a:cubicBezTo>
                    <a:pt x="161" y="119"/>
                    <a:pt x="161" y="119"/>
                    <a:pt x="161" y="119"/>
                  </a:cubicBezTo>
                  <a:cubicBezTo>
                    <a:pt x="165" y="123"/>
                    <a:pt x="165" y="130"/>
                    <a:pt x="161" y="134"/>
                  </a:cubicBezTo>
                  <a:cubicBezTo>
                    <a:pt x="147" y="148"/>
                    <a:pt x="147" y="148"/>
                    <a:pt x="147" y="148"/>
                  </a:cubicBezTo>
                  <a:cubicBezTo>
                    <a:pt x="161" y="161"/>
                    <a:pt x="161" y="161"/>
                    <a:pt x="161" y="161"/>
                  </a:cubicBezTo>
                  <a:cubicBezTo>
                    <a:pt x="159" y="156"/>
                    <a:pt x="159" y="156"/>
                    <a:pt x="159" y="156"/>
                  </a:cubicBezTo>
                  <a:cubicBezTo>
                    <a:pt x="158" y="152"/>
                    <a:pt x="159" y="148"/>
                    <a:pt x="162" y="145"/>
                  </a:cubicBezTo>
                  <a:cubicBezTo>
                    <a:pt x="187" y="121"/>
                    <a:pt x="187" y="121"/>
                    <a:pt x="187" y="121"/>
                  </a:cubicBezTo>
                  <a:cubicBezTo>
                    <a:pt x="162" y="97"/>
                    <a:pt x="162" y="97"/>
                    <a:pt x="162" y="97"/>
                  </a:cubicBezTo>
                  <a:cubicBezTo>
                    <a:pt x="158" y="92"/>
                    <a:pt x="158" y="86"/>
                    <a:pt x="162" y="81"/>
                  </a:cubicBezTo>
                  <a:cubicBezTo>
                    <a:pt x="197" y="46"/>
                    <a:pt x="197" y="46"/>
                    <a:pt x="197" y="46"/>
                  </a:cubicBezTo>
                  <a:cubicBezTo>
                    <a:pt x="195" y="44"/>
                    <a:pt x="195" y="44"/>
                    <a:pt x="195" y="44"/>
                  </a:cubicBezTo>
                  <a:cubicBezTo>
                    <a:pt x="193" y="42"/>
                    <a:pt x="192" y="39"/>
                    <a:pt x="192" y="36"/>
                  </a:cubicBezTo>
                  <a:cubicBezTo>
                    <a:pt x="192" y="33"/>
                    <a:pt x="193" y="30"/>
                    <a:pt x="195" y="28"/>
                  </a:cubicBezTo>
                  <a:cubicBezTo>
                    <a:pt x="228" y="0"/>
                    <a:pt x="276" y="2"/>
                    <a:pt x="306" y="33"/>
                  </a:cubicBezTo>
                  <a:cubicBezTo>
                    <a:pt x="306" y="33"/>
                    <a:pt x="306" y="33"/>
                    <a:pt x="306" y="33"/>
                  </a:cubicBezTo>
                  <a:cubicBezTo>
                    <a:pt x="338" y="66"/>
                    <a:pt x="338" y="120"/>
                    <a:pt x="306" y="153"/>
                  </a:cubicBezTo>
                  <a:cubicBezTo>
                    <a:pt x="177" y="288"/>
                    <a:pt x="177" y="288"/>
                    <a:pt x="177" y="288"/>
                  </a:cubicBezTo>
                  <a:cubicBezTo>
                    <a:pt x="175" y="290"/>
                    <a:pt x="173" y="292"/>
                    <a:pt x="170" y="292"/>
                  </a:cubicBezTo>
                  <a:close/>
                  <a:moveTo>
                    <a:pt x="90" y="30"/>
                  </a:moveTo>
                  <a:cubicBezTo>
                    <a:pt x="74" y="30"/>
                    <a:pt x="59" y="36"/>
                    <a:pt x="47" y="48"/>
                  </a:cubicBezTo>
                  <a:cubicBezTo>
                    <a:pt x="23" y="73"/>
                    <a:pt x="23" y="113"/>
                    <a:pt x="47" y="138"/>
                  </a:cubicBezTo>
                  <a:cubicBezTo>
                    <a:pt x="169" y="266"/>
                    <a:pt x="169" y="266"/>
                    <a:pt x="169" y="266"/>
                  </a:cubicBezTo>
                  <a:cubicBezTo>
                    <a:pt x="291" y="138"/>
                    <a:pt x="291" y="138"/>
                    <a:pt x="291" y="138"/>
                  </a:cubicBezTo>
                  <a:cubicBezTo>
                    <a:pt x="314" y="113"/>
                    <a:pt x="314" y="73"/>
                    <a:pt x="291" y="48"/>
                  </a:cubicBezTo>
                  <a:cubicBezTo>
                    <a:pt x="291" y="48"/>
                    <a:pt x="291" y="48"/>
                    <a:pt x="291" y="48"/>
                  </a:cubicBezTo>
                  <a:cubicBezTo>
                    <a:pt x="271" y="28"/>
                    <a:pt x="242" y="24"/>
                    <a:pt x="219" y="38"/>
                  </a:cubicBezTo>
                  <a:cubicBezTo>
                    <a:pt x="220" y="39"/>
                    <a:pt x="220" y="39"/>
                    <a:pt x="220" y="39"/>
                  </a:cubicBezTo>
                  <a:cubicBezTo>
                    <a:pt x="224" y="43"/>
                    <a:pt x="224" y="50"/>
                    <a:pt x="220" y="54"/>
                  </a:cubicBezTo>
                  <a:cubicBezTo>
                    <a:pt x="185" y="89"/>
                    <a:pt x="185" y="89"/>
                    <a:pt x="185" y="89"/>
                  </a:cubicBezTo>
                  <a:cubicBezTo>
                    <a:pt x="209" y="113"/>
                    <a:pt x="209" y="113"/>
                    <a:pt x="209" y="113"/>
                  </a:cubicBezTo>
                  <a:cubicBezTo>
                    <a:pt x="213" y="118"/>
                    <a:pt x="213" y="124"/>
                    <a:pt x="209" y="129"/>
                  </a:cubicBezTo>
                  <a:cubicBezTo>
                    <a:pt x="181" y="156"/>
                    <a:pt x="181" y="156"/>
                    <a:pt x="181" y="156"/>
                  </a:cubicBezTo>
                  <a:cubicBezTo>
                    <a:pt x="191" y="193"/>
                    <a:pt x="191" y="193"/>
                    <a:pt x="191" y="193"/>
                  </a:cubicBezTo>
                  <a:cubicBezTo>
                    <a:pt x="192" y="198"/>
                    <a:pt x="190" y="203"/>
                    <a:pt x="186" y="205"/>
                  </a:cubicBezTo>
                  <a:cubicBezTo>
                    <a:pt x="181" y="207"/>
                    <a:pt x="176" y="207"/>
                    <a:pt x="173" y="203"/>
                  </a:cubicBezTo>
                  <a:cubicBezTo>
                    <a:pt x="125" y="155"/>
                    <a:pt x="125" y="155"/>
                    <a:pt x="125" y="155"/>
                  </a:cubicBezTo>
                  <a:cubicBezTo>
                    <a:pt x="121" y="151"/>
                    <a:pt x="121" y="144"/>
                    <a:pt x="125" y="140"/>
                  </a:cubicBezTo>
                  <a:cubicBezTo>
                    <a:pt x="139" y="126"/>
                    <a:pt x="139" y="126"/>
                    <a:pt x="139" y="126"/>
                  </a:cubicBezTo>
                  <a:cubicBezTo>
                    <a:pt x="98" y="86"/>
                    <a:pt x="98" y="86"/>
                    <a:pt x="98" y="86"/>
                  </a:cubicBezTo>
                  <a:cubicBezTo>
                    <a:pt x="96" y="84"/>
                    <a:pt x="95" y="81"/>
                    <a:pt x="95" y="78"/>
                  </a:cubicBezTo>
                  <a:cubicBezTo>
                    <a:pt x="95" y="75"/>
                    <a:pt x="96" y="73"/>
                    <a:pt x="98" y="71"/>
                  </a:cubicBezTo>
                  <a:cubicBezTo>
                    <a:pt x="126" y="43"/>
                    <a:pt x="126" y="43"/>
                    <a:pt x="126" y="43"/>
                  </a:cubicBezTo>
                  <a:cubicBezTo>
                    <a:pt x="116" y="34"/>
                    <a:pt x="103" y="30"/>
                    <a:pt x="90"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24" name="Group 396">
            <a:extLst>
              <a:ext uri="{FF2B5EF4-FFF2-40B4-BE49-F238E27FC236}">
                <a16:creationId xmlns:a16="http://schemas.microsoft.com/office/drawing/2014/main" id="{0A84BA27-BD11-42E7-BAAB-97ED83C4A54A}"/>
              </a:ext>
            </a:extLst>
          </p:cNvPr>
          <p:cNvGrpSpPr>
            <a:grpSpLocks noChangeAspect="1"/>
          </p:cNvGrpSpPr>
          <p:nvPr/>
        </p:nvGrpSpPr>
        <p:grpSpPr bwMode="auto">
          <a:xfrm>
            <a:off x="9612873" y="1713432"/>
            <a:ext cx="369676" cy="369676"/>
            <a:chOff x="6602" y="1516"/>
            <a:chExt cx="340" cy="340"/>
          </a:xfrm>
          <a:solidFill>
            <a:schemeClr val="accent5"/>
          </a:solidFill>
        </p:grpSpPr>
        <p:sp>
          <p:nvSpPr>
            <p:cNvPr id="325" name="Freeform 397">
              <a:extLst>
                <a:ext uri="{FF2B5EF4-FFF2-40B4-BE49-F238E27FC236}">
                  <a16:creationId xmlns:a16="http://schemas.microsoft.com/office/drawing/2014/main" id="{DC7AEC0A-8949-44A1-B541-7E8A634E8374}"/>
                </a:ext>
              </a:extLst>
            </p:cNvPr>
            <p:cNvSpPr>
              <a:spLocks noEditPoints="1"/>
            </p:cNvSpPr>
            <p:nvPr/>
          </p:nvSpPr>
          <p:spPr bwMode="auto">
            <a:xfrm>
              <a:off x="6602" y="15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6" name="Freeform 398">
              <a:extLst>
                <a:ext uri="{FF2B5EF4-FFF2-40B4-BE49-F238E27FC236}">
                  <a16:creationId xmlns:a16="http://schemas.microsoft.com/office/drawing/2014/main" id="{08D49FF0-611F-430A-A9A8-28EEAD76E734}"/>
                </a:ext>
              </a:extLst>
            </p:cNvPr>
            <p:cNvSpPr>
              <a:spLocks noEditPoints="1"/>
            </p:cNvSpPr>
            <p:nvPr/>
          </p:nvSpPr>
          <p:spPr bwMode="auto">
            <a:xfrm>
              <a:off x="6663" y="1579"/>
              <a:ext cx="216" cy="213"/>
            </a:xfrm>
            <a:custGeom>
              <a:avLst/>
              <a:gdLst>
                <a:gd name="T0" fmla="*/ 205 w 325"/>
                <a:gd name="T1" fmla="*/ 79 h 321"/>
                <a:gd name="T2" fmla="*/ 212 w 325"/>
                <a:gd name="T3" fmla="*/ 82 h 321"/>
                <a:gd name="T4" fmla="*/ 220 w 325"/>
                <a:gd name="T5" fmla="*/ 79 h 321"/>
                <a:gd name="T6" fmla="*/ 220 w 325"/>
                <a:gd name="T7" fmla="*/ 64 h 321"/>
                <a:gd name="T8" fmla="*/ 159 w 325"/>
                <a:gd name="T9" fmla="*/ 4 h 321"/>
                <a:gd name="T10" fmla="*/ 144 w 325"/>
                <a:gd name="T11" fmla="*/ 4 h 321"/>
                <a:gd name="T12" fmla="*/ 144 w 325"/>
                <a:gd name="T13" fmla="*/ 19 h 321"/>
                <a:gd name="T14" fmla="*/ 16 w 325"/>
                <a:gd name="T15" fmla="*/ 147 h 321"/>
                <a:gd name="T16" fmla="*/ 16 w 325"/>
                <a:gd name="T17" fmla="*/ 207 h 321"/>
                <a:gd name="T18" fmla="*/ 46 w 325"/>
                <a:gd name="T19" fmla="*/ 220 h 321"/>
                <a:gd name="T20" fmla="*/ 76 w 325"/>
                <a:gd name="T21" fmla="*/ 207 h 321"/>
                <a:gd name="T22" fmla="*/ 205 w 325"/>
                <a:gd name="T23" fmla="*/ 79 h 321"/>
                <a:gd name="T24" fmla="*/ 61 w 325"/>
                <a:gd name="T25" fmla="*/ 192 h 321"/>
                <a:gd name="T26" fmla="*/ 31 w 325"/>
                <a:gd name="T27" fmla="*/ 192 h 321"/>
                <a:gd name="T28" fmla="*/ 25 w 325"/>
                <a:gd name="T29" fmla="*/ 177 h 321"/>
                <a:gd name="T30" fmla="*/ 31 w 325"/>
                <a:gd name="T31" fmla="*/ 162 h 321"/>
                <a:gd name="T32" fmla="*/ 86 w 325"/>
                <a:gd name="T33" fmla="*/ 107 h 321"/>
                <a:gd name="T34" fmla="*/ 146 w 325"/>
                <a:gd name="T35" fmla="*/ 107 h 321"/>
                <a:gd name="T36" fmla="*/ 61 w 325"/>
                <a:gd name="T37" fmla="*/ 192 h 321"/>
                <a:gd name="T38" fmla="*/ 168 w 325"/>
                <a:gd name="T39" fmla="*/ 86 h 321"/>
                <a:gd name="T40" fmla="*/ 107 w 325"/>
                <a:gd name="T41" fmla="*/ 86 h 321"/>
                <a:gd name="T42" fmla="*/ 159 w 325"/>
                <a:gd name="T43" fmla="*/ 34 h 321"/>
                <a:gd name="T44" fmla="*/ 190 w 325"/>
                <a:gd name="T45" fmla="*/ 64 h 321"/>
                <a:gd name="T46" fmla="*/ 168 w 325"/>
                <a:gd name="T47" fmla="*/ 86 h 321"/>
                <a:gd name="T48" fmla="*/ 321 w 325"/>
                <a:gd name="T49" fmla="*/ 165 h 321"/>
                <a:gd name="T50" fmla="*/ 260 w 325"/>
                <a:gd name="T51" fmla="*/ 105 h 321"/>
                <a:gd name="T52" fmla="*/ 245 w 325"/>
                <a:gd name="T53" fmla="*/ 105 h 321"/>
                <a:gd name="T54" fmla="*/ 245 w 325"/>
                <a:gd name="T55" fmla="*/ 120 h 321"/>
                <a:gd name="T56" fmla="*/ 245 w 325"/>
                <a:gd name="T57" fmla="*/ 120 h 321"/>
                <a:gd name="T58" fmla="*/ 117 w 325"/>
                <a:gd name="T59" fmla="*/ 248 h 321"/>
                <a:gd name="T60" fmla="*/ 104 w 325"/>
                <a:gd name="T61" fmla="*/ 278 h 321"/>
                <a:gd name="T62" fmla="*/ 117 w 325"/>
                <a:gd name="T63" fmla="*/ 308 h 321"/>
                <a:gd name="T64" fmla="*/ 147 w 325"/>
                <a:gd name="T65" fmla="*/ 321 h 321"/>
                <a:gd name="T66" fmla="*/ 177 w 325"/>
                <a:gd name="T67" fmla="*/ 308 h 321"/>
                <a:gd name="T68" fmla="*/ 305 w 325"/>
                <a:gd name="T69" fmla="*/ 180 h 321"/>
                <a:gd name="T70" fmla="*/ 305 w 325"/>
                <a:gd name="T71" fmla="*/ 180 h 321"/>
                <a:gd name="T72" fmla="*/ 313 w 325"/>
                <a:gd name="T73" fmla="*/ 183 h 321"/>
                <a:gd name="T74" fmla="*/ 321 w 325"/>
                <a:gd name="T75" fmla="*/ 180 h 321"/>
                <a:gd name="T76" fmla="*/ 321 w 325"/>
                <a:gd name="T77" fmla="*/ 165 h 321"/>
                <a:gd name="T78" fmla="*/ 162 w 325"/>
                <a:gd name="T79" fmla="*/ 293 h 321"/>
                <a:gd name="T80" fmla="*/ 132 w 325"/>
                <a:gd name="T81" fmla="*/ 293 h 321"/>
                <a:gd name="T82" fmla="*/ 126 w 325"/>
                <a:gd name="T83" fmla="*/ 278 h 321"/>
                <a:gd name="T84" fmla="*/ 129 w 325"/>
                <a:gd name="T85" fmla="*/ 267 h 321"/>
                <a:gd name="T86" fmla="*/ 188 w 325"/>
                <a:gd name="T87" fmla="*/ 267 h 321"/>
                <a:gd name="T88" fmla="*/ 162 w 325"/>
                <a:gd name="T89" fmla="*/ 293 h 321"/>
                <a:gd name="T90" fmla="*/ 209 w 325"/>
                <a:gd name="T91" fmla="*/ 246 h 321"/>
                <a:gd name="T92" fmla="*/ 149 w 325"/>
                <a:gd name="T93" fmla="*/ 246 h 321"/>
                <a:gd name="T94" fmla="*/ 260 w 325"/>
                <a:gd name="T95" fmla="*/ 135 h 321"/>
                <a:gd name="T96" fmla="*/ 290 w 325"/>
                <a:gd name="T97" fmla="*/ 165 h 321"/>
                <a:gd name="T98" fmla="*/ 209 w 325"/>
                <a:gd name="T99" fmla="*/ 24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5" h="321">
                  <a:moveTo>
                    <a:pt x="205" y="79"/>
                  </a:moveTo>
                  <a:cubicBezTo>
                    <a:pt x="207" y="81"/>
                    <a:pt x="210" y="82"/>
                    <a:pt x="212" y="82"/>
                  </a:cubicBezTo>
                  <a:cubicBezTo>
                    <a:pt x="215" y="82"/>
                    <a:pt x="218" y="81"/>
                    <a:pt x="220" y="79"/>
                  </a:cubicBezTo>
                  <a:cubicBezTo>
                    <a:pt x="224" y="75"/>
                    <a:pt x="224" y="68"/>
                    <a:pt x="220" y="64"/>
                  </a:cubicBezTo>
                  <a:cubicBezTo>
                    <a:pt x="159" y="4"/>
                    <a:pt x="159" y="4"/>
                    <a:pt x="159" y="4"/>
                  </a:cubicBezTo>
                  <a:cubicBezTo>
                    <a:pt x="155" y="0"/>
                    <a:pt x="149" y="0"/>
                    <a:pt x="144" y="4"/>
                  </a:cubicBezTo>
                  <a:cubicBezTo>
                    <a:pt x="140" y="8"/>
                    <a:pt x="140" y="15"/>
                    <a:pt x="144" y="19"/>
                  </a:cubicBezTo>
                  <a:cubicBezTo>
                    <a:pt x="16" y="147"/>
                    <a:pt x="16" y="147"/>
                    <a:pt x="16" y="147"/>
                  </a:cubicBezTo>
                  <a:cubicBezTo>
                    <a:pt x="0" y="164"/>
                    <a:pt x="0" y="191"/>
                    <a:pt x="16" y="207"/>
                  </a:cubicBezTo>
                  <a:cubicBezTo>
                    <a:pt x="24" y="216"/>
                    <a:pt x="35" y="220"/>
                    <a:pt x="46" y="220"/>
                  </a:cubicBezTo>
                  <a:cubicBezTo>
                    <a:pt x="58" y="220"/>
                    <a:pt x="68" y="216"/>
                    <a:pt x="76" y="207"/>
                  </a:cubicBezTo>
                  <a:cubicBezTo>
                    <a:pt x="205" y="79"/>
                    <a:pt x="205" y="79"/>
                    <a:pt x="205" y="79"/>
                  </a:cubicBezTo>
                  <a:close/>
                  <a:moveTo>
                    <a:pt x="61" y="192"/>
                  </a:moveTo>
                  <a:cubicBezTo>
                    <a:pt x="53" y="200"/>
                    <a:pt x="39" y="200"/>
                    <a:pt x="31" y="192"/>
                  </a:cubicBezTo>
                  <a:cubicBezTo>
                    <a:pt x="27" y="188"/>
                    <a:pt x="25" y="183"/>
                    <a:pt x="25" y="177"/>
                  </a:cubicBezTo>
                  <a:cubicBezTo>
                    <a:pt x="25" y="172"/>
                    <a:pt x="27" y="166"/>
                    <a:pt x="31" y="162"/>
                  </a:cubicBezTo>
                  <a:cubicBezTo>
                    <a:pt x="86" y="107"/>
                    <a:pt x="86" y="107"/>
                    <a:pt x="86" y="107"/>
                  </a:cubicBezTo>
                  <a:cubicBezTo>
                    <a:pt x="146" y="107"/>
                    <a:pt x="146" y="107"/>
                    <a:pt x="146" y="107"/>
                  </a:cubicBezTo>
                  <a:lnTo>
                    <a:pt x="61" y="192"/>
                  </a:lnTo>
                  <a:close/>
                  <a:moveTo>
                    <a:pt x="168" y="86"/>
                  </a:moveTo>
                  <a:cubicBezTo>
                    <a:pt x="107" y="86"/>
                    <a:pt x="107" y="86"/>
                    <a:pt x="107" y="86"/>
                  </a:cubicBezTo>
                  <a:cubicBezTo>
                    <a:pt x="159" y="34"/>
                    <a:pt x="159" y="34"/>
                    <a:pt x="159" y="34"/>
                  </a:cubicBezTo>
                  <a:cubicBezTo>
                    <a:pt x="190" y="64"/>
                    <a:pt x="190" y="64"/>
                    <a:pt x="190" y="64"/>
                  </a:cubicBezTo>
                  <a:lnTo>
                    <a:pt x="168" y="86"/>
                  </a:lnTo>
                  <a:close/>
                  <a:moveTo>
                    <a:pt x="321" y="165"/>
                  </a:moveTo>
                  <a:cubicBezTo>
                    <a:pt x="260" y="105"/>
                    <a:pt x="260" y="105"/>
                    <a:pt x="260" y="105"/>
                  </a:cubicBezTo>
                  <a:cubicBezTo>
                    <a:pt x="256" y="100"/>
                    <a:pt x="249" y="100"/>
                    <a:pt x="245" y="105"/>
                  </a:cubicBezTo>
                  <a:cubicBezTo>
                    <a:pt x="241" y="109"/>
                    <a:pt x="241" y="115"/>
                    <a:pt x="245" y="120"/>
                  </a:cubicBezTo>
                  <a:cubicBezTo>
                    <a:pt x="245" y="120"/>
                    <a:pt x="245" y="120"/>
                    <a:pt x="245" y="120"/>
                  </a:cubicBezTo>
                  <a:cubicBezTo>
                    <a:pt x="117" y="248"/>
                    <a:pt x="117" y="248"/>
                    <a:pt x="117" y="248"/>
                  </a:cubicBezTo>
                  <a:cubicBezTo>
                    <a:pt x="109" y="256"/>
                    <a:pt x="104" y="267"/>
                    <a:pt x="104" y="278"/>
                  </a:cubicBezTo>
                  <a:cubicBezTo>
                    <a:pt x="104" y="289"/>
                    <a:pt x="109" y="300"/>
                    <a:pt x="117" y="308"/>
                  </a:cubicBezTo>
                  <a:cubicBezTo>
                    <a:pt x="125" y="316"/>
                    <a:pt x="136" y="321"/>
                    <a:pt x="147" y="321"/>
                  </a:cubicBezTo>
                  <a:cubicBezTo>
                    <a:pt x="158" y="321"/>
                    <a:pt x="169" y="316"/>
                    <a:pt x="177" y="308"/>
                  </a:cubicBezTo>
                  <a:cubicBezTo>
                    <a:pt x="305" y="180"/>
                    <a:pt x="305" y="180"/>
                    <a:pt x="305" y="180"/>
                  </a:cubicBezTo>
                  <a:cubicBezTo>
                    <a:pt x="305" y="180"/>
                    <a:pt x="305" y="180"/>
                    <a:pt x="305" y="180"/>
                  </a:cubicBezTo>
                  <a:cubicBezTo>
                    <a:pt x="308" y="182"/>
                    <a:pt x="310" y="183"/>
                    <a:pt x="313" y="183"/>
                  </a:cubicBezTo>
                  <a:cubicBezTo>
                    <a:pt x="316" y="183"/>
                    <a:pt x="318" y="182"/>
                    <a:pt x="321" y="180"/>
                  </a:cubicBezTo>
                  <a:cubicBezTo>
                    <a:pt x="325" y="176"/>
                    <a:pt x="325" y="169"/>
                    <a:pt x="321" y="165"/>
                  </a:cubicBezTo>
                  <a:close/>
                  <a:moveTo>
                    <a:pt x="162" y="293"/>
                  </a:moveTo>
                  <a:cubicBezTo>
                    <a:pt x="154" y="301"/>
                    <a:pt x="140" y="301"/>
                    <a:pt x="132" y="293"/>
                  </a:cubicBezTo>
                  <a:cubicBezTo>
                    <a:pt x="128" y="289"/>
                    <a:pt x="126" y="284"/>
                    <a:pt x="126" y="278"/>
                  </a:cubicBezTo>
                  <a:cubicBezTo>
                    <a:pt x="126" y="274"/>
                    <a:pt x="127" y="271"/>
                    <a:pt x="129" y="267"/>
                  </a:cubicBezTo>
                  <a:cubicBezTo>
                    <a:pt x="188" y="267"/>
                    <a:pt x="188" y="267"/>
                    <a:pt x="188" y="267"/>
                  </a:cubicBezTo>
                  <a:lnTo>
                    <a:pt x="162" y="293"/>
                  </a:lnTo>
                  <a:close/>
                  <a:moveTo>
                    <a:pt x="209" y="246"/>
                  </a:moveTo>
                  <a:cubicBezTo>
                    <a:pt x="149" y="246"/>
                    <a:pt x="149" y="246"/>
                    <a:pt x="149" y="246"/>
                  </a:cubicBezTo>
                  <a:cubicBezTo>
                    <a:pt x="260" y="135"/>
                    <a:pt x="260" y="135"/>
                    <a:pt x="260" y="135"/>
                  </a:cubicBezTo>
                  <a:cubicBezTo>
                    <a:pt x="290" y="165"/>
                    <a:pt x="290" y="165"/>
                    <a:pt x="290" y="165"/>
                  </a:cubicBezTo>
                  <a:lnTo>
                    <a:pt x="20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27" name="Freeform 402">
            <a:extLst>
              <a:ext uri="{FF2B5EF4-FFF2-40B4-BE49-F238E27FC236}">
                <a16:creationId xmlns:a16="http://schemas.microsoft.com/office/drawing/2014/main" id="{AE153A7F-0F74-4473-A5C3-7AE6F7084BCB}"/>
              </a:ext>
            </a:extLst>
          </p:cNvPr>
          <p:cNvSpPr>
            <a:spLocks noChangeAspect="1" noEditPoints="1"/>
          </p:cNvSpPr>
          <p:nvPr/>
        </p:nvSpPr>
        <p:spPr bwMode="auto">
          <a:xfrm>
            <a:off x="9176594" y="1713432"/>
            <a:ext cx="369676" cy="369676"/>
          </a:xfrm>
          <a:custGeom>
            <a:avLst/>
            <a:gdLst>
              <a:gd name="T0" fmla="*/ 221 w 512"/>
              <a:gd name="T1" fmla="*/ 362 h 512"/>
              <a:gd name="T2" fmla="*/ 280 w 512"/>
              <a:gd name="T3" fmla="*/ 362 h 512"/>
              <a:gd name="T4" fmla="*/ 254 w 512"/>
              <a:gd name="T5" fmla="*/ 388 h 512"/>
              <a:gd name="T6" fmla="*/ 224 w 512"/>
              <a:gd name="T7" fmla="*/ 388 h 512"/>
              <a:gd name="T8" fmla="*/ 218 w 512"/>
              <a:gd name="T9" fmla="*/ 373 h 512"/>
              <a:gd name="T10" fmla="*/ 221 w 512"/>
              <a:gd name="T11" fmla="*/ 362 h 512"/>
              <a:gd name="T12" fmla="*/ 199 w 512"/>
              <a:gd name="T13" fmla="*/ 181 h 512"/>
              <a:gd name="T14" fmla="*/ 260 w 512"/>
              <a:gd name="T15" fmla="*/ 181 h 512"/>
              <a:gd name="T16" fmla="*/ 282 w 512"/>
              <a:gd name="T17" fmla="*/ 159 h 512"/>
              <a:gd name="T18" fmla="*/ 251 w 512"/>
              <a:gd name="T19" fmla="*/ 129 h 512"/>
              <a:gd name="T20" fmla="*/ 199 w 512"/>
              <a:gd name="T21" fmla="*/ 181 h 512"/>
              <a:gd name="T22" fmla="*/ 123 w 512"/>
              <a:gd name="T23" fmla="*/ 257 h 512"/>
              <a:gd name="T24" fmla="*/ 117 w 512"/>
              <a:gd name="T25" fmla="*/ 272 h 512"/>
              <a:gd name="T26" fmla="*/ 123 w 512"/>
              <a:gd name="T27" fmla="*/ 287 h 512"/>
              <a:gd name="T28" fmla="*/ 153 w 512"/>
              <a:gd name="T29" fmla="*/ 287 h 512"/>
              <a:gd name="T30" fmla="*/ 238 w 512"/>
              <a:gd name="T31" fmla="*/ 202 h 512"/>
              <a:gd name="T32" fmla="*/ 178 w 512"/>
              <a:gd name="T33" fmla="*/ 202 h 512"/>
              <a:gd name="T34" fmla="*/ 123 w 512"/>
              <a:gd name="T35" fmla="*/ 257 h 512"/>
              <a:gd name="T36" fmla="*/ 241 w 512"/>
              <a:gd name="T37" fmla="*/ 341 h 512"/>
              <a:gd name="T38" fmla="*/ 301 w 512"/>
              <a:gd name="T39" fmla="*/ 341 h 512"/>
              <a:gd name="T40" fmla="*/ 382 w 512"/>
              <a:gd name="T41" fmla="*/ 260 h 512"/>
              <a:gd name="T42" fmla="*/ 352 w 512"/>
              <a:gd name="T43" fmla="*/ 230 h 512"/>
              <a:gd name="T44" fmla="*/ 241 w 512"/>
              <a:gd name="T45" fmla="*/ 341 h 512"/>
              <a:gd name="T46" fmla="*/ 512 w 512"/>
              <a:gd name="T47" fmla="*/ 256 h 512"/>
              <a:gd name="T48" fmla="*/ 256 w 512"/>
              <a:gd name="T49" fmla="*/ 512 h 512"/>
              <a:gd name="T50" fmla="*/ 0 w 512"/>
              <a:gd name="T51" fmla="*/ 256 h 512"/>
              <a:gd name="T52" fmla="*/ 256 w 512"/>
              <a:gd name="T53" fmla="*/ 0 h 512"/>
              <a:gd name="T54" fmla="*/ 512 w 512"/>
              <a:gd name="T55" fmla="*/ 256 h 512"/>
              <a:gd name="T56" fmla="*/ 168 w 512"/>
              <a:gd name="T57" fmla="*/ 302 h 512"/>
              <a:gd name="T58" fmla="*/ 297 w 512"/>
              <a:gd name="T59" fmla="*/ 174 h 512"/>
              <a:gd name="T60" fmla="*/ 304 w 512"/>
              <a:gd name="T61" fmla="*/ 177 h 512"/>
              <a:gd name="T62" fmla="*/ 312 w 512"/>
              <a:gd name="T63" fmla="*/ 174 h 512"/>
              <a:gd name="T64" fmla="*/ 312 w 512"/>
              <a:gd name="T65" fmla="*/ 159 h 512"/>
              <a:gd name="T66" fmla="*/ 251 w 512"/>
              <a:gd name="T67" fmla="*/ 99 h 512"/>
              <a:gd name="T68" fmla="*/ 236 w 512"/>
              <a:gd name="T69" fmla="*/ 99 h 512"/>
              <a:gd name="T70" fmla="*/ 236 w 512"/>
              <a:gd name="T71" fmla="*/ 114 h 512"/>
              <a:gd name="T72" fmla="*/ 108 w 512"/>
              <a:gd name="T73" fmla="*/ 242 h 512"/>
              <a:gd name="T74" fmla="*/ 108 w 512"/>
              <a:gd name="T75" fmla="*/ 302 h 512"/>
              <a:gd name="T76" fmla="*/ 138 w 512"/>
              <a:gd name="T77" fmla="*/ 315 h 512"/>
              <a:gd name="T78" fmla="*/ 168 w 512"/>
              <a:gd name="T79" fmla="*/ 302 h 512"/>
              <a:gd name="T80" fmla="*/ 413 w 512"/>
              <a:gd name="T81" fmla="*/ 260 h 512"/>
              <a:gd name="T82" fmla="*/ 352 w 512"/>
              <a:gd name="T83" fmla="*/ 200 h 512"/>
              <a:gd name="T84" fmla="*/ 337 w 512"/>
              <a:gd name="T85" fmla="*/ 200 h 512"/>
              <a:gd name="T86" fmla="*/ 337 w 512"/>
              <a:gd name="T87" fmla="*/ 215 h 512"/>
              <a:gd name="T88" fmla="*/ 209 w 512"/>
              <a:gd name="T89" fmla="*/ 343 h 512"/>
              <a:gd name="T90" fmla="*/ 196 w 512"/>
              <a:gd name="T91" fmla="*/ 373 h 512"/>
              <a:gd name="T92" fmla="*/ 209 w 512"/>
              <a:gd name="T93" fmla="*/ 403 h 512"/>
              <a:gd name="T94" fmla="*/ 239 w 512"/>
              <a:gd name="T95" fmla="*/ 416 h 512"/>
              <a:gd name="T96" fmla="*/ 269 w 512"/>
              <a:gd name="T97" fmla="*/ 403 h 512"/>
              <a:gd name="T98" fmla="*/ 397 w 512"/>
              <a:gd name="T99" fmla="*/ 275 h 512"/>
              <a:gd name="T100" fmla="*/ 405 w 512"/>
              <a:gd name="T101" fmla="*/ 278 h 512"/>
              <a:gd name="T102" fmla="*/ 413 w 512"/>
              <a:gd name="T103" fmla="*/ 275 h 512"/>
              <a:gd name="T104" fmla="*/ 413 w 512"/>
              <a:gd name="T105"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1" y="362"/>
                </a:moveTo>
                <a:cubicBezTo>
                  <a:pt x="280" y="362"/>
                  <a:pt x="280" y="362"/>
                  <a:pt x="280" y="362"/>
                </a:cubicBezTo>
                <a:cubicBezTo>
                  <a:pt x="254" y="388"/>
                  <a:pt x="254" y="388"/>
                  <a:pt x="254" y="388"/>
                </a:cubicBezTo>
                <a:cubicBezTo>
                  <a:pt x="246" y="396"/>
                  <a:pt x="232" y="396"/>
                  <a:pt x="224" y="388"/>
                </a:cubicBezTo>
                <a:cubicBezTo>
                  <a:pt x="220" y="384"/>
                  <a:pt x="218" y="379"/>
                  <a:pt x="218" y="373"/>
                </a:cubicBezTo>
                <a:cubicBezTo>
                  <a:pt x="218" y="369"/>
                  <a:pt x="219" y="366"/>
                  <a:pt x="221" y="362"/>
                </a:cubicBezTo>
                <a:close/>
                <a:moveTo>
                  <a:pt x="199" y="181"/>
                </a:moveTo>
                <a:cubicBezTo>
                  <a:pt x="260" y="181"/>
                  <a:pt x="260" y="181"/>
                  <a:pt x="260" y="181"/>
                </a:cubicBezTo>
                <a:cubicBezTo>
                  <a:pt x="282" y="159"/>
                  <a:pt x="282" y="159"/>
                  <a:pt x="282" y="159"/>
                </a:cubicBezTo>
                <a:cubicBezTo>
                  <a:pt x="251" y="129"/>
                  <a:pt x="251" y="129"/>
                  <a:pt x="251" y="129"/>
                </a:cubicBezTo>
                <a:lnTo>
                  <a:pt x="199" y="181"/>
                </a:lnTo>
                <a:close/>
                <a:moveTo>
                  <a:pt x="123" y="257"/>
                </a:moveTo>
                <a:cubicBezTo>
                  <a:pt x="119" y="261"/>
                  <a:pt x="117" y="267"/>
                  <a:pt x="117" y="272"/>
                </a:cubicBezTo>
                <a:cubicBezTo>
                  <a:pt x="117" y="278"/>
                  <a:pt x="119" y="283"/>
                  <a:pt x="123" y="287"/>
                </a:cubicBezTo>
                <a:cubicBezTo>
                  <a:pt x="131" y="295"/>
                  <a:pt x="145" y="295"/>
                  <a:pt x="153" y="287"/>
                </a:cubicBezTo>
                <a:cubicBezTo>
                  <a:pt x="238" y="202"/>
                  <a:pt x="238" y="202"/>
                  <a:pt x="238" y="202"/>
                </a:cubicBezTo>
                <a:cubicBezTo>
                  <a:pt x="178" y="202"/>
                  <a:pt x="178" y="202"/>
                  <a:pt x="178" y="202"/>
                </a:cubicBezTo>
                <a:lnTo>
                  <a:pt x="123" y="257"/>
                </a:lnTo>
                <a:close/>
                <a:moveTo>
                  <a:pt x="241" y="341"/>
                </a:moveTo>
                <a:cubicBezTo>
                  <a:pt x="301" y="341"/>
                  <a:pt x="301" y="341"/>
                  <a:pt x="301" y="341"/>
                </a:cubicBezTo>
                <a:cubicBezTo>
                  <a:pt x="382" y="260"/>
                  <a:pt x="382" y="260"/>
                  <a:pt x="382" y="260"/>
                </a:cubicBezTo>
                <a:cubicBezTo>
                  <a:pt x="352" y="230"/>
                  <a:pt x="352" y="230"/>
                  <a:pt x="352" y="230"/>
                </a:cubicBezTo>
                <a:lnTo>
                  <a:pt x="241"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8" y="302"/>
                </a:moveTo>
                <a:cubicBezTo>
                  <a:pt x="297" y="174"/>
                  <a:pt x="297" y="174"/>
                  <a:pt x="297" y="174"/>
                </a:cubicBezTo>
                <a:cubicBezTo>
                  <a:pt x="299" y="176"/>
                  <a:pt x="302" y="177"/>
                  <a:pt x="304" y="177"/>
                </a:cubicBezTo>
                <a:cubicBezTo>
                  <a:pt x="307" y="177"/>
                  <a:pt x="310" y="176"/>
                  <a:pt x="312" y="174"/>
                </a:cubicBezTo>
                <a:cubicBezTo>
                  <a:pt x="316" y="170"/>
                  <a:pt x="316" y="163"/>
                  <a:pt x="312" y="159"/>
                </a:cubicBezTo>
                <a:cubicBezTo>
                  <a:pt x="251" y="99"/>
                  <a:pt x="251" y="99"/>
                  <a:pt x="251" y="99"/>
                </a:cubicBezTo>
                <a:cubicBezTo>
                  <a:pt x="247" y="95"/>
                  <a:pt x="241" y="95"/>
                  <a:pt x="236" y="99"/>
                </a:cubicBezTo>
                <a:cubicBezTo>
                  <a:pt x="232" y="103"/>
                  <a:pt x="232" y="110"/>
                  <a:pt x="236" y="114"/>
                </a:cubicBezTo>
                <a:cubicBezTo>
                  <a:pt x="108" y="242"/>
                  <a:pt x="108" y="242"/>
                  <a:pt x="108" y="242"/>
                </a:cubicBezTo>
                <a:cubicBezTo>
                  <a:pt x="92" y="259"/>
                  <a:pt x="92" y="286"/>
                  <a:pt x="108" y="302"/>
                </a:cubicBezTo>
                <a:cubicBezTo>
                  <a:pt x="116" y="311"/>
                  <a:pt x="127" y="315"/>
                  <a:pt x="138" y="315"/>
                </a:cubicBezTo>
                <a:cubicBezTo>
                  <a:pt x="150" y="315"/>
                  <a:pt x="160" y="311"/>
                  <a:pt x="168" y="302"/>
                </a:cubicBezTo>
                <a:close/>
                <a:moveTo>
                  <a:pt x="413" y="260"/>
                </a:moveTo>
                <a:cubicBezTo>
                  <a:pt x="352" y="200"/>
                  <a:pt x="352" y="200"/>
                  <a:pt x="352" y="200"/>
                </a:cubicBezTo>
                <a:cubicBezTo>
                  <a:pt x="348" y="195"/>
                  <a:pt x="341" y="195"/>
                  <a:pt x="337" y="200"/>
                </a:cubicBezTo>
                <a:cubicBezTo>
                  <a:pt x="333" y="204"/>
                  <a:pt x="333" y="210"/>
                  <a:pt x="337" y="215"/>
                </a:cubicBezTo>
                <a:cubicBezTo>
                  <a:pt x="209" y="343"/>
                  <a:pt x="209" y="343"/>
                  <a:pt x="209" y="343"/>
                </a:cubicBezTo>
                <a:cubicBezTo>
                  <a:pt x="201" y="351"/>
                  <a:pt x="196" y="362"/>
                  <a:pt x="196" y="373"/>
                </a:cubicBezTo>
                <a:cubicBezTo>
                  <a:pt x="196" y="384"/>
                  <a:pt x="201" y="395"/>
                  <a:pt x="209" y="403"/>
                </a:cubicBezTo>
                <a:cubicBezTo>
                  <a:pt x="217" y="411"/>
                  <a:pt x="228" y="416"/>
                  <a:pt x="239" y="416"/>
                </a:cubicBezTo>
                <a:cubicBezTo>
                  <a:pt x="250" y="416"/>
                  <a:pt x="261" y="411"/>
                  <a:pt x="269" y="403"/>
                </a:cubicBezTo>
                <a:cubicBezTo>
                  <a:pt x="397" y="275"/>
                  <a:pt x="397" y="275"/>
                  <a:pt x="397" y="275"/>
                </a:cubicBezTo>
                <a:cubicBezTo>
                  <a:pt x="400" y="277"/>
                  <a:pt x="402" y="278"/>
                  <a:pt x="405" y="278"/>
                </a:cubicBezTo>
                <a:cubicBezTo>
                  <a:pt x="408" y="278"/>
                  <a:pt x="410" y="277"/>
                  <a:pt x="413" y="275"/>
                </a:cubicBezTo>
                <a:cubicBezTo>
                  <a:pt x="417" y="271"/>
                  <a:pt x="417" y="264"/>
                  <a:pt x="413" y="2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28" name="Group 405">
            <a:extLst>
              <a:ext uri="{FF2B5EF4-FFF2-40B4-BE49-F238E27FC236}">
                <a16:creationId xmlns:a16="http://schemas.microsoft.com/office/drawing/2014/main" id="{B06C287D-7AEA-4C80-AAB0-79C8E772BF27}"/>
              </a:ext>
            </a:extLst>
          </p:cNvPr>
          <p:cNvGrpSpPr>
            <a:grpSpLocks noChangeAspect="1"/>
          </p:cNvGrpSpPr>
          <p:nvPr/>
        </p:nvGrpSpPr>
        <p:grpSpPr bwMode="auto">
          <a:xfrm>
            <a:off x="8740315" y="1713432"/>
            <a:ext cx="369676" cy="369676"/>
            <a:chOff x="5822" y="1511"/>
            <a:chExt cx="340" cy="340"/>
          </a:xfrm>
          <a:solidFill>
            <a:schemeClr val="accent5"/>
          </a:solidFill>
        </p:grpSpPr>
        <p:sp>
          <p:nvSpPr>
            <p:cNvPr id="329" name="Freeform 406">
              <a:extLst>
                <a:ext uri="{FF2B5EF4-FFF2-40B4-BE49-F238E27FC236}">
                  <a16:creationId xmlns:a16="http://schemas.microsoft.com/office/drawing/2014/main" id="{C10B6C08-759B-4E1E-9465-6FFBF1D03988}"/>
                </a:ext>
              </a:extLst>
            </p:cNvPr>
            <p:cNvSpPr>
              <a:spLocks noEditPoints="1"/>
            </p:cNvSpPr>
            <p:nvPr/>
          </p:nvSpPr>
          <p:spPr bwMode="auto">
            <a:xfrm>
              <a:off x="5822" y="151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0" name="Freeform 407">
              <a:extLst>
                <a:ext uri="{FF2B5EF4-FFF2-40B4-BE49-F238E27FC236}">
                  <a16:creationId xmlns:a16="http://schemas.microsoft.com/office/drawing/2014/main" id="{7BB67B1E-A96A-4D78-B1FF-BB2819D246CE}"/>
                </a:ext>
              </a:extLst>
            </p:cNvPr>
            <p:cNvSpPr>
              <a:spLocks noEditPoints="1"/>
            </p:cNvSpPr>
            <p:nvPr/>
          </p:nvSpPr>
          <p:spPr bwMode="auto">
            <a:xfrm>
              <a:off x="5908" y="1586"/>
              <a:ext cx="189" cy="185"/>
            </a:xfrm>
            <a:custGeom>
              <a:avLst/>
              <a:gdLst>
                <a:gd name="T0" fmla="*/ 281 w 285"/>
                <a:gd name="T1" fmla="*/ 110 h 279"/>
                <a:gd name="T2" fmla="*/ 266 w 285"/>
                <a:gd name="T3" fmla="*/ 95 h 279"/>
                <a:gd name="T4" fmla="*/ 266 w 285"/>
                <a:gd name="T5" fmla="*/ 95 h 279"/>
                <a:gd name="T6" fmla="*/ 266 w 285"/>
                <a:gd name="T7" fmla="*/ 95 h 279"/>
                <a:gd name="T8" fmla="*/ 176 w 285"/>
                <a:gd name="T9" fmla="*/ 4 h 279"/>
                <a:gd name="T10" fmla="*/ 161 w 285"/>
                <a:gd name="T11" fmla="*/ 4 h 279"/>
                <a:gd name="T12" fmla="*/ 161 w 285"/>
                <a:gd name="T13" fmla="*/ 19 h 279"/>
                <a:gd name="T14" fmla="*/ 168 w 285"/>
                <a:gd name="T15" fmla="*/ 27 h 279"/>
                <a:gd name="T16" fmla="*/ 25 w 285"/>
                <a:gd name="T17" fmla="*/ 170 h 279"/>
                <a:gd name="T18" fmla="*/ 25 w 285"/>
                <a:gd name="T19" fmla="*/ 260 h 279"/>
                <a:gd name="T20" fmla="*/ 70 w 285"/>
                <a:gd name="T21" fmla="*/ 279 h 279"/>
                <a:gd name="T22" fmla="*/ 115 w 285"/>
                <a:gd name="T23" fmla="*/ 260 h 279"/>
                <a:gd name="T24" fmla="*/ 259 w 285"/>
                <a:gd name="T25" fmla="*/ 117 h 279"/>
                <a:gd name="T26" fmla="*/ 266 w 285"/>
                <a:gd name="T27" fmla="*/ 125 h 279"/>
                <a:gd name="T28" fmla="*/ 274 w 285"/>
                <a:gd name="T29" fmla="*/ 128 h 279"/>
                <a:gd name="T30" fmla="*/ 281 w 285"/>
                <a:gd name="T31" fmla="*/ 125 h 279"/>
                <a:gd name="T32" fmla="*/ 281 w 285"/>
                <a:gd name="T33" fmla="*/ 110 h 279"/>
                <a:gd name="T34" fmla="*/ 100 w 285"/>
                <a:gd name="T35" fmla="*/ 245 h 279"/>
                <a:gd name="T36" fmla="*/ 40 w 285"/>
                <a:gd name="T37" fmla="*/ 245 h 279"/>
                <a:gd name="T38" fmla="*/ 40 w 285"/>
                <a:gd name="T39" fmla="*/ 185 h 279"/>
                <a:gd name="T40" fmla="*/ 82 w 285"/>
                <a:gd name="T41" fmla="*/ 143 h 279"/>
                <a:gd name="T42" fmla="*/ 203 w 285"/>
                <a:gd name="T43" fmla="*/ 143 h 279"/>
                <a:gd name="T44" fmla="*/ 100 w 285"/>
                <a:gd name="T45" fmla="*/ 245 h 279"/>
                <a:gd name="T46" fmla="*/ 104 w 285"/>
                <a:gd name="T47" fmla="*/ 121 h 279"/>
                <a:gd name="T48" fmla="*/ 183 w 285"/>
                <a:gd name="T49" fmla="*/ 42 h 279"/>
                <a:gd name="T50" fmla="*/ 244 w 285"/>
                <a:gd name="T51" fmla="*/ 102 h 279"/>
                <a:gd name="T52" fmla="*/ 224 w 285"/>
                <a:gd name="T53" fmla="*/ 121 h 279"/>
                <a:gd name="T54" fmla="*/ 104 w 285"/>
                <a:gd name="T55" fmla="*/ 12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5" h="279">
                  <a:moveTo>
                    <a:pt x="281" y="110"/>
                  </a:moveTo>
                  <a:cubicBezTo>
                    <a:pt x="266" y="95"/>
                    <a:pt x="266" y="95"/>
                    <a:pt x="266" y="95"/>
                  </a:cubicBezTo>
                  <a:cubicBezTo>
                    <a:pt x="266" y="95"/>
                    <a:pt x="266" y="95"/>
                    <a:pt x="266" y="95"/>
                  </a:cubicBezTo>
                  <a:cubicBezTo>
                    <a:pt x="266" y="95"/>
                    <a:pt x="266" y="95"/>
                    <a:pt x="266" y="95"/>
                  </a:cubicBezTo>
                  <a:cubicBezTo>
                    <a:pt x="176" y="4"/>
                    <a:pt x="176" y="4"/>
                    <a:pt x="176" y="4"/>
                  </a:cubicBezTo>
                  <a:cubicBezTo>
                    <a:pt x="172" y="0"/>
                    <a:pt x="165" y="0"/>
                    <a:pt x="161" y="4"/>
                  </a:cubicBezTo>
                  <a:cubicBezTo>
                    <a:pt x="156" y="8"/>
                    <a:pt x="156" y="15"/>
                    <a:pt x="161" y="19"/>
                  </a:cubicBezTo>
                  <a:cubicBezTo>
                    <a:pt x="168" y="27"/>
                    <a:pt x="168" y="27"/>
                    <a:pt x="168" y="27"/>
                  </a:cubicBezTo>
                  <a:cubicBezTo>
                    <a:pt x="25" y="170"/>
                    <a:pt x="25" y="170"/>
                    <a:pt x="25" y="170"/>
                  </a:cubicBezTo>
                  <a:cubicBezTo>
                    <a:pt x="0" y="195"/>
                    <a:pt x="0" y="236"/>
                    <a:pt x="25" y="260"/>
                  </a:cubicBezTo>
                  <a:cubicBezTo>
                    <a:pt x="37" y="273"/>
                    <a:pt x="54" y="279"/>
                    <a:pt x="70" y="279"/>
                  </a:cubicBezTo>
                  <a:cubicBezTo>
                    <a:pt x="86" y="279"/>
                    <a:pt x="103" y="273"/>
                    <a:pt x="115" y="260"/>
                  </a:cubicBezTo>
                  <a:cubicBezTo>
                    <a:pt x="259" y="117"/>
                    <a:pt x="259" y="117"/>
                    <a:pt x="259" y="117"/>
                  </a:cubicBezTo>
                  <a:cubicBezTo>
                    <a:pt x="266" y="125"/>
                    <a:pt x="266" y="125"/>
                    <a:pt x="266" y="125"/>
                  </a:cubicBezTo>
                  <a:cubicBezTo>
                    <a:pt x="268" y="127"/>
                    <a:pt x="271" y="128"/>
                    <a:pt x="274" y="128"/>
                  </a:cubicBezTo>
                  <a:cubicBezTo>
                    <a:pt x="276" y="128"/>
                    <a:pt x="279" y="127"/>
                    <a:pt x="281" y="125"/>
                  </a:cubicBezTo>
                  <a:cubicBezTo>
                    <a:pt x="285" y="121"/>
                    <a:pt x="285" y="114"/>
                    <a:pt x="281" y="110"/>
                  </a:cubicBezTo>
                  <a:close/>
                  <a:moveTo>
                    <a:pt x="100" y="245"/>
                  </a:moveTo>
                  <a:cubicBezTo>
                    <a:pt x="84" y="262"/>
                    <a:pt x="57" y="262"/>
                    <a:pt x="40" y="245"/>
                  </a:cubicBezTo>
                  <a:cubicBezTo>
                    <a:pt x="23" y="229"/>
                    <a:pt x="23" y="202"/>
                    <a:pt x="40" y="185"/>
                  </a:cubicBezTo>
                  <a:cubicBezTo>
                    <a:pt x="82" y="143"/>
                    <a:pt x="82" y="143"/>
                    <a:pt x="82" y="143"/>
                  </a:cubicBezTo>
                  <a:cubicBezTo>
                    <a:pt x="203" y="143"/>
                    <a:pt x="203" y="143"/>
                    <a:pt x="203" y="143"/>
                  </a:cubicBezTo>
                  <a:lnTo>
                    <a:pt x="100" y="245"/>
                  </a:lnTo>
                  <a:close/>
                  <a:moveTo>
                    <a:pt x="104" y="121"/>
                  </a:moveTo>
                  <a:cubicBezTo>
                    <a:pt x="183" y="42"/>
                    <a:pt x="183" y="42"/>
                    <a:pt x="183" y="42"/>
                  </a:cubicBezTo>
                  <a:cubicBezTo>
                    <a:pt x="244" y="102"/>
                    <a:pt x="244" y="102"/>
                    <a:pt x="244" y="102"/>
                  </a:cubicBezTo>
                  <a:cubicBezTo>
                    <a:pt x="224" y="121"/>
                    <a:pt x="224" y="121"/>
                    <a:pt x="224" y="121"/>
                  </a:cubicBezTo>
                  <a:lnTo>
                    <a:pt x="104" y="1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31" name="Freeform 411">
            <a:extLst>
              <a:ext uri="{FF2B5EF4-FFF2-40B4-BE49-F238E27FC236}">
                <a16:creationId xmlns:a16="http://schemas.microsoft.com/office/drawing/2014/main" id="{1DE5D0A0-CF73-45E8-914F-D2634D090479}"/>
              </a:ext>
            </a:extLst>
          </p:cNvPr>
          <p:cNvSpPr>
            <a:spLocks noChangeAspect="1" noEditPoints="1"/>
          </p:cNvSpPr>
          <p:nvPr/>
        </p:nvSpPr>
        <p:spPr bwMode="auto">
          <a:xfrm>
            <a:off x="8304036" y="1713432"/>
            <a:ext cx="369676" cy="369676"/>
          </a:xfrm>
          <a:custGeom>
            <a:avLst/>
            <a:gdLst>
              <a:gd name="T0" fmla="*/ 211 w 512"/>
              <a:gd name="T1" fmla="*/ 256 h 512"/>
              <a:gd name="T2" fmla="*/ 332 w 512"/>
              <a:gd name="T3" fmla="*/ 256 h 512"/>
              <a:gd name="T4" fmla="*/ 229 w 512"/>
              <a:gd name="T5" fmla="*/ 358 h 512"/>
              <a:gd name="T6" fmla="*/ 169 w 512"/>
              <a:gd name="T7" fmla="*/ 358 h 512"/>
              <a:gd name="T8" fmla="*/ 169 w 512"/>
              <a:gd name="T9" fmla="*/ 298 h 512"/>
              <a:gd name="T10" fmla="*/ 211 w 512"/>
              <a:gd name="T11" fmla="*/ 256 h 512"/>
              <a:gd name="T12" fmla="*/ 233 w 512"/>
              <a:gd name="T13" fmla="*/ 234 h 512"/>
              <a:gd name="T14" fmla="*/ 353 w 512"/>
              <a:gd name="T15" fmla="*/ 234 h 512"/>
              <a:gd name="T16" fmla="*/ 373 w 512"/>
              <a:gd name="T17" fmla="*/ 215 h 512"/>
              <a:gd name="T18" fmla="*/ 312 w 512"/>
              <a:gd name="T19" fmla="*/ 155 h 512"/>
              <a:gd name="T20" fmla="*/ 233 w 512"/>
              <a:gd name="T21" fmla="*/ 23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10 w 512"/>
              <a:gd name="T33" fmla="*/ 223 h 512"/>
              <a:gd name="T34" fmla="*/ 395 w 512"/>
              <a:gd name="T35" fmla="*/ 208 h 512"/>
              <a:gd name="T36" fmla="*/ 395 w 512"/>
              <a:gd name="T37" fmla="*/ 208 h 512"/>
              <a:gd name="T38" fmla="*/ 395 w 512"/>
              <a:gd name="T39" fmla="*/ 208 h 512"/>
              <a:gd name="T40" fmla="*/ 305 w 512"/>
              <a:gd name="T41" fmla="*/ 117 h 512"/>
              <a:gd name="T42" fmla="*/ 290 w 512"/>
              <a:gd name="T43" fmla="*/ 117 h 512"/>
              <a:gd name="T44" fmla="*/ 290 w 512"/>
              <a:gd name="T45" fmla="*/ 132 h 512"/>
              <a:gd name="T46" fmla="*/ 297 w 512"/>
              <a:gd name="T47" fmla="*/ 140 h 512"/>
              <a:gd name="T48" fmla="*/ 154 w 512"/>
              <a:gd name="T49" fmla="*/ 283 h 512"/>
              <a:gd name="T50" fmla="*/ 154 w 512"/>
              <a:gd name="T51" fmla="*/ 373 h 512"/>
              <a:gd name="T52" fmla="*/ 199 w 512"/>
              <a:gd name="T53" fmla="*/ 392 h 512"/>
              <a:gd name="T54" fmla="*/ 244 w 512"/>
              <a:gd name="T55" fmla="*/ 373 h 512"/>
              <a:gd name="T56" fmla="*/ 388 w 512"/>
              <a:gd name="T57" fmla="*/ 230 h 512"/>
              <a:gd name="T58" fmla="*/ 395 w 512"/>
              <a:gd name="T59" fmla="*/ 238 h 512"/>
              <a:gd name="T60" fmla="*/ 403 w 512"/>
              <a:gd name="T61" fmla="*/ 241 h 512"/>
              <a:gd name="T62" fmla="*/ 410 w 512"/>
              <a:gd name="T63" fmla="*/ 238 h 512"/>
              <a:gd name="T64" fmla="*/ 410 w 512"/>
              <a:gd name="T65" fmla="*/ 22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11" y="256"/>
                </a:moveTo>
                <a:cubicBezTo>
                  <a:pt x="332" y="256"/>
                  <a:pt x="332" y="256"/>
                  <a:pt x="332" y="256"/>
                </a:cubicBezTo>
                <a:cubicBezTo>
                  <a:pt x="229" y="358"/>
                  <a:pt x="229" y="358"/>
                  <a:pt x="229" y="358"/>
                </a:cubicBezTo>
                <a:cubicBezTo>
                  <a:pt x="213" y="375"/>
                  <a:pt x="186" y="375"/>
                  <a:pt x="169" y="358"/>
                </a:cubicBezTo>
                <a:cubicBezTo>
                  <a:pt x="152" y="342"/>
                  <a:pt x="152" y="315"/>
                  <a:pt x="169" y="298"/>
                </a:cubicBezTo>
                <a:lnTo>
                  <a:pt x="211" y="256"/>
                </a:lnTo>
                <a:close/>
                <a:moveTo>
                  <a:pt x="233" y="234"/>
                </a:moveTo>
                <a:cubicBezTo>
                  <a:pt x="353" y="234"/>
                  <a:pt x="353" y="234"/>
                  <a:pt x="353" y="234"/>
                </a:cubicBezTo>
                <a:cubicBezTo>
                  <a:pt x="373" y="215"/>
                  <a:pt x="373" y="215"/>
                  <a:pt x="373" y="215"/>
                </a:cubicBezTo>
                <a:cubicBezTo>
                  <a:pt x="312" y="155"/>
                  <a:pt x="312" y="155"/>
                  <a:pt x="312" y="155"/>
                </a:cubicBezTo>
                <a:lnTo>
                  <a:pt x="233" y="23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223"/>
                </a:moveTo>
                <a:cubicBezTo>
                  <a:pt x="395" y="208"/>
                  <a:pt x="395" y="208"/>
                  <a:pt x="395" y="208"/>
                </a:cubicBezTo>
                <a:cubicBezTo>
                  <a:pt x="395" y="208"/>
                  <a:pt x="395" y="208"/>
                  <a:pt x="395" y="208"/>
                </a:cubicBezTo>
                <a:cubicBezTo>
                  <a:pt x="395" y="208"/>
                  <a:pt x="395" y="208"/>
                  <a:pt x="395" y="208"/>
                </a:cubicBezTo>
                <a:cubicBezTo>
                  <a:pt x="305" y="117"/>
                  <a:pt x="305" y="117"/>
                  <a:pt x="305" y="117"/>
                </a:cubicBezTo>
                <a:cubicBezTo>
                  <a:pt x="301" y="113"/>
                  <a:pt x="294" y="113"/>
                  <a:pt x="290" y="117"/>
                </a:cubicBezTo>
                <a:cubicBezTo>
                  <a:pt x="285" y="121"/>
                  <a:pt x="285" y="128"/>
                  <a:pt x="290" y="132"/>
                </a:cubicBezTo>
                <a:cubicBezTo>
                  <a:pt x="297" y="140"/>
                  <a:pt x="297" y="140"/>
                  <a:pt x="297" y="140"/>
                </a:cubicBezTo>
                <a:cubicBezTo>
                  <a:pt x="154" y="283"/>
                  <a:pt x="154" y="283"/>
                  <a:pt x="154" y="283"/>
                </a:cubicBezTo>
                <a:cubicBezTo>
                  <a:pt x="129" y="308"/>
                  <a:pt x="129" y="349"/>
                  <a:pt x="154" y="373"/>
                </a:cubicBezTo>
                <a:cubicBezTo>
                  <a:pt x="166" y="386"/>
                  <a:pt x="183" y="392"/>
                  <a:pt x="199" y="392"/>
                </a:cubicBezTo>
                <a:cubicBezTo>
                  <a:pt x="215" y="392"/>
                  <a:pt x="232" y="386"/>
                  <a:pt x="244" y="373"/>
                </a:cubicBezTo>
                <a:cubicBezTo>
                  <a:pt x="388" y="230"/>
                  <a:pt x="388" y="230"/>
                  <a:pt x="388" y="230"/>
                </a:cubicBezTo>
                <a:cubicBezTo>
                  <a:pt x="395" y="238"/>
                  <a:pt x="395" y="238"/>
                  <a:pt x="395" y="238"/>
                </a:cubicBezTo>
                <a:cubicBezTo>
                  <a:pt x="397" y="240"/>
                  <a:pt x="400" y="241"/>
                  <a:pt x="403" y="241"/>
                </a:cubicBezTo>
                <a:cubicBezTo>
                  <a:pt x="405" y="241"/>
                  <a:pt x="408" y="240"/>
                  <a:pt x="410" y="238"/>
                </a:cubicBezTo>
                <a:cubicBezTo>
                  <a:pt x="414" y="234"/>
                  <a:pt x="414" y="227"/>
                  <a:pt x="410" y="22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32" name="Freeform 46">
            <a:extLst>
              <a:ext uri="{FF2B5EF4-FFF2-40B4-BE49-F238E27FC236}">
                <a16:creationId xmlns:a16="http://schemas.microsoft.com/office/drawing/2014/main" id="{4ECC6988-05F2-46FC-841E-21A679C3114B}"/>
              </a:ext>
            </a:extLst>
          </p:cNvPr>
          <p:cNvSpPr>
            <a:spLocks noChangeAspect="1" noEditPoints="1"/>
          </p:cNvSpPr>
          <p:nvPr/>
        </p:nvSpPr>
        <p:spPr bwMode="auto">
          <a:xfrm>
            <a:off x="10049152" y="1714956"/>
            <a:ext cx="368254" cy="368152"/>
          </a:xfrm>
          <a:custGeom>
            <a:avLst/>
            <a:gdLst>
              <a:gd name="T0" fmla="*/ 130 w 512"/>
              <a:gd name="T1" fmla="*/ 330 h 512"/>
              <a:gd name="T2" fmla="*/ 190 w 512"/>
              <a:gd name="T3" fmla="*/ 330 h 512"/>
              <a:gd name="T4" fmla="*/ 309 w 512"/>
              <a:gd name="T5" fmla="*/ 181 h 512"/>
              <a:gd name="T6" fmla="*/ 117 w 512"/>
              <a:gd name="T7" fmla="*/ 330 h 512"/>
              <a:gd name="T8" fmla="*/ 202 w 512"/>
              <a:gd name="T9" fmla="*/ 234 h 512"/>
              <a:gd name="T10" fmla="*/ 213 w 512"/>
              <a:gd name="T11" fmla="*/ 202 h 512"/>
              <a:gd name="T12" fmla="*/ 224 w 512"/>
              <a:gd name="T13" fmla="*/ 234 h 512"/>
              <a:gd name="T14" fmla="*/ 256 w 512"/>
              <a:gd name="T15" fmla="*/ 245 h 512"/>
              <a:gd name="T16" fmla="*/ 224 w 512"/>
              <a:gd name="T17" fmla="*/ 256 h 512"/>
              <a:gd name="T18" fmla="*/ 213 w 512"/>
              <a:gd name="T19" fmla="*/ 288 h 512"/>
              <a:gd name="T20" fmla="*/ 202 w 512"/>
              <a:gd name="T21" fmla="*/ 256 h 512"/>
              <a:gd name="T22" fmla="*/ 170 w 512"/>
              <a:gd name="T23" fmla="*/ 245 h 512"/>
              <a:gd name="T24" fmla="*/ 288 w 512"/>
              <a:gd name="T25" fmla="*/ 160 h 512"/>
              <a:gd name="T26" fmla="*/ 277 w 512"/>
              <a:gd name="T27" fmla="*/ 149 h 512"/>
              <a:gd name="T28" fmla="*/ 256 w 512"/>
              <a:gd name="T29" fmla="*/ 0 h 512"/>
              <a:gd name="T30" fmla="*/ 256 w 512"/>
              <a:gd name="T31" fmla="*/ 512 h 512"/>
              <a:gd name="T32" fmla="*/ 256 w 512"/>
              <a:gd name="T33" fmla="*/ 0 h 512"/>
              <a:gd name="T34" fmla="*/ 405 w 512"/>
              <a:gd name="T35" fmla="*/ 352 h 512"/>
              <a:gd name="T36" fmla="*/ 341 w 512"/>
              <a:gd name="T37" fmla="*/ 373 h 512"/>
              <a:gd name="T38" fmla="*/ 190 w 512"/>
              <a:gd name="T39" fmla="*/ 352 h 512"/>
              <a:gd name="T40" fmla="*/ 130 w 512"/>
              <a:gd name="T41" fmla="*/ 352 h 512"/>
              <a:gd name="T42" fmla="*/ 96 w 512"/>
              <a:gd name="T43" fmla="*/ 341 h 512"/>
              <a:gd name="T44" fmla="*/ 106 w 512"/>
              <a:gd name="T45" fmla="*/ 160 h 512"/>
              <a:gd name="T46" fmla="*/ 277 w 512"/>
              <a:gd name="T47" fmla="*/ 128 h 512"/>
              <a:gd name="T48" fmla="*/ 320 w 512"/>
              <a:gd name="T49" fmla="*/ 160 h 512"/>
              <a:gd name="T50" fmla="*/ 330 w 512"/>
              <a:gd name="T51" fmla="*/ 224 h 512"/>
              <a:gd name="T52" fmla="*/ 416 w 512"/>
              <a:gd name="T53" fmla="*/ 256 h 512"/>
              <a:gd name="T54" fmla="*/ 352 w 512"/>
              <a:gd name="T55" fmla="*/ 341 h 512"/>
              <a:gd name="T56" fmla="*/ 330 w 512"/>
              <a:gd name="T57" fmla="*/ 341 h 512"/>
              <a:gd name="T58" fmla="*/ 352 w 512"/>
              <a:gd name="T59" fmla="*/ 341 h 512"/>
              <a:gd name="T60" fmla="*/ 394 w 512"/>
              <a:gd name="T61" fmla="*/ 330 h 512"/>
              <a:gd name="T62" fmla="*/ 341 w 512"/>
              <a:gd name="T63" fmla="*/ 309 h 512"/>
              <a:gd name="T64" fmla="*/ 330 w 512"/>
              <a:gd name="T65" fmla="*/ 245 h 512"/>
              <a:gd name="T66" fmla="*/ 394 w 512"/>
              <a:gd name="T67" fmla="*/ 256 h 512"/>
              <a:gd name="T68" fmla="*/ 160 w 512"/>
              <a:gd name="T69" fmla="*/ 352 h 512"/>
              <a:gd name="T70" fmla="*/ 160 w 512"/>
              <a:gd name="T71"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17" y="330"/>
                </a:moveTo>
                <a:cubicBezTo>
                  <a:pt x="130" y="330"/>
                  <a:pt x="130" y="330"/>
                  <a:pt x="130" y="330"/>
                </a:cubicBezTo>
                <a:cubicBezTo>
                  <a:pt x="134" y="318"/>
                  <a:pt x="146" y="309"/>
                  <a:pt x="160" y="309"/>
                </a:cubicBezTo>
                <a:cubicBezTo>
                  <a:pt x="174" y="309"/>
                  <a:pt x="185" y="318"/>
                  <a:pt x="190" y="330"/>
                </a:cubicBezTo>
                <a:cubicBezTo>
                  <a:pt x="309" y="330"/>
                  <a:pt x="309" y="330"/>
                  <a:pt x="309" y="330"/>
                </a:cubicBezTo>
                <a:cubicBezTo>
                  <a:pt x="309" y="181"/>
                  <a:pt x="309" y="181"/>
                  <a:pt x="309" y="181"/>
                </a:cubicBezTo>
                <a:cubicBezTo>
                  <a:pt x="117" y="181"/>
                  <a:pt x="117" y="181"/>
                  <a:pt x="117" y="181"/>
                </a:cubicBezTo>
                <a:lnTo>
                  <a:pt x="117" y="330"/>
                </a:lnTo>
                <a:close/>
                <a:moveTo>
                  <a:pt x="181" y="234"/>
                </a:moveTo>
                <a:cubicBezTo>
                  <a:pt x="202" y="234"/>
                  <a:pt x="202" y="234"/>
                  <a:pt x="202" y="234"/>
                </a:cubicBezTo>
                <a:cubicBezTo>
                  <a:pt x="202" y="213"/>
                  <a:pt x="202" y="213"/>
                  <a:pt x="202" y="213"/>
                </a:cubicBezTo>
                <a:cubicBezTo>
                  <a:pt x="202" y="207"/>
                  <a:pt x="207" y="202"/>
                  <a:pt x="213" y="202"/>
                </a:cubicBezTo>
                <a:cubicBezTo>
                  <a:pt x="219" y="202"/>
                  <a:pt x="224" y="207"/>
                  <a:pt x="224" y="213"/>
                </a:cubicBezTo>
                <a:cubicBezTo>
                  <a:pt x="224" y="234"/>
                  <a:pt x="224" y="234"/>
                  <a:pt x="224" y="234"/>
                </a:cubicBezTo>
                <a:cubicBezTo>
                  <a:pt x="245" y="234"/>
                  <a:pt x="245" y="234"/>
                  <a:pt x="245" y="234"/>
                </a:cubicBezTo>
                <a:cubicBezTo>
                  <a:pt x="251" y="234"/>
                  <a:pt x="256" y="239"/>
                  <a:pt x="256" y="245"/>
                </a:cubicBezTo>
                <a:cubicBezTo>
                  <a:pt x="256" y="251"/>
                  <a:pt x="251" y="256"/>
                  <a:pt x="245" y="256"/>
                </a:cubicBezTo>
                <a:cubicBezTo>
                  <a:pt x="224" y="256"/>
                  <a:pt x="224" y="256"/>
                  <a:pt x="224" y="256"/>
                </a:cubicBezTo>
                <a:cubicBezTo>
                  <a:pt x="224" y="277"/>
                  <a:pt x="224" y="277"/>
                  <a:pt x="224" y="277"/>
                </a:cubicBezTo>
                <a:cubicBezTo>
                  <a:pt x="224" y="283"/>
                  <a:pt x="219" y="288"/>
                  <a:pt x="213" y="288"/>
                </a:cubicBezTo>
                <a:cubicBezTo>
                  <a:pt x="207" y="288"/>
                  <a:pt x="202" y="283"/>
                  <a:pt x="202" y="277"/>
                </a:cubicBezTo>
                <a:cubicBezTo>
                  <a:pt x="202" y="256"/>
                  <a:pt x="202" y="256"/>
                  <a:pt x="202" y="256"/>
                </a:cubicBezTo>
                <a:cubicBezTo>
                  <a:pt x="181" y="256"/>
                  <a:pt x="181" y="256"/>
                  <a:pt x="181" y="256"/>
                </a:cubicBezTo>
                <a:cubicBezTo>
                  <a:pt x="175" y="256"/>
                  <a:pt x="170" y="251"/>
                  <a:pt x="170" y="245"/>
                </a:cubicBezTo>
                <a:cubicBezTo>
                  <a:pt x="170" y="239"/>
                  <a:pt x="175" y="234"/>
                  <a:pt x="181" y="234"/>
                </a:cubicBezTo>
                <a:close/>
                <a:moveTo>
                  <a:pt x="288" y="160"/>
                </a:moveTo>
                <a:cubicBezTo>
                  <a:pt x="266" y="160"/>
                  <a:pt x="266" y="160"/>
                  <a:pt x="266" y="160"/>
                </a:cubicBezTo>
                <a:cubicBezTo>
                  <a:pt x="266" y="154"/>
                  <a:pt x="271" y="149"/>
                  <a:pt x="277" y="149"/>
                </a:cubicBezTo>
                <a:cubicBezTo>
                  <a:pt x="283" y="149"/>
                  <a:pt x="288" y="154"/>
                  <a:pt x="288" y="16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245" y="160"/>
                  <a:pt x="245" y="160"/>
                  <a:pt x="245" y="160"/>
                </a:cubicBezTo>
                <a:cubicBezTo>
                  <a:pt x="245" y="142"/>
                  <a:pt x="259" y="128"/>
                  <a:pt x="277" y="128"/>
                </a:cubicBezTo>
                <a:cubicBezTo>
                  <a:pt x="295" y="128"/>
                  <a:pt x="309" y="142"/>
                  <a:pt x="309"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moveTo>
                  <a:pt x="352" y="341"/>
                </a:moveTo>
                <a:cubicBezTo>
                  <a:pt x="352" y="347"/>
                  <a:pt x="347" y="352"/>
                  <a:pt x="341" y="352"/>
                </a:cubicBezTo>
                <a:cubicBezTo>
                  <a:pt x="335" y="352"/>
                  <a:pt x="330" y="347"/>
                  <a:pt x="330" y="341"/>
                </a:cubicBezTo>
                <a:cubicBezTo>
                  <a:pt x="330" y="335"/>
                  <a:pt x="335" y="330"/>
                  <a:pt x="341" y="330"/>
                </a:cubicBezTo>
                <a:cubicBezTo>
                  <a:pt x="347" y="330"/>
                  <a:pt x="352" y="335"/>
                  <a:pt x="352" y="341"/>
                </a:cubicBezTo>
                <a:close/>
                <a:moveTo>
                  <a:pt x="394" y="256"/>
                </a:moveTo>
                <a:cubicBezTo>
                  <a:pt x="394" y="330"/>
                  <a:pt x="394" y="330"/>
                  <a:pt x="394" y="330"/>
                </a:cubicBezTo>
                <a:cubicBezTo>
                  <a:pt x="371" y="330"/>
                  <a:pt x="371" y="330"/>
                  <a:pt x="371" y="330"/>
                </a:cubicBezTo>
                <a:cubicBezTo>
                  <a:pt x="367" y="318"/>
                  <a:pt x="355" y="309"/>
                  <a:pt x="341" y="309"/>
                </a:cubicBezTo>
                <a:cubicBezTo>
                  <a:pt x="337" y="309"/>
                  <a:pt x="334" y="310"/>
                  <a:pt x="330" y="311"/>
                </a:cubicBezTo>
                <a:cubicBezTo>
                  <a:pt x="330" y="245"/>
                  <a:pt x="330" y="245"/>
                  <a:pt x="330" y="245"/>
                </a:cubicBezTo>
                <a:cubicBezTo>
                  <a:pt x="384" y="245"/>
                  <a:pt x="384" y="245"/>
                  <a:pt x="384" y="245"/>
                </a:cubicBezTo>
                <a:cubicBezTo>
                  <a:pt x="390" y="245"/>
                  <a:pt x="394" y="250"/>
                  <a:pt x="394" y="256"/>
                </a:cubicBezTo>
                <a:close/>
                <a:moveTo>
                  <a:pt x="170" y="341"/>
                </a:moveTo>
                <a:cubicBezTo>
                  <a:pt x="170" y="347"/>
                  <a:pt x="166" y="352"/>
                  <a:pt x="160" y="352"/>
                </a:cubicBezTo>
                <a:cubicBezTo>
                  <a:pt x="154" y="352"/>
                  <a:pt x="149" y="347"/>
                  <a:pt x="149" y="341"/>
                </a:cubicBezTo>
                <a:cubicBezTo>
                  <a:pt x="149" y="335"/>
                  <a:pt x="154" y="330"/>
                  <a:pt x="160" y="330"/>
                </a:cubicBezTo>
                <a:cubicBezTo>
                  <a:pt x="166" y="330"/>
                  <a:pt x="170" y="335"/>
                  <a:pt x="170" y="34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33" name="Group 49">
            <a:extLst>
              <a:ext uri="{FF2B5EF4-FFF2-40B4-BE49-F238E27FC236}">
                <a16:creationId xmlns:a16="http://schemas.microsoft.com/office/drawing/2014/main" id="{0AC360FA-D6B5-4340-A09B-A35C5FEAFABA}"/>
              </a:ext>
            </a:extLst>
          </p:cNvPr>
          <p:cNvGrpSpPr>
            <a:grpSpLocks noChangeAspect="1"/>
          </p:cNvGrpSpPr>
          <p:nvPr/>
        </p:nvGrpSpPr>
        <p:grpSpPr bwMode="auto">
          <a:xfrm>
            <a:off x="10484009" y="1714956"/>
            <a:ext cx="368051" cy="368152"/>
            <a:chOff x="411" y="619"/>
            <a:chExt cx="3635" cy="3636"/>
          </a:xfrm>
          <a:solidFill>
            <a:schemeClr val="accent1"/>
          </a:solidFill>
        </p:grpSpPr>
        <p:sp>
          <p:nvSpPr>
            <p:cNvPr id="334" name="Freeform 50">
              <a:extLst>
                <a:ext uri="{FF2B5EF4-FFF2-40B4-BE49-F238E27FC236}">
                  <a16:creationId xmlns:a16="http://schemas.microsoft.com/office/drawing/2014/main" id="{E059B4E9-4656-44FE-84FF-5F03210BB2FF}"/>
                </a:ext>
              </a:extLst>
            </p:cNvPr>
            <p:cNvSpPr>
              <a:spLocks noEditPoints="1"/>
            </p:cNvSpPr>
            <p:nvPr/>
          </p:nvSpPr>
          <p:spPr bwMode="auto">
            <a:xfrm>
              <a:off x="411" y="61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5" name="Freeform 51">
              <a:extLst>
                <a:ext uri="{FF2B5EF4-FFF2-40B4-BE49-F238E27FC236}">
                  <a16:creationId xmlns:a16="http://schemas.microsoft.com/office/drawing/2014/main" id="{352B7F6C-3D12-4CF8-B351-B815810EC77A}"/>
                </a:ext>
              </a:extLst>
            </p:cNvPr>
            <p:cNvSpPr>
              <a:spLocks noEditPoints="1"/>
            </p:cNvSpPr>
            <p:nvPr/>
          </p:nvSpPr>
          <p:spPr bwMode="auto">
            <a:xfrm>
              <a:off x="1092" y="1528"/>
              <a:ext cx="2272" cy="1740"/>
            </a:xfrm>
            <a:custGeom>
              <a:avLst/>
              <a:gdLst>
                <a:gd name="T0" fmla="*/ 234 w 320"/>
                <a:gd name="T1" fmla="*/ 96 h 245"/>
                <a:gd name="T2" fmla="*/ 224 w 320"/>
                <a:gd name="T3" fmla="*/ 32 h 245"/>
                <a:gd name="T4" fmla="*/ 181 w 320"/>
                <a:gd name="T5" fmla="*/ 0 h 245"/>
                <a:gd name="T6" fmla="*/ 10 w 320"/>
                <a:gd name="T7" fmla="*/ 32 h 245"/>
                <a:gd name="T8" fmla="*/ 0 w 320"/>
                <a:gd name="T9" fmla="*/ 213 h 245"/>
                <a:gd name="T10" fmla="*/ 34 w 320"/>
                <a:gd name="T11" fmla="*/ 224 h 245"/>
                <a:gd name="T12" fmla="*/ 94 w 320"/>
                <a:gd name="T13" fmla="*/ 224 h 245"/>
                <a:gd name="T14" fmla="*/ 245 w 320"/>
                <a:gd name="T15" fmla="*/ 245 h 245"/>
                <a:gd name="T16" fmla="*/ 309 w 320"/>
                <a:gd name="T17" fmla="*/ 224 h 245"/>
                <a:gd name="T18" fmla="*/ 320 w 320"/>
                <a:gd name="T19" fmla="*/ 128 h 245"/>
                <a:gd name="T20" fmla="*/ 181 w 320"/>
                <a:gd name="T21" fmla="*/ 21 h 245"/>
                <a:gd name="T22" fmla="*/ 170 w 320"/>
                <a:gd name="T23" fmla="*/ 32 h 245"/>
                <a:gd name="T24" fmla="*/ 21 w 320"/>
                <a:gd name="T25" fmla="*/ 53 h 245"/>
                <a:gd name="T26" fmla="*/ 213 w 320"/>
                <a:gd name="T27" fmla="*/ 202 h 245"/>
                <a:gd name="T28" fmla="*/ 64 w 320"/>
                <a:gd name="T29" fmla="*/ 181 h 245"/>
                <a:gd name="T30" fmla="*/ 21 w 320"/>
                <a:gd name="T31" fmla="*/ 202 h 245"/>
                <a:gd name="T32" fmla="*/ 64 w 320"/>
                <a:gd name="T33" fmla="*/ 224 h 245"/>
                <a:gd name="T34" fmla="*/ 64 w 320"/>
                <a:gd name="T35" fmla="*/ 202 h 245"/>
                <a:gd name="T36" fmla="*/ 64 w 320"/>
                <a:gd name="T37" fmla="*/ 224 h 245"/>
                <a:gd name="T38" fmla="*/ 234 w 320"/>
                <a:gd name="T39" fmla="*/ 213 h 245"/>
                <a:gd name="T40" fmla="*/ 256 w 320"/>
                <a:gd name="T41" fmla="*/ 213 h 245"/>
                <a:gd name="T42" fmla="*/ 298 w 320"/>
                <a:gd name="T43" fmla="*/ 202 h 245"/>
                <a:gd name="T44" fmla="*/ 245 w 320"/>
                <a:gd name="T45" fmla="*/ 181 h 245"/>
                <a:gd name="T46" fmla="*/ 234 w 320"/>
                <a:gd name="T47" fmla="*/ 117 h 245"/>
                <a:gd name="T48" fmla="*/ 298 w 320"/>
                <a:gd name="T49" fmla="*/ 128 h 245"/>
                <a:gd name="T50" fmla="*/ 74 w 320"/>
                <a:gd name="T51" fmla="*/ 117 h 245"/>
                <a:gd name="T52" fmla="*/ 106 w 320"/>
                <a:gd name="T53" fmla="*/ 106 h 245"/>
                <a:gd name="T54" fmla="*/ 117 w 320"/>
                <a:gd name="T55" fmla="*/ 74 h 245"/>
                <a:gd name="T56" fmla="*/ 128 w 320"/>
                <a:gd name="T57" fmla="*/ 106 h 245"/>
                <a:gd name="T58" fmla="*/ 160 w 320"/>
                <a:gd name="T59" fmla="*/ 117 h 245"/>
                <a:gd name="T60" fmla="*/ 128 w 320"/>
                <a:gd name="T61" fmla="*/ 128 h 245"/>
                <a:gd name="T62" fmla="*/ 117 w 320"/>
                <a:gd name="T63" fmla="*/ 160 h 245"/>
                <a:gd name="T64" fmla="*/ 106 w 320"/>
                <a:gd name="T65" fmla="*/ 128 h 245"/>
                <a:gd name="T66" fmla="*/ 74 w 320"/>
                <a:gd name="T67" fmla="*/ 117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45">
                  <a:moveTo>
                    <a:pt x="288" y="96"/>
                  </a:moveTo>
                  <a:cubicBezTo>
                    <a:pt x="234" y="96"/>
                    <a:pt x="234" y="96"/>
                    <a:pt x="234" y="96"/>
                  </a:cubicBezTo>
                  <a:cubicBezTo>
                    <a:pt x="234" y="42"/>
                    <a:pt x="234" y="42"/>
                    <a:pt x="234" y="42"/>
                  </a:cubicBezTo>
                  <a:cubicBezTo>
                    <a:pt x="234" y="36"/>
                    <a:pt x="230" y="32"/>
                    <a:pt x="224" y="32"/>
                  </a:cubicBezTo>
                  <a:cubicBezTo>
                    <a:pt x="213" y="32"/>
                    <a:pt x="213" y="32"/>
                    <a:pt x="213" y="32"/>
                  </a:cubicBezTo>
                  <a:cubicBezTo>
                    <a:pt x="213" y="14"/>
                    <a:pt x="199" y="0"/>
                    <a:pt x="181" y="0"/>
                  </a:cubicBezTo>
                  <a:cubicBezTo>
                    <a:pt x="163" y="0"/>
                    <a:pt x="149" y="14"/>
                    <a:pt x="149" y="32"/>
                  </a:cubicBezTo>
                  <a:cubicBezTo>
                    <a:pt x="10" y="32"/>
                    <a:pt x="10" y="32"/>
                    <a:pt x="10" y="32"/>
                  </a:cubicBezTo>
                  <a:cubicBezTo>
                    <a:pt x="4" y="32"/>
                    <a:pt x="0" y="36"/>
                    <a:pt x="0" y="42"/>
                  </a:cubicBezTo>
                  <a:cubicBezTo>
                    <a:pt x="0" y="213"/>
                    <a:pt x="0" y="213"/>
                    <a:pt x="0" y="213"/>
                  </a:cubicBezTo>
                  <a:cubicBezTo>
                    <a:pt x="0" y="219"/>
                    <a:pt x="4" y="224"/>
                    <a:pt x="10" y="224"/>
                  </a:cubicBezTo>
                  <a:cubicBezTo>
                    <a:pt x="34" y="224"/>
                    <a:pt x="34" y="224"/>
                    <a:pt x="34" y="224"/>
                  </a:cubicBezTo>
                  <a:cubicBezTo>
                    <a:pt x="38" y="236"/>
                    <a:pt x="50" y="245"/>
                    <a:pt x="64" y="245"/>
                  </a:cubicBezTo>
                  <a:cubicBezTo>
                    <a:pt x="78" y="245"/>
                    <a:pt x="89" y="236"/>
                    <a:pt x="94" y="224"/>
                  </a:cubicBezTo>
                  <a:cubicBezTo>
                    <a:pt x="215" y="224"/>
                    <a:pt x="215" y="224"/>
                    <a:pt x="215" y="224"/>
                  </a:cubicBezTo>
                  <a:cubicBezTo>
                    <a:pt x="219" y="236"/>
                    <a:pt x="231" y="245"/>
                    <a:pt x="245" y="245"/>
                  </a:cubicBezTo>
                  <a:cubicBezTo>
                    <a:pt x="259" y="245"/>
                    <a:pt x="271" y="236"/>
                    <a:pt x="275" y="224"/>
                  </a:cubicBezTo>
                  <a:cubicBezTo>
                    <a:pt x="309" y="224"/>
                    <a:pt x="309" y="224"/>
                    <a:pt x="309" y="224"/>
                  </a:cubicBezTo>
                  <a:cubicBezTo>
                    <a:pt x="315" y="224"/>
                    <a:pt x="320" y="219"/>
                    <a:pt x="320" y="213"/>
                  </a:cubicBezTo>
                  <a:cubicBezTo>
                    <a:pt x="320" y="128"/>
                    <a:pt x="320" y="128"/>
                    <a:pt x="320" y="128"/>
                  </a:cubicBezTo>
                  <a:cubicBezTo>
                    <a:pt x="320" y="110"/>
                    <a:pt x="305" y="96"/>
                    <a:pt x="288" y="96"/>
                  </a:cubicBezTo>
                  <a:close/>
                  <a:moveTo>
                    <a:pt x="181" y="21"/>
                  </a:moveTo>
                  <a:cubicBezTo>
                    <a:pt x="187" y="21"/>
                    <a:pt x="192" y="26"/>
                    <a:pt x="192" y="32"/>
                  </a:cubicBezTo>
                  <a:cubicBezTo>
                    <a:pt x="170" y="32"/>
                    <a:pt x="170" y="32"/>
                    <a:pt x="170" y="32"/>
                  </a:cubicBezTo>
                  <a:cubicBezTo>
                    <a:pt x="170" y="26"/>
                    <a:pt x="175" y="21"/>
                    <a:pt x="181" y="21"/>
                  </a:cubicBezTo>
                  <a:close/>
                  <a:moveTo>
                    <a:pt x="21" y="53"/>
                  </a:moveTo>
                  <a:cubicBezTo>
                    <a:pt x="213" y="53"/>
                    <a:pt x="213" y="53"/>
                    <a:pt x="213" y="53"/>
                  </a:cubicBezTo>
                  <a:cubicBezTo>
                    <a:pt x="213" y="202"/>
                    <a:pt x="213" y="202"/>
                    <a:pt x="213" y="202"/>
                  </a:cubicBezTo>
                  <a:cubicBezTo>
                    <a:pt x="94" y="202"/>
                    <a:pt x="94" y="202"/>
                    <a:pt x="94" y="202"/>
                  </a:cubicBezTo>
                  <a:cubicBezTo>
                    <a:pt x="89" y="190"/>
                    <a:pt x="78" y="181"/>
                    <a:pt x="64" y="181"/>
                  </a:cubicBezTo>
                  <a:cubicBezTo>
                    <a:pt x="50" y="181"/>
                    <a:pt x="38" y="190"/>
                    <a:pt x="34" y="202"/>
                  </a:cubicBezTo>
                  <a:cubicBezTo>
                    <a:pt x="21" y="202"/>
                    <a:pt x="21" y="202"/>
                    <a:pt x="21" y="202"/>
                  </a:cubicBezTo>
                  <a:lnTo>
                    <a:pt x="21" y="53"/>
                  </a:lnTo>
                  <a:close/>
                  <a:moveTo>
                    <a:pt x="64" y="224"/>
                  </a:moveTo>
                  <a:cubicBezTo>
                    <a:pt x="58" y="224"/>
                    <a:pt x="53" y="219"/>
                    <a:pt x="53" y="213"/>
                  </a:cubicBezTo>
                  <a:cubicBezTo>
                    <a:pt x="53" y="207"/>
                    <a:pt x="58" y="202"/>
                    <a:pt x="64" y="202"/>
                  </a:cubicBezTo>
                  <a:cubicBezTo>
                    <a:pt x="70" y="202"/>
                    <a:pt x="74" y="207"/>
                    <a:pt x="74" y="213"/>
                  </a:cubicBezTo>
                  <a:cubicBezTo>
                    <a:pt x="74" y="219"/>
                    <a:pt x="70" y="224"/>
                    <a:pt x="64" y="224"/>
                  </a:cubicBezTo>
                  <a:close/>
                  <a:moveTo>
                    <a:pt x="245" y="224"/>
                  </a:moveTo>
                  <a:cubicBezTo>
                    <a:pt x="239" y="224"/>
                    <a:pt x="234" y="219"/>
                    <a:pt x="234" y="213"/>
                  </a:cubicBezTo>
                  <a:cubicBezTo>
                    <a:pt x="234" y="207"/>
                    <a:pt x="239" y="202"/>
                    <a:pt x="245" y="202"/>
                  </a:cubicBezTo>
                  <a:cubicBezTo>
                    <a:pt x="251" y="202"/>
                    <a:pt x="256" y="207"/>
                    <a:pt x="256" y="213"/>
                  </a:cubicBezTo>
                  <a:cubicBezTo>
                    <a:pt x="256" y="219"/>
                    <a:pt x="251" y="224"/>
                    <a:pt x="245" y="224"/>
                  </a:cubicBezTo>
                  <a:close/>
                  <a:moveTo>
                    <a:pt x="298" y="202"/>
                  </a:moveTo>
                  <a:cubicBezTo>
                    <a:pt x="275" y="202"/>
                    <a:pt x="275" y="202"/>
                    <a:pt x="275" y="202"/>
                  </a:cubicBezTo>
                  <a:cubicBezTo>
                    <a:pt x="271" y="190"/>
                    <a:pt x="259" y="181"/>
                    <a:pt x="245" y="181"/>
                  </a:cubicBezTo>
                  <a:cubicBezTo>
                    <a:pt x="241" y="181"/>
                    <a:pt x="238" y="182"/>
                    <a:pt x="234" y="183"/>
                  </a:cubicBezTo>
                  <a:cubicBezTo>
                    <a:pt x="234" y="117"/>
                    <a:pt x="234" y="117"/>
                    <a:pt x="234" y="117"/>
                  </a:cubicBezTo>
                  <a:cubicBezTo>
                    <a:pt x="288" y="117"/>
                    <a:pt x="288" y="117"/>
                    <a:pt x="288" y="117"/>
                  </a:cubicBezTo>
                  <a:cubicBezTo>
                    <a:pt x="294" y="117"/>
                    <a:pt x="298" y="122"/>
                    <a:pt x="298" y="128"/>
                  </a:cubicBezTo>
                  <a:lnTo>
                    <a:pt x="298" y="202"/>
                  </a:lnTo>
                  <a:close/>
                  <a:moveTo>
                    <a:pt x="74" y="117"/>
                  </a:moveTo>
                  <a:cubicBezTo>
                    <a:pt x="74" y="111"/>
                    <a:pt x="79" y="106"/>
                    <a:pt x="85" y="106"/>
                  </a:cubicBezTo>
                  <a:cubicBezTo>
                    <a:pt x="106" y="106"/>
                    <a:pt x="106" y="106"/>
                    <a:pt x="106" y="106"/>
                  </a:cubicBezTo>
                  <a:cubicBezTo>
                    <a:pt x="106" y="85"/>
                    <a:pt x="106" y="85"/>
                    <a:pt x="106" y="85"/>
                  </a:cubicBezTo>
                  <a:cubicBezTo>
                    <a:pt x="106" y="79"/>
                    <a:pt x="111" y="74"/>
                    <a:pt x="117" y="74"/>
                  </a:cubicBezTo>
                  <a:cubicBezTo>
                    <a:pt x="123" y="74"/>
                    <a:pt x="128" y="79"/>
                    <a:pt x="128" y="85"/>
                  </a:cubicBezTo>
                  <a:cubicBezTo>
                    <a:pt x="128" y="106"/>
                    <a:pt x="128" y="106"/>
                    <a:pt x="128" y="106"/>
                  </a:cubicBezTo>
                  <a:cubicBezTo>
                    <a:pt x="149" y="106"/>
                    <a:pt x="149" y="106"/>
                    <a:pt x="149" y="106"/>
                  </a:cubicBezTo>
                  <a:cubicBezTo>
                    <a:pt x="155" y="106"/>
                    <a:pt x="160" y="111"/>
                    <a:pt x="160" y="117"/>
                  </a:cubicBezTo>
                  <a:cubicBezTo>
                    <a:pt x="160" y="123"/>
                    <a:pt x="155" y="128"/>
                    <a:pt x="149" y="128"/>
                  </a:cubicBezTo>
                  <a:cubicBezTo>
                    <a:pt x="128" y="128"/>
                    <a:pt x="128" y="128"/>
                    <a:pt x="128" y="128"/>
                  </a:cubicBezTo>
                  <a:cubicBezTo>
                    <a:pt x="128" y="149"/>
                    <a:pt x="128" y="149"/>
                    <a:pt x="128" y="149"/>
                  </a:cubicBezTo>
                  <a:cubicBezTo>
                    <a:pt x="128" y="155"/>
                    <a:pt x="123" y="160"/>
                    <a:pt x="117" y="160"/>
                  </a:cubicBezTo>
                  <a:cubicBezTo>
                    <a:pt x="111" y="160"/>
                    <a:pt x="106" y="155"/>
                    <a:pt x="106" y="149"/>
                  </a:cubicBezTo>
                  <a:cubicBezTo>
                    <a:pt x="106" y="128"/>
                    <a:pt x="106" y="128"/>
                    <a:pt x="106" y="128"/>
                  </a:cubicBezTo>
                  <a:cubicBezTo>
                    <a:pt x="85" y="128"/>
                    <a:pt x="85" y="128"/>
                    <a:pt x="85" y="128"/>
                  </a:cubicBezTo>
                  <a:cubicBezTo>
                    <a:pt x="79" y="128"/>
                    <a:pt x="74" y="123"/>
                    <a:pt x="74"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36" name="Freeform 15">
            <a:extLst>
              <a:ext uri="{FF2B5EF4-FFF2-40B4-BE49-F238E27FC236}">
                <a16:creationId xmlns:a16="http://schemas.microsoft.com/office/drawing/2014/main" id="{71548C1B-7CB2-4D68-940F-1AD59ECFE776}"/>
              </a:ext>
            </a:extLst>
          </p:cNvPr>
          <p:cNvSpPr>
            <a:spLocks noChangeAspect="1" noEditPoints="1"/>
          </p:cNvSpPr>
          <p:nvPr/>
        </p:nvSpPr>
        <p:spPr bwMode="auto">
          <a:xfrm>
            <a:off x="10918663" y="1713432"/>
            <a:ext cx="369676" cy="369676"/>
          </a:xfrm>
          <a:custGeom>
            <a:avLst/>
            <a:gdLst>
              <a:gd name="T0" fmla="*/ 213 w 512"/>
              <a:gd name="T1" fmla="*/ 258 h 512"/>
              <a:gd name="T2" fmla="*/ 298 w 512"/>
              <a:gd name="T3" fmla="*/ 288 h 512"/>
              <a:gd name="T4" fmla="*/ 303 w 512"/>
              <a:gd name="T5" fmla="*/ 250 h 512"/>
              <a:gd name="T6" fmla="*/ 256 w 512"/>
              <a:gd name="T7" fmla="*/ 117 h 512"/>
              <a:gd name="T8" fmla="*/ 209 w 512"/>
              <a:gd name="T9" fmla="*/ 250 h 512"/>
              <a:gd name="T10" fmla="*/ 280 w 512"/>
              <a:gd name="T11" fmla="*/ 195 h 512"/>
              <a:gd name="T12" fmla="*/ 295 w 512"/>
              <a:gd name="T13" fmla="*/ 195 h 512"/>
              <a:gd name="T14" fmla="*/ 298 w 512"/>
              <a:gd name="T15" fmla="*/ 202 h 512"/>
              <a:gd name="T16" fmla="*/ 292 w 512"/>
              <a:gd name="T17" fmla="*/ 212 h 512"/>
              <a:gd name="T18" fmla="*/ 280 w 512"/>
              <a:gd name="T19" fmla="*/ 210 h 512"/>
              <a:gd name="T20" fmla="*/ 277 w 512"/>
              <a:gd name="T21" fmla="*/ 202 h 512"/>
              <a:gd name="T22" fmla="*/ 214 w 512"/>
              <a:gd name="T23" fmla="*/ 198 h 512"/>
              <a:gd name="T24" fmla="*/ 228 w 512"/>
              <a:gd name="T25" fmla="*/ 193 h 512"/>
              <a:gd name="T26" fmla="*/ 233 w 512"/>
              <a:gd name="T27" fmla="*/ 198 h 512"/>
              <a:gd name="T28" fmla="*/ 233 w 512"/>
              <a:gd name="T29" fmla="*/ 206 h 512"/>
              <a:gd name="T30" fmla="*/ 228 w 512"/>
              <a:gd name="T31" fmla="*/ 212 h 512"/>
              <a:gd name="T32" fmla="*/ 220 w 512"/>
              <a:gd name="T33" fmla="*/ 212 h 512"/>
              <a:gd name="T34" fmla="*/ 214 w 512"/>
              <a:gd name="T35" fmla="*/ 206 h 512"/>
              <a:gd name="T36" fmla="*/ 214 w 512"/>
              <a:gd name="T37" fmla="*/ 198 h 512"/>
              <a:gd name="T38" fmla="*/ 0 w 512"/>
              <a:gd name="T39" fmla="*/ 256 h 512"/>
              <a:gd name="T40" fmla="*/ 512 w 512"/>
              <a:gd name="T41" fmla="*/ 256 h 512"/>
              <a:gd name="T42" fmla="*/ 256 w 512"/>
              <a:gd name="T43" fmla="*/ 96 h 512"/>
              <a:gd name="T44" fmla="*/ 320 w 512"/>
              <a:gd name="T45" fmla="*/ 263 h 512"/>
              <a:gd name="T46" fmla="*/ 309 w 512"/>
              <a:gd name="T47" fmla="*/ 309 h 512"/>
              <a:gd name="T48" fmla="*/ 195 w 512"/>
              <a:gd name="T49" fmla="*/ 306 h 512"/>
              <a:gd name="T50" fmla="*/ 192 w 512"/>
              <a:gd name="T51" fmla="*/ 263 h 512"/>
              <a:gd name="T52" fmla="*/ 256 w 512"/>
              <a:gd name="T53" fmla="*/ 96 h 512"/>
              <a:gd name="T54" fmla="*/ 372 w 512"/>
              <a:gd name="T55" fmla="*/ 409 h 512"/>
              <a:gd name="T56" fmla="*/ 359 w 512"/>
              <a:gd name="T57" fmla="*/ 415 h 512"/>
              <a:gd name="T58" fmla="*/ 153 w 512"/>
              <a:gd name="T59" fmla="*/ 415 h 512"/>
              <a:gd name="T60" fmla="*/ 139 w 512"/>
              <a:gd name="T61" fmla="*/ 409 h 512"/>
              <a:gd name="T62" fmla="*/ 223 w 512"/>
              <a:gd name="T63" fmla="*/ 368 h 512"/>
              <a:gd name="T64" fmla="*/ 139 w 512"/>
              <a:gd name="T65" fmla="*/ 327 h 512"/>
              <a:gd name="T66" fmla="*/ 256 w 512"/>
              <a:gd name="T67" fmla="*/ 356 h 512"/>
              <a:gd name="T68" fmla="*/ 372 w 512"/>
              <a:gd name="T69" fmla="*/ 327 h 512"/>
              <a:gd name="T70" fmla="*/ 288 w 512"/>
              <a:gd name="T71"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09" y="250"/>
                </a:moveTo>
                <a:cubicBezTo>
                  <a:pt x="212" y="252"/>
                  <a:pt x="213" y="255"/>
                  <a:pt x="213" y="258"/>
                </a:cubicBezTo>
                <a:cubicBezTo>
                  <a:pt x="213" y="288"/>
                  <a:pt x="213" y="288"/>
                  <a:pt x="213" y="288"/>
                </a:cubicBezTo>
                <a:cubicBezTo>
                  <a:pt x="298" y="288"/>
                  <a:pt x="298" y="288"/>
                  <a:pt x="298" y="288"/>
                </a:cubicBezTo>
                <a:cubicBezTo>
                  <a:pt x="298" y="258"/>
                  <a:pt x="298" y="258"/>
                  <a:pt x="298" y="258"/>
                </a:cubicBezTo>
                <a:cubicBezTo>
                  <a:pt x="298" y="255"/>
                  <a:pt x="300" y="252"/>
                  <a:pt x="303" y="250"/>
                </a:cubicBezTo>
                <a:cubicBezTo>
                  <a:pt x="321" y="237"/>
                  <a:pt x="330" y="216"/>
                  <a:pt x="330" y="192"/>
                </a:cubicBezTo>
                <a:cubicBezTo>
                  <a:pt x="330" y="150"/>
                  <a:pt x="297" y="117"/>
                  <a:pt x="256" y="117"/>
                </a:cubicBezTo>
                <a:cubicBezTo>
                  <a:pt x="214" y="117"/>
                  <a:pt x="181" y="150"/>
                  <a:pt x="181" y="192"/>
                </a:cubicBezTo>
                <a:cubicBezTo>
                  <a:pt x="181" y="214"/>
                  <a:pt x="191" y="236"/>
                  <a:pt x="209" y="250"/>
                </a:cubicBezTo>
                <a:close/>
                <a:moveTo>
                  <a:pt x="278" y="198"/>
                </a:moveTo>
                <a:cubicBezTo>
                  <a:pt x="278" y="197"/>
                  <a:pt x="279" y="196"/>
                  <a:pt x="280" y="195"/>
                </a:cubicBezTo>
                <a:cubicBezTo>
                  <a:pt x="281" y="194"/>
                  <a:pt x="282" y="193"/>
                  <a:pt x="284" y="193"/>
                </a:cubicBezTo>
                <a:cubicBezTo>
                  <a:pt x="287" y="191"/>
                  <a:pt x="292" y="192"/>
                  <a:pt x="295" y="195"/>
                </a:cubicBezTo>
                <a:cubicBezTo>
                  <a:pt x="296" y="196"/>
                  <a:pt x="297" y="197"/>
                  <a:pt x="297" y="198"/>
                </a:cubicBezTo>
                <a:cubicBezTo>
                  <a:pt x="298" y="200"/>
                  <a:pt x="298" y="201"/>
                  <a:pt x="298" y="202"/>
                </a:cubicBezTo>
                <a:cubicBezTo>
                  <a:pt x="298" y="205"/>
                  <a:pt x="297" y="208"/>
                  <a:pt x="295" y="210"/>
                </a:cubicBezTo>
                <a:cubicBezTo>
                  <a:pt x="294" y="211"/>
                  <a:pt x="293" y="212"/>
                  <a:pt x="292" y="212"/>
                </a:cubicBezTo>
                <a:cubicBezTo>
                  <a:pt x="290" y="213"/>
                  <a:pt x="289" y="213"/>
                  <a:pt x="288" y="213"/>
                </a:cubicBezTo>
                <a:cubicBezTo>
                  <a:pt x="285" y="213"/>
                  <a:pt x="282" y="212"/>
                  <a:pt x="280" y="210"/>
                </a:cubicBezTo>
                <a:cubicBezTo>
                  <a:pt x="279" y="209"/>
                  <a:pt x="278" y="208"/>
                  <a:pt x="278" y="206"/>
                </a:cubicBezTo>
                <a:cubicBezTo>
                  <a:pt x="277" y="205"/>
                  <a:pt x="277" y="204"/>
                  <a:pt x="277" y="202"/>
                </a:cubicBezTo>
                <a:cubicBezTo>
                  <a:pt x="277" y="201"/>
                  <a:pt x="277" y="200"/>
                  <a:pt x="278" y="198"/>
                </a:cubicBezTo>
                <a:close/>
                <a:moveTo>
                  <a:pt x="214" y="198"/>
                </a:moveTo>
                <a:cubicBezTo>
                  <a:pt x="214" y="197"/>
                  <a:pt x="215" y="196"/>
                  <a:pt x="216" y="195"/>
                </a:cubicBezTo>
                <a:cubicBezTo>
                  <a:pt x="219" y="192"/>
                  <a:pt x="224" y="191"/>
                  <a:pt x="228" y="193"/>
                </a:cubicBezTo>
                <a:cubicBezTo>
                  <a:pt x="229" y="193"/>
                  <a:pt x="230" y="194"/>
                  <a:pt x="231" y="195"/>
                </a:cubicBezTo>
                <a:cubicBezTo>
                  <a:pt x="232" y="196"/>
                  <a:pt x="233" y="197"/>
                  <a:pt x="233" y="198"/>
                </a:cubicBezTo>
                <a:cubicBezTo>
                  <a:pt x="234" y="200"/>
                  <a:pt x="234" y="201"/>
                  <a:pt x="234" y="202"/>
                </a:cubicBezTo>
                <a:cubicBezTo>
                  <a:pt x="234" y="204"/>
                  <a:pt x="234" y="205"/>
                  <a:pt x="233" y="206"/>
                </a:cubicBezTo>
                <a:cubicBezTo>
                  <a:pt x="233" y="208"/>
                  <a:pt x="232" y="209"/>
                  <a:pt x="231" y="210"/>
                </a:cubicBezTo>
                <a:cubicBezTo>
                  <a:pt x="230" y="211"/>
                  <a:pt x="229" y="212"/>
                  <a:pt x="228" y="212"/>
                </a:cubicBezTo>
                <a:cubicBezTo>
                  <a:pt x="226" y="213"/>
                  <a:pt x="225" y="213"/>
                  <a:pt x="224" y="213"/>
                </a:cubicBezTo>
                <a:cubicBezTo>
                  <a:pt x="222" y="213"/>
                  <a:pt x="221" y="213"/>
                  <a:pt x="220" y="212"/>
                </a:cubicBezTo>
                <a:cubicBezTo>
                  <a:pt x="218" y="212"/>
                  <a:pt x="217" y="211"/>
                  <a:pt x="216" y="210"/>
                </a:cubicBezTo>
                <a:cubicBezTo>
                  <a:pt x="215" y="209"/>
                  <a:pt x="214" y="208"/>
                  <a:pt x="214" y="206"/>
                </a:cubicBezTo>
                <a:cubicBezTo>
                  <a:pt x="213" y="205"/>
                  <a:pt x="213" y="204"/>
                  <a:pt x="213" y="202"/>
                </a:cubicBezTo>
                <a:cubicBezTo>
                  <a:pt x="213" y="201"/>
                  <a:pt x="213" y="200"/>
                  <a:pt x="214" y="19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309" y="96"/>
                  <a:pt x="352" y="139"/>
                  <a:pt x="352" y="192"/>
                </a:cubicBezTo>
                <a:cubicBezTo>
                  <a:pt x="352" y="221"/>
                  <a:pt x="340" y="246"/>
                  <a:pt x="320" y="263"/>
                </a:cubicBezTo>
                <a:cubicBezTo>
                  <a:pt x="320" y="298"/>
                  <a:pt x="320" y="298"/>
                  <a:pt x="320" y="298"/>
                </a:cubicBezTo>
                <a:cubicBezTo>
                  <a:pt x="320" y="304"/>
                  <a:pt x="315" y="309"/>
                  <a:pt x="309" y="309"/>
                </a:cubicBezTo>
                <a:cubicBezTo>
                  <a:pt x="202" y="309"/>
                  <a:pt x="202" y="309"/>
                  <a:pt x="202" y="309"/>
                </a:cubicBezTo>
                <a:cubicBezTo>
                  <a:pt x="199" y="309"/>
                  <a:pt x="197" y="308"/>
                  <a:pt x="195" y="306"/>
                </a:cubicBezTo>
                <a:cubicBezTo>
                  <a:pt x="193" y="304"/>
                  <a:pt x="192" y="301"/>
                  <a:pt x="192" y="298"/>
                </a:cubicBezTo>
                <a:cubicBezTo>
                  <a:pt x="192" y="263"/>
                  <a:pt x="192" y="263"/>
                  <a:pt x="192" y="263"/>
                </a:cubicBezTo>
                <a:cubicBezTo>
                  <a:pt x="171" y="245"/>
                  <a:pt x="160" y="219"/>
                  <a:pt x="160" y="192"/>
                </a:cubicBezTo>
                <a:cubicBezTo>
                  <a:pt x="160" y="139"/>
                  <a:pt x="203" y="96"/>
                  <a:pt x="256" y="96"/>
                </a:cubicBezTo>
                <a:close/>
                <a:moveTo>
                  <a:pt x="366" y="395"/>
                </a:moveTo>
                <a:cubicBezTo>
                  <a:pt x="371" y="397"/>
                  <a:pt x="374" y="403"/>
                  <a:pt x="372" y="409"/>
                </a:cubicBezTo>
                <a:cubicBezTo>
                  <a:pt x="371" y="413"/>
                  <a:pt x="367" y="416"/>
                  <a:pt x="362" y="416"/>
                </a:cubicBezTo>
                <a:cubicBezTo>
                  <a:pt x="361" y="416"/>
                  <a:pt x="360" y="415"/>
                  <a:pt x="359" y="415"/>
                </a:cubicBezTo>
                <a:cubicBezTo>
                  <a:pt x="256" y="379"/>
                  <a:pt x="256" y="379"/>
                  <a:pt x="256" y="379"/>
                </a:cubicBezTo>
                <a:cubicBezTo>
                  <a:pt x="153" y="415"/>
                  <a:pt x="153" y="415"/>
                  <a:pt x="153" y="415"/>
                </a:cubicBezTo>
                <a:cubicBezTo>
                  <a:pt x="151" y="415"/>
                  <a:pt x="150" y="416"/>
                  <a:pt x="149" y="416"/>
                </a:cubicBezTo>
                <a:cubicBezTo>
                  <a:pt x="145" y="416"/>
                  <a:pt x="140" y="413"/>
                  <a:pt x="139" y="409"/>
                </a:cubicBezTo>
                <a:cubicBezTo>
                  <a:pt x="137" y="403"/>
                  <a:pt x="140" y="397"/>
                  <a:pt x="145" y="395"/>
                </a:cubicBezTo>
                <a:cubicBezTo>
                  <a:pt x="223" y="368"/>
                  <a:pt x="223" y="368"/>
                  <a:pt x="223" y="368"/>
                </a:cubicBezTo>
                <a:cubicBezTo>
                  <a:pt x="145" y="340"/>
                  <a:pt x="145" y="340"/>
                  <a:pt x="145" y="340"/>
                </a:cubicBezTo>
                <a:cubicBezTo>
                  <a:pt x="140" y="338"/>
                  <a:pt x="137" y="332"/>
                  <a:pt x="139" y="327"/>
                </a:cubicBezTo>
                <a:cubicBezTo>
                  <a:pt x="141" y="321"/>
                  <a:pt x="147" y="318"/>
                  <a:pt x="153" y="320"/>
                </a:cubicBezTo>
                <a:cubicBezTo>
                  <a:pt x="256" y="356"/>
                  <a:pt x="256" y="356"/>
                  <a:pt x="256" y="356"/>
                </a:cubicBezTo>
                <a:cubicBezTo>
                  <a:pt x="359" y="320"/>
                  <a:pt x="359" y="320"/>
                  <a:pt x="359" y="320"/>
                </a:cubicBezTo>
                <a:cubicBezTo>
                  <a:pt x="364" y="318"/>
                  <a:pt x="370" y="321"/>
                  <a:pt x="372" y="327"/>
                </a:cubicBezTo>
                <a:cubicBezTo>
                  <a:pt x="374" y="332"/>
                  <a:pt x="371" y="338"/>
                  <a:pt x="366" y="340"/>
                </a:cubicBezTo>
                <a:cubicBezTo>
                  <a:pt x="288" y="368"/>
                  <a:pt x="288" y="368"/>
                  <a:pt x="288" y="368"/>
                </a:cubicBezTo>
                <a:lnTo>
                  <a:pt x="366" y="39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37" name="Group 4">
            <a:extLst>
              <a:ext uri="{FF2B5EF4-FFF2-40B4-BE49-F238E27FC236}">
                <a16:creationId xmlns:a16="http://schemas.microsoft.com/office/drawing/2014/main" id="{87D1450A-BCD6-4531-99FF-E8384986258D}"/>
              </a:ext>
            </a:extLst>
          </p:cNvPr>
          <p:cNvGrpSpPr>
            <a:grpSpLocks noChangeAspect="1"/>
          </p:cNvGrpSpPr>
          <p:nvPr/>
        </p:nvGrpSpPr>
        <p:grpSpPr bwMode="auto">
          <a:xfrm>
            <a:off x="11354939" y="1712308"/>
            <a:ext cx="370800" cy="370800"/>
            <a:chOff x="5368" y="850"/>
            <a:chExt cx="254" cy="254"/>
          </a:xfrm>
          <a:solidFill>
            <a:schemeClr val="accent1"/>
          </a:solidFill>
        </p:grpSpPr>
        <p:sp>
          <p:nvSpPr>
            <p:cNvPr id="338" name="Line 5">
              <a:extLst>
                <a:ext uri="{FF2B5EF4-FFF2-40B4-BE49-F238E27FC236}">
                  <a16:creationId xmlns:a16="http://schemas.microsoft.com/office/drawing/2014/main" id="{D09B22DE-9AAB-4DB9-9C0B-F62DC33F3DA2}"/>
                </a:ext>
              </a:extLst>
            </p:cNvPr>
            <p:cNvSpPr>
              <a:spLocks noChangeShapeType="1"/>
            </p:cNvSpPr>
            <p:nvPr/>
          </p:nvSpPr>
          <p:spPr bwMode="auto">
            <a:xfrm>
              <a:off x="5495" y="855"/>
              <a:ext cx="0" cy="0"/>
            </a:xfrm>
            <a:prstGeom prst="line">
              <a:avLst/>
            </a:prstGeom>
            <a:grpFill/>
            <a:ln w="158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39" name="Freeform 6">
              <a:extLst>
                <a:ext uri="{FF2B5EF4-FFF2-40B4-BE49-F238E27FC236}">
                  <a16:creationId xmlns:a16="http://schemas.microsoft.com/office/drawing/2014/main" id="{752A7167-29B7-4863-8595-B16B6191A8A0}"/>
                </a:ext>
              </a:extLst>
            </p:cNvPr>
            <p:cNvSpPr>
              <a:spLocks noEditPoints="1"/>
            </p:cNvSpPr>
            <p:nvPr/>
          </p:nvSpPr>
          <p:spPr bwMode="auto">
            <a:xfrm>
              <a:off x="5447" y="898"/>
              <a:ext cx="96" cy="105"/>
            </a:xfrm>
            <a:custGeom>
              <a:avLst/>
              <a:gdLst>
                <a:gd name="T0" fmla="*/ 149 w 192"/>
                <a:gd name="T1" fmla="*/ 213 h 213"/>
                <a:gd name="T2" fmla="*/ 42 w 192"/>
                <a:gd name="T3" fmla="*/ 213 h 213"/>
                <a:gd name="T4" fmla="*/ 35 w 192"/>
                <a:gd name="T5" fmla="*/ 210 h 213"/>
                <a:gd name="T6" fmla="*/ 32 w 192"/>
                <a:gd name="T7" fmla="*/ 202 h 213"/>
                <a:gd name="T8" fmla="*/ 32 w 192"/>
                <a:gd name="T9" fmla="*/ 167 h 213"/>
                <a:gd name="T10" fmla="*/ 0 w 192"/>
                <a:gd name="T11" fmla="*/ 96 h 213"/>
                <a:gd name="T12" fmla="*/ 96 w 192"/>
                <a:gd name="T13" fmla="*/ 0 h 213"/>
                <a:gd name="T14" fmla="*/ 192 w 192"/>
                <a:gd name="T15" fmla="*/ 96 h 213"/>
                <a:gd name="T16" fmla="*/ 160 w 192"/>
                <a:gd name="T17" fmla="*/ 167 h 213"/>
                <a:gd name="T18" fmla="*/ 160 w 192"/>
                <a:gd name="T19" fmla="*/ 202 h 213"/>
                <a:gd name="T20" fmla="*/ 149 w 192"/>
                <a:gd name="T21" fmla="*/ 213 h 213"/>
                <a:gd name="T22" fmla="*/ 53 w 192"/>
                <a:gd name="T23" fmla="*/ 192 h 213"/>
                <a:gd name="T24" fmla="*/ 138 w 192"/>
                <a:gd name="T25" fmla="*/ 192 h 213"/>
                <a:gd name="T26" fmla="*/ 138 w 192"/>
                <a:gd name="T27" fmla="*/ 162 h 213"/>
                <a:gd name="T28" fmla="*/ 143 w 192"/>
                <a:gd name="T29" fmla="*/ 154 h 213"/>
                <a:gd name="T30" fmla="*/ 170 w 192"/>
                <a:gd name="T31" fmla="*/ 96 h 213"/>
                <a:gd name="T32" fmla="*/ 96 w 192"/>
                <a:gd name="T33" fmla="*/ 21 h 213"/>
                <a:gd name="T34" fmla="*/ 21 w 192"/>
                <a:gd name="T35" fmla="*/ 96 h 213"/>
                <a:gd name="T36" fmla="*/ 49 w 192"/>
                <a:gd name="T37" fmla="*/ 154 h 213"/>
                <a:gd name="T38" fmla="*/ 53 w 192"/>
                <a:gd name="T39" fmla="*/ 162 h 213"/>
                <a:gd name="T40" fmla="*/ 53 w 192"/>
                <a:gd name="T41"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13">
                  <a:moveTo>
                    <a:pt x="149" y="213"/>
                  </a:moveTo>
                  <a:cubicBezTo>
                    <a:pt x="42" y="213"/>
                    <a:pt x="42" y="213"/>
                    <a:pt x="42" y="213"/>
                  </a:cubicBezTo>
                  <a:cubicBezTo>
                    <a:pt x="40" y="213"/>
                    <a:pt x="37" y="212"/>
                    <a:pt x="35" y="210"/>
                  </a:cubicBezTo>
                  <a:cubicBezTo>
                    <a:pt x="33" y="208"/>
                    <a:pt x="32" y="205"/>
                    <a:pt x="32" y="202"/>
                  </a:cubicBezTo>
                  <a:cubicBezTo>
                    <a:pt x="32" y="167"/>
                    <a:pt x="32" y="167"/>
                    <a:pt x="32" y="167"/>
                  </a:cubicBezTo>
                  <a:cubicBezTo>
                    <a:pt x="11" y="149"/>
                    <a:pt x="0" y="123"/>
                    <a:pt x="0" y="96"/>
                  </a:cubicBezTo>
                  <a:cubicBezTo>
                    <a:pt x="0" y="43"/>
                    <a:pt x="43" y="0"/>
                    <a:pt x="96" y="0"/>
                  </a:cubicBezTo>
                  <a:cubicBezTo>
                    <a:pt x="149" y="0"/>
                    <a:pt x="192" y="43"/>
                    <a:pt x="192" y="96"/>
                  </a:cubicBezTo>
                  <a:cubicBezTo>
                    <a:pt x="192" y="125"/>
                    <a:pt x="180" y="150"/>
                    <a:pt x="160" y="167"/>
                  </a:cubicBezTo>
                  <a:cubicBezTo>
                    <a:pt x="160" y="202"/>
                    <a:pt x="160" y="202"/>
                    <a:pt x="160" y="202"/>
                  </a:cubicBezTo>
                  <a:cubicBezTo>
                    <a:pt x="160" y="208"/>
                    <a:pt x="155" y="213"/>
                    <a:pt x="149" y="213"/>
                  </a:cubicBezTo>
                  <a:close/>
                  <a:moveTo>
                    <a:pt x="53" y="192"/>
                  </a:moveTo>
                  <a:cubicBezTo>
                    <a:pt x="138" y="192"/>
                    <a:pt x="138" y="192"/>
                    <a:pt x="138" y="192"/>
                  </a:cubicBezTo>
                  <a:cubicBezTo>
                    <a:pt x="138" y="162"/>
                    <a:pt x="138" y="162"/>
                    <a:pt x="138" y="162"/>
                  </a:cubicBezTo>
                  <a:cubicBezTo>
                    <a:pt x="138" y="159"/>
                    <a:pt x="140" y="156"/>
                    <a:pt x="143" y="154"/>
                  </a:cubicBezTo>
                  <a:cubicBezTo>
                    <a:pt x="161" y="141"/>
                    <a:pt x="170" y="120"/>
                    <a:pt x="170" y="96"/>
                  </a:cubicBezTo>
                  <a:cubicBezTo>
                    <a:pt x="170" y="54"/>
                    <a:pt x="137" y="21"/>
                    <a:pt x="96" y="21"/>
                  </a:cubicBezTo>
                  <a:cubicBezTo>
                    <a:pt x="54" y="21"/>
                    <a:pt x="21" y="54"/>
                    <a:pt x="21" y="96"/>
                  </a:cubicBezTo>
                  <a:cubicBezTo>
                    <a:pt x="21" y="118"/>
                    <a:pt x="31" y="140"/>
                    <a:pt x="49" y="154"/>
                  </a:cubicBezTo>
                  <a:cubicBezTo>
                    <a:pt x="52" y="156"/>
                    <a:pt x="53" y="159"/>
                    <a:pt x="53" y="162"/>
                  </a:cubicBezTo>
                  <a:lnTo>
                    <a:pt x="53"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0" name="Freeform 7">
              <a:extLst>
                <a:ext uri="{FF2B5EF4-FFF2-40B4-BE49-F238E27FC236}">
                  <a16:creationId xmlns:a16="http://schemas.microsoft.com/office/drawing/2014/main" id="{70D06A9D-03A9-40BD-83F7-8EF2D537F081}"/>
                </a:ext>
              </a:extLst>
            </p:cNvPr>
            <p:cNvSpPr>
              <a:spLocks/>
            </p:cNvSpPr>
            <p:nvPr/>
          </p:nvSpPr>
          <p:spPr bwMode="auto">
            <a:xfrm>
              <a:off x="5436" y="1008"/>
              <a:ext cx="118" cy="48"/>
            </a:xfrm>
            <a:custGeom>
              <a:avLst/>
              <a:gdLst>
                <a:gd name="T0" fmla="*/ 229 w 237"/>
                <a:gd name="T1" fmla="*/ 77 h 98"/>
                <a:gd name="T2" fmla="*/ 151 w 237"/>
                <a:gd name="T3" fmla="*/ 50 h 98"/>
                <a:gd name="T4" fmla="*/ 229 w 237"/>
                <a:gd name="T5" fmla="*/ 22 h 98"/>
                <a:gd name="T6" fmla="*/ 235 w 237"/>
                <a:gd name="T7" fmla="*/ 9 h 98"/>
                <a:gd name="T8" fmla="*/ 222 w 237"/>
                <a:gd name="T9" fmla="*/ 2 h 98"/>
                <a:gd name="T10" fmla="*/ 119 w 237"/>
                <a:gd name="T11" fmla="*/ 38 h 98"/>
                <a:gd name="T12" fmla="*/ 16 w 237"/>
                <a:gd name="T13" fmla="*/ 2 h 98"/>
                <a:gd name="T14" fmla="*/ 2 w 237"/>
                <a:gd name="T15" fmla="*/ 9 h 98"/>
                <a:gd name="T16" fmla="*/ 8 w 237"/>
                <a:gd name="T17" fmla="*/ 22 h 98"/>
                <a:gd name="T18" fmla="*/ 86 w 237"/>
                <a:gd name="T19" fmla="*/ 50 h 98"/>
                <a:gd name="T20" fmla="*/ 8 w 237"/>
                <a:gd name="T21" fmla="*/ 77 h 98"/>
                <a:gd name="T22" fmla="*/ 2 w 237"/>
                <a:gd name="T23" fmla="*/ 91 h 98"/>
                <a:gd name="T24" fmla="*/ 12 w 237"/>
                <a:gd name="T25" fmla="*/ 98 h 98"/>
                <a:gd name="T26" fmla="*/ 16 w 237"/>
                <a:gd name="T27" fmla="*/ 97 h 98"/>
                <a:gd name="T28" fmla="*/ 119 w 237"/>
                <a:gd name="T29" fmla="*/ 61 h 98"/>
                <a:gd name="T30" fmla="*/ 222 w 237"/>
                <a:gd name="T31" fmla="*/ 97 h 98"/>
                <a:gd name="T32" fmla="*/ 225 w 237"/>
                <a:gd name="T33" fmla="*/ 98 h 98"/>
                <a:gd name="T34" fmla="*/ 235 w 237"/>
                <a:gd name="T35" fmla="*/ 91 h 98"/>
                <a:gd name="T36" fmla="*/ 229 w 237"/>
                <a:gd name="T37"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98">
                  <a:moveTo>
                    <a:pt x="229" y="77"/>
                  </a:moveTo>
                  <a:cubicBezTo>
                    <a:pt x="151" y="50"/>
                    <a:pt x="151" y="50"/>
                    <a:pt x="151" y="50"/>
                  </a:cubicBezTo>
                  <a:cubicBezTo>
                    <a:pt x="229" y="22"/>
                    <a:pt x="229" y="22"/>
                    <a:pt x="229" y="22"/>
                  </a:cubicBezTo>
                  <a:cubicBezTo>
                    <a:pt x="234" y="20"/>
                    <a:pt x="237" y="14"/>
                    <a:pt x="235" y="9"/>
                  </a:cubicBezTo>
                  <a:cubicBezTo>
                    <a:pt x="233" y="3"/>
                    <a:pt x="227" y="0"/>
                    <a:pt x="222" y="2"/>
                  </a:cubicBezTo>
                  <a:cubicBezTo>
                    <a:pt x="119" y="38"/>
                    <a:pt x="119" y="38"/>
                    <a:pt x="119" y="38"/>
                  </a:cubicBezTo>
                  <a:cubicBezTo>
                    <a:pt x="16" y="2"/>
                    <a:pt x="16" y="2"/>
                    <a:pt x="16" y="2"/>
                  </a:cubicBezTo>
                  <a:cubicBezTo>
                    <a:pt x="10" y="0"/>
                    <a:pt x="4" y="3"/>
                    <a:pt x="2" y="9"/>
                  </a:cubicBezTo>
                  <a:cubicBezTo>
                    <a:pt x="0" y="14"/>
                    <a:pt x="3" y="20"/>
                    <a:pt x="8" y="22"/>
                  </a:cubicBezTo>
                  <a:cubicBezTo>
                    <a:pt x="86" y="50"/>
                    <a:pt x="86" y="50"/>
                    <a:pt x="86" y="50"/>
                  </a:cubicBezTo>
                  <a:cubicBezTo>
                    <a:pt x="8" y="77"/>
                    <a:pt x="8" y="77"/>
                    <a:pt x="8" y="77"/>
                  </a:cubicBezTo>
                  <a:cubicBezTo>
                    <a:pt x="3" y="79"/>
                    <a:pt x="0" y="85"/>
                    <a:pt x="2" y="91"/>
                  </a:cubicBezTo>
                  <a:cubicBezTo>
                    <a:pt x="3" y="95"/>
                    <a:pt x="8" y="98"/>
                    <a:pt x="12" y="98"/>
                  </a:cubicBezTo>
                  <a:cubicBezTo>
                    <a:pt x="13" y="98"/>
                    <a:pt x="14" y="97"/>
                    <a:pt x="16" y="97"/>
                  </a:cubicBezTo>
                  <a:cubicBezTo>
                    <a:pt x="119" y="61"/>
                    <a:pt x="119" y="61"/>
                    <a:pt x="119" y="61"/>
                  </a:cubicBezTo>
                  <a:cubicBezTo>
                    <a:pt x="222" y="97"/>
                    <a:pt x="222" y="97"/>
                    <a:pt x="222" y="97"/>
                  </a:cubicBezTo>
                  <a:cubicBezTo>
                    <a:pt x="223" y="97"/>
                    <a:pt x="224" y="98"/>
                    <a:pt x="225" y="98"/>
                  </a:cubicBezTo>
                  <a:cubicBezTo>
                    <a:pt x="230" y="98"/>
                    <a:pt x="234" y="95"/>
                    <a:pt x="235" y="91"/>
                  </a:cubicBezTo>
                  <a:cubicBezTo>
                    <a:pt x="237" y="85"/>
                    <a:pt x="234" y="79"/>
                    <a:pt x="229" y="7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1" name="Freeform 8">
              <a:extLst>
                <a:ext uri="{FF2B5EF4-FFF2-40B4-BE49-F238E27FC236}">
                  <a16:creationId xmlns:a16="http://schemas.microsoft.com/office/drawing/2014/main" id="{052019E6-B06A-469B-A8F5-F43D09E41090}"/>
                </a:ext>
              </a:extLst>
            </p:cNvPr>
            <p:cNvSpPr>
              <a:spLocks/>
            </p:cNvSpPr>
            <p:nvPr/>
          </p:nvSpPr>
          <p:spPr bwMode="auto">
            <a:xfrm>
              <a:off x="5474" y="945"/>
              <a:ext cx="10" cy="11"/>
            </a:xfrm>
            <a:custGeom>
              <a:avLst/>
              <a:gdLst>
                <a:gd name="T0" fmla="*/ 11 w 21"/>
                <a:gd name="T1" fmla="*/ 21 h 21"/>
                <a:gd name="T2" fmla="*/ 3 w 21"/>
                <a:gd name="T3" fmla="*/ 18 h 21"/>
                <a:gd name="T4" fmla="*/ 0 w 21"/>
                <a:gd name="T5" fmla="*/ 10 h 21"/>
                <a:gd name="T6" fmla="*/ 3 w 21"/>
                <a:gd name="T7" fmla="*/ 3 h 21"/>
                <a:gd name="T8" fmla="*/ 11 w 21"/>
                <a:gd name="T9" fmla="*/ 0 h 21"/>
                <a:gd name="T10" fmla="*/ 18 w 21"/>
                <a:gd name="T11" fmla="*/ 3 h 21"/>
                <a:gd name="T12" fmla="*/ 21 w 21"/>
                <a:gd name="T13" fmla="*/ 10 h 21"/>
                <a:gd name="T14" fmla="*/ 18 w 21"/>
                <a:gd name="T15" fmla="*/ 18 h 21"/>
                <a:gd name="T16" fmla="*/ 11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1" y="21"/>
                  </a:moveTo>
                  <a:cubicBezTo>
                    <a:pt x="8" y="21"/>
                    <a:pt x="5" y="20"/>
                    <a:pt x="3" y="18"/>
                  </a:cubicBezTo>
                  <a:cubicBezTo>
                    <a:pt x="1" y="16"/>
                    <a:pt x="0" y="13"/>
                    <a:pt x="0" y="10"/>
                  </a:cubicBezTo>
                  <a:cubicBezTo>
                    <a:pt x="0" y="8"/>
                    <a:pt x="1" y="5"/>
                    <a:pt x="3" y="3"/>
                  </a:cubicBezTo>
                  <a:cubicBezTo>
                    <a:pt x="5" y="1"/>
                    <a:pt x="8" y="0"/>
                    <a:pt x="11" y="0"/>
                  </a:cubicBezTo>
                  <a:cubicBezTo>
                    <a:pt x="13" y="0"/>
                    <a:pt x="16" y="1"/>
                    <a:pt x="18" y="3"/>
                  </a:cubicBezTo>
                  <a:cubicBezTo>
                    <a:pt x="20" y="5"/>
                    <a:pt x="21" y="8"/>
                    <a:pt x="21" y="10"/>
                  </a:cubicBezTo>
                  <a:cubicBezTo>
                    <a:pt x="21" y="13"/>
                    <a:pt x="20" y="16"/>
                    <a:pt x="18" y="18"/>
                  </a:cubicBezTo>
                  <a:cubicBezTo>
                    <a:pt x="16" y="20"/>
                    <a:pt x="13"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2" name="Freeform 9">
              <a:extLst>
                <a:ext uri="{FF2B5EF4-FFF2-40B4-BE49-F238E27FC236}">
                  <a16:creationId xmlns:a16="http://schemas.microsoft.com/office/drawing/2014/main" id="{E5B25145-7113-4185-90C2-F5D070D82844}"/>
                </a:ext>
              </a:extLst>
            </p:cNvPr>
            <p:cNvSpPr>
              <a:spLocks/>
            </p:cNvSpPr>
            <p:nvPr/>
          </p:nvSpPr>
          <p:spPr bwMode="auto">
            <a:xfrm>
              <a:off x="5505" y="945"/>
              <a:ext cx="11" cy="11"/>
            </a:xfrm>
            <a:custGeom>
              <a:avLst/>
              <a:gdLst>
                <a:gd name="T0" fmla="*/ 11 w 21"/>
                <a:gd name="T1" fmla="*/ 21 h 21"/>
                <a:gd name="T2" fmla="*/ 3 w 21"/>
                <a:gd name="T3" fmla="*/ 18 h 21"/>
                <a:gd name="T4" fmla="*/ 0 w 21"/>
                <a:gd name="T5" fmla="*/ 10 h 21"/>
                <a:gd name="T6" fmla="*/ 3 w 21"/>
                <a:gd name="T7" fmla="*/ 3 h 21"/>
                <a:gd name="T8" fmla="*/ 11 w 21"/>
                <a:gd name="T9" fmla="*/ 0 h 21"/>
                <a:gd name="T10" fmla="*/ 18 w 21"/>
                <a:gd name="T11" fmla="*/ 3 h 21"/>
                <a:gd name="T12" fmla="*/ 21 w 21"/>
                <a:gd name="T13" fmla="*/ 10 h 21"/>
                <a:gd name="T14" fmla="*/ 18 w 21"/>
                <a:gd name="T15" fmla="*/ 18 h 21"/>
                <a:gd name="T16" fmla="*/ 11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1" y="21"/>
                  </a:moveTo>
                  <a:cubicBezTo>
                    <a:pt x="8" y="21"/>
                    <a:pt x="5" y="20"/>
                    <a:pt x="3" y="18"/>
                  </a:cubicBezTo>
                  <a:cubicBezTo>
                    <a:pt x="1" y="16"/>
                    <a:pt x="0" y="13"/>
                    <a:pt x="0" y="10"/>
                  </a:cubicBezTo>
                  <a:cubicBezTo>
                    <a:pt x="0" y="8"/>
                    <a:pt x="1" y="5"/>
                    <a:pt x="3" y="3"/>
                  </a:cubicBezTo>
                  <a:cubicBezTo>
                    <a:pt x="5" y="1"/>
                    <a:pt x="8" y="0"/>
                    <a:pt x="11" y="0"/>
                  </a:cubicBezTo>
                  <a:cubicBezTo>
                    <a:pt x="13" y="0"/>
                    <a:pt x="16" y="1"/>
                    <a:pt x="18" y="3"/>
                  </a:cubicBezTo>
                  <a:cubicBezTo>
                    <a:pt x="20" y="5"/>
                    <a:pt x="21" y="8"/>
                    <a:pt x="21" y="10"/>
                  </a:cubicBezTo>
                  <a:cubicBezTo>
                    <a:pt x="21" y="13"/>
                    <a:pt x="20" y="16"/>
                    <a:pt x="18" y="18"/>
                  </a:cubicBezTo>
                  <a:cubicBezTo>
                    <a:pt x="16" y="20"/>
                    <a:pt x="13"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3" name="Freeform 10">
              <a:extLst>
                <a:ext uri="{FF2B5EF4-FFF2-40B4-BE49-F238E27FC236}">
                  <a16:creationId xmlns:a16="http://schemas.microsoft.com/office/drawing/2014/main" id="{65B554BA-C70F-4DA8-A01A-BC8381E8F5A2}"/>
                </a:ext>
              </a:extLst>
            </p:cNvPr>
            <p:cNvSpPr>
              <a:spLocks noEditPoints="1"/>
            </p:cNvSpPr>
            <p:nvPr/>
          </p:nvSpPr>
          <p:spPr bwMode="auto">
            <a:xfrm>
              <a:off x="5368" y="850"/>
              <a:ext cx="254" cy="254"/>
            </a:xfrm>
            <a:custGeom>
              <a:avLst/>
              <a:gdLst>
                <a:gd name="T0" fmla="*/ 256 w 512"/>
                <a:gd name="T1" fmla="*/ 21 h 512"/>
                <a:gd name="T2" fmla="*/ 422 w 512"/>
                <a:gd name="T3" fmla="*/ 90 h 512"/>
                <a:gd name="T4" fmla="*/ 490 w 512"/>
                <a:gd name="T5" fmla="*/ 256 h 512"/>
                <a:gd name="T6" fmla="*/ 422 w 512"/>
                <a:gd name="T7" fmla="*/ 422 h 512"/>
                <a:gd name="T8" fmla="*/ 256 w 512"/>
                <a:gd name="T9" fmla="*/ 490 h 512"/>
                <a:gd name="T10" fmla="*/ 90 w 512"/>
                <a:gd name="T11" fmla="*/ 422 h 512"/>
                <a:gd name="T12" fmla="*/ 21 w 512"/>
                <a:gd name="T13" fmla="*/ 256 h 512"/>
                <a:gd name="T14" fmla="*/ 90 w 512"/>
                <a:gd name="T15" fmla="*/ 90 h 512"/>
                <a:gd name="T16" fmla="*/ 256 w 512"/>
                <a:gd name="T17" fmla="*/ 21 h 512"/>
                <a:gd name="T18" fmla="*/ 256 w 512"/>
                <a:gd name="T19" fmla="*/ 0 h 512"/>
                <a:gd name="T20" fmla="*/ 0 w 512"/>
                <a:gd name="T21" fmla="*/ 256 h 512"/>
                <a:gd name="T22" fmla="*/ 256 w 512"/>
                <a:gd name="T23" fmla="*/ 512 h 512"/>
                <a:gd name="T24" fmla="*/ 512 w 512"/>
                <a:gd name="T25" fmla="*/ 256 h 512"/>
                <a:gd name="T26" fmla="*/ 256 w 51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21"/>
                  </a:moveTo>
                  <a:cubicBezTo>
                    <a:pt x="318" y="21"/>
                    <a:pt x="377" y="45"/>
                    <a:pt x="422" y="90"/>
                  </a:cubicBezTo>
                  <a:cubicBezTo>
                    <a:pt x="466" y="134"/>
                    <a:pt x="490" y="193"/>
                    <a:pt x="490" y="256"/>
                  </a:cubicBezTo>
                  <a:cubicBezTo>
                    <a:pt x="490" y="318"/>
                    <a:pt x="466" y="377"/>
                    <a:pt x="422" y="422"/>
                  </a:cubicBezTo>
                  <a:cubicBezTo>
                    <a:pt x="377" y="466"/>
                    <a:pt x="318" y="490"/>
                    <a:pt x="256" y="490"/>
                  </a:cubicBezTo>
                  <a:cubicBezTo>
                    <a:pt x="193" y="490"/>
                    <a:pt x="134" y="466"/>
                    <a:pt x="90" y="422"/>
                  </a:cubicBezTo>
                  <a:cubicBezTo>
                    <a:pt x="45" y="377"/>
                    <a:pt x="21" y="318"/>
                    <a:pt x="21" y="256"/>
                  </a:cubicBezTo>
                  <a:cubicBezTo>
                    <a:pt x="21" y="193"/>
                    <a:pt x="45" y="134"/>
                    <a:pt x="90" y="90"/>
                  </a:cubicBezTo>
                  <a:cubicBezTo>
                    <a:pt x="134" y="45"/>
                    <a:pt x="193"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44" name="Group 351">
            <a:extLst>
              <a:ext uri="{FF2B5EF4-FFF2-40B4-BE49-F238E27FC236}">
                <a16:creationId xmlns:a16="http://schemas.microsoft.com/office/drawing/2014/main" id="{4959E93D-676F-4F5D-9346-2CB3F39A208E}"/>
              </a:ext>
            </a:extLst>
          </p:cNvPr>
          <p:cNvGrpSpPr>
            <a:grpSpLocks noChangeAspect="1"/>
          </p:cNvGrpSpPr>
          <p:nvPr/>
        </p:nvGrpSpPr>
        <p:grpSpPr bwMode="auto">
          <a:xfrm>
            <a:off x="912350" y="2520486"/>
            <a:ext cx="369676" cy="370763"/>
            <a:chOff x="2717" y="1172"/>
            <a:chExt cx="340" cy="341"/>
          </a:xfrm>
          <a:solidFill>
            <a:schemeClr val="accent4"/>
          </a:solidFill>
        </p:grpSpPr>
        <p:sp>
          <p:nvSpPr>
            <p:cNvPr id="345" name="Freeform 352">
              <a:extLst>
                <a:ext uri="{FF2B5EF4-FFF2-40B4-BE49-F238E27FC236}">
                  <a16:creationId xmlns:a16="http://schemas.microsoft.com/office/drawing/2014/main" id="{29D0D88A-3C9E-4BB2-8304-C386C6188A33}"/>
                </a:ext>
              </a:extLst>
            </p:cNvPr>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6" name="Freeform 353">
              <a:extLst>
                <a:ext uri="{FF2B5EF4-FFF2-40B4-BE49-F238E27FC236}">
                  <a16:creationId xmlns:a16="http://schemas.microsoft.com/office/drawing/2014/main" id="{F41C5980-3C77-443E-BDD9-EA994C029E06}"/>
                </a:ext>
              </a:extLst>
            </p:cNvPr>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7" name="Freeform 357">
            <a:extLst>
              <a:ext uri="{FF2B5EF4-FFF2-40B4-BE49-F238E27FC236}">
                <a16:creationId xmlns:a16="http://schemas.microsoft.com/office/drawing/2014/main" id="{1E065837-A181-4EC3-908D-B4C1B7014549}"/>
              </a:ext>
            </a:extLst>
          </p:cNvPr>
          <p:cNvSpPr>
            <a:spLocks noChangeAspect="1" noEditPoints="1"/>
          </p:cNvSpPr>
          <p:nvPr/>
        </p:nvSpPr>
        <p:spPr bwMode="auto">
          <a:xfrm>
            <a:off x="476504" y="2520486"/>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48" name="Group 468">
            <a:extLst>
              <a:ext uri="{FF2B5EF4-FFF2-40B4-BE49-F238E27FC236}">
                <a16:creationId xmlns:a16="http://schemas.microsoft.com/office/drawing/2014/main" id="{67437BE6-F1FF-4CDD-B5B3-E921FE30FC79}"/>
              </a:ext>
            </a:extLst>
          </p:cNvPr>
          <p:cNvGrpSpPr>
            <a:grpSpLocks noChangeAspect="1"/>
          </p:cNvGrpSpPr>
          <p:nvPr/>
        </p:nvGrpSpPr>
        <p:grpSpPr bwMode="auto">
          <a:xfrm>
            <a:off x="1784042" y="2521573"/>
            <a:ext cx="369676" cy="369676"/>
            <a:chOff x="1146" y="1573"/>
            <a:chExt cx="340" cy="340"/>
          </a:xfrm>
          <a:solidFill>
            <a:schemeClr val="accent5"/>
          </a:solidFill>
        </p:grpSpPr>
        <p:sp>
          <p:nvSpPr>
            <p:cNvPr id="349" name="Freeform 469">
              <a:extLst>
                <a:ext uri="{FF2B5EF4-FFF2-40B4-BE49-F238E27FC236}">
                  <a16:creationId xmlns:a16="http://schemas.microsoft.com/office/drawing/2014/main" id="{6936D1A5-D582-41B6-82BA-6C62767CF1D0}"/>
                </a:ext>
              </a:extLst>
            </p:cNvPr>
            <p:cNvSpPr>
              <a:spLocks noEditPoints="1"/>
            </p:cNvSpPr>
            <p:nvPr/>
          </p:nvSpPr>
          <p:spPr bwMode="auto">
            <a:xfrm>
              <a:off x="1146" y="15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0" name="Freeform 470">
              <a:extLst>
                <a:ext uri="{FF2B5EF4-FFF2-40B4-BE49-F238E27FC236}">
                  <a16:creationId xmlns:a16="http://schemas.microsoft.com/office/drawing/2014/main" id="{EF397F9E-C6D0-4A93-AFF7-FDD42CC4C190}"/>
                </a:ext>
              </a:extLst>
            </p:cNvPr>
            <p:cNvSpPr>
              <a:spLocks noEditPoints="1"/>
            </p:cNvSpPr>
            <p:nvPr/>
          </p:nvSpPr>
          <p:spPr bwMode="auto">
            <a:xfrm>
              <a:off x="1216" y="1643"/>
              <a:ext cx="185" cy="184"/>
            </a:xfrm>
            <a:custGeom>
              <a:avLst/>
              <a:gdLst>
                <a:gd name="T0" fmla="*/ 215 w 279"/>
                <a:gd name="T1" fmla="*/ 200 h 278"/>
                <a:gd name="T2" fmla="*/ 226 w 279"/>
                <a:gd name="T3" fmla="*/ 185 h 278"/>
                <a:gd name="T4" fmla="*/ 215 w 279"/>
                <a:gd name="T5" fmla="*/ 170 h 278"/>
                <a:gd name="T6" fmla="*/ 226 w 279"/>
                <a:gd name="T7" fmla="*/ 155 h 278"/>
                <a:gd name="T8" fmla="*/ 102 w 279"/>
                <a:gd name="T9" fmla="*/ 27 h 278"/>
                <a:gd name="T10" fmla="*/ 65 w 279"/>
                <a:gd name="T11" fmla="*/ 49 h 278"/>
                <a:gd name="T12" fmla="*/ 65 w 279"/>
                <a:gd name="T13" fmla="*/ 19 h 278"/>
                <a:gd name="T14" fmla="*/ 49 w 279"/>
                <a:gd name="T15" fmla="*/ 4 h 278"/>
                <a:gd name="T16" fmla="*/ 4 w 279"/>
                <a:gd name="T17" fmla="*/ 65 h 278"/>
                <a:gd name="T18" fmla="*/ 19 w 279"/>
                <a:gd name="T19" fmla="*/ 65 h 278"/>
                <a:gd name="T20" fmla="*/ 49 w 279"/>
                <a:gd name="T21" fmla="*/ 65 h 278"/>
                <a:gd name="T22" fmla="*/ 25 w 279"/>
                <a:gd name="T23" fmla="*/ 91 h 278"/>
                <a:gd name="T24" fmla="*/ 27 w 279"/>
                <a:gd name="T25" fmla="*/ 102 h 278"/>
                <a:gd name="T26" fmla="*/ 163 w 279"/>
                <a:gd name="T27" fmla="*/ 223 h 278"/>
                <a:gd name="T28" fmla="*/ 178 w 279"/>
                <a:gd name="T29" fmla="*/ 223 h 278"/>
                <a:gd name="T30" fmla="*/ 193 w 279"/>
                <a:gd name="T31" fmla="*/ 223 h 278"/>
                <a:gd name="T32" fmla="*/ 259 w 279"/>
                <a:gd name="T33" fmla="*/ 274 h 278"/>
                <a:gd name="T34" fmla="*/ 274 w 279"/>
                <a:gd name="T35" fmla="*/ 274 h 278"/>
                <a:gd name="T36" fmla="*/ 178 w 279"/>
                <a:gd name="T37" fmla="*/ 193 h 278"/>
                <a:gd name="T38" fmla="*/ 155 w 279"/>
                <a:gd name="T39" fmla="*/ 200 h 278"/>
                <a:gd name="T40" fmla="*/ 95 w 279"/>
                <a:gd name="T41" fmla="*/ 49 h 278"/>
                <a:gd name="T42" fmla="*/ 95 w 279"/>
                <a:gd name="T43" fmla="*/ 80 h 278"/>
                <a:gd name="T44" fmla="*/ 102 w 279"/>
                <a:gd name="T45" fmla="*/ 98 h 278"/>
                <a:gd name="T46" fmla="*/ 125 w 279"/>
                <a:gd name="T47" fmla="*/ 80 h 278"/>
                <a:gd name="T48" fmla="*/ 125 w 279"/>
                <a:gd name="T49" fmla="*/ 110 h 278"/>
                <a:gd name="T50" fmla="*/ 132 w 279"/>
                <a:gd name="T51" fmla="*/ 128 h 278"/>
                <a:gd name="T52" fmla="*/ 155 w 279"/>
                <a:gd name="T53" fmla="*/ 110 h 278"/>
                <a:gd name="T54" fmla="*/ 155 w 279"/>
                <a:gd name="T55" fmla="*/ 140 h 278"/>
                <a:gd name="T56" fmla="*/ 163 w 279"/>
                <a:gd name="T57" fmla="*/ 158 h 278"/>
                <a:gd name="T58" fmla="*/ 185 w 279"/>
                <a:gd name="T59" fmla="*/ 140 h 278"/>
                <a:gd name="T60" fmla="*/ 193 w 279"/>
                <a:gd name="T61" fmla="*/ 163 h 278"/>
                <a:gd name="T62" fmla="*/ 193 w 279"/>
                <a:gd name="T63" fmla="*/ 178 h 278"/>
                <a:gd name="T64" fmla="*/ 185 w 279"/>
                <a:gd name="T6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78">
                  <a:moveTo>
                    <a:pt x="274" y="259"/>
                  </a:moveTo>
                  <a:cubicBezTo>
                    <a:pt x="215" y="200"/>
                    <a:pt x="215" y="200"/>
                    <a:pt x="215" y="200"/>
                  </a:cubicBezTo>
                  <a:cubicBezTo>
                    <a:pt x="223" y="193"/>
                    <a:pt x="223" y="193"/>
                    <a:pt x="223" y="193"/>
                  </a:cubicBezTo>
                  <a:cubicBezTo>
                    <a:pt x="225" y="191"/>
                    <a:pt x="226" y="188"/>
                    <a:pt x="226" y="185"/>
                  </a:cubicBezTo>
                  <a:cubicBezTo>
                    <a:pt x="226" y="182"/>
                    <a:pt x="225" y="180"/>
                    <a:pt x="223" y="178"/>
                  </a:cubicBezTo>
                  <a:cubicBezTo>
                    <a:pt x="215" y="170"/>
                    <a:pt x="215" y="170"/>
                    <a:pt x="215" y="170"/>
                  </a:cubicBezTo>
                  <a:cubicBezTo>
                    <a:pt x="223" y="163"/>
                    <a:pt x="223" y="163"/>
                    <a:pt x="223" y="163"/>
                  </a:cubicBezTo>
                  <a:cubicBezTo>
                    <a:pt x="225" y="161"/>
                    <a:pt x="226" y="158"/>
                    <a:pt x="226" y="155"/>
                  </a:cubicBezTo>
                  <a:cubicBezTo>
                    <a:pt x="226" y="152"/>
                    <a:pt x="225" y="150"/>
                    <a:pt x="223" y="148"/>
                  </a:cubicBezTo>
                  <a:cubicBezTo>
                    <a:pt x="102" y="27"/>
                    <a:pt x="102" y="27"/>
                    <a:pt x="102" y="27"/>
                  </a:cubicBezTo>
                  <a:cubicBezTo>
                    <a:pt x="98" y="23"/>
                    <a:pt x="91" y="23"/>
                    <a:pt x="87" y="27"/>
                  </a:cubicBezTo>
                  <a:cubicBezTo>
                    <a:pt x="65" y="49"/>
                    <a:pt x="65" y="49"/>
                    <a:pt x="65" y="49"/>
                  </a:cubicBezTo>
                  <a:cubicBezTo>
                    <a:pt x="49" y="34"/>
                    <a:pt x="49" y="34"/>
                    <a:pt x="49" y="34"/>
                  </a:cubicBezTo>
                  <a:cubicBezTo>
                    <a:pt x="65" y="19"/>
                    <a:pt x="65" y="19"/>
                    <a:pt x="65" y="19"/>
                  </a:cubicBezTo>
                  <a:cubicBezTo>
                    <a:pt x="69" y="15"/>
                    <a:pt x="69" y="8"/>
                    <a:pt x="65" y="4"/>
                  </a:cubicBezTo>
                  <a:cubicBezTo>
                    <a:pt x="60" y="0"/>
                    <a:pt x="54" y="0"/>
                    <a:pt x="49" y="4"/>
                  </a:cubicBezTo>
                  <a:cubicBezTo>
                    <a:pt x="4" y="49"/>
                    <a:pt x="4" y="49"/>
                    <a:pt x="4" y="49"/>
                  </a:cubicBezTo>
                  <a:cubicBezTo>
                    <a:pt x="0" y="54"/>
                    <a:pt x="0" y="60"/>
                    <a:pt x="4" y="65"/>
                  </a:cubicBezTo>
                  <a:cubicBezTo>
                    <a:pt x="6" y="67"/>
                    <a:pt x="9" y="68"/>
                    <a:pt x="12" y="68"/>
                  </a:cubicBezTo>
                  <a:cubicBezTo>
                    <a:pt x="15" y="68"/>
                    <a:pt x="17" y="67"/>
                    <a:pt x="19" y="65"/>
                  </a:cubicBezTo>
                  <a:cubicBezTo>
                    <a:pt x="34" y="49"/>
                    <a:pt x="34" y="49"/>
                    <a:pt x="34" y="49"/>
                  </a:cubicBezTo>
                  <a:cubicBezTo>
                    <a:pt x="49" y="65"/>
                    <a:pt x="49" y="65"/>
                    <a:pt x="49" y="65"/>
                  </a:cubicBezTo>
                  <a:cubicBezTo>
                    <a:pt x="27" y="87"/>
                    <a:pt x="27" y="87"/>
                    <a:pt x="27" y="87"/>
                  </a:cubicBezTo>
                  <a:cubicBezTo>
                    <a:pt x="26" y="88"/>
                    <a:pt x="25" y="89"/>
                    <a:pt x="25" y="91"/>
                  </a:cubicBezTo>
                  <a:cubicBezTo>
                    <a:pt x="23" y="93"/>
                    <a:pt x="23" y="96"/>
                    <a:pt x="25" y="99"/>
                  </a:cubicBezTo>
                  <a:cubicBezTo>
                    <a:pt x="25" y="100"/>
                    <a:pt x="26" y="101"/>
                    <a:pt x="27" y="102"/>
                  </a:cubicBezTo>
                  <a:cubicBezTo>
                    <a:pt x="148" y="223"/>
                    <a:pt x="148" y="223"/>
                    <a:pt x="148" y="223"/>
                  </a:cubicBezTo>
                  <a:cubicBezTo>
                    <a:pt x="152" y="227"/>
                    <a:pt x="158" y="227"/>
                    <a:pt x="163" y="223"/>
                  </a:cubicBezTo>
                  <a:cubicBezTo>
                    <a:pt x="170" y="215"/>
                    <a:pt x="170" y="215"/>
                    <a:pt x="170" y="215"/>
                  </a:cubicBezTo>
                  <a:cubicBezTo>
                    <a:pt x="178" y="223"/>
                    <a:pt x="178" y="223"/>
                    <a:pt x="178" y="223"/>
                  </a:cubicBezTo>
                  <a:cubicBezTo>
                    <a:pt x="180" y="225"/>
                    <a:pt x="182" y="226"/>
                    <a:pt x="185" y="226"/>
                  </a:cubicBezTo>
                  <a:cubicBezTo>
                    <a:pt x="188" y="226"/>
                    <a:pt x="191" y="225"/>
                    <a:pt x="193" y="223"/>
                  </a:cubicBezTo>
                  <a:cubicBezTo>
                    <a:pt x="200" y="215"/>
                    <a:pt x="200" y="215"/>
                    <a:pt x="200" y="215"/>
                  </a:cubicBezTo>
                  <a:cubicBezTo>
                    <a:pt x="259" y="274"/>
                    <a:pt x="259" y="274"/>
                    <a:pt x="259" y="274"/>
                  </a:cubicBezTo>
                  <a:cubicBezTo>
                    <a:pt x="261" y="277"/>
                    <a:pt x="264" y="278"/>
                    <a:pt x="267" y="278"/>
                  </a:cubicBezTo>
                  <a:cubicBezTo>
                    <a:pt x="270" y="278"/>
                    <a:pt x="272" y="277"/>
                    <a:pt x="274" y="274"/>
                  </a:cubicBezTo>
                  <a:cubicBezTo>
                    <a:pt x="279" y="270"/>
                    <a:pt x="279" y="264"/>
                    <a:pt x="274" y="259"/>
                  </a:cubicBezTo>
                  <a:close/>
                  <a:moveTo>
                    <a:pt x="178" y="193"/>
                  </a:moveTo>
                  <a:cubicBezTo>
                    <a:pt x="174" y="189"/>
                    <a:pt x="167" y="189"/>
                    <a:pt x="163" y="193"/>
                  </a:cubicBezTo>
                  <a:cubicBezTo>
                    <a:pt x="155" y="200"/>
                    <a:pt x="155" y="200"/>
                    <a:pt x="155" y="200"/>
                  </a:cubicBezTo>
                  <a:cubicBezTo>
                    <a:pt x="49" y="95"/>
                    <a:pt x="49" y="95"/>
                    <a:pt x="49" y="95"/>
                  </a:cubicBezTo>
                  <a:cubicBezTo>
                    <a:pt x="95" y="49"/>
                    <a:pt x="95" y="49"/>
                    <a:pt x="95" y="49"/>
                  </a:cubicBezTo>
                  <a:cubicBezTo>
                    <a:pt x="110" y="65"/>
                    <a:pt x="110" y="65"/>
                    <a:pt x="110" y="65"/>
                  </a:cubicBezTo>
                  <a:cubicBezTo>
                    <a:pt x="95" y="80"/>
                    <a:pt x="95" y="80"/>
                    <a:pt x="95" y="80"/>
                  </a:cubicBezTo>
                  <a:cubicBezTo>
                    <a:pt x="91" y="84"/>
                    <a:pt x="91" y="91"/>
                    <a:pt x="95" y="95"/>
                  </a:cubicBezTo>
                  <a:cubicBezTo>
                    <a:pt x="97" y="97"/>
                    <a:pt x="100" y="98"/>
                    <a:pt x="102" y="98"/>
                  </a:cubicBezTo>
                  <a:cubicBezTo>
                    <a:pt x="105" y="98"/>
                    <a:pt x="108" y="97"/>
                    <a:pt x="110" y="95"/>
                  </a:cubicBezTo>
                  <a:cubicBezTo>
                    <a:pt x="125" y="80"/>
                    <a:pt x="125" y="80"/>
                    <a:pt x="125" y="80"/>
                  </a:cubicBezTo>
                  <a:cubicBezTo>
                    <a:pt x="140" y="95"/>
                    <a:pt x="140" y="95"/>
                    <a:pt x="140" y="95"/>
                  </a:cubicBezTo>
                  <a:cubicBezTo>
                    <a:pt x="125" y="110"/>
                    <a:pt x="125" y="110"/>
                    <a:pt x="125" y="110"/>
                  </a:cubicBezTo>
                  <a:cubicBezTo>
                    <a:pt x="121" y="114"/>
                    <a:pt x="121" y="121"/>
                    <a:pt x="125" y="125"/>
                  </a:cubicBezTo>
                  <a:cubicBezTo>
                    <a:pt x="127" y="127"/>
                    <a:pt x="130" y="128"/>
                    <a:pt x="132" y="128"/>
                  </a:cubicBezTo>
                  <a:cubicBezTo>
                    <a:pt x="135" y="128"/>
                    <a:pt x="138" y="127"/>
                    <a:pt x="140" y="125"/>
                  </a:cubicBezTo>
                  <a:cubicBezTo>
                    <a:pt x="155" y="110"/>
                    <a:pt x="155" y="110"/>
                    <a:pt x="155" y="110"/>
                  </a:cubicBezTo>
                  <a:cubicBezTo>
                    <a:pt x="170" y="125"/>
                    <a:pt x="170" y="125"/>
                    <a:pt x="170" y="125"/>
                  </a:cubicBezTo>
                  <a:cubicBezTo>
                    <a:pt x="155" y="140"/>
                    <a:pt x="155" y="140"/>
                    <a:pt x="155" y="140"/>
                  </a:cubicBezTo>
                  <a:cubicBezTo>
                    <a:pt x="151" y="144"/>
                    <a:pt x="151" y="151"/>
                    <a:pt x="155" y="155"/>
                  </a:cubicBezTo>
                  <a:cubicBezTo>
                    <a:pt x="157" y="157"/>
                    <a:pt x="160" y="158"/>
                    <a:pt x="163" y="158"/>
                  </a:cubicBezTo>
                  <a:cubicBezTo>
                    <a:pt x="165" y="158"/>
                    <a:pt x="168" y="157"/>
                    <a:pt x="170" y="155"/>
                  </a:cubicBezTo>
                  <a:cubicBezTo>
                    <a:pt x="185" y="140"/>
                    <a:pt x="185" y="140"/>
                    <a:pt x="185" y="140"/>
                  </a:cubicBezTo>
                  <a:cubicBezTo>
                    <a:pt x="200" y="155"/>
                    <a:pt x="200" y="155"/>
                    <a:pt x="200" y="155"/>
                  </a:cubicBezTo>
                  <a:cubicBezTo>
                    <a:pt x="193" y="163"/>
                    <a:pt x="193" y="163"/>
                    <a:pt x="193" y="163"/>
                  </a:cubicBezTo>
                  <a:cubicBezTo>
                    <a:pt x="191" y="165"/>
                    <a:pt x="190" y="167"/>
                    <a:pt x="190" y="170"/>
                  </a:cubicBezTo>
                  <a:cubicBezTo>
                    <a:pt x="190" y="173"/>
                    <a:pt x="191" y="176"/>
                    <a:pt x="193" y="178"/>
                  </a:cubicBezTo>
                  <a:cubicBezTo>
                    <a:pt x="200" y="185"/>
                    <a:pt x="200" y="185"/>
                    <a:pt x="200" y="185"/>
                  </a:cubicBezTo>
                  <a:cubicBezTo>
                    <a:pt x="185" y="200"/>
                    <a:pt x="185" y="200"/>
                    <a:pt x="185" y="200"/>
                  </a:cubicBezTo>
                  <a:lnTo>
                    <a:pt x="178"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1" name="Freeform 474">
            <a:extLst>
              <a:ext uri="{FF2B5EF4-FFF2-40B4-BE49-F238E27FC236}">
                <a16:creationId xmlns:a16="http://schemas.microsoft.com/office/drawing/2014/main" id="{AD3DAE97-89A9-4800-8F62-2F5A2D4BB567}"/>
              </a:ext>
            </a:extLst>
          </p:cNvPr>
          <p:cNvSpPr>
            <a:spLocks noChangeAspect="1" noEditPoints="1"/>
          </p:cNvSpPr>
          <p:nvPr/>
        </p:nvSpPr>
        <p:spPr bwMode="auto">
          <a:xfrm>
            <a:off x="1348196" y="2521573"/>
            <a:ext cx="369676" cy="369676"/>
          </a:xfrm>
          <a:custGeom>
            <a:avLst/>
            <a:gdLst>
              <a:gd name="T0" fmla="*/ 305 w 512"/>
              <a:gd name="T1" fmla="*/ 290 h 512"/>
              <a:gd name="T2" fmla="*/ 283 w 512"/>
              <a:gd name="T3" fmla="*/ 298 h 512"/>
              <a:gd name="T4" fmla="*/ 260 w 512"/>
              <a:gd name="T5" fmla="*/ 305 h 512"/>
              <a:gd name="T6" fmla="*/ 200 w 512"/>
              <a:gd name="T7" fmla="*/ 154 h 512"/>
              <a:gd name="T8" fmla="*/ 200 w 512"/>
              <a:gd name="T9" fmla="*/ 185 h 512"/>
              <a:gd name="T10" fmla="*/ 207 w 512"/>
              <a:gd name="T11" fmla="*/ 203 h 512"/>
              <a:gd name="T12" fmla="*/ 230 w 512"/>
              <a:gd name="T13" fmla="*/ 185 h 512"/>
              <a:gd name="T14" fmla="*/ 230 w 512"/>
              <a:gd name="T15" fmla="*/ 215 h 512"/>
              <a:gd name="T16" fmla="*/ 237 w 512"/>
              <a:gd name="T17" fmla="*/ 233 h 512"/>
              <a:gd name="T18" fmla="*/ 260 w 512"/>
              <a:gd name="T19" fmla="*/ 215 h 512"/>
              <a:gd name="T20" fmla="*/ 260 w 512"/>
              <a:gd name="T21" fmla="*/ 245 h 512"/>
              <a:gd name="T22" fmla="*/ 268 w 512"/>
              <a:gd name="T23" fmla="*/ 263 h 512"/>
              <a:gd name="T24" fmla="*/ 290 w 512"/>
              <a:gd name="T25" fmla="*/ 245 h 512"/>
              <a:gd name="T26" fmla="*/ 298 w 512"/>
              <a:gd name="T27" fmla="*/ 268 h 512"/>
              <a:gd name="T28" fmla="*/ 298 w 512"/>
              <a:gd name="T29" fmla="*/ 283 h 512"/>
              <a:gd name="T30" fmla="*/ 256 w 512"/>
              <a:gd name="T31" fmla="*/ 512 h 512"/>
              <a:gd name="T32" fmla="*/ 256 w 512"/>
              <a:gd name="T33" fmla="*/ 0 h 512"/>
              <a:gd name="T34" fmla="*/ 379 w 512"/>
              <a:gd name="T35" fmla="*/ 364 h 512"/>
              <a:gd name="T36" fmla="*/ 328 w 512"/>
              <a:gd name="T37" fmla="*/ 298 h 512"/>
              <a:gd name="T38" fmla="*/ 328 w 512"/>
              <a:gd name="T39" fmla="*/ 283 h 512"/>
              <a:gd name="T40" fmla="*/ 328 w 512"/>
              <a:gd name="T41" fmla="*/ 268 h 512"/>
              <a:gd name="T42" fmla="*/ 328 w 512"/>
              <a:gd name="T43" fmla="*/ 253 h 512"/>
              <a:gd name="T44" fmla="*/ 192 w 512"/>
              <a:gd name="T45" fmla="*/ 132 h 512"/>
              <a:gd name="T46" fmla="*/ 154 w 512"/>
              <a:gd name="T47" fmla="*/ 139 h 512"/>
              <a:gd name="T48" fmla="*/ 170 w 512"/>
              <a:gd name="T49" fmla="*/ 109 h 512"/>
              <a:gd name="T50" fmla="*/ 109 w 512"/>
              <a:gd name="T51" fmla="*/ 154 h 512"/>
              <a:gd name="T52" fmla="*/ 117 w 512"/>
              <a:gd name="T53" fmla="*/ 173 h 512"/>
              <a:gd name="T54" fmla="*/ 139 w 512"/>
              <a:gd name="T55" fmla="*/ 154 h 512"/>
              <a:gd name="T56" fmla="*/ 132 w 512"/>
              <a:gd name="T57" fmla="*/ 192 h 512"/>
              <a:gd name="T58" fmla="*/ 130 w 512"/>
              <a:gd name="T59" fmla="*/ 204 h 512"/>
              <a:gd name="T60" fmla="*/ 253 w 512"/>
              <a:gd name="T61" fmla="*/ 328 h 512"/>
              <a:gd name="T62" fmla="*/ 275 w 512"/>
              <a:gd name="T63" fmla="*/ 320 h 512"/>
              <a:gd name="T64" fmla="*/ 290 w 512"/>
              <a:gd name="T65" fmla="*/ 331 h 512"/>
              <a:gd name="T66" fmla="*/ 305 w 512"/>
              <a:gd name="T67" fmla="*/ 320 h 512"/>
              <a:gd name="T68" fmla="*/ 372 w 512"/>
              <a:gd name="T69" fmla="*/ 383 h 512"/>
              <a:gd name="T70" fmla="*/ 379 w 512"/>
              <a:gd name="T71" fmla="*/ 3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98" y="283"/>
                </a:moveTo>
                <a:cubicBezTo>
                  <a:pt x="305" y="290"/>
                  <a:pt x="305" y="290"/>
                  <a:pt x="305" y="290"/>
                </a:cubicBezTo>
                <a:cubicBezTo>
                  <a:pt x="290" y="305"/>
                  <a:pt x="290" y="305"/>
                  <a:pt x="290" y="305"/>
                </a:cubicBezTo>
                <a:cubicBezTo>
                  <a:pt x="283" y="298"/>
                  <a:pt x="283" y="298"/>
                  <a:pt x="283" y="298"/>
                </a:cubicBezTo>
                <a:cubicBezTo>
                  <a:pt x="279" y="294"/>
                  <a:pt x="272" y="294"/>
                  <a:pt x="268" y="298"/>
                </a:cubicBezTo>
                <a:cubicBezTo>
                  <a:pt x="260" y="305"/>
                  <a:pt x="260" y="305"/>
                  <a:pt x="260" y="305"/>
                </a:cubicBezTo>
                <a:cubicBezTo>
                  <a:pt x="154" y="200"/>
                  <a:pt x="154" y="200"/>
                  <a:pt x="154" y="200"/>
                </a:cubicBezTo>
                <a:cubicBezTo>
                  <a:pt x="200" y="154"/>
                  <a:pt x="200" y="154"/>
                  <a:pt x="200" y="154"/>
                </a:cubicBezTo>
                <a:cubicBezTo>
                  <a:pt x="215" y="170"/>
                  <a:pt x="215" y="170"/>
                  <a:pt x="215" y="170"/>
                </a:cubicBezTo>
                <a:cubicBezTo>
                  <a:pt x="200" y="185"/>
                  <a:pt x="200" y="185"/>
                  <a:pt x="200" y="185"/>
                </a:cubicBezTo>
                <a:cubicBezTo>
                  <a:pt x="196" y="189"/>
                  <a:pt x="196" y="196"/>
                  <a:pt x="200" y="200"/>
                </a:cubicBezTo>
                <a:cubicBezTo>
                  <a:pt x="202" y="202"/>
                  <a:pt x="205" y="203"/>
                  <a:pt x="207" y="203"/>
                </a:cubicBezTo>
                <a:cubicBezTo>
                  <a:pt x="210" y="203"/>
                  <a:pt x="213" y="202"/>
                  <a:pt x="215" y="200"/>
                </a:cubicBezTo>
                <a:cubicBezTo>
                  <a:pt x="230" y="185"/>
                  <a:pt x="230" y="185"/>
                  <a:pt x="230" y="185"/>
                </a:cubicBezTo>
                <a:cubicBezTo>
                  <a:pt x="245" y="200"/>
                  <a:pt x="245" y="200"/>
                  <a:pt x="245" y="200"/>
                </a:cubicBezTo>
                <a:cubicBezTo>
                  <a:pt x="230" y="215"/>
                  <a:pt x="230" y="215"/>
                  <a:pt x="230" y="215"/>
                </a:cubicBezTo>
                <a:cubicBezTo>
                  <a:pt x="226" y="219"/>
                  <a:pt x="226" y="226"/>
                  <a:pt x="230" y="230"/>
                </a:cubicBezTo>
                <a:cubicBezTo>
                  <a:pt x="232" y="232"/>
                  <a:pt x="235" y="233"/>
                  <a:pt x="237" y="233"/>
                </a:cubicBezTo>
                <a:cubicBezTo>
                  <a:pt x="240" y="233"/>
                  <a:pt x="243" y="232"/>
                  <a:pt x="245" y="230"/>
                </a:cubicBezTo>
                <a:cubicBezTo>
                  <a:pt x="260" y="215"/>
                  <a:pt x="260" y="215"/>
                  <a:pt x="260" y="215"/>
                </a:cubicBezTo>
                <a:cubicBezTo>
                  <a:pt x="275" y="230"/>
                  <a:pt x="275" y="230"/>
                  <a:pt x="275" y="230"/>
                </a:cubicBezTo>
                <a:cubicBezTo>
                  <a:pt x="260" y="245"/>
                  <a:pt x="260" y="245"/>
                  <a:pt x="260" y="245"/>
                </a:cubicBezTo>
                <a:cubicBezTo>
                  <a:pt x="256" y="249"/>
                  <a:pt x="256" y="256"/>
                  <a:pt x="260" y="260"/>
                </a:cubicBezTo>
                <a:cubicBezTo>
                  <a:pt x="262" y="262"/>
                  <a:pt x="265" y="263"/>
                  <a:pt x="268" y="263"/>
                </a:cubicBezTo>
                <a:cubicBezTo>
                  <a:pt x="270" y="263"/>
                  <a:pt x="273" y="262"/>
                  <a:pt x="275" y="260"/>
                </a:cubicBezTo>
                <a:cubicBezTo>
                  <a:pt x="290" y="245"/>
                  <a:pt x="290" y="245"/>
                  <a:pt x="290" y="245"/>
                </a:cubicBezTo>
                <a:cubicBezTo>
                  <a:pt x="305" y="260"/>
                  <a:pt x="305" y="260"/>
                  <a:pt x="305" y="260"/>
                </a:cubicBezTo>
                <a:cubicBezTo>
                  <a:pt x="298" y="268"/>
                  <a:pt x="298" y="268"/>
                  <a:pt x="298" y="268"/>
                </a:cubicBezTo>
                <a:cubicBezTo>
                  <a:pt x="296" y="270"/>
                  <a:pt x="295" y="272"/>
                  <a:pt x="295" y="275"/>
                </a:cubicBezTo>
                <a:cubicBezTo>
                  <a:pt x="295" y="278"/>
                  <a:pt x="296" y="281"/>
                  <a:pt x="298" y="28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9" y="364"/>
                </a:moveTo>
                <a:cubicBezTo>
                  <a:pt x="320" y="305"/>
                  <a:pt x="320" y="305"/>
                  <a:pt x="320" y="305"/>
                </a:cubicBezTo>
                <a:cubicBezTo>
                  <a:pt x="328" y="298"/>
                  <a:pt x="328" y="298"/>
                  <a:pt x="328" y="298"/>
                </a:cubicBezTo>
                <a:cubicBezTo>
                  <a:pt x="330" y="296"/>
                  <a:pt x="331" y="293"/>
                  <a:pt x="331" y="290"/>
                </a:cubicBezTo>
                <a:cubicBezTo>
                  <a:pt x="331" y="287"/>
                  <a:pt x="330" y="285"/>
                  <a:pt x="328" y="283"/>
                </a:cubicBezTo>
                <a:cubicBezTo>
                  <a:pt x="320" y="275"/>
                  <a:pt x="320" y="275"/>
                  <a:pt x="320" y="275"/>
                </a:cubicBezTo>
                <a:cubicBezTo>
                  <a:pt x="328" y="268"/>
                  <a:pt x="328" y="268"/>
                  <a:pt x="328" y="268"/>
                </a:cubicBezTo>
                <a:cubicBezTo>
                  <a:pt x="330" y="266"/>
                  <a:pt x="331" y="263"/>
                  <a:pt x="331" y="260"/>
                </a:cubicBezTo>
                <a:cubicBezTo>
                  <a:pt x="331" y="257"/>
                  <a:pt x="330" y="255"/>
                  <a:pt x="328" y="253"/>
                </a:cubicBezTo>
                <a:cubicBezTo>
                  <a:pt x="207" y="132"/>
                  <a:pt x="207" y="132"/>
                  <a:pt x="207" y="132"/>
                </a:cubicBezTo>
                <a:cubicBezTo>
                  <a:pt x="203" y="128"/>
                  <a:pt x="196" y="128"/>
                  <a:pt x="192" y="132"/>
                </a:cubicBezTo>
                <a:cubicBezTo>
                  <a:pt x="170" y="154"/>
                  <a:pt x="170" y="154"/>
                  <a:pt x="170" y="154"/>
                </a:cubicBezTo>
                <a:cubicBezTo>
                  <a:pt x="154" y="139"/>
                  <a:pt x="154" y="139"/>
                  <a:pt x="154" y="139"/>
                </a:cubicBezTo>
                <a:cubicBezTo>
                  <a:pt x="170" y="124"/>
                  <a:pt x="170" y="124"/>
                  <a:pt x="170" y="124"/>
                </a:cubicBezTo>
                <a:cubicBezTo>
                  <a:pt x="174" y="120"/>
                  <a:pt x="174" y="113"/>
                  <a:pt x="170" y="109"/>
                </a:cubicBezTo>
                <a:cubicBezTo>
                  <a:pt x="165" y="105"/>
                  <a:pt x="159" y="105"/>
                  <a:pt x="154" y="109"/>
                </a:cubicBezTo>
                <a:cubicBezTo>
                  <a:pt x="109" y="154"/>
                  <a:pt x="109" y="154"/>
                  <a:pt x="109" y="154"/>
                </a:cubicBezTo>
                <a:cubicBezTo>
                  <a:pt x="105" y="159"/>
                  <a:pt x="105" y="165"/>
                  <a:pt x="109" y="170"/>
                </a:cubicBezTo>
                <a:cubicBezTo>
                  <a:pt x="111" y="172"/>
                  <a:pt x="114" y="173"/>
                  <a:pt x="117" y="173"/>
                </a:cubicBezTo>
                <a:cubicBezTo>
                  <a:pt x="120" y="173"/>
                  <a:pt x="122" y="172"/>
                  <a:pt x="124" y="170"/>
                </a:cubicBezTo>
                <a:cubicBezTo>
                  <a:pt x="139" y="154"/>
                  <a:pt x="139" y="154"/>
                  <a:pt x="139" y="154"/>
                </a:cubicBezTo>
                <a:cubicBezTo>
                  <a:pt x="154" y="170"/>
                  <a:pt x="154" y="170"/>
                  <a:pt x="154" y="170"/>
                </a:cubicBezTo>
                <a:cubicBezTo>
                  <a:pt x="132" y="192"/>
                  <a:pt x="132" y="192"/>
                  <a:pt x="132" y="192"/>
                </a:cubicBezTo>
                <a:cubicBezTo>
                  <a:pt x="131" y="193"/>
                  <a:pt x="130" y="194"/>
                  <a:pt x="130" y="196"/>
                </a:cubicBezTo>
                <a:cubicBezTo>
                  <a:pt x="128" y="198"/>
                  <a:pt x="128" y="201"/>
                  <a:pt x="130" y="204"/>
                </a:cubicBezTo>
                <a:cubicBezTo>
                  <a:pt x="130" y="205"/>
                  <a:pt x="131" y="206"/>
                  <a:pt x="132" y="207"/>
                </a:cubicBezTo>
                <a:cubicBezTo>
                  <a:pt x="253" y="328"/>
                  <a:pt x="253" y="328"/>
                  <a:pt x="253" y="328"/>
                </a:cubicBezTo>
                <a:cubicBezTo>
                  <a:pt x="257" y="332"/>
                  <a:pt x="263" y="332"/>
                  <a:pt x="268" y="328"/>
                </a:cubicBezTo>
                <a:cubicBezTo>
                  <a:pt x="275" y="320"/>
                  <a:pt x="275" y="320"/>
                  <a:pt x="275" y="320"/>
                </a:cubicBezTo>
                <a:cubicBezTo>
                  <a:pt x="283" y="328"/>
                  <a:pt x="283" y="328"/>
                  <a:pt x="283" y="328"/>
                </a:cubicBezTo>
                <a:cubicBezTo>
                  <a:pt x="285" y="330"/>
                  <a:pt x="287" y="331"/>
                  <a:pt x="290" y="331"/>
                </a:cubicBezTo>
                <a:cubicBezTo>
                  <a:pt x="293" y="331"/>
                  <a:pt x="296" y="330"/>
                  <a:pt x="298" y="328"/>
                </a:cubicBezTo>
                <a:cubicBezTo>
                  <a:pt x="305" y="320"/>
                  <a:pt x="305" y="320"/>
                  <a:pt x="305" y="320"/>
                </a:cubicBezTo>
                <a:cubicBezTo>
                  <a:pt x="364" y="379"/>
                  <a:pt x="364" y="379"/>
                  <a:pt x="364" y="379"/>
                </a:cubicBezTo>
                <a:cubicBezTo>
                  <a:pt x="366" y="382"/>
                  <a:pt x="369" y="383"/>
                  <a:pt x="372" y="383"/>
                </a:cubicBezTo>
                <a:cubicBezTo>
                  <a:pt x="375" y="383"/>
                  <a:pt x="377" y="382"/>
                  <a:pt x="379" y="379"/>
                </a:cubicBezTo>
                <a:cubicBezTo>
                  <a:pt x="384" y="375"/>
                  <a:pt x="384" y="369"/>
                  <a:pt x="379" y="36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52" name="Group 336">
            <a:extLst>
              <a:ext uri="{FF2B5EF4-FFF2-40B4-BE49-F238E27FC236}">
                <a16:creationId xmlns:a16="http://schemas.microsoft.com/office/drawing/2014/main" id="{28B2599D-1FBF-4FB4-BD6B-961DEE625A00}"/>
              </a:ext>
            </a:extLst>
          </p:cNvPr>
          <p:cNvGrpSpPr>
            <a:grpSpLocks noChangeAspect="1"/>
          </p:cNvGrpSpPr>
          <p:nvPr/>
        </p:nvGrpSpPr>
        <p:grpSpPr bwMode="auto">
          <a:xfrm>
            <a:off x="2655079" y="2522228"/>
            <a:ext cx="370106" cy="369021"/>
            <a:chOff x="4262" y="1204"/>
            <a:chExt cx="341" cy="340"/>
          </a:xfrm>
          <a:solidFill>
            <a:schemeClr val="accent4"/>
          </a:solidFill>
        </p:grpSpPr>
        <p:sp>
          <p:nvSpPr>
            <p:cNvPr id="353" name="Freeform 337">
              <a:extLst>
                <a:ext uri="{FF2B5EF4-FFF2-40B4-BE49-F238E27FC236}">
                  <a16:creationId xmlns:a16="http://schemas.microsoft.com/office/drawing/2014/main" id="{CC223ED6-FD29-4F7D-8B28-E5D326A6697E}"/>
                </a:ext>
              </a:extLst>
            </p:cNvPr>
            <p:cNvSpPr>
              <a:spLocks noEditPoints="1"/>
            </p:cNvSpPr>
            <p:nvPr/>
          </p:nvSpPr>
          <p:spPr bwMode="auto">
            <a:xfrm>
              <a:off x="4262" y="12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4" name="Freeform 338">
              <a:extLst>
                <a:ext uri="{FF2B5EF4-FFF2-40B4-BE49-F238E27FC236}">
                  <a16:creationId xmlns:a16="http://schemas.microsoft.com/office/drawing/2014/main" id="{5892E14B-4C2A-4E9E-96F3-D53C803AAC2D}"/>
                </a:ext>
              </a:extLst>
            </p:cNvPr>
            <p:cNvSpPr>
              <a:spLocks noEditPoints="1"/>
            </p:cNvSpPr>
            <p:nvPr/>
          </p:nvSpPr>
          <p:spPr bwMode="auto">
            <a:xfrm>
              <a:off x="4354" y="1268"/>
              <a:ext cx="156" cy="212"/>
            </a:xfrm>
            <a:custGeom>
              <a:avLst/>
              <a:gdLst>
                <a:gd name="T0" fmla="*/ 182 w 235"/>
                <a:gd name="T1" fmla="*/ 85 h 320"/>
                <a:gd name="T2" fmla="*/ 203 w 235"/>
                <a:gd name="T3" fmla="*/ 64 h 320"/>
                <a:gd name="T4" fmla="*/ 214 w 235"/>
                <a:gd name="T5" fmla="*/ 32 h 320"/>
                <a:gd name="T6" fmla="*/ 43 w 235"/>
                <a:gd name="T7" fmla="*/ 0 h 320"/>
                <a:gd name="T8" fmla="*/ 22 w 235"/>
                <a:gd name="T9" fmla="*/ 53 h 320"/>
                <a:gd name="T10" fmla="*/ 54 w 235"/>
                <a:gd name="T11" fmla="*/ 64 h 320"/>
                <a:gd name="T12" fmla="*/ 32 w 235"/>
                <a:gd name="T13" fmla="*/ 85 h 320"/>
                <a:gd name="T14" fmla="*/ 0 w 235"/>
                <a:gd name="T15" fmla="*/ 288 h 320"/>
                <a:gd name="T16" fmla="*/ 203 w 235"/>
                <a:gd name="T17" fmla="*/ 320 h 320"/>
                <a:gd name="T18" fmla="*/ 235 w 235"/>
                <a:gd name="T19" fmla="*/ 117 h 320"/>
                <a:gd name="T20" fmla="*/ 191 w 235"/>
                <a:gd name="T21" fmla="*/ 21 h 320"/>
                <a:gd name="T22" fmla="*/ 192 w 235"/>
                <a:gd name="T23" fmla="*/ 42 h 320"/>
                <a:gd name="T24" fmla="*/ 171 w 235"/>
                <a:gd name="T25" fmla="*/ 21 h 320"/>
                <a:gd name="T26" fmla="*/ 150 w 235"/>
                <a:gd name="T27" fmla="*/ 21 h 320"/>
                <a:gd name="T28" fmla="*/ 128 w 235"/>
                <a:gd name="T29" fmla="*/ 42 h 320"/>
                <a:gd name="T30" fmla="*/ 150 w 235"/>
                <a:gd name="T31" fmla="*/ 21 h 320"/>
                <a:gd name="T32" fmla="*/ 107 w 235"/>
                <a:gd name="T33" fmla="*/ 42 h 320"/>
                <a:gd name="T34" fmla="*/ 86 w 235"/>
                <a:gd name="T35" fmla="*/ 21 h 320"/>
                <a:gd name="T36" fmla="*/ 43 w 235"/>
                <a:gd name="T37" fmla="*/ 42 h 320"/>
                <a:gd name="T38" fmla="*/ 44 w 235"/>
                <a:gd name="T39" fmla="*/ 21 h 320"/>
                <a:gd name="T40" fmla="*/ 64 w 235"/>
                <a:gd name="T41" fmla="*/ 42 h 320"/>
                <a:gd name="T42" fmla="*/ 75 w 235"/>
                <a:gd name="T43" fmla="*/ 64 h 320"/>
                <a:gd name="T44" fmla="*/ 160 w 235"/>
                <a:gd name="T45" fmla="*/ 85 h 320"/>
                <a:gd name="T46" fmla="*/ 75 w 235"/>
                <a:gd name="T47" fmla="*/ 64 h 320"/>
                <a:gd name="T48" fmla="*/ 203 w 235"/>
                <a:gd name="T49" fmla="*/ 298 h 320"/>
                <a:gd name="T50" fmla="*/ 22 w 235"/>
                <a:gd name="T51" fmla="*/ 288 h 320"/>
                <a:gd name="T52" fmla="*/ 32 w 235"/>
                <a:gd name="T53" fmla="*/ 106 h 320"/>
                <a:gd name="T54" fmla="*/ 214 w 235"/>
                <a:gd name="T55" fmla="*/ 117 h 320"/>
                <a:gd name="T56" fmla="*/ 182 w 235"/>
                <a:gd name="T57" fmla="*/ 202 h 320"/>
                <a:gd name="T58" fmla="*/ 128 w 235"/>
                <a:gd name="T59" fmla="*/ 213 h 320"/>
                <a:gd name="T60" fmla="*/ 118 w 235"/>
                <a:gd name="T61" fmla="*/ 266 h 320"/>
                <a:gd name="T62" fmla="*/ 107 w 235"/>
                <a:gd name="T63" fmla="*/ 213 h 320"/>
                <a:gd name="T64" fmla="*/ 54 w 235"/>
                <a:gd name="T65" fmla="*/ 202 h 320"/>
                <a:gd name="T66" fmla="*/ 107 w 235"/>
                <a:gd name="T67" fmla="*/ 192 h 320"/>
                <a:gd name="T68" fmla="*/ 118 w 235"/>
                <a:gd name="T69" fmla="*/ 138 h 320"/>
                <a:gd name="T70" fmla="*/ 128 w 235"/>
                <a:gd name="T71" fmla="*/ 192 h 320"/>
                <a:gd name="T72" fmla="*/ 182 w 235"/>
                <a:gd name="T73" fmla="*/ 2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320">
                  <a:moveTo>
                    <a:pt x="203" y="85"/>
                  </a:moveTo>
                  <a:cubicBezTo>
                    <a:pt x="182" y="85"/>
                    <a:pt x="182" y="85"/>
                    <a:pt x="182" y="85"/>
                  </a:cubicBezTo>
                  <a:cubicBezTo>
                    <a:pt x="182" y="64"/>
                    <a:pt x="182" y="64"/>
                    <a:pt x="182" y="64"/>
                  </a:cubicBezTo>
                  <a:cubicBezTo>
                    <a:pt x="203" y="64"/>
                    <a:pt x="203" y="64"/>
                    <a:pt x="203" y="64"/>
                  </a:cubicBezTo>
                  <a:cubicBezTo>
                    <a:pt x="209" y="64"/>
                    <a:pt x="214" y="59"/>
                    <a:pt x="214" y="53"/>
                  </a:cubicBezTo>
                  <a:cubicBezTo>
                    <a:pt x="214" y="32"/>
                    <a:pt x="214" y="32"/>
                    <a:pt x="214" y="32"/>
                  </a:cubicBezTo>
                  <a:cubicBezTo>
                    <a:pt x="214" y="10"/>
                    <a:pt x="206" y="0"/>
                    <a:pt x="192" y="0"/>
                  </a:cubicBezTo>
                  <a:cubicBezTo>
                    <a:pt x="43" y="0"/>
                    <a:pt x="43" y="0"/>
                    <a:pt x="43" y="0"/>
                  </a:cubicBezTo>
                  <a:cubicBezTo>
                    <a:pt x="29" y="0"/>
                    <a:pt x="22" y="10"/>
                    <a:pt x="22" y="32"/>
                  </a:cubicBezTo>
                  <a:cubicBezTo>
                    <a:pt x="22" y="53"/>
                    <a:pt x="22" y="53"/>
                    <a:pt x="22" y="53"/>
                  </a:cubicBezTo>
                  <a:cubicBezTo>
                    <a:pt x="22" y="59"/>
                    <a:pt x="26" y="64"/>
                    <a:pt x="32" y="64"/>
                  </a:cubicBezTo>
                  <a:cubicBezTo>
                    <a:pt x="54" y="64"/>
                    <a:pt x="54" y="64"/>
                    <a:pt x="54" y="64"/>
                  </a:cubicBezTo>
                  <a:cubicBezTo>
                    <a:pt x="54" y="85"/>
                    <a:pt x="54" y="85"/>
                    <a:pt x="54" y="85"/>
                  </a:cubicBezTo>
                  <a:cubicBezTo>
                    <a:pt x="32" y="85"/>
                    <a:pt x="32" y="85"/>
                    <a:pt x="32" y="85"/>
                  </a:cubicBezTo>
                  <a:cubicBezTo>
                    <a:pt x="15" y="85"/>
                    <a:pt x="0" y="99"/>
                    <a:pt x="0" y="117"/>
                  </a:cubicBezTo>
                  <a:cubicBezTo>
                    <a:pt x="0" y="288"/>
                    <a:pt x="0" y="288"/>
                    <a:pt x="0" y="288"/>
                  </a:cubicBezTo>
                  <a:cubicBezTo>
                    <a:pt x="0" y="305"/>
                    <a:pt x="15" y="320"/>
                    <a:pt x="32" y="320"/>
                  </a:cubicBezTo>
                  <a:cubicBezTo>
                    <a:pt x="203" y="320"/>
                    <a:pt x="203" y="320"/>
                    <a:pt x="203" y="320"/>
                  </a:cubicBezTo>
                  <a:cubicBezTo>
                    <a:pt x="221" y="320"/>
                    <a:pt x="235" y="305"/>
                    <a:pt x="235" y="288"/>
                  </a:cubicBezTo>
                  <a:cubicBezTo>
                    <a:pt x="235" y="117"/>
                    <a:pt x="235" y="117"/>
                    <a:pt x="235" y="117"/>
                  </a:cubicBezTo>
                  <a:cubicBezTo>
                    <a:pt x="235" y="99"/>
                    <a:pt x="221" y="85"/>
                    <a:pt x="203" y="85"/>
                  </a:cubicBezTo>
                  <a:close/>
                  <a:moveTo>
                    <a:pt x="191" y="21"/>
                  </a:moveTo>
                  <a:cubicBezTo>
                    <a:pt x="192" y="22"/>
                    <a:pt x="192" y="25"/>
                    <a:pt x="192" y="32"/>
                  </a:cubicBezTo>
                  <a:cubicBezTo>
                    <a:pt x="192" y="42"/>
                    <a:pt x="192" y="42"/>
                    <a:pt x="192" y="42"/>
                  </a:cubicBezTo>
                  <a:cubicBezTo>
                    <a:pt x="171" y="42"/>
                    <a:pt x="171" y="42"/>
                    <a:pt x="171" y="42"/>
                  </a:cubicBezTo>
                  <a:cubicBezTo>
                    <a:pt x="171" y="21"/>
                    <a:pt x="171" y="21"/>
                    <a:pt x="171" y="21"/>
                  </a:cubicBezTo>
                  <a:lnTo>
                    <a:pt x="191" y="21"/>
                  </a:lnTo>
                  <a:close/>
                  <a:moveTo>
                    <a:pt x="150" y="21"/>
                  </a:moveTo>
                  <a:cubicBezTo>
                    <a:pt x="150" y="42"/>
                    <a:pt x="150" y="42"/>
                    <a:pt x="150" y="42"/>
                  </a:cubicBezTo>
                  <a:cubicBezTo>
                    <a:pt x="128" y="42"/>
                    <a:pt x="128" y="42"/>
                    <a:pt x="128" y="42"/>
                  </a:cubicBezTo>
                  <a:cubicBezTo>
                    <a:pt x="128" y="21"/>
                    <a:pt x="128" y="21"/>
                    <a:pt x="128" y="21"/>
                  </a:cubicBezTo>
                  <a:lnTo>
                    <a:pt x="150" y="21"/>
                  </a:lnTo>
                  <a:close/>
                  <a:moveTo>
                    <a:pt x="107" y="21"/>
                  </a:moveTo>
                  <a:cubicBezTo>
                    <a:pt x="107" y="42"/>
                    <a:pt x="107" y="42"/>
                    <a:pt x="107" y="42"/>
                  </a:cubicBezTo>
                  <a:cubicBezTo>
                    <a:pt x="86" y="42"/>
                    <a:pt x="86" y="42"/>
                    <a:pt x="86" y="42"/>
                  </a:cubicBezTo>
                  <a:cubicBezTo>
                    <a:pt x="86" y="21"/>
                    <a:pt x="86" y="21"/>
                    <a:pt x="86" y="21"/>
                  </a:cubicBezTo>
                  <a:lnTo>
                    <a:pt x="107" y="21"/>
                  </a:lnTo>
                  <a:close/>
                  <a:moveTo>
                    <a:pt x="43" y="42"/>
                  </a:moveTo>
                  <a:cubicBezTo>
                    <a:pt x="43" y="32"/>
                    <a:pt x="43" y="32"/>
                    <a:pt x="43" y="32"/>
                  </a:cubicBezTo>
                  <a:cubicBezTo>
                    <a:pt x="43" y="25"/>
                    <a:pt x="44" y="22"/>
                    <a:pt x="44" y="21"/>
                  </a:cubicBezTo>
                  <a:cubicBezTo>
                    <a:pt x="64" y="21"/>
                    <a:pt x="64" y="21"/>
                    <a:pt x="64" y="21"/>
                  </a:cubicBezTo>
                  <a:cubicBezTo>
                    <a:pt x="64" y="42"/>
                    <a:pt x="64" y="42"/>
                    <a:pt x="64" y="42"/>
                  </a:cubicBezTo>
                  <a:lnTo>
                    <a:pt x="43" y="42"/>
                  </a:lnTo>
                  <a:close/>
                  <a:moveTo>
                    <a:pt x="75" y="64"/>
                  </a:moveTo>
                  <a:cubicBezTo>
                    <a:pt x="160" y="64"/>
                    <a:pt x="160" y="64"/>
                    <a:pt x="160" y="64"/>
                  </a:cubicBezTo>
                  <a:cubicBezTo>
                    <a:pt x="160" y="85"/>
                    <a:pt x="160" y="85"/>
                    <a:pt x="160" y="85"/>
                  </a:cubicBezTo>
                  <a:cubicBezTo>
                    <a:pt x="75" y="85"/>
                    <a:pt x="75" y="85"/>
                    <a:pt x="75" y="85"/>
                  </a:cubicBezTo>
                  <a:lnTo>
                    <a:pt x="75" y="64"/>
                  </a:lnTo>
                  <a:close/>
                  <a:moveTo>
                    <a:pt x="214" y="288"/>
                  </a:moveTo>
                  <a:cubicBezTo>
                    <a:pt x="214" y="294"/>
                    <a:pt x="209" y="298"/>
                    <a:pt x="203" y="298"/>
                  </a:cubicBezTo>
                  <a:cubicBezTo>
                    <a:pt x="32" y="298"/>
                    <a:pt x="32" y="298"/>
                    <a:pt x="32" y="298"/>
                  </a:cubicBezTo>
                  <a:cubicBezTo>
                    <a:pt x="26" y="298"/>
                    <a:pt x="22" y="294"/>
                    <a:pt x="22" y="288"/>
                  </a:cubicBezTo>
                  <a:cubicBezTo>
                    <a:pt x="22" y="117"/>
                    <a:pt x="22" y="117"/>
                    <a:pt x="22" y="117"/>
                  </a:cubicBezTo>
                  <a:cubicBezTo>
                    <a:pt x="22" y="111"/>
                    <a:pt x="26" y="106"/>
                    <a:pt x="32" y="106"/>
                  </a:cubicBezTo>
                  <a:cubicBezTo>
                    <a:pt x="203" y="106"/>
                    <a:pt x="203" y="106"/>
                    <a:pt x="203" y="106"/>
                  </a:cubicBezTo>
                  <a:cubicBezTo>
                    <a:pt x="209" y="106"/>
                    <a:pt x="214" y="111"/>
                    <a:pt x="214" y="117"/>
                  </a:cubicBezTo>
                  <a:lnTo>
                    <a:pt x="214" y="288"/>
                  </a:lnTo>
                  <a:close/>
                  <a:moveTo>
                    <a:pt x="182" y="202"/>
                  </a:moveTo>
                  <a:cubicBezTo>
                    <a:pt x="182" y="208"/>
                    <a:pt x="177" y="213"/>
                    <a:pt x="171" y="213"/>
                  </a:cubicBezTo>
                  <a:cubicBezTo>
                    <a:pt x="128" y="213"/>
                    <a:pt x="128" y="213"/>
                    <a:pt x="128" y="213"/>
                  </a:cubicBezTo>
                  <a:cubicBezTo>
                    <a:pt x="128" y="256"/>
                    <a:pt x="128" y="256"/>
                    <a:pt x="128" y="256"/>
                  </a:cubicBezTo>
                  <a:cubicBezTo>
                    <a:pt x="128" y="262"/>
                    <a:pt x="124" y="266"/>
                    <a:pt x="118" y="266"/>
                  </a:cubicBezTo>
                  <a:cubicBezTo>
                    <a:pt x="112" y="266"/>
                    <a:pt x="107" y="262"/>
                    <a:pt x="107" y="256"/>
                  </a:cubicBezTo>
                  <a:cubicBezTo>
                    <a:pt x="107" y="213"/>
                    <a:pt x="107" y="213"/>
                    <a:pt x="107" y="213"/>
                  </a:cubicBezTo>
                  <a:cubicBezTo>
                    <a:pt x="64" y="213"/>
                    <a:pt x="64" y="213"/>
                    <a:pt x="64" y="213"/>
                  </a:cubicBezTo>
                  <a:cubicBezTo>
                    <a:pt x="58" y="213"/>
                    <a:pt x="54" y="208"/>
                    <a:pt x="54" y="202"/>
                  </a:cubicBezTo>
                  <a:cubicBezTo>
                    <a:pt x="54" y="196"/>
                    <a:pt x="58" y="192"/>
                    <a:pt x="64" y="192"/>
                  </a:cubicBezTo>
                  <a:cubicBezTo>
                    <a:pt x="107" y="192"/>
                    <a:pt x="107" y="192"/>
                    <a:pt x="107" y="192"/>
                  </a:cubicBezTo>
                  <a:cubicBezTo>
                    <a:pt x="107" y="149"/>
                    <a:pt x="107" y="149"/>
                    <a:pt x="107" y="149"/>
                  </a:cubicBezTo>
                  <a:cubicBezTo>
                    <a:pt x="107" y="143"/>
                    <a:pt x="112" y="138"/>
                    <a:pt x="118" y="138"/>
                  </a:cubicBezTo>
                  <a:cubicBezTo>
                    <a:pt x="124" y="138"/>
                    <a:pt x="128" y="143"/>
                    <a:pt x="128" y="149"/>
                  </a:cubicBezTo>
                  <a:cubicBezTo>
                    <a:pt x="128" y="192"/>
                    <a:pt x="128" y="192"/>
                    <a:pt x="128" y="192"/>
                  </a:cubicBezTo>
                  <a:cubicBezTo>
                    <a:pt x="171" y="192"/>
                    <a:pt x="171" y="192"/>
                    <a:pt x="171" y="192"/>
                  </a:cubicBezTo>
                  <a:cubicBezTo>
                    <a:pt x="177" y="192"/>
                    <a:pt x="182" y="196"/>
                    <a:pt x="182"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5" name="Freeform 342">
            <a:extLst>
              <a:ext uri="{FF2B5EF4-FFF2-40B4-BE49-F238E27FC236}">
                <a16:creationId xmlns:a16="http://schemas.microsoft.com/office/drawing/2014/main" id="{3DD7D93A-D58F-465A-BDAF-6543602C9BC1}"/>
              </a:ext>
            </a:extLst>
          </p:cNvPr>
          <p:cNvSpPr>
            <a:spLocks noChangeAspect="1" noEditPoints="1"/>
          </p:cNvSpPr>
          <p:nvPr/>
        </p:nvSpPr>
        <p:spPr bwMode="auto">
          <a:xfrm>
            <a:off x="2219888" y="2522228"/>
            <a:ext cx="369021" cy="369021"/>
          </a:xfrm>
          <a:custGeom>
            <a:avLst/>
            <a:gdLst>
              <a:gd name="T0" fmla="*/ 213 w 512"/>
              <a:gd name="T1" fmla="*/ 181 h 512"/>
              <a:gd name="T2" fmla="*/ 298 w 512"/>
              <a:gd name="T3" fmla="*/ 160 h 512"/>
              <a:gd name="T4" fmla="*/ 245 w 512"/>
              <a:gd name="T5" fmla="*/ 117 h 512"/>
              <a:gd name="T6" fmla="*/ 224 w 512"/>
              <a:gd name="T7" fmla="*/ 138 h 512"/>
              <a:gd name="T8" fmla="*/ 245 w 512"/>
              <a:gd name="T9" fmla="*/ 117 h 512"/>
              <a:gd name="T10" fmla="*/ 329 w 512"/>
              <a:gd name="T11" fmla="*/ 117 h 512"/>
              <a:gd name="T12" fmla="*/ 309 w 512"/>
              <a:gd name="T13" fmla="*/ 138 h 512"/>
              <a:gd name="T14" fmla="*/ 330 w 512"/>
              <a:gd name="T15" fmla="*/ 128 h 512"/>
              <a:gd name="T16" fmla="*/ 266 w 512"/>
              <a:gd name="T17" fmla="*/ 117 h 512"/>
              <a:gd name="T18" fmla="*/ 288 w 512"/>
              <a:gd name="T19" fmla="*/ 138 h 512"/>
              <a:gd name="T20" fmla="*/ 352 w 512"/>
              <a:gd name="T21" fmla="*/ 213 h 512"/>
              <a:gd name="T22" fmla="*/ 341 w 512"/>
              <a:gd name="T23" fmla="*/ 394 h 512"/>
              <a:gd name="T24" fmla="*/ 160 w 512"/>
              <a:gd name="T25" fmla="*/ 384 h 512"/>
              <a:gd name="T26" fmla="*/ 170 w 512"/>
              <a:gd name="T27" fmla="*/ 202 h 512"/>
              <a:gd name="T28" fmla="*/ 352 w 512"/>
              <a:gd name="T29" fmla="*/ 213 h 512"/>
              <a:gd name="T30" fmla="*/ 309 w 512"/>
              <a:gd name="T31" fmla="*/ 288 h 512"/>
              <a:gd name="T32" fmla="*/ 266 w 512"/>
              <a:gd name="T33" fmla="*/ 245 h 512"/>
              <a:gd name="T34" fmla="*/ 245 w 512"/>
              <a:gd name="T35" fmla="*/ 245 h 512"/>
              <a:gd name="T36" fmla="*/ 202 w 512"/>
              <a:gd name="T37" fmla="*/ 288 h 512"/>
              <a:gd name="T38" fmla="*/ 202 w 512"/>
              <a:gd name="T39" fmla="*/ 309 h 512"/>
              <a:gd name="T40" fmla="*/ 245 w 512"/>
              <a:gd name="T41" fmla="*/ 352 h 512"/>
              <a:gd name="T42" fmla="*/ 266 w 512"/>
              <a:gd name="T43" fmla="*/ 352 h 512"/>
              <a:gd name="T44" fmla="*/ 309 w 512"/>
              <a:gd name="T45" fmla="*/ 309 h 512"/>
              <a:gd name="T46" fmla="*/ 512 w 512"/>
              <a:gd name="T47" fmla="*/ 256 h 512"/>
              <a:gd name="T48" fmla="*/ 0 w 512"/>
              <a:gd name="T49" fmla="*/ 256 h 512"/>
              <a:gd name="T50" fmla="*/ 512 w 512"/>
              <a:gd name="T51" fmla="*/ 256 h 512"/>
              <a:gd name="T52" fmla="*/ 341 w 512"/>
              <a:gd name="T53" fmla="*/ 181 h 512"/>
              <a:gd name="T54" fmla="*/ 320 w 512"/>
              <a:gd name="T55" fmla="*/ 160 h 512"/>
              <a:gd name="T56" fmla="*/ 352 w 512"/>
              <a:gd name="T57" fmla="*/ 149 h 512"/>
              <a:gd name="T58" fmla="*/ 330 w 512"/>
              <a:gd name="T59" fmla="*/ 96 h 512"/>
              <a:gd name="T60" fmla="*/ 160 w 512"/>
              <a:gd name="T61" fmla="*/ 128 h 512"/>
              <a:gd name="T62" fmla="*/ 170 w 512"/>
              <a:gd name="T63" fmla="*/ 160 h 512"/>
              <a:gd name="T64" fmla="*/ 192 w 512"/>
              <a:gd name="T65" fmla="*/ 181 h 512"/>
              <a:gd name="T66" fmla="*/ 138 w 512"/>
              <a:gd name="T67" fmla="*/ 213 h 512"/>
              <a:gd name="T68" fmla="*/ 170 w 512"/>
              <a:gd name="T69" fmla="*/ 416 h 512"/>
              <a:gd name="T70" fmla="*/ 373 w 512"/>
              <a:gd name="T71" fmla="*/ 384 h 512"/>
              <a:gd name="T72" fmla="*/ 202 w 512"/>
              <a:gd name="T73" fmla="*/ 117 h 512"/>
              <a:gd name="T74" fmla="*/ 181 w 512"/>
              <a:gd name="T75" fmla="*/ 128 h 512"/>
              <a:gd name="T76" fmla="*/ 202 w 512"/>
              <a:gd name="T77"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98" y="181"/>
                </a:moveTo>
                <a:cubicBezTo>
                  <a:pt x="213" y="181"/>
                  <a:pt x="213" y="181"/>
                  <a:pt x="213" y="181"/>
                </a:cubicBezTo>
                <a:cubicBezTo>
                  <a:pt x="213" y="160"/>
                  <a:pt x="213" y="160"/>
                  <a:pt x="213" y="160"/>
                </a:cubicBezTo>
                <a:cubicBezTo>
                  <a:pt x="298" y="160"/>
                  <a:pt x="298" y="160"/>
                  <a:pt x="298" y="160"/>
                </a:cubicBezTo>
                <a:lnTo>
                  <a:pt x="298" y="181"/>
                </a:lnTo>
                <a:close/>
                <a:moveTo>
                  <a:pt x="245" y="117"/>
                </a:moveTo>
                <a:cubicBezTo>
                  <a:pt x="224" y="117"/>
                  <a:pt x="224" y="117"/>
                  <a:pt x="224" y="117"/>
                </a:cubicBezTo>
                <a:cubicBezTo>
                  <a:pt x="224" y="138"/>
                  <a:pt x="224" y="138"/>
                  <a:pt x="224" y="138"/>
                </a:cubicBezTo>
                <a:cubicBezTo>
                  <a:pt x="245" y="138"/>
                  <a:pt x="245" y="138"/>
                  <a:pt x="245" y="138"/>
                </a:cubicBezTo>
                <a:lnTo>
                  <a:pt x="245" y="117"/>
                </a:lnTo>
                <a:close/>
                <a:moveTo>
                  <a:pt x="330" y="128"/>
                </a:moveTo>
                <a:cubicBezTo>
                  <a:pt x="330" y="121"/>
                  <a:pt x="330" y="118"/>
                  <a:pt x="329" y="117"/>
                </a:cubicBezTo>
                <a:cubicBezTo>
                  <a:pt x="309" y="117"/>
                  <a:pt x="309" y="117"/>
                  <a:pt x="309" y="117"/>
                </a:cubicBezTo>
                <a:cubicBezTo>
                  <a:pt x="309" y="138"/>
                  <a:pt x="309" y="138"/>
                  <a:pt x="309" y="138"/>
                </a:cubicBezTo>
                <a:cubicBezTo>
                  <a:pt x="330" y="138"/>
                  <a:pt x="330" y="138"/>
                  <a:pt x="330" y="138"/>
                </a:cubicBezTo>
                <a:lnTo>
                  <a:pt x="330" y="128"/>
                </a:lnTo>
                <a:close/>
                <a:moveTo>
                  <a:pt x="288" y="117"/>
                </a:moveTo>
                <a:cubicBezTo>
                  <a:pt x="266" y="117"/>
                  <a:pt x="266" y="117"/>
                  <a:pt x="266" y="117"/>
                </a:cubicBezTo>
                <a:cubicBezTo>
                  <a:pt x="266" y="138"/>
                  <a:pt x="266" y="138"/>
                  <a:pt x="266" y="138"/>
                </a:cubicBezTo>
                <a:cubicBezTo>
                  <a:pt x="288" y="138"/>
                  <a:pt x="288" y="138"/>
                  <a:pt x="288" y="138"/>
                </a:cubicBezTo>
                <a:lnTo>
                  <a:pt x="288" y="117"/>
                </a:lnTo>
                <a:close/>
                <a:moveTo>
                  <a:pt x="352" y="213"/>
                </a:moveTo>
                <a:cubicBezTo>
                  <a:pt x="352" y="384"/>
                  <a:pt x="352" y="384"/>
                  <a:pt x="352" y="384"/>
                </a:cubicBezTo>
                <a:cubicBezTo>
                  <a:pt x="352" y="390"/>
                  <a:pt x="347" y="394"/>
                  <a:pt x="341" y="394"/>
                </a:cubicBezTo>
                <a:cubicBezTo>
                  <a:pt x="170" y="394"/>
                  <a:pt x="170" y="394"/>
                  <a:pt x="170" y="394"/>
                </a:cubicBezTo>
                <a:cubicBezTo>
                  <a:pt x="164" y="394"/>
                  <a:pt x="160" y="390"/>
                  <a:pt x="160" y="384"/>
                </a:cubicBezTo>
                <a:cubicBezTo>
                  <a:pt x="160" y="213"/>
                  <a:pt x="160" y="213"/>
                  <a:pt x="160" y="213"/>
                </a:cubicBezTo>
                <a:cubicBezTo>
                  <a:pt x="160" y="207"/>
                  <a:pt x="164" y="202"/>
                  <a:pt x="170" y="202"/>
                </a:cubicBezTo>
                <a:cubicBezTo>
                  <a:pt x="341" y="202"/>
                  <a:pt x="341" y="202"/>
                  <a:pt x="341" y="202"/>
                </a:cubicBezTo>
                <a:cubicBezTo>
                  <a:pt x="347" y="202"/>
                  <a:pt x="352" y="207"/>
                  <a:pt x="352" y="213"/>
                </a:cubicBezTo>
                <a:close/>
                <a:moveTo>
                  <a:pt x="320" y="298"/>
                </a:moveTo>
                <a:cubicBezTo>
                  <a:pt x="320" y="292"/>
                  <a:pt x="315" y="288"/>
                  <a:pt x="309" y="288"/>
                </a:cubicBezTo>
                <a:cubicBezTo>
                  <a:pt x="266" y="288"/>
                  <a:pt x="266" y="288"/>
                  <a:pt x="266" y="288"/>
                </a:cubicBezTo>
                <a:cubicBezTo>
                  <a:pt x="266" y="245"/>
                  <a:pt x="266" y="245"/>
                  <a:pt x="266" y="245"/>
                </a:cubicBezTo>
                <a:cubicBezTo>
                  <a:pt x="266" y="239"/>
                  <a:pt x="262" y="234"/>
                  <a:pt x="256" y="234"/>
                </a:cubicBezTo>
                <a:cubicBezTo>
                  <a:pt x="250" y="234"/>
                  <a:pt x="245" y="239"/>
                  <a:pt x="245" y="245"/>
                </a:cubicBezTo>
                <a:cubicBezTo>
                  <a:pt x="245" y="288"/>
                  <a:pt x="245" y="288"/>
                  <a:pt x="245" y="288"/>
                </a:cubicBezTo>
                <a:cubicBezTo>
                  <a:pt x="202" y="288"/>
                  <a:pt x="202" y="288"/>
                  <a:pt x="202" y="288"/>
                </a:cubicBezTo>
                <a:cubicBezTo>
                  <a:pt x="196" y="288"/>
                  <a:pt x="192" y="292"/>
                  <a:pt x="192" y="298"/>
                </a:cubicBezTo>
                <a:cubicBezTo>
                  <a:pt x="192" y="304"/>
                  <a:pt x="196" y="309"/>
                  <a:pt x="202" y="309"/>
                </a:cubicBezTo>
                <a:cubicBezTo>
                  <a:pt x="245" y="309"/>
                  <a:pt x="245" y="309"/>
                  <a:pt x="245" y="309"/>
                </a:cubicBezTo>
                <a:cubicBezTo>
                  <a:pt x="245" y="352"/>
                  <a:pt x="245" y="352"/>
                  <a:pt x="245" y="352"/>
                </a:cubicBezTo>
                <a:cubicBezTo>
                  <a:pt x="245" y="358"/>
                  <a:pt x="250" y="362"/>
                  <a:pt x="256" y="362"/>
                </a:cubicBezTo>
                <a:cubicBezTo>
                  <a:pt x="262" y="362"/>
                  <a:pt x="266" y="358"/>
                  <a:pt x="266" y="352"/>
                </a:cubicBezTo>
                <a:cubicBezTo>
                  <a:pt x="266" y="309"/>
                  <a:pt x="266" y="309"/>
                  <a:pt x="266" y="309"/>
                </a:cubicBezTo>
                <a:cubicBezTo>
                  <a:pt x="309" y="309"/>
                  <a:pt x="309" y="309"/>
                  <a:pt x="309" y="309"/>
                </a:cubicBezTo>
                <a:cubicBezTo>
                  <a:pt x="315" y="309"/>
                  <a:pt x="320" y="304"/>
                  <a:pt x="320"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95"/>
                  <a:pt x="359" y="181"/>
                  <a:pt x="341" y="181"/>
                </a:cubicBezTo>
                <a:cubicBezTo>
                  <a:pt x="320" y="181"/>
                  <a:pt x="320" y="181"/>
                  <a:pt x="320" y="181"/>
                </a:cubicBezTo>
                <a:cubicBezTo>
                  <a:pt x="320" y="160"/>
                  <a:pt x="320" y="160"/>
                  <a:pt x="320" y="160"/>
                </a:cubicBezTo>
                <a:cubicBezTo>
                  <a:pt x="341" y="160"/>
                  <a:pt x="341" y="160"/>
                  <a:pt x="341" y="160"/>
                </a:cubicBezTo>
                <a:cubicBezTo>
                  <a:pt x="347" y="160"/>
                  <a:pt x="352" y="155"/>
                  <a:pt x="352" y="149"/>
                </a:cubicBezTo>
                <a:cubicBezTo>
                  <a:pt x="352" y="128"/>
                  <a:pt x="352" y="128"/>
                  <a:pt x="352" y="128"/>
                </a:cubicBezTo>
                <a:cubicBezTo>
                  <a:pt x="352" y="106"/>
                  <a:pt x="344" y="96"/>
                  <a:pt x="330" y="96"/>
                </a:cubicBezTo>
                <a:cubicBezTo>
                  <a:pt x="181" y="96"/>
                  <a:pt x="181" y="96"/>
                  <a:pt x="181" y="96"/>
                </a:cubicBezTo>
                <a:cubicBezTo>
                  <a:pt x="167" y="96"/>
                  <a:pt x="160" y="106"/>
                  <a:pt x="160" y="128"/>
                </a:cubicBezTo>
                <a:cubicBezTo>
                  <a:pt x="160" y="149"/>
                  <a:pt x="160" y="149"/>
                  <a:pt x="160" y="149"/>
                </a:cubicBezTo>
                <a:cubicBezTo>
                  <a:pt x="160" y="155"/>
                  <a:pt x="164" y="160"/>
                  <a:pt x="170" y="160"/>
                </a:cubicBezTo>
                <a:cubicBezTo>
                  <a:pt x="192" y="160"/>
                  <a:pt x="192" y="160"/>
                  <a:pt x="192" y="160"/>
                </a:cubicBezTo>
                <a:cubicBezTo>
                  <a:pt x="192" y="181"/>
                  <a:pt x="192" y="181"/>
                  <a:pt x="192" y="181"/>
                </a:cubicBezTo>
                <a:cubicBezTo>
                  <a:pt x="170" y="181"/>
                  <a:pt x="170" y="181"/>
                  <a:pt x="170" y="181"/>
                </a:cubicBezTo>
                <a:cubicBezTo>
                  <a:pt x="153" y="181"/>
                  <a:pt x="138" y="195"/>
                  <a:pt x="138" y="213"/>
                </a:cubicBezTo>
                <a:cubicBezTo>
                  <a:pt x="138" y="384"/>
                  <a:pt x="138" y="384"/>
                  <a:pt x="138" y="384"/>
                </a:cubicBezTo>
                <a:cubicBezTo>
                  <a:pt x="138" y="401"/>
                  <a:pt x="153" y="416"/>
                  <a:pt x="170" y="416"/>
                </a:cubicBezTo>
                <a:cubicBezTo>
                  <a:pt x="341" y="416"/>
                  <a:pt x="341" y="416"/>
                  <a:pt x="341" y="416"/>
                </a:cubicBezTo>
                <a:cubicBezTo>
                  <a:pt x="359" y="416"/>
                  <a:pt x="373" y="401"/>
                  <a:pt x="373" y="384"/>
                </a:cubicBezTo>
                <a:lnTo>
                  <a:pt x="373" y="213"/>
                </a:lnTo>
                <a:close/>
                <a:moveTo>
                  <a:pt x="202" y="117"/>
                </a:moveTo>
                <a:cubicBezTo>
                  <a:pt x="182" y="117"/>
                  <a:pt x="182" y="117"/>
                  <a:pt x="182" y="117"/>
                </a:cubicBezTo>
                <a:cubicBezTo>
                  <a:pt x="182" y="118"/>
                  <a:pt x="181" y="121"/>
                  <a:pt x="181" y="128"/>
                </a:cubicBezTo>
                <a:cubicBezTo>
                  <a:pt x="181" y="138"/>
                  <a:pt x="181" y="138"/>
                  <a:pt x="181" y="138"/>
                </a:cubicBezTo>
                <a:cubicBezTo>
                  <a:pt x="202" y="138"/>
                  <a:pt x="202" y="138"/>
                  <a:pt x="202" y="138"/>
                </a:cubicBezTo>
                <a:lnTo>
                  <a:pt x="202" y="11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6" name="Freeform 869">
            <a:extLst>
              <a:ext uri="{FF2B5EF4-FFF2-40B4-BE49-F238E27FC236}">
                <a16:creationId xmlns:a16="http://schemas.microsoft.com/office/drawing/2014/main" id="{1064E1C5-8B99-4874-AFCF-5429A7AA5480}"/>
              </a:ext>
            </a:extLst>
          </p:cNvPr>
          <p:cNvSpPr>
            <a:spLocks noChangeAspect="1" noEditPoints="1"/>
          </p:cNvSpPr>
          <p:nvPr/>
        </p:nvSpPr>
        <p:spPr bwMode="auto">
          <a:xfrm>
            <a:off x="3091355" y="2524208"/>
            <a:ext cx="367041" cy="367041"/>
          </a:xfrm>
          <a:custGeom>
            <a:avLst/>
            <a:gdLst>
              <a:gd name="T0" fmla="*/ 305 w 512"/>
              <a:gd name="T1" fmla="*/ 145 h 512"/>
              <a:gd name="T2" fmla="*/ 207 w 512"/>
              <a:gd name="T3" fmla="*/ 198 h 512"/>
              <a:gd name="T4" fmla="*/ 512 w 512"/>
              <a:gd name="T5" fmla="*/ 256 h 512"/>
              <a:gd name="T6" fmla="*/ 0 w 512"/>
              <a:gd name="T7" fmla="*/ 256 h 512"/>
              <a:gd name="T8" fmla="*/ 512 w 512"/>
              <a:gd name="T9" fmla="*/ 256 h 512"/>
              <a:gd name="T10" fmla="*/ 245 w 512"/>
              <a:gd name="T11" fmla="*/ 288 h 512"/>
              <a:gd name="T12" fmla="*/ 245 w 512"/>
              <a:gd name="T13" fmla="*/ 267 h 512"/>
              <a:gd name="T14" fmla="*/ 128 w 512"/>
              <a:gd name="T15" fmla="*/ 278 h 512"/>
              <a:gd name="T16" fmla="*/ 373 w 512"/>
              <a:gd name="T17" fmla="*/ 262 h 512"/>
              <a:gd name="T18" fmla="*/ 328 w 512"/>
              <a:gd name="T19" fmla="*/ 152 h 512"/>
              <a:gd name="T20" fmla="*/ 320 w 512"/>
              <a:gd name="T21" fmla="*/ 130 h 512"/>
              <a:gd name="T22" fmla="*/ 328 w 512"/>
              <a:gd name="T23" fmla="*/ 107 h 512"/>
              <a:gd name="T24" fmla="*/ 305 w 512"/>
              <a:gd name="T25" fmla="*/ 99 h 512"/>
              <a:gd name="T26" fmla="*/ 290 w 512"/>
              <a:gd name="T27" fmla="*/ 99 h 512"/>
              <a:gd name="T28" fmla="*/ 184 w 512"/>
              <a:gd name="T29" fmla="*/ 190 h 512"/>
              <a:gd name="T30" fmla="*/ 222 w 512"/>
              <a:gd name="T31" fmla="*/ 243 h 512"/>
              <a:gd name="T32" fmla="*/ 229 w 512"/>
              <a:gd name="T33" fmla="*/ 246 h 512"/>
              <a:gd name="T34" fmla="*/ 266 w 512"/>
              <a:gd name="T35" fmla="*/ 214 h 512"/>
              <a:gd name="T36" fmla="*/ 256 w 512"/>
              <a:gd name="T37" fmla="*/ 299 h 512"/>
              <a:gd name="T38" fmla="*/ 256 w 512"/>
              <a:gd name="T39" fmla="*/ 320 h 512"/>
              <a:gd name="T40" fmla="*/ 283 w 512"/>
              <a:gd name="T41" fmla="*/ 197 h 512"/>
              <a:gd name="T42" fmla="*/ 302 w 512"/>
              <a:gd name="T43" fmla="*/ 181 h 512"/>
              <a:gd name="T44" fmla="*/ 276 w 512"/>
              <a:gd name="T45" fmla="*/ 352 h 512"/>
              <a:gd name="T46" fmla="*/ 273 w 512"/>
              <a:gd name="T47" fmla="*/ 373 h 512"/>
              <a:gd name="T48" fmla="*/ 217 w 512"/>
              <a:gd name="T49" fmla="*/ 395 h 512"/>
              <a:gd name="T50" fmla="*/ 235 w 512"/>
              <a:gd name="T51" fmla="*/ 372 h 512"/>
              <a:gd name="T52" fmla="*/ 169 w 512"/>
              <a:gd name="T53" fmla="*/ 306 h 512"/>
              <a:gd name="T54" fmla="*/ 149 w 512"/>
              <a:gd name="T55" fmla="*/ 314 h 512"/>
              <a:gd name="T56" fmla="*/ 192 w 512"/>
              <a:gd name="T57" fmla="*/ 404 h 512"/>
              <a:gd name="T58" fmla="*/ 203 w 512"/>
              <a:gd name="T59" fmla="*/ 416 h 512"/>
              <a:gd name="T60" fmla="*/ 318 w 512"/>
              <a:gd name="T61" fmla="*/ 412 h 512"/>
              <a:gd name="T62" fmla="*/ 301 w 512"/>
              <a:gd name="T63"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82" y="122"/>
                </a:moveTo>
                <a:cubicBezTo>
                  <a:pt x="305" y="145"/>
                  <a:pt x="305" y="145"/>
                  <a:pt x="305" y="145"/>
                </a:cubicBezTo>
                <a:cubicBezTo>
                  <a:pt x="229" y="221"/>
                  <a:pt x="229" y="221"/>
                  <a:pt x="229" y="221"/>
                </a:cubicBezTo>
                <a:cubicBezTo>
                  <a:pt x="207" y="198"/>
                  <a:pt x="207" y="198"/>
                  <a:pt x="207" y="198"/>
                </a:cubicBezTo>
                <a:lnTo>
                  <a:pt x="282" y="12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39" y="288"/>
                </a:moveTo>
                <a:cubicBezTo>
                  <a:pt x="245" y="288"/>
                  <a:pt x="245" y="288"/>
                  <a:pt x="245" y="288"/>
                </a:cubicBezTo>
                <a:cubicBezTo>
                  <a:pt x="251" y="288"/>
                  <a:pt x="256" y="284"/>
                  <a:pt x="256" y="278"/>
                </a:cubicBezTo>
                <a:cubicBezTo>
                  <a:pt x="256" y="272"/>
                  <a:pt x="251" y="267"/>
                  <a:pt x="245" y="267"/>
                </a:cubicBezTo>
                <a:cubicBezTo>
                  <a:pt x="139" y="267"/>
                  <a:pt x="139" y="267"/>
                  <a:pt x="139" y="267"/>
                </a:cubicBezTo>
                <a:cubicBezTo>
                  <a:pt x="133" y="267"/>
                  <a:pt x="128" y="272"/>
                  <a:pt x="128" y="278"/>
                </a:cubicBezTo>
                <a:cubicBezTo>
                  <a:pt x="128" y="284"/>
                  <a:pt x="133" y="288"/>
                  <a:pt x="139" y="288"/>
                </a:cubicBezTo>
                <a:close/>
                <a:moveTo>
                  <a:pt x="373" y="262"/>
                </a:moveTo>
                <a:cubicBezTo>
                  <a:pt x="373" y="221"/>
                  <a:pt x="352" y="184"/>
                  <a:pt x="316" y="164"/>
                </a:cubicBezTo>
                <a:cubicBezTo>
                  <a:pt x="328" y="152"/>
                  <a:pt x="328" y="152"/>
                  <a:pt x="328" y="152"/>
                </a:cubicBezTo>
                <a:cubicBezTo>
                  <a:pt x="332" y="148"/>
                  <a:pt x="332" y="141"/>
                  <a:pt x="328" y="137"/>
                </a:cubicBezTo>
                <a:cubicBezTo>
                  <a:pt x="320" y="130"/>
                  <a:pt x="320" y="130"/>
                  <a:pt x="320" y="130"/>
                </a:cubicBezTo>
                <a:cubicBezTo>
                  <a:pt x="328" y="122"/>
                  <a:pt x="328" y="122"/>
                  <a:pt x="328" y="122"/>
                </a:cubicBezTo>
                <a:cubicBezTo>
                  <a:pt x="332" y="118"/>
                  <a:pt x="332" y="111"/>
                  <a:pt x="328" y="107"/>
                </a:cubicBezTo>
                <a:cubicBezTo>
                  <a:pt x="320" y="99"/>
                  <a:pt x="320" y="99"/>
                  <a:pt x="320" y="99"/>
                </a:cubicBezTo>
                <a:cubicBezTo>
                  <a:pt x="316" y="95"/>
                  <a:pt x="309" y="95"/>
                  <a:pt x="305" y="99"/>
                </a:cubicBezTo>
                <a:cubicBezTo>
                  <a:pt x="297" y="107"/>
                  <a:pt x="297" y="107"/>
                  <a:pt x="297" y="107"/>
                </a:cubicBezTo>
                <a:cubicBezTo>
                  <a:pt x="290" y="99"/>
                  <a:pt x="290" y="99"/>
                  <a:pt x="290" y="99"/>
                </a:cubicBezTo>
                <a:cubicBezTo>
                  <a:pt x="286" y="95"/>
                  <a:pt x="279" y="95"/>
                  <a:pt x="275" y="99"/>
                </a:cubicBezTo>
                <a:cubicBezTo>
                  <a:pt x="184" y="190"/>
                  <a:pt x="184" y="190"/>
                  <a:pt x="184" y="190"/>
                </a:cubicBezTo>
                <a:cubicBezTo>
                  <a:pt x="180" y="194"/>
                  <a:pt x="180" y="201"/>
                  <a:pt x="184" y="205"/>
                </a:cubicBezTo>
                <a:cubicBezTo>
                  <a:pt x="222" y="243"/>
                  <a:pt x="222" y="243"/>
                  <a:pt x="222" y="243"/>
                </a:cubicBezTo>
                <a:cubicBezTo>
                  <a:pt x="224" y="245"/>
                  <a:pt x="226" y="246"/>
                  <a:pt x="229" y="246"/>
                </a:cubicBezTo>
                <a:cubicBezTo>
                  <a:pt x="229" y="246"/>
                  <a:pt x="229" y="246"/>
                  <a:pt x="229" y="246"/>
                </a:cubicBezTo>
                <a:cubicBezTo>
                  <a:pt x="232" y="246"/>
                  <a:pt x="235" y="245"/>
                  <a:pt x="237" y="243"/>
                </a:cubicBezTo>
                <a:cubicBezTo>
                  <a:pt x="266" y="214"/>
                  <a:pt x="266" y="214"/>
                  <a:pt x="266" y="214"/>
                </a:cubicBezTo>
                <a:cubicBezTo>
                  <a:pt x="286" y="219"/>
                  <a:pt x="299" y="236"/>
                  <a:pt x="299" y="256"/>
                </a:cubicBezTo>
                <a:cubicBezTo>
                  <a:pt x="299" y="281"/>
                  <a:pt x="281" y="299"/>
                  <a:pt x="256" y="299"/>
                </a:cubicBezTo>
                <a:cubicBezTo>
                  <a:pt x="250" y="299"/>
                  <a:pt x="245" y="304"/>
                  <a:pt x="245" y="310"/>
                </a:cubicBezTo>
                <a:cubicBezTo>
                  <a:pt x="245" y="316"/>
                  <a:pt x="250" y="320"/>
                  <a:pt x="256" y="320"/>
                </a:cubicBezTo>
                <a:cubicBezTo>
                  <a:pt x="292" y="320"/>
                  <a:pt x="320" y="293"/>
                  <a:pt x="320" y="256"/>
                </a:cubicBezTo>
                <a:cubicBezTo>
                  <a:pt x="320" y="230"/>
                  <a:pt x="305" y="208"/>
                  <a:pt x="283" y="197"/>
                </a:cubicBezTo>
                <a:cubicBezTo>
                  <a:pt x="300" y="180"/>
                  <a:pt x="300" y="180"/>
                  <a:pt x="300" y="180"/>
                </a:cubicBezTo>
                <a:cubicBezTo>
                  <a:pt x="301" y="180"/>
                  <a:pt x="302" y="181"/>
                  <a:pt x="302" y="181"/>
                </a:cubicBezTo>
                <a:cubicBezTo>
                  <a:pt x="333" y="196"/>
                  <a:pt x="352" y="227"/>
                  <a:pt x="352" y="262"/>
                </a:cubicBezTo>
                <a:cubicBezTo>
                  <a:pt x="352" y="307"/>
                  <a:pt x="319" y="346"/>
                  <a:pt x="276" y="352"/>
                </a:cubicBezTo>
                <a:cubicBezTo>
                  <a:pt x="271" y="353"/>
                  <a:pt x="268" y="357"/>
                  <a:pt x="267" y="361"/>
                </a:cubicBezTo>
                <a:cubicBezTo>
                  <a:pt x="266" y="366"/>
                  <a:pt x="268" y="370"/>
                  <a:pt x="273" y="373"/>
                </a:cubicBezTo>
                <a:cubicBezTo>
                  <a:pt x="281" y="377"/>
                  <a:pt x="289" y="386"/>
                  <a:pt x="294" y="395"/>
                </a:cubicBezTo>
                <a:cubicBezTo>
                  <a:pt x="217" y="395"/>
                  <a:pt x="217" y="395"/>
                  <a:pt x="217" y="395"/>
                </a:cubicBezTo>
                <a:cubicBezTo>
                  <a:pt x="220" y="390"/>
                  <a:pt x="224" y="386"/>
                  <a:pt x="229" y="383"/>
                </a:cubicBezTo>
                <a:cubicBezTo>
                  <a:pt x="233" y="381"/>
                  <a:pt x="235" y="376"/>
                  <a:pt x="235" y="372"/>
                </a:cubicBezTo>
                <a:cubicBezTo>
                  <a:pt x="234" y="368"/>
                  <a:pt x="231" y="364"/>
                  <a:pt x="227" y="363"/>
                </a:cubicBezTo>
                <a:cubicBezTo>
                  <a:pt x="202" y="357"/>
                  <a:pt x="181" y="336"/>
                  <a:pt x="169" y="306"/>
                </a:cubicBezTo>
                <a:cubicBezTo>
                  <a:pt x="167" y="301"/>
                  <a:pt x="161" y="298"/>
                  <a:pt x="155" y="300"/>
                </a:cubicBezTo>
                <a:cubicBezTo>
                  <a:pt x="150" y="302"/>
                  <a:pt x="147" y="308"/>
                  <a:pt x="149" y="314"/>
                </a:cubicBezTo>
                <a:cubicBezTo>
                  <a:pt x="161" y="343"/>
                  <a:pt x="180" y="366"/>
                  <a:pt x="203" y="377"/>
                </a:cubicBezTo>
                <a:cubicBezTo>
                  <a:pt x="198" y="384"/>
                  <a:pt x="194" y="393"/>
                  <a:pt x="192" y="404"/>
                </a:cubicBezTo>
                <a:cubicBezTo>
                  <a:pt x="192" y="407"/>
                  <a:pt x="192" y="410"/>
                  <a:pt x="194" y="412"/>
                </a:cubicBezTo>
                <a:cubicBezTo>
                  <a:pt x="196" y="415"/>
                  <a:pt x="199" y="416"/>
                  <a:pt x="203" y="416"/>
                </a:cubicBezTo>
                <a:cubicBezTo>
                  <a:pt x="309" y="416"/>
                  <a:pt x="309" y="416"/>
                  <a:pt x="309" y="416"/>
                </a:cubicBezTo>
                <a:cubicBezTo>
                  <a:pt x="313" y="416"/>
                  <a:pt x="316" y="415"/>
                  <a:pt x="318" y="412"/>
                </a:cubicBezTo>
                <a:cubicBezTo>
                  <a:pt x="320" y="410"/>
                  <a:pt x="320" y="407"/>
                  <a:pt x="320" y="404"/>
                </a:cubicBezTo>
                <a:cubicBezTo>
                  <a:pt x="317" y="391"/>
                  <a:pt x="310" y="378"/>
                  <a:pt x="301" y="368"/>
                </a:cubicBezTo>
                <a:cubicBezTo>
                  <a:pt x="343" y="352"/>
                  <a:pt x="373" y="309"/>
                  <a:pt x="373" y="26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57" name="Group 872">
            <a:extLst>
              <a:ext uri="{FF2B5EF4-FFF2-40B4-BE49-F238E27FC236}">
                <a16:creationId xmlns:a16="http://schemas.microsoft.com/office/drawing/2014/main" id="{0541675C-277F-4853-AF24-2015096D1CF1}"/>
              </a:ext>
            </a:extLst>
          </p:cNvPr>
          <p:cNvGrpSpPr>
            <a:grpSpLocks noChangeAspect="1"/>
          </p:cNvGrpSpPr>
          <p:nvPr/>
        </p:nvGrpSpPr>
        <p:grpSpPr bwMode="auto">
          <a:xfrm>
            <a:off x="3524566" y="2524208"/>
            <a:ext cx="367041" cy="367041"/>
            <a:chOff x="3132" y="3822"/>
            <a:chExt cx="340" cy="340"/>
          </a:xfrm>
          <a:solidFill>
            <a:schemeClr val="accent4"/>
          </a:solidFill>
        </p:grpSpPr>
        <p:sp>
          <p:nvSpPr>
            <p:cNvPr id="358" name="Freeform 873">
              <a:extLst>
                <a:ext uri="{FF2B5EF4-FFF2-40B4-BE49-F238E27FC236}">
                  <a16:creationId xmlns:a16="http://schemas.microsoft.com/office/drawing/2014/main" id="{B6B5FFDD-DFEF-4AED-AAB1-7F6A537E05D9}"/>
                </a:ext>
              </a:extLst>
            </p:cNvPr>
            <p:cNvSpPr>
              <a:spLocks noEditPoints="1"/>
            </p:cNvSpPr>
            <p:nvPr/>
          </p:nvSpPr>
          <p:spPr bwMode="auto">
            <a:xfrm>
              <a:off x="3132" y="3822"/>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9" name="Freeform 874">
              <a:extLst>
                <a:ext uri="{FF2B5EF4-FFF2-40B4-BE49-F238E27FC236}">
                  <a16:creationId xmlns:a16="http://schemas.microsoft.com/office/drawing/2014/main" id="{B7CCA2AB-B459-4D5B-B6A6-7999CF218F86}"/>
                </a:ext>
              </a:extLst>
            </p:cNvPr>
            <p:cNvSpPr>
              <a:spLocks/>
            </p:cNvSpPr>
            <p:nvPr/>
          </p:nvSpPr>
          <p:spPr bwMode="auto">
            <a:xfrm>
              <a:off x="3217" y="3999"/>
              <a:ext cx="85" cy="14"/>
            </a:xfrm>
            <a:custGeom>
              <a:avLst/>
              <a:gdLst>
                <a:gd name="T0" fmla="*/ 128 w 128"/>
                <a:gd name="T1" fmla="*/ 11 h 21"/>
                <a:gd name="T2" fmla="*/ 117 w 128"/>
                <a:gd name="T3" fmla="*/ 0 h 21"/>
                <a:gd name="T4" fmla="*/ 11 w 128"/>
                <a:gd name="T5" fmla="*/ 0 h 21"/>
                <a:gd name="T6" fmla="*/ 0 w 128"/>
                <a:gd name="T7" fmla="*/ 11 h 21"/>
                <a:gd name="T8" fmla="*/ 11 w 128"/>
                <a:gd name="T9" fmla="*/ 21 h 21"/>
                <a:gd name="T10" fmla="*/ 117 w 128"/>
                <a:gd name="T11" fmla="*/ 21 h 21"/>
                <a:gd name="T12" fmla="*/ 128 w 128"/>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28" y="11"/>
                  </a:moveTo>
                  <a:cubicBezTo>
                    <a:pt x="128" y="5"/>
                    <a:pt x="123" y="0"/>
                    <a:pt x="117" y="0"/>
                  </a:cubicBezTo>
                  <a:cubicBezTo>
                    <a:pt x="11" y="0"/>
                    <a:pt x="11" y="0"/>
                    <a:pt x="11" y="0"/>
                  </a:cubicBezTo>
                  <a:cubicBezTo>
                    <a:pt x="5" y="0"/>
                    <a:pt x="0" y="5"/>
                    <a:pt x="0" y="11"/>
                  </a:cubicBezTo>
                  <a:cubicBezTo>
                    <a:pt x="0" y="17"/>
                    <a:pt x="5" y="21"/>
                    <a:pt x="11" y="21"/>
                  </a:cubicBezTo>
                  <a:cubicBezTo>
                    <a:pt x="117" y="21"/>
                    <a:pt x="117" y="21"/>
                    <a:pt x="117" y="21"/>
                  </a:cubicBezTo>
                  <a:cubicBezTo>
                    <a:pt x="123" y="21"/>
                    <a:pt x="128" y="17"/>
                    <a:pt x="128"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0" name="Freeform 875">
              <a:extLst>
                <a:ext uri="{FF2B5EF4-FFF2-40B4-BE49-F238E27FC236}">
                  <a16:creationId xmlns:a16="http://schemas.microsoft.com/office/drawing/2014/main" id="{384FCE30-A0CD-41B1-A5B0-1312EC502397}"/>
                </a:ext>
              </a:extLst>
            </p:cNvPr>
            <p:cNvSpPr>
              <a:spLocks noEditPoints="1"/>
            </p:cNvSpPr>
            <p:nvPr/>
          </p:nvSpPr>
          <p:spPr bwMode="auto">
            <a:xfrm>
              <a:off x="3230" y="3885"/>
              <a:ext cx="150" cy="213"/>
            </a:xfrm>
            <a:custGeom>
              <a:avLst/>
              <a:gdLst>
                <a:gd name="T0" fmla="*/ 226 w 226"/>
                <a:gd name="T1" fmla="*/ 167 h 321"/>
                <a:gd name="T2" fmla="*/ 169 w 226"/>
                <a:gd name="T3" fmla="*/ 69 h 321"/>
                <a:gd name="T4" fmla="*/ 181 w 226"/>
                <a:gd name="T5" fmla="*/ 57 h 321"/>
                <a:gd name="T6" fmla="*/ 181 w 226"/>
                <a:gd name="T7" fmla="*/ 42 h 321"/>
                <a:gd name="T8" fmla="*/ 173 w 226"/>
                <a:gd name="T9" fmla="*/ 35 h 321"/>
                <a:gd name="T10" fmla="*/ 181 w 226"/>
                <a:gd name="T11" fmla="*/ 27 h 321"/>
                <a:gd name="T12" fmla="*/ 181 w 226"/>
                <a:gd name="T13" fmla="*/ 12 h 321"/>
                <a:gd name="T14" fmla="*/ 173 w 226"/>
                <a:gd name="T15" fmla="*/ 4 h 321"/>
                <a:gd name="T16" fmla="*/ 158 w 226"/>
                <a:gd name="T17" fmla="*/ 4 h 321"/>
                <a:gd name="T18" fmla="*/ 150 w 226"/>
                <a:gd name="T19" fmla="*/ 12 h 321"/>
                <a:gd name="T20" fmla="*/ 143 w 226"/>
                <a:gd name="T21" fmla="*/ 4 h 321"/>
                <a:gd name="T22" fmla="*/ 128 w 226"/>
                <a:gd name="T23" fmla="*/ 4 h 321"/>
                <a:gd name="T24" fmla="*/ 37 w 226"/>
                <a:gd name="T25" fmla="*/ 95 h 321"/>
                <a:gd name="T26" fmla="*/ 37 w 226"/>
                <a:gd name="T27" fmla="*/ 110 h 321"/>
                <a:gd name="T28" fmla="*/ 75 w 226"/>
                <a:gd name="T29" fmla="*/ 148 h 321"/>
                <a:gd name="T30" fmla="*/ 82 w 226"/>
                <a:gd name="T31" fmla="*/ 151 h 321"/>
                <a:gd name="T32" fmla="*/ 82 w 226"/>
                <a:gd name="T33" fmla="*/ 151 h 321"/>
                <a:gd name="T34" fmla="*/ 90 w 226"/>
                <a:gd name="T35" fmla="*/ 148 h 321"/>
                <a:gd name="T36" fmla="*/ 119 w 226"/>
                <a:gd name="T37" fmla="*/ 119 h 321"/>
                <a:gd name="T38" fmla="*/ 152 w 226"/>
                <a:gd name="T39" fmla="*/ 161 h 321"/>
                <a:gd name="T40" fmla="*/ 109 w 226"/>
                <a:gd name="T41" fmla="*/ 204 h 321"/>
                <a:gd name="T42" fmla="*/ 98 w 226"/>
                <a:gd name="T43" fmla="*/ 215 h 321"/>
                <a:gd name="T44" fmla="*/ 109 w 226"/>
                <a:gd name="T45" fmla="*/ 225 h 321"/>
                <a:gd name="T46" fmla="*/ 173 w 226"/>
                <a:gd name="T47" fmla="*/ 161 h 321"/>
                <a:gd name="T48" fmla="*/ 136 w 226"/>
                <a:gd name="T49" fmla="*/ 102 h 321"/>
                <a:gd name="T50" fmla="*/ 153 w 226"/>
                <a:gd name="T51" fmla="*/ 85 h 321"/>
                <a:gd name="T52" fmla="*/ 155 w 226"/>
                <a:gd name="T53" fmla="*/ 86 h 321"/>
                <a:gd name="T54" fmla="*/ 205 w 226"/>
                <a:gd name="T55" fmla="*/ 167 h 321"/>
                <a:gd name="T56" fmla="*/ 129 w 226"/>
                <a:gd name="T57" fmla="*/ 257 h 321"/>
                <a:gd name="T58" fmla="*/ 120 w 226"/>
                <a:gd name="T59" fmla="*/ 266 h 321"/>
                <a:gd name="T60" fmla="*/ 126 w 226"/>
                <a:gd name="T61" fmla="*/ 278 h 321"/>
                <a:gd name="T62" fmla="*/ 147 w 226"/>
                <a:gd name="T63" fmla="*/ 300 h 321"/>
                <a:gd name="T64" fmla="*/ 70 w 226"/>
                <a:gd name="T65" fmla="*/ 300 h 321"/>
                <a:gd name="T66" fmla="*/ 82 w 226"/>
                <a:gd name="T67" fmla="*/ 288 h 321"/>
                <a:gd name="T68" fmla="*/ 88 w 226"/>
                <a:gd name="T69" fmla="*/ 277 h 321"/>
                <a:gd name="T70" fmla="*/ 80 w 226"/>
                <a:gd name="T71" fmla="*/ 268 h 321"/>
                <a:gd name="T72" fmla="*/ 22 w 226"/>
                <a:gd name="T73" fmla="*/ 211 h 321"/>
                <a:gd name="T74" fmla="*/ 8 w 226"/>
                <a:gd name="T75" fmla="*/ 205 h 321"/>
                <a:gd name="T76" fmla="*/ 2 w 226"/>
                <a:gd name="T77" fmla="*/ 219 h 321"/>
                <a:gd name="T78" fmla="*/ 56 w 226"/>
                <a:gd name="T79" fmla="*/ 282 h 321"/>
                <a:gd name="T80" fmla="*/ 45 w 226"/>
                <a:gd name="T81" fmla="*/ 309 h 321"/>
                <a:gd name="T82" fmla="*/ 47 w 226"/>
                <a:gd name="T83" fmla="*/ 317 h 321"/>
                <a:gd name="T84" fmla="*/ 56 w 226"/>
                <a:gd name="T85" fmla="*/ 321 h 321"/>
                <a:gd name="T86" fmla="*/ 162 w 226"/>
                <a:gd name="T87" fmla="*/ 321 h 321"/>
                <a:gd name="T88" fmla="*/ 171 w 226"/>
                <a:gd name="T89" fmla="*/ 317 h 321"/>
                <a:gd name="T90" fmla="*/ 173 w 226"/>
                <a:gd name="T91" fmla="*/ 309 h 321"/>
                <a:gd name="T92" fmla="*/ 154 w 226"/>
                <a:gd name="T93" fmla="*/ 273 h 321"/>
                <a:gd name="T94" fmla="*/ 226 w 226"/>
                <a:gd name="T95" fmla="*/ 167 h 321"/>
                <a:gd name="T96" fmla="*/ 82 w 226"/>
                <a:gd name="T97" fmla="*/ 126 h 321"/>
                <a:gd name="T98" fmla="*/ 60 w 226"/>
                <a:gd name="T99" fmla="*/ 103 h 321"/>
                <a:gd name="T100" fmla="*/ 135 w 226"/>
                <a:gd name="T101" fmla="*/ 27 h 321"/>
                <a:gd name="T102" fmla="*/ 158 w 226"/>
                <a:gd name="T103" fmla="*/ 50 h 321"/>
                <a:gd name="T104" fmla="*/ 82 w 226"/>
                <a:gd name="T105" fmla="*/ 1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6" h="321">
                  <a:moveTo>
                    <a:pt x="226" y="167"/>
                  </a:moveTo>
                  <a:cubicBezTo>
                    <a:pt x="226" y="126"/>
                    <a:pt x="205" y="89"/>
                    <a:pt x="169" y="69"/>
                  </a:cubicBezTo>
                  <a:cubicBezTo>
                    <a:pt x="181" y="57"/>
                    <a:pt x="181" y="57"/>
                    <a:pt x="181" y="57"/>
                  </a:cubicBezTo>
                  <a:cubicBezTo>
                    <a:pt x="185" y="53"/>
                    <a:pt x="185" y="46"/>
                    <a:pt x="181" y="42"/>
                  </a:cubicBezTo>
                  <a:cubicBezTo>
                    <a:pt x="173" y="35"/>
                    <a:pt x="173" y="35"/>
                    <a:pt x="173" y="35"/>
                  </a:cubicBezTo>
                  <a:cubicBezTo>
                    <a:pt x="181" y="27"/>
                    <a:pt x="181" y="27"/>
                    <a:pt x="181" y="27"/>
                  </a:cubicBezTo>
                  <a:cubicBezTo>
                    <a:pt x="185" y="23"/>
                    <a:pt x="185" y="16"/>
                    <a:pt x="181" y="12"/>
                  </a:cubicBezTo>
                  <a:cubicBezTo>
                    <a:pt x="173" y="4"/>
                    <a:pt x="173" y="4"/>
                    <a:pt x="173" y="4"/>
                  </a:cubicBezTo>
                  <a:cubicBezTo>
                    <a:pt x="169" y="0"/>
                    <a:pt x="162" y="0"/>
                    <a:pt x="158" y="4"/>
                  </a:cubicBezTo>
                  <a:cubicBezTo>
                    <a:pt x="150" y="12"/>
                    <a:pt x="150" y="12"/>
                    <a:pt x="150" y="12"/>
                  </a:cubicBezTo>
                  <a:cubicBezTo>
                    <a:pt x="143" y="4"/>
                    <a:pt x="143" y="4"/>
                    <a:pt x="143" y="4"/>
                  </a:cubicBezTo>
                  <a:cubicBezTo>
                    <a:pt x="139" y="0"/>
                    <a:pt x="132" y="0"/>
                    <a:pt x="128" y="4"/>
                  </a:cubicBezTo>
                  <a:cubicBezTo>
                    <a:pt x="37" y="95"/>
                    <a:pt x="37" y="95"/>
                    <a:pt x="37" y="95"/>
                  </a:cubicBezTo>
                  <a:cubicBezTo>
                    <a:pt x="33" y="99"/>
                    <a:pt x="33" y="106"/>
                    <a:pt x="37" y="110"/>
                  </a:cubicBezTo>
                  <a:cubicBezTo>
                    <a:pt x="75" y="148"/>
                    <a:pt x="75" y="148"/>
                    <a:pt x="75" y="148"/>
                  </a:cubicBezTo>
                  <a:cubicBezTo>
                    <a:pt x="77" y="150"/>
                    <a:pt x="79" y="151"/>
                    <a:pt x="82" y="151"/>
                  </a:cubicBezTo>
                  <a:cubicBezTo>
                    <a:pt x="82" y="151"/>
                    <a:pt x="82" y="151"/>
                    <a:pt x="82" y="151"/>
                  </a:cubicBezTo>
                  <a:cubicBezTo>
                    <a:pt x="85" y="151"/>
                    <a:pt x="88" y="150"/>
                    <a:pt x="90" y="148"/>
                  </a:cubicBezTo>
                  <a:cubicBezTo>
                    <a:pt x="119" y="119"/>
                    <a:pt x="119" y="119"/>
                    <a:pt x="119" y="119"/>
                  </a:cubicBezTo>
                  <a:cubicBezTo>
                    <a:pt x="139" y="124"/>
                    <a:pt x="152" y="141"/>
                    <a:pt x="152" y="161"/>
                  </a:cubicBezTo>
                  <a:cubicBezTo>
                    <a:pt x="152" y="186"/>
                    <a:pt x="134" y="204"/>
                    <a:pt x="109" y="204"/>
                  </a:cubicBezTo>
                  <a:cubicBezTo>
                    <a:pt x="103" y="204"/>
                    <a:pt x="98" y="209"/>
                    <a:pt x="98" y="215"/>
                  </a:cubicBezTo>
                  <a:cubicBezTo>
                    <a:pt x="98" y="221"/>
                    <a:pt x="103" y="225"/>
                    <a:pt x="109" y="225"/>
                  </a:cubicBezTo>
                  <a:cubicBezTo>
                    <a:pt x="145" y="225"/>
                    <a:pt x="173" y="198"/>
                    <a:pt x="173" y="161"/>
                  </a:cubicBezTo>
                  <a:cubicBezTo>
                    <a:pt x="173" y="135"/>
                    <a:pt x="158" y="113"/>
                    <a:pt x="136" y="102"/>
                  </a:cubicBezTo>
                  <a:cubicBezTo>
                    <a:pt x="153" y="85"/>
                    <a:pt x="153" y="85"/>
                    <a:pt x="153" y="85"/>
                  </a:cubicBezTo>
                  <a:cubicBezTo>
                    <a:pt x="154" y="85"/>
                    <a:pt x="155" y="86"/>
                    <a:pt x="155" y="86"/>
                  </a:cubicBezTo>
                  <a:cubicBezTo>
                    <a:pt x="186" y="101"/>
                    <a:pt x="205" y="132"/>
                    <a:pt x="205" y="167"/>
                  </a:cubicBezTo>
                  <a:cubicBezTo>
                    <a:pt x="205" y="212"/>
                    <a:pt x="172" y="251"/>
                    <a:pt x="129" y="257"/>
                  </a:cubicBezTo>
                  <a:cubicBezTo>
                    <a:pt x="124" y="258"/>
                    <a:pt x="121" y="262"/>
                    <a:pt x="120" y="266"/>
                  </a:cubicBezTo>
                  <a:cubicBezTo>
                    <a:pt x="119" y="271"/>
                    <a:pt x="121" y="275"/>
                    <a:pt x="126" y="278"/>
                  </a:cubicBezTo>
                  <a:cubicBezTo>
                    <a:pt x="134" y="282"/>
                    <a:pt x="142" y="291"/>
                    <a:pt x="147" y="300"/>
                  </a:cubicBezTo>
                  <a:cubicBezTo>
                    <a:pt x="70" y="300"/>
                    <a:pt x="70" y="300"/>
                    <a:pt x="70" y="300"/>
                  </a:cubicBezTo>
                  <a:cubicBezTo>
                    <a:pt x="73" y="295"/>
                    <a:pt x="77" y="291"/>
                    <a:pt x="82" y="288"/>
                  </a:cubicBezTo>
                  <a:cubicBezTo>
                    <a:pt x="86" y="286"/>
                    <a:pt x="88" y="281"/>
                    <a:pt x="88" y="277"/>
                  </a:cubicBezTo>
                  <a:cubicBezTo>
                    <a:pt x="87" y="273"/>
                    <a:pt x="84" y="269"/>
                    <a:pt x="80" y="268"/>
                  </a:cubicBezTo>
                  <a:cubicBezTo>
                    <a:pt x="55" y="262"/>
                    <a:pt x="34" y="241"/>
                    <a:pt x="22" y="211"/>
                  </a:cubicBezTo>
                  <a:cubicBezTo>
                    <a:pt x="20" y="206"/>
                    <a:pt x="14" y="203"/>
                    <a:pt x="8" y="205"/>
                  </a:cubicBezTo>
                  <a:cubicBezTo>
                    <a:pt x="3" y="207"/>
                    <a:pt x="0" y="213"/>
                    <a:pt x="2" y="219"/>
                  </a:cubicBezTo>
                  <a:cubicBezTo>
                    <a:pt x="14" y="248"/>
                    <a:pt x="33" y="271"/>
                    <a:pt x="56" y="282"/>
                  </a:cubicBezTo>
                  <a:cubicBezTo>
                    <a:pt x="51" y="289"/>
                    <a:pt x="47" y="298"/>
                    <a:pt x="45" y="309"/>
                  </a:cubicBezTo>
                  <a:cubicBezTo>
                    <a:pt x="45" y="312"/>
                    <a:pt x="45" y="315"/>
                    <a:pt x="47" y="317"/>
                  </a:cubicBezTo>
                  <a:cubicBezTo>
                    <a:pt x="49" y="320"/>
                    <a:pt x="52" y="321"/>
                    <a:pt x="56" y="321"/>
                  </a:cubicBezTo>
                  <a:cubicBezTo>
                    <a:pt x="162" y="321"/>
                    <a:pt x="162" y="321"/>
                    <a:pt x="162" y="321"/>
                  </a:cubicBezTo>
                  <a:cubicBezTo>
                    <a:pt x="166" y="321"/>
                    <a:pt x="169" y="320"/>
                    <a:pt x="171" y="317"/>
                  </a:cubicBezTo>
                  <a:cubicBezTo>
                    <a:pt x="173" y="315"/>
                    <a:pt x="173" y="312"/>
                    <a:pt x="173" y="309"/>
                  </a:cubicBezTo>
                  <a:cubicBezTo>
                    <a:pt x="170" y="296"/>
                    <a:pt x="163" y="283"/>
                    <a:pt x="154" y="273"/>
                  </a:cubicBezTo>
                  <a:cubicBezTo>
                    <a:pt x="196" y="257"/>
                    <a:pt x="226" y="214"/>
                    <a:pt x="226" y="167"/>
                  </a:cubicBezTo>
                  <a:close/>
                  <a:moveTo>
                    <a:pt x="82" y="126"/>
                  </a:moveTo>
                  <a:cubicBezTo>
                    <a:pt x="60" y="103"/>
                    <a:pt x="60" y="103"/>
                    <a:pt x="60" y="103"/>
                  </a:cubicBezTo>
                  <a:cubicBezTo>
                    <a:pt x="135" y="27"/>
                    <a:pt x="135" y="27"/>
                    <a:pt x="135" y="27"/>
                  </a:cubicBezTo>
                  <a:cubicBezTo>
                    <a:pt x="158" y="50"/>
                    <a:pt x="158" y="50"/>
                    <a:pt x="158" y="50"/>
                  </a:cubicBezTo>
                  <a:lnTo>
                    <a:pt x="82" y="1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1" name="Freeform 314">
            <a:extLst>
              <a:ext uri="{FF2B5EF4-FFF2-40B4-BE49-F238E27FC236}">
                <a16:creationId xmlns:a16="http://schemas.microsoft.com/office/drawing/2014/main" id="{81BF0017-D62A-4D03-AD7B-C39B2598A0CD}"/>
              </a:ext>
            </a:extLst>
          </p:cNvPr>
          <p:cNvSpPr>
            <a:spLocks noChangeAspect="1" noEditPoints="1"/>
          </p:cNvSpPr>
          <p:nvPr/>
        </p:nvSpPr>
        <p:spPr bwMode="auto">
          <a:xfrm>
            <a:off x="3957777" y="2523618"/>
            <a:ext cx="367631" cy="36763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62" name="Group 317">
            <a:extLst>
              <a:ext uri="{FF2B5EF4-FFF2-40B4-BE49-F238E27FC236}">
                <a16:creationId xmlns:a16="http://schemas.microsoft.com/office/drawing/2014/main" id="{C4C11988-12C7-401B-9A23-E11ED5BF725C}"/>
              </a:ext>
            </a:extLst>
          </p:cNvPr>
          <p:cNvGrpSpPr>
            <a:grpSpLocks noChangeAspect="1"/>
          </p:cNvGrpSpPr>
          <p:nvPr/>
        </p:nvGrpSpPr>
        <p:grpSpPr bwMode="auto">
          <a:xfrm>
            <a:off x="4391578" y="2523618"/>
            <a:ext cx="367631" cy="367631"/>
            <a:chOff x="2718" y="1165"/>
            <a:chExt cx="340" cy="340"/>
          </a:xfrm>
          <a:solidFill>
            <a:schemeClr val="accent4"/>
          </a:solidFill>
        </p:grpSpPr>
        <p:sp>
          <p:nvSpPr>
            <p:cNvPr id="363" name="Freeform 318">
              <a:extLst>
                <a:ext uri="{FF2B5EF4-FFF2-40B4-BE49-F238E27FC236}">
                  <a16:creationId xmlns:a16="http://schemas.microsoft.com/office/drawing/2014/main" id="{6619C7BB-CAE2-40D9-9D38-FBECC6836BA7}"/>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4" name="Freeform 319">
              <a:extLst>
                <a:ext uri="{FF2B5EF4-FFF2-40B4-BE49-F238E27FC236}">
                  <a16:creationId xmlns:a16="http://schemas.microsoft.com/office/drawing/2014/main" id="{27A45CBA-3916-44CC-9329-547A11D71C6C}"/>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65" name="Group 881">
            <a:extLst>
              <a:ext uri="{FF2B5EF4-FFF2-40B4-BE49-F238E27FC236}">
                <a16:creationId xmlns:a16="http://schemas.microsoft.com/office/drawing/2014/main" id="{87321A10-0AF6-47E2-B145-7C6AA2B240DF}"/>
              </a:ext>
            </a:extLst>
          </p:cNvPr>
          <p:cNvGrpSpPr>
            <a:grpSpLocks noChangeAspect="1"/>
          </p:cNvGrpSpPr>
          <p:nvPr/>
        </p:nvGrpSpPr>
        <p:grpSpPr bwMode="auto">
          <a:xfrm>
            <a:off x="5261225" y="2521573"/>
            <a:ext cx="370763" cy="369676"/>
            <a:chOff x="1934" y="3062"/>
            <a:chExt cx="341" cy="340"/>
          </a:xfrm>
          <a:solidFill>
            <a:schemeClr val="accent3"/>
          </a:solidFill>
        </p:grpSpPr>
        <p:sp>
          <p:nvSpPr>
            <p:cNvPr id="366" name="Freeform 882">
              <a:extLst>
                <a:ext uri="{FF2B5EF4-FFF2-40B4-BE49-F238E27FC236}">
                  <a16:creationId xmlns:a16="http://schemas.microsoft.com/office/drawing/2014/main" id="{5E0077D8-4E2E-496C-B7DA-039BE331FAC0}"/>
                </a:ext>
              </a:extLst>
            </p:cNvPr>
            <p:cNvSpPr>
              <a:spLocks noEditPoints="1"/>
            </p:cNvSpPr>
            <p:nvPr/>
          </p:nvSpPr>
          <p:spPr bwMode="auto">
            <a:xfrm>
              <a:off x="1934" y="3062"/>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7" name="Freeform 883">
              <a:extLst>
                <a:ext uri="{FF2B5EF4-FFF2-40B4-BE49-F238E27FC236}">
                  <a16:creationId xmlns:a16="http://schemas.microsoft.com/office/drawing/2014/main" id="{B356778A-BACD-41D4-B815-C5970B9CD596}"/>
                </a:ext>
              </a:extLst>
            </p:cNvPr>
            <p:cNvSpPr>
              <a:spLocks noEditPoints="1"/>
            </p:cNvSpPr>
            <p:nvPr/>
          </p:nvSpPr>
          <p:spPr bwMode="auto">
            <a:xfrm>
              <a:off x="2019" y="3133"/>
              <a:ext cx="179" cy="205"/>
            </a:xfrm>
            <a:custGeom>
              <a:avLst/>
              <a:gdLst>
                <a:gd name="T0" fmla="*/ 183 w 268"/>
                <a:gd name="T1" fmla="*/ 251 h 309"/>
                <a:gd name="T2" fmla="*/ 186 w 268"/>
                <a:gd name="T3" fmla="*/ 266 h 309"/>
                <a:gd name="T4" fmla="*/ 102 w 268"/>
                <a:gd name="T5" fmla="*/ 309 h 309"/>
                <a:gd name="T6" fmla="*/ 0 w 268"/>
                <a:gd name="T7" fmla="*/ 207 h 309"/>
                <a:gd name="T8" fmla="*/ 45 w 268"/>
                <a:gd name="T9" fmla="*/ 122 h 309"/>
                <a:gd name="T10" fmla="*/ 60 w 268"/>
                <a:gd name="T11" fmla="*/ 125 h 309"/>
                <a:gd name="T12" fmla="*/ 57 w 268"/>
                <a:gd name="T13" fmla="*/ 140 h 309"/>
                <a:gd name="T14" fmla="*/ 21 w 268"/>
                <a:gd name="T15" fmla="*/ 207 h 309"/>
                <a:gd name="T16" fmla="*/ 102 w 268"/>
                <a:gd name="T17" fmla="*/ 288 h 309"/>
                <a:gd name="T18" fmla="*/ 169 w 268"/>
                <a:gd name="T19" fmla="*/ 254 h 309"/>
                <a:gd name="T20" fmla="*/ 183 w 268"/>
                <a:gd name="T21" fmla="*/ 251 h 309"/>
                <a:gd name="T22" fmla="*/ 64 w 268"/>
                <a:gd name="T23" fmla="*/ 32 h 309"/>
                <a:gd name="T24" fmla="*/ 96 w 268"/>
                <a:gd name="T25" fmla="*/ 0 h 309"/>
                <a:gd name="T26" fmla="*/ 128 w 268"/>
                <a:gd name="T27" fmla="*/ 32 h 309"/>
                <a:gd name="T28" fmla="*/ 96 w 268"/>
                <a:gd name="T29" fmla="*/ 64 h 309"/>
                <a:gd name="T30" fmla="*/ 64 w 268"/>
                <a:gd name="T31" fmla="*/ 32 h 309"/>
                <a:gd name="T32" fmla="*/ 85 w 268"/>
                <a:gd name="T33" fmla="*/ 32 h 309"/>
                <a:gd name="T34" fmla="*/ 96 w 268"/>
                <a:gd name="T35" fmla="*/ 43 h 309"/>
                <a:gd name="T36" fmla="*/ 107 w 268"/>
                <a:gd name="T37" fmla="*/ 32 h 309"/>
                <a:gd name="T38" fmla="*/ 96 w 268"/>
                <a:gd name="T39" fmla="*/ 21 h 309"/>
                <a:gd name="T40" fmla="*/ 85 w 268"/>
                <a:gd name="T41" fmla="*/ 32 h 309"/>
                <a:gd name="T42" fmla="*/ 266 w 268"/>
                <a:gd name="T43" fmla="*/ 253 h 309"/>
                <a:gd name="T44" fmla="*/ 253 w 268"/>
                <a:gd name="T45" fmla="*/ 246 h 309"/>
                <a:gd name="T46" fmla="*/ 231 w 268"/>
                <a:gd name="T47" fmla="*/ 253 h 309"/>
                <a:gd name="T48" fmla="*/ 202 w 268"/>
                <a:gd name="T49" fmla="*/ 157 h 309"/>
                <a:gd name="T50" fmla="*/ 202 w 268"/>
                <a:gd name="T51" fmla="*/ 157 h 309"/>
                <a:gd name="T52" fmla="*/ 192 w 268"/>
                <a:gd name="T53" fmla="*/ 149 h 309"/>
                <a:gd name="T54" fmla="*/ 107 w 268"/>
                <a:gd name="T55" fmla="*/ 149 h 309"/>
                <a:gd name="T56" fmla="*/ 107 w 268"/>
                <a:gd name="T57" fmla="*/ 128 h 309"/>
                <a:gd name="T58" fmla="*/ 192 w 268"/>
                <a:gd name="T59" fmla="*/ 128 h 309"/>
                <a:gd name="T60" fmla="*/ 203 w 268"/>
                <a:gd name="T61" fmla="*/ 117 h 309"/>
                <a:gd name="T62" fmla="*/ 192 w 268"/>
                <a:gd name="T63" fmla="*/ 107 h 309"/>
                <a:gd name="T64" fmla="*/ 107 w 268"/>
                <a:gd name="T65" fmla="*/ 107 h 309"/>
                <a:gd name="T66" fmla="*/ 107 w 268"/>
                <a:gd name="T67" fmla="*/ 96 h 309"/>
                <a:gd name="T68" fmla="*/ 96 w 268"/>
                <a:gd name="T69" fmla="*/ 85 h 309"/>
                <a:gd name="T70" fmla="*/ 85 w 268"/>
                <a:gd name="T71" fmla="*/ 96 h 309"/>
                <a:gd name="T72" fmla="*/ 85 w 268"/>
                <a:gd name="T73" fmla="*/ 160 h 309"/>
                <a:gd name="T74" fmla="*/ 96 w 268"/>
                <a:gd name="T75" fmla="*/ 171 h 309"/>
                <a:gd name="T76" fmla="*/ 184 w 268"/>
                <a:gd name="T77" fmla="*/ 171 h 309"/>
                <a:gd name="T78" fmla="*/ 184 w 268"/>
                <a:gd name="T79" fmla="*/ 171 h 309"/>
                <a:gd name="T80" fmla="*/ 214 w 268"/>
                <a:gd name="T81" fmla="*/ 270 h 309"/>
                <a:gd name="T82" fmla="*/ 214 w 268"/>
                <a:gd name="T83" fmla="*/ 270 h 309"/>
                <a:gd name="T84" fmla="*/ 214 w 268"/>
                <a:gd name="T85" fmla="*/ 270 h 309"/>
                <a:gd name="T86" fmla="*/ 224 w 268"/>
                <a:gd name="T87" fmla="*/ 277 h 309"/>
                <a:gd name="T88" fmla="*/ 227 w 268"/>
                <a:gd name="T89" fmla="*/ 277 h 309"/>
                <a:gd name="T90" fmla="*/ 259 w 268"/>
                <a:gd name="T91" fmla="*/ 266 h 309"/>
                <a:gd name="T92" fmla="*/ 266 w 268"/>
                <a:gd name="T93" fmla="*/ 25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8" h="309">
                  <a:moveTo>
                    <a:pt x="183" y="251"/>
                  </a:moveTo>
                  <a:cubicBezTo>
                    <a:pt x="188" y="255"/>
                    <a:pt x="189" y="261"/>
                    <a:pt x="186" y="266"/>
                  </a:cubicBezTo>
                  <a:cubicBezTo>
                    <a:pt x="167" y="293"/>
                    <a:pt x="136" y="309"/>
                    <a:pt x="102" y="309"/>
                  </a:cubicBezTo>
                  <a:cubicBezTo>
                    <a:pt x="46" y="309"/>
                    <a:pt x="0" y="263"/>
                    <a:pt x="0" y="207"/>
                  </a:cubicBezTo>
                  <a:cubicBezTo>
                    <a:pt x="0" y="173"/>
                    <a:pt x="17" y="141"/>
                    <a:pt x="45" y="122"/>
                  </a:cubicBezTo>
                  <a:cubicBezTo>
                    <a:pt x="50" y="119"/>
                    <a:pt x="57" y="120"/>
                    <a:pt x="60" y="125"/>
                  </a:cubicBezTo>
                  <a:cubicBezTo>
                    <a:pt x="63" y="130"/>
                    <a:pt x="62" y="136"/>
                    <a:pt x="57" y="140"/>
                  </a:cubicBezTo>
                  <a:cubicBezTo>
                    <a:pt x="35" y="155"/>
                    <a:pt x="21" y="180"/>
                    <a:pt x="21" y="207"/>
                  </a:cubicBezTo>
                  <a:cubicBezTo>
                    <a:pt x="21" y="252"/>
                    <a:pt x="58" y="288"/>
                    <a:pt x="102" y="288"/>
                  </a:cubicBezTo>
                  <a:cubicBezTo>
                    <a:pt x="129" y="288"/>
                    <a:pt x="153" y="275"/>
                    <a:pt x="169" y="254"/>
                  </a:cubicBezTo>
                  <a:cubicBezTo>
                    <a:pt x="172" y="249"/>
                    <a:pt x="179" y="248"/>
                    <a:pt x="183" y="251"/>
                  </a:cubicBezTo>
                  <a:close/>
                  <a:moveTo>
                    <a:pt x="64" y="32"/>
                  </a:moveTo>
                  <a:cubicBezTo>
                    <a:pt x="64" y="14"/>
                    <a:pt x="78" y="0"/>
                    <a:pt x="96" y="0"/>
                  </a:cubicBezTo>
                  <a:cubicBezTo>
                    <a:pt x="114" y="0"/>
                    <a:pt x="128" y="14"/>
                    <a:pt x="128" y="32"/>
                  </a:cubicBezTo>
                  <a:cubicBezTo>
                    <a:pt x="128" y="50"/>
                    <a:pt x="114" y="64"/>
                    <a:pt x="96" y="64"/>
                  </a:cubicBezTo>
                  <a:cubicBezTo>
                    <a:pt x="78" y="64"/>
                    <a:pt x="64" y="50"/>
                    <a:pt x="64" y="32"/>
                  </a:cubicBezTo>
                  <a:close/>
                  <a:moveTo>
                    <a:pt x="85" y="32"/>
                  </a:moveTo>
                  <a:cubicBezTo>
                    <a:pt x="85" y="38"/>
                    <a:pt x="90" y="43"/>
                    <a:pt x="96" y="43"/>
                  </a:cubicBezTo>
                  <a:cubicBezTo>
                    <a:pt x="102" y="43"/>
                    <a:pt x="107" y="38"/>
                    <a:pt x="107" y="32"/>
                  </a:cubicBezTo>
                  <a:cubicBezTo>
                    <a:pt x="107" y="26"/>
                    <a:pt x="102" y="21"/>
                    <a:pt x="96" y="21"/>
                  </a:cubicBezTo>
                  <a:cubicBezTo>
                    <a:pt x="90" y="21"/>
                    <a:pt x="85" y="26"/>
                    <a:pt x="85" y="32"/>
                  </a:cubicBezTo>
                  <a:close/>
                  <a:moveTo>
                    <a:pt x="266" y="253"/>
                  </a:moveTo>
                  <a:cubicBezTo>
                    <a:pt x="264" y="247"/>
                    <a:pt x="258" y="244"/>
                    <a:pt x="253" y="246"/>
                  </a:cubicBezTo>
                  <a:cubicBezTo>
                    <a:pt x="231" y="253"/>
                    <a:pt x="231" y="253"/>
                    <a:pt x="231" y="253"/>
                  </a:cubicBezTo>
                  <a:cubicBezTo>
                    <a:pt x="202" y="157"/>
                    <a:pt x="202" y="157"/>
                    <a:pt x="202" y="157"/>
                  </a:cubicBezTo>
                  <a:cubicBezTo>
                    <a:pt x="202" y="157"/>
                    <a:pt x="202" y="157"/>
                    <a:pt x="202" y="157"/>
                  </a:cubicBezTo>
                  <a:cubicBezTo>
                    <a:pt x="201" y="153"/>
                    <a:pt x="197" y="149"/>
                    <a:pt x="192" y="149"/>
                  </a:cubicBezTo>
                  <a:cubicBezTo>
                    <a:pt x="107" y="149"/>
                    <a:pt x="107" y="149"/>
                    <a:pt x="107" y="149"/>
                  </a:cubicBezTo>
                  <a:cubicBezTo>
                    <a:pt x="107" y="128"/>
                    <a:pt x="107" y="128"/>
                    <a:pt x="107" y="128"/>
                  </a:cubicBezTo>
                  <a:cubicBezTo>
                    <a:pt x="192" y="128"/>
                    <a:pt x="192" y="128"/>
                    <a:pt x="192" y="128"/>
                  </a:cubicBezTo>
                  <a:cubicBezTo>
                    <a:pt x="198" y="128"/>
                    <a:pt x="203" y="123"/>
                    <a:pt x="203" y="117"/>
                  </a:cubicBezTo>
                  <a:cubicBezTo>
                    <a:pt x="203" y="111"/>
                    <a:pt x="198" y="107"/>
                    <a:pt x="192" y="107"/>
                  </a:cubicBezTo>
                  <a:cubicBezTo>
                    <a:pt x="107" y="107"/>
                    <a:pt x="107" y="107"/>
                    <a:pt x="107" y="107"/>
                  </a:cubicBezTo>
                  <a:cubicBezTo>
                    <a:pt x="107" y="96"/>
                    <a:pt x="107" y="96"/>
                    <a:pt x="107" y="96"/>
                  </a:cubicBezTo>
                  <a:cubicBezTo>
                    <a:pt x="107" y="90"/>
                    <a:pt x="102" y="85"/>
                    <a:pt x="96" y="85"/>
                  </a:cubicBezTo>
                  <a:cubicBezTo>
                    <a:pt x="90" y="85"/>
                    <a:pt x="85" y="90"/>
                    <a:pt x="85" y="96"/>
                  </a:cubicBezTo>
                  <a:cubicBezTo>
                    <a:pt x="85" y="160"/>
                    <a:pt x="85" y="160"/>
                    <a:pt x="85" y="160"/>
                  </a:cubicBezTo>
                  <a:cubicBezTo>
                    <a:pt x="85" y="166"/>
                    <a:pt x="90" y="171"/>
                    <a:pt x="96" y="171"/>
                  </a:cubicBezTo>
                  <a:cubicBezTo>
                    <a:pt x="184" y="171"/>
                    <a:pt x="184" y="171"/>
                    <a:pt x="184" y="171"/>
                  </a:cubicBezTo>
                  <a:cubicBezTo>
                    <a:pt x="184" y="171"/>
                    <a:pt x="184" y="171"/>
                    <a:pt x="184" y="171"/>
                  </a:cubicBezTo>
                  <a:cubicBezTo>
                    <a:pt x="214" y="270"/>
                    <a:pt x="214" y="270"/>
                    <a:pt x="214" y="270"/>
                  </a:cubicBezTo>
                  <a:cubicBezTo>
                    <a:pt x="214" y="270"/>
                    <a:pt x="214" y="270"/>
                    <a:pt x="214" y="270"/>
                  </a:cubicBezTo>
                  <a:cubicBezTo>
                    <a:pt x="214" y="270"/>
                    <a:pt x="214" y="270"/>
                    <a:pt x="214" y="270"/>
                  </a:cubicBezTo>
                  <a:cubicBezTo>
                    <a:pt x="215" y="275"/>
                    <a:pt x="220" y="277"/>
                    <a:pt x="224" y="277"/>
                  </a:cubicBezTo>
                  <a:cubicBezTo>
                    <a:pt x="225" y="277"/>
                    <a:pt x="226" y="277"/>
                    <a:pt x="227" y="277"/>
                  </a:cubicBezTo>
                  <a:cubicBezTo>
                    <a:pt x="259" y="266"/>
                    <a:pt x="259" y="266"/>
                    <a:pt x="259" y="266"/>
                  </a:cubicBezTo>
                  <a:cubicBezTo>
                    <a:pt x="265" y="264"/>
                    <a:pt x="268" y="258"/>
                    <a:pt x="266" y="2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8" name="Freeform 887">
            <a:extLst>
              <a:ext uri="{FF2B5EF4-FFF2-40B4-BE49-F238E27FC236}">
                <a16:creationId xmlns:a16="http://schemas.microsoft.com/office/drawing/2014/main" id="{A12F2648-4D03-4F10-884C-A1BC9CFD98BD}"/>
              </a:ext>
            </a:extLst>
          </p:cNvPr>
          <p:cNvSpPr>
            <a:spLocks noChangeAspect="1" noEditPoints="1"/>
          </p:cNvSpPr>
          <p:nvPr/>
        </p:nvSpPr>
        <p:spPr bwMode="auto">
          <a:xfrm>
            <a:off x="4825379" y="2521573"/>
            <a:ext cx="369676" cy="369676"/>
          </a:xfrm>
          <a:custGeom>
            <a:avLst/>
            <a:gdLst>
              <a:gd name="T0" fmla="*/ 213 w 512"/>
              <a:gd name="T1" fmla="*/ 139 h 512"/>
              <a:gd name="T2" fmla="*/ 224 w 512"/>
              <a:gd name="T3" fmla="*/ 128 h 512"/>
              <a:gd name="T4" fmla="*/ 235 w 512"/>
              <a:gd name="T5" fmla="*/ 139 h 512"/>
              <a:gd name="T6" fmla="*/ 224 w 512"/>
              <a:gd name="T7" fmla="*/ 150 h 512"/>
              <a:gd name="T8" fmla="*/ 213 w 512"/>
              <a:gd name="T9" fmla="*/ 139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39 h 512"/>
              <a:gd name="T22" fmla="*/ 224 w 512"/>
              <a:gd name="T23" fmla="*/ 171 h 512"/>
              <a:gd name="T24" fmla="*/ 256 w 512"/>
              <a:gd name="T25" fmla="*/ 139 h 512"/>
              <a:gd name="T26" fmla="*/ 224 w 512"/>
              <a:gd name="T27" fmla="*/ 107 h 512"/>
              <a:gd name="T28" fmla="*/ 192 w 512"/>
              <a:gd name="T29" fmla="*/ 139 h 512"/>
              <a:gd name="T30" fmla="*/ 311 w 512"/>
              <a:gd name="T31" fmla="*/ 358 h 512"/>
              <a:gd name="T32" fmla="*/ 297 w 512"/>
              <a:gd name="T33" fmla="*/ 361 h 512"/>
              <a:gd name="T34" fmla="*/ 230 w 512"/>
              <a:gd name="T35" fmla="*/ 395 h 512"/>
              <a:gd name="T36" fmla="*/ 149 w 512"/>
              <a:gd name="T37" fmla="*/ 314 h 512"/>
              <a:gd name="T38" fmla="*/ 185 w 512"/>
              <a:gd name="T39" fmla="*/ 247 h 512"/>
              <a:gd name="T40" fmla="*/ 188 w 512"/>
              <a:gd name="T41" fmla="*/ 232 h 512"/>
              <a:gd name="T42" fmla="*/ 173 w 512"/>
              <a:gd name="T43" fmla="*/ 229 h 512"/>
              <a:gd name="T44" fmla="*/ 128 w 512"/>
              <a:gd name="T45" fmla="*/ 314 h 512"/>
              <a:gd name="T46" fmla="*/ 230 w 512"/>
              <a:gd name="T47" fmla="*/ 416 h 512"/>
              <a:gd name="T48" fmla="*/ 314 w 512"/>
              <a:gd name="T49" fmla="*/ 373 h 512"/>
              <a:gd name="T50" fmla="*/ 311 w 512"/>
              <a:gd name="T51" fmla="*/ 358 h 512"/>
              <a:gd name="T52" fmla="*/ 394 w 512"/>
              <a:gd name="T53" fmla="*/ 360 h 512"/>
              <a:gd name="T54" fmla="*/ 381 w 512"/>
              <a:gd name="T55" fmla="*/ 353 h 512"/>
              <a:gd name="T56" fmla="*/ 359 w 512"/>
              <a:gd name="T57" fmla="*/ 360 h 512"/>
              <a:gd name="T58" fmla="*/ 330 w 512"/>
              <a:gd name="T59" fmla="*/ 264 h 512"/>
              <a:gd name="T60" fmla="*/ 330 w 512"/>
              <a:gd name="T61" fmla="*/ 264 h 512"/>
              <a:gd name="T62" fmla="*/ 320 w 512"/>
              <a:gd name="T63" fmla="*/ 256 h 512"/>
              <a:gd name="T64" fmla="*/ 235 w 512"/>
              <a:gd name="T65" fmla="*/ 256 h 512"/>
              <a:gd name="T66" fmla="*/ 235 w 512"/>
              <a:gd name="T67" fmla="*/ 235 h 512"/>
              <a:gd name="T68" fmla="*/ 320 w 512"/>
              <a:gd name="T69" fmla="*/ 235 h 512"/>
              <a:gd name="T70" fmla="*/ 331 w 512"/>
              <a:gd name="T71" fmla="*/ 224 h 512"/>
              <a:gd name="T72" fmla="*/ 320 w 512"/>
              <a:gd name="T73" fmla="*/ 214 h 512"/>
              <a:gd name="T74" fmla="*/ 235 w 512"/>
              <a:gd name="T75" fmla="*/ 214 h 512"/>
              <a:gd name="T76" fmla="*/ 235 w 512"/>
              <a:gd name="T77" fmla="*/ 203 h 512"/>
              <a:gd name="T78" fmla="*/ 224 w 512"/>
              <a:gd name="T79" fmla="*/ 192 h 512"/>
              <a:gd name="T80" fmla="*/ 213 w 512"/>
              <a:gd name="T81" fmla="*/ 203 h 512"/>
              <a:gd name="T82" fmla="*/ 213 w 512"/>
              <a:gd name="T83" fmla="*/ 267 h 512"/>
              <a:gd name="T84" fmla="*/ 224 w 512"/>
              <a:gd name="T85" fmla="*/ 278 h 512"/>
              <a:gd name="T86" fmla="*/ 312 w 512"/>
              <a:gd name="T87" fmla="*/ 278 h 512"/>
              <a:gd name="T88" fmla="*/ 312 w 512"/>
              <a:gd name="T89" fmla="*/ 278 h 512"/>
              <a:gd name="T90" fmla="*/ 342 w 512"/>
              <a:gd name="T91" fmla="*/ 377 h 512"/>
              <a:gd name="T92" fmla="*/ 342 w 512"/>
              <a:gd name="T93" fmla="*/ 377 h 512"/>
              <a:gd name="T94" fmla="*/ 342 w 512"/>
              <a:gd name="T95" fmla="*/ 377 h 512"/>
              <a:gd name="T96" fmla="*/ 352 w 512"/>
              <a:gd name="T97" fmla="*/ 384 h 512"/>
              <a:gd name="T98" fmla="*/ 355 w 512"/>
              <a:gd name="T99" fmla="*/ 384 h 512"/>
              <a:gd name="T100" fmla="*/ 387 w 512"/>
              <a:gd name="T101" fmla="*/ 373 h 512"/>
              <a:gd name="T102" fmla="*/ 394 w 512"/>
              <a:gd name="T103" fmla="*/ 3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13" y="139"/>
                </a:moveTo>
                <a:cubicBezTo>
                  <a:pt x="213" y="133"/>
                  <a:pt x="218" y="128"/>
                  <a:pt x="224" y="128"/>
                </a:cubicBezTo>
                <a:cubicBezTo>
                  <a:pt x="230" y="128"/>
                  <a:pt x="235" y="133"/>
                  <a:pt x="235" y="139"/>
                </a:cubicBezTo>
                <a:cubicBezTo>
                  <a:pt x="235" y="145"/>
                  <a:pt x="230" y="150"/>
                  <a:pt x="224" y="150"/>
                </a:cubicBezTo>
                <a:cubicBezTo>
                  <a:pt x="218" y="150"/>
                  <a:pt x="213" y="145"/>
                  <a:pt x="213" y="139"/>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92" y="139"/>
                </a:moveTo>
                <a:cubicBezTo>
                  <a:pt x="192" y="157"/>
                  <a:pt x="206" y="171"/>
                  <a:pt x="224" y="171"/>
                </a:cubicBezTo>
                <a:cubicBezTo>
                  <a:pt x="242" y="171"/>
                  <a:pt x="256" y="157"/>
                  <a:pt x="256" y="139"/>
                </a:cubicBezTo>
                <a:cubicBezTo>
                  <a:pt x="256" y="121"/>
                  <a:pt x="242" y="107"/>
                  <a:pt x="224" y="107"/>
                </a:cubicBezTo>
                <a:cubicBezTo>
                  <a:pt x="206" y="107"/>
                  <a:pt x="192" y="121"/>
                  <a:pt x="192" y="139"/>
                </a:cubicBezTo>
                <a:close/>
                <a:moveTo>
                  <a:pt x="311" y="358"/>
                </a:moveTo>
                <a:cubicBezTo>
                  <a:pt x="307" y="355"/>
                  <a:pt x="300" y="356"/>
                  <a:pt x="297" y="361"/>
                </a:cubicBezTo>
                <a:cubicBezTo>
                  <a:pt x="281" y="382"/>
                  <a:pt x="257" y="395"/>
                  <a:pt x="230" y="395"/>
                </a:cubicBezTo>
                <a:cubicBezTo>
                  <a:pt x="186" y="395"/>
                  <a:pt x="149" y="359"/>
                  <a:pt x="149" y="314"/>
                </a:cubicBezTo>
                <a:cubicBezTo>
                  <a:pt x="149" y="287"/>
                  <a:pt x="163" y="262"/>
                  <a:pt x="185" y="247"/>
                </a:cubicBezTo>
                <a:cubicBezTo>
                  <a:pt x="190" y="243"/>
                  <a:pt x="191" y="237"/>
                  <a:pt x="188" y="232"/>
                </a:cubicBezTo>
                <a:cubicBezTo>
                  <a:pt x="185" y="227"/>
                  <a:pt x="178" y="226"/>
                  <a:pt x="173" y="229"/>
                </a:cubicBezTo>
                <a:cubicBezTo>
                  <a:pt x="145" y="248"/>
                  <a:pt x="128" y="280"/>
                  <a:pt x="128" y="314"/>
                </a:cubicBezTo>
                <a:cubicBezTo>
                  <a:pt x="128" y="370"/>
                  <a:pt x="174" y="416"/>
                  <a:pt x="230" y="416"/>
                </a:cubicBezTo>
                <a:cubicBezTo>
                  <a:pt x="264" y="416"/>
                  <a:pt x="295" y="400"/>
                  <a:pt x="314" y="373"/>
                </a:cubicBezTo>
                <a:cubicBezTo>
                  <a:pt x="317" y="368"/>
                  <a:pt x="316" y="362"/>
                  <a:pt x="311" y="358"/>
                </a:cubicBezTo>
                <a:close/>
                <a:moveTo>
                  <a:pt x="394" y="360"/>
                </a:moveTo>
                <a:cubicBezTo>
                  <a:pt x="392" y="354"/>
                  <a:pt x="386" y="351"/>
                  <a:pt x="381" y="353"/>
                </a:cubicBezTo>
                <a:cubicBezTo>
                  <a:pt x="359" y="360"/>
                  <a:pt x="359" y="360"/>
                  <a:pt x="359" y="360"/>
                </a:cubicBezTo>
                <a:cubicBezTo>
                  <a:pt x="330" y="264"/>
                  <a:pt x="330" y="264"/>
                  <a:pt x="330" y="264"/>
                </a:cubicBezTo>
                <a:cubicBezTo>
                  <a:pt x="330" y="264"/>
                  <a:pt x="330" y="264"/>
                  <a:pt x="330" y="264"/>
                </a:cubicBezTo>
                <a:cubicBezTo>
                  <a:pt x="329" y="260"/>
                  <a:pt x="325" y="256"/>
                  <a:pt x="320" y="256"/>
                </a:cubicBezTo>
                <a:cubicBezTo>
                  <a:pt x="235" y="256"/>
                  <a:pt x="235" y="256"/>
                  <a:pt x="235" y="256"/>
                </a:cubicBezTo>
                <a:cubicBezTo>
                  <a:pt x="235" y="235"/>
                  <a:pt x="235" y="235"/>
                  <a:pt x="235" y="235"/>
                </a:cubicBezTo>
                <a:cubicBezTo>
                  <a:pt x="320" y="235"/>
                  <a:pt x="320" y="235"/>
                  <a:pt x="320" y="235"/>
                </a:cubicBezTo>
                <a:cubicBezTo>
                  <a:pt x="326" y="235"/>
                  <a:pt x="331" y="230"/>
                  <a:pt x="331" y="224"/>
                </a:cubicBezTo>
                <a:cubicBezTo>
                  <a:pt x="331" y="218"/>
                  <a:pt x="326" y="214"/>
                  <a:pt x="320" y="214"/>
                </a:cubicBezTo>
                <a:cubicBezTo>
                  <a:pt x="235" y="214"/>
                  <a:pt x="235" y="214"/>
                  <a:pt x="235" y="214"/>
                </a:cubicBezTo>
                <a:cubicBezTo>
                  <a:pt x="235" y="203"/>
                  <a:pt x="235" y="203"/>
                  <a:pt x="235" y="203"/>
                </a:cubicBezTo>
                <a:cubicBezTo>
                  <a:pt x="235" y="197"/>
                  <a:pt x="230" y="192"/>
                  <a:pt x="224" y="192"/>
                </a:cubicBezTo>
                <a:cubicBezTo>
                  <a:pt x="218" y="192"/>
                  <a:pt x="213" y="197"/>
                  <a:pt x="213" y="203"/>
                </a:cubicBezTo>
                <a:cubicBezTo>
                  <a:pt x="213" y="267"/>
                  <a:pt x="213" y="267"/>
                  <a:pt x="213" y="267"/>
                </a:cubicBezTo>
                <a:cubicBezTo>
                  <a:pt x="213" y="273"/>
                  <a:pt x="218" y="278"/>
                  <a:pt x="224" y="278"/>
                </a:cubicBezTo>
                <a:cubicBezTo>
                  <a:pt x="312" y="278"/>
                  <a:pt x="312" y="278"/>
                  <a:pt x="312" y="278"/>
                </a:cubicBezTo>
                <a:cubicBezTo>
                  <a:pt x="312" y="278"/>
                  <a:pt x="312" y="278"/>
                  <a:pt x="312" y="278"/>
                </a:cubicBezTo>
                <a:cubicBezTo>
                  <a:pt x="342" y="377"/>
                  <a:pt x="342" y="377"/>
                  <a:pt x="342" y="377"/>
                </a:cubicBezTo>
                <a:cubicBezTo>
                  <a:pt x="342" y="377"/>
                  <a:pt x="342" y="377"/>
                  <a:pt x="342" y="377"/>
                </a:cubicBezTo>
                <a:cubicBezTo>
                  <a:pt x="342" y="377"/>
                  <a:pt x="342" y="377"/>
                  <a:pt x="342" y="377"/>
                </a:cubicBezTo>
                <a:cubicBezTo>
                  <a:pt x="343" y="382"/>
                  <a:pt x="348" y="384"/>
                  <a:pt x="352" y="384"/>
                </a:cubicBezTo>
                <a:cubicBezTo>
                  <a:pt x="353" y="384"/>
                  <a:pt x="354" y="384"/>
                  <a:pt x="355" y="384"/>
                </a:cubicBezTo>
                <a:cubicBezTo>
                  <a:pt x="387" y="373"/>
                  <a:pt x="387" y="373"/>
                  <a:pt x="387" y="373"/>
                </a:cubicBezTo>
                <a:cubicBezTo>
                  <a:pt x="393" y="371"/>
                  <a:pt x="396" y="365"/>
                  <a:pt x="394" y="3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9" name="Freeform 249">
            <a:extLst>
              <a:ext uri="{FF2B5EF4-FFF2-40B4-BE49-F238E27FC236}">
                <a16:creationId xmlns:a16="http://schemas.microsoft.com/office/drawing/2014/main" id="{66E1C579-5CB9-4B70-9D0D-B70EC86752D6}"/>
              </a:ext>
            </a:extLst>
          </p:cNvPr>
          <p:cNvSpPr>
            <a:spLocks noChangeAspect="1" noEditPoints="1"/>
          </p:cNvSpPr>
          <p:nvPr/>
        </p:nvSpPr>
        <p:spPr bwMode="auto">
          <a:xfrm>
            <a:off x="5698158" y="2524208"/>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1 w 512"/>
              <a:gd name="T13" fmla="*/ 266 h 512"/>
              <a:gd name="T14" fmla="*/ 362 w 512"/>
              <a:gd name="T15" fmla="*/ 301 h 512"/>
              <a:gd name="T16" fmla="*/ 352 w 512"/>
              <a:gd name="T17" fmla="*/ 309 h 512"/>
              <a:gd name="T18" fmla="*/ 342 w 512"/>
              <a:gd name="T19" fmla="*/ 302 h 512"/>
              <a:gd name="T20" fmla="*/ 322 w 512"/>
              <a:gd name="T21" fmla="*/ 243 h 512"/>
              <a:gd name="T22" fmla="*/ 287 w 512"/>
              <a:gd name="T23" fmla="*/ 407 h 512"/>
              <a:gd name="T24" fmla="*/ 277 w 512"/>
              <a:gd name="T25" fmla="*/ 416 h 512"/>
              <a:gd name="T26" fmla="*/ 277 w 512"/>
              <a:gd name="T27" fmla="*/ 416 h 512"/>
              <a:gd name="T28" fmla="*/ 267 w 512"/>
              <a:gd name="T29" fmla="*/ 407 h 512"/>
              <a:gd name="T30" fmla="*/ 222 w 512"/>
              <a:gd name="T31" fmla="*/ 159 h 512"/>
              <a:gd name="T32" fmla="*/ 191 w 512"/>
              <a:gd name="T33" fmla="*/ 290 h 512"/>
              <a:gd name="T34" fmla="*/ 181 w 512"/>
              <a:gd name="T35" fmla="*/ 298 h 512"/>
              <a:gd name="T36" fmla="*/ 171 w 512"/>
              <a:gd name="T37" fmla="*/ 291 h 512"/>
              <a:gd name="T38" fmla="*/ 156 w 512"/>
              <a:gd name="T39" fmla="*/ 248 h 512"/>
              <a:gd name="T40" fmla="*/ 147 w 512"/>
              <a:gd name="T41" fmla="*/ 262 h 512"/>
              <a:gd name="T42" fmla="*/ 138 w 512"/>
              <a:gd name="T43" fmla="*/ 266 h 512"/>
              <a:gd name="T44" fmla="*/ 106 w 512"/>
              <a:gd name="T45" fmla="*/ 266 h 512"/>
              <a:gd name="T46" fmla="*/ 96 w 512"/>
              <a:gd name="T47" fmla="*/ 256 h 512"/>
              <a:gd name="T48" fmla="*/ 106 w 512"/>
              <a:gd name="T49" fmla="*/ 245 h 512"/>
              <a:gd name="T50" fmla="*/ 133 w 512"/>
              <a:gd name="T51" fmla="*/ 245 h 512"/>
              <a:gd name="T52" fmla="*/ 151 w 512"/>
              <a:gd name="T53" fmla="*/ 218 h 512"/>
              <a:gd name="T54" fmla="*/ 161 w 512"/>
              <a:gd name="T55" fmla="*/ 213 h 512"/>
              <a:gd name="T56" fmla="*/ 170 w 512"/>
              <a:gd name="T57" fmla="*/ 220 h 512"/>
              <a:gd name="T58" fmla="*/ 179 w 512"/>
              <a:gd name="T59" fmla="*/ 249 h 512"/>
              <a:gd name="T60" fmla="*/ 213 w 512"/>
              <a:gd name="T61" fmla="*/ 104 h 512"/>
              <a:gd name="T62" fmla="*/ 224 w 512"/>
              <a:gd name="T63" fmla="*/ 96 h 512"/>
              <a:gd name="T64" fmla="*/ 234 w 512"/>
              <a:gd name="T65" fmla="*/ 104 h 512"/>
              <a:gd name="T66" fmla="*/ 278 w 512"/>
              <a:gd name="T67" fmla="*/ 349 h 512"/>
              <a:gd name="T68" fmla="*/ 309 w 512"/>
              <a:gd name="T69" fmla="*/ 200 h 512"/>
              <a:gd name="T70" fmla="*/ 319 w 512"/>
              <a:gd name="T71" fmla="*/ 192 h 512"/>
              <a:gd name="T72" fmla="*/ 330 w 512"/>
              <a:gd name="T73" fmla="*/ 199 h 512"/>
              <a:gd name="T74" fmla="*/ 350 w 512"/>
              <a:gd name="T75" fmla="*/ 260 h 512"/>
              <a:gd name="T76" fmla="*/ 352 w 512"/>
              <a:gd name="T77" fmla="*/ 253 h 512"/>
              <a:gd name="T78" fmla="*/ 362 w 512"/>
              <a:gd name="T79" fmla="*/ 245 h 512"/>
              <a:gd name="T80" fmla="*/ 405 w 512"/>
              <a:gd name="T81" fmla="*/ 245 h 512"/>
              <a:gd name="T82" fmla="*/ 416 w 512"/>
              <a:gd name="T83" fmla="*/ 256 h 512"/>
              <a:gd name="T84" fmla="*/ 405 w 512"/>
              <a:gd name="T8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1" y="266"/>
                  <a:pt x="371" y="266"/>
                  <a:pt x="371" y="266"/>
                </a:cubicBezTo>
                <a:cubicBezTo>
                  <a:pt x="362" y="301"/>
                  <a:pt x="362" y="301"/>
                  <a:pt x="362" y="301"/>
                </a:cubicBezTo>
                <a:cubicBezTo>
                  <a:pt x="361" y="306"/>
                  <a:pt x="357" y="309"/>
                  <a:pt x="352" y="309"/>
                </a:cubicBezTo>
                <a:cubicBezTo>
                  <a:pt x="347" y="309"/>
                  <a:pt x="343" y="306"/>
                  <a:pt x="342" y="302"/>
                </a:cubicBezTo>
                <a:cubicBezTo>
                  <a:pt x="322" y="243"/>
                  <a:pt x="322" y="243"/>
                  <a:pt x="322" y="243"/>
                </a:cubicBezTo>
                <a:cubicBezTo>
                  <a:pt x="287" y="407"/>
                  <a:pt x="287" y="407"/>
                  <a:pt x="287" y="407"/>
                </a:cubicBezTo>
                <a:cubicBezTo>
                  <a:pt x="286" y="412"/>
                  <a:pt x="282" y="416"/>
                  <a:pt x="277" y="416"/>
                </a:cubicBezTo>
                <a:cubicBezTo>
                  <a:pt x="277" y="416"/>
                  <a:pt x="277" y="416"/>
                  <a:pt x="277" y="416"/>
                </a:cubicBezTo>
                <a:cubicBezTo>
                  <a:pt x="272" y="416"/>
                  <a:pt x="267" y="412"/>
                  <a:pt x="267" y="407"/>
                </a:cubicBezTo>
                <a:cubicBezTo>
                  <a:pt x="222" y="159"/>
                  <a:pt x="222" y="159"/>
                  <a:pt x="222" y="159"/>
                </a:cubicBezTo>
                <a:cubicBezTo>
                  <a:pt x="191" y="290"/>
                  <a:pt x="191" y="290"/>
                  <a:pt x="191" y="290"/>
                </a:cubicBezTo>
                <a:cubicBezTo>
                  <a:pt x="190" y="295"/>
                  <a:pt x="186" y="298"/>
                  <a:pt x="181" y="298"/>
                </a:cubicBezTo>
                <a:cubicBezTo>
                  <a:pt x="177" y="299"/>
                  <a:pt x="172" y="296"/>
                  <a:pt x="171" y="291"/>
                </a:cubicBezTo>
                <a:cubicBezTo>
                  <a:pt x="156" y="248"/>
                  <a:pt x="156" y="248"/>
                  <a:pt x="156" y="248"/>
                </a:cubicBezTo>
                <a:cubicBezTo>
                  <a:pt x="147" y="262"/>
                  <a:pt x="147" y="262"/>
                  <a:pt x="147" y="262"/>
                </a:cubicBezTo>
                <a:cubicBezTo>
                  <a:pt x="145" y="265"/>
                  <a:pt x="142" y="266"/>
                  <a:pt x="138" y="266"/>
                </a:cubicBezTo>
                <a:cubicBezTo>
                  <a:pt x="106" y="266"/>
                  <a:pt x="106" y="266"/>
                  <a:pt x="106" y="266"/>
                </a:cubicBezTo>
                <a:cubicBezTo>
                  <a:pt x="100" y="266"/>
                  <a:pt x="96" y="262"/>
                  <a:pt x="96" y="256"/>
                </a:cubicBezTo>
                <a:cubicBezTo>
                  <a:pt x="96" y="250"/>
                  <a:pt x="100" y="245"/>
                  <a:pt x="106" y="245"/>
                </a:cubicBezTo>
                <a:cubicBezTo>
                  <a:pt x="133" y="245"/>
                  <a:pt x="133" y="245"/>
                  <a:pt x="133" y="245"/>
                </a:cubicBezTo>
                <a:cubicBezTo>
                  <a:pt x="151" y="218"/>
                  <a:pt x="151" y="218"/>
                  <a:pt x="151" y="218"/>
                </a:cubicBezTo>
                <a:cubicBezTo>
                  <a:pt x="153" y="214"/>
                  <a:pt x="157" y="213"/>
                  <a:pt x="161" y="213"/>
                </a:cubicBezTo>
                <a:cubicBezTo>
                  <a:pt x="165" y="214"/>
                  <a:pt x="168" y="216"/>
                  <a:pt x="170" y="220"/>
                </a:cubicBezTo>
                <a:cubicBezTo>
                  <a:pt x="179" y="249"/>
                  <a:pt x="179" y="249"/>
                  <a:pt x="179" y="249"/>
                </a:cubicBezTo>
                <a:cubicBezTo>
                  <a:pt x="213" y="104"/>
                  <a:pt x="213" y="104"/>
                  <a:pt x="213" y="104"/>
                </a:cubicBezTo>
                <a:cubicBezTo>
                  <a:pt x="214" y="99"/>
                  <a:pt x="219" y="96"/>
                  <a:pt x="224" y="96"/>
                </a:cubicBezTo>
                <a:cubicBezTo>
                  <a:pt x="229" y="96"/>
                  <a:pt x="233" y="99"/>
                  <a:pt x="234" y="104"/>
                </a:cubicBezTo>
                <a:cubicBezTo>
                  <a:pt x="278" y="349"/>
                  <a:pt x="278" y="349"/>
                  <a:pt x="278" y="349"/>
                </a:cubicBezTo>
                <a:cubicBezTo>
                  <a:pt x="309" y="200"/>
                  <a:pt x="309" y="200"/>
                  <a:pt x="309" y="200"/>
                </a:cubicBezTo>
                <a:cubicBezTo>
                  <a:pt x="310" y="195"/>
                  <a:pt x="314" y="192"/>
                  <a:pt x="319" y="192"/>
                </a:cubicBezTo>
                <a:cubicBezTo>
                  <a:pt x="324" y="191"/>
                  <a:pt x="328" y="194"/>
                  <a:pt x="330" y="199"/>
                </a:cubicBezTo>
                <a:cubicBezTo>
                  <a:pt x="350" y="260"/>
                  <a:pt x="350" y="260"/>
                  <a:pt x="350" y="260"/>
                </a:cubicBezTo>
                <a:cubicBezTo>
                  <a:pt x="352" y="253"/>
                  <a:pt x="352" y="253"/>
                  <a:pt x="352" y="253"/>
                </a:cubicBezTo>
                <a:cubicBezTo>
                  <a:pt x="353" y="248"/>
                  <a:pt x="357" y="245"/>
                  <a:pt x="362" y="245"/>
                </a:cubicBezTo>
                <a:cubicBezTo>
                  <a:pt x="405" y="245"/>
                  <a:pt x="405" y="245"/>
                  <a:pt x="405" y="245"/>
                </a:cubicBezTo>
                <a:cubicBezTo>
                  <a:pt x="411" y="245"/>
                  <a:pt x="416" y="250"/>
                  <a:pt x="416" y="256"/>
                </a:cubicBezTo>
                <a:cubicBezTo>
                  <a:pt x="416" y="262"/>
                  <a:pt x="411" y="266"/>
                  <a:pt x="405" y="2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0" name="Group 252">
            <a:extLst>
              <a:ext uri="{FF2B5EF4-FFF2-40B4-BE49-F238E27FC236}">
                <a16:creationId xmlns:a16="http://schemas.microsoft.com/office/drawing/2014/main" id="{6EFB1E1C-E511-4C33-8927-42D219E32719}"/>
              </a:ext>
            </a:extLst>
          </p:cNvPr>
          <p:cNvGrpSpPr>
            <a:grpSpLocks noChangeAspect="1"/>
          </p:cNvGrpSpPr>
          <p:nvPr/>
        </p:nvGrpSpPr>
        <p:grpSpPr bwMode="auto">
          <a:xfrm>
            <a:off x="6131369" y="2524208"/>
            <a:ext cx="367041" cy="367041"/>
            <a:chOff x="5024" y="718"/>
            <a:chExt cx="340" cy="340"/>
          </a:xfrm>
          <a:solidFill>
            <a:schemeClr val="accent3"/>
          </a:solidFill>
        </p:grpSpPr>
        <p:sp>
          <p:nvSpPr>
            <p:cNvPr id="371" name="Freeform 253">
              <a:extLst>
                <a:ext uri="{FF2B5EF4-FFF2-40B4-BE49-F238E27FC236}">
                  <a16:creationId xmlns:a16="http://schemas.microsoft.com/office/drawing/2014/main" id="{23A390FB-3BDE-4303-86A2-234819E98BAD}"/>
                </a:ext>
              </a:extLst>
            </p:cNvPr>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2" name="Freeform 254">
              <a:extLst>
                <a:ext uri="{FF2B5EF4-FFF2-40B4-BE49-F238E27FC236}">
                  <a16:creationId xmlns:a16="http://schemas.microsoft.com/office/drawing/2014/main" id="{3C3FAC87-0E9D-4D5C-ABC4-E973EB6C492A}"/>
                </a:ext>
              </a:extLst>
            </p:cNvPr>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3" name="Group 139">
            <a:extLst>
              <a:ext uri="{FF2B5EF4-FFF2-40B4-BE49-F238E27FC236}">
                <a16:creationId xmlns:a16="http://schemas.microsoft.com/office/drawing/2014/main" id="{0B32F065-4236-43E5-91EB-DF06B6A97739}"/>
              </a:ext>
            </a:extLst>
          </p:cNvPr>
          <p:cNvGrpSpPr>
            <a:grpSpLocks noChangeAspect="1"/>
          </p:cNvGrpSpPr>
          <p:nvPr/>
        </p:nvGrpSpPr>
        <p:grpSpPr bwMode="auto">
          <a:xfrm>
            <a:off x="6564580" y="2522228"/>
            <a:ext cx="369021" cy="369021"/>
            <a:chOff x="3098" y="379"/>
            <a:chExt cx="340" cy="340"/>
          </a:xfrm>
          <a:solidFill>
            <a:schemeClr val="accent2"/>
          </a:solidFill>
        </p:grpSpPr>
        <p:sp>
          <p:nvSpPr>
            <p:cNvPr id="374" name="Freeform 140">
              <a:extLst>
                <a:ext uri="{FF2B5EF4-FFF2-40B4-BE49-F238E27FC236}">
                  <a16:creationId xmlns:a16="http://schemas.microsoft.com/office/drawing/2014/main" id="{89185B33-BAD0-4F66-8CD8-2AE98A285B22}"/>
                </a:ext>
              </a:extLst>
            </p:cNvPr>
            <p:cNvSpPr>
              <a:spLocks/>
            </p:cNvSpPr>
            <p:nvPr/>
          </p:nvSpPr>
          <p:spPr bwMode="auto">
            <a:xfrm>
              <a:off x="3218" y="577"/>
              <a:ext cx="99" cy="64"/>
            </a:xfrm>
            <a:custGeom>
              <a:avLst/>
              <a:gdLst>
                <a:gd name="T0" fmla="*/ 124 w 150"/>
                <a:gd name="T1" fmla="*/ 0 h 96"/>
                <a:gd name="T2" fmla="*/ 129 w 150"/>
                <a:gd name="T3" fmla="*/ 22 h 96"/>
                <a:gd name="T4" fmla="*/ 76 w 150"/>
                <a:gd name="T5" fmla="*/ 75 h 96"/>
                <a:gd name="T6" fmla="*/ 22 w 150"/>
                <a:gd name="T7" fmla="*/ 22 h 96"/>
                <a:gd name="T8" fmla="*/ 26 w 150"/>
                <a:gd name="T9" fmla="*/ 0 h 96"/>
                <a:gd name="T10" fmla="*/ 2 w 150"/>
                <a:gd name="T11" fmla="*/ 0 h 96"/>
                <a:gd name="T12" fmla="*/ 0 w 150"/>
                <a:gd name="T13" fmla="*/ 22 h 96"/>
                <a:gd name="T14" fmla="*/ 75 w 150"/>
                <a:gd name="T15" fmla="*/ 96 h 96"/>
                <a:gd name="T16" fmla="*/ 150 w 150"/>
                <a:gd name="T17" fmla="*/ 22 h 96"/>
                <a:gd name="T18" fmla="*/ 147 w 150"/>
                <a:gd name="T19" fmla="*/ 0 h 96"/>
                <a:gd name="T20" fmla="*/ 124 w 150"/>
                <a:gd name="T2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96">
                  <a:moveTo>
                    <a:pt x="124" y="0"/>
                  </a:moveTo>
                  <a:cubicBezTo>
                    <a:pt x="127" y="7"/>
                    <a:pt x="129" y="14"/>
                    <a:pt x="129" y="22"/>
                  </a:cubicBezTo>
                  <a:cubicBezTo>
                    <a:pt x="129" y="51"/>
                    <a:pt x="105" y="75"/>
                    <a:pt x="76" y="75"/>
                  </a:cubicBezTo>
                  <a:cubicBezTo>
                    <a:pt x="46" y="75"/>
                    <a:pt x="22" y="51"/>
                    <a:pt x="22" y="22"/>
                  </a:cubicBezTo>
                  <a:cubicBezTo>
                    <a:pt x="22" y="14"/>
                    <a:pt x="24" y="7"/>
                    <a:pt x="26" y="0"/>
                  </a:cubicBezTo>
                  <a:cubicBezTo>
                    <a:pt x="2" y="0"/>
                    <a:pt x="2" y="0"/>
                    <a:pt x="2" y="0"/>
                  </a:cubicBezTo>
                  <a:cubicBezTo>
                    <a:pt x="1" y="6"/>
                    <a:pt x="0" y="13"/>
                    <a:pt x="0" y="22"/>
                  </a:cubicBezTo>
                  <a:cubicBezTo>
                    <a:pt x="0" y="63"/>
                    <a:pt x="34" y="96"/>
                    <a:pt x="75" y="96"/>
                  </a:cubicBezTo>
                  <a:cubicBezTo>
                    <a:pt x="116" y="96"/>
                    <a:pt x="150" y="63"/>
                    <a:pt x="150" y="22"/>
                  </a:cubicBezTo>
                  <a:cubicBezTo>
                    <a:pt x="150" y="14"/>
                    <a:pt x="149" y="7"/>
                    <a:pt x="147" y="0"/>
                  </a:cubicBezTo>
                  <a:lnTo>
                    <a:pt x="12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5" name="Freeform 141">
              <a:extLst>
                <a:ext uri="{FF2B5EF4-FFF2-40B4-BE49-F238E27FC236}">
                  <a16:creationId xmlns:a16="http://schemas.microsoft.com/office/drawing/2014/main" id="{5590A780-9ACB-4CA8-92FB-F0E44A03C391}"/>
                </a:ext>
              </a:extLst>
            </p:cNvPr>
            <p:cNvSpPr>
              <a:spLocks/>
            </p:cNvSpPr>
            <p:nvPr/>
          </p:nvSpPr>
          <p:spPr bwMode="auto">
            <a:xfrm>
              <a:off x="3247" y="577"/>
              <a:ext cx="42" cy="36"/>
            </a:xfrm>
            <a:custGeom>
              <a:avLst/>
              <a:gdLst>
                <a:gd name="T0" fmla="*/ 64 w 64"/>
                <a:gd name="T1" fmla="*/ 22 h 54"/>
                <a:gd name="T2" fmla="*/ 55 w 64"/>
                <a:gd name="T3" fmla="*/ 0 h 54"/>
                <a:gd name="T4" fmla="*/ 6 w 64"/>
                <a:gd name="T5" fmla="*/ 0 h 54"/>
                <a:gd name="T6" fmla="*/ 0 w 64"/>
                <a:gd name="T7" fmla="*/ 22 h 54"/>
                <a:gd name="T8" fmla="*/ 32 w 64"/>
                <a:gd name="T9" fmla="*/ 54 h 54"/>
                <a:gd name="T10" fmla="*/ 64 w 64"/>
                <a:gd name="T11" fmla="*/ 22 h 54"/>
              </a:gdLst>
              <a:ahLst/>
              <a:cxnLst>
                <a:cxn ang="0">
                  <a:pos x="T0" y="T1"/>
                </a:cxn>
                <a:cxn ang="0">
                  <a:pos x="T2" y="T3"/>
                </a:cxn>
                <a:cxn ang="0">
                  <a:pos x="T4" y="T5"/>
                </a:cxn>
                <a:cxn ang="0">
                  <a:pos x="T6" y="T7"/>
                </a:cxn>
                <a:cxn ang="0">
                  <a:pos x="T8" y="T9"/>
                </a:cxn>
                <a:cxn ang="0">
                  <a:pos x="T10" y="T11"/>
                </a:cxn>
              </a:cxnLst>
              <a:rect l="0" t="0" r="r" b="b"/>
              <a:pathLst>
                <a:path w="64" h="54">
                  <a:moveTo>
                    <a:pt x="64" y="22"/>
                  </a:moveTo>
                  <a:cubicBezTo>
                    <a:pt x="64" y="14"/>
                    <a:pt x="61" y="6"/>
                    <a:pt x="55" y="0"/>
                  </a:cubicBezTo>
                  <a:cubicBezTo>
                    <a:pt x="6" y="0"/>
                    <a:pt x="6" y="0"/>
                    <a:pt x="6" y="0"/>
                  </a:cubicBezTo>
                  <a:cubicBezTo>
                    <a:pt x="2" y="5"/>
                    <a:pt x="0" y="13"/>
                    <a:pt x="0" y="22"/>
                  </a:cubicBezTo>
                  <a:cubicBezTo>
                    <a:pt x="0" y="39"/>
                    <a:pt x="14" y="54"/>
                    <a:pt x="32" y="54"/>
                  </a:cubicBezTo>
                  <a:cubicBezTo>
                    <a:pt x="49" y="54"/>
                    <a:pt x="64" y="39"/>
                    <a:pt x="6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6" name="Freeform 142">
              <a:extLst>
                <a:ext uri="{FF2B5EF4-FFF2-40B4-BE49-F238E27FC236}">
                  <a16:creationId xmlns:a16="http://schemas.microsoft.com/office/drawing/2014/main" id="{38C776CB-E6DF-4621-99FC-7824AFD3E794}"/>
                </a:ext>
              </a:extLst>
            </p:cNvPr>
            <p:cNvSpPr>
              <a:spLocks/>
            </p:cNvSpPr>
            <p:nvPr/>
          </p:nvSpPr>
          <p:spPr bwMode="auto">
            <a:xfrm>
              <a:off x="3247" y="457"/>
              <a:ext cx="42" cy="77"/>
            </a:xfrm>
            <a:custGeom>
              <a:avLst/>
              <a:gdLst>
                <a:gd name="T0" fmla="*/ 21 w 64"/>
                <a:gd name="T1" fmla="*/ 91 h 117"/>
                <a:gd name="T2" fmla="*/ 15 w 64"/>
                <a:gd name="T3" fmla="*/ 117 h 117"/>
                <a:gd name="T4" fmla="*/ 49 w 64"/>
                <a:gd name="T5" fmla="*/ 117 h 117"/>
                <a:gd name="T6" fmla="*/ 42 w 64"/>
                <a:gd name="T7" fmla="*/ 91 h 117"/>
                <a:gd name="T8" fmla="*/ 55 w 64"/>
                <a:gd name="T9" fmla="*/ 54 h 117"/>
                <a:gd name="T10" fmla="*/ 64 w 64"/>
                <a:gd name="T11" fmla="*/ 32 h 117"/>
                <a:gd name="T12" fmla="*/ 32 w 64"/>
                <a:gd name="T13" fmla="*/ 0 h 117"/>
                <a:gd name="T14" fmla="*/ 0 w 64"/>
                <a:gd name="T15" fmla="*/ 32 h 117"/>
                <a:gd name="T16" fmla="*/ 8 w 64"/>
                <a:gd name="T17" fmla="*/ 54 h 117"/>
                <a:gd name="T18" fmla="*/ 21 w 64"/>
                <a:gd name="T19" fmla="*/ 9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17">
                  <a:moveTo>
                    <a:pt x="21" y="91"/>
                  </a:moveTo>
                  <a:cubicBezTo>
                    <a:pt x="21" y="101"/>
                    <a:pt x="19" y="110"/>
                    <a:pt x="15" y="117"/>
                  </a:cubicBezTo>
                  <a:cubicBezTo>
                    <a:pt x="49" y="117"/>
                    <a:pt x="49" y="117"/>
                    <a:pt x="49" y="117"/>
                  </a:cubicBezTo>
                  <a:cubicBezTo>
                    <a:pt x="45" y="110"/>
                    <a:pt x="42" y="101"/>
                    <a:pt x="42" y="91"/>
                  </a:cubicBezTo>
                  <a:cubicBezTo>
                    <a:pt x="42" y="75"/>
                    <a:pt x="49" y="63"/>
                    <a:pt x="55" y="54"/>
                  </a:cubicBezTo>
                  <a:cubicBezTo>
                    <a:pt x="61" y="46"/>
                    <a:pt x="64" y="40"/>
                    <a:pt x="64" y="32"/>
                  </a:cubicBezTo>
                  <a:cubicBezTo>
                    <a:pt x="64" y="14"/>
                    <a:pt x="49" y="0"/>
                    <a:pt x="32" y="0"/>
                  </a:cubicBezTo>
                  <a:cubicBezTo>
                    <a:pt x="14" y="0"/>
                    <a:pt x="0" y="14"/>
                    <a:pt x="0" y="32"/>
                  </a:cubicBezTo>
                  <a:cubicBezTo>
                    <a:pt x="0" y="40"/>
                    <a:pt x="3" y="46"/>
                    <a:pt x="8" y="54"/>
                  </a:cubicBezTo>
                  <a:cubicBezTo>
                    <a:pt x="15" y="63"/>
                    <a:pt x="21" y="75"/>
                    <a:pt x="21" y="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7" name="Freeform 143">
              <a:extLst>
                <a:ext uri="{FF2B5EF4-FFF2-40B4-BE49-F238E27FC236}">
                  <a16:creationId xmlns:a16="http://schemas.microsoft.com/office/drawing/2014/main" id="{1CC3E320-29C3-4A48-98C7-E80DD370F9FE}"/>
                </a:ext>
              </a:extLst>
            </p:cNvPr>
            <p:cNvSpPr>
              <a:spLocks noEditPoints="1"/>
            </p:cNvSpPr>
            <p:nvPr/>
          </p:nvSpPr>
          <p:spPr bwMode="auto">
            <a:xfrm>
              <a:off x="3098" y="37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288 h 512"/>
                <a:gd name="T12" fmla="*/ 362 w 512"/>
                <a:gd name="T13" fmla="*/ 298 h 512"/>
                <a:gd name="T14" fmla="*/ 349 w 512"/>
                <a:gd name="T15" fmla="*/ 298 h 512"/>
                <a:gd name="T16" fmla="*/ 351 w 512"/>
                <a:gd name="T17" fmla="*/ 320 h 512"/>
                <a:gd name="T18" fmla="*/ 255 w 512"/>
                <a:gd name="T19" fmla="*/ 416 h 512"/>
                <a:gd name="T20" fmla="*/ 159 w 512"/>
                <a:gd name="T21" fmla="*/ 320 h 512"/>
                <a:gd name="T22" fmla="*/ 160 w 512"/>
                <a:gd name="T23" fmla="*/ 298 h 512"/>
                <a:gd name="T24" fmla="*/ 149 w 512"/>
                <a:gd name="T25" fmla="*/ 298 h 512"/>
                <a:gd name="T26" fmla="*/ 138 w 512"/>
                <a:gd name="T27" fmla="*/ 288 h 512"/>
                <a:gd name="T28" fmla="*/ 138 w 512"/>
                <a:gd name="T29" fmla="*/ 245 h 512"/>
                <a:gd name="T30" fmla="*/ 149 w 512"/>
                <a:gd name="T31" fmla="*/ 234 h 512"/>
                <a:gd name="T32" fmla="*/ 208 w 512"/>
                <a:gd name="T33" fmla="*/ 234 h 512"/>
                <a:gd name="T34" fmla="*/ 224 w 512"/>
                <a:gd name="T35" fmla="*/ 208 h 512"/>
                <a:gd name="T36" fmla="*/ 215 w 512"/>
                <a:gd name="T37" fmla="*/ 183 h 512"/>
                <a:gd name="T38" fmla="*/ 202 w 512"/>
                <a:gd name="T39" fmla="*/ 149 h 512"/>
                <a:gd name="T40" fmla="*/ 256 w 512"/>
                <a:gd name="T41" fmla="*/ 96 h 512"/>
                <a:gd name="T42" fmla="*/ 309 w 512"/>
                <a:gd name="T43" fmla="*/ 149 h 512"/>
                <a:gd name="T44" fmla="*/ 296 w 512"/>
                <a:gd name="T45" fmla="*/ 183 h 512"/>
                <a:gd name="T46" fmla="*/ 288 w 512"/>
                <a:gd name="T47" fmla="*/ 208 h 512"/>
                <a:gd name="T48" fmla="*/ 304 w 512"/>
                <a:gd name="T49" fmla="*/ 234 h 512"/>
                <a:gd name="T50" fmla="*/ 362 w 512"/>
                <a:gd name="T51" fmla="*/ 234 h 512"/>
                <a:gd name="T52" fmla="*/ 373 w 512"/>
                <a:gd name="T53" fmla="*/ 245 h 512"/>
                <a:gd name="T54" fmla="*/ 373 w 512"/>
                <a:gd name="T5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88"/>
                  </a:moveTo>
                  <a:cubicBezTo>
                    <a:pt x="373" y="294"/>
                    <a:pt x="368" y="298"/>
                    <a:pt x="362" y="298"/>
                  </a:cubicBezTo>
                  <a:cubicBezTo>
                    <a:pt x="349" y="298"/>
                    <a:pt x="349" y="298"/>
                    <a:pt x="349" y="298"/>
                  </a:cubicBezTo>
                  <a:cubicBezTo>
                    <a:pt x="351" y="305"/>
                    <a:pt x="351" y="312"/>
                    <a:pt x="351" y="320"/>
                  </a:cubicBezTo>
                  <a:cubicBezTo>
                    <a:pt x="351" y="373"/>
                    <a:pt x="308" y="416"/>
                    <a:pt x="255" y="416"/>
                  </a:cubicBezTo>
                  <a:cubicBezTo>
                    <a:pt x="202" y="416"/>
                    <a:pt x="159" y="373"/>
                    <a:pt x="159" y="320"/>
                  </a:cubicBezTo>
                  <a:cubicBezTo>
                    <a:pt x="159" y="312"/>
                    <a:pt x="159" y="305"/>
                    <a:pt x="160" y="298"/>
                  </a:cubicBezTo>
                  <a:cubicBezTo>
                    <a:pt x="149" y="298"/>
                    <a:pt x="149" y="298"/>
                    <a:pt x="149" y="298"/>
                  </a:cubicBezTo>
                  <a:cubicBezTo>
                    <a:pt x="143" y="298"/>
                    <a:pt x="138" y="294"/>
                    <a:pt x="138" y="288"/>
                  </a:cubicBezTo>
                  <a:cubicBezTo>
                    <a:pt x="138" y="245"/>
                    <a:pt x="138" y="245"/>
                    <a:pt x="138" y="245"/>
                  </a:cubicBezTo>
                  <a:cubicBezTo>
                    <a:pt x="138" y="239"/>
                    <a:pt x="143" y="234"/>
                    <a:pt x="149" y="234"/>
                  </a:cubicBezTo>
                  <a:cubicBezTo>
                    <a:pt x="208" y="234"/>
                    <a:pt x="208" y="234"/>
                    <a:pt x="208" y="234"/>
                  </a:cubicBezTo>
                  <a:cubicBezTo>
                    <a:pt x="215" y="234"/>
                    <a:pt x="224" y="223"/>
                    <a:pt x="224" y="208"/>
                  </a:cubicBezTo>
                  <a:cubicBezTo>
                    <a:pt x="224" y="198"/>
                    <a:pt x="220" y="191"/>
                    <a:pt x="215" y="183"/>
                  </a:cubicBezTo>
                  <a:cubicBezTo>
                    <a:pt x="209" y="174"/>
                    <a:pt x="202" y="164"/>
                    <a:pt x="202" y="149"/>
                  </a:cubicBezTo>
                  <a:cubicBezTo>
                    <a:pt x="202" y="120"/>
                    <a:pt x="226" y="96"/>
                    <a:pt x="256" y="96"/>
                  </a:cubicBezTo>
                  <a:cubicBezTo>
                    <a:pt x="285" y="96"/>
                    <a:pt x="309" y="120"/>
                    <a:pt x="309" y="149"/>
                  </a:cubicBezTo>
                  <a:cubicBezTo>
                    <a:pt x="309" y="164"/>
                    <a:pt x="303" y="174"/>
                    <a:pt x="296" y="183"/>
                  </a:cubicBezTo>
                  <a:cubicBezTo>
                    <a:pt x="291" y="191"/>
                    <a:pt x="288" y="198"/>
                    <a:pt x="288" y="208"/>
                  </a:cubicBezTo>
                  <a:cubicBezTo>
                    <a:pt x="288" y="223"/>
                    <a:pt x="296" y="234"/>
                    <a:pt x="304" y="234"/>
                  </a:cubicBezTo>
                  <a:cubicBezTo>
                    <a:pt x="362" y="234"/>
                    <a:pt x="362" y="234"/>
                    <a:pt x="362" y="234"/>
                  </a:cubicBezTo>
                  <a:cubicBezTo>
                    <a:pt x="368" y="234"/>
                    <a:pt x="373" y="239"/>
                    <a:pt x="373" y="245"/>
                  </a:cubicBezTo>
                  <a:lnTo>
                    <a:pt x="373" y="2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8" name="Rectangle 144">
              <a:extLst>
                <a:ext uri="{FF2B5EF4-FFF2-40B4-BE49-F238E27FC236}">
                  <a16:creationId xmlns:a16="http://schemas.microsoft.com/office/drawing/2014/main" id="{D82051BC-745C-4CA6-BE07-DC6109DCB3F7}"/>
                </a:ext>
              </a:extLst>
            </p:cNvPr>
            <p:cNvSpPr>
              <a:spLocks noChangeArrowheads="1"/>
            </p:cNvSpPr>
            <p:nvPr/>
          </p:nvSpPr>
          <p:spPr bwMode="auto">
            <a:xfrm>
              <a:off x="3204" y="549"/>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9" name="Group 147">
            <a:extLst>
              <a:ext uri="{FF2B5EF4-FFF2-40B4-BE49-F238E27FC236}">
                <a16:creationId xmlns:a16="http://schemas.microsoft.com/office/drawing/2014/main" id="{04A74E14-CDAE-4F91-84A9-389A651D1FA0}"/>
              </a:ext>
            </a:extLst>
          </p:cNvPr>
          <p:cNvGrpSpPr>
            <a:grpSpLocks noChangeAspect="1"/>
          </p:cNvGrpSpPr>
          <p:nvPr/>
        </p:nvGrpSpPr>
        <p:grpSpPr bwMode="auto">
          <a:xfrm>
            <a:off x="6999771" y="2522228"/>
            <a:ext cx="369021" cy="369021"/>
            <a:chOff x="3472" y="384"/>
            <a:chExt cx="340" cy="340"/>
          </a:xfrm>
          <a:solidFill>
            <a:schemeClr val="accent2"/>
          </a:solidFill>
        </p:grpSpPr>
        <p:sp>
          <p:nvSpPr>
            <p:cNvPr id="380" name="Freeform 148">
              <a:extLst>
                <a:ext uri="{FF2B5EF4-FFF2-40B4-BE49-F238E27FC236}">
                  <a16:creationId xmlns:a16="http://schemas.microsoft.com/office/drawing/2014/main" id="{A7347E79-B4DE-4A3F-87E5-9CC293DEF5B8}"/>
                </a:ext>
              </a:extLst>
            </p:cNvPr>
            <p:cNvSpPr>
              <a:spLocks noEditPoints="1"/>
            </p:cNvSpPr>
            <p:nvPr/>
          </p:nvSpPr>
          <p:spPr bwMode="auto">
            <a:xfrm>
              <a:off x="3472" y="38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1" name="Freeform 149">
              <a:extLst>
                <a:ext uri="{FF2B5EF4-FFF2-40B4-BE49-F238E27FC236}">
                  <a16:creationId xmlns:a16="http://schemas.microsoft.com/office/drawing/2014/main" id="{72C9CAAF-1447-4C22-B2EC-B00182B676CB}"/>
                </a:ext>
              </a:extLst>
            </p:cNvPr>
            <p:cNvSpPr>
              <a:spLocks noEditPoints="1"/>
            </p:cNvSpPr>
            <p:nvPr/>
          </p:nvSpPr>
          <p:spPr bwMode="auto">
            <a:xfrm>
              <a:off x="3564" y="448"/>
              <a:ext cx="156" cy="212"/>
            </a:xfrm>
            <a:custGeom>
              <a:avLst/>
              <a:gdLst>
                <a:gd name="T0" fmla="*/ 224 w 235"/>
                <a:gd name="T1" fmla="*/ 138 h 320"/>
                <a:gd name="T2" fmla="*/ 166 w 235"/>
                <a:gd name="T3" fmla="*/ 138 h 320"/>
                <a:gd name="T4" fmla="*/ 150 w 235"/>
                <a:gd name="T5" fmla="*/ 112 h 320"/>
                <a:gd name="T6" fmla="*/ 158 w 235"/>
                <a:gd name="T7" fmla="*/ 87 h 320"/>
                <a:gd name="T8" fmla="*/ 171 w 235"/>
                <a:gd name="T9" fmla="*/ 53 h 320"/>
                <a:gd name="T10" fmla="*/ 118 w 235"/>
                <a:gd name="T11" fmla="*/ 0 h 320"/>
                <a:gd name="T12" fmla="*/ 64 w 235"/>
                <a:gd name="T13" fmla="*/ 53 h 320"/>
                <a:gd name="T14" fmla="*/ 77 w 235"/>
                <a:gd name="T15" fmla="*/ 87 h 320"/>
                <a:gd name="T16" fmla="*/ 86 w 235"/>
                <a:gd name="T17" fmla="*/ 112 h 320"/>
                <a:gd name="T18" fmla="*/ 70 w 235"/>
                <a:gd name="T19" fmla="*/ 138 h 320"/>
                <a:gd name="T20" fmla="*/ 11 w 235"/>
                <a:gd name="T21" fmla="*/ 138 h 320"/>
                <a:gd name="T22" fmla="*/ 0 w 235"/>
                <a:gd name="T23" fmla="*/ 149 h 320"/>
                <a:gd name="T24" fmla="*/ 0 w 235"/>
                <a:gd name="T25" fmla="*/ 192 h 320"/>
                <a:gd name="T26" fmla="*/ 11 w 235"/>
                <a:gd name="T27" fmla="*/ 202 h 320"/>
                <a:gd name="T28" fmla="*/ 22 w 235"/>
                <a:gd name="T29" fmla="*/ 202 h 320"/>
                <a:gd name="T30" fmla="*/ 21 w 235"/>
                <a:gd name="T31" fmla="*/ 224 h 320"/>
                <a:gd name="T32" fmla="*/ 117 w 235"/>
                <a:gd name="T33" fmla="*/ 320 h 320"/>
                <a:gd name="T34" fmla="*/ 213 w 235"/>
                <a:gd name="T35" fmla="*/ 224 h 320"/>
                <a:gd name="T36" fmla="*/ 211 w 235"/>
                <a:gd name="T37" fmla="*/ 202 h 320"/>
                <a:gd name="T38" fmla="*/ 224 w 235"/>
                <a:gd name="T39" fmla="*/ 202 h 320"/>
                <a:gd name="T40" fmla="*/ 235 w 235"/>
                <a:gd name="T41" fmla="*/ 192 h 320"/>
                <a:gd name="T42" fmla="*/ 235 w 235"/>
                <a:gd name="T43" fmla="*/ 149 h 320"/>
                <a:gd name="T44" fmla="*/ 224 w 235"/>
                <a:gd name="T45" fmla="*/ 138 h 320"/>
                <a:gd name="T46" fmla="*/ 94 w 235"/>
                <a:gd name="T47" fmla="*/ 75 h 320"/>
                <a:gd name="T48" fmla="*/ 86 w 235"/>
                <a:gd name="T49" fmla="*/ 53 h 320"/>
                <a:gd name="T50" fmla="*/ 118 w 235"/>
                <a:gd name="T51" fmla="*/ 21 h 320"/>
                <a:gd name="T52" fmla="*/ 150 w 235"/>
                <a:gd name="T53" fmla="*/ 53 h 320"/>
                <a:gd name="T54" fmla="*/ 141 w 235"/>
                <a:gd name="T55" fmla="*/ 75 h 320"/>
                <a:gd name="T56" fmla="*/ 128 w 235"/>
                <a:gd name="T57" fmla="*/ 112 h 320"/>
                <a:gd name="T58" fmla="*/ 135 w 235"/>
                <a:gd name="T59" fmla="*/ 138 h 320"/>
                <a:gd name="T60" fmla="*/ 101 w 235"/>
                <a:gd name="T61" fmla="*/ 138 h 320"/>
                <a:gd name="T62" fmla="*/ 107 w 235"/>
                <a:gd name="T63" fmla="*/ 112 h 320"/>
                <a:gd name="T64" fmla="*/ 94 w 235"/>
                <a:gd name="T65" fmla="*/ 75 h 320"/>
                <a:gd name="T66" fmla="*/ 192 w 235"/>
                <a:gd name="T67" fmla="*/ 224 h 320"/>
                <a:gd name="T68" fmla="*/ 117 w 235"/>
                <a:gd name="T69" fmla="*/ 298 h 320"/>
                <a:gd name="T70" fmla="*/ 42 w 235"/>
                <a:gd name="T71" fmla="*/ 224 h 320"/>
                <a:gd name="T72" fmla="*/ 44 w 235"/>
                <a:gd name="T73" fmla="*/ 202 h 320"/>
                <a:gd name="T74" fmla="*/ 68 w 235"/>
                <a:gd name="T75" fmla="*/ 202 h 320"/>
                <a:gd name="T76" fmla="*/ 64 w 235"/>
                <a:gd name="T77" fmla="*/ 224 h 320"/>
                <a:gd name="T78" fmla="*/ 118 w 235"/>
                <a:gd name="T79" fmla="*/ 277 h 320"/>
                <a:gd name="T80" fmla="*/ 171 w 235"/>
                <a:gd name="T81" fmla="*/ 224 h 320"/>
                <a:gd name="T82" fmla="*/ 166 w 235"/>
                <a:gd name="T83" fmla="*/ 202 h 320"/>
                <a:gd name="T84" fmla="*/ 189 w 235"/>
                <a:gd name="T85" fmla="*/ 202 h 320"/>
                <a:gd name="T86" fmla="*/ 192 w 235"/>
                <a:gd name="T87" fmla="*/ 224 h 320"/>
                <a:gd name="T88" fmla="*/ 141 w 235"/>
                <a:gd name="T89" fmla="*/ 202 h 320"/>
                <a:gd name="T90" fmla="*/ 150 w 235"/>
                <a:gd name="T91" fmla="*/ 224 h 320"/>
                <a:gd name="T92" fmla="*/ 118 w 235"/>
                <a:gd name="T93" fmla="*/ 256 h 320"/>
                <a:gd name="T94" fmla="*/ 86 w 235"/>
                <a:gd name="T95" fmla="*/ 224 h 320"/>
                <a:gd name="T96" fmla="*/ 92 w 235"/>
                <a:gd name="T97" fmla="*/ 202 h 320"/>
                <a:gd name="T98" fmla="*/ 141 w 235"/>
                <a:gd name="T99" fmla="*/ 202 h 320"/>
                <a:gd name="T100" fmla="*/ 214 w 235"/>
                <a:gd name="T101" fmla="*/ 181 h 320"/>
                <a:gd name="T102" fmla="*/ 22 w 235"/>
                <a:gd name="T103" fmla="*/ 181 h 320"/>
                <a:gd name="T104" fmla="*/ 22 w 235"/>
                <a:gd name="T105" fmla="*/ 160 h 320"/>
                <a:gd name="T106" fmla="*/ 214 w 235"/>
                <a:gd name="T107" fmla="*/ 160 h 320"/>
                <a:gd name="T108" fmla="*/ 214 w 235"/>
                <a:gd name="T109"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320">
                  <a:moveTo>
                    <a:pt x="224" y="138"/>
                  </a:moveTo>
                  <a:cubicBezTo>
                    <a:pt x="166" y="138"/>
                    <a:pt x="166" y="138"/>
                    <a:pt x="166" y="138"/>
                  </a:cubicBezTo>
                  <a:cubicBezTo>
                    <a:pt x="158" y="138"/>
                    <a:pt x="150" y="127"/>
                    <a:pt x="150" y="112"/>
                  </a:cubicBezTo>
                  <a:cubicBezTo>
                    <a:pt x="150" y="102"/>
                    <a:pt x="153" y="95"/>
                    <a:pt x="158" y="87"/>
                  </a:cubicBezTo>
                  <a:cubicBezTo>
                    <a:pt x="165" y="78"/>
                    <a:pt x="171" y="68"/>
                    <a:pt x="171" y="53"/>
                  </a:cubicBezTo>
                  <a:cubicBezTo>
                    <a:pt x="171" y="24"/>
                    <a:pt x="147" y="0"/>
                    <a:pt x="118" y="0"/>
                  </a:cubicBezTo>
                  <a:cubicBezTo>
                    <a:pt x="88" y="0"/>
                    <a:pt x="64" y="24"/>
                    <a:pt x="64" y="53"/>
                  </a:cubicBezTo>
                  <a:cubicBezTo>
                    <a:pt x="64" y="68"/>
                    <a:pt x="71" y="78"/>
                    <a:pt x="77" y="87"/>
                  </a:cubicBezTo>
                  <a:cubicBezTo>
                    <a:pt x="82" y="95"/>
                    <a:pt x="86" y="102"/>
                    <a:pt x="86" y="112"/>
                  </a:cubicBezTo>
                  <a:cubicBezTo>
                    <a:pt x="86" y="127"/>
                    <a:pt x="77" y="138"/>
                    <a:pt x="70" y="138"/>
                  </a:cubicBezTo>
                  <a:cubicBezTo>
                    <a:pt x="11" y="138"/>
                    <a:pt x="11" y="138"/>
                    <a:pt x="11" y="138"/>
                  </a:cubicBezTo>
                  <a:cubicBezTo>
                    <a:pt x="5" y="138"/>
                    <a:pt x="0" y="143"/>
                    <a:pt x="0" y="149"/>
                  </a:cubicBezTo>
                  <a:cubicBezTo>
                    <a:pt x="0" y="192"/>
                    <a:pt x="0" y="192"/>
                    <a:pt x="0" y="192"/>
                  </a:cubicBezTo>
                  <a:cubicBezTo>
                    <a:pt x="0" y="198"/>
                    <a:pt x="5" y="202"/>
                    <a:pt x="11" y="202"/>
                  </a:cubicBezTo>
                  <a:cubicBezTo>
                    <a:pt x="22" y="202"/>
                    <a:pt x="22" y="202"/>
                    <a:pt x="22" y="202"/>
                  </a:cubicBezTo>
                  <a:cubicBezTo>
                    <a:pt x="21" y="209"/>
                    <a:pt x="21" y="216"/>
                    <a:pt x="21" y="224"/>
                  </a:cubicBezTo>
                  <a:cubicBezTo>
                    <a:pt x="21" y="277"/>
                    <a:pt x="64" y="320"/>
                    <a:pt x="117" y="320"/>
                  </a:cubicBezTo>
                  <a:cubicBezTo>
                    <a:pt x="170" y="320"/>
                    <a:pt x="213" y="277"/>
                    <a:pt x="213" y="224"/>
                  </a:cubicBezTo>
                  <a:cubicBezTo>
                    <a:pt x="213" y="216"/>
                    <a:pt x="213" y="209"/>
                    <a:pt x="211" y="202"/>
                  </a:cubicBezTo>
                  <a:cubicBezTo>
                    <a:pt x="224" y="202"/>
                    <a:pt x="224" y="202"/>
                    <a:pt x="224" y="202"/>
                  </a:cubicBezTo>
                  <a:cubicBezTo>
                    <a:pt x="230" y="202"/>
                    <a:pt x="235" y="198"/>
                    <a:pt x="235" y="192"/>
                  </a:cubicBezTo>
                  <a:cubicBezTo>
                    <a:pt x="235" y="149"/>
                    <a:pt x="235" y="149"/>
                    <a:pt x="235" y="149"/>
                  </a:cubicBezTo>
                  <a:cubicBezTo>
                    <a:pt x="235" y="143"/>
                    <a:pt x="230" y="138"/>
                    <a:pt x="224" y="138"/>
                  </a:cubicBezTo>
                  <a:close/>
                  <a:moveTo>
                    <a:pt x="94" y="75"/>
                  </a:moveTo>
                  <a:cubicBezTo>
                    <a:pt x="89" y="67"/>
                    <a:pt x="86" y="61"/>
                    <a:pt x="86" y="53"/>
                  </a:cubicBezTo>
                  <a:cubicBezTo>
                    <a:pt x="86" y="35"/>
                    <a:pt x="100" y="21"/>
                    <a:pt x="118" y="21"/>
                  </a:cubicBezTo>
                  <a:cubicBezTo>
                    <a:pt x="135" y="21"/>
                    <a:pt x="150" y="35"/>
                    <a:pt x="150" y="53"/>
                  </a:cubicBezTo>
                  <a:cubicBezTo>
                    <a:pt x="150" y="61"/>
                    <a:pt x="147" y="67"/>
                    <a:pt x="141" y="75"/>
                  </a:cubicBezTo>
                  <a:cubicBezTo>
                    <a:pt x="135" y="84"/>
                    <a:pt x="128" y="96"/>
                    <a:pt x="128" y="112"/>
                  </a:cubicBezTo>
                  <a:cubicBezTo>
                    <a:pt x="128" y="122"/>
                    <a:pt x="131" y="131"/>
                    <a:pt x="135" y="138"/>
                  </a:cubicBezTo>
                  <a:cubicBezTo>
                    <a:pt x="101" y="138"/>
                    <a:pt x="101" y="138"/>
                    <a:pt x="101" y="138"/>
                  </a:cubicBezTo>
                  <a:cubicBezTo>
                    <a:pt x="105" y="131"/>
                    <a:pt x="107" y="122"/>
                    <a:pt x="107" y="112"/>
                  </a:cubicBezTo>
                  <a:cubicBezTo>
                    <a:pt x="107" y="96"/>
                    <a:pt x="101" y="84"/>
                    <a:pt x="94" y="75"/>
                  </a:cubicBezTo>
                  <a:close/>
                  <a:moveTo>
                    <a:pt x="192" y="224"/>
                  </a:moveTo>
                  <a:cubicBezTo>
                    <a:pt x="192" y="265"/>
                    <a:pt x="158" y="298"/>
                    <a:pt x="117" y="298"/>
                  </a:cubicBezTo>
                  <a:cubicBezTo>
                    <a:pt x="76" y="298"/>
                    <a:pt x="42" y="265"/>
                    <a:pt x="42" y="224"/>
                  </a:cubicBezTo>
                  <a:cubicBezTo>
                    <a:pt x="42" y="215"/>
                    <a:pt x="43" y="208"/>
                    <a:pt x="44" y="202"/>
                  </a:cubicBezTo>
                  <a:cubicBezTo>
                    <a:pt x="68" y="202"/>
                    <a:pt x="68" y="202"/>
                    <a:pt x="68" y="202"/>
                  </a:cubicBezTo>
                  <a:cubicBezTo>
                    <a:pt x="66" y="209"/>
                    <a:pt x="64" y="216"/>
                    <a:pt x="64" y="224"/>
                  </a:cubicBezTo>
                  <a:cubicBezTo>
                    <a:pt x="64" y="253"/>
                    <a:pt x="88" y="277"/>
                    <a:pt x="118" y="277"/>
                  </a:cubicBezTo>
                  <a:cubicBezTo>
                    <a:pt x="147" y="277"/>
                    <a:pt x="171" y="253"/>
                    <a:pt x="171" y="224"/>
                  </a:cubicBezTo>
                  <a:cubicBezTo>
                    <a:pt x="171" y="216"/>
                    <a:pt x="169" y="209"/>
                    <a:pt x="166" y="202"/>
                  </a:cubicBezTo>
                  <a:cubicBezTo>
                    <a:pt x="189" y="202"/>
                    <a:pt x="189" y="202"/>
                    <a:pt x="189" y="202"/>
                  </a:cubicBezTo>
                  <a:cubicBezTo>
                    <a:pt x="191" y="209"/>
                    <a:pt x="192" y="216"/>
                    <a:pt x="192" y="224"/>
                  </a:cubicBezTo>
                  <a:close/>
                  <a:moveTo>
                    <a:pt x="141" y="202"/>
                  </a:moveTo>
                  <a:cubicBezTo>
                    <a:pt x="147" y="208"/>
                    <a:pt x="150" y="216"/>
                    <a:pt x="150" y="224"/>
                  </a:cubicBezTo>
                  <a:cubicBezTo>
                    <a:pt x="150" y="241"/>
                    <a:pt x="135" y="256"/>
                    <a:pt x="118" y="256"/>
                  </a:cubicBezTo>
                  <a:cubicBezTo>
                    <a:pt x="100" y="256"/>
                    <a:pt x="86" y="241"/>
                    <a:pt x="86" y="224"/>
                  </a:cubicBezTo>
                  <a:cubicBezTo>
                    <a:pt x="86" y="215"/>
                    <a:pt x="88" y="207"/>
                    <a:pt x="92" y="202"/>
                  </a:cubicBezTo>
                  <a:lnTo>
                    <a:pt x="141" y="202"/>
                  </a:lnTo>
                  <a:close/>
                  <a:moveTo>
                    <a:pt x="214" y="181"/>
                  </a:moveTo>
                  <a:cubicBezTo>
                    <a:pt x="22" y="181"/>
                    <a:pt x="22" y="181"/>
                    <a:pt x="22" y="181"/>
                  </a:cubicBezTo>
                  <a:cubicBezTo>
                    <a:pt x="22" y="160"/>
                    <a:pt x="22" y="160"/>
                    <a:pt x="22" y="160"/>
                  </a:cubicBezTo>
                  <a:cubicBezTo>
                    <a:pt x="214" y="160"/>
                    <a:pt x="214" y="160"/>
                    <a:pt x="214" y="160"/>
                  </a:cubicBezTo>
                  <a:lnTo>
                    <a:pt x="214"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2" name="Freeform 624">
            <a:extLst>
              <a:ext uri="{FF2B5EF4-FFF2-40B4-BE49-F238E27FC236}">
                <a16:creationId xmlns:a16="http://schemas.microsoft.com/office/drawing/2014/main" id="{1848FC03-C4E8-4081-AA40-0E6A93A85A44}"/>
              </a:ext>
            </a:extLst>
          </p:cNvPr>
          <p:cNvSpPr>
            <a:spLocks noChangeAspect="1" noEditPoints="1"/>
          </p:cNvSpPr>
          <p:nvPr/>
        </p:nvSpPr>
        <p:spPr bwMode="auto">
          <a:xfrm>
            <a:off x="7434962" y="2523267"/>
            <a:ext cx="367982" cy="367982"/>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3" name="Group 627">
            <a:extLst>
              <a:ext uri="{FF2B5EF4-FFF2-40B4-BE49-F238E27FC236}">
                <a16:creationId xmlns:a16="http://schemas.microsoft.com/office/drawing/2014/main" id="{B19C686A-978D-4510-A932-F67CE3CDE9C8}"/>
              </a:ext>
            </a:extLst>
          </p:cNvPr>
          <p:cNvGrpSpPr>
            <a:grpSpLocks noChangeAspect="1"/>
          </p:cNvGrpSpPr>
          <p:nvPr/>
        </p:nvGrpSpPr>
        <p:grpSpPr bwMode="auto">
          <a:xfrm>
            <a:off x="7869114" y="2522185"/>
            <a:ext cx="367982" cy="369064"/>
            <a:chOff x="5295" y="2587"/>
            <a:chExt cx="340" cy="341"/>
          </a:xfrm>
          <a:solidFill>
            <a:schemeClr val="accent1"/>
          </a:solidFill>
        </p:grpSpPr>
        <p:sp>
          <p:nvSpPr>
            <p:cNvPr id="384" name="Freeform 628">
              <a:extLst>
                <a:ext uri="{FF2B5EF4-FFF2-40B4-BE49-F238E27FC236}">
                  <a16:creationId xmlns:a16="http://schemas.microsoft.com/office/drawing/2014/main" id="{0294DF00-2230-4F69-8191-7DC7810F8ED4}"/>
                </a:ext>
              </a:extLst>
            </p:cNvPr>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5" name="Freeform 629">
              <a:extLst>
                <a:ext uri="{FF2B5EF4-FFF2-40B4-BE49-F238E27FC236}">
                  <a16:creationId xmlns:a16="http://schemas.microsoft.com/office/drawing/2014/main" id="{05C51CF1-148A-4256-80A1-9A2BEF6482CB}"/>
                </a:ext>
              </a:extLst>
            </p:cNvPr>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86" name="Group 365">
            <a:extLst>
              <a:ext uri="{FF2B5EF4-FFF2-40B4-BE49-F238E27FC236}">
                <a16:creationId xmlns:a16="http://schemas.microsoft.com/office/drawing/2014/main" id="{4D3D0A1A-1BAB-439E-98ED-0E534D7FC988}"/>
              </a:ext>
            </a:extLst>
          </p:cNvPr>
          <p:cNvGrpSpPr>
            <a:grpSpLocks noChangeAspect="1"/>
          </p:cNvGrpSpPr>
          <p:nvPr/>
        </p:nvGrpSpPr>
        <p:grpSpPr bwMode="auto">
          <a:xfrm>
            <a:off x="8739112" y="2520486"/>
            <a:ext cx="370763" cy="370763"/>
            <a:chOff x="1913" y="1186"/>
            <a:chExt cx="341" cy="341"/>
          </a:xfrm>
          <a:solidFill>
            <a:schemeClr val="accent4"/>
          </a:solidFill>
        </p:grpSpPr>
        <p:sp>
          <p:nvSpPr>
            <p:cNvPr id="387" name="Freeform 366">
              <a:extLst>
                <a:ext uri="{FF2B5EF4-FFF2-40B4-BE49-F238E27FC236}">
                  <a16:creationId xmlns:a16="http://schemas.microsoft.com/office/drawing/2014/main" id="{72A7DB17-3D47-4BE5-ABCC-25D0173AC5C1}"/>
                </a:ext>
              </a:extLst>
            </p:cNvPr>
            <p:cNvSpPr>
              <a:spLocks noEditPoints="1"/>
            </p:cNvSpPr>
            <p:nvPr/>
          </p:nvSpPr>
          <p:spPr bwMode="auto">
            <a:xfrm>
              <a:off x="1979" y="1250"/>
              <a:ext cx="209" cy="206"/>
            </a:xfrm>
            <a:custGeom>
              <a:avLst/>
              <a:gdLst>
                <a:gd name="T0" fmla="*/ 114 w 314"/>
                <a:gd name="T1" fmla="*/ 309 h 309"/>
                <a:gd name="T2" fmla="*/ 103 w 314"/>
                <a:gd name="T3" fmla="*/ 247 h 309"/>
                <a:gd name="T4" fmla="*/ 44 w 314"/>
                <a:gd name="T5" fmla="*/ 269 h 309"/>
                <a:gd name="T6" fmla="*/ 0 w 314"/>
                <a:gd name="T7" fmla="*/ 187 h 309"/>
                <a:gd name="T8" fmla="*/ 50 w 314"/>
                <a:gd name="T9" fmla="*/ 154 h 309"/>
                <a:gd name="T10" fmla="*/ 0 w 314"/>
                <a:gd name="T11" fmla="*/ 122 h 309"/>
                <a:gd name="T12" fmla="*/ 44 w 314"/>
                <a:gd name="T13" fmla="*/ 40 h 309"/>
                <a:gd name="T14" fmla="*/ 103 w 314"/>
                <a:gd name="T15" fmla="*/ 62 h 309"/>
                <a:gd name="T16" fmla="*/ 114 w 314"/>
                <a:gd name="T17" fmla="*/ 0 h 309"/>
                <a:gd name="T18" fmla="*/ 210 w 314"/>
                <a:gd name="T19" fmla="*/ 10 h 309"/>
                <a:gd name="T20" fmla="*/ 255 w 314"/>
                <a:gd name="T21" fmla="*/ 36 h 309"/>
                <a:gd name="T22" fmla="*/ 312 w 314"/>
                <a:gd name="T23" fmla="*/ 114 h 309"/>
                <a:gd name="T24" fmla="*/ 308 w 314"/>
                <a:gd name="T25" fmla="*/ 129 h 309"/>
                <a:gd name="T26" fmla="*/ 308 w 314"/>
                <a:gd name="T27" fmla="*/ 180 h 309"/>
                <a:gd name="T28" fmla="*/ 312 w 314"/>
                <a:gd name="T29" fmla="*/ 195 h 309"/>
                <a:gd name="T30" fmla="*/ 255 w 314"/>
                <a:gd name="T31" fmla="*/ 273 h 309"/>
                <a:gd name="T32" fmla="*/ 210 w 314"/>
                <a:gd name="T33" fmla="*/ 298 h 309"/>
                <a:gd name="T34" fmla="*/ 125 w 314"/>
                <a:gd name="T35" fmla="*/ 288 h 309"/>
                <a:gd name="T36" fmla="*/ 189 w 314"/>
                <a:gd name="T37" fmla="*/ 228 h 309"/>
                <a:gd name="T38" fmla="*/ 205 w 314"/>
                <a:gd name="T39" fmla="*/ 219 h 309"/>
                <a:gd name="T40" fmla="*/ 288 w 314"/>
                <a:gd name="T41" fmla="*/ 193 h 309"/>
                <a:gd name="T42" fmla="*/ 231 w 314"/>
                <a:gd name="T43" fmla="*/ 154 h 309"/>
                <a:gd name="T44" fmla="*/ 288 w 314"/>
                <a:gd name="T45" fmla="*/ 115 h 309"/>
                <a:gd name="T46" fmla="*/ 205 w 314"/>
                <a:gd name="T47" fmla="*/ 90 h 309"/>
                <a:gd name="T48" fmla="*/ 189 w 314"/>
                <a:gd name="T49" fmla="*/ 80 h 309"/>
                <a:gd name="T50" fmla="*/ 125 w 314"/>
                <a:gd name="T51" fmla="*/ 21 h 309"/>
                <a:gd name="T52" fmla="*/ 119 w 314"/>
                <a:gd name="T53" fmla="*/ 90 h 309"/>
                <a:gd name="T54" fmla="*/ 57 w 314"/>
                <a:gd name="T55" fmla="*/ 60 h 309"/>
                <a:gd name="T56" fmla="*/ 77 w 314"/>
                <a:gd name="T57" fmla="*/ 145 h 309"/>
                <a:gd name="T58" fmla="*/ 77 w 314"/>
                <a:gd name="T59" fmla="*/ 164 h 309"/>
                <a:gd name="T60" fmla="*/ 57 w 314"/>
                <a:gd name="T61" fmla="*/ 249 h 309"/>
                <a:gd name="T62" fmla="*/ 119 w 314"/>
                <a:gd name="T63" fmla="*/ 219 h 309"/>
                <a:gd name="T64" fmla="*/ 125 w 314"/>
                <a:gd name="T65"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09">
                  <a:moveTo>
                    <a:pt x="199" y="309"/>
                  </a:moveTo>
                  <a:cubicBezTo>
                    <a:pt x="114" y="309"/>
                    <a:pt x="114" y="309"/>
                    <a:pt x="114" y="309"/>
                  </a:cubicBezTo>
                  <a:cubicBezTo>
                    <a:pt x="108" y="309"/>
                    <a:pt x="103" y="304"/>
                    <a:pt x="103" y="298"/>
                  </a:cubicBezTo>
                  <a:cubicBezTo>
                    <a:pt x="103" y="247"/>
                    <a:pt x="103" y="247"/>
                    <a:pt x="103" y="247"/>
                  </a:cubicBezTo>
                  <a:cubicBezTo>
                    <a:pt x="59" y="273"/>
                    <a:pt x="59" y="273"/>
                    <a:pt x="59" y="273"/>
                  </a:cubicBezTo>
                  <a:cubicBezTo>
                    <a:pt x="54" y="275"/>
                    <a:pt x="47" y="274"/>
                    <a:pt x="44" y="269"/>
                  </a:cubicBezTo>
                  <a:cubicBezTo>
                    <a:pt x="1" y="195"/>
                    <a:pt x="1" y="195"/>
                    <a:pt x="1" y="195"/>
                  </a:cubicBezTo>
                  <a:cubicBezTo>
                    <a:pt x="0" y="192"/>
                    <a:pt x="0" y="189"/>
                    <a:pt x="0" y="187"/>
                  </a:cubicBezTo>
                  <a:cubicBezTo>
                    <a:pt x="1" y="184"/>
                    <a:pt x="3" y="182"/>
                    <a:pt x="5" y="180"/>
                  </a:cubicBezTo>
                  <a:cubicBezTo>
                    <a:pt x="50" y="154"/>
                    <a:pt x="50" y="154"/>
                    <a:pt x="50" y="154"/>
                  </a:cubicBezTo>
                  <a:cubicBezTo>
                    <a:pt x="5" y="129"/>
                    <a:pt x="5" y="129"/>
                    <a:pt x="5" y="129"/>
                  </a:cubicBezTo>
                  <a:cubicBezTo>
                    <a:pt x="3" y="127"/>
                    <a:pt x="1" y="125"/>
                    <a:pt x="0" y="122"/>
                  </a:cubicBezTo>
                  <a:cubicBezTo>
                    <a:pt x="0" y="119"/>
                    <a:pt x="0" y="116"/>
                    <a:pt x="1" y="114"/>
                  </a:cubicBezTo>
                  <a:cubicBezTo>
                    <a:pt x="44" y="40"/>
                    <a:pt x="44" y="40"/>
                    <a:pt x="44" y="40"/>
                  </a:cubicBezTo>
                  <a:cubicBezTo>
                    <a:pt x="47" y="35"/>
                    <a:pt x="54" y="33"/>
                    <a:pt x="59" y="36"/>
                  </a:cubicBezTo>
                  <a:cubicBezTo>
                    <a:pt x="103" y="62"/>
                    <a:pt x="103" y="62"/>
                    <a:pt x="103" y="62"/>
                  </a:cubicBezTo>
                  <a:cubicBezTo>
                    <a:pt x="103" y="10"/>
                    <a:pt x="103" y="10"/>
                    <a:pt x="103" y="10"/>
                  </a:cubicBezTo>
                  <a:cubicBezTo>
                    <a:pt x="103" y="4"/>
                    <a:pt x="108" y="0"/>
                    <a:pt x="114" y="0"/>
                  </a:cubicBezTo>
                  <a:cubicBezTo>
                    <a:pt x="199" y="0"/>
                    <a:pt x="199" y="0"/>
                    <a:pt x="199" y="0"/>
                  </a:cubicBezTo>
                  <a:cubicBezTo>
                    <a:pt x="205" y="0"/>
                    <a:pt x="210" y="4"/>
                    <a:pt x="210" y="10"/>
                  </a:cubicBezTo>
                  <a:cubicBezTo>
                    <a:pt x="210" y="62"/>
                    <a:pt x="210" y="62"/>
                    <a:pt x="210" y="62"/>
                  </a:cubicBezTo>
                  <a:cubicBezTo>
                    <a:pt x="255" y="36"/>
                    <a:pt x="255" y="36"/>
                    <a:pt x="255" y="36"/>
                  </a:cubicBezTo>
                  <a:cubicBezTo>
                    <a:pt x="260" y="33"/>
                    <a:pt x="266" y="35"/>
                    <a:pt x="269" y="40"/>
                  </a:cubicBezTo>
                  <a:cubicBezTo>
                    <a:pt x="312" y="114"/>
                    <a:pt x="312" y="114"/>
                    <a:pt x="312" y="114"/>
                  </a:cubicBezTo>
                  <a:cubicBezTo>
                    <a:pt x="313" y="116"/>
                    <a:pt x="314" y="119"/>
                    <a:pt x="313" y="122"/>
                  </a:cubicBezTo>
                  <a:cubicBezTo>
                    <a:pt x="312" y="125"/>
                    <a:pt x="310" y="127"/>
                    <a:pt x="308" y="129"/>
                  </a:cubicBezTo>
                  <a:cubicBezTo>
                    <a:pt x="263" y="154"/>
                    <a:pt x="263" y="154"/>
                    <a:pt x="263" y="154"/>
                  </a:cubicBezTo>
                  <a:cubicBezTo>
                    <a:pt x="308" y="180"/>
                    <a:pt x="308" y="180"/>
                    <a:pt x="308" y="180"/>
                  </a:cubicBezTo>
                  <a:cubicBezTo>
                    <a:pt x="310" y="182"/>
                    <a:pt x="312" y="184"/>
                    <a:pt x="313" y="187"/>
                  </a:cubicBezTo>
                  <a:cubicBezTo>
                    <a:pt x="314" y="189"/>
                    <a:pt x="313" y="192"/>
                    <a:pt x="312" y="195"/>
                  </a:cubicBezTo>
                  <a:cubicBezTo>
                    <a:pt x="269" y="269"/>
                    <a:pt x="269" y="269"/>
                    <a:pt x="269" y="269"/>
                  </a:cubicBezTo>
                  <a:cubicBezTo>
                    <a:pt x="266" y="274"/>
                    <a:pt x="260" y="275"/>
                    <a:pt x="255" y="273"/>
                  </a:cubicBezTo>
                  <a:cubicBezTo>
                    <a:pt x="210" y="247"/>
                    <a:pt x="210" y="247"/>
                    <a:pt x="210" y="247"/>
                  </a:cubicBezTo>
                  <a:cubicBezTo>
                    <a:pt x="210" y="298"/>
                    <a:pt x="210" y="298"/>
                    <a:pt x="210" y="298"/>
                  </a:cubicBezTo>
                  <a:cubicBezTo>
                    <a:pt x="210" y="304"/>
                    <a:pt x="205" y="309"/>
                    <a:pt x="199" y="309"/>
                  </a:cubicBezTo>
                  <a:close/>
                  <a:moveTo>
                    <a:pt x="125" y="288"/>
                  </a:moveTo>
                  <a:cubicBezTo>
                    <a:pt x="189" y="288"/>
                    <a:pt x="189" y="288"/>
                    <a:pt x="189" y="288"/>
                  </a:cubicBezTo>
                  <a:cubicBezTo>
                    <a:pt x="189" y="228"/>
                    <a:pt x="189" y="228"/>
                    <a:pt x="189" y="228"/>
                  </a:cubicBezTo>
                  <a:cubicBezTo>
                    <a:pt x="189" y="224"/>
                    <a:pt x="191" y="221"/>
                    <a:pt x="194" y="219"/>
                  </a:cubicBezTo>
                  <a:cubicBezTo>
                    <a:pt x="197" y="217"/>
                    <a:pt x="201" y="217"/>
                    <a:pt x="205" y="219"/>
                  </a:cubicBezTo>
                  <a:cubicBezTo>
                    <a:pt x="256" y="249"/>
                    <a:pt x="256" y="249"/>
                    <a:pt x="256" y="249"/>
                  </a:cubicBezTo>
                  <a:cubicBezTo>
                    <a:pt x="288" y="193"/>
                    <a:pt x="288" y="193"/>
                    <a:pt x="288" y="193"/>
                  </a:cubicBezTo>
                  <a:cubicBezTo>
                    <a:pt x="237" y="164"/>
                    <a:pt x="237" y="164"/>
                    <a:pt x="237" y="164"/>
                  </a:cubicBezTo>
                  <a:cubicBezTo>
                    <a:pt x="233" y="162"/>
                    <a:pt x="231" y="158"/>
                    <a:pt x="231" y="154"/>
                  </a:cubicBezTo>
                  <a:cubicBezTo>
                    <a:pt x="231" y="151"/>
                    <a:pt x="233" y="147"/>
                    <a:pt x="237" y="145"/>
                  </a:cubicBezTo>
                  <a:cubicBezTo>
                    <a:pt x="288" y="115"/>
                    <a:pt x="288" y="115"/>
                    <a:pt x="288" y="115"/>
                  </a:cubicBezTo>
                  <a:cubicBezTo>
                    <a:pt x="256" y="60"/>
                    <a:pt x="256" y="60"/>
                    <a:pt x="256" y="60"/>
                  </a:cubicBezTo>
                  <a:cubicBezTo>
                    <a:pt x="205" y="90"/>
                    <a:pt x="205" y="90"/>
                    <a:pt x="205" y="90"/>
                  </a:cubicBezTo>
                  <a:cubicBezTo>
                    <a:pt x="201" y="92"/>
                    <a:pt x="197" y="92"/>
                    <a:pt x="194" y="90"/>
                  </a:cubicBezTo>
                  <a:cubicBezTo>
                    <a:pt x="191" y="88"/>
                    <a:pt x="189" y="84"/>
                    <a:pt x="189" y="80"/>
                  </a:cubicBezTo>
                  <a:cubicBezTo>
                    <a:pt x="189" y="21"/>
                    <a:pt x="189" y="21"/>
                    <a:pt x="189" y="21"/>
                  </a:cubicBezTo>
                  <a:cubicBezTo>
                    <a:pt x="125" y="21"/>
                    <a:pt x="125" y="21"/>
                    <a:pt x="125" y="21"/>
                  </a:cubicBezTo>
                  <a:cubicBezTo>
                    <a:pt x="125" y="80"/>
                    <a:pt x="125" y="80"/>
                    <a:pt x="125" y="80"/>
                  </a:cubicBezTo>
                  <a:cubicBezTo>
                    <a:pt x="125" y="84"/>
                    <a:pt x="123" y="88"/>
                    <a:pt x="119" y="90"/>
                  </a:cubicBezTo>
                  <a:cubicBezTo>
                    <a:pt x="116" y="92"/>
                    <a:pt x="112" y="92"/>
                    <a:pt x="109" y="90"/>
                  </a:cubicBezTo>
                  <a:cubicBezTo>
                    <a:pt x="57" y="60"/>
                    <a:pt x="57" y="60"/>
                    <a:pt x="57" y="60"/>
                  </a:cubicBezTo>
                  <a:cubicBezTo>
                    <a:pt x="25" y="115"/>
                    <a:pt x="25" y="115"/>
                    <a:pt x="25" y="115"/>
                  </a:cubicBezTo>
                  <a:cubicBezTo>
                    <a:pt x="77" y="145"/>
                    <a:pt x="77" y="145"/>
                    <a:pt x="77" y="145"/>
                  </a:cubicBezTo>
                  <a:cubicBezTo>
                    <a:pt x="80" y="147"/>
                    <a:pt x="82" y="151"/>
                    <a:pt x="82" y="154"/>
                  </a:cubicBezTo>
                  <a:cubicBezTo>
                    <a:pt x="82" y="158"/>
                    <a:pt x="80" y="162"/>
                    <a:pt x="77" y="164"/>
                  </a:cubicBezTo>
                  <a:cubicBezTo>
                    <a:pt x="25" y="193"/>
                    <a:pt x="25" y="193"/>
                    <a:pt x="25" y="193"/>
                  </a:cubicBezTo>
                  <a:cubicBezTo>
                    <a:pt x="57" y="249"/>
                    <a:pt x="57" y="249"/>
                    <a:pt x="57" y="249"/>
                  </a:cubicBezTo>
                  <a:cubicBezTo>
                    <a:pt x="109" y="219"/>
                    <a:pt x="109" y="219"/>
                    <a:pt x="109" y="219"/>
                  </a:cubicBezTo>
                  <a:cubicBezTo>
                    <a:pt x="112" y="217"/>
                    <a:pt x="116" y="217"/>
                    <a:pt x="119" y="219"/>
                  </a:cubicBezTo>
                  <a:cubicBezTo>
                    <a:pt x="123" y="221"/>
                    <a:pt x="125" y="224"/>
                    <a:pt x="125" y="228"/>
                  </a:cubicBezTo>
                  <a:lnTo>
                    <a:pt x="125" y="2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8" name="Freeform 367">
              <a:extLst>
                <a:ext uri="{FF2B5EF4-FFF2-40B4-BE49-F238E27FC236}">
                  <a16:creationId xmlns:a16="http://schemas.microsoft.com/office/drawing/2014/main" id="{DED5C2B1-E2AE-4E06-8B50-56F15DED9F37}"/>
                </a:ext>
              </a:extLst>
            </p:cNvPr>
            <p:cNvSpPr>
              <a:spLocks noEditPoints="1"/>
            </p:cNvSpPr>
            <p:nvPr/>
          </p:nvSpPr>
          <p:spPr bwMode="auto">
            <a:xfrm>
              <a:off x="1913" y="1186"/>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9" name="Freeform 371">
            <a:extLst>
              <a:ext uri="{FF2B5EF4-FFF2-40B4-BE49-F238E27FC236}">
                <a16:creationId xmlns:a16="http://schemas.microsoft.com/office/drawing/2014/main" id="{02B3946B-6544-4A95-A3C1-7EC06D88A6E7}"/>
              </a:ext>
            </a:extLst>
          </p:cNvPr>
          <p:cNvSpPr>
            <a:spLocks noChangeAspect="1" noEditPoints="1"/>
          </p:cNvSpPr>
          <p:nvPr/>
        </p:nvSpPr>
        <p:spPr bwMode="auto">
          <a:xfrm>
            <a:off x="8303266" y="2520486"/>
            <a:ext cx="369676" cy="370763"/>
          </a:xfrm>
          <a:custGeom>
            <a:avLst/>
            <a:gdLst>
              <a:gd name="T0" fmla="*/ 387 w 512"/>
              <a:gd name="T1" fmla="*/ 211 h 512"/>
              <a:gd name="T2" fmla="*/ 330 w 512"/>
              <a:gd name="T3" fmla="*/ 250 h 512"/>
              <a:gd name="T4" fmla="*/ 387 w 512"/>
              <a:gd name="T5" fmla="*/ 289 h 512"/>
              <a:gd name="T6" fmla="*/ 304 w 512"/>
              <a:gd name="T7" fmla="*/ 315 h 512"/>
              <a:gd name="T8" fmla="*/ 288 w 512"/>
              <a:gd name="T9" fmla="*/ 324 h 512"/>
              <a:gd name="T10" fmla="*/ 224 w 512"/>
              <a:gd name="T11" fmla="*/ 384 h 512"/>
              <a:gd name="T12" fmla="*/ 218 w 512"/>
              <a:gd name="T13" fmla="*/ 315 h 512"/>
              <a:gd name="T14" fmla="*/ 156 w 512"/>
              <a:gd name="T15" fmla="*/ 345 h 512"/>
              <a:gd name="T16" fmla="*/ 176 w 512"/>
              <a:gd name="T17" fmla="*/ 260 h 512"/>
              <a:gd name="T18" fmla="*/ 176 w 512"/>
              <a:gd name="T19" fmla="*/ 241 h 512"/>
              <a:gd name="T20" fmla="*/ 156 w 512"/>
              <a:gd name="T21" fmla="*/ 156 h 512"/>
              <a:gd name="T22" fmla="*/ 218 w 512"/>
              <a:gd name="T23" fmla="*/ 186 h 512"/>
              <a:gd name="T24" fmla="*/ 224 w 512"/>
              <a:gd name="T25" fmla="*/ 117 h 512"/>
              <a:gd name="T26" fmla="*/ 288 w 512"/>
              <a:gd name="T27" fmla="*/ 176 h 512"/>
              <a:gd name="T28" fmla="*/ 304 w 512"/>
              <a:gd name="T29" fmla="*/ 186 h 512"/>
              <a:gd name="T30" fmla="*/ 512 w 512"/>
              <a:gd name="T31" fmla="*/ 256 h 512"/>
              <a:gd name="T32" fmla="*/ 0 w 512"/>
              <a:gd name="T33" fmla="*/ 256 h 512"/>
              <a:gd name="T34" fmla="*/ 512 w 512"/>
              <a:gd name="T35" fmla="*/ 256 h 512"/>
              <a:gd name="T36" fmla="*/ 407 w 512"/>
              <a:gd name="T37" fmla="*/ 225 h 512"/>
              <a:gd name="T38" fmla="*/ 411 w 512"/>
              <a:gd name="T39" fmla="*/ 210 h 512"/>
              <a:gd name="T40" fmla="*/ 354 w 512"/>
              <a:gd name="T41" fmla="*/ 132 h 512"/>
              <a:gd name="T42" fmla="*/ 309 w 512"/>
              <a:gd name="T43" fmla="*/ 106 h 512"/>
              <a:gd name="T44" fmla="*/ 213 w 512"/>
              <a:gd name="T45" fmla="*/ 96 h 512"/>
              <a:gd name="T46" fmla="*/ 202 w 512"/>
              <a:gd name="T47" fmla="*/ 158 h 512"/>
              <a:gd name="T48" fmla="*/ 143 w 512"/>
              <a:gd name="T49" fmla="*/ 136 h 512"/>
              <a:gd name="T50" fmla="*/ 99 w 512"/>
              <a:gd name="T51" fmla="*/ 218 h 512"/>
              <a:gd name="T52" fmla="*/ 149 w 512"/>
              <a:gd name="T53" fmla="*/ 250 h 512"/>
              <a:gd name="T54" fmla="*/ 99 w 512"/>
              <a:gd name="T55" fmla="*/ 283 h 512"/>
              <a:gd name="T56" fmla="*/ 143 w 512"/>
              <a:gd name="T57" fmla="*/ 365 h 512"/>
              <a:gd name="T58" fmla="*/ 202 w 512"/>
              <a:gd name="T59" fmla="*/ 343 h 512"/>
              <a:gd name="T60" fmla="*/ 213 w 512"/>
              <a:gd name="T61" fmla="*/ 405 h 512"/>
              <a:gd name="T62" fmla="*/ 309 w 512"/>
              <a:gd name="T63" fmla="*/ 394 h 512"/>
              <a:gd name="T64" fmla="*/ 354 w 512"/>
              <a:gd name="T65" fmla="*/ 369 h 512"/>
              <a:gd name="T66" fmla="*/ 411 w 512"/>
              <a:gd name="T67" fmla="*/ 291 h 512"/>
              <a:gd name="T68" fmla="*/ 407 w 512"/>
              <a:gd name="T69" fmla="*/ 2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55" y="156"/>
                </a:moveTo>
                <a:cubicBezTo>
                  <a:pt x="387" y="211"/>
                  <a:pt x="387" y="211"/>
                  <a:pt x="387" y="211"/>
                </a:cubicBezTo>
                <a:cubicBezTo>
                  <a:pt x="336" y="241"/>
                  <a:pt x="336" y="241"/>
                  <a:pt x="336" y="241"/>
                </a:cubicBezTo>
                <a:cubicBezTo>
                  <a:pt x="332" y="243"/>
                  <a:pt x="330" y="247"/>
                  <a:pt x="330" y="250"/>
                </a:cubicBezTo>
                <a:cubicBezTo>
                  <a:pt x="330" y="254"/>
                  <a:pt x="332" y="258"/>
                  <a:pt x="336" y="260"/>
                </a:cubicBezTo>
                <a:cubicBezTo>
                  <a:pt x="387" y="289"/>
                  <a:pt x="387" y="289"/>
                  <a:pt x="387" y="289"/>
                </a:cubicBezTo>
                <a:cubicBezTo>
                  <a:pt x="355" y="345"/>
                  <a:pt x="355" y="345"/>
                  <a:pt x="355" y="345"/>
                </a:cubicBezTo>
                <a:cubicBezTo>
                  <a:pt x="304" y="315"/>
                  <a:pt x="304" y="315"/>
                  <a:pt x="304" y="315"/>
                </a:cubicBezTo>
                <a:cubicBezTo>
                  <a:pt x="300" y="313"/>
                  <a:pt x="296" y="313"/>
                  <a:pt x="293" y="315"/>
                </a:cubicBezTo>
                <a:cubicBezTo>
                  <a:pt x="290" y="317"/>
                  <a:pt x="288" y="320"/>
                  <a:pt x="288" y="324"/>
                </a:cubicBezTo>
                <a:cubicBezTo>
                  <a:pt x="288" y="384"/>
                  <a:pt x="288" y="384"/>
                  <a:pt x="288" y="384"/>
                </a:cubicBezTo>
                <a:cubicBezTo>
                  <a:pt x="224" y="384"/>
                  <a:pt x="224" y="384"/>
                  <a:pt x="224" y="384"/>
                </a:cubicBezTo>
                <a:cubicBezTo>
                  <a:pt x="224" y="324"/>
                  <a:pt x="224" y="324"/>
                  <a:pt x="224" y="324"/>
                </a:cubicBezTo>
                <a:cubicBezTo>
                  <a:pt x="224" y="320"/>
                  <a:pt x="222" y="317"/>
                  <a:pt x="218" y="315"/>
                </a:cubicBezTo>
                <a:cubicBezTo>
                  <a:pt x="215" y="313"/>
                  <a:pt x="211" y="313"/>
                  <a:pt x="208" y="315"/>
                </a:cubicBezTo>
                <a:cubicBezTo>
                  <a:pt x="156" y="345"/>
                  <a:pt x="156" y="345"/>
                  <a:pt x="156" y="345"/>
                </a:cubicBezTo>
                <a:cubicBezTo>
                  <a:pt x="124" y="289"/>
                  <a:pt x="124" y="289"/>
                  <a:pt x="124" y="289"/>
                </a:cubicBezTo>
                <a:cubicBezTo>
                  <a:pt x="176" y="260"/>
                  <a:pt x="176" y="260"/>
                  <a:pt x="176" y="260"/>
                </a:cubicBezTo>
                <a:cubicBezTo>
                  <a:pt x="179" y="258"/>
                  <a:pt x="181" y="254"/>
                  <a:pt x="181" y="250"/>
                </a:cubicBezTo>
                <a:cubicBezTo>
                  <a:pt x="181" y="247"/>
                  <a:pt x="179" y="243"/>
                  <a:pt x="176" y="241"/>
                </a:cubicBezTo>
                <a:cubicBezTo>
                  <a:pt x="124" y="211"/>
                  <a:pt x="124" y="211"/>
                  <a:pt x="124" y="211"/>
                </a:cubicBezTo>
                <a:cubicBezTo>
                  <a:pt x="156" y="156"/>
                  <a:pt x="156" y="156"/>
                  <a:pt x="156" y="156"/>
                </a:cubicBezTo>
                <a:cubicBezTo>
                  <a:pt x="208" y="186"/>
                  <a:pt x="208" y="186"/>
                  <a:pt x="208" y="186"/>
                </a:cubicBezTo>
                <a:cubicBezTo>
                  <a:pt x="211" y="188"/>
                  <a:pt x="215" y="188"/>
                  <a:pt x="218" y="186"/>
                </a:cubicBezTo>
                <a:cubicBezTo>
                  <a:pt x="222" y="184"/>
                  <a:pt x="224" y="180"/>
                  <a:pt x="224" y="176"/>
                </a:cubicBezTo>
                <a:cubicBezTo>
                  <a:pt x="224" y="117"/>
                  <a:pt x="224" y="117"/>
                  <a:pt x="224" y="117"/>
                </a:cubicBezTo>
                <a:cubicBezTo>
                  <a:pt x="288" y="117"/>
                  <a:pt x="288" y="117"/>
                  <a:pt x="288" y="117"/>
                </a:cubicBezTo>
                <a:cubicBezTo>
                  <a:pt x="288" y="176"/>
                  <a:pt x="288" y="176"/>
                  <a:pt x="288" y="176"/>
                </a:cubicBezTo>
                <a:cubicBezTo>
                  <a:pt x="288" y="180"/>
                  <a:pt x="290" y="184"/>
                  <a:pt x="293" y="186"/>
                </a:cubicBezTo>
                <a:cubicBezTo>
                  <a:pt x="296" y="188"/>
                  <a:pt x="300" y="188"/>
                  <a:pt x="304" y="186"/>
                </a:cubicBezTo>
                <a:lnTo>
                  <a:pt x="355" y="1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250"/>
                </a:moveTo>
                <a:cubicBezTo>
                  <a:pt x="407" y="225"/>
                  <a:pt x="407" y="225"/>
                  <a:pt x="407" y="225"/>
                </a:cubicBezTo>
                <a:cubicBezTo>
                  <a:pt x="409" y="223"/>
                  <a:pt x="411" y="221"/>
                  <a:pt x="412" y="218"/>
                </a:cubicBezTo>
                <a:cubicBezTo>
                  <a:pt x="413" y="215"/>
                  <a:pt x="412" y="212"/>
                  <a:pt x="411" y="210"/>
                </a:cubicBezTo>
                <a:cubicBezTo>
                  <a:pt x="368" y="136"/>
                  <a:pt x="368" y="136"/>
                  <a:pt x="368" y="136"/>
                </a:cubicBezTo>
                <a:cubicBezTo>
                  <a:pt x="365" y="131"/>
                  <a:pt x="359" y="129"/>
                  <a:pt x="354" y="132"/>
                </a:cubicBezTo>
                <a:cubicBezTo>
                  <a:pt x="309" y="158"/>
                  <a:pt x="309" y="158"/>
                  <a:pt x="309" y="158"/>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58"/>
                  <a:pt x="202" y="158"/>
                  <a:pt x="202" y="158"/>
                </a:cubicBezTo>
                <a:cubicBezTo>
                  <a:pt x="158" y="132"/>
                  <a:pt x="158" y="132"/>
                  <a:pt x="158" y="132"/>
                </a:cubicBezTo>
                <a:cubicBezTo>
                  <a:pt x="153" y="129"/>
                  <a:pt x="146" y="131"/>
                  <a:pt x="143" y="136"/>
                </a:cubicBezTo>
                <a:cubicBezTo>
                  <a:pt x="100" y="210"/>
                  <a:pt x="100" y="210"/>
                  <a:pt x="100" y="210"/>
                </a:cubicBezTo>
                <a:cubicBezTo>
                  <a:pt x="99" y="212"/>
                  <a:pt x="99" y="215"/>
                  <a:pt x="99" y="218"/>
                </a:cubicBezTo>
                <a:cubicBezTo>
                  <a:pt x="100" y="221"/>
                  <a:pt x="102" y="223"/>
                  <a:pt x="104" y="225"/>
                </a:cubicBezTo>
                <a:cubicBezTo>
                  <a:pt x="149" y="250"/>
                  <a:pt x="149" y="250"/>
                  <a:pt x="149" y="250"/>
                </a:cubicBezTo>
                <a:cubicBezTo>
                  <a:pt x="104" y="276"/>
                  <a:pt x="104" y="276"/>
                  <a:pt x="104" y="276"/>
                </a:cubicBezTo>
                <a:cubicBezTo>
                  <a:pt x="102" y="278"/>
                  <a:pt x="100" y="280"/>
                  <a:pt x="99" y="283"/>
                </a:cubicBezTo>
                <a:cubicBezTo>
                  <a:pt x="99" y="285"/>
                  <a:pt x="99" y="288"/>
                  <a:pt x="100" y="291"/>
                </a:cubicBezTo>
                <a:cubicBezTo>
                  <a:pt x="143" y="365"/>
                  <a:pt x="143" y="365"/>
                  <a:pt x="143" y="365"/>
                </a:cubicBezTo>
                <a:cubicBezTo>
                  <a:pt x="146" y="370"/>
                  <a:pt x="153" y="371"/>
                  <a:pt x="158" y="369"/>
                </a:cubicBezTo>
                <a:cubicBezTo>
                  <a:pt x="202" y="343"/>
                  <a:pt x="202" y="343"/>
                  <a:pt x="202" y="343"/>
                </a:cubicBezTo>
                <a:cubicBezTo>
                  <a:pt x="202" y="394"/>
                  <a:pt x="202" y="394"/>
                  <a:pt x="202" y="394"/>
                </a:cubicBezTo>
                <a:cubicBezTo>
                  <a:pt x="202" y="400"/>
                  <a:pt x="207" y="405"/>
                  <a:pt x="213" y="405"/>
                </a:cubicBezTo>
                <a:cubicBezTo>
                  <a:pt x="298" y="405"/>
                  <a:pt x="298" y="405"/>
                  <a:pt x="298" y="405"/>
                </a:cubicBezTo>
                <a:cubicBezTo>
                  <a:pt x="304" y="405"/>
                  <a:pt x="309" y="400"/>
                  <a:pt x="309" y="394"/>
                </a:cubicBezTo>
                <a:cubicBezTo>
                  <a:pt x="309" y="343"/>
                  <a:pt x="309" y="343"/>
                  <a:pt x="309" y="343"/>
                </a:cubicBezTo>
                <a:cubicBezTo>
                  <a:pt x="354" y="369"/>
                  <a:pt x="354" y="369"/>
                  <a:pt x="354" y="369"/>
                </a:cubicBezTo>
                <a:cubicBezTo>
                  <a:pt x="359" y="371"/>
                  <a:pt x="365" y="370"/>
                  <a:pt x="368" y="365"/>
                </a:cubicBezTo>
                <a:cubicBezTo>
                  <a:pt x="411" y="291"/>
                  <a:pt x="411" y="291"/>
                  <a:pt x="411" y="291"/>
                </a:cubicBezTo>
                <a:cubicBezTo>
                  <a:pt x="412" y="288"/>
                  <a:pt x="413" y="285"/>
                  <a:pt x="412" y="283"/>
                </a:cubicBezTo>
                <a:cubicBezTo>
                  <a:pt x="411" y="280"/>
                  <a:pt x="409" y="278"/>
                  <a:pt x="407" y="276"/>
                </a:cubicBezTo>
                <a:lnTo>
                  <a:pt x="362" y="25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90" name="Group 324">
            <a:extLst>
              <a:ext uri="{FF2B5EF4-FFF2-40B4-BE49-F238E27FC236}">
                <a16:creationId xmlns:a16="http://schemas.microsoft.com/office/drawing/2014/main" id="{60E1A8E8-3B5E-4D0B-97E7-9D32CB17806A}"/>
              </a:ext>
            </a:extLst>
          </p:cNvPr>
          <p:cNvGrpSpPr>
            <a:grpSpLocks noChangeAspect="1"/>
          </p:cNvGrpSpPr>
          <p:nvPr/>
        </p:nvGrpSpPr>
        <p:grpSpPr bwMode="auto">
          <a:xfrm>
            <a:off x="9176045" y="2523129"/>
            <a:ext cx="367041" cy="368120"/>
            <a:chOff x="3562" y="1749"/>
            <a:chExt cx="340" cy="341"/>
          </a:xfrm>
          <a:solidFill>
            <a:schemeClr val="accent4"/>
          </a:solidFill>
        </p:grpSpPr>
        <p:sp>
          <p:nvSpPr>
            <p:cNvPr id="391" name="Freeform 325">
              <a:extLst>
                <a:ext uri="{FF2B5EF4-FFF2-40B4-BE49-F238E27FC236}">
                  <a16:creationId xmlns:a16="http://schemas.microsoft.com/office/drawing/2014/main" id="{6A008E42-3D14-486E-9B37-2C3E33A06382}"/>
                </a:ext>
              </a:extLst>
            </p:cNvPr>
            <p:cNvSpPr>
              <a:spLocks noEditPoints="1"/>
            </p:cNvSpPr>
            <p:nvPr/>
          </p:nvSpPr>
          <p:spPr bwMode="auto">
            <a:xfrm>
              <a:off x="3654" y="1828"/>
              <a:ext cx="156" cy="170"/>
            </a:xfrm>
            <a:custGeom>
              <a:avLst/>
              <a:gdLst>
                <a:gd name="T0" fmla="*/ 170 w 234"/>
                <a:gd name="T1" fmla="*/ 0 h 256"/>
                <a:gd name="T2" fmla="*/ 64 w 234"/>
                <a:gd name="T3" fmla="*/ 53 h 256"/>
                <a:gd name="T4" fmla="*/ 0 w 234"/>
                <a:gd name="T5" fmla="*/ 64 h 256"/>
                <a:gd name="T6" fmla="*/ 64 w 234"/>
                <a:gd name="T7" fmla="*/ 256 h 256"/>
                <a:gd name="T8" fmla="*/ 74 w 234"/>
                <a:gd name="T9" fmla="*/ 170 h 256"/>
                <a:gd name="T10" fmla="*/ 170 w 234"/>
                <a:gd name="T11" fmla="*/ 181 h 256"/>
                <a:gd name="T12" fmla="*/ 234 w 234"/>
                <a:gd name="T13" fmla="*/ 256 h 256"/>
                <a:gd name="T14" fmla="*/ 181 w 234"/>
                <a:gd name="T15" fmla="*/ 64 h 256"/>
                <a:gd name="T16" fmla="*/ 32 w 234"/>
                <a:gd name="T17" fmla="*/ 234 h 256"/>
                <a:gd name="T18" fmla="*/ 32 w 234"/>
                <a:gd name="T19" fmla="*/ 213 h 256"/>
                <a:gd name="T20" fmla="*/ 32 w 234"/>
                <a:gd name="T21" fmla="*/ 234 h 256"/>
                <a:gd name="T22" fmla="*/ 21 w 234"/>
                <a:gd name="T23" fmla="*/ 181 h 256"/>
                <a:gd name="T24" fmla="*/ 42 w 234"/>
                <a:gd name="T25" fmla="*/ 181 h 256"/>
                <a:gd name="T26" fmla="*/ 32 w 234"/>
                <a:gd name="T27" fmla="*/ 149 h 256"/>
                <a:gd name="T28" fmla="*/ 32 w 234"/>
                <a:gd name="T29" fmla="*/ 128 h 256"/>
                <a:gd name="T30" fmla="*/ 32 w 234"/>
                <a:gd name="T31" fmla="*/ 149 h 256"/>
                <a:gd name="T32" fmla="*/ 21 w 234"/>
                <a:gd name="T33" fmla="*/ 96 h 256"/>
                <a:gd name="T34" fmla="*/ 42 w 234"/>
                <a:gd name="T35" fmla="*/ 96 h 256"/>
                <a:gd name="T36" fmla="*/ 74 w 234"/>
                <a:gd name="T37" fmla="*/ 149 h 256"/>
                <a:gd name="T38" fmla="*/ 74 w 234"/>
                <a:gd name="T39" fmla="*/ 128 h 256"/>
                <a:gd name="T40" fmla="*/ 74 w 234"/>
                <a:gd name="T41" fmla="*/ 149 h 256"/>
                <a:gd name="T42" fmla="*/ 64 w 234"/>
                <a:gd name="T43" fmla="*/ 96 h 256"/>
                <a:gd name="T44" fmla="*/ 85 w 234"/>
                <a:gd name="T45" fmla="*/ 96 h 256"/>
                <a:gd name="T46" fmla="*/ 117 w 234"/>
                <a:gd name="T47" fmla="*/ 149 h 256"/>
                <a:gd name="T48" fmla="*/ 117 w 234"/>
                <a:gd name="T49" fmla="*/ 128 h 256"/>
                <a:gd name="T50" fmla="*/ 117 w 234"/>
                <a:gd name="T51" fmla="*/ 149 h 256"/>
                <a:gd name="T52" fmla="*/ 128 w 234"/>
                <a:gd name="T53" fmla="*/ 64 h 256"/>
                <a:gd name="T54" fmla="*/ 117 w 234"/>
                <a:gd name="T55" fmla="*/ 85 h 256"/>
                <a:gd name="T56" fmla="*/ 106 w 234"/>
                <a:gd name="T57" fmla="*/ 64 h 256"/>
                <a:gd name="T58" fmla="*/ 85 w 234"/>
                <a:gd name="T59" fmla="*/ 53 h 256"/>
                <a:gd name="T60" fmla="*/ 106 w 234"/>
                <a:gd name="T61" fmla="*/ 42 h 256"/>
                <a:gd name="T62" fmla="*/ 117 w 234"/>
                <a:gd name="T63" fmla="*/ 21 h 256"/>
                <a:gd name="T64" fmla="*/ 128 w 234"/>
                <a:gd name="T65" fmla="*/ 42 h 256"/>
                <a:gd name="T66" fmla="*/ 149 w 234"/>
                <a:gd name="T67" fmla="*/ 53 h 256"/>
                <a:gd name="T68" fmla="*/ 160 w 234"/>
                <a:gd name="T69" fmla="*/ 149 h 256"/>
                <a:gd name="T70" fmla="*/ 160 w 234"/>
                <a:gd name="T71" fmla="*/ 128 h 256"/>
                <a:gd name="T72" fmla="*/ 160 w 234"/>
                <a:gd name="T73" fmla="*/ 149 h 256"/>
                <a:gd name="T74" fmla="*/ 149 w 234"/>
                <a:gd name="T75" fmla="*/ 96 h 256"/>
                <a:gd name="T76" fmla="*/ 170 w 234"/>
                <a:gd name="T77" fmla="*/ 96 h 256"/>
                <a:gd name="T78" fmla="*/ 202 w 234"/>
                <a:gd name="T79" fmla="*/ 85 h 256"/>
                <a:gd name="T80" fmla="*/ 202 w 234"/>
                <a:gd name="T81" fmla="*/ 106 h 256"/>
                <a:gd name="T82" fmla="*/ 202 w 234"/>
                <a:gd name="T83" fmla="*/ 85 h 256"/>
                <a:gd name="T84" fmla="*/ 213 w 234"/>
                <a:gd name="T85" fmla="*/ 138 h 256"/>
                <a:gd name="T86" fmla="*/ 192 w 234"/>
                <a:gd name="T87" fmla="*/ 138 h 256"/>
                <a:gd name="T88" fmla="*/ 202 w 234"/>
                <a:gd name="T89" fmla="*/ 170 h 256"/>
                <a:gd name="T90" fmla="*/ 202 w 234"/>
                <a:gd name="T91" fmla="*/ 192 h 256"/>
                <a:gd name="T92" fmla="*/ 202 w 234"/>
                <a:gd name="T93" fmla="*/ 170 h 256"/>
                <a:gd name="T94" fmla="*/ 213 w 234"/>
                <a:gd name="T95" fmla="*/ 224 h 256"/>
                <a:gd name="T96" fmla="*/ 192 w 234"/>
                <a:gd name="T97"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4" h="256">
                  <a:moveTo>
                    <a:pt x="170" y="53"/>
                  </a:moveTo>
                  <a:cubicBezTo>
                    <a:pt x="170" y="0"/>
                    <a:pt x="170" y="0"/>
                    <a:pt x="170" y="0"/>
                  </a:cubicBezTo>
                  <a:cubicBezTo>
                    <a:pt x="64" y="0"/>
                    <a:pt x="64" y="0"/>
                    <a:pt x="64" y="0"/>
                  </a:cubicBezTo>
                  <a:cubicBezTo>
                    <a:pt x="64" y="53"/>
                    <a:pt x="64" y="53"/>
                    <a:pt x="64" y="53"/>
                  </a:cubicBezTo>
                  <a:cubicBezTo>
                    <a:pt x="64" y="59"/>
                    <a:pt x="59" y="64"/>
                    <a:pt x="53" y="64"/>
                  </a:cubicBezTo>
                  <a:cubicBezTo>
                    <a:pt x="0" y="64"/>
                    <a:pt x="0" y="64"/>
                    <a:pt x="0" y="64"/>
                  </a:cubicBezTo>
                  <a:cubicBezTo>
                    <a:pt x="0" y="256"/>
                    <a:pt x="0" y="256"/>
                    <a:pt x="0" y="256"/>
                  </a:cubicBezTo>
                  <a:cubicBezTo>
                    <a:pt x="64" y="256"/>
                    <a:pt x="64" y="256"/>
                    <a:pt x="64" y="256"/>
                  </a:cubicBezTo>
                  <a:cubicBezTo>
                    <a:pt x="64" y="181"/>
                    <a:pt x="64" y="181"/>
                    <a:pt x="64" y="181"/>
                  </a:cubicBezTo>
                  <a:cubicBezTo>
                    <a:pt x="64" y="175"/>
                    <a:pt x="68" y="170"/>
                    <a:pt x="74" y="170"/>
                  </a:cubicBezTo>
                  <a:cubicBezTo>
                    <a:pt x="160" y="170"/>
                    <a:pt x="160" y="170"/>
                    <a:pt x="160" y="170"/>
                  </a:cubicBezTo>
                  <a:cubicBezTo>
                    <a:pt x="166" y="170"/>
                    <a:pt x="170" y="175"/>
                    <a:pt x="170" y="181"/>
                  </a:cubicBezTo>
                  <a:cubicBezTo>
                    <a:pt x="170" y="256"/>
                    <a:pt x="170" y="256"/>
                    <a:pt x="170" y="256"/>
                  </a:cubicBezTo>
                  <a:cubicBezTo>
                    <a:pt x="234" y="256"/>
                    <a:pt x="234" y="256"/>
                    <a:pt x="234" y="256"/>
                  </a:cubicBezTo>
                  <a:cubicBezTo>
                    <a:pt x="234" y="64"/>
                    <a:pt x="234" y="64"/>
                    <a:pt x="234" y="64"/>
                  </a:cubicBezTo>
                  <a:cubicBezTo>
                    <a:pt x="181" y="64"/>
                    <a:pt x="181" y="64"/>
                    <a:pt x="181" y="64"/>
                  </a:cubicBezTo>
                  <a:cubicBezTo>
                    <a:pt x="175" y="64"/>
                    <a:pt x="170" y="59"/>
                    <a:pt x="170" y="53"/>
                  </a:cubicBezTo>
                  <a:close/>
                  <a:moveTo>
                    <a:pt x="32" y="234"/>
                  </a:moveTo>
                  <a:cubicBezTo>
                    <a:pt x="26" y="234"/>
                    <a:pt x="21" y="230"/>
                    <a:pt x="21" y="224"/>
                  </a:cubicBezTo>
                  <a:cubicBezTo>
                    <a:pt x="21" y="218"/>
                    <a:pt x="26" y="213"/>
                    <a:pt x="32" y="213"/>
                  </a:cubicBezTo>
                  <a:cubicBezTo>
                    <a:pt x="38" y="213"/>
                    <a:pt x="42" y="218"/>
                    <a:pt x="42" y="224"/>
                  </a:cubicBezTo>
                  <a:cubicBezTo>
                    <a:pt x="42" y="230"/>
                    <a:pt x="38" y="234"/>
                    <a:pt x="32" y="234"/>
                  </a:cubicBezTo>
                  <a:close/>
                  <a:moveTo>
                    <a:pt x="32" y="192"/>
                  </a:moveTo>
                  <a:cubicBezTo>
                    <a:pt x="26" y="192"/>
                    <a:pt x="21" y="187"/>
                    <a:pt x="21" y="181"/>
                  </a:cubicBezTo>
                  <a:cubicBezTo>
                    <a:pt x="21" y="175"/>
                    <a:pt x="26" y="170"/>
                    <a:pt x="32" y="170"/>
                  </a:cubicBezTo>
                  <a:cubicBezTo>
                    <a:pt x="38" y="170"/>
                    <a:pt x="42" y="175"/>
                    <a:pt x="42" y="181"/>
                  </a:cubicBezTo>
                  <a:cubicBezTo>
                    <a:pt x="42" y="187"/>
                    <a:pt x="38" y="192"/>
                    <a:pt x="32" y="192"/>
                  </a:cubicBezTo>
                  <a:close/>
                  <a:moveTo>
                    <a:pt x="32" y="149"/>
                  </a:moveTo>
                  <a:cubicBezTo>
                    <a:pt x="26" y="149"/>
                    <a:pt x="21" y="144"/>
                    <a:pt x="21" y="138"/>
                  </a:cubicBezTo>
                  <a:cubicBezTo>
                    <a:pt x="21" y="132"/>
                    <a:pt x="26" y="128"/>
                    <a:pt x="32" y="128"/>
                  </a:cubicBezTo>
                  <a:cubicBezTo>
                    <a:pt x="38" y="128"/>
                    <a:pt x="42" y="132"/>
                    <a:pt x="42" y="138"/>
                  </a:cubicBezTo>
                  <a:cubicBezTo>
                    <a:pt x="42" y="144"/>
                    <a:pt x="38" y="149"/>
                    <a:pt x="32" y="149"/>
                  </a:cubicBez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74" y="149"/>
                  </a:moveTo>
                  <a:cubicBezTo>
                    <a:pt x="68" y="149"/>
                    <a:pt x="64" y="144"/>
                    <a:pt x="64" y="138"/>
                  </a:cubicBezTo>
                  <a:cubicBezTo>
                    <a:pt x="64" y="132"/>
                    <a:pt x="68" y="128"/>
                    <a:pt x="74" y="128"/>
                  </a:cubicBezTo>
                  <a:cubicBezTo>
                    <a:pt x="80" y="128"/>
                    <a:pt x="85" y="132"/>
                    <a:pt x="85" y="138"/>
                  </a:cubicBezTo>
                  <a:cubicBezTo>
                    <a:pt x="85" y="144"/>
                    <a:pt x="80" y="149"/>
                    <a:pt x="74" y="149"/>
                  </a:cubicBezTo>
                  <a:close/>
                  <a:moveTo>
                    <a:pt x="74" y="106"/>
                  </a:moveTo>
                  <a:cubicBezTo>
                    <a:pt x="68" y="106"/>
                    <a:pt x="64" y="102"/>
                    <a:pt x="64" y="96"/>
                  </a:cubicBezTo>
                  <a:cubicBezTo>
                    <a:pt x="64" y="90"/>
                    <a:pt x="68" y="85"/>
                    <a:pt x="74" y="85"/>
                  </a:cubicBezTo>
                  <a:cubicBezTo>
                    <a:pt x="80" y="85"/>
                    <a:pt x="85" y="90"/>
                    <a:pt x="85" y="96"/>
                  </a:cubicBezTo>
                  <a:cubicBezTo>
                    <a:pt x="85" y="102"/>
                    <a:pt x="80" y="106"/>
                    <a:pt x="74" y="106"/>
                  </a:cubicBezTo>
                  <a:close/>
                  <a:moveTo>
                    <a:pt x="117" y="149"/>
                  </a:moveTo>
                  <a:cubicBezTo>
                    <a:pt x="111" y="149"/>
                    <a:pt x="106" y="144"/>
                    <a:pt x="106" y="138"/>
                  </a:cubicBezTo>
                  <a:cubicBezTo>
                    <a:pt x="106" y="132"/>
                    <a:pt x="111" y="128"/>
                    <a:pt x="117" y="128"/>
                  </a:cubicBezTo>
                  <a:cubicBezTo>
                    <a:pt x="123" y="128"/>
                    <a:pt x="128" y="132"/>
                    <a:pt x="128" y="138"/>
                  </a:cubicBezTo>
                  <a:cubicBezTo>
                    <a:pt x="128" y="144"/>
                    <a:pt x="123" y="149"/>
                    <a:pt x="117" y="149"/>
                  </a:cubicBezTo>
                  <a:close/>
                  <a:moveTo>
                    <a:pt x="138" y="64"/>
                  </a:moveTo>
                  <a:cubicBezTo>
                    <a:pt x="128" y="64"/>
                    <a:pt x="128" y="64"/>
                    <a:pt x="128" y="64"/>
                  </a:cubicBezTo>
                  <a:cubicBezTo>
                    <a:pt x="128" y="74"/>
                    <a:pt x="128" y="74"/>
                    <a:pt x="128" y="74"/>
                  </a:cubicBezTo>
                  <a:cubicBezTo>
                    <a:pt x="128" y="80"/>
                    <a:pt x="123" y="85"/>
                    <a:pt x="117" y="85"/>
                  </a:cubicBezTo>
                  <a:cubicBezTo>
                    <a:pt x="111" y="85"/>
                    <a:pt x="106" y="80"/>
                    <a:pt x="106" y="74"/>
                  </a:cubicBezTo>
                  <a:cubicBezTo>
                    <a:pt x="106" y="64"/>
                    <a:pt x="106" y="64"/>
                    <a:pt x="106" y="64"/>
                  </a:cubicBezTo>
                  <a:cubicBezTo>
                    <a:pt x="96" y="64"/>
                    <a:pt x="96" y="64"/>
                    <a:pt x="96" y="64"/>
                  </a:cubicBezTo>
                  <a:cubicBezTo>
                    <a:pt x="90" y="64"/>
                    <a:pt x="85" y="59"/>
                    <a:pt x="85" y="53"/>
                  </a:cubicBezTo>
                  <a:cubicBezTo>
                    <a:pt x="85" y="47"/>
                    <a:pt x="90" y="42"/>
                    <a:pt x="96" y="42"/>
                  </a:cubicBezTo>
                  <a:cubicBezTo>
                    <a:pt x="106" y="42"/>
                    <a:pt x="106" y="42"/>
                    <a:pt x="106" y="42"/>
                  </a:cubicBezTo>
                  <a:cubicBezTo>
                    <a:pt x="106" y="32"/>
                    <a:pt x="106" y="32"/>
                    <a:pt x="106" y="32"/>
                  </a:cubicBezTo>
                  <a:cubicBezTo>
                    <a:pt x="106" y="26"/>
                    <a:pt x="111" y="21"/>
                    <a:pt x="117" y="21"/>
                  </a:cubicBezTo>
                  <a:cubicBezTo>
                    <a:pt x="123" y="21"/>
                    <a:pt x="128" y="26"/>
                    <a:pt x="128" y="32"/>
                  </a:cubicBezTo>
                  <a:cubicBezTo>
                    <a:pt x="128" y="42"/>
                    <a:pt x="128" y="42"/>
                    <a:pt x="128" y="42"/>
                  </a:cubicBezTo>
                  <a:cubicBezTo>
                    <a:pt x="138" y="42"/>
                    <a:pt x="138" y="42"/>
                    <a:pt x="138" y="42"/>
                  </a:cubicBezTo>
                  <a:cubicBezTo>
                    <a:pt x="144" y="42"/>
                    <a:pt x="149" y="47"/>
                    <a:pt x="149" y="53"/>
                  </a:cubicBezTo>
                  <a:cubicBezTo>
                    <a:pt x="149" y="59"/>
                    <a:pt x="144" y="64"/>
                    <a:pt x="138" y="64"/>
                  </a:cubicBezTo>
                  <a:close/>
                  <a:moveTo>
                    <a:pt x="160" y="149"/>
                  </a:moveTo>
                  <a:cubicBezTo>
                    <a:pt x="154" y="149"/>
                    <a:pt x="149" y="144"/>
                    <a:pt x="149" y="138"/>
                  </a:cubicBezTo>
                  <a:cubicBezTo>
                    <a:pt x="149" y="132"/>
                    <a:pt x="154" y="128"/>
                    <a:pt x="160" y="128"/>
                  </a:cubicBezTo>
                  <a:cubicBezTo>
                    <a:pt x="166" y="128"/>
                    <a:pt x="170" y="132"/>
                    <a:pt x="170" y="138"/>
                  </a:cubicBezTo>
                  <a:cubicBezTo>
                    <a:pt x="170" y="144"/>
                    <a:pt x="166" y="149"/>
                    <a:pt x="160" y="149"/>
                  </a:cubicBezTo>
                  <a:close/>
                  <a:moveTo>
                    <a:pt x="160" y="106"/>
                  </a:moveTo>
                  <a:cubicBezTo>
                    <a:pt x="154" y="106"/>
                    <a:pt x="149" y="102"/>
                    <a:pt x="149" y="96"/>
                  </a:cubicBezTo>
                  <a:cubicBezTo>
                    <a:pt x="149" y="90"/>
                    <a:pt x="154" y="85"/>
                    <a:pt x="160" y="85"/>
                  </a:cubicBezTo>
                  <a:cubicBezTo>
                    <a:pt x="166" y="85"/>
                    <a:pt x="170" y="90"/>
                    <a:pt x="170" y="96"/>
                  </a:cubicBezTo>
                  <a:cubicBezTo>
                    <a:pt x="170" y="102"/>
                    <a:pt x="166" y="106"/>
                    <a:pt x="160" y="106"/>
                  </a:cubicBezTo>
                  <a:close/>
                  <a:moveTo>
                    <a:pt x="202" y="85"/>
                  </a:moveTo>
                  <a:cubicBezTo>
                    <a:pt x="208" y="85"/>
                    <a:pt x="213" y="90"/>
                    <a:pt x="213" y="96"/>
                  </a:cubicBezTo>
                  <a:cubicBezTo>
                    <a:pt x="213" y="102"/>
                    <a:pt x="208" y="106"/>
                    <a:pt x="202" y="106"/>
                  </a:cubicBezTo>
                  <a:cubicBezTo>
                    <a:pt x="196" y="106"/>
                    <a:pt x="192" y="102"/>
                    <a:pt x="192" y="96"/>
                  </a:cubicBezTo>
                  <a:cubicBezTo>
                    <a:pt x="192" y="90"/>
                    <a:pt x="196" y="85"/>
                    <a:pt x="202" y="85"/>
                  </a:cubicBezTo>
                  <a:close/>
                  <a:moveTo>
                    <a:pt x="202" y="128"/>
                  </a:moveTo>
                  <a:cubicBezTo>
                    <a:pt x="208" y="128"/>
                    <a:pt x="213" y="132"/>
                    <a:pt x="213" y="138"/>
                  </a:cubicBezTo>
                  <a:cubicBezTo>
                    <a:pt x="213" y="144"/>
                    <a:pt x="208" y="149"/>
                    <a:pt x="202" y="149"/>
                  </a:cubicBezTo>
                  <a:cubicBezTo>
                    <a:pt x="196" y="149"/>
                    <a:pt x="192" y="144"/>
                    <a:pt x="192" y="138"/>
                  </a:cubicBezTo>
                  <a:cubicBezTo>
                    <a:pt x="192" y="132"/>
                    <a:pt x="196" y="128"/>
                    <a:pt x="202" y="128"/>
                  </a:cubicBezTo>
                  <a:close/>
                  <a:moveTo>
                    <a:pt x="202" y="170"/>
                  </a:moveTo>
                  <a:cubicBezTo>
                    <a:pt x="208" y="170"/>
                    <a:pt x="213" y="175"/>
                    <a:pt x="213" y="181"/>
                  </a:cubicBezTo>
                  <a:cubicBezTo>
                    <a:pt x="213" y="187"/>
                    <a:pt x="208" y="192"/>
                    <a:pt x="202" y="192"/>
                  </a:cubicBezTo>
                  <a:cubicBezTo>
                    <a:pt x="196" y="192"/>
                    <a:pt x="192" y="187"/>
                    <a:pt x="192" y="181"/>
                  </a:cubicBezTo>
                  <a:cubicBezTo>
                    <a:pt x="192" y="175"/>
                    <a:pt x="196" y="170"/>
                    <a:pt x="202" y="170"/>
                  </a:cubicBezTo>
                  <a:close/>
                  <a:moveTo>
                    <a:pt x="202" y="213"/>
                  </a:moveTo>
                  <a:cubicBezTo>
                    <a:pt x="208" y="213"/>
                    <a:pt x="213" y="218"/>
                    <a:pt x="213" y="224"/>
                  </a:cubicBezTo>
                  <a:cubicBezTo>
                    <a:pt x="213" y="230"/>
                    <a:pt x="208" y="234"/>
                    <a:pt x="202" y="234"/>
                  </a:cubicBezTo>
                  <a:cubicBezTo>
                    <a:pt x="196" y="234"/>
                    <a:pt x="192" y="230"/>
                    <a:pt x="192" y="224"/>
                  </a:cubicBezTo>
                  <a:cubicBezTo>
                    <a:pt x="192" y="218"/>
                    <a:pt x="196" y="213"/>
                    <a:pt x="202"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2" name="Rectangle 326">
              <a:extLst>
                <a:ext uri="{FF2B5EF4-FFF2-40B4-BE49-F238E27FC236}">
                  <a16:creationId xmlns:a16="http://schemas.microsoft.com/office/drawing/2014/main" id="{5D376CF8-F223-4387-AD48-D5EF86358369}"/>
                </a:ext>
              </a:extLst>
            </p:cNvPr>
            <p:cNvSpPr>
              <a:spLocks noChangeArrowheads="1"/>
            </p:cNvSpPr>
            <p:nvPr/>
          </p:nvSpPr>
          <p:spPr bwMode="auto">
            <a:xfrm>
              <a:off x="3739" y="1955"/>
              <a:ext cx="14"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3" name="Freeform 327">
              <a:extLst>
                <a:ext uri="{FF2B5EF4-FFF2-40B4-BE49-F238E27FC236}">
                  <a16:creationId xmlns:a16="http://schemas.microsoft.com/office/drawing/2014/main" id="{BE2FCF0E-62DD-4B80-A33F-B0779E5111B8}"/>
                </a:ext>
              </a:extLst>
            </p:cNvPr>
            <p:cNvSpPr>
              <a:spLocks noEditPoints="1"/>
            </p:cNvSpPr>
            <p:nvPr/>
          </p:nvSpPr>
          <p:spPr bwMode="auto">
            <a:xfrm>
              <a:off x="3562" y="1749"/>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5 w 512"/>
                <a:gd name="T11" fmla="*/ 182 h 512"/>
                <a:gd name="T12" fmla="*/ 395 w 512"/>
                <a:gd name="T13" fmla="*/ 384 h 512"/>
                <a:gd name="T14" fmla="*/ 384 w 512"/>
                <a:gd name="T15" fmla="*/ 395 h 512"/>
                <a:gd name="T16" fmla="*/ 128 w 512"/>
                <a:gd name="T17" fmla="*/ 395 h 512"/>
                <a:gd name="T18" fmla="*/ 117 w 512"/>
                <a:gd name="T19" fmla="*/ 384 h 512"/>
                <a:gd name="T20" fmla="*/ 117 w 512"/>
                <a:gd name="T21" fmla="*/ 182 h 512"/>
                <a:gd name="T22" fmla="*/ 107 w 512"/>
                <a:gd name="T23" fmla="*/ 171 h 512"/>
                <a:gd name="T24" fmla="*/ 117 w 512"/>
                <a:gd name="T25" fmla="*/ 160 h 512"/>
                <a:gd name="T26" fmla="*/ 181 w 512"/>
                <a:gd name="T27" fmla="*/ 160 h 512"/>
                <a:gd name="T28" fmla="*/ 181 w 512"/>
                <a:gd name="T29" fmla="*/ 107 h 512"/>
                <a:gd name="T30" fmla="*/ 192 w 512"/>
                <a:gd name="T31" fmla="*/ 96 h 512"/>
                <a:gd name="T32" fmla="*/ 320 w 512"/>
                <a:gd name="T33" fmla="*/ 96 h 512"/>
                <a:gd name="T34" fmla="*/ 331 w 512"/>
                <a:gd name="T35" fmla="*/ 107 h 512"/>
                <a:gd name="T36" fmla="*/ 331 w 512"/>
                <a:gd name="T37" fmla="*/ 160 h 512"/>
                <a:gd name="T38" fmla="*/ 395 w 512"/>
                <a:gd name="T39" fmla="*/ 160 h 512"/>
                <a:gd name="T40" fmla="*/ 405 w 512"/>
                <a:gd name="T41" fmla="*/ 171 h 512"/>
                <a:gd name="T42" fmla="*/ 395 w 512"/>
                <a:gd name="T43"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95" y="182"/>
                  </a:moveTo>
                  <a:cubicBezTo>
                    <a:pt x="395" y="384"/>
                    <a:pt x="395" y="384"/>
                    <a:pt x="395" y="384"/>
                  </a:cubicBezTo>
                  <a:cubicBezTo>
                    <a:pt x="395" y="390"/>
                    <a:pt x="390" y="395"/>
                    <a:pt x="384" y="395"/>
                  </a:cubicBezTo>
                  <a:cubicBezTo>
                    <a:pt x="128" y="395"/>
                    <a:pt x="128" y="395"/>
                    <a:pt x="128" y="395"/>
                  </a:cubicBezTo>
                  <a:cubicBezTo>
                    <a:pt x="122" y="395"/>
                    <a:pt x="117" y="390"/>
                    <a:pt x="117" y="384"/>
                  </a:cubicBezTo>
                  <a:cubicBezTo>
                    <a:pt x="117" y="182"/>
                    <a:pt x="117" y="182"/>
                    <a:pt x="117" y="182"/>
                  </a:cubicBezTo>
                  <a:cubicBezTo>
                    <a:pt x="111" y="182"/>
                    <a:pt x="107" y="177"/>
                    <a:pt x="107" y="171"/>
                  </a:cubicBezTo>
                  <a:cubicBezTo>
                    <a:pt x="107" y="165"/>
                    <a:pt x="111" y="160"/>
                    <a:pt x="117" y="160"/>
                  </a:cubicBezTo>
                  <a:cubicBezTo>
                    <a:pt x="181" y="160"/>
                    <a:pt x="181" y="160"/>
                    <a:pt x="181" y="160"/>
                  </a:cubicBezTo>
                  <a:cubicBezTo>
                    <a:pt x="181" y="107"/>
                    <a:pt x="181" y="107"/>
                    <a:pt x="181" y="107"/>
                  </a:cubicBezTo>
                  <a:cubicBezTo>
                    <a:pt x="181" y="101"/>
                    <a:pt x="186" y="96"/>
                    <a:pt x="192" y="96"/>
                  </a:cubicBezTo>
                  <a:cubicBezTo>
                    <a:pt x="320" y="96"/>
                    <a:pt x="320" y="96"/>
                    <a:pt x="320" y="96"/>
                  </a:cubicBezTo>
                  <a:cubicBezTo>
                    <a:pt x="326" y="96"/>
                    <a:pt x="331" y="101"/>
                    <a:pt x="331" y="107"/>
                  </a:cubicBezTo>
                  <a:cubicBezTo>
                    <a:pt x="331" y="160"/>
                    <a:pt x="331" y="160"/>
                    <a:pt x="331" y="160"/>
                  </a:cubicBezTo>
                  <a:cubicBezTo>
                    <a:pt x="395" y="160"/>
                    <a:pt x="395" y="160"/>
                    <a:pt x="395" y="160"/>
                  </a:cubicBezTo>
                  <a:cubicBezTo>
                    <a:pt x="401" y="160"/>
                    <a:pt x="405" y="165"/>
                    <a:pt x="405" y="171"/>
                  </a:cubicBezTo>
                  <a:cubicBezTo>
                    <a:pt x="405" y="177"/>
                    <a:pt x="401" y="182"/>
                    <a:pt x="395"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Rectangle 328">
              <a:extLst>
                <a:ext uri="{FF2B5EF4-FFF2-40B4-BE49-F238E27FC236}">
                  <a16:creationId xmlns:a16="http://schemas.microsoft.com/office/drawing/2014/main" id="{BAA4106D-8CDF-4DFA-92D5-9BE5E86E42D4}"/>
                </a:ext>
              </a:extLst>
            </p:cNvPr>
            <p:cNvSpPr>
              <a:spLocks noChangeArrowheads="1"/>
            </p:cNvSpPr>
            <p:nvPr/>
          </p:nvSpPr>
          <p:spPr bwMode="auto">
            <a:xfrm>
              <a:off x="3711" y="1955"/>
              <a:ext cx="14"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5" name="Group 331">
            <a:extLst>
              <a:ext uri="{FF2B5EF4-FFF2-40B4-BE49-F238E27FC236}">
                <a16:creationId xmlns:a16="http://schemas.microsoft.com/office/drawing/2014/main" id="{0A190B2A-2864-4D18-9939-C8FF15F1DBF3}"/>
              </a:ext>
            </a:extLst>
          </p:cNvPr>
          <p:cNvGrpSpPr>
            <a:grpSpLocks noChangeAspect="1"/>
          </p:cNvGrpSpPr>
          <p:nvPr/>
        </p:nvGrpSpPr>
        <p:grpSpPr bwMode="auto">
          <a:xfrm>
            <a:off x="9609256" y="2524208"/>
            <a:ext cx="367041" cy="367041"/>
            <a:chOff x="3628" y="1334"/>
            <a:chExt cx="340" cy="340"/>
          </a:xfrm>
          <a:solidFill>
            <a:schemeClr val="accent4"/>
          </a:solidFill>
        </p:grpSpPr>
        <p:sp>
          <p:nvSpPr>
            <p:cNvPr id="396" name="Freeform 332">
              <a:extLst>
                <a:ext uri="{FF2B5EF4-FFF2-40B4-BE49-F238E27FC236}">
                  <a16:creationId xmlns:a16="http://schemas.microsoft.com/office/drawing/2014/main" id="{03C671E1-F4D6-41AA-BA94-F98B6A0E1EF3}"/>
                </a:ext>
              </a:extLst>
            </p:cNvPr>
            <p:cNvSpPr>
              <a:spLocks noEditPoints="1"/>
            </p:cNvSpPr>
            <p:nvPr/>
          </p:nvSpPr>
          <p:spPr bwMode="auto">
            <a:xfrm>
              <a:off x="3628" y="133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7" name="Freeform 333">
              <a:extLst>
                <a:ext uri="{FF2B5EF4-FFF2-40B4-BE49-F238E27FC236}">
                  <a16:creationId xmlns:a16="http://schemas.microsoft.com/office/drawing/2014/main" id="{9331ACCA-99D1-4F00-883F-18B7CF7FBA03}"/>
                </a:ext>
              </a:extLst>
            </p:cNvPr>
            <p:cNvSpPr>
              <a:spLocks noEditPoints="1"/>
            </p:cNvSpPr>
            <p:nvPr/>
          </p:nvSpPr>
          <p:spPr bwMode="auto">
            <a:xfrm>
              <a:off x="3699" y="1398"/>
              <a:ext cx="198" cy="198"/>
            </a:xfrm>
            <a:custGeom>
              <a:avLst/>
              <a:gdLst>
                <a:gd name="T0" fmla="*/ 170 w 298"/>
                <a:gd name="T1" fmla="*/ 86 h 299"/>
                <a:gd name="T2" fmla="*/ 160 w 298"/>
                <a:gd name="T3" fmla="*/ 96 h 299"/>
                <a:gd name="T4" fmla="*/ 138 w 298"/>
                <a:gd name="T5" fmla="*/ 96 h 299"/>
                <a:gd name="T6" fmla="*/ 128 w 298"/>
                <a:gd name="T7" fmla="*/ 86 h 299"/>
                <a:gd name="T8" fmla="*/ 128 w 298"/>
                <a:gd name="T9" fmla="*/ 64 h 299"/>
                <a:gd name="T10" fmla="*/ 138 w 298"/>
                <a:gd name="T11" fmla="*/ 54 h 299"/>
                <a:gd name="T12" fmla="*/ 160 w 298"/>
                <a:gd name="T13" fmla="*/ 54 h 299"/>
                <a:gd name="T14" fmla="*/ 170 w 298"/>
                <a:gd name="T15" fmla="*/ 64 h 299"/>
                <a:gd name="T16" fmla="*/ 298 w 298"/>
                <a:gd name="T17" fmla="*/ 75 h 299"/>
                <a:gd name="T18" fmla="*/ 288 w 298"/>
                <a:gd name="T19" fmla="*/ 288 h 299"/>
                <a:gd name="T20" fmla="*/ 21 w 298"/>
                <a:gd name="T21" fmla="*/ 299 h 299"/>
                <a:gd name="T22" fmla="*/ 10 w 298"/>
                <a:gd name="T23" fmla="*/ 86 h 299"/>
                <a:gd name="T24" fmla="*/ 10 w 298"/>
                <a:gd name="T25" fmla="*/ 64 h 299"/>
                <a:gd name="T26" fmla="*/ 74 w 298"/>
                <a:gd name="T27" fmla="*/ 11 h 299"/>
                <a:gd name="T28" fmla="*/ 213 w 298"/>
                <a:gd name="T29" fmla="*/ 0 h 299"/>
                <a:gd name="T30" fmla="*/ 224 w 298"/>
                <a:gd name="T31" fmla="*/ 64 h 299"/>
                <a:gd name="T32" fmla="*/ 298 w 298"/>
                <a:gd name="T33" fmla="*/ 75 h 299"/>
                <a:gd name="T34" fmla="*/ 160 w 298"/>
                <a:gd name="T35" fmla="*/ 278 h 299"/>
                <a:gd name="T36" fmla="*/ 181 w 298"/>
                <a:gd name="T37" fmla="*/ 214 h 299"/>
                <a:gd name="T38" fmla="*/ 138 w 298"/>
                <a:gd name="T39" fmla="*/ 214 h 299"/>
                <a:gd name="T40" fmla="*/ 117 w 298"/>
                <a:gd name="T41" fmla="*/ 278 h 299"/>
                <a:gd name="T42" fmla="*/ 138 w 298"/>
                <a:gd name="T43" fmla="*/ 214 h 299"/>
                <a:gd name="T44" fmla="*/ 213 w 298"/>
                <a:gd name="T45" fmla="*/ 86 h 299"/>
                <a:gd name="T46" fmla="*/ 202 w 298"/>
                <a:gd name="T47" fmla="*/ 22 h 299"/>
                <a:gd name="T48" fmla="*/ 96 w 298"/>
                <a:gd name="T49" fmla="*/ 75 h 299"/>
                <a:gd name="T50" fmla="*/ 32 w 298"/>
                <a:gd name="T51" fmla="*/ 86 h 299"/>
                <a:gd name="T52" fmla="*/ 96 w 298"/>
                <a:gd name="T53" fmla="*/ 278 h 299"/>
                <a:gd name="T54" fmla="*/ 106 w 298"/>
                <a:gd name="T55" fmla="*/ 192 h 299"/>
                <a:gd name="T56" fmla="*/ 202 w 298"/>
                <a:gd name="T57" fmla="*/ 203 h 299"/>
                <a:gd name="T58" fmla="*/ 266 w 298"/>
                <a:gd name="T59" fmla="*/ 278 h 299"/>
                <a:gd name="T60" fmla="*/ 64 w 298"/>
                <a:gd name="T61" fmla="*/ 107 h 299"/>
                <a:gd name="T62" fmla="*/ 64 w 298"/>
                <a:gd name="T63" fmla="*/ 128 h 299"/>
                <a:gd name="T64" fmla="*/ 64 w 298"/>
                <a:gd name="T65" fmla="*/ 107 h 299"/>
                <a:gd name="T66" fmla="*/ 53 w 298"/>
                <a:gd name="T67" fmla="*/ 160 h 299"/>
                <a:gd name="T68" fmla="*/ 74 w 298"/>
                <a:gd name="T69" fmla="*/ 160 h 299"/>
                <a:gd name="T70" fmla="*/ 106 w 298"/>
                <a:gd name="T71" fmla="*/ 150 h 299"/>
                <a:gd name="T72" fmla="*/ 106 w 298"/>
                <a:gd name="T73" fmla="*/ 171 h 299"/>
                <a:gd name="T74" fmla="*/ 106 w 298"/>
                <a:gd name="T75" fmla="*/ 150 h 299"/>
                <a:gd name="T76" fmla="*/ 96 w 298"/>
                <a:gd name="T77" fmla="*/ 118 h 299"/>
                <a:gd name="T78" fmla="*/ 117 w 298"/>
                <a:gd name="T79" fmla="*/ 118 h 299"/>
                <a:gd name="T80" fmla="*/ 149 w 298"/>
                <a:gd name="T81" fmla="*/ 150 h 299"/>
                <a:gd name="T82" fmla="*/ 149 w 298"/>
                <a:gd name="T83" fmla="*/ 171 h 299"/>
                <a:gd name="T84" fmla="*/ 149 w 298"/>
                <a:gd name="T85" fmla="*/ 150 h 299"/>
                <a:gd name="T86" fmla="*/ 181 w 298"/>
                <a:gd name="T87" fmla="*/ 160 h 299"/>
                <a:gd name="T88" fmla="*/ 202 w 298"/>
                <a:gd name="T89" fmla="*/ 160 h 299"/>
                <a:gd name="T90" fmla="*/ 192 w 298"/>
                <a:gd name="T91" fmla="*/ 107 h 299"/>
                <a:gd name="T92" fmla="*/ 192 w 298"/>
                <a:gd name="T93" fmla="*/ 128 h 299"/>
                <a:gd name="T94" fmla="*/ 192 w 298"/>
                <a:gd name="T95" fmla="*/ 107 h 299"/>
                <a:gd name="T96" fmla="*/ 53 w 298"/>
                <a:gd name="T97" fmla="*/ 203 h 299"/>
                <a:gd name="T98" fmla="*/ 74 w 298"/>
                <a:gd name="T99" fmla="*/ 203 h 299"/>
                <a:gd name="T100" fmla="*/ 64 w 298"/>
                <a:gd name="T101" fmla="*/ 235 h 299"/>
                <a:gd name="T102" fmla="*/ 64 w 298"/>
                <a:gd name="T103" fmla="*/ 256 h 299"/>
                <a:gd name="T104" fmla="*/ 64 w 298"/>
                <a:gd name="T105" fmla="*/ 235 h 299"/>
                <a:gd name="T106" fmla="*/ 245 w 298"/>
                <a:gd name="T107" fmla="*/ 118 h 299"/>
                <a:gd name="T108" fmla="*/ 224 w 298"/>
                <a:gd name="T109" fmla="*/ 118 h 299"/>
                <a:gd name="T110" fmla="*/ 234 w 298"/>
                <a:gd name="T111" fmla="*/ 171 h 299"/>
                <a:gd name="T112" fmla="*/ 234 w 298"/>
                <a:gd name="T113" fmla="*/ 150 h 299"/>
                <a:gd name="T114" fmla="*/ 234 w 298"/>
                <a:gd name="T115" fmla="*/ 171 h 299"/>
                <a:gd name="T116" fmla="*/ 245 w 298"/>
                <a:gd name="T117" fmla="*/ 203 h 299"/>
                <a:gd name="T118" fmla="*/ 224 w 298"/>
                <a:gd name="T119" fmla="*/ 203 h 299"/>
                <a:gd name="T120" fmla="*/ 234 w 298"/>
                <a:gd name="T121" fmla="*/ 256 h 299"/>
                <a:gd name="T122" fmla="*/ 234 w 298"/>
                <a:gd name="T123" fmla="*/ 235 h 299"/>
                <a:gd name="T124" fmla="*/ 234 w 298"/>
                <a:gd name="T125" fmla="*/ 25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8" h="299">
                  <a:moveTo>
                    <a:pt x="181" y="75"/>
                  </a:moveTo>
                  <a:cubicBezTo>
                    <a:pt x="181" y="81"/>
                    <a:pt x="176" y="86"/>
                    <a:pt x="170" y="86"/>
                  </a:cubicBezTo>
                  <a:cubicBezTo>
                    <a:pt x="160" y="86"/>
                    <a:pt x="160" y="86"/>
                    <a:pt x="160" y="86"/>
                  </a:cubicBezTo>
                  <a:cubicBezTo>
                    <a:pt x="160" y="96"/>
                    <a:pt x="160" y="96"/>
                    <a:pt x="160" y="96"/>
                  </a:cubicBezTo>
                  <a:cubicBezTo>
                    <a:pt x="160" y="102"/>
                    <a:pt x="155" y="107"/>
                    <a:pt x="149" y="107"/>
                  </a:cubicBezTo>
                  <a:cubicBezTo>
                    <a:pt x="143" y="107"/>
                    <a:pt x="138" y="102"/>
                    <a:pt x="138" y="96"/>
                  </a:cubicBezTo>
                  <a:cubicBezTo>
                    <a:pt x="138" y="86"/>
                    <a:pt x="138" y="86"/>
                    <a:pt x="138" y="86"/>
                  </a:cubicBezTo>
                  <a:cubicBezTo>
                    <a:pt x="128" y="86"/>
                    <a:pt x="128" y="86"/>
                    <a:pt x="128" y="86"/>
                  </a:cubicBezTo>
                  <a:cubicBezTo>
                    <a:pt x="122" y="86"/>
                    <a:pt x="117" y="81"/>
                    <a:pt x="117" y="75"/>
                  </a:cubicBezTo>
                  <a:cubicBezTo>
                    <a:pt x="117" y="69"/>
                    <a:pt x="122" y="64"/>
                    <a:pt x="128" y="64"/>
                  </a:cubicBezTo>
                  <a:cubicBezTo>
                    <a:pt x="138" y="64"/>
                    <a:pt x="138" y="64"/>
                    <a:pt x="138" y="64"/>
                  </a:cubicBezTo>
                  <a:cubicBezTo>
                    <a:pt x="138" y="54"/>
                    <a:pt x="138" y="54"/>
                    <a:pt x="138" y="54"/>
                  </a:cubicBezTo>
                  <a:cubicBezTo>
                    <a:pt x="138" y="48"/>
                    <a:pt x="143" y="43"/>
                    <a:pt x="149" y="43"/>
                  </a:cubicBezTo>
                  <a:cubicBezTo>
                    <a:pt x="155" y="43"/>
                    <a:pt x="160" y="48"/>
                    <a:pt x="160" y="54"/>
                  </a:cubicBezTo>
                  <a:cubicBezTo>
                    <a:pt x="160" y="64"/>
                    <a:pt x="160" y="64"/>
                    <a:pt x="160" y="64"/>
                  </a:cubicBezTo>
                  <a:cubicBezTo>
                    <a:pt x="170" y="64"/>
                    <a:pt x="170" y="64"/>
                    <a:pt x="170" y="64"/>
                  </a:cubicBezTo>
                  <a:cubicBezTo>
                    <a:pt x="176" y="64"/>
                    <a:pt x="181" y="69"/>
                    <a:pt x="181" y="75"/>
                  </a:cubicBezTo>
                  <a:close/>
                  <a:moveTo>
                    <a:pt x="298" y="75"/>
                  </a:moveTo>
                  <a:cubicBezTo>
                    <a:pt x="298" y="81"/>
                    <a:pt x="294" y="86"/>
                    <a:pt x="288" y="86"/>
                  </a:cubicBezTo>
                  <a:cubicBezTo>
                    <a:pt x="288" y="288"/>
                    <a:pt x="288" y="288"/>
                    <a:pt x="288" y="288"/>
                  </a:cubicBezTo>
                  <a:cubicBezTo>
                    <a:pt x="288" y="294"/>
                    <a:pt x="283" y="299"/>
                    <a:pt x="277" y="299"/>
                  </a:cubicBezTo>
                  <a:cubicBezTo>
                    <a:pt x="21" y="299"/>
                    <a:pt x="21" y="299"/>
                    <a:pt x="21" y="299"/>
                  </a:cubicBezTo>
                  <a:cubicBezTo>
                    <a:pt x="15" y="299"/>
                    <a:pt x="10" y="294"/>
                    <a:pt x="10" y="288"/>
                  </a:cubicBezTo>
                  <a:cubicBezTo>
                    <a:pt x="10" y="86"/>
                    <a:pt x="10" y="86"/>
                    <a:pt x="10" y="86"/>
                  </a:cubicBezTo>
                  <a:cubicBezTo>
                    <a:pt x="4" y="86"/>
                    <a:pt x="0" y="81"/>
                    <a:pt x="0" y="75"/>
                  </a:cubicBezTo>
                  <a:cubicBezTo>
                    <a:pt x="0" y="69"/>
                    <a:pt x="4" y="64"/>
                    <a:pt x="10" y="64"/>
                  </a:cubicBezTo>
                  <a:cubicBezTo>
                    <a:pt x="74" y="64"/>
                    <a:pt x="74" y="64"/>
                    <a:pt x="74" y="64"/>
                  </a:cubicBezTo>
                  <a:cubicBezTo>
                    <a:pt x="74" y="11"/>
                    <a:pt x="74" y="11"/>
                    <a:pt x="74" y="11"/>
                  </a:cubicBezTo>
                  <a:cubicBezTo>
                    <a:pt x="74" y="5"/>
                    <a:pt x="79" y="0"/>
                    <a:pt x="85" y="0"/>
                  </a:cubicBezTo>
                  <a:cubicBezTo>
                    <a:pt x="213" y="0"/>
                    <a:pt x="213" y="0"/>
                    <a:pt x="213" y="0"/>
                  </a:cubicBezTo>
                  <a:cubicBezTo>
                    <a:pt x="219" y="0"/>
                    <a:pt x="224" y="5"/>
                    <a:pt x="224" y="11"/>
                  </a:cubicBezTo>
                  <a:cubicBezTo>
                    <a:pt x="224" y="64"/>
                    <a:pt x="224" y="64"/>
                    <a:pt x="224" y="64"/>
                  </a:cubicBezTo>
                  <a:cubicBezTo>
                    <a:pt x="288" y="64"/>
                    <a:pt x="288" y="64"/>
                    <a:pt x="288" y="64"/>
                  </a:cubicBezTo>
                  <a:cubicBezTo>
                    <a:pt x="294" y="64"/>
                    <a:pt x="298" y="69"/>
                    <a:pt x="298" y="75"/>
                  </a:cubicBezTo>
                  <a:close/>
                  <a:moveTo>
                    <a:pt x="160" y="214"/>
                  </a:moveTo>
                  <a:cubicBezTo>
                    <a:pt x="160" y="278"/>
                    <a:pt x="160" y="278"/>
                    <a:pt x="160" y="278"/>
                  </a:cubicBezTo>
                  <a:cubicBezTo>
                    <a:pt x="181" y="278"/>
                    <a:pt x="181" y="278"/>
                    <a:pt x="181" y="278"/>
                  </a:cubicBezTo>
                  <a:cubicBezTo>
                    <a:pt x="181" y="214"/>
                    <a:pt x="181" y="214"/>
                    <a:pt x="181" y="214"/>
                  </a:cubicBezTo>
                  <a:lnTo>
                    <a:pt x="160" y="214"/>
                  </a:lnTo>
                  <a:close/>
                  <a:moveTo>
                    <a:pt x="138" y="214"/>
                  </a:moveTo>
                  <a:cubicBezTo>
                    <a:pt x="117" y="214"/>
                    <a:pt x="117" y="214"/>
                    <a:pt x="117" y="214"/>
                  </a:cubicBezTo>
                  <a:cubicBezTo>
                    <a:pt x="117" y="278"/>
                    <a:pt x="117" y="278"/>
                    <a:pt x="117" y="278"/>
                  </a:cubicBezTo>
                  <a:cubicBezTo>
                    <a:pt x="138" y="278"/>
                    <a:pt x="138" y="278"/>
                    <a:pt x="138" y="278"/>
                  </a:cubicBezTo>
                  <a:lnTo>
                    <a:pt x="138" y="214"/>
                  </a:lnTo>
                  <a:close/>
                  <a:moveTo>
                    <a:pt x="266" y="86"/>
                  </a:moveTo>
                  <a:cubicBezTo>
                    <a:pt x="213" y="86"/>
                    <a:pt x="213" y="86"/>
                    <a:pt x="213" y="86"/>
                  </a:cubicBezTo>
                  <a:cubicBezTo>
                    <a:pt x="207" y="86"/>
                    <a:pt x="202" y="81"/>
                    <a:pt x="202" y="75"/>
                  </a:cubicBezTo>
                  <a:cubicBezTo>
                    <a:pt x="202" y="22"/>
                    <a:pt x="202" y="22"/>
                    <a:pt x="202" y="22"/>
                  </a:cubicBezTo>
                  <a:cubicBezTo>
                    <a:pt x="96" y="22"/>
                    <a:pt x="96" y="22"/>
                    <a:pt x="96" y="22"/>
                  </a:cubicBezTo>
                  <a:cubicBezTo>
                    <a:pt x="96" y="75"/>
                    <a:pt x="96" y="75"/>
                    <a:pt x="96" y="75"/>
                  </a:cubicBezTo>
                  <a:cubicBezTo>
                    <a:pt x="96" y="81"/>
                    <a:pt x="91" y="86"/>
                    <a:pt x="85" y="86"/>
                  </a:cubicBezTo>
                  <a:cubicBezTo>
                    <a:pt x="32" y="86"/>
                    <a:pt x="32" y="86"/>
                    <a:pt x="32" y="86"/>
                  </a:cubicBezTo>
                  <a:cubicBezTo>
                    <a:pt x="32" y="278"/>
                    <a:pt x="32" y="278"/>
                    <a:pt x="32" y="278"/>
                  </a:cubicBezTo>
                  <a:cubicBezTo>
                    <a:pt x="96" y="278"/>
                    <a:pt x="96" y="278"/>
                    <a:pt x="96" y="278"/>
                  </a:cubicBezTo>
                  <a:cubicBezTo>
                    <a:pt x="96" y="203"/>
                    <a:pt x="96" y="203"/>
                    <a:pt x="96" y="203"/>
                  </a:cubicBezTo>
                  <a:cubicBezTo>
                    <a:pt x="96" y="197"/>
                    <a:pt x="100" y="192"/>
                    <a:pt x="106" y="192"/>
                  </a:cubicBezTo>
                  <a:cubicBezTo>
                    <a:pt x="192" y="192"/>
                    <a:pt x="192" y="192"/>
                    <a:pt x="192" y="192"/>
                  </a:cubicBezTo>
                  <a:cubicBezTo>
                    <a:pt x="198" y="192"/>
                    <a:pt x="202" y="197"/>
                    <a:pt x="202" y="203"/>
                  </a:cubicBezTo>
                  <a:cubicBezTo>
                    <a:pt x="202" y="278"/>
                    <a:pt x="202" y="278"/>
                    <a:pt x="202" y="278"/>
                  </a:cubicBezTo>
                  <a:cubicBezTo>
                    <a:pt x="266" y="278"/>
                    <a:pt x="266" y="278"/>
                    <a:pt x="266" y="278"/>
                  </a:cubicBezTo>
                  <a:lnTo>
                    <a:pt x="266" y="86"/>
                  </a:lnTo>
                  <a:close/>
                  <a:moveTo>
                    <a:pt x="64" y="107"/>
                  </a:moveTo>
                  <a:cubicBezTo>
                    <a:pt x="58" y="107"/>
                    <a:pt x="53" y="112"/>
                    <a:pt x="53" y="118"/>
                  </a:cubicBezTo>
                  <a:cubicBezTo>
                    <a:pt x="53" y="124"/>
                    <a:pt x="58" y="128"/>
                    <a:pt x="64" y="128"/>
                  </a:cubicBezTo>
                  <a:cubicBezTo>
                    <a:pt x="70" y="128"/>
                    <a:pt x="74" y="124"/>
                    <a:pt x="74" y="118"/>
                  </a:cubicBezTo>
                  <a:cubicBezTo>
                    <a:pt x="74" y="112"/>
                    <a:pt x="70" y="107"/>
                    <a:pt x="64" y="107"/>
                  </a:cubicBezTo>
                  <a:close/>
                  <a:moveTo>
                    <a:pt x="64" y="150"/>
                  </a:moveTo>
                  <a:cubicBezTo>
                    <a:pt x="58" y="150"/>
                    <a:pt x="53" y="154"/>
                    <a:pt x="53" y="160"/>
                  </a:cubicBezTo>
                  <a:cubicBezTo>
                    <a:pt x="53" y="166"/>
                    <a:pt x="58" y="171"/>
                    <a:pt x="64" y="171"/>
                  </a:cubicBezTo>
                  <a:cubicBezTo>
                    <a:pt x="70" y="171"/>
                    <a:pt x="74" y="166"/>
                    <a:pt x="74" y="160"/>
                  </a:cubicBezTo>
                  <a:cubicBezTo>
                    <a:pt x="74" y="154"/>
                    <a:pt x="70" y="150"/>
                    <a:pt x="64" y="150"/>
                  </a:cubicBezTo>
                  <a:close/>
                  <a:moveTo>
                    <a:pt x="106" y="150"/>
                  </a:moveTo>
                  <a:cubicBezTo>
                    <a:pt x="100" y="150"/>
                    <a:pt x="96" y="154"/>
                    <a:pt x="96" y="160"/>
                  </a:cubicBezTo>
                  <a:cubicBezTo>
                    <a:pt x="96" y="166"/>
                    <a:pt x="100" y="171"/>
                    <a:pt x="106" y="171"/>
                  </a:cubicBezTo>
                  <a:cubicBezTo>
                    <a:pt x="112" y="171"/>
                    <a:pt x="117" y="166"/>
                    <a:pt x="117" y="160"/>
                  </a:cubicBezTo>
                  <a:cubicBezTo>
                    <a:pt x="117" y="154"/>
                    <a:pt x="112" y="150"/>
                    <a:pt x="106" y="150"/>
                  </a:cubicBezTo>
                  <a:close/>
                  <a:moveTo>
                    <a:pt x="106" y="107"/>
                  </a:moveTo>
                  <a:cubicBezTo>
                    <a:pt x="100" y="107"/>
                    <a:pt x="96" y="112"/>
                    <a:pt x="96" y="118"/>
                  </a:cubicBezTo>
                  <a:cubicBezTo>
                    <a:pt x="96" y="124"/>
                    <a:pt x="100" y="128"/>
                    <a:pt x="106" y="128"/>
                  </a:cubicBezTo>
                  <a:cubicBezTo>
                    <a:pt x="112" y="128"/>
                    <a:pt x="117" y="124"/>
                    <a:pt x="117" y="118"/>
                  </a:cubicBezTo>
                  <a:cubicBezTo>
                    <a:pt x="117" y="112"/>
                    <a:pt x="112" y="107"/>
                    <a:pt x="106" y="107"/>
                  </a:cubicBezTo>
                  <a:close/>
                  <a:moveTo>
                    <a:pt x="149" y="150"/>
                  </a:moveTo>
                  <a:cubicBezTo>
                    <a:pt x="143" y="150"/>
                    <a:pt x="138" y="154"/>
                    <a:pt x="138" y="160"/>
                  </a:cubicBezTo>
                  <a:cubicBezTo>
                    <a:pt x="138" y="166"/>
                    <a:pt x="143" y="171"/>
                    <a:pt x="149" y="171"/>
                  </a:cubicBezTo>
                  <a:cubicBezTo>
                    <a:pt x="155" y="171"/>
                    <a:pt x="160" y="166"/>
                    <a:pt x="160" y="160"/>
                  </a:cubicBezTo>
                  <a:cubicBezTo>
                    <a:pt x="160" y="154"/>
                    <a:pt x="155" y="150"/>
                    <a:pt x="149" y="150"/>
                  </a:cubicBezTo>
                  <a:close/>
                  <a:moveTo>
                    <a:pt x="192" y="150"/>
                  </a:moveTo>
                  <a:cubicBezTo>
                    <a:pt x="186" y="150"/>
                    <a:pt x="181" y="154"/>
                    <a:pt x="181" y="160"/>
                  </a:cubicBezTo>
                  <a:cubicBezTo>
                    <a:pt x="181" y="166"/>
                    <a:pt x="186" y="171"/>
                    <a:pt x="192" y="171"/>
                  </a:cubicBezTo>
                  <a:cubicBezTo>
                    <a:pt x="198" y="171"/>
                    <a:pt x="202" y="166"/>
                    <a:pt x="202" y="160"/>
                  </a:cubicBezTo>
                  <a:cubicBezTo>
                    <a:pt x="202" y="154"/>
                    <a:pt x="198" y="150"/>
                    <a:pt x="192" y="150"/>
                  </a:cubicBezTo>
                  <a:close/>
                  <a:moveTo>
                    <a:pt x="192" y="107"/>
                  </a:moveTo>
                  <a:cubicBezTo>
                    <a:pt x="186" y="107"/>
                    <a:pt x="181" y="112"/>
                    <a:pt x="181" y="118"/>
                  </a:cubicBezTo>
                  <a:cubicBezTo>
                    <a:pt x="181" y="124"/>
                    <a:pt x="186" y="128"/>
                    <a:pt x="192" y="128"/>
                  </a:cubicBezTo>
                  <a:cubicBezTo>
                    <a:pt x="198" y="128"/>
                    <a:pt x="202" y="124"/>
                    <a:pt x="202" y="118"/>
                  </a:cubicBezTo>
                  <a:cubicBezTo>
                    <a:pt x="202" y="112"/>
                    <a:pt x="198" y="107"/>
                    <a:pt x="192" y="107"/>
                  </a:cubicBezTo>
                  <a:close/>
                  <a:moveTo>
                    <a:pt x="64" y="192"/>
                  </a:moveTo>
                  <a:cubicBezTo>
                    <a:pt x="58" y="192"/>
                    <a:pt x="53" y="197"/>
                    <a:pt x="53" y="203"/>
                  </a:cubicBezTo>
                  <a:cubicBezTo>
                    <a:pt x="53" y="209"/>
                    <a:pt x="58" y="214"/>
                    <a:pt x="64" y="214"/>
                  </a:cubicBezTo>
                  <a:cubicBezTo>
                    <a:pt x="70" y="214"/>
                    <a:pt x="74" y="209"/>
                    <a:pt x="74" y="203"/>
                  </a:cubicBezTo>
                  <a:cubicBezTo>
                    <a:pt x="74" y="197"/>
                    <a:pt x="70" y="192"/>
                    <a:pt x="64" y="192"/>
                  </a:cubicBezTo>
                  <a:close/>
                  <a:moveTo>
                    <a:pt x="64" y="235"/>
                  </a:moveTo>
                  <a:cubicBezTo>
                    <a:pt x="58" y="235"/>
                    <a:pt x="53" y="240"/>
                    <a:pt x="53" y="246"/>
                  </a:cubicBezTo>
                  <a:cubicBezTo>
                    <a:pt x="53" y="252"/>
                    <a:pt x="58" y="256"/>
                    <a:pt x="64" y="256"/>
                  </a:cubicBezTo>
                  <a:cubicBezTo>
                    <a:pt x="70" y="256"/>
                    <a:pt x="74" y="252"/>
                    <a:pt x="74" y="246"/>
                  </a:cubicBezTo>
                  <a:cubicBezTo>
                    <a:pt x="74" y="240"/>
                    <a:pt x="70" y="235"/>
                    <a:pt x="64" y="235"/>
                  </a:cubicBezTo>
                  <a:close/>
                  <a:moveTo>
                    <a:pt x="234" y="128"/>
                  </a:moveTo>
                  <a:cubicBezTo>
                    <a:pt x="240" y="128"/>
                    <a:pt x="245" y="124"/>
                    <a:pt x="245" y="118"/>
                  </a:cubicBezTo>
                  <a:cubicBezTo>
                    <a:pt x="245" y="112"/>
                    <a:pt x="240" y="107"/>
                    <a:pt x="234" y="107"/>
                  </a:cubicBezTo>
                  <a:cubicBezTo>
                    <a:pt x="228" y="107"/>
                    <a:pt x="224" y="112"/>
                    <a:pt x="224" y="118"/>
                  </a:cubicBezTo>
                  <a:cubicBezTo>
                    <a:pt x="224" y="124"/>
                    <a:pt x="228" y="128"/>
                    <a:pt x="234" y="128"/>
                  </a:cubicBezTo>
                  <a:close/>
                  <a:moveTo>
                    <a:pt x="234" y="171"/>
                  </a:moveTo>
                  <a:cubicBezTo>
                    <a:pt x="240" y="171"/>
                    <a:pt x="245" y="166"/>
                    <a:pt x="245" y="160"/>
                  </a:cubicBezTo>
                  <a:cubicBezTo>
                    <a:pt x="245" y="154"/>
                    <a:pt x="240" y="150"/>
                    <a:pt x="234" y="150"/>
                  </a:cubicBezTo>
                  <a:cubicBezTo>
                    <a:pt x="228" y="150"/>
                    <a:pt x="224" y="154"/>
                    <a:pt x="224" y="160"/>
                  </a:cubicBezTo>
                  <a:cubicBezTo>
                    <a:pt x="224" y="166"/>
                    <a:pt x="228" y="171"/>
                    <a:pt x="234" y="171"/>
                  </a:cubicBezTo>
                  <a:close/>
                  <a:moveTo>
                    <a:pt x="234" y="214"/>
                  </a:moveTo>
                  <a:cubicBezTo>
                    <a:pt x="240" y="214"/>
                    <a:pt x="245" y="209"/>
                    <a:pt x="245" y="203"/>
                  </a:cubicBezTo>
                  <a:cubicBezTo>
                    <a:pt x="245" y="197"/>
                    <a:pt x="240" y="192"/>
                    <a:pt x="234" y="192"/>
                  </a:cubicBezTo>
                  <a:cubicBezTo>
                    <a:pt x="228" y="192"/>
                    <a:pt x="224" y="197"/>
                    <a:pt x="224" y="203"/>
                  </a:cubicBezTo>
                  <a:cubicBezTo>
                    <a:pt x="224" y="209"/>
                    <a:pt x="228" y="214"/>
                    <a:pt x="234" y="214"/>
                  </a:cubicBezTo>
                  <a:close/>
                  <a:moveTo>
                    <a:pt x="234" y="256"/>
                  </a:moveTo>
                  <a:cubicBezTo>
                    <a:pt x="240" y="256"/>
                    <a:pt x="245" y="252"/>
                    <a:pt x="245" y="246"/>
                  </a:cubicBezTo>
                  <a:cubicBezTo>
                    <a:pt x="245" y="240"/>
                    <a:pt x="240" y="235"/>
                    <a:pt x="234" y="235"/>
                  </a:cubicBezTo>
                  <a:cubicBezTo>
                    <a:pt x="228" y="235"/>
                    <a:pt x="224" y="240"/>
                    <a:pt x="224" y="246"/>
                  </a:cubicBezTo>
                  <a:cubicBezTo>
                    <a:pt x="224" y="252"/>
                    <a:pt x="228" y="256"/>
                    <a:pt x="234"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8" name="TextBox 397">
            <a:extLst>
              <a:ext uri="{FF2B5EF4-FFF2-40B4-BE49-F238E27FC236}">
                <a16:creationId xmlns:a16="http://schemas.microsoft.com/office/drawing/2014/main" id="{9DA9D3F9-5B65-427E-88E6-540F3DDA42DB}"/>
              </a:ext>
            </a:extLst>
          </p:cNvPr>
          <p:cNvSpPr txBox="1"/>
          <p:nvPr/>
        </p:nvSpPr>
        <p:spPr>
          <a:xfrm>
            <a:off x="10019971" y="294103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ush chair</a:t>
            </a:r>
          </a:p>
        </p:txBody>
      </p:sp>
      <p:grpSp>
        <p:nvGrpSpPr>
          <p:cNvPr id="399" name="Group 517">
            <a:extLst>
              <a:ext uri="{FF2B5EF4-FFF2-40B4-BE49-F238E27FC236}">
                <a16:creationId xmlns:a16="http://schemas.microsoft.com/office/drawing/2014/main" id="{E9CACEA7-A942-4BFD-893A-6E2AC4FD2023}"/>
              </a:ext>
            </a:extLst>
          </p:cNvPr>
          <p:cNvGrpSpPr>
            <a:grpSpLocks noChangeAspect="1"/>
          </p:cNvGrpSpPr>
          <p:nvPr/>
        </p:nvGrpSpPr>
        <p:grpSpPr bwMode="auto">
          <a:xfrm>
            <a:off x="10477647" y="2522228"/>
            <a:ext cx="369021" cy="369021"/>
            <a:chOff x="4254" y="1971"/>
            <a:chExt cx="340" cy="340"/>
          </a:xfrm>
          <a:solidFill>
            <a:schemeClr val="accent6"/>
          </a:solidFill>
        </p:grpSpPr>
        <p:sp>
          <p:nvSpPr>
            <p:cNvPr id="400" name="Freeform 518">
              <a:extLst>
                <a:ext uri="{FF2B5EF4-FFF2-40B4-BE49-F238E27FC236}">
                  <a16:creationId xmlns:a16="http://schemas.microsoft.com/office/drawing/2014/main" id="{3781261E-AD84-4204-B984-A189DDE5BCA9}"/>
                </a:ext>
              </a:extLst>
            </p:cNvPr>
            <p:cNvSpPr>
              <a:spLocks noEditPoints="1"/>
            </p:cNvSpPr>
            <p:nvPr/>
          </p:nvSpPr>
          <p:spPr bwMode="auto">
            <a:xfrm>
              <a:off x="4254" y="19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1" name="Freeform 519">
              <a:extLst>
                <a:ext uri="{FF2B5EF4-FFF2-40B4-BE49-F238E27FC236}">
                  <a16:creationId xmlns:a16="http://schemas.microsoft.com/office/drawing/2014/main" id="{E0DC0FDE-13AA-42F6-980F-85EAF3D373E3}"/>
                </a:ext>
              </a:extLst>
            </p:cNvPr>
            <p:cNvSpPr>
              <a:spLocks noEditPoints="1"/>
            </p:cNvSpPr>
            <p:nvPr/>
          </p:nvSpPr>
          <p:spPr bwMode="auto">
            <a:xfrm>
              <a:off x="4338" y="2048"/>
              <a:ext cx="164" cy="185"/>
            </a:xfrm>
            <a:custGeom>
              <a:avLst/>
              <a:gdLst>
                <a:gd name="T0" fmla="*/ 246 w 246"/>
                <a:gd name="T1" fmla="*/ 257 h 278"/>
                <a:gd name="T2" fmla="*/ 225 w 246"/>
                <a:gd name="T3" fmla="*/ 278 h 278"/>
                <a:gd name="T4" fmla="*/ 203 w 246"/>
                <a:gd name="T5" fmla="*/ 257 h 278"/>
                <a:gd name="T6" fmla="*/ 225 w 246"/>
                <a:gd name="T7" fmla="*/ 236 h 278"/>
                <a:gd name="T8" fmla="*/ 246 w 246"/>
                <a:gd name="T9" fmla="*/ 257 h 278"/>
                <a:gd name="T10" fmla="*/ 65 w 246"/>
                <a:gd name="T11" fmla="*/ 236 h 278"/>
                <a:gd name="T12" fmla="*/ 43 w 246"/>
                <a:gd name="T13" fmla="*/ 257 h 278"/>
                <a:gd name="T14" fmla="*/ 65 w 246"/>
                <a:gd name="T15" fmla="*/ 278 h 278"/>
                <a:gd name="T16" fmla="*/ 86 w 246"/>
                <a:gd name="T17" fmla="*/ 257 h 278"/>
                <a:gd name="T18" fmla="*/ 65 w 246"/>
                <a:gd name="T19" fmla="*/ 236 h 278"/>
                <a:gd name="T20" fmla="*/ 65 w 246"/>
                <a:gd name="T21" fmla="*/ 59 h 278"/>
                <a:gd name="T22" fmla="*/ 33 w 246"/>
                <a:gd name="T23" fmla="*/ 27 h 278"/>
                <a:gd name="T24" fmla="*/ 19 w 246"/>
                <a:gd name="T25" fmla="*/ 41 h 278"/>
                <a:gd name="T26" fmla="*/ 4 w 246"/>
                <a:gd name="T27" fmla="*/ 41 h 278"/>
                <a:gd name="T28" fmla="*/ 4 w 246"/>
                <a:gd name="T29" fmla="*/ 25 h 278"/>
                <a:gd name="T30" fmla="*/ 25 w 246"/>
                <a:gd name="T31" fmla="*/ 4 h 278"/>
                <a:gd name="T32" fmla="*/ 40 w 246"/>
                <a:gd name="T33" fmla="*/ 4 h 278"/>
                <a:gd name="T34" fmla="*/ 232 w 246"/>
                <a:gd name="T35" fmla="*/ 196 h 278"/>
                <a:gd name="T36" fmla="*/ 235 w 246"/>
                <a:gd name="T37" fmla="*/ 208 h 278"/>
                <a:gd name="T38" fmla="*/ 225 w 246"/>
                <a:gd name="T39" fmla="*/ 214 h 278"/>
                <a:gd name="T40" fmla="*/ 75 w 246"/>
                <a:gd name="T41" fmla="*/ 214 h 278"/>
                <a:gd name="T42" fmla="*/ 65 w 246"/>
                <a:gd name="T43" fmla="*/ 204 h 278"/>
                <a:gd name="T44" fmla="*/ 65 w 246"/>
                <a:gd name="T45" fmla="*/ 59 h 278"/>
                <a:gd name="T46" fmla="*/ 86 w 246"/>
                <a:gd name="T47" fmla="*/ 193 h 278"/>
                <a:gd name="T48" fmla="*/ 199 w 246"/>
                <a:gd name="T49" fmla="*/ 193 h 278"/>
                <a:gd name="T50" fmla="*/ 86 w 246"/>
                <a:gd name="T51" fmla="*/ 80 h 278"/>
                <a:gd name="T52" fmla="*/ 86 w 246"/>
                <a:gd name="T53" fmla="*/ 19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78">
                  <a:moveTo>
                    <a:pt x="246" y="257"/>
                  </a:moveTo>
                  <a:cubicBezTo>
                    <a:pt x="246" y="269"/>
                    <a:pt x="236" y="278"/>
                    <a:pt x="225" y="278"/>
                  </a:cubicBezTo>
                  <a:cubicBezTo>
                    <a:pt x="213" y="278"/>
                    <a:pt x="203" y="269"/>
                    <a:pt x="203" y="257"/>
                  </a:cubicBezTo>
                  <a:cubicBezTo>
                    <a:pt x="203" y="245"/>
                    <a:pt x="213" y="236"/>
                    <a:pt x="225" y="236"/>
                  </a:cubicBezTo>
                  <a:cubicBezTo>
                    <a:pt x="236" y="236"/>
                    <a:pt x="246" y="245"/>
                    <a:pt x="246" y="257"/>
                  </a:cubicBezTo>
                  <a:close/>
                  <a:moveTo>
                    <a:pt x="65" y="236"/>
                  </a:moveTo>
                  <a:cubicBezTo>
                    <a:pt x="53" y="236"/>
                    <a:pt x="43" y="245"/>
                    <a:pt x="43" y="257"/>
                  </a:cubicBezTo>
                  <a:cubicBezTo>
                    <a:pt x="43" y="269"/>
                    <a:pt x="53" y="278"/>
                    <a:pt x="65" y="278"/>
                  </a:cubicBezTo>
                  <a:cubicBezTo>
                    <a:pt x="76" y="278"/>
                    <a:pt x="86" y="269"/>
                    <a:pt x="86" y="257"/>
                  </a:cubicBezTo>
                  <a:cubicBezTo>
                    <a:pt x="86" y="245"/>
                    <a:pt x="76" y="236"/>
                    <a:pt x="65" y="236"/>
                  </a:cubicBezTo>
                  <a:close/>
                  <a:moveTo>
                    <a:pt x="65" y="59"/>
                  </a:moveTo>
                  <a:cubicBezTo>
                    <a:pt x="33" y="27"/>
                    <a:pt x="33" y="27"/>
                    <a:pt x="33" y="27"/>
                  </a:cubicBezTo>
                  <a:cubicBezTo>
                    <a:pt x="19" y="41"/>
                    <a:pt x="19" y="41"/>
                    <a:pt x="19" y="41"/>
                  </a:cubicBezTo>
                  <a:cubicBezTo>
                    <a:pt x="15" y="45"/>
                    <a:pt x="8" y="45"/>
                    <a:pt x="4" y="41"/>
                  </a:cubicBezTo>
                  <a:cubicBezTo>
                    <a:pt x="0" y="36"/>
                    <a:pt x="0" y="30"/>
                    <a:pt x="4" y="25"/>
                  </a:cubicBezTo>
                  <a:cubicBezTo>
                    <a:pt x="25" y="4"/>
                    <a:pt x="25" y="4"/>
                    <a:pt x="25" y="4"/>
                  </a:cubicBezTo>
                  <a:cubicBezTo>
                    <a:pt x="29" y="0"/>
                    <a:pt x="36" y="0"/>
                    <a:pt x="40" y="4"/>
                  </a:cubicBezTo>
                  <a:cubicBezTo>
                    <a:pt x="232" y="196"/>
                    <a:pt x="232" y="196"/>
                    <a:pt x="232" y="196"/>
                  </a:cubicBezTo>
                  <a:cubicBezTo>
                    <a:pt x="235" y="199"/>
                    <a:pt x="236" y="204"/>
                    <a:pt x="235" y="208"/>
                  </a:cubicBezTo>
                  <a:cubicBezTo>
                    <a:pt x="233" y="212"/>
                    <a:pt x="229" y="214"/>
                    <a:pt x="225" y="214"/>
                  </a:cubicBezTo>
                  <a:cubicBezTo>
                    <a:pt x="75" y="214"/>
                    <a:pt x="75" y="214"/>
                    <a:pt x="75" y="214"/>
                  </a:cubicBezTo>
                  <a:cubicBezTo>
                    <a:pt x="69" y="214"/>
                    <a:pt x="65" y="210"/>
                    <a:pt x="65" y="204"/>
                  </a:cubicBezTo>
                  <a:lnTo>
                    <a:pt x="65" y="59"/>
                  </a:lnTo>
                  <a:close/>
                  <a:moveTo>
                    <a:pt x="86" y="193"/>
                  </a:moveTo>
                  <a:cubicBezTo>
                    <a:pt x="199" y="193"/>
                    <a:pt x="199" y="193"/>
                    <a:pt x="199" y="193"/>
                  </a:cubicBezTo>
                  <a:cubicBezTo>
                    <a:pt x="86" y="80"/>
                    <a:pt x="86" y="80"/>
                    <a:pt x="86" y="80"/>
                  </a:cubicBezTo>
                  <a:lnTo>
                    <a:pt x="86"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2" name="Freeform 523">
            <a:extLst>
              <a:ext uri="{FF2B5EF4-FFF2-40B4-BE49-F238E27FC236}">
                <a16:creationId xmlns:a16="http://schemas.microsoft.com/office/drawing/2014/main" id="{BB3F01F6-481C-4587-A1EC-BDF4083A5AD3}"/>
              </a:ext>
            </a:extLst>
          </p:cNvPr>
          <p:cNvSpPr>
            <a:spLocks noChangeAspect="1" noEditPoints="1"/>
          </p:cNvSpPr>
          <p:nvPr/>
        </p:nvSpPr>
        <p:spPr bwMode="auto">
          <a:xfrm>
            <a:off x="10042467" y="2522228"/>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394 h 512"/>
              <a:gd name="T12" fmla="*/ 170 w 512"/>
              <a:gd name="T13" fmla="*/ 373 h 512"/>
              <a:gd name="T14" fmla="*/ 192 w 512"/>
              <a:gd name="T15" fmla="*/ 352 h 512"/>
              <a:gd name="T16" fmla="*/ 213 w 512"/>
              <a:gd name="T17" fmla="*/ 373 h 512"/>
              <a:gd name="T18" fmla="*/ 192 w 512"/>
              <a:gd name="T19" fmla="*/ 394 h 512"/>
              <a:gd name="T20" fmla="*/ 202 w 512"/>
              <a:gd name="T21" fmla="*/ 330 h 512"/>
              <a:gd name="T22" fmla="*/ 192 w 512"/>
              <a:gd name="T23" fmla="*/ 320 h 512"/>
              <a:gd name="T24" fmla="*/ 192 w 512"/>
              <a:gd name="T25" fmla="*/ 175 h 512"/>
              <a:gd name="T26" fmla="*/ 160 w 512"/>
              <a:gd name="T27" fmla="*/ 143 h 512"/>
              <a:gd name="T28" fmla="*/ 146 w 512"/>
              <a:gd name="T29" fmla="*/ 157 h 512"/>
              <a:gd name="T30" fmla="*/ 131 w 512"/>
              <a:gd name="T31" fmla="*/ 157 h 512"/>
              <a:gd name="T32" fmla="*/ 131 w 512"/>
              <a:gd name="T33" fmla="*/ 141 h 512"/>
              <a:gd name="T34" fmla="*/ 152 w 512"/>
              <a:gd name="T35" fmla="*/ 120 h 512"/>
              <a:gd name="T36" fmla="*/ 167 w 512"/>
              <a:gd name="T37" fmla="*/ 120 h 512"/>
              <a:gd name="T38" fmla="*/ 359 w 512"/>
              <a:gd name="T39" fmla="*/ 312 h 512"/>
              <a:gd name="T40" fmla="*/ 362 w 512"/>
              <a:gd name="T41" fmla="*/ 324 h 512"/>
              <a:gd name="T42" fmla="*/ 352 w 512"/>
              <a:gd name="T43" fmla="*/ 330 h 512"/>
              <a:gd name="T44" fmla="*/ 202 w 512"/>
              <a:gd name="T45" fmla="*/ 330 h 512"/>
              <a:gd name="T46" fmla="*/ 352 w 512"/>
              <a:gd name="T47" fmla="*/ 394 h 512"/>
              <a:gd name="T48" fmla="*/ 330 w 512"/>
              <a:gd name="T49" fmla="*/ 373 h 512"/>
              <a:gd name="T50" fmla="*/ 352 w 512"/>
              <a:gd name="T51" fmla="*/ 352 h 512"/>
              <a:gd name="T52" fmla="*/ 373 w 512"/>
              <a:gd name="T53" fmla="*/ 373 h 512"/>
              <a:gd name="T54" fmla="*/ 352 w 512"/>
              <a:gd name="T55" fmla="*/ 394 h 512"/>
              <a:gd name="T56" fmla="*/ 213 w 512"/>
              <a:gd name="T57" fmla="*/ 196 h 512"/>
              <a:gd name="T58" fmla="*/ 326 w 512"/>
              <a:gd name="T59" fmla="*/ 309 h 512"/>
              <a:gd name="T60" fmla="*/ 213 w 512"/>
              <a:gd name="T61" fmla="*/ 309 h 512"/>
              <a:gd name="T62" fmla="*/ 213 w 512"/>
              <a:gd name="T63" fmla="*/ 19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394"/>
                </a:moveTo>
                <a:cubicBezTo>
                  <a:pt x="180" y="394"/>
                  <a:pt x="170" y="385"/>
                  <a:pt x="170" y="373"/>
                </a:cubicBezTo>
                <a:cubicBezTo>
                  <a:pt x="170" y="361"/>
                  <a:pt x="180" y="352"/>
                  <a:pt x="192" y="352"/>
                </a:cubicBezTo>
                <a:cubicBezTo>
                  <a:pt x="203" y="352"/>
                  <a:pt x="213" y="361"/>
                  <a:pt x="213" y="373"/>
                </a:cubicBezTo>
                <a:cubicBezTo>
                  <a:pt x="213" y="385"/>
                  <a:pt x="203" y="394"/>
                  <a:pt x="192" y="394"/>
                </a:cubicBezTo>
                <a:close/>
                <a:moveTo>
                  <a:pt x="202" y="330"/>
                </a:moveTo>
                <a:cubicBezTo>
                  <a:pt x="196" y="330"/>
                  <a:pt x="192" y="326"/>
                  <a:pt x="192" y="320"/>
                </a:cubicBezTo>
                <a:cubicBezTo>
                  <a:pt x="192" y="175"/>
                  <a:pt x="192" y="175"/>
                  <a:pt x="192" y="175"/>
                </a:cubicBezTo>
                <a:cubicBezTo>
                  <a:pt x="160" y="143"/>
                  <a:pt x="160" y="143"/>
                  <a:pt x="160" y="143"/>
                </a:cubicBezTo>
                <a:cubicBezTo>
                  <a:pt x="146" y="157"/>
                  <a:pt x="146" y="157"/>
                  <a:pt x="146" y="157"/>
                </a:cubicBezTo>
                <a:cubicBezTo>
                  <a:pt x="142" y="161"/>
                  <a:pt x="135" y="161"/>
                  <a:pt x="131" y="157"/>
                </a:cubicBezTo>
                <a:cubicBezTo>
                  <a:pt x="127" y="152"/>
                  <a:pt x="127" y="146"/>
                  <a:pt x="131" y="141"/>
                </a:cubicBezTo>
                <a:cubicBezTo>
                  <a:pt x="152" y="120"/>
                  <a:pt x="152" y="120"/>
                  <a:pt x="152" y="120"/>
                </a:cubicBezTo>
                <a:cubicBezTo>
                  <a:pt x="156" y="116"/>
                  <a:pt x="163" y="116"/>
                  <a:pt x="167" y="120"/>
                </a:cubicBezTo>
                <a:cubicBezTo>
                  <a:pt x="359" y="312"/>
                  <a:pt x="359" y="312"/>
                  <a:pt x="359" y="312"/>
                </a:cubicBezTo>
                <a:cubicBezTo>
                  <a:pt x="362" y="315"/>
                  <a:pt x="363" y="320"/>
                  <a:pt x="362" y="324"/>
                </a:cubicBezTo>
                <a:cubicBezTo>
                  <a:pt x="360" y="328"/>
                  <a:pt x="356" y="330"/>
                  <a:pt x="352" y="330"/>
                </a:cubicBezTo>
                <a:lnTo>
                  <a:pt x="202" y="330"/>
                </a:lnTo>
                <a:close/>
                <a:moveTo>
                  <a:pt x="352" y="394"/>
                </a:moveTo>
                <a:cubicBezTo>
                  <a:pt x="340" y="394"/>
                  <a:pt x="330" y="385"/>
                  <a:pt x="330" y="373"/>
                </a:cubicBezTo>
                <a:cubicBezTo>
                  <a:pt x="330" y="361"/>
                  <a:pt x="340" y="352"/>
                  <a:pt x="352" y="352"/>
                </a:cubicBezTo>
                <a:cubicBezTo>
                  <a:pt x="363" y="352"/>
                  <a:pt x="373" y="361"/>
                  <a:pt x="373" y="373"/>
                </a:cubicBezTo>
                <a:cubicBezTo>
                  <a:pt x="373" y="385"/>
                  <a:pt x="363" y="394"/>
                  <a:pt x="352" y="394"/>
                </a:cubicBezTo>
                <a:close/>
                <a:moveTo>
                  <a:pt x="213" y="196"/>
                </a:moveTo>
                <a:cubicBezTo>
                  <a:pt x="326" y="309"/>
                  <a:pt x="326" y="309"/>
                  <a:pt x="326" y="309"/>
                </a:cubicBezTo>
                <a:cubicBezTo>
                  <a:pt x="213" y="309"/>
                  <a:pt x="213" y="309"/>
                  <a:pt x="213" y="309"/>
                </a:cubicBezTo>
                <a:lnTo>
                  <a:pt x="213" y="19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9" name="TextBox 188">
            <a:extLst>
              <a:ext uri="{FF2B5EF4-FFF2-40B4-BE49-F238E27FC236}">
                <a16:creationId xmlns:a16="http://schemas.microsoft.com/office/drawing/2014/main" id="{382E5CD6-0322-4BBC-8BAD-1B7D2A8681DD}"/>
              </a:ext>
            </a:extLst>
          </p:cNvPr>
          <p:cNvSpPr txBox="1"/>
          <p:nvPr/>
        </p:nvSpPr>
        <p:spPr>
          <a:xfrm>
            <a:off x="454374" y="3705192"/>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Yoga</a:t>
            </a:r>
            <a:br>
              <a:rPr lang="en-US" sz="1000" dirty="0">
                <a:solidFill>
                  <a:srgbClr val="313131"/>
                </a:solidFill>
              </a:rPr>
            </a:br>
            <a:r>
              <a:rPr lang="en-US" sz="1000" dirty="0">
                <a:solidFill>
                  <a:srgbClr val="313131"/>
                </a:solidFill>
              </a:rPr>
              <a:t>Lotus flower</a:t>
            </a:r>
          </a:p>
        </p:txBody>
      </p:sp>
      <p:grpSp>
        <p:nvGrpSpPr>
          <p:cNvPr id="190" name="Group 189">
            <a:extLst>
              <a:ext uri="{FF2B5EF4-FFF2-40B4-BE49-F238E27FC236}">
                <a16:creationId xmlns:a16="http://schemas.microsoft.com/office/drawing/2014/main" id="{91445F04-C1AA-41EE-AA14-F4BEEF2B5873}"/>
              </a:ext>
            </a:extLst>
          </p:cNvPr>
          <p:cNvGrpSpPr/>
          <p:nvPr/>
        </p:nvGrpSpPr>
        <p:grpSpPr>
          <a:xfrm>
            <a:off x="883885" y="3286869"/>
            <a:ext cx="369021" cy="369021"/>
            <a:chOff x="6839869" y="3362787"/>
            <a:chExt cx="369021" cy="369021"/>
          </a:xfrm>
          <a:solidFill>
            <a:schemeClr val="bg2"/>
          </a:solidFill>
        </p:grpSpPr>
        <p:sp>
          <p:nvSpPr>
            <p:cNvPr id="191" name="Freeform 5">
              <a:extLst>
                <a:ext uri="{FF2B5EF4-FFF2-40B4-BE49-F238E27FC236}">
                  <a16:creationId xmlns:a16="http://schemas.microsoft.com/office/drawing/2014/main" id="{41B10F01-B596-49E1-8476-94D62FBABCF3}"/>
                </a:ext>
              </a:extLst>
            </p:cNvPr>
            <p:cNvSpPr>
              <a:spLocks noEditPoints="1"/>
            </p:cNvSpPr>
            <p:nvPr/>
          </p:nvSpPr>
          <p:spPr bwMode="auto">
            <a:xfrm>
              <a:off x="6887280" y="3449517"/>
              <a:ext cx="279905" cy="177785"/>
            </a:xfrm>
            <a:custGeom>
              <a:avLst/>
              <a:gdLst>
                <a:gd name="T0" fmla="*/ 6217 w 6813"/>
                <a:gd name="T1" fmla="*/ 2653 h 4321"/>
                <a:gd name="T2" fmla="*/ 4502 w 6813"/>
                <a:gd name="T3" fmla="*/ 3928 h 4321"/>
                <a:gd name="T4" fmla="*/ 5542 w 6813"/>
                <a:gd name="T5" fmla="*/ 2133 h 4321"/>
                <a:gd name="T6" fmla="*/ 6368 w 6813"/>
                <a:gd name="T7" fmla="*/ 2204 h 4321"/>
                <a:gd name="T8" fmla="*/ 6217 w 6813"/>
                <a:gd name="T9" fmla="*/ 2653 h 4321"/>
                <a:gd name="T10" fmla="*/ 1443 w 6813"/>
                <a:gd name="T11" fmla="*/ 3656 h 4321"/>
                <a:gd name="T12" fmla="*/ 444 w 6813"/>
                <a:gd name="T13" fmla="*/ 2204 h 4321"/>
                <a:gd name="T14" fmla="*/ 1604 w 6813"/>
                <a:gd name="T15" fmla="*/ 3187 h 4321"/>
                <a:gd name="T16" fmla="*/ 1443 w 6813"/>
                <a:gd name="T17" fmla="*/ 3656 h 4321"/>
                <a:gd name="T18" fmla="*/ 1665 w 6813"/>
                <a:gd name="T19" fmla="*/ 1701 h 4321"/>
                <a:gd name="T20" fmla="*/ 1742 w 6813"/>
                <a:gd name="T21" fmla="*/ 1234 h 4321"/>
                <a:gd name="T22" fmla="*/ 3181 w 6813"/>
                <a:gd name="T23" fmla="*/ 2239 h 4321"/>
                <a:gd name="T24" fmla="*/ 2903 w 6813"/>
                <a:gd name="T25" fmla="*/ 3790 h 4321"/>
                <a:gd name="T26" fmla="*/ 1665 w 6813"/>
                <a:gd name="T27" fmla="*/ 1701 h 4321"/>
                <a:gd name="T28" fmla="*/ 3092 w 6813"/>
                <a:gd name="T29" fmla="*/ 885 h 4321"/>
                <a:gd name="T30" fmla="*/ 3395 w 6813"/>
                <a:gd name="T31" fmla="*/ 521 h 4321"/>
                <a:gd name="T32" fmla="*/ 3406 w 6813"/>
                <a:gd name="T33" fmla="*/ 1860 h 4321"/>
                <a:gd name="T34" fmla="*/ 3092 w 6813"/>
                <a:gd name="T35" fmla="*/ 885 h 4321"/>
                <a:gd name="T36" fmla="*/ 5071 w 6813"/>
                <a:gd name="T37" fmla="*/ 1234 h 4321"/>
                <a:gd name="T38" fmla="*/ 5147 w 6813"/>
                <a:gd name="T39" fmla="*/ 1701 h 4321"/>
                <a:gd name="T40" fmla="*/ 3909 w 6813"/>
                <a:gd name="T41" fmla="*/ 3790 h 4321"/>
                <a:gd name="T42" fmla="*/ 3628 w 6813"/>
                <a:gd name="T43" fmla="*/ 2245 h 4321"/>
                <a:gd name="T44" fmla="*/ 5071 w 6813"/>
                <a:gd name="T45" fmla="*/ 1234 h 4321"/>
                <a:gd name="T46" fmla="*/ 6667 w 6813"/>
                <a:gd name="T47" fmla="*/ 1879 h 4321"/>
                <a:gd name="T48" fmla="*/ 5549 w 6813"/>
                <a:gd name="T49" fmla="*/ 1733 h 4321"/>
                <a:gd name="T50" fmla="*/ 5337 w 6813"/>
                <a:gd name="T51" fmla="*/ 787 h 4321"/>
                <a:gd name="T52" fmla="*/ 4293 w 6813"/>
                <a:gd name="T53" fmla="*/ 1106 h 4321"/>
                <a:gd name="T54" fmla="*/ 3391 w 6813"/>
                <a:gd name="T55" fmla="*/ 0 h 4321"/>
                <a:gd name="T56" fmla="*/ 2512 w 6813"/>
                <a:gd name="T57" fmla="*/ 1102 h 4321"/>
                <a:gd name="T58" fmla="*/ 1475 w 6813"/>
                <a:gd name="T59" fmla="*/ 787 h 4321"/>
                <a:gd name="T60" fmla="*/ 1264 w 6813"/>
                <a:gd name="T61" fmla="*/ 1733 h 4321"/>
                <a:gd name="T62" fmla="*/ 0 w 6813"/>
                <a:gd name="T63" fmla="*/ 1934 h 4321"/>
                <a:gd name="T64" fmla="*/ 1237 w 6813"/>
                <a:gd name="T65" fmla="*/ 3995 h 4321"/>
                <a:gd name="T66" fmla="*/ 4593 w 6813"/>
                <a:gd name="T67" fmla="*/ 4319 h 4321"/>
                <a:gd name="T68" fmla="*/ 6794 w 6813"/>
                <a:gd name="T69" fmla="*/ 2088 h 4321"/>
                <a:gd name="T70" fmla="*/ 6667 w 6813"/>
                <a:gd name="T71" fmla="*/ 1879 h 4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13" h="4321">
                  <a:moveTo>
                    <a:pt x="6217" y="2653"/>
                  </a:moveTo>
                  <a:lnTo>
                    <a:pt x="6217" y="2653"/>
                  </a:lnTo>
                  <a:cubicBezTo>
                    <a:pt x="6024" y="3094"/>
                    <a:pt x="5739" y="3431"/>
                    <a:pt x="5369" y="3656"/>
                  </a:cubicBezTo>
                  <a:cubicBezTo>
                    <a:pt x="5105" y="3817"/>
                    <a:pt x="4814" y="3908"/>
                    <a:pt x="4502" y="3928"/>
                  </a:cubicBezTo>
                  <a:cubicBezTo>
                    <a:pt x="4756" y="3760"/>
                    <a:pt x="5008" y="3523"/>
                    <a:pt x="5208" y="3187"/>
                  </a:cubicBezTo>
                  <a:cubicBezTo>
                    <a:pt x="5421" y="2830"/>
                    <a:pt x="5514" y="2464"/>
                    <a:pt x="5542" y="2133"/>
                  </a:cubicBezTo>
                  <a:cubicBezTo>
                    <a:pt x="5658" y="2124"/>
                    <a:pt x="5777" y="2123"/>
                    <a:pt x="5900" y="2131"/>
                  </a:cubicBezTo>
                  <a:cubicBezTo>
                    <a:pt x="6093" y="2144"/>
                    <a:pt x="6257" y="2176"/>
                    <a:pt x="6368" y="2204"/>
                  </a:cubicBezTo>
                  <a:cubicBezTo>
                    <a:pt x="6341" y="2316"/>
                    <a:pt x="6295" y="2476"/>
                    <a:pt x="6217" y="2653"/>
                  </a:cubicBezTo>
                  <a:lnTo>
                    <a:pt x="6217" y="2653"/>
                  </a:lnTo>
                  <a:close/>
                  <a:moveTo>
                    <a:pt x="1443" y="3656"/>
                  </a:moveTo>
                  <a:lnTo>
                    <a:pt x="1443" y="3656"/>
                  </a:lnTo>
                  <a:cubicBezTo>
                    <a:pt x="1073" y="3431"/>
                    <a:pt x="788" y="3094"/>
                    <a:pt x="595" y="2653"/>
                  </a:cubicBezTo>
                  <a:cubicBezTo>
                    <a:pt x="517" y="2476"/>
                    <a:pt x="471" y="2316"/>
                    <a:pt x="444" y="2204"/>
                  </a:cubicBezTo>
                  <a:cubicBezTo>
                    <a:pt x="619" y="2160"/>
                    <a:pt x="921" y="2106"/>
                    <a:pt x="1270" y="2133"/>
                  </a:cubicBezTo>
                  <a:cubicBezTo>
                    <a:pt x="1299" y="2464"/>
                    <a:pt x="1391" y="2831"/>
                    <a:pt x="1604" y="3187"/>
                  </a:cubicBezTo>
                  <a:cubicBezTo>
                    <a:pt x="1804" y="3523"/>
                    <a:pt x="2056" y="3760"/>
                    <a:pt x="2310" y="3928"/>
                  </a:cubicBezTo>
                  <a:cubicBezTo>
                    <a:pt x="1999" y="3908"/>
                    <a:pt x="1708" y="3817"/>
                    <a:pt x="1443" y="3656"/>
                  </a:cubicBezTo>
                  <a:lnTo>
                    <a:pt x="1443" y="3656"/>
                  </a:lnTo>
                  <a:close/>
                  <a:moveTo>
                    <a:pt x="1665" y="1701"/>
                  </a:moveTo>
                  <a:lnTo>
                    <a:pt x="1665" y="1701"/>
                  </a:lnTo>
                  <a:cubicBezTo>
                    <a:pt x="1679" y="1508"/>
                    <a:pt x="1713" y="1345"/>
                    <a:pt x="1742" y="1234"/>
                  </a:cubicBezTo>
                  <a:cubicBezTo>
                    <a:pt x="1853" y="1261"/>
                    <a:pt x="2013" y="1309"/>
                    <a:pt x="2189" y="1388"/>
                  </a:cubicBezTo>
                  <a:cubicBezTo>
                    <a:pt x="2626" y="1584"/>
                    <a:pt x="2960" y="1870"/>
                    <a:pt x="3181" y="2239"/>
                  </a:cubicBezTo>
                  <a:cubicBezTo>
                    <a:pt x="2884" y="2864"/>
                    <a:pt x="2945" y="3466"/>
                    <a:pt x="3036" y="3838"/>
                  </a:cubicBezTo>
                  <a:cubicBezTo>
                    <a:pt x="2994" y="3824"/>
                    <a:pt x="2949" y="3808"/>
                    <a:pt x="2903" y="3790"/>
                  </a:cubicBezTo>
                  <a:cubicBezTo>
                    <a:pt x="2487" y="3623"/>
                    <a:pt x="2165" y="3352"/>
                    <a:pt x="1945" y="2984"/>
                  </a:cubicBezTo>
                  <a:cubicBezTo>
                    <a:pt x="1724" y="2613"/>
                    <a:pt x="1629" y="2181"/>
                    <a:pt x="1665" y="1701"/>
                  </a:cubicBezTo>
                  <a:lnTo>
                    <a:pt x="1665" y="1701"/>
                  </a:lnTo>
                  <a:close/>
                  <a:moveTo>
                    <a:pt x="3092" y="885"/>
                  </a:moveTo>
                  <a:lnTo>
                    <a:pt x="3092" y="885"/>
                  </a:lnTo>
                  <a:cubicBezTo>
                    <a:pt x="3202" y="726"/>
                    <a:pt x="3314" y="602"/>
                    <a:pt x="3395" y="521"/>
                  </a:cubicBezTo>
                  <a:cubicBezTo>
                    <a:pt x="3541" y="664"/>
                    <a:pt x="3786" y="939"/>
                    <a:pt x="3952" y="1318"/>
                  </a:cubicBezTo>
                  <a:cubicBezTo>
                    <a:pt x="3759" y="1458"/>
                    <a:pt x="3569" y="1636"/>
                    <a:pt x="3406" y="1860"/>
                  </a:cubicBezTo>
                  <a:cubicBezTo>
                    <a:pt x="3241" y="1633"/>
                    <a:pt x="3049" y="1454"/>
                    <a:pt x="2854" y="1313"/>
                  </a:cubicBezTo>
                  <a:cubicBezTo>
                    <a:pt x="2916" y="1168"/>
                    <a:pt x="2996" y="1025"/>
                    <a:pt x="3092" y="885"/>
                  </a:cubicBezTo>
                  <a:lnTo>
                    <a:pt x="3092" y="885"/>
                  </a:lnTo>
                  <a:close/>
                  <a:moveTo>
                    <a:pt x="5071" y="1234"/>
                  </a:moveTo>
                  <a:lnTo>
                    <a:pt x="5071" y="1234"/>
                  </a:lnTo>
                  <a:cubicBezTo>
                    <a:pt x="5099" y="1345"/>
                    <a:pt x="5133" y="1508"/>
                    <a:pt x="5147" y="1701"/>
                  </a:cubicBezTo>
                  <a:cubicBezTo>
                    <a:pt x="5183" y="2181"/>
                    <a:pt x="5089" y="2613"/>
                    <a:pt x="4867" y="2984"/>
                  </a:cubicBezTo>
                  <a:cubicBezTo>
                    <a:pt x="4648" y="3352"/>
                    <a:pt x="4325" y="3623"/>
                    <a:pt x="3909" y="3790"/>
                  </a:cubicBezTo>
                  <a:cubicBezTo>
                    <a:pt x="3734" y="3860"/>
                    <a:pt x="3577" y="3896"/>
                    <a:pt x="3472" y="3914"/>
                  </a:cubicBezTo>
                  <a:cubicBezTo>
                    <a:pt x="3377" y="3632"/>
                    <a:pt x="3216" y="2934"/>
                    <a:pt x="3628" y="2245"/>
                  </a:cubicBezTo>
                  <a:cubicBezTo>
                    <a:pt x="3849" y="1873"/>
                    <a:pt x="4184" y="1585"/>
                    <a:pt x="4623" y="1388"/>
                  </a:cubicBezTo>
                  <a:cubicBezTo>
                    <a:pt x="4800" y="1309"/>
                    <a:pt x="4959" y="1261"/>
                    <a:pt x="5071" y="1234"/>
                  </a:cubicBezTo>
                  <a:lnTo>
                    <a:pt x="5071" y="1234"/>
                  </a:lnTo>
                  <a:close/>
                  <a:moveTo>
                    <a:pt x="6667" y="1879"/>
                  </a:moveTo>
                  <a:lnTo>
                    <a:pt x="6667" y="1879"/>
                  </a:lnTo>
                  <a:cubicBezTo>
                    <a:pt x="6636" y="1867"/>
                    <a:pt x="6161" y="1694"/>
                    <a:pt x="5549" y="1733"/>
                  </a:cubicBezTo>
                  <a:cubicBezTo>
                    <a:pt x="5524" y="1280"/>
                    <a:pt x="5403" y="957"/>
                    <a:pt x="5393" y="932"/>
                  </a:cubicBezTo>
                  <a:lnTo>
                    <a:pt x="5337" y="787"/>
                  </a:lnTo>
                  <a:lnTo>
                    <a:pt x="5183" y="806"/>
                  </a:lnTo>
                  <a:cubicBezTo>
                    <a:pt x="5154" y="810"/>
                    <a:pt x="4751" y="866"/>
                    <a:pt x="4293" y="1106"/>
                  </a:cubicBezTo>
                  <a:cubicBezTo>
                    <a:pt x="4004" y="481"/>
                    <a:pt x="3542" y="117"/>
                    <a:pt x="3514" y="96"/>
                  </a:cubicBezTo>
                  <a:lnTo>
                    <a:pt x="3391" y="0"/>
                  </a:lnTo>
                  <a:lnTo>
                    <a:pt x="3269" y="97"/>
                  </a:lnTo>
                  <a:cubicBezTo>
                    <a:pt x="3242" y="119"/>
                    <a:pt x="2793" y="483"/>
                    <a:pt x="2512" y="1102"/>
                  </a:cubicBezTo>
                  <a:cubicBezTo>
                    <a:pt x="2057" y="865"/>
                    <a:pt x="1659" y="810"/>
                    <a:pt x="1630" y="806"/>
                  </a:cubicBezTo>
                  <a:lnTo>
                    <a:pt x="1475" y="787"/>
                  </a:lnTo>
                  <a:lnTo>
                    <a:pt x="1419" y="932"/>
                  </a:lnTo>
                  <a:cubicBezTo>
                    <a:pt x="1409" y="957"/>
                    <a:pt x="1288" y="1280"/>
                    <a:pt x="1264" y="1733"/>
                  </a:cubicBezTo>
                  <a:cubicBezTo>
                    <a:pt x="651" y="1694"/>
                    <a:pt x="176" y="1867"/>
                    <a:pt x="145" y="1879"/>
                  </a:cubicBezTo>
                  <a:lnTo>
                    <a:pt x="0" y="1934"/>
                  </a:lnTo>
                  <a:lnTo>
                    <a:pt x="18" y="2088"/>
                  </a:lnTo>
                  <a:cubicBezTo>
                    <a:pt x="24" y="2140"/>
                    <a:pt x="181" y="3353"/>
                    <a:pt x="1237" y="3995"/>
                  </a:cubicBezTo>
                  <a:cubicBezTo>
                    <a:pt x="1543" y="4181"/>
                    <a:pt x="1878" y="4290"/>
                    <a:pt x="2234" y="4321"/>
                  </a:cubicBezTo>
                  <a:lnTo>
                    <a:pt x="4593" y="4319"/>
                  </a:lnTo>
                  <a:cubicBezTo>
                    <a:pt x="4944" y="4287"/>
                    <a:pt x="5274" y="4179"/>
                    <a:pt x="5576" y="3995"/>
                  </a:cubicBezTo>
                  <a:cubicBezTo>
                    <a:pt x="6632" y="3353"/>
                    <a:pt x="6788" y="2140"/>
                    <a:pt x="6794" y="2088"/>
                  </a:cubicBezTo>
                  <a:lnTo>
                    <a:pt x="6813" y="1934"/>
                  </a:lnTo>
                  <a:lnTo>
                    <a:pt x="6667" y="18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518">
              <a:extLst>
                <a:ext uri="{FF2B5EF4-FFF2-40B4-BE49-F238E27FC236}">
                  <a16:creationId xmlns:a16="http://schemas.microsoft.com/office/drawing/2014/main" id="{81DE537F-11DF-427B-B4A0-0BA52E0F0278}"/>
                </a:ext>
              </a:extLst>
            </p:cNvPr>
            <p:cNvSpPr>
              <a:spLocks noEditPoints="1"/>
            </p:cNvSpPr>
            <p:nvPr/>
          </p:nvSpPr>
          <p:spPr bwMode="auto">
            <a:xfrm>
              <a:off x="6839869" y="3362787"/>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3" name="Group 192">
            <a:extLst>
              <a:ext uri="{FF2B5EF4-FFF2-40B4-BE49-F238E27FC236}">
                <a16:creationId xmlns:a16="http://schemas.microsoft.com/office/drawing/2014/main" id="{99FEF246-5740-4C06-9A1A-130B3B3E42C2}"/>
              </a:ext>
            </a:extLst>
          </p:cNvPr>
          <p:cNvGrpSpPr/>
          <p:nvPr/>
        </p:nvGrpSpPr>
        <p:grpSpPr>
          <a:xfrm>
            <a:off x="454374" y="3286869"/>
            <a:ext cx="369021" cy="369021"/>
            <a:chOff x="6410358" y="3362787"/>
            <a:chExt cx="369021" cy="369021"/>
          </a:xfrm>
        </p:grpSpPr>
        <p:sp>
          <p:nvSpPr>
            <p:cNvPr id="194" name="Oval 193">
              <a:extLst>
                <a:ext uri="{FF2B5EF4-FFF2-40B4-BE49-F238E27FC236}">
                  <a16:creationId xmlns:a16="http://schemas.microsoft.com/office/drawing/2014/main" id="{60600693-9B71-45F9-822B-D614C20828F5}"/>
                </a:ext>
              </a:extLst>
            </p:cNvPr>
            <p:cNvSpPr/>
            <p:nvPr/>
          </p:nvSpPr>
          <p:spPr bwMode="gray">
            <a:xfrm>
              <a:off x="6410358" y="3362787"/>
              <a:ext cx="369021" cy="369021"/>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5" name="Freeform 5">
              <a:extLst>
                <a:ext uri="{FF2B5EF4-FFF2-40B4-BE49-F238E27FC236}">
                  <a16:creationId xmlns:a16="http://schemas.microsoft.com/office/drawing/2014/main" id="{7E43D62A-32B3-4E15-8E22-29995A1C387A}"/>
                </a:ext>
              </a:extLst>
            </p:cNvPr>
            <p:cNvSpPr>
              <a:spLocks noEditPoints="1"/>
            </p:cNvSpPr>
            <p:nvPr/>
          </p:nvSpPr>
          <p:spPr bwMode="auto">
            <a:xfrm>
              <a:off x="6455529" y="3458406"/>
              <a:ext cx="279905" cy="177785"/>
            </a:xfrm>
            <a:custGeom>
              <a:avLst/>
              <a:gdLst>
                <a:gd name="T0" fmla="*/ 6217 w 6813"/>
                <a:gd name="T1" fmla="*/ 2653 h 4321"/>
                <a:gd name="T2" fmla="*/ 4502 w 6813"/>
                <a:gd name="T3" fmla="*/ 3928 h 4321"/>
                <a:gd name="T4" fmla="*/ 5542 w 6813"/>
                <a:gd name="T5" fmla="*/ 2133 h 4321"/>
                <a:gd name="T6" fmla="*/ 6368 w 6813"/>
                <a:gd name="T7" fmla="*/ 2204 h 4321"/>
                <a:gd name="T8" fmla="*/ 6217 w 6813"/>
                <a:gd name="T9" fmla="*/ 2653 h 4321"/>
                <a:gd name="T10" fmla="*/ 1443 w 6813"/>
                <a:gd name="T11" fmla="*/ 3656 h 4321"/>
                <a:gd name="T12" fmla="*/ 444 w 6813"/>
                <a:gd name="T13" fmla="*/ 2204 h 4321"/>
                <a:gd name="T14" fmla="*/ 1604 w 6813"/>
                <a:gd name="T15" fmla="*/ 3187 h 4321"/>
                <a:gd name="T16" fmla="*/ 1443 w 6813"/>
                <a:gd name="T17" fmla="*/ 3656 h 4321"/>
                <a:gd name="T18" fmla="*/ 1665 w 6813"/>
                <a:gd name="T19" fmla="*/ 1701 h 4321"/>
                <a:gd name="T20" fmla="*/ 1742 w 6813"/>
                <a:gd name="T21" fmla="*/ 1234 h 4321"/>
                <a:gd name="T22" fmla="*/ 3181 w 6813"/>
                <a:gd name="T23" fmla="*/ 2239 h 4321"/>
                <a:gd name="T24" fmla="*/ 2903 w 6813"/>
                <a:gd name="T25" fmla="*/ 3790 h 4321"/>
                <a:gd name="T26" fmla="*/ 1665 w 6813"/>
                <a:gd name="T27" fmla="*/ 1701 h 4321"/>
                <a:gd name="T28" fmla="*/ 3092 w 6813"/>
                <a:gd name="T29" fmla="*/ 885 h 4321"/>
                <a:gd name="T30" fmla="*/ 3395 w 6813"/>
                <a:gd name="T31" fmla="*/ 521 h 4321"/>
                <a:gd name="T32" fmla="*/ 3406 w 6813"/>
                <a:gd name="T33" fmla="*/ 1860 h 4321"/>
                <a:gd name="T34" fmla="*/ 3092 w 6813"/>
                <a:gd name="T35" fmla="*/ 885 h 4321"/>
                <a:gd name="T36" fmla="*/ 5071 w 6813"/>
                <a:gd name="T37" fmla="*/ 1234 h 4321"/>
                <a:gd name="T38" fmla="*/ 5147 w 6813"/>
                <a:gd name="T39" fmla="*/ 1701 h 4321"/>
                <a:gd name="T40" fmla="*/ 3909 w 6813"/>
                <a:gd name="T41" fmla="*/ 3790 h 4321"/>
                <a:gd name="T42" fmla="*/ 3628 w 6813"/>
                <a:gd name="T43" fmla="*/ 2245 h 4321"/>
                <a:gd name="T44" fmla="*/ 5071 w 6813"/>
                <a:gd name="T45" fmla="*/ 1234 h 4321"/>
                <a:gd name="T46" fmla="*/ 6667 w 6813"/>
                <a:gd name="T47" fmla="*/ 1879 h 4321"/>
                <a:gd name="T48" fmla="*/ 5549 w 6813"/>
                <a:gd name="T49" fmla="*/ 1733 h 4321"/>
                <a:gd name="T50" fmla="*/ 5337 w 6813"/>
                <a:gd name="T51" fmla="*/ 787 h 4321"/>
                <a:gd name="T52" fmla="*/ 4293 w 6813"/>
                <a:gd name="T53" fmla="*/ 1106 h 4321"/>
                <a:gd name="T54" fmla="*/ 3391 w 6813"/>
                <a:gd name="T55" fmla="*/ 0 h 4321"/>
                <a:gd name="T56" fmla="*/ 2512 w 6813"/>
                <a:gd name="T57" fmla="*/ 1102 h 4321"/>
                <a:gd name="T58" fmla="*/ 1475 w 6813"/>
                <a:gd name="T59" fmla="*/ 787 h 4321"/>
                <a:gd name="T60" fmla="*/ 1264 w 6813"/>
                <a:gd name="T61" fmla="*/ 1733 h 4321"/>
                <a:gd name="T62" fmla="*/ 0 w 6813"/>
                <a:gd name="T63" fmla="*/ 1934 h 4321"/>
                <a:gd name="T64" fmla="*/ 1237 w 6813"/>
                <a:gd name="T65" fmla="*/ 3995 h 4321"/>
                <a:gd name="T66" fmla="*/ 4593 w 6813"/>
                <a:gd name="T67" fmla="*/ 4319 h 4321"/>
                <a:gd name="T68" fmla="*/ 6794 w 6813"/>
                <a:gd name="T69" fmla="*/ 2088 h 4321"/>
                <a:gd name="T70" fmla="*/ 6667 w 6813"/>
                <a:gd name="T71" fmla="*/ 1879 h 4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13" h="4321">
                  <a:moveTo>
                    <a:pt x="6217" y="2653"/>
                  </a:moveTo>
                  <a:lnTo>
                    <a:pt x="6217" y="2653"/>
                  </a:lnTo>
                  <a:cubicBezTo>
                    <a:pt x="6024" y="3094"/>
                    <a:pt x="5739" y="3431"/>
                    <a:pt x="5369" y="3656"/>
                  </a:cubicBezTo>
                  <a:cubicBezTo>
                    <a:pt x="5105" y="3817"/>
                    <a:pt x="4814" y="3908"/>
                    <a:pt x="4502" y="3928"/>
                  </a:cubicBezTo>
                  <a:cubicBezTo>
                    <a:pt x="4756" y="3760"/>
                    <a:pt x="5008" y="3523"/>
                    <a:pt x="5208" y="3187"/>
                  </a:cubicBezTo>
                  <a:cubicBezTo>
                    <a:pt x="5421" y="2830"/>
                    <a:pt x="5514" y="2464"/>
                    <a:pt x="5542" y="2133"/>
                  </a:cubicBezTo>
                  <a:cubicBezTo>
                    <a:pt x="5658" y="2124"/>
                    <a:pt x="5777" y="2123"/>
                    <a:pt x="5900" y="2131"/>
                  </a:cubicBezTo>
                  <a:cubicBezTo>
                    <a:pt x="6093" y="2144"/>
                    <a:pt x="6257" y="2176"/>
                    <a:pt x="6368" y="2204"/>
                  </a:cubicBezTo>
                  <a:cubicBezTo>
                    <a:pt x="6341" y="2316"/>
                    <a:pt x="6295" y="2476"/>
                    <a:pt x="6217" y="2653"/>
                  </a:cubicBezTo>
                  <a:lnTo>
                    <a:pt x="6217" y="2653"/>
                  </a:lnTo>
                  <a:close/>
                  <a:moveTo>
                    <a:pt x="1443" y="3656"/>
                  </a:moveTo>
                  <a:lnTo>
                    <a:pt x="1443" y="3656"/>
                  </a:lnTo>
                  <a:cubicBezTo>
                    <a:pt x="1073" y="3431"/>
                    <a:pt x="788" y="3094"/>
                    <a:pt x="595" y="2653"/>
                  </a:cubicBezTo>
                  <a:cubicBezTo>
                    <a:pt x="517" y="2476"/>
                    <a:pt x="471" y="2316"/>
                    <a:pt x="444" y="2204"/>
                  </a:cubicBezTo>
                  <a:cubicBezTo>
                    <a:pt x="619" y="2160"/>
                    <a:pt x="921" y="2106"/>
                    <a:pt x="1270" y="2133"/>
                  </a:cubicBezTo>
                  <a:cubicBezTo>
                    <a:pt x="1299" y="2464"/>
                    <a:pt x="1391" y="2831"/>
                    <a:pt x="1604" y="3187"/>
                  </a:cubicBezTo>
                  <a:cubicBezTo>
                    <a:pt x="1804" y="3523"/>
                    <a:pt x="2056" y="3760"/>
                    <a:pt x="2310" y="3928"/>
                  </a:cubicBezTo>
                  <a:cubicBezTo>
                    <a:pt x="1999" y="3908"/>
                    <a:pt x="1708" y="3817"/>
                    <a:pt x="1443" y="3656"/>
                  </a:cubicBezTo>
                  <a:lnTo>
                    <a:pt x="1443" y="3656"/>
                  </a:lnTo>
                  <a:close/>
                  <a:moveTo>
                    <a:pt x="1665" y="1701"/>
                  </a:moveTo>
                  <a:lnTo>
                    <a:pt x="1665" y="1701"/>
                  </a:lnTo>
                  <a:cubicBezTo>
                    <a:pt x="1679" y="1508"/>
                    <a:pt x="1713" y="1345"/>
                    <a:pt x="1742" y="1234"/>
                  </a:cubicBezTo>
                  <a:cubicBezTo>
                    <a:pt x="1853" y="1261"/>
                    <a:pt x="2013" y="1309"/>
                    <a:pt x="2189" y="1388"/>
                  </a:cubicBezTo>
                  <a:cubicBezTo>
                    <a:pt x="2626" y="1584"/>
                    <a:pt x="2960" y="1870"/>
                    <a:pt x="3181" y="2239"/>
                  </a:cubicBezTo>
                  <a:cubicBezTo>
                    <a:pt x="2884" y="2864"/>
                    <a:pt x="2945" y="3466"/>
                    <a:pt x="3036" y="3838"/>
                  </a:cubicBezTo>
                  <a:cubicBezTo>
                    <a:pt x="2994" y="3824"/>
                    <a:pt x="2949" y="3808"/>
                    <a:pt x="2903" y="3790"/>
                  </a:cubicBezTo>
                  <a:cubicBezTo>
                    <a:pt x="2487" y="3623"/>
                    <a:pt x="2165" y="3352"/>
                    <a:pt x="1945" y="2984"/>
                  </a:cubicBezTo>
                  <a:cubicBezTo>
                    <a:pt x="1724" y="2613"/>
                    <a:pt x="1629" y="2181"/>
                    <a:pt x="1665" y="1701"/>
                  </a:cubicBezTo>
                  <a:lnTo>
                    <a:pt x="1665" y="1701"/>
                  </a:lnTo>
                  <a:close/>
                  <a:moveTo>
                    <a:pt x="3092" y="885"/>
                  </a:moveTo>
                  <a:lnTo>
                    <a:pt x="3092" y="885"/>
                  </a:lnTo>
                  <a:cubicBezTo>
                    <a:pt x="3202" y="726"/>
                    <a:pt x="3314" y="602"/>
                    <a:pt x="3395" y="521"/>
                  </a:cubicBezTo>
                  <a:cubicBezTo>
                    <a:pt x="3541" y="664"/>
                    <a:pt x="3786" y="939"/>
                    <a:pt x="3952" y="1318"/>
                  </a:cubicBezTo>
                  <a:cubicBezTo>
                    <a:pt x="3759" y="1458"/>
                    <a:pt x="3569" y="1636"/>
                    <a:pt x="3406" y="1860"/>
                  </a:cubicBezTo>
                  <a:cubicBezTo>
                    <a:pt x="3241" y="1633"/>
                    <a:pt x="3049" y="1454"/>
                    <a:pt x="2854" y="1313"/>
                  </a:cubicBezTo>
                  <a:cubicBezTo>
                    <a:pt x="2916" y="1168"/>
                    <a:pt x="2996" y="1025"/>
                    <a:pt x="3092" y="885"/>
                  </a:cubicBezTo>
                  <a:lnTo>
                    <a:pt x="3092" y="885"/>
                  </a:lnTo>
                  <a:close/>
                  <a:moveTo>
                    <a:pt x="5071" y="1234"/>
                  </a:moveTo>
                  <a:lnTo>
                    <a:pt x="5071" y="1234"/>
                  </a:lnTo>
                  <a:cubicBezTo>
                    <a:pt x="5099" y="1345"/>
                    <a:pt x="5133" y="1508"/>
                    <a:pt x="5147" y="1701"/>
                  </a:cubicBezTo>
                  <a:cubicBezTo>
                    <a:pt x="5183" y="2181"/>
                    <a:pt x="5089" y="2613"/>
                    <a:pt x="4867" y="2984"/>
                  </a:cubicBezTo>
                  <a:cubicBezTo>
                    <a:pt x="4648" y="3352"/>
                    <a:pt x="4325" y="3623"/>
                    <a:pt x="3909" y="3790"/>
                  </a:cubicBezTo>
                  <a:cubicBezTo>
                    <a:pt x="3734" y="3860"/>
                    <a:pt x="3577" y="3896"/>
                    <a:pt x="3472" y="3914"/>
                  </a:cubicBezTo>
                  <a:cubicBezTo>
                    <a:pt x="3377" y="3632"/>
                    <a:pt x="3216" y="2934"/>
                    <a:pt x="3628" y="2245"/>
                  </a:cubicBezTo>
                  <a:cubicBezTo>
                    <a:pt x="3849" y="1873"/>
                    <a:pt x="4184" y="1585"/>
                    <a:pt x="4623" y="1388"/>
                  </a:cubicBezTo>
                  <a:cubicBezTo>
                    <a:pt x="4800" y="1309"/>
                    <a:pt x="4959" y="1261"/>
                    <a:pt x="5071" y="1234"/>
                  </a:cubicBezTo>
                  <a:lnTo>
                    <a:pt x="5071" y="1234"/>
                  </a:lnTo>
                  <a:close/>
                  <a:moveTo>
                    <a:pt x="6667" y="1879"/>
                  </a:moveTo>
                  <a:lnTo>
                    <a:pt x="6667" y="1879"/>
                  </a:lnTo>
                  <a:cubicBezTo>
                    <a:pt x="6636" y="1867"/>
                    <a:pt x="6161" y="1694"/>
                    <a:pt x="5549" y="1733"/>
                  </a:cubicBezTo>
                  <a:cubicBezTo>
                    <a:pt x="5524" y="1280"/>
                    <a:pt x="5403" y="957"/>
                    <a:pt x="5393" y="932"/>
                  </a:cubicBezTo>
                  <a:lnTo>
                    <a:pt x="5337" y="787"/>
                  </a:lnTo>
                  <a:lnTo>
                    <a:pt x="5183" y="806"/>
                  </a:lnTo>
                  <a:cubicBezTo>
                    <a:pt x="5154" y="810"/>
                    <a:pt x="4751" y="866"/>
                    <a:pt x="4293" y="1106"/>
                  </a:cubicBezTo>
                  <a:cubicBezTo>
                    <a:pt x="4004" y="481"/>
                    <a:pt x="3542" y="117"/>
                    <a:pt x="3514" y="96"/>
                  </a:cubicBezTo>
                  <a:lnTo>
                    <a:pt x="3391" y="0"/>
                  </a:lnTo>
                  <a:lnTo>
                    <a:pt x="3269" y="97"/>
                  </a:lnTo>
                  <a:cubicBezTo>
                    <a:pt x="3242" y="119"/>
                    <a:pt x="2793" y="483"/>
                    <a:pt x="2512" y="1102"/>
                  </a:cubicBezTo>
                  <a:cubicBezTo>
                    <a:pt x="2057" y="865"/>
                    <a:pt x="1659" y="810"/>
                    <a:pt x="1630" y="806"/>
                  </a:cubicBezTo>
                  <a:lnTo>
                    <a:pt x="1475" y="787"/>
                  </a:lnTo>
                  <a:lnTo>
                    <a:pt x="1419" y="932"/>
                  </a:lnTo>
                  <a:cubicBezTo>
                    <a:pt x="1409" y="957"/>
                    <a:pt x="1288" y="1280"/>
                    <a:pt x="1264" y="1733"/>
                  </a:cubicBezTo>
                  <a:cubicBezTo>
                    <a:pt x="651" y="1694"/>
                    <a:pt x="176" y="1867"/>
                    <a:pt x="145" y="1879"/>
                  </a:cubicBezTo>
                  <a:lnTo>
                    <a:pt x="0" y="1934"/>
                  </a:lnTo>
                  <a:lnTo>
                    <a:pt x="18" y="2088"/>
                  </a:lnTo>
                  <a:cubicBezTo>
                    <a:pt x="24" y="2140"/>
                    <a:pt x="181" y="3353"/>
                    <a:pt x="1237" y="3995"/>
                  </a:cubicBezTo>
                  <a:cubicBezTo>
                    <a:pt x="1543" y="4181"/>
                    <a:pt x="1878" y="4290"/>
                    <a:pt x="2234" y="4321"/>
                  </a:cubicBezTo>
                  <a:lnTo>
                    <a:pt x="4593" y="4319"/>
                  </a:lnTo>
                  <a:cubicBezTo>
                    <a:pt x="4944" y="4287"/>
                    <a:pt x="5274" y="4179"/>
                    <a:pt x="5576" y="3995"/>
                  </a:cubicBezTo>
                  <a:cubicBezTo>
                    <a:pt x="6632" y="3353"/>
                    <a:pt x="6788" y="2140"/>
                    <a:pt x="6794" y="2088"/>
                  </a:cubicBezTo>
                  <a:lnTo>
                    <a:pt x="6813" y="1934"/>
                  </a:lnTo>
                  <a:lnTo>
                    <a:pt x="6667" y="1879"/>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96" name="Group 195">
            <a:extLst>
              <a:ext uri="{FF2B5EF4-FFF2-40B4-BE49-F238E27FC236}">
                <a16:creationId xmlns:a16="http://schemas.microsoft.com/office/drawing/2014/main" id="{8622E8AE-8F41-4D2D-8F7A-6137A588A156}"/>
              </a:ext>
            </a:extLst>
          </p:cNvPr>
          <p:cNvGrpSpPr/>
          <p:nvPr/>
        </p:nvGrpSpPr>
        <p:grpSpPr>
          <a:xfrm>
            <a:off x="1798863" y="3286869"/>
            <a:ext cx="367041" cy="370646"/>
            <a:chOff x="4081463" y="2633663"/>
            <a:chExt cx="1616075" cy="1631950"/>
          </a:xfrm>
          <a:solidFill>
            <a:schemeClr val="bg2"/>
          </a:solidFill>
        </p:grpSpPr>
        <p:sp>
          <p:nvSpPr>
            <p:cNvPr id="197" name="Freeform 5">
              <a:extLst>
                <a:ext uri="{FF2B5EF4-FFF2-40B4-BE49-F238E27FC236}">
                  <a16:creationId xmlns:a16="http://schemas.microsoft.com/office/drawing/2014/main" id="{053DC0B9-8BC5-4257-BA70-294F065F7078}"/>
                </a:ext>
              </a:extLst>
            </p:cNvPr>
            <p:cNvSpPr>
              <a:spLocks noEditPoints="1"/>
            </p:cNvSpPr>
            <p:nvPr/>
          </p:nvSpPr>
          <p:spPr bwMode="auto">
            <a:xfrm>
              <a:off x="4081463" y="2633663"/>
              <a:ext cx="1616075" cy="1631950"/>
            </a:xfrm>
            <a:custGeom>
              <a:avLst/>
              <a:gdLst>
                <a:gd name="T0" fmla="*/ 392 w 785"/>
                <a:gd name="T1" fmla="*/ 33 h 786"/>
                <a:gd name="T2" fmla="*/ 392 w 785"/>
                <a:gd name="T3" fmla="*/ 33 h 786"/>
                <a:gd name="T4" fmla="*/ 752 w 785"/>
                <a:gd name="T5" fmla="*/ 393 h 786"/>
                <a:gd name="T6" fmla="*/ 392 w 785"/>
                <a:gd name="T7" fmla="*/ 753 h 786"/>
                <a:gd name="T8" fmla="*/ 32 w 785"/>
                <a:gd name="T9" fmla="*/ 393 h 786"/>
                <a:gd name="T10" fmla="*/ 392 w 785"/>
                <a:gd name="T11" fmla="*/ 33 h 786"/>
                <a:gd name="T12" fmla="*/ 392 w 785"/>
                <a:gd name="T13" fmla="*/ 0 h 786"/>
                <a:gd name="T14" fmla="*/ 392 w 785"/>
                <a:gd name="T15" fmla="*/ 0 h 786"/>
                <a:gd name="T16" fmla="*/ 0 w 785"/>
                <a:gd name="T17" fmla="*/ 393 h 786"/>
                <a:gd name="T18" fmla="*/ 392 w 785"/>
                <a:gd name="T19" fmla="*/ 786 h 786"/>
                <a:gd name="T20" fmla="*/ 785 w 785"/>
                <a:gd name="T21" fmla="*/ 393 h 786"/>
                <a:gd name="T22" fmla="*/ 392 w 785"/>
                <a:gd name="T23" fmla="*/ 0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5" h="786">
                  <a:moveTo>
                    <a:pt x="392" y="33"/>
                  </a:moveTo>
                  <a:lnTo>
                    <a:pt x="392" y="33"/>
                  </a:lnTo>
                  <a:cubicBezTo>
                    <a:pt x="591" y="33"/>
                    <a:pt x="752" y="194"/>
                    <a:pt x="752" y="393"/>
                  </a:cubicBezTo>
                  <a:cubicBezTo>
                    <a:pt x="752" y="591"/>
                    <a:pt x="591" y="753"/>
                    <a:pt x="392" y="753"/>
                  </a:cubicBezTo>
                  <a:cubicBezTo>
                    <a:pt x="194" y="753"/>
                    <a:pt x="32" y="591"/>
                    <a:pt x="32" y="393"/>
                  </a:cubicBezTo>
                  <a:cubicBezTo>
                    <a:pt x="32" y="194"/>
                    <a:pt x="194" y="33"/>
                    <a:pt x="392" y="33"/>
                  </a:cubicBezTo>
                  <a:close/>
                  <a:moveTo>
                    <a:pt x="392" y="0"/>
                  </a:moveTo>
                  <a:lnTo>
                    <a:pt x="392" y="0"/>
                  </a:lnTo>
                  <a:cubicBezTo>
                    <a:pt x="175" y="0"/>
                    <a:pt x="0" y="176"/>
                    <a:pt x="0" y="393"/>
                  </a:cubicBezTo>
                  <a:cubicBezTo>
                    <a:pt x="0" y="610"/>
                    <a:pt x="175" y="786"/>
                    <a:pt x="392" y="786"/>
                  </a:cubicBezTo>
                  <a:cubicBezTo>
                    <a:pt x="609" y="786"/>
                    <a:pt x="785" y="610"/>
                    <a:pt x="785" y="393"/>
                  </a:cubicBezTo>
                  <a:cubicBezTo>
                    <a:pt x="785" y="176"/>
                    <a:pt x="609" y="0"/>
                    <a:pt x="3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
              <a:extLst>
                <a:ext uri="{FF2B5EF4-FFF2-40B4-BE49-F238E27FC236}">
                  <a16:creationId xmlns:a16="http://schemas.microsoft.com/office/drawing/2014/main" id="{041307CC-65B7-4B74-8411-7A9C4692F311}"/>
                </a:ext>
              </a:extLst>
            </p:cNvPr>
            <p:cNvSpPr>
              <a:spLocks noEditPoints="1"/>
            </p:cNvSpPr>
            <p:nvPr/>
          </p:nvSpPr>
          <p:spPr bwMode="auto">
            <a:xfrm>
              <a:off x="4783138" y="3336925"/>
              <a:ext cx="211138" cy="212725"/>
            </a:xfrm>
            <a:custGeom>
              <a:avLst/>
              <a:gdLst>
                <a:gd name="T0" fmla="*/ 51 w 102"/>
                <a:gd name="T1" fmla="*/ 37 h 102"/>
                <a:gd name="T2" fmla="*/ 51 w 102"/>
                <a:gd name="T3" fmla="*/ 37 h 102"/>
                <a:gd name="T4" fmla="*/ 66 w 102"/>
                <a:gd name="T5" fmla="*/ 51 h 102"/>
                <a:gd name="T6" fmla="*/ 51 w 102"/>
                <a:gd name="T7" fmla="*/ 66 h 102"/>
                <a:gd name="T8" fmla="*/ 36 w 102"/>
                <a:gd name="T9" fmla="*/ 51 h 102"/>
                <a:gd name="T10" fmla="*/ 51 w 102"/>
                <a:gd name="T11" fmla="*/ 37 h 102"/>
                <a:gd name="T12" fmla="*/ 51 w 102"/>
                <a:gd name="T13" fmla="*/ 37 h 102"/>
                <a:gd name="T14" fmla="*/ 51 w 102"/>
                <a:gd name="T15" fmla="*/ 0 h 102"/>
                <a:gd name="T16" fmla="*/ 51 w 102"/>
                <a:gd name="T17" fmla="*/ 0 h 102"/>
                <a:gd name="T18" fmla="*/ 0 w 102"/>
                <a:gd name="T19" fmla="*/ 51 h 102"/>
                <a:gd name="T20" fmla="*/ 51 w 102"/>
                <a:gd name="T21" fmla="*/ 102 h 102"/>
                <a:gd name="T22" fmla="*/ 102 w 102"/>
                <a:gd name="T23" fmla="*/ 51 h 102"/>
                <a:gd name="T24" fmla="*/ 51 w 102"/>
                <a:gd name="T2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02">
                  <a:moveTo>
                    <a:pt x="51" y="37"/>
                  </a:moveTo>
                  <a:lnTo>
                    <a:pt x="51" y="37"/>
                  </a:lnTo>
                  <a:cubicBezTo>
                    <a:pt x="59" y="37"/>
                    <a:pt x="66" y="43"/>
                    <a:pt x="66" y="51"/>
                  </a:cubicBezTo>
                  <a:cubicBezTo>
                    <a:pt x="66" y="60"/>
                    <a:pt x="59" y="66"/>
                    <a:pt x="51" y="66"/>
                  </a:cubicBezTo>
                  <a:cubicBezTo>
                    <a:pt x="43" y="66"/>
                    <a:pt x="36" y="60"/>
                    <a:pt x="36" y="51"/>
                  </a:cubicBezTo>
                  <a:cubicBezTo>
                    <a:pt x="36" y="43"/>
                    <a:pt x="43" y="37"/>
                    <a:pt x="51" y="37"/>
                  </a:cubicBezTo>
                  <a:lnTo>
                    <a:pt x="51" y="37"/>
                  </a:lnTo>
                  <a:close/>
                  <a:moveTo>
                    <a:pt x="51" y="0"/>
                  </a:moveTo>
                  <a:lnTo>
                    <a:pt x="51" y="0"/>
                  </a:lnTo>
                  <a:cubicBezTo>
                    <a:pt x="23" y="0"/>
                    <a:pt x="0" y="23"/>
                    <a:pt x="0" y="51"/>
                  </a:cubicBezTo>
                  <a:cubicBezTo>
                    <a:pt x="0" y="80"/>
                    <a:pt x="23" y="102"/>
                    <a:pt x="51" y="102"/>
                  </a:cubicBezTo>
                  <a:cubicBezTo>
                    <a:pt x="79" y="102"/>
                    <a:pt x="102" y="80"/>
                    <a:pt x="102" y="51"/>
                  </a:cubicBezTo>
                  <a:cubicBezTo>
                    <a:pt x="102" y="23"/>
                    <a:pt x="79" y="0"/>
                    <a:pt x="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7">
              <a:extLst>
                <a:ext uri="{FF2B5EF4-FFF2-40B4-BE49-F238E27FC236}">
                  <a16:creationId xmlns:a16="http://schemas.microsoft.com/office/drawing/2014/main" id="{6B50A845-1B5E-4954-A4B4-EF3FEA00ECC4}"/>
                </a:ext>
              </a:extLst>
            </p:cNvPr>
            <p:cNvSpPr>
              <a:spLocks noEditPoints="1"/>
            </p:cNvSpPr>
            <p:nvPr/>
          </p:nvSpPr>
          <p:spPr bwMode="auto">
            <a:xfrm>
              <a:off x="4371976" y="2887663"/>
              <a:ext cx="1035050" cy="1114425"/>
            </a:xfrm>
            <a:custGeom>
              <a:avLst/>
              <a:gdLst>
                <a:gd name="T0" fmla="*/ 109 w 503"/>
                <a:gd name="T1" fmla="*/ 292 h 537"/>
                <a:gd name="T2" fmla="*/ 159 w 503"/>
                <a:gd name="T3" fmla="*/ 380 h 537"/>
                <a:gd name="T4" fmla="*/ 50 w 503"/>
                <a:gd name="T5" fmla="*/ 385 h 537"/>
                <a:gd name="T6" fmla="*/ 109 w 503"/>
                <a:gd name="T7" fmla="*/ 292 h 537"/>
                <a:gd name="T8" fmla="*/ 151 w 503"/>
                <a:gd name="T9" fmla="*/ 279 h 537"/>
                <a:gd name="T10" fmla="*/ 137 w 503"/>
                <a:gd name="T11" fmla="*/ 268 h 537"/>
                <a:gd name="T12" fmla="*/ 151 w 503"/>
                <a:gd name="T13" fmla="*/ 268 h 537"/>
                <a:gd name="T14" fmla="*/ 151 w 503"/>
                <a:gd name="T15" fmla="*/ 279 h 537"/>
                <a:gd name="T16" fmla="*/ 50 w 503"/>
                <a:gd name="T17" fmla="*/ 152 h 537"/>
                <a:gd name="T18" fmla="*/ 159 w 503"/>
                <a:gd name="T19" fmla="*/ 157 h 537"/>
                <a:gd name="T20" fmla="*/ 109 w 503"/>
                <a:gd name="T21" fmla="*/ 244 h 537"/>
                <a:gd name="T22" fmla="*/ 50 w 503"/>
                <a:gd name="T23" fmla="*/ 152 h 537"/>
                <a:gd name="T24" fmla="*/ 301 w 503"/>
                <a:gd name="T25" fmla="*/ 182 h 537"/>
                <a:gd name="T26" fmla="*/ 308 w 503"/>
                <a:gd name="T27" fmla="*/ 169 h 537"/>
                <a:gd name="T28" fmla="*/ 301 w 503"/>
                <a:gd name="T29" fmla="*/ 182 h 537"/>
                <a:gd name="T30" fmla="*/ 311 w 503"/>
                <a:gd name="T31" fmla="*/ 350 h 537"/>
                <a:gd name="T32" fmla="*/ 308 w 503"/>
                <a:gd name="T33" fmla="*/ 367 h 537"/>
                <a:gd name="T34" fmla="*/ 301 w 503"/>
                <a:gd name="T35" fmla="*/ 355 h 537"/>
                <a:gd name="T36" fmla="*/ 311 w 503"/>
                <a:gd name="T37" fmla="*/ 350 h 537"/>
                <a:gd name="T38" fmla="*/ 251 w 503"/>
                <a:gd name="T39" fmla="*/ 382 h 537"/>
                <a:gd name="T40" fmla="*/ 251 w 503"/>
                <a:gd name="T41" fmla="*/ 501 h 537"/>
                <a:gd name="T42" fmla="*/ 251 w 503"/>
                <a:gd name="T43" fmla="*/ 382 h 537"/>
                <a:gd name="T44" fmla="*/ 201 w 503"/>
                <a:gd name="T45" fmla="*/ 355 h 537"/>
                <a:gd name="T46" fmla="*/ 210 w 503"/>
                <a:gd name="T47" fmla="*/ 361 h 537"/>
                <a:gd name="T48" fmla="*/ 192 w 503"/>
                <a:gd name="T49" fmla="*/ 350 h 537"/>
                <a:gd name="T50" fmla="*/ 201 w 503"/>
                <a:gd name="T51" fmla="*/ 355 h 537"/>
                <a:gd name="T52" fmla="*/ 192 w 503"/>
                <a:gd name="T53" fmla="*/ 187 h 537"/>
                <a:gd name="T54" fmla="*/ 210 w 503"/>
                <a:gd name="T55" fmla="*/ 176 h 537"/>
                <a:gd name="T56" fmla="*/ 192 w 503"/>
                <a:gd name="T57" fmla="*/ 187 h 537"/>
                <a:gd name="T58" fmla="*/ 251 w 503"/>
                <a:gd name="T59" fmla="*/ 341 h 537"/>
                <a:gd name="T60" fmla="*/ 219 w 503"/>
                <a:gd name="T61" fmla="*/ 324 h 537"/>
                <a:gd name="T62" fmla="*/ 187 w 503"/>
                <a:gd name="T63" fmla="*/ 268 h 537"/>
                <a:gd name="T64" fmla="*/ 219 w 503"/>
                <a:gd name="T65" fmla="*/ 213 h 537"/>
                <a:gd name="T66" fmla="*/ 283 w 503"/>
                <a:gd name="T67" fmla="*/ 213 h 537"/>
                <a:gd name="T68" fmla="*/ 315 w 503"/>
                <a:gd name="T69" fmla="*/ 268 h 537"/>
                <a:gd name="T70" fmla="*/ 283 w 503"/>
                <a:gd name="T71" fmla="*/ 324 h 537"/>
                <a:gd name="T72" fmla="*/ 251 w 503"/>
                <a:gd name="T73" fmla="*/ 341 h 537"/>
                <a:gd name="T74" fmla="*/ 251 w 503"/>
                <a:gd name="T75" fmla="*/ 36 h 537"/>
                <a:gd name="T76" fmla="*/ 251 w 503"/>
                <a:gd name="T77" fmla="*/ 155 h 537"/>
                <a:gd name="T78" fmla="*/ 251 w 503"/>
                <a:gd name="T79" fmla="*/ 36 h 537"/>
                <a:gd name="T80" fmla="*/ 343 w 503"/>
                <a:gd name="T81" fmla="*/ 380 h 537"/>
                <a:gd name="T82" fmla="*/ 349 w 503"/>
                <a:gd name="T83" fmla="*/ 325 h 537"/>
                <a:gd name="T84" fmla="*/ 453 w 503"/>
                <a:gd name="T85" fmla="*/ 385 h 537"/>
                <a:gd name="T86" fmla="*/ 420 w 503"/>
                <a:gd name="T87" fmla="*/ 394 h 537"/>
                <a:gd name="T88" fmla="*/ 343 w 503"/>
                <a:gd name="T89" fmla="*/ 380 h 537"/>
                <a:gd name="T90" fmla="*/ 394 w 503"/>
                <a:gd name="T91" fmla="*/ 244 h 537"/>
                <a:gd name="T92" fmla="*/ 343 w 503"/>
                <a:gd name="T93" fmla="*/ 157 h 537"/>
                <a:gd name="T94" fmla="*/ 453 w 503"/>
                <a:gd name="T95" fmla="*/ 152 h 537"/>
                <a:gd name="T96" fmla="*/ 394 w 503"/>
                <a:gd name="T97" fmla="*/ 244 h 537"/>
                <a:gd name="T98" fmla="*/ 351 w 503"/>
                <a:gd name="T99" fmla="*/ 258 h 537"/>
                <a:gd name="T100" fmla="*/ 351 w 503"/>
                <a:gd name="T101" fmla="*/ 279 h 537"/>
                <a:gd name="T102" fmla="*/ 351 w 503"/>
                <a:gd name="T103" fmla="*/ 258 h 537"/>
                <a:gd name="T104" fmla="*/ 421 w 503"/>
                <a:gd name="T105" fmla="*/ 268 h 537"/>
                <a:gd name="T106" fmla="*/ 484 w 503"/>
                <a:gd name="T107" fmla="*/ 134 h 537"/>
                <a:gd name="T108" fmla="*/ 336 w 503"/>
                <a:gd name="T109" fmla="*/ 121 h 537"/>
                <a:gd name="T110" fmla="*/ 166 w 503"/>
                <a:gd name="T111" fmla="*/ 121 h 537"/>
                <a:gd name="T112" fmla="*/ 18 w 503"/>
                <a:gd name="T113" fmla="*/ 134 h 537"/>
                <a:gd name="T114" fmla="*/ 55 w 503"/>
                <a:gd name="T115" fmla="*/ 295 h 537"/>
                <a:gd name="T116" fmla="*/ 83 w 503"/>
                <a:gd name="T117" fmla="*/ 431 h 537"/>
                <a:gd name="T118" fmla="*/ 251 w 503"/>
                <a:gd name="T119" fmla="*/ 537 h 537"/>
                <a:gd name="T120" fmla="*/ 420 w 503"/>
                <a:gd name="T121" fmla="*/ 431 h 537"/>
                <a:gd name="T122" fmla="*/ 421 w 503"/>
                <a:gd name="T123" fmla="*/ 26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3" h="537">
                  <a:moveTo>
                    <a:pt x="109" y="292"/>
                  </a:moveTo>
                  <a:lnTo>
                    <a:pt x="109" y="292"/>
                  </a:lnTo>
                  <a:cubicBezTo>
                    <a:pt x="122" y="303"/>
                    <a:pt x="137" y="314"/>
                    <a:pt x="153" y="325"/>
                  </a:cubicBezTo>
                  <a:cubicBezTo>
                    <a:pt x="154" y="344"/>
                    <a:pt x="156" y="362"/>
                    <a:pt x="159" y="380"/>
                  </a:cubicBezTo>
                  <a:cubicBezTo>
                    <a:pt x="129" y="389"/>
                    <a:pt x="103" y="394"/>
                    <a:pt x="83" y="394"/>
                  </a:cubicBezTo>
                  <a:cubicBezTo>
                    <a:pt x="65" y="394"/>
                    <a:pt x="53" y="391"/>
                    <a:pt x="50" y="385"/>
                  </a:cubicBezTo>
                  <a:cubicBezTo>
                    <a:pt x="45" y="376"/>
                    <a:pt x="53" y="352"/>
                    <a:pt x="82" y="319"/>
                  </a:cubicBezTo>
                  <a:cubicBezTo>
                    <a:pt x="90" y="310"/>
                    <a:pt x="99" y="301"/>
                    <a:pt x="109" y="292"/>
                  </a:cubicBezTo>
                  <a:lnTo>
                    <a:pt x="109" y="292"/>
                  </a:lnTo>
                  <a:close/>
                  <a:moveTo>
                    <a:pt x="151" y="279"/>
                  </a:moveTo>
                  <a:lnTo>
                    <a:pt x="151" y="279"/>
                  </a:lnTo>
                  <a:cubicBezTo>
                    <a:pt x="146" y="276"/>
                    <a:pt x="141" y="272"/>
                    <a:pt x="137" y="268"/>
                  </a:cubicBezTo>
                  <a:cubicBezTo>
                    <a:pt x="141" y="265"/>
                    <a:pt x="146" y="261"/>
                    <a:pt x="151" y="258"/>
                  </a:cubicBezTo>
                  <a:cubicBezTo>
                    <a:pt x="151" y="261"/>
                    <a:pt x="151" y="265"/>
                    <a:pt x="151" y="268"/>
                  </a:cubicBezTo>
                  <a:cubicBezTo>
                    <a:pt x="151" y="272"/>
                    <a:pt x="151" y="276"/>
                    <a:pt x="151" y="279"/>
                  </a:cubicBezTo>
                  <a:lnTo>
                    <a:pt x="151" y="279"/>
                  </a:lnTo>
                  <a:close/>
                  <a:moveTo>
                    <a:pt x="50" y="152"/>
                  </a:moveTo>
                  <a:lnTo>
                    <a:pt x="50" y="152"/>
                  </a:lnTo>
                  <a:cubicBezTo>
                    <a:pt x="53" y="146"/>
                    <a:pt x="65" y="142"/>
                    <a:pt x="83" y="142"/>
                  </a:cubicBezTo>
                  <a:cubicBezTo>
                    <a:pt x="103" y="142"/>
                    <a:pt x="129" y="147"/>
                    <a:pt x="159" y="157"/>
                  </a:cubicBezTo>
                  <a:cubicBezTo>
                    <a:pt x="156" y="175"/>
                    <a:pt x="154" y="193"/>
                    <a:pt x="153" y="212"/>
                  </a:cubicBezTo>
                  <a:cubicBezTo>
                    <a:pt x="137" y="222"/>
                    <a:pt x="122" y="233"/>
                    <a:pt x="109" y="244"/>
                  </a:cubicBezTo>
                  <a:cubicBezTo>
                    <a:pt x="61" y="201"/>
                    <a:pt x="43" y="165"/>
                    <a:pt x="50" y="152"/>
                  </a:cubicBezTo>
                  <a:lnTo>
                    <a:pt x="50" y="152"/>
                  </a:lnTo>
                  <a:close/>
                  <a:moveTo>
                    <a:pt x="301" y="182"/>
                  </a:moveTo>
                  <a:lnTo>
                    <a:pt x="301" y="182"/>
                  </a:lnTo>
                  <a:cubicBezTo>
                    <a:pt x="298" y="180"/>
                    <a:pt x="295" y="178"/>
                    <a:pt x="292" y="176"/>
                  </a:cubicBezTo>
                  <a:cubicBezTo>
                    <a:pt x="297" y="174"/>
                    <a:pt x="303" y="172"/>
                    <a:pt x="308" y="169"/>
                  </a:cubicBezTo>
                  <a:cubicBezTo>
                    <a:pt x="309" y="175"/>
                    <a:pt x="310" y="181"/>
                    <a:pt x="311" y="187"/>
                  </a:cubicBezTo>
                  <a:cubicBezTo>
                    <a:pt x="308" y="185"/>
                    <a:pt x="304" y="183"/>
                    <a:pt x="301" y="182"/>
                  </a:cubicBezTo>
                  <a:lnTo>
                    <a:pt x="301" y="182"/>
                  </a:lnTo>
                  <a:close/>
                  <a:moveTo>
                    <a:pt x="311" y="350"/>
                  </a:moveTo>
                  <a:lnTo>
                    <a:pt x="311" y="350"/>
                  </a:lnTo>
                  <a:cubicBezTo>
                    <a:pt x="310" y="356"/>
                    <a:pt x="309" y="362"/>
                    <a:pt x="308" y="367"/>
                  </a:cubicBezTo>
                  <a:cubicBezTo>
                    <a:pt x="303" y="365"/>
                    <a:pt x="297" y="363"/>
                    <a:pt x="292" y="361"/>
                  </a:cubicBezTo>
                  <a:cubicBezTo>
                    <a:pt x="295" y="359"/>
                    <a:pt x="298" y="357"/>
                    <a:pt x="301" y="355"/>
                  </a:cubicBezTo>
                  <a:cubicBezTo>
                    <a:pt x="304" y="354"/>
                    <a:pt x="308" y="352"/>
                    <a:pt x="311" y="350"/>
                  </a:cubicBezTo>
                  <a:lnTo>
                    <a:pt x="311" y="350"/>
                  </a:lnTo>
                  <a:close/>
                  <a:moveTo>
                    <a:pt x="251" y="382"/>
                  </a:moveTo>
                  <a:lnTo>
                    <a:pt x="251" y="382"/>
                  </a:lnTo>
                  <a:cubicBezTo>
                    <a:pt x="268" y="390"/>
                    <a:pt x="285" y="397"/>
                    <a:pt x="302" y="404"/>
                  </a:cubicBezTo>
                  <a:cubicBezTo>
                    <a:pt x="288" y="467"/>
                    <a:pt x="266" y="501"/>
                    <a:pt x="251" y="501"/>
                  </a:cubicBezTo>
                  <a:cubicBezTo>
                    <a:pt x="237" y="501"/>
                    <a:pt x="215" y="467"/>
                    <a:pt x="201" y="404"/>
                  </a:cubicBezTo>
                  <a:cubicBezTo>
                    <a:pt x="217" y="397"/>
                    <a:pt x="234" y="390"/>
                    <a:pt x="251" y="382"/>
                  </a:cubicBezTo>
                  <a:lnTo>
                    <a:pt x="251" y="382"/>
                  </a:lnTo>
                  <a:close/>
                  <a:moveTo>
                    <a:pt x="201" y="355"/>
                  </a:moveTo>
                  <a:lnTo>
                    <a:pt x="201" y="355"/>
                  </a:lnTo>
                  <a:cubicBezTo>
                    <a:pt x="204" y="357"/>
                    <a:pt x="207" y="359"/>
                    <a:pt x="210" y="361"/>
                  </a:cubicBezTo>
                  <a:cubicBezTo>
                    <a:pt x="205" y="363"/>
                    <a:pt x="199" y="365"/>
                    <a:pt x="194" y="367"/>
                  </a:cubicBezTo>
                  <a:cubicBezTo>
                    <a:pt x="193" y="362"/>
                    <a:pt x="192" y="356"/>
                    <a:pt x="192" y="350"/>
                  </a:cubicBezTo>
                  <a:cubicBezTo>
                    <a:pt x="195" y="352"/>
                    <a:pt x="198" y="354"/>
                    <a:pt x="201" y="355"/>
                  </a:cubicBezTo>
                  <a:lnTo>
                    <a:pt x="201" y="355"/>
                  </a:lnTo>
                  <a:close/>
                  <a:moveTo>
                    <a:pt x="192" y="187"/>
                  </a:moveTo>
                  <a:lnTo>
                    <a:pt x="192" y="187"/>
                  </a:lnTo>
                  <a:cubicBezTo>
                    <a:pt x="192" y="181"/>
                    <a:pt x="193" y="175"/>
                    <a:pt x="194" y="169"/>
                  </a:cubicBezTo>
                  <a:cubicBezTo>
                    <a:pt x="199" y="172"/>
                    <a:pt x="205" y="174"/>
                    <a:pt x="210" y="176"/>
                  </a:cubicBezTo>
                  <a:cubicBezTo>
                    <a:pt x="207" y="178"/>
                    <a:pt x="204" y="180"/>
                    <a:pt x="201" y="182"/>
                  </a:cubicBezTo>
                  <a:cubicBezTo>
                    <a:pt x="198" y="183"/>
                    <a:pt x="195" y="185"/>
                    <a:pt x="192" y="187"/>
                  </a:cubicBezTo>
                  <a:lnTo>
                    <a:pt x="192" y="187"/>
                  </a:lnTo>
                  <a:close/>
                  <a:moveTo>
                    <a:pt x="251" y="341"/>
                  </a:moveTo>
                  <a:lnTo>
                    <a:pt x="251" y="341"/>
                  </a:lnTo>
                  <a:cubicBezTo>
                    <a:pt x="240" y="336"/>
                    <a:pt x="229" y="330"/>
                    <a:pt x="219" y="324"/>
                  </a:cubicBezTo>
                  <a:cubicBezTo>
                    <a:pt x="209" y="318"/>
                    <a:pt x="198" y="312"/>
                    <a:pt x="188" y="305"/>
                  </a:cubicBezTo>
                  <a:cubicBezTo>
                    <a:pt x="187" y="293"/>
                    <a:pt x="187" y="280"/>
                    <a:pt x="187" y="268"/>
                  </a:cubicBezTo>
                  <a:cubicBezTo>
                    <a:pt x="187" y="256"/>
                    <a:pt x="187" y="244"/>
                    <a:pt x="188" y="232"/>
                  </a:cubicBezTo>
                  <a:cubicBezTo>
                    <a:pt x="199" y="225"/>
                    <a:pt x="209" y="219"/>
                    <a:pt x="219" y="213"/>
                  </a:cubicBezTo>
                  <a:cubicBezTo>
                    <a:pt x="229" y="207"/>
                    <a:pt x="240" y="201"/>
                    <a:pt x="251" y="196"/>
                  </a:cubicBezTo>
                  <a:cubicBezTo>
                    <a:pt x="262" y="201"/>
                    <a:pt x="273" y="207"/>
                    <a:pt x="283" y="213"/>
                  </a:cubicBezTo>
                  <a:cubicBezTo>
                    <a:pt x="293" y="219"/>
                    <a:pt x="303" y="225"/>
                    <a:pt x="314" y="232"/>
                  </a:cubicBezTo>
                  <a:cubicBezTo>
                    <a:pt x="315" y="244"/>
                    <a:pt x="315" y="256"/>
                    <a:pt x="315" y="268"/>
                  </a:cubicBezTo>
                  <a:cubicBezTo>
                    <a:pt x="315" y="281"/>
                    <a:pt x="315" y="293"/>
                    <a:pt x="314" y="305"/>
                  </a:cubicBezTo>
                  <a:cubicBezTo>
                    <a:pt x="303" y="312"/>
                    <a:pt x="293" y="318"/>
                    <a:pt x="283" y="324"/>
                  </a:cubicBezTo>
                  <a:cubicBezTo>
                    <a:pt x="273" y="330"/>
                    <a:pt x="262" y="336"/>
                    <a:pt x="251" y="341"/>
                  </a:cubicBezTo>
                  <a:lnTo>
                    <a:pt x="251" y="341"/>
                  </a:lnTo>
                  <a:close/>
                  <a:moveTo>
                    <a:pt x="251" y="36"/>
                  </a:moveTo>
                  <a:lnTo>
                    <a:pt x="251" y="36"/>
                  </a:lnTo>
                  <a:cubicBezTo>
                    <a:pt x="266" y="36"/>
                    <a:pt x="288" y="70"/>
                    <a:pt x="302" y="133"/>
                  </a:cubicBezTo>
                  <a:cubicBezTo>
                    <a:pt x="285" y="140"/>
                    <a:pt x="268" y="147"/>
                    <a:pt x="251" y="155"/>
                  </a:cubicBezTo>
                  <a:cubicBezTo>
                    <a:pt x="234" y="147"/>
                    <a:pt x="217" y="139"/>
                    <a:pt x="201" y="133"/>
                  </a:cubicBezTo>
                  <a:cubicBezTo>
                    <a:pt x="215" y="70"/>
                    <a:pt x="237" y="36"/>
                    <a:pt x="251" y="36"/>
                  </a:cubicBezTo>
                  <a:lnTo>
                    <a:pt x="251" y="36"/>
                  </a:lnTo>
                  <a:close/>
                  <a:moveTo>
                    <a:pt x="343" y="380"/>
                  </a:moveTo>
                  <a:lnTo>
                    <a:pt x="343" y="380"/>
                  </a:lnTo>
                  <a:cubicBezTo>
                    <a:pt x="346" y="363"/>
                    <a:pt x="348" y="344"/>
                    <a:pt x="349" y="325"/>
                  </a:cubicBezTo>
                  <a:cubicBezTo>
                    <a:pt x="365" y="315"/>
                    <a:pt x="380" y="304"/>
                    <a:pt x="394" y="292"/>
                  </a:cubicBezTo>
                  <a:cubicBezTo>
                    <a:pt x="447" y="341"/>
                    <a:pt x="458" y="375"/>
                    <a:pt x="453" y="385"/>
                  </a:cubicBezTo>
                  <a:lnTo>
                    <a:pt x="453" y="385"/>
                  </a:lnTo>
                  <a:cubicBezTo>
                    <a:pt x="449" y="391"/>
                    <a:pt x="437" y="394"/>
                    <a:pt x="420" y="394"/>
                  </a:cubicBezTo>
                  <a:cubicBezTo>
                    <a:pt x="399" y="394"/>
                    <a:pt x="373" y="389"/>
                    <a:pt x="343" y="380"/>
                  </a:cubicBezTo>
                  <a:lnTo>
                    <a:pt x="343" y="380"/>
                  </a:lnTo>
                  <a:close/>
                  <a:moveTo>
                    <a:pt x="394" y="244"/>
                  </a:moveTo>
                  <a:lnTo>
                    <a:pt x="394" y="244"/>
                  </a:lnTo>
                  <a:cubicBezTo>
                    <a:pt x="380" y="233"/>
                    <a:pt x="365" y="222"/>
                    <a:pt x="349" y="212"/>
                  </a:cubicBezTo>
                  <a:cubicBezTo>
                    <a:pt x="348" y="193"/>
                    <a:pt x="346" y="174"/>
                    <a:pt x="343" y="157"/>
                  </a:cubicBezTo>
                  <a:cubicBezTo>
                    <a:pt x="373" y="147"/>
                    <a:pt x="399" y="142"/>
                    <a:pt x="420" y="142"/>
                  </a:cubicBezTo>
                  <a:cubicBezTo>
                    <a:pt x="437" y="142"/>
                    <a:pt x="449" y="146"/>
                    <a:pt x="453" y="152"/>
                  </a:cubicBezTo>
                  <a:cubicBezTo>
                    <a:pt x="460" y="165"/>
                    <a:pt x="441" y="201"/>
                    <a:pt x="394" y="244"/>
                  </a:cubicBezTo>
                  <a:lnTo>
                    <a:pt x="394" y="244"/>
                  </a:lnTo>
                  <a:close/>
                  <a:moveTo>
                    <a:pt x="351" y="258"/>
                  </a:moveTo>
                  <a:lnTo>
                    <a:pt x="351" y="258"/>
                  </a:lnTo>
                  <a:cubicBezTo>
                    <a:pt x="356" y="261"/>
                    <a:pt x="361" y="265"/>
                    <a:pt x="365" y="268"/>
                  </a:cubicBezTo>
                  <a:cubicBezTo>
                    <a:pt x="361" y="272"/>
                    <a:pt x="356" y="276"/>
                    <a:pt x="351" y="279"/>
                  </a:cubicBezTo>
                  <a:cubicBezTo>
                    <a:pt x="351" y="276"/>
                    <a:pt x="351" y="272"/>
                    <a:pt x="351" y="268"/>
                  </a:cubicBezTo>
                  <a:cubicBezTo>
                    <a:pt x="351" y="265"/>
                    <a:pt x="351" y="261"/>
                    <a:pt x="351" y="258"/>
                  </a:cubicBezTo>
                  <a:lnTo>
                    <a:pt x="351" y="258"/>
                  </a:lnTo>
                  <a:close/>
                  <a:moveTo>
                    <a:pt x="421" y="268"/>
                  </a:moveTo>
                  <a:lnTo>
                    <a:pt x="421" y="268"/>
                  </a:lnTo>
                  <a:cubicBezTo>
                    <a:pt x="481" y="214"/>
                    <a:pt x="503" y="166"/>
                    <a:pt x="484" y="134"/>
                  </a:cubicBezTo>
                  <a:cubicBezTo>
                    <a:pt x="477" y="121"/>
                    <a:pt x="459" y="106"/>
                    <a:pt x="420" y="106"/>
                  </a:cubicBezTo>
                  <a:cubicBezTo>
                    <a:pt x="397" y="106"/>
                    <a:pt x="368" y="111"/>
                    <a:pt x="336" y="121"/>
                  </a:cubicBezTo>
                  <a:cubicBezTo>
                    <a:pt x="319" y="43"/>
                    <a:pt x="289" y="0"/>
                    <a:pt x="251" y="0"/>
                  </a:cubicBezTo>
                  <a:cubicBezTo>
                    <a:pt x="214" y="0"/>
                    <a:pt x="184" y="43"/>
                    <a:pt x="166" y="121"/>
                  </a:cubicBezTo>
                  <a:cubicBezTo>
                    <a:pt x="134" y="111"/>
                    <a:pt x="105" y="106"/>
                    <a:pt x="83" y="106"/>
                  </a:cubicBezTo>
                  <a:cubicBezTo>
                    <a:pt x="43" y="106"/>
                    <a:pt x="26" y="121"/>
                    <a:pt x="18" y="134"/>
                  </a:cubicBezTo>
                  <a:cubicBezTo>
                    <a:pt x="0" y="167"/>
                    <a:pt x="22" y="214"/>
                    <a:pt x="81" y="269"/>
                  </a:cubicBezTo>
                  <a:cubicBezTo>
                    <a:pt x="71" y="278"/>
                    <a:pt x="63" y="286"/>
                    <a:pt x="55" y="295"/>
                  </a:cubicBezTo>
                  <a:cubicBezTo>
                    <a:pt x="5" y="350"/>
                    <a:pt x="8" y="384"/>
                    <a:pt x="18" y="403"/>
                  </a:cubicBezTo>
                  <a:cubicBezTo>
                    <a:pt x="26" y="416"/>
                    <a:pt x="43" y="431"/>
                    <a:pt x="83" y="431"/>
                  </a:cubicBezTo>
                  <a:cubicBezTo>
                    <a:pt x="105" y="431"/>
                    <a:pt x="134" y="426"/>
                    <a:pt x="166" y="416"/>
                  </a:cubicBezTo>
                  <a:cubicBezTo>
                    <a:pt x="184" y="494"/>
                    <a:pt x="214" y="537"/>
                    <a:pt x="251" y="537"/>
                  </a:cubicBezTo>
                  <a:cubicBezTo>
                    <a:pt x="289" y="537"/>
                    <a:pt x="319" y="494"/>
                    <a:pt x="336" y="416"/>
                  </a:cubicBezTo>
                  <a:cubicBezTo>
                    <a:pt x="368" y="426"/>
                    <a:pt x="397" y="431"/>
                    <a:pt x="420" y="431"/>
                  </a:cubicBezTo>
                  <a:cubicBezTo>
                    <a:pt x="459" y="431"/>
                    <a:pt x="477" y="416"/>
                    <a:pt x="484" y="403"/>
                  </a:cubicBezTo>
                  <a:cubicBezTo>
                    <a:pt x="503" y="370"/>
                    <a:pt x="480" y="323"/>
                    <a:pt x="421" y="2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8">
              <a:extLst>
                <a:ext uri="{FF2B5EF4-FFF2-40B4-BE49-F238E27FC236}">
                  <a16:creationId xmlns:a16="http://schemas.microsoft.com/office/drawing/2014/main" id="{2A71F4DF-E92B-4605-94B1-C8AB70BB042A}"/>
                </a:ext>
              </a:extLst>
            </p:cNvPr>
            <p:cNvSpPr>
              <a:spLocks noEditPoints="1"/>
            </p:cNvSpPr>
            <p:nvPr/>
          </p:nvSpPr>
          <p:spPr bwMode="auto">
            <a:xfrm>
              <a:off x="4081463" y="2633663"/>
              <a:ext cx="1616075" cy="1631950"/>
            </a:xfrm>
            <a:custGeom>
              <a:avLst/>
              <a:gdLst>
                <a:gd name="T0" fmla="*/ 392 w 785"/>
                <a:gd name="T1" fmla="*/ 33 h 786"/>
                <a:gd name="T2" fmla="*/ 392 w 785"/>
                <a:gd name="T3" fmla="*/ 33 h 786"/>
                <a:gd name="T4" fmla="*/ 752 w 785"/>
                <a:gd name="T5" fmla="*/ 393 h 786"/>
                <a:gd name="T6" fmla="*/ 392 w 785"/>
                <a:gd name="T7" fmla="*/ 753 h 786"/>
                <a:gd name="T8" fmla="*/ 32 w 785"/>
                <a:gd name="T9" fmla="*/ 393 h 786"/>
                <a:gd name="T10" fmla="*/ 392 w 785"/>
                <a:gd name="T11" fmla="*/ 33 h 786"/>
                <a:gd name="T12" fmla="*/ 392 w 785"/>
                <a:gd name="T13" fmla="*/ 0 h 786"/>
                <a:gd name="T14" fmla="*/ 392 w 785"/>
                <a:gd name="T15" fmla="*/ 0 h 786"/>
                <a:gd name="T16" fmla="*/ 0 w 785"/>
                <a:gd name="T17" fmla="*/ 393 h 786"/>
                <a:gd name="T18" fmla="*/ 392 w 785"/>
                <a:gd name="T19" fmla="*/ 786 h 786"/>
                <a:gd name="T20" fmla="*/ 785 w 785"/>
                <a:gd name="T21" fmla="*/ 393 h 786"/>
                <a:gd name="T22" fmla="*/ 392 w 785"/>
                <a:gd name="T23" fmla="*/ 0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5" h="786">
                  <a:moveTo>
                    <a:pt x="392" y="33"/>
                  </a:moveTo>
                  <a:lnTo>
                    <a:pt x="392" y="33"/>
                  </a:lnTo>
                  <a:cubicBezTo>
                    <a:pt x="591" y="33"/>
                    <a:pt x="752" y="194"/>
                    <a:pt x="752" y="393"/>
                  </a:cubicBezTo>
                  <a:cubicBezTo>
                    <a:pt x="752" y="591"/>
                    <a:pt x="591" y="753"/>
                    <a:pt x="392" y="753"/>
                  </a:cubicBezTo>
                  <a:cubicBezTo>
                    <a:pt x="194" y="753"/>
                    <a:pt x="32" y="591"/>
                    <a:pt x="32" y="393"/>
                  </a:cubicBezTo>
                  <a:cubicBezTo>
                    <a:pt x="32" y="194"/>
                    <a:pt x="194" y="33"/>
                    <a:pt x="392" y="33"/>
                  </a:cubicBezTo>
                  <a:close/>
                  <a:moveTo>
                    <a:pt x="392" y="0"/>
                  </a:moveTo>
                  <a:lnTo>
                    <a:pt x="392" y="0"/>
                  </a:lnTo>
                  <a:cubicBezTo>
                    <a:pt x="175" y="0"/>
                    <a:pt x="0" y="176"/>
                    <a:pt x="0" y="393"/>
                  </a:cubicBezTo>
                  <a:cubicBezTo>
                    <a:pt x="0" y="610"/>
                    <a:pt x="175" y="786"/>
                    <a:pt x="392" y="786"/>
                  </a:cubicBezTo>
                  <a:cubicBezTo>
                    <a:pt x="609" y="786"/>
                    <a:pt x="785" y="610"/>
                    <a:pt x="785" y="393"/>
                  </a:cubicBezTo>
                  <a:cubicBezTo>
                    <a:pt x="785" y="176"/>
                    <a:pt x="609" y="0"/>
                    <a:pt x="3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9">
              <a:extLst>
                <a:ext uri="{FF2B5EF4-FFF2-40B4-BE49-F238E27FC236}">
                  <a16:creationId xmlns:a16="http://schemas.microsoft.com/office/drawing/2014/main" id="{C842C8C5-236A-45B5-AA56-3C707BCEB859}"/>
                </a:ext>
              </a:extLst>
            </p:cNvPr>
            <p:cNvSpPr>
              <a:spLocks noEditPoints="1"/>
            </p:cNvSpPr>
            <p:nvPr/>
          </p:nvSpPr>
          <p:spPr bwMode="auto">
            <a:xfrm>
              <a:off x="4783138" y="3336925"/>
              <a:ext cx="211138" cy="212725"/>
            </a:xfrm>
            <a:custGeom>
              <a:avLst/>
              <a:gdLst>
                <a:gd name="T0" fmla="*/ 51 w 102"/>
                <a:gd name="T1" fmla="*/ 37 h 102"/>
                <a:gd name="T2" fmla="*/ 51 w 102"/>
                <a:gd name="T3" fmla="*/ 37 h 102"/>
                <a:gd name="T4" fmla="*/ 66 w 102"/>
                <a:gd name="T5" fmla="*/ 51 h 102"/>
                <a:gd name="T6" fmla="*/ 51 w 102"/>
                <a:gd name="T7" fmla="*/ 66 h 102"/>
                <a:gd name="T8" fmla="*/ 36 w 102"/>
                <a:gd name="T9" fmla="*/ 51 h 102"/>
                <a:gd name="T10" fmla="*/ 51 w 102"/>
                <a:gd name="T11" fmla="*/ 37 h 102"/>
                <a:gd name="T12" fmla="*/ 51 w 102"/>
                <a:gd name="T13" fmla="*/ 37 h 102"/>
                <a:gd name="T14" fmla="*/ 51 w 102"/>
                <a:gd name="T15" fmla="*/ 0 h 102"/>
                <a:gd name="T16" fmla="*/ 51 w 102"/>
                <a:gd name="T17" fmla="*/ 0 h 102"/>
                <a:gd name="T18" fmla="*/ 0 w 102"/>
                <a:gd name="T19" fmla="*/ 51 h 102"/>
                <a:gd name="T20" fmla="*/ 51 w 102"/>
                <a:gd name="T21" fmla="*/ 102 h 102"/>
                <a:gd name="T22" fmla="*/ 102 w 102"/>
                <a:gd name="T23" fmla="*/ 51 h 102"/>
                <a:gd name="T24" fmla="*/ 51 w 102"/>
                <a:gd name="T2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02">
                  <a:moveTo>
                    <a:pt x="51" y="37"/>
                  </a:moveTo>
                  <a:lnTo>
                    <a:pt x="51" y="37"/>
                  </a:lnTo>
                  <a:cubicBezTo>
                    <a:pt x="59" y="37"/>
                    <a:pt x="66" y="43"/>
                    <a:pt x="66" y="51"/>
                  </a:cubicBezTo>
                  <a:cubicBezTo>
                    <a:pt x="66" y="60"/>
                    <a:pt x="59" y="66"/>
                    <a:pt x="51" y="66"/>
                  </a:cubicBezTo>
                  <a:cubicBezTo>
                    <a:pt x="43" y="66"/>
                    <a:pt x="36" y="60"/>
                    <a:pt x="36" y="51"/>
                  </a:cubicBezTo>
                  <a:cubicBezTo>
                    <a:pt x="36" y="43"/>
                    <a:pt x="43" y="37"/>
                    <a:pt x="51" y="37"/>
                  </a:cubicBezTo>
                  <a:lnTo>
                    <a:pt x="51" y="37"/>
                  </a:lnTo>
                  <a:close/>
                  <a:moveTo>
                    <a:pt x="51" y="0"/>
                  </a:moveTo>
                  <a:lnTo>
                    <a:pt x="51" y="0"/>
                  </a:lnTo>
                  <a:cubicBezTo>
                    <a:pt x="23" y="0"/>
                    <a:pt x="0" y="23"/>
                    <a:pt x="0" y="51"/>
                  </a:cubicBezTo>
                  <a:cubicBezTo>
                    <a:pt x="0" y="80"/>
                    <a:pt x="23" y="102"/>
                    <a:pt x="51" y="102"/>
                  </a:cubicBezTo>
                  <a:cubicBezTo>
                    <a:pt x="79" y="102"/>
                    <a:pt x="102" y="80"/>
                    <a:pt x="102" y="51"/>
                  </a:cubicBezTo>
                  <a:cubicBezTo>
                    <a:pt x="102" y="23"/>
                    <a:pt x="79" y="0"/>
                    <a:pt x="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10">
              <a:extLst>
                <a:ext uri="{FF2B5EF4-FFF2-40B4-BE49-F238E27FC236}">
                  <a16:creationId xmlns:a16="http://schemas.microsoft.com/office/drawing/2014/main" id="{8E2C3CED-D64E-4B87-A3FA-D24F1DA14B0D}"/>
                </a:ext>
              </a:extLst>
            </p:cNvPr>
            <p:cNvSpPr>
              <a:spLocks noEditPoints="1"/>
            </p:cNvSpPr>
            <p:nvPr/>
          </p:nvSpPr>
          <p:spPr bwMode="auto">
            <a:xfrm>
              <a:off x="4371976" y="2887663"/>
              <a:ext cx="1035050" cy="1114425"/>
            </a:xfrm>
            <a:custGeom>
              <a:avLst/>
              <a:gdLst>
                <a:gd name="T0" fmla="*/ 109 w 503"/>
                <a:gd name="T1" fmla="*/ 292 h 537"/>
                <a:gd name="T2" fmla="*/ 159 w 503"/>
                <a:gd name="T3" fmla="*/ 380 h 537"/>
                <a:gd name="T4" fmla="*/ 50 w 503"/>
                <a:gd name="T5" fmla="*/ 385 h 537"/>
                <a:gd name="T6" fmla="*/ 109 w 503"/>
                <a:gd name="T7" fmla="*/ 292 h 537"/>
                <a:gd name="T8" fmla="*/ 151 w 503"/>
                <a:gd name="T9" fmla="*/ 279 h 537"/>
                <a:gd name="T10" fmla="*/ 137 w 503"/>
                <a:gd name="T11" fmla="*/ 268 h 537"/>
                <a:gd name="T12" fmla="*/ 151 w 503"/>
                <a:gd name="T13" fmla="*/ 268 h 537"/>
                <a:gd name="T14" fmla="*/ 151 w 503"/>
                <a:gd name="T15" fmla="*/ 279 h 537"/>
                <a:gd name="T16" fmla="*/ 50 w 503"/>
                <a:gd name="T17" fmla="*/ 152 h 537"/>
                <a:gd name="T18" fmla="*/ 159 w 503"/>
                <a:gd name="T19" fmla="*/ 157 h 537"/>
                <a:gd name="T20" fmla="*/ 109 w 503"/>
                <a:gd name="T21" fmla="*/ 244 h 537"/>
                <a:gd name="T22" fmla="*/ 50 w 503"/>
                <a:gd name="T23" fmla="*/ 152 h 537"/>
                <a:gd name="T24" fmla="*/ 301 w 503"/>
                <a:gd name="T25" fmla="*/ 182 h 537"/>
                <a:gd name="T26" fmla="*/ 308 w 503"/>
                <a:gd name="T27" fmla="*/ 169 h 537"/>
                <a:gd name="T28" fmla="*/ 301 w 503"/>
                <a:gd name="T29" fmla="*/ 182 h 537"/>
                <a:gd name="T30" fmla="*/ 311 w 503"/>
                <a:gd name="T31" fmla="*/ 350 h 537"/>
                <a:gd name="T32" fmla="*/ 308 w 503"/>
                <a:gd name="T33" fmla="*/ 367 h 537"/>
                <a:gd name="T34" fmla="*/ 301 w 503"/>
                <a:gd name="T35" fmla="*/ 355 h 537"/>
                <a:gd name="T36" fmla="*/ 311 w 503"/>
                <a:gd name="T37" fmla="*/ 350 h 537"/>
                <a:gd name="T38" fmla="*/ 251 w 503"/>
                <a:gd name="T39" fmla="*/ 382 h 537"/>
                <a:gd name="T40" fmla="*/ 251 w 503"/>
                <a:gd name="T41" fmla="*/ 501 h 537"/>
                <a:gd name="T42" fmla="*/ 251 w 503"/>
                <a:gd name="T43" fmla="*/ 382 h 537"/>
                <a:gd name="T44" fmla="*/ 201 w 503"/>
                <a:gd name="T45" fmla="*/ 355 h 537"/>
                <a:gd name="T46" fmla="*/ 210 w 503"/>
                <a:gd name="T47" fmla="*/ 361 h 537"/>
                <a:gd name="T48" fmla="*/ 192 w 503"/>
                <a:gd name="T49" fmla="*/ 350 h 537"/>
                <a:gd name="T50" fmla="*/ 201 w 503"/>
                <a:gd name="T51" fmla="*/ 355 h 537"/>
                <a:gd name="T52" fmla="*/ 192 w 503"/>
                <a:gd name="T53" fmla="*/ 187 h 537"/>
                <a:gd name="T54" fmla="*/ 210 w 503"/>
                <a:gd name="T55" fmla="*/ 176 h 537"/>
                <a:gd name="T56" fmla="*/ 192 w 503"/>
                <a:gd name="T57" fmla="*/ 187 h 537"/>
                <a:gd name="T58" fmla="*/ 251 w 503"/>
                <a:gd name="T59" fmla="*/ 341 h 537"/>
                <a:gd name="T60" fmla="*/ 219 w 503"/>
                <a:gd name="T61" fmla="*/ 324 h 537"/>
                <a:gd name="T62" fmla="*/ 187 w 503"/>
                <a:gd name="T63" fmla="*/ 268 h 537"/>
                <a:gd name="T64" fmla="*/ 219 w 503"/>
                <a:gd name="T65" fmla="*/ 213 h 537"/>
                <a:gd name="T66" fmla="*/ 283 w 503"/>
                <a:gd name="T67" fmla="*/ 213 h 537"/>
                <a:gd name="T68" fmla="*/ 315 w 503"/>
                <a:gd name="T69" fmla="*/ 268 h 537"/>
                <a:gd name="T70" fmla="*/ 283 w 503"/>
                <a:gd name="T71" fmla="*/ 324 h 537"/>
                <a:gd name="T72" fmla="*/ 251 w 503"/>
                <a:gd name="T73" fmla="*/ 341 h 537"/>
                <a:gd name="T74" fmla="*/ 251 w 503"/>
                <a:gd name="T75" fmla="*/ 36 h 537"/>
                <a:gd name="T76" fmla="*/ 251 w 503"/>
                <a:gd name="T77" fmla="*/ 155 h 537"/>
                <a:gd name="T78" fmla="*/ 251 w 503"/>
                <a:gd name="T79" fmla="*/ 36 h 537"/>
                <a:gd name="T80" fmla="*/ 343 w 503"/>
                <a:gd name="T81" fmla="*/ 380 h 537"/>
                <a:gd name="T82" fmla="*/ 349 w 503"/>
                <a:gd name="T83" fmla="*/ 325 h 537"/>
                <a:gd name="T84" fmla="*/ 453 w 503"/>
                <a:gd name="T85" fmla="*/ 385 h 537"/>
                <a:gd name="T86" fmla="*/ 420 w 503"/>
                <a:gd name="T87" fmla="*/ 394 h 537"/>
                <a:gd name="T88" fmla="*/ 343 w 503"/>
                <a:gd name="T89" fmla="*/ 380 h 537"/>
                <a:gd name="T90" fmla="*/ 394 w 503"/>
                <a:gd name="T91" fmla="*/ 244 h 537"/>
                <a:gd name="T92" fmla="*/ 343 w 503"/>
                <a:gd name="T93" fmla="*/ 157 h 537"/>
                <a:gd name="T94" fmla="*/ 453 w 503"/>
                <a:gd name="T95" fmla="*/ 152 h 537"/>
                <a:gd name="T96" fmla="*/ 394 w 503"/>
                <a:gd name="T97" fmla="*/ 244 h 537"/>
                <a:gd name="T98" fmla="*/ 351 w 503"/>
                <a:gd name="T99" fmla="*/ 258 h 537"/>
                <a:gd name="T100" fmla="*/ 351 w 503"/>
                <a:gd name="T101" fmla="*/ 279 h 537"/>
                <a:gd name="T102" fmla="*/ 351 w 503"/>
                <a:gd name="T103" fmla="*/ 258 h 537"/>
                <a:gd name="T104" fmla="*/ 421 w 503"/>
                <a:gd name="T105" fmla="*/ 268 h 537"/>
                <a:gd name="T106" fmla="*/ 484 w 503"/>
                <a:gd name="T107" fmla="*/ 134 h 537"/>
                <a:gd name="T108" fmla="*/ 336 w 503"/>
                <a:gd name="T109" fmla="*/ 121 h 537"/>
                <a:gd name="T110" fmla="*/ 166 w 503"/>
                <a:gd name="T111" fmla="*/ 121 h 537"/>
                <a:gd name="T112" fmla="*/ 18 w 503"/>
                <a:gd name="T113" fmla="*/ 134 h 537"/>
                <a:gd name="T114" fmla="*/ 55 w 503"/>
                <a:gd name="T115" fmla="*/ 295 h 537"/>
                <a:gd name="T116" fmla="*/ 83 w 503"/>
                <a:gd name="T117" fmla="*/ 431 h 537"/>
                <a:gd name="T118" fmla="*/ 251 w 503"/>
                <a:gd name="T119" fmla="*/ 537 h 537"/>
                <a:gd name="T120" fmla="*/ 420 w 503"/>
                <a:gd name="T121" fmla="*/ 431 h 537"/>
                <a:gd name="T122" fmla="*/ 421 w 503"/>
                <a:gd name="T123" fmla="*/ 26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3" h="537">
                  <a:moveTo>
                    <a:pt x="109" y="292"/>
                  </a:moveTo>
                  <a:lnTo>
                    <a:pt x="109" y="292"/>
                  </a:lnTo>
                  <a:cubicBezTo>
                    <a:pt x="122" y="303"/>
                    <a:pt x="137" y="314"/>
                    <a:pt x="153" y="325"/>
                  </a:cubicBezTo>
                  <a:cubicBezTo>
                    <a:pt x="154" y="344"/>
                    <a:pt x="156" y="362"/>
                    <a:pt x="159" y="380"/>
                  </a:cubicBezTo>
                  <a:cubicBezTo>
                    <a:pt x="129" y="389"/>
                    <a:pt x="103" y="394"/>
                    <a:pt x="83" y="394"/>
                  </a:cubicBezTo>
                  <a:cubicBezTo>
                    <a:pt x="65" y="394"/>
                    <a:pt x="53" y="391"/>
                    <a:pt x="50" y="385"/>
                  </a:cubicBezTo>
                  <a:cubicBezTo>
                    <a:pt x="45" y="376"/>
                    <a:pt x="53" y="352"/>
                    <a:pt x="82" y="319"/>
                  </a:cubicBezTo>
                  <a:cubicBezTo>
                    <a:pt x="90" y="310"/>
                    <a:pt x="99" y="301"/>
                    <a:pt x="109" y="292"/>
                  </a:cubicBezTo>
                  <a:lnTo>
                    <a:pt x="109" y="292"/>
                  </a:lnTo>
                  <a:close/>
                  <a:moveTo>
                    <a:pt x="151" y="279"/>
                  </a:moveTo>
                  <a:lnTo>
                    <a:pt x="151" y="279"/>
                  </a:lnTo>
                  <a:cubicBezTo>
                    <a:pt x="146" y="276"/>
                    <a:pt x="141" y="272"/>
                    <a:pt x="137" y="268"/>
                  </a:cubicBezTo>
                  <a:cubicBezTo>
                    <a:pt x="141" y="265"/>
                    <a:pt x="146" y="261"/>
                    <a:pt x="151" y="258"/>
                  </a:cubicBezTo>
                  <a:cubicBezTo>
                    <a:pt x="151" y="261"/>
                    <a:pt x="151" y="265"/>
                    <a:pt x="151" y="268"/>
                  </a:cubicBezTo>
                  <a:cubicBezTo>
                    <a:pt x="151" y="272"/>
                    <a:pt x="151" y="276"/>
                    <a:pt x="151" y="279"/>
                  </a:cubicBezTo>
                  <a:lnTo>
                    <a:pt x="151" y="279"/>
                  </a:lnTo>
                  <a:close/>
                  <a:moveTo>
                    <a:pt x="50" y="152"/>
                  </a:moveTo>
                  <a:lnTo>
                    <a:pt x="50" y="152"/>
                  </a:lnTo>
                  <a:cubicBezTo>
                    <a:pt x="53" y="146"/>
                    <a:pt x="65" y="142"/>
                    <a:pt x="83" y="142"/>
                  </a:cubicBezTo>
                  <a:cubicBezTo>
                    <a:pt x="103" y="142"/>
                    <a:pt x="129" y="147"/>
                    <a:pt x="159" y="157"/>
                  </a:cubicBezTo>
                  <a:cubicBezTo>
                    <a:pt x="156" y="175"/>
                    <a:pt x="154" y="193"/>
                    <a:pt x="153" y="212"/>
                  </a:cubicBezTo>
                  <a:cubicBezTo>
                    <a:pt x="137" y="222"/>
                    <a:pt x="122" y="233"/>
                    <a:pt x="109" y="244"/>
                  </a:cubicBezTo>
                  <a:cubicBezTo>
                    <a:pt x="61" y="201"/>
                    <a:pt x="43" y="165"/>
                    <a:pt x="50" y="152"/>
                  </a:cubicBezTo>
                  <a:lnTo>
                    <a:pt x="50" y="152"/>
                  </a:lnTo>
                  <a:close/>
                  <a:moveTo>
                    <a:pt x="301" y="182"/>
                  </a:moveTo>
                  <a:lnTo>
                    <a:pt x="301" y="182"/>
                  </a:lnTo>
                  <a:cubicBezTo>
                    <a:pt x="298" y="180"/>
                    <a:pt x="295" y="178"/>
                    <a:pt x="292" y="176"/>
                  </a:cubicBezTo>
                  <a:cubicBezTo>
                    <a:pt x="297" y="174"/>
                    <a:pt x="303" y="172"/>
                    <a:pt x="308" y="169"/>
                  </a:cubicBezTo>
                  <a:cubicBezTo>
                    <a:pt x="309" y="175"/>
                    <a:pt x="310" y="181"/>
                    <a:pt x="311" y="187"/>
                  </a:cubicBezTo>
                  <a:cubicBezTo>
                    <a:pt x="308" y="185"/>
                    <a:pt x="304" y="183"/>
                    <a:pt x="301" y="182"/>
                  </a:cubicBezTo>
                  <a:lnTo>
                    <a:pt x="301" y="182"/>
                  </a:lnTo>
                  <a:close/>
                  <a:moveTo>
                    <a:pt x="311" y="350"/>
                  </a:moveTo>
                  <a:lnTo>
                    <a:pt x="311" y="350"/>
                  </a:lnTo>
                  <a:cubicBezTo>
                    <a:pt x="310" y="356"/>
                    <a:pt x="309" y="362"/>
                    <a:pt x="308" y="367"/>
                  </a:cubicBezTo>
                  <a:cubicBezTo>
                    <a:pt x="303" y="365"/>
                    <a:pt x="297" y="363"/>
                    <a:pt x="292" y="361"/>
                  </a:cubicBezTo>
                  <a:cubicBezTo>
                    <a:pt x="295" y="359"/>
                    <a:pt x="298" y="357"/>
                    <a:pt x="301" y="355"/>
                  </a:cubicBezTo>
                  <a:cubicBezTo>
                    <a:pt x="304" y="354"/>
                    <a:pt x="308" y="352"/>
                    <a:pt x="311" y="350"/>
                  </a:cubicBezTo>
                  <a:lnTo>
                    <a:pt x="311" y="350"/>
                  </a:lnTo>
                  <a:close/>
                  <a:moveTo>
                    <a:pt x="251" y="382"/>
                  </a:moveTo>
                  <a:lnTo>
                    <a:pt x="251" y="382"/>
                  </a:lnTo>
                  <a:cubicBezTo>
                    <a:pt x="268" y="390"/>
                    <a:pt x="285" y="397"/>
                    <a:pt x="302" y="404"/>
                  </a:cubicBezTo>
                  <a:cubicBezTo>
                    <a:pt x="288" y="467"/>
                    <a:pt x="266" y="501"/>
                    <a:pt x="251" y="501"/>
                  </a:cubicBezTo>
                  <a:cubicBezTo>
                    <a:pt x="237" y="501"/>
                    <a:pt x="215" y="467"/>
                    <a:pt x="201" y="404"/>
                  </a:cubicBezTo>
                  <a:cubicBezTo>
                    <a:pt x="217" y="397"/>
                    <a:pt x="234" y="390"/>
                    <a:pt x="251" y="382"/>
                  </a:cubicBezTo>
                  <a:lnTo>
                    <a:pt x="251" y="382"/>
                  </a:lnTo>
                  <a:close/>
                  <a:moveTo>
                    <a:pt x="201" y="355"/>
                  </a:moveTo>
                  <a:lnTo>
                    <a:pt x="201" y="355"/>
                  </a:lnTo>
                  <a:cubicBezTo>
                    <a:pt x="204" y="357"/>
                    <a:pt x="207" y="359"/>
                    <a:pt x="210" y="361"/>
                  </a:cubicBezTo>
                  <a:cubicBezTo>
                    <a:pt x="205" y="363"/>
                    <a:pt x="199" y="365"/>
                    <a:pt x="194" y="367"/>
                  </a:cubicBezTo>
                  <a:cubicBezTo>
                    <a:pt x="193" y="362"/>
                    <a:pt x="192" y="356"/>
                    <a:pt x="192" y="350"/>
                  </a:cubicBezTo>
                  <a:cubicBezTo>
                    <a:pt x="195" y="352"/>
                    <a:pt x="198" y="354"/>
                    <a:pt x="201" y="355"/>
                  </a:cubicBezTo>
                  <a:lnTo>
                    <a:pt x="201" y="355"/>
                  </a:lnTo>
                  <a:close/>
                  <a:moveTo>
                    <a:pt x="192" y="187"/>
                  </a:moveTo>
                  <a:lnTo>
                    <a:pt x="192" y="187"/>
                  </a:lnTo>
                  <a:cubicBezTo>
                    <a:pt x="192" y="181"/>
                    <a:pt x="193" y="175"/>
                    <a:pt x="194" y="169"/>
                  </a:cubicBezTo>
                  <a:cubicBezTo>
                    <a:pt x="199" y="172"/>
                    <a:pt x="205" y="174"/>
                    <a:pt x="210" y="176"/>
                  </a:cubicBezTo>
                  <a:cubicBezTo>
                    <a:pt x="207" y="178"/>
                    <a:pt x="204" y="180"/>
                    <a:pt x="201" y="182"/>
                  </a:cubicBezTo>
                  <a:cubicBezTo>
                    <a:pt x="198" y="183"/>
                    <a:pt x="195" y="185"/>
                    <a:pt x="192" y="187"/>
                  </a:cubicBezTo>
                  <a:lnTo>
                    <a:pt x="192" y="187"/>
                  </a:lnTo>
                  <a:close/>
                  <a:moveTo>
                    <a:pt x="251" y="341"/>
                  </a:moveTo>
                  <a:lnTo>
                    <a:pt x="251" y="341"/>
                  </a:lnTo>
                  <a:cubicBezTo>
                    <a:pt x="240" y="336"/>
                    <a:pt x="229" y="330"/>
                    <a:pt x="219" y="324"/>
                  </a:cubicBezTo>
                  <a:cubicBezTo>
                    <a:pt x="209" y="318"/>
                    <a:pt x="198" y="312"/>
                    <a:pt x="188" y="305"/>
                  </a:cubicBezTo>
                  <a:cubicBezTo>
                    <a:pt x="187" y="293"/>
                    <a:pt x="187" y="280"/>
                    <a:pt x="187" y="268"/>
                  </a:cubicBezTo>
                  <a:cubicBezTo>
                    <a:pt x="187" y="256"/>
                    <a:pt x="187" y="244"/>
                    <a:pt x="188" y="232"/>
                  </a:cubicBezTo>
                  <a:cubicBezTo>
                    <a:pt x="199" y="225"/>
                    <a:pt x="209" y="219"/>
                    <a:pt x="219" y="213"/>
                  </a:cubicBezTo>
                  <a:cubicBezTo>
                    <a:pt x="229" y="207"/>
                    <a:pt x="240" y="201"/>
                    <a:pt x="251" y="196"/>
                  </a:cubicBezTo>
                  <a:cubicBezTo>
                    <a:pt x="262" y="201"/>
                    <a:pt x="273" y="207"/>
                    <a:pt x="283" y="213"/>
                  </a:cubicBezTo>
                  <a:cubicBezTo>
                    <a:pt x="293" y="219"/>
                    <a:pt x="303" y="225"/>
                    <a:pt x="314" y="232"/>
                  </a:cubicBezTo>
                  <a:cubicBezTo>
                    <a:pt x="315" y="244"/>
                    <a:pt x="315" y="256"/>
                    <a:pt x="315" y="268"/>
                  </a:cubicBezTo>
                  <a:cubicBezTo>
                    <a:pt x="315" y="281"/>
                    <a:pt x="315" y="293"/>
                    <a:pt x="314" y="305"/>
                  </a:cubicBezTo>
                  <a:cubicBezTo>
                    <a:pt x="303" y="312"/>
                    <a:pt x="293" y="318"/>
                    <a:pt x="283" y="324"/>
                  </a:cubicBezTo>
                  <a:cubicBezTo>
                    <a:pt x="273" y="330"/>
                    <a:pt x="262" y="336"/>
                    <a:pt x="251" y="341"/>
                  </a:cubicBezTo>
                  <a:lnTo>
                    <a:pt x="251" y="341"/>
                  </a:lnTo>
                  <a:close/>
                  <a:moveTo>
                    <a:pt x="251" y="36"/>
                  </a:moveTo>
                  <a:lnTo>
                    <a:pt x="251" y="36"/>
                  </a:lnTo>
                  <a:cubicBezTo>
                    <a:pt x="266" y="36"/>
                    <a:pt x="288" y="70"/>
                    <a:pt x="302" y="133"/>
                  </a:cubicBezTo>
                  <a:cubicBezTo>
                    <a:pt x="285" y="140"/>
                    <a:pt x="268" y="147"/>
                    <a:pt x="251" y="155"/>
                  </a:cubicBezTo>
                  <a:cubicBezTo>
                    <a:pt x="234" y="147"/>
                    <a:pt x="217" y="139"/>
                    <a:pt x="201" y="133"/>
                  </a:cubicBezTo>
                  <a:cubicBezTo>
                    <a:pt x="215" y="70"/>
                    <a:pt x="237" y="36"/>
                    <a:pt x="251" y="36"/>
                  </a:cubicBezTo>
                  <a:lnTo>
                    <a:pt x="251" y="36"/>
                  </a:lnTo>
                  <a:close/>
                  <a:moveTo>
                    <a:pt x="343" y="380"/>
                  </a:moveTo>
                  <a:lnTo>
                    <a:pt x="343" y="380"/>
                  </a:lnTo>
                  <a:cubicBezTo>
                    <a:pt x="346" y="363"/>
                    <a:pt x="348" y="344"/>
                    <a:pt x="349" y="325"/>
                  </a:cubicBezTo>
                  <a:cubicBezTo>
                    <a:pt x="365" y="315"/>
                    <a:pt x="380" y="304"/>
                    <a:pt x="394" y="292"/>
                  </a:cubicBezTo>
                  <a:cubicBezTo>
                    <a:pt x="447" y="341"/>
                    <a:pt x="458" y="375"/>
                    <a:pt x="453" y="385"/>
                  </a:cubicBezTo>
                  <a:lnTo>
                    <a:pt x="453" y="385"/>
                  </a:lnTo>
                  <a:cubicBezTo>
                    <a:pt x="449" y="391"/>
                    <a:pt x="437" y="394"/>
                    <a:pt x="420" y="394"/>
                  </a:cubicBezTo>
                  <a:cubicBezTo>
                    <a:pt x="399" y="394"/>
                    <a:pt x="373" y="389"/>
                    <a:pt x="343" y="380"/>
                  </a:cubicBezTo>
                  <a:lnTo>
                    <a:pt x="343" y="380"/>
                  </a:lnTo>
                  <a:close/>
                  <a:moveTo>
                    <a:pt x="394" y="244"/>
                  </a:moveTo>
                  <a:lnTo>
                    <a:pt x="394" y="244"/>
                  </a:lnTo>
                  <a:cubicBezTo>
                    <a:pt x="380" y="233"/>
                    <a:pt x="365" y="222"/>
                    <a:pt x="349" y="212"/>
                  </a:cubicBezTo>
                  <a:cubicBezTo>
                    <a:pt x="348" y="193"/>
                    <a:pt x="346" y="174"/>
                    <a:pt x="343" y="157"/>
                  </a:cubicBezTo>
                  <a:cubicBezTo>
                    <a:pt x="373" y="147"/>
                    <a:pt x="399" y="142"/>
                    <a:pt x="420" y="142"/>
                  </a:cubicBezTo>
                  <a:cubicBezTo>
                    <a:pt x="437" y="142"/>
                    <a:pt x="449" y="146"/>
                    <a:pt x="453" y="152"/>
                  </a:cubicBezTo>
                  <a:cubicBezTo>
                    <a:pt x="460" y="165"/>
                    <a:pt x="441" y="201"/>
                    <a:pt x="394" y="244"/>
                  </a:cubicBezTo>
                  <a:lnTo>
                    <a:pt x="394" y="244"/>
                  </a:lnTo>
                  <a:close/>
                  <a:moveTo>
                    <a:pt x="351" y="258"/>
                  </a:moveTo>
                  <a:lnTo>
                    <a:pt x="351" y="258"/>
                  </a:lnTo>
                  <a:cubicBezTo>
                    <a:pt x="356" y="261"/>
                    <a:pt x="361" y="265"/>
                    <a:pt x="365" y="268"/>
                  </a:cubicBezTo>
                  <a:cubicBezTo>
                    <a:pt x="361" y="272"/>
                    <a:pt x="356" y="276"/>
                    <a:pt x="351" y="279"/>
                  </a:cubicBezTo>
                  <a:cubicBezTo>
                    <a:pt x="351" y="276"/>
                    <a:pt x="351" y="272"/>
                    <a:pt x="351" y="268"/>
                  </a:cubicBezTo>
                  <a:cubicBezTo>
                    <a:pt x="351" y="265"/>
                    <a:pt x="351" y="261"/>
                    <a:pt x="351" y="258"/>
                  </a:cubicBezTo>
                  <a:lnTo>
                    <a:pt x="351" y="258"/>
                  </a:lnTo>
                  <a:close/>
                  <a:moveTo>
                    <a:pt x="421" y="268"/>
                  </a:moveTo>
                  <a:lnTo>
                    <a:pt x="421" y="268"/>
                  </a:lnTo>
                  <a:cubicBezTo>
                    <a:pt x="481" y="214"/>
                    <a:pt x="503" y="166"/>
                    <a:pt x="484" y="134"/>
                  </a:cubicBezTo>
                  <a:cubicBezTo>
                    <a:pt x="477" y="121"/>
                    <a:pt x="459" y="106"/>
                    <a:pt x="420" y="106"/>
                  </a:cubicBezTo>
                  <a:cubicBezTo>
                    <a:pt x="397" y="106"/>
                    <a:pt x="368" y="111"/>
                    <a:pt x="336" y="121"/>
                  </a:cubicBezTo>
                  <a:cubicBezTo>
                    <a:pt x="319" y="43"/>
                    <a:pt x="289" y="0"/>
                    <a:pt x="251" y="0"/>
                  </a:cubicBezTo>
                  <a:cubicBezTo>
                    <a:pt x="214" y="0"/>
                    <a:pt x="184" y="43"/>
                    <a:pt x="166" y="121"/>
                  </a:cubicBezTo>
                  <a:cubicBezTo>
                    <a:pt x="134" y="111"/>
                    <a:pt x="105" y="106"/>
                    <a:pt x="83" y="106"/>
                  </a:cubicBezTo>
                  <a:cubicBezTo>
                    <a:pt x="43" y="106"/>
                    <a:pt x="26" y="121"/>
                    <a:pt x="18" y="134"/>
                  </a:cubicBezTo>
                  <a:cubicBezTo>
                    <a:pt x="0" y="167"/>
                    <a:pt x="22" y="214"/>
                    <a:pt x="81" y="269"/>
                  </a:cubicBezTo>
                  <a:cubicBezTo>
                    <a:pt x="71" y="278"/>
                    <a:pt x="63" y="286"/>
                    <a:pt x="55" y="295"/>
                  </a:cubicBezTo>
                  <a:cubicBezTo>
                    <a:pt x="5" y="350"/>
                    <a:pt x="8" y="384"/>
                    <a:pt x="18" y="403"/>
                  </a:cubicBezTo>
                  <a:cubicBezTo>
                    <a:pt x="26" y="416"/>
                    <a:pt x="43" y="431"/>
                    <a:pt x="83" y="431"/>
                  </a:cubicBezTo>
                  <a:cubicBezTo>
                    <a:pt x="105" y="431"/>
                    <a:pt x="134" y="426"/>
                    <a:pt x="166" y="416"/>
                  </a:cubicBezTo>
                  <a:cubicBezTo>
                    <a:pt x="184" y="494"/>
                    <a:pt x="214" y="537"/>
                    <a:pt x="251" y="537"/>
                  </a:cubicBezTo>
                  <a:cubicBezTo>
                    <a:pt x="289" y="537"/>
                    <a:pt x="319" y="494"/>
                    <a:pt x="336" y="416"/>
                  </a:cubicBezTo>
                  <a:cubicBezTo>
                    <a:pt x="368" y="426"/>
                    <a:pt x="397" y="431"/>
                    <a:pt x="420" y="431"/>
                  </a:cubicBezTo>
                  <a:cubicBezTo>
                    <a:pt x="459" y="431"/>
                    <a:pt x="477" y="416"/>
                    <a:pt x="484" y="403"/>
                  </a:cubicBezTo>
                  <a:cubicBezTo>
                    <a:pt x="503" y="370"/>
                    <a:pt x="480" y="323"/>
                    <a:pt x="421" y="2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11">
              <a:extLst>
                <a:ext uri="{FF2B5EF4-FFF2-40B4-BE49-F238E27FC236}">
                  <a16:creationId xmlns:a16="http://schemas.microsoft.com/office/drawing/2014/main" id="{D4F53499-4B26-49FE-B6BA-84644BDC0749}"/>
                </a:ext>
              </a:extLst>
            </p:cNvPr>
            <p:cNvSpPr>
              <a:spLocks noEditPoints="1"/>
            </p:cNvSpPr>
            <p:nvPr/>
          </p:nvSpPr>
          <p:spPr bwMode="auto">
            <a:xfrm>
              <a:off x="4783138" y="3336925"/>
              <a:ext cx="211138" cy="212725"/>
            </a:xfrm>
            <a:custGeom>
              <a:avLst/>
              <a:gdLst>
                <a:gd name="T0" fmla="*/ 51 w 102"/>
                <a:gd name="T1" fmla="*/ 37 h 102"/>
                <a:gd name="T2" fmla="*/ 51 w 102"/>
                <a:gd name="T3" fmla="*/ 37 h 102"/>
                <a:gd name="T4" fmla="*/ 66 w 102"/>
                <a:gd name="T5" fmla="*/ 51 h 102"/>
                <a:gd name="T6" fmla="*/ 51 w 102"/>
                <a:gd name="T7" fmla="*/ 66 h 102"/>
                <a:gd name="T8" fmla="*/ 36 w 102"/>
                <a:gd name="T9" fmla="*/ 51 h 102"/>
                <a:gd name="T10" fmla="*/ 51 w 102"/>
                <a:gd name="T11" fmla="*/ 37 h 102"/>
                <a:gd name="T12" fmla="*/ 51 w 102"/>
                <a:gd name="T13" fmla="*/ 37 h 102"/>
                <a:gd name="T14" fmla="*/ 51 w 102"/>
                <a:gd name="T15" fmla="*/ 0 h 102"/>
                <a:gd name="T16" fmla="*/ 51 w 102"/>
                <a:gd name="T17" fmla="*/ 0 h 102"/>
                <a:gd name="T18" fmla="*/ 0 w 102"/>
                <a:gd name="T19" fmla="*/ 51 h 102"/>
                <a:gd name="T20" fmla="*/ 51 w 102"/>
                <a:gd name="T21" fmla="*/ 102 h 102"/>
                <a:gd name="T22" fmla="*/ 102 w 102"/>
                <a:gd name="T23" fmla="*/ 51 h 102"/>
                <a:gd name="T24" fmla="*/ 51 w 102"/>
                <a:gd name="T2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02">
                  <a:moveTo>
                    <a:pt x="51" y="37"/>
                  </a:moveTo>
                  <a:lnTo>
                    <a:pt x="51" y="37"/>
                  </a:lnTo>
                  <a:cubicBezTo>
                    <a:pt x="59" y="37"/>
                    <a:pt x="66" y="43"/>
                    <a:pt x="66" y="51"/>
                  </a:cubicBezTo>
                  <a:cubicBezTo>
                    <a:pt x="66" y="60"/>
                    <a:pt x="59" y="66"/>
                    <a:pt x="51" y="66"/>
                  </a:cubicBezTo>
                  <a:cubicBezTo>
                    <a:pt x="43" y="66"/>
                    <a:pt x="36" y="60"/>
                    <a:pt x="36" y="51"/>
                  </a:cubicBezTo>
                  <a:cubicBezTo>
                    <a:pt x="36" y="43"/>
                    <a:pt x="43" y="37"/>
                    <a:pt x="51" y="37"/>
                  </a:cubicBezTo>
                  <a:lnTo>
                    <a:pt x="51" y="37"/>
                  </a:lnTo>
                  <a:close/>
                  <a:moveTo>
                    <a:pt x="51" y="0"/>
                  </a:moveTo>
                  <a:lnTo>
                    <a:pt x="51" y="0"/>
                  </a:lnTo>
                  <a:cubicBezTo>
                    <a:pt x="23" y="0"/>
                    <a:pt x="0" y="23"/>
                    <a:pt x="0" y="51"/>
                  </a:cubicBezTo>
                  <a:cubicBezTo>
                    <a:pt x="0" y="80"/>
                    <a:pt x="23" y="102"/>
                    <a:pt x="51" y="102"/>
                  </a:cubicBezTo>
                  <a:cubicBezTo>
                    <a:pt x="79" y="102"/>
                    <a:pt x="102" y="80"/>
                    <a:pt x="102" y="51"/>
                  </a:cubicBezTo>
                  <a:cubicBezTo>
                    <a:pt x="102" y="23"/>
                    <a:pt x="79" y="0"/>
                    <a:pt x="5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12">
              <a:extLst>
                <a:ext uri="{FF2B5EF4-FFF2-40B4-BE49-F238E27FC236}">
                  <a16:creationId xmlns:a16="http://schemas.microsoft.com/office/drawing/2014/main" id="{3649B44D-BBFD-4BC3-B82E-FE34245093E8}"/>
                </a:ext>
              </a:extLst>
            </p:cNvPr>
            <p:cNvSpPr>
              <a:spLocks noEditPoints="1"/>
            </p:cNvSpPr>
            <p:nvPr/>
          </p:nvSpPr>
          <p:spPr bwMode="auto">
            <a:xfrm>
              <a:off x="4371976" y="2887663"/>
              <a:ext cx="1035050" cy="1114425"/>
            </a:xfrm>
            <a:custGeom>
              <a:avLst/>
              <a:gdLst>
                <a:gd name="T0" fmla="*/ 109 w 503"/>
                <a:gd name="T1" fmla="*/ 292 h 537"/>
                <a:gd name="T2" fmla="*/ 159 w 503"/>
                <a:gd name="T3" fmla="*/ 380 h 537"/>
                <a:gd name="T4" fmla="*/ 50 w 503"/>
                <a:gd name="T5" fmla="*/ 385 h 537"/>
                <a:gd name="T6" fmla="*/ 109 w 503"/>
                <a:gd name="T7" fmla="*/ 292 h 537"/>
                <a:gd name="T8" fmla="*/ 151 w 503"/>
                <a:gd name="T9" fmla="*/ 279 h 537"/>
                <a:gd name="T10" fmla="*/ 137 w 503"/>
                <a:gd name="T11" fmla="*/ 268 h 537"/>
                <a:gd name="T12" fmla="*/ 151 w 503"/>
                <a:gd name="T13" fmla="*/ 268 h 537"/>
                <a:gd name="T14" fmla="*/ 151 w 503"/>
                <a:gd name="T15" fmla="*/ 279 h 537"/>
                <a:gd name="T16" fmla="*/ 50 w 503"/>
                <a:gd name="T17" fmla="*/ 152 h 537"/>
                <a:gd name="T18" fmla="*/ 159 w 503"/>
                <a:gd name="T19" fmla="*/ 157 h 537"/>
                <a:gd name="T20" fmla="*/ 109 w 503"/>
                <a:gd name="T21" fmla="*/ 244 h 537"/>
                <a:gd name="T22" fmla="*/ 50 w 503"/>
                <a:gd name="T23" fmla="*/ 152 h 537"/>
                <a:gd name="T24" fmla="*/ 301 w 503"/>
                <a:gd name="T25" fmla="*/ 182 h 537"/>
                <a:gd name="T26" fmla="*/ 308 w 503"/>
                <a:gd name="T27" fmla="*/ 169 h 537"/>
                <a:gd name="T28" fmla="*/ 301 w 503"/>
                <a:gd name="T29" fmla="*/ 182 h 537"/>
                <a:gd name="T30" fmla="*/ 311 w 503"/>
                <a:gd name="T31" fmla="*/ 350 h 537"/>
                <a:gd name="T32" fmla="*/ 308 w 503"/>
                <a:gd name="T33" fmla="*/ 367 h 537"/>
                <a:gd name="T34" fmla="*/ 301 w 503"/>
                <a:gd name="T35" fmla="*/ 355 h 537"/>
                <a:gd name="T36" fmla="*/ 311 w 503"/>
                <a:gd name="T37" fmla="*/ 350 h 537"/>
                <a:gd name="T38" fmla="*/ 251 w 503"/>
                <a:gd name="T39" fmla="*/ 382 h 537"/>
                <a:gd name="T40" fmla="*/ 251 w 503"/>
                <a:gd name="T41" fmla="*/ 501 h 537"/>
                <a:gd name="T42" fmla="*/ 251 w 503"/>
                <a:gd name="T43" fmla="*/ 382 h 537"/>
                <a:gd name="T44" fmla="*/ 201 w 503"/>
                <a:gd name="T45" fmla="*/ 355 h 537"/>
                <a:gd name="T46" fmla="*/ 210 w 503"/>
                <a:gd name="T47" fmla="*/ 361 h 537"/>
                <a:gd name="T48" fmla="*/ 192 w 503"/>
                <a:gd name="T49" fmla="*/ 350 h 537"/>
                <a:gd name="T50" fmla="*/ 201 w 503"/>
                <a:gd name="T51" fmla="*/ 355 h 537"/>
                <a:gd name="T52" fmla="*/ 192 w 503"/>
                <a:gd name="T53" fmla="*/ 187 h 537"/>
                <a:gd name="T54" fmla="*/ 210 w 503"/>
                <a:gd name="T55" fmla="*/ 176 h 537"/>
                <a:gd name="T56" fmla="*/ 192 w 503"/>
                <a:gd name="T57" fmla="*/ 187 h 537"/>
                <a:gd name="T58" fmla="*/ 251 w 503"/>
                <a:gd name="T59" fmla="*/ 341 h 537"/>
                <a:gd name="T60" fmla="*/ 219 w 503"/>
                <a:gd name="T61" fmla="*/ 324 h 537"/>
                <a:gd name="T62" fmla="*/ 187 w 503"/>
                <a:gd name="T63" fmla="*/ 268 h 537"/>
                <a:gd name="T64" fmla="*/ 219 w 503"/>
                <a:gd name="T65" fmla="*/ 213 h 537"/>
                <a:gd name="T66" fmla="*/ 283 w 503"/>
                <a:gd name="T67" fmla="*/ 213 h 537"/>
                <a:gd name="T68" fmla="*/ 315 w 503"/>
                <a:gd name="T69" fmla="*/ 268 h 537"/>
                <a:gd name="T70" fmla="*/ 283 w 503"/>
                <a:gd name="T71" fmla="*/ 324 h 537"/>
                <a:gd name="T72" fmla="*/ 251 w 503"/>
                <a:gd name="T73" fmla="*/ 341 h 537"/>
                <a:gd name="T74" fmla="*/ 251 w 503"/>
                <a:gd name="T75" fmla="*/ 36 h 537"/>
                <a:gd name="T76" fmla="*/ 251 w 503"/>
                <a:gd name="T77" fmla="*/ 155 h 537"/>
                <a:gd name="T78" fmla="*/ 251 w 503"/>
                <a:gd name="T79" fmla="*/ 36 h 537"/>
                <a:gd name="T80" fmla="*/ 343 w 503"/>
                <a:gd name="T81" fmla="*/ 380 h 537"/>
                <a:gd name="T82" fmla="*/ 349 w 503"/>
                <a:gd name="T83" fmla="*/ 325 h 537"/>
                <a:gd name="T84" fmla="*/ 453 w 503"/>
                <a:gd name="T85" fmla="*/ 385 h 537"/>
                <a:gd name="T86" fmla="*/ 420 w 503"/>
                <a:gd name="T87" fmla="*/ 394 h 537"/>
                <a:gd name="T88" fmla="*/ 343 w 503"/>
                <a:gd name="T89" fmla="*/ 380 h 537"/>
                <a:gd name="T90" fmla="*/ 394 w 503"/>
                <a:gd name="T91" fmla="*/ 244 h 537"/>
                <a:gd name="T92" fmla="*/ 343 w 503"/>
                <a:gd name="T93" fmla="*/ 157 h 537"/>
                <a:gd name="T94" fmla="*/ 453 w 503"/>
                <a:gd name="T95" fmla="*/ 152 h 537"/>
                <a:gd name="T96" fmla="*/ 394 w 503"/>
                <a:gd name="T97" fmla="*/ 244 h 537"/>
                <a:gd name="T98" fmla="*/ 351 w 503"/>
                <a:gd name="T99" fmla="*/ 258 h 537"/>
                <a:gd name="T100" fmla="*/ 351 w 503"/>
                <a:gd name="T101" fmla="*/ 279 h 537"/>
                <a:gd name="T102" fmla="*/ 351 w 503"/>
                <a:gd name="T103" fmla="*/ 258 h 537"/>
                <a:gd name="T104" fmla="*/ 421 w 503"/>
                <a:gd name="T105" fmla="*/ 268 h 537"/>
                <a:gd name="T106" fmla="*/ 484 w 503"/>
                <a:gd name="T107" fmla="*/ 134 h 537"/>
                <a:gd name="T108" fmla="*/ 336 w 503"/>
                <a:gd name="T109" fmla="*/ 121 h 537"/>
                <a:gd name="T110" fmla="*/ 166 w 503"/>
                <a:gd name="T111" fmla="*/ 121 h 537"/>
                <a:gd name="T112" fmla="*/ 18 w 503"/>
                <a:gd name="T113" fmla="*/ 134 h 537"/>
                <a:gd name="T114" fmla="*/ 55 w 503"/>
                <a:gd name="T115" fmla="*/ 295 h 537"/>
                <a:gd name="T116" fmla="*/ 83 w 503"/>
                <a:gd name="T117" fmla="*/ 431 h 537"/>
                <a:gd name="T118" fmla="*/ 251 w 503"/>
                <a:gd name="T119" fmla="*/ 537 h 537"/>
                <a:gd name="T120" fmla="*/ 420 w 503"/>
                <a:gd name="T121" fmla="*/ 431 h 537"/>
                <a:gd name="T122" fmla="*/ 421 w 503"/>
                <a:gd name="T123" fmla="*/ 26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3" h="537">
                  <a:moveTo>
                    <a:pt x="109" y="292"/>
                  </a:moveTo>
                  <a:lnTo>
                    <a:pt x="109" y="292"/>
                  </a:lnTo>
                  <a:cubicBezTo>
                    <a:pt x="122" y="303"/>
                    <a:pt x="137" y="314"/>
                    <a:pt x="153" y="325"/>
                  </a:cubicBezTo>
                  <a:cubicBezTo>
                    <a:pt x="154" y="344"/>
                    <a:pt x="156" y="362"/>
                    <a:pt x="159" y="380"/>
                  </a:cubicBezTo>
                  <a:cubicBezTo>
                    <a:pt x="129" y="389"/>
                    <a:pt x="103" y="394"/>
                    <a:pt x="83" y="394"/>
                  </a:cubicBezTo>
                  <a:cubicBezTo>
                    <a:pt x="65" y="394"/>
                    <a:pt x="53" y="391"/>
                    <a:pt x="50" y="385"/>
                  </a:cubicBezTo>
                  <a:cubicBezTo>
                    <a:pt x="45" y="376"/>
                    <a:pt x="53" y="352"/>
                    <a:pt x="82" y="319"/>
                  </a:cubicBezTo>
                  <a:cubicBezTo>
                    <a:pt x="90" y="310"/>
                    <a:pt x="99" y="301"/>
                    <a:pt x="109" y="292"/>
                  </a:cubicBezTo>
                  <a:lnTo>
                    <a:pt x="109" y="292"/>
                  </a:lnTo>
                  <a:close/>
                  <a:moveTo>
                    <a:pt x="151" y="279"/>
                  </a:moveTo>
                  <a:lnTo>
                    <a:pt x="151" y="279"/>
                  </a:lnTo>
                  <a:cubicBezTo>
                    <a:pt x="146" y="276"/>
                    <a:pt x="141" y="272"/>
                    <a:pt x="137" y="268"/>
                  </a:cubicBezTo>
                  <a:cubicBezTo>
                    <a:pt x="141" y="265"/>
                    <a:pt x="146" y="261"/>
                    <a:pt x="151" y="258"/>
                  </a:cubicBezTo>
                  <a:cubicBezTo>
                    <a:pt x="151" y="261"/>
                    <a:pt x="151" y="265"/>
                    <a:pt x="151" y="268"/>
                  </a:cubicBezTo>
                  <a:cubicBezTo>
                    <a:pt x="151" y="272"/>
                    <a:pt x="151" y="276"/>
                    <a:pt x="151" y="279"/>
                  </a:cubicBezTo>
                  <a:lnTo>
                    <a:pt x="151" y="279"/>
                  </a:lnTo>
                  <a:close/>
                  <a:moveTo>
                    <a:pt x="50" y="152"/>
                  </a:moveTo>
                  <a:lnTo>
                    <a:pt x="50" y="152"/>
                  </a:lnTo>
                  <a:cubicBezTo>
                    <a:pt x="53" y="146"/>
                    <a:pt x="65" y="142"/>
                    <a:pt x="83" y="142"/>
                  </a:cubicBezTo>
                  <a:cubicBezTo>
                    <a:pt x="103" y="142"/>
                    <a:pt x="129" y="147"/>
                    <a:pt x="159" y="157"/>
                  </a:cubicBezTo>
                  <a:cubicBezTo>
                    <a:pt x="156" y="175"/>
                    <a:pt x="154" y="193"/>
                    <a:pt x="153" y="212"/>
                  </a:cubicBezTo>
                  <a:cubicBezTo>
                    <a:pt x="137" y="222"/>
                    <a:pt x="122" y="233"/>
                    <a:pt x="109" y="244"/>
                  </a:cubicBezTo>
                  <a:cubicBezTo>
                    <a:pt x="61" y="201"/>
                    <a:pt x="43" y="165"/>
                    <a:pt x="50" y="152"/>
                  </a:cubicBezTo>
                  <a:lnTo>
                    <a:pt x="50" y="152"/>
                  </a:lnTo>
                  <a:close/>
                  <a:moveTo>
                    <a:pt x="301" y="182"/>
                  </a:moveTo>
                  <a:lnTo>
                    <a:pt x="301" y="182"/>
                  </a:lnTo>
                  <a:cubicBezTo>
                    <a:pt x="298" y="180"/>
                    <a:pt x="295" y="178"/>
                    <a:pt x="292" y="176"/>
                  </a:cubicBezTo>
                  <a:cubicBezTo>
                    <a:pt x="297" y="174"/>
                    <a:pt x="303" y="172"/>
                    <a:pt x="308" y="169"/>
                  </a:cubicBezTo>
                  <a:cubicBezTo>
                    <a:pt x="309" y="175"/>
                    <a:pt x="310" y="181"/>
                    <a:pt x="311" y="187"/>
                  </a:cubicBezTo>
                  <a:cubicBezTo>
                    <a:pt x="308" y="185"/>
                    <a:pt x="304" y="183"/>
                    <a:pt x="301" y="182"/>
                  </a:cubicBezTo>
                  <a:lnTo>
                    <a:pt x="301" y="182"/>
                  </a:lnTo>
                  <a:close/>
                  <a:moveTo>
                    <a:pt x="311" y="350"/>
                  </a:moveTo>
                  <a:lnTo>
                    <a:pt x="311" y="350"/>
                  </a:lnTo>
                  <a:cubicBezTo>
                    <a:pt x="310" y="356"/>
                    <a:pt x="309" y="362"/>
                    <a:pt x="308" y="367"/>
                  </a:cubicBezTo>
                  <a:cubicBezTo>
                    <a:pt x="303" y="365"/>
                    <a:pt x="297" y="363"/>
                    <a:pt x="292" y="361"/>
                  </a:cubicBezTo>
                  <a:cubicBezTo>
                    <a:pt x="295" y="359"/>
                    <a:pt x="298" y="357"/>
                    <a:pt x="301" y="355"/>
                  </a:cubicBezTo>
                  <a:cubicBezTo>
                    <a:pt x="304" y="354"/>
                    <a:pt x="308" y="352"/>
                    <a:pt x="311" y="350"/>
                  </a:cubicBezTo>
                  <a:lnTo>
                    <a:pt x="311" y="350"/>
                  </a:lnTo>
                  <a:close/>
                  <a:moveTo>
                    <a:pt x="251" y="382"/>
                  </a:moveTo>
                  <a:lnTo>
                    <a:pt x="251" y="382"/>
                  </a:lnTo>
                  <a:cubicBezTo>
                    <a:pt x="268" y="390"/>
                    <a:pt x="285" y="397"/>
                    <a:pt x="302" y="404"/>
                  </a:cubicBezTo>
                  <a:cubicBezTo>
                    <a:pt x="288" y="467"/>
                    <a:pt x="266" y="501"/>
                    <a:pt x="251" y="501"/>
                  </a:cubicBezTo>
                  <a:cubicBezTo>
                    <a:pt x="237" y="501"/>
                    <a:pt x="215" y="467"/>
                    <a:pt x="201" y="404"/>
                  </a:cubicBezTo>
                  <a:cubicBezTo>
                    <a:pt x="217" y="397"/>
                    <a:pt x="234" y="390"/>
                    <a:pt x="251" y="382"/>
                  </a:cubicBezTo>
                  <a:lnTo>
                    <a:pt x="251" y="382"/>
                  </a:lnTo>
                  <a:close/>
                  <a:moveTo>
                    <a:pt x="201" y="355"/>
                  </a:moveTo>
                  <a:lnTo>
                    <a:pt x="201" y="355"/>
                  </a:lnTo>
                  <a:cubicBezTo>
                    <a:pt x="204" y="357"/>
                    <a:pt x="207" y="359"/>
                    <a:pt x="210" y="361"/>
                  </a:cubicBezTo>
                  <a:cubicBezTo>
                    <a:pt x="205" y="363"/>
                    <a:pt x="199" y="365"/>
                    <a:pt x="194" y="367"/>
                  </a:cubicBezTo>
                  <a:cubicBezTo>
                    <a:pt x="193" y="362"/>
                    <a:pt x="192" y="356"/>
                    <a:pt x="192" y="350"/>
                  </a:cubicBezTo>
                  <a:cubicBezTo>
                    <a:pt x="195" y="352"/>
                    <a:pt x="198" y="354"/>
                    <a:pt x="201" y="355"/>
                  </a:cubicBezTo>
                  <a:lnTo>
                    <a:pt x="201" y="355"/>
                  </a:lnTo>
                  <a:close/>
                  <a:moveTo>
                    <a:pt x="192" y="187"/>
                  </a:moveTo>
                  <a:lnTo>
                    <a:pt x="192" y="187"/>
                  </a:lnTo>
                  <a:cubicBezTo>
                    <a:pt x="192" y="181"/>
                    <a:pt x="193" y="175"/>
                    <a:pt x="194" y="169"/>
                  </a:cubicBezTo>
                  <a:cubicBezTo>
                    <a:pt x="199" y="172"/>
                    <a:pt x="205" y="174"/>
                    <a:pt x="210" y="176"/>
                  </a:cubicBezTo>
                  <a:cubicBezTo>
                    <a:pt x="207" y="178"/>
                    <a:pt x="204" y="180"/>
                    <a:pt x="201" y="182"/>
                  </a:cubicBezTo>
                  <a:cubicBezTo>
                    <a:pt x="198" y="183"/>
                    <a:pt x="195" y="185"/>
                    <a:pt x="192" y="187"/>
                  </a:cubicBezTo>
                  <a:lnTo>
                    <a:pt x="192" y="187"/>
                  </a:lnTo>
                  <a:close/>
                  <a:moveTo>
                    <a:pt x="251" y="341"/>
                  </a:moveTo>
                  <a:lnTo>
                    <a:pt x="251" y="341"/>
                  </a:lnTo>
                  <a:cubicBezTo>
                    <a:pt x="240" y="336"/>
                    <a:pt x="229" y="330"/>
                    <a:pt x="219" y="324"/>
                  </a:cubicBezTo>
                  <a:cubicBezTo>
                    <a:pt x="209" y="318"/>
                    <a:pt x="198" y="312"/>
                    <a:pt x="188" y="305"/>
                  </a:cubicBezTo>
                  <a:cubicBezTo>
                    <a:pt x="187" y="293"/>
                    <a:pt x="187" y="280"/>
                    <a:pt x="187" y="268"/>
                  </a:cubicBezTo>
                  <a:cubicBezTo>
                    <a:pt x="187" y="256"/>
                    <a:pt x="187" y="244"/>
                    <a:pt x="188" y="232"/>
                  </a:cubicBezTo>
                  <a:cubicBezTo>
                    <a:pt x="199" y="225"/>
                    <a:pt x="209" y="219"/>
                    <a:pt x="219" y="213"/>
                  </a:cubicBezTo>
                  <a:cubicBezTo>
                    <a:pt x="229" y="207"/>
                    <a:pt x="240" y="201"/>
                    <a:pt x="251" y="196"/>
                  </a:cubicBezTo>
                  <a:cubicBezTo>
                    <a:pt x="262" y="201"/>
                    <a:pt x="273" y="207"/>
                    <a:pt x="283" y="213"/>
                  </a:cubicBezTo>
                  <a:cubicBezTo>
                    <a:pt x="293" y="219"/>
                    <a:pt x="303" y="225"/>
                    <a:pt x="314" y="232"/>
                  </a:cubicBezTo>
                  <a:cubicBezTo>
                    <a:pt x="315" y="244"/>
                    <a:pt x="315" y="256"/>
                    <a:pt x="315" y="268"/>
                  </a:cubicBezTo>
                  <a:cubicBezTo>
                    <a:pt x="315" y="281"/>
                    <a:pt x="315" y="293"/>
                    <a:pt x="314" y="305"/>
                  </a:cubicBezTo>
                  <a:cubicBezTo>
                    <a:pt x="303" y="312"/>
                    <a:pt x="293" y="318"/>
                    <a:pt x="283" y="324"/>
                  </a:cubicBezTo>
                  <a:cubicBezTo>
                    <a:pt x="273" y="330"/>
                    <a:pt x="262" y="336"/>
                    <a:pt x="251" y="341"/>
                  </a:cubicBezTo>
                  <a:lnTo>
                    <a:pt x="251" y="341"/>
                  </a:lnTo>
                  <a:close/>
                  <a:moveTo>
                    <a:pt x="251" y="36"/>
                  </a:moveTo>
                  <a:lnTo>
                    <a:pt x="251" y="36"/>
                  </a:lnTo>
                  <a:cubicBezTo>
                    <a:pt x="266" y="36"/>
                    <a:pt x="288" y="70"/>
                    <a:pt x="302" y="133"/>
                  </a:cubicBezTo>
                  <a:cubicBezTo>
                    <a:pt x="285" y="140"/>
                    <a:pt x="268" y="147"/>
                    <a:pt x="251" y="155"/>
                  </a:cubicBezTo>
                  <a:cubicBezTo>
                    <a:pt x="234" y="147"/>
                    <a:pt x="217" y="139"/>
                    <a:pt x="201" y="133"/>
                  </a:cubicBezTo>
                  <a:cubicBezTo>
                    <a:pt x="215" y="70"/>
                    <a:pt x="237" y="36"/>
                    <a:pt x="251" y="36"/>
                  </a:cubicBezTo>
                  <a:lnTo>
                    <a:pt x="251" y="36"/>
                  </a:lnTo>
                  <a:close/>
                  <a:moveTo>
                    <a:pt x="343" y="380"/>
                  </a:moveTo>
                  <a:lnTo>
                    <a:pt x="343" y="380"/>
                  </a:lnTo>
                  <a:cubicBezTo>
                    <a:pt x="346" y="363"/>
                    <a:pt x="348" y="344"/>
                    <a:pt x="349" y="325"/>
                  </a:cubicBezTo>
                  <a:cubicBezTo>
                    <a:pt x="365" y="315"/>
                    <a:pt x="380" y="304"/>
                    <a:pt x="394" y="292"/>
                  </a:cubicBezTo>
                  <a:cubicBezTo>
                    <a:pt x="447" y="341"/>
                    <a:pt x="458" y="375"/>
                    <a:pt x="453" y="385"/>
                  </a:cubicBezTo>
                  <a:lnTo>
                    <a:pt x="453" y="385"/>
                  </a:lnTo>
                  <a:cubicBezTo>
                    <a:pt x="449" y="391"/>
                    <a:pt x="437" y="394"/>
                    <a:pt x="420" y="394"/>
                  </a:cubicBezTo>
                  <a:cubicBezTo>
                    <a:pt x="399" y="394"/>
                    <a:pt x="373" y="389"/>
                    <a:pt x="343" y="380"/>
                  </a:cubicBezTo>
                  <a:lnTo>
                    <a:pt x="343" y="380"/>
                  </a:lnTo>
                  <a:close/>
                  <a:moveTo>
                    <a:pt x="394" y="244"/>
                  </a:moveTo>
                  <a:lnTo>
                    <a:pt x="394" y="244"/>
                  </a:lnTo>
                  <a:cubicBezTo>
                    <a:pt x="380" y="233"/>
                    <a:pt x="365" y="222"/>
                    <a:pt x="349" y="212"/>
                  </a:cubicBezTo>
                  <a:cubicBezTo>
                    <a:pt x="348" y="193"/>
                    <a:pt x="346" y="174"/>
                    <a:pt x="343" y="157"/>
                  </a:cubicBezTo>
                  <a:cubicBezTo>
                    <a:pt x="373" y="147"/>
                    <a:pt x="399" y="142"/>
                    <a:pt x="420" y="142"/>
                  </a:cubicBezTo>
                  <a:cubicBezTo>
                    <a:pt x="437" y="142"/>
                    <a:pt x="449" y="146"/>
                    <a:pt x="453" y="152"/>
                  </a:cubicBezTo>
                  <a:cubicBezTo>
                    <a:pt x="460" y="165"/>
                    <a:pt x="441" y="201"/>
                    <a:pt x="394" y="244"/>
                  </a:cubicBezTo>
                  <a:lnTo>
                    <a:pt x="394" y="244"/>
                  </a:lnTo>
                  <a:close/>
                  <a:moveTo>
                    <a:pt x="351" y="258"/>
                  </a:moveTo>
                  <a:lnTo>
                    <a:pt x="351" y="258"/>
                  </a:lnTo>
                  <a:cubicBezTo>
                    <a:pt x="356" y="261"/>
                    <a:pt x="361" y="265"/>
                    <a:pt x="365" y="268"/>
                  </a:cubicBezTo>
                  <a:cubicBezTo>
                    <a:pt x="361" y="272"/>
                    <a:pt x="356" y="276"/>
                    <a:pt x="351" y="279"/>
                  </a:cubicBezTo>
                  <a:cubicBezTo>
                    <a:pt x="351" y="276"/>
                    <a:pt x="351" y="272"/>
                    <a:pt x="351" y="268"/>
                  </a:cubicBezTo>
                  <a:cubicBezTo>
                    <a:pt x="351" y="265"/>
                    <a:pt x="351" y="261"/>
                    <a:pt x="351" y="258"/>
                  </a:cubicBezTo>
                  <a:lnTo>
                    <a:pt x="351" y="258"/>
                  </a:lnTo>
                  <a:close/>
                  <a:moveTo>
                    <a:pt x="421" y="268"/>
                  </a:moveTo>
                  <a:lnTo>
                    <a:pt x="421" y="268"/>
                  </a:lnTo>
                  <a:cubicBezTo>
                    <a:pt x="481" y="214"/>
                    <a:pt x="503" y="166"/>
                    <a:pt x="484" y="134"/>
                  </a:cubicBezTo>
                  <a:cubicBezTo>
                    <a:pt x="477" y="121"/>
                    <a:pt x="459" y="106"/>
                    <a:pt x="420" y="106"/>
                  </a:cubicBezTo>
                  <a:cubicBezTo>
                    <a:pt x="397" y="106"/>
                    <a:pt x="368" y="111"/>
                    <a:pt x="336" y="121"/>
                  </a:cubicBezTo>
                  <a:cubicBezTo>
                    <a:pt x="319" y="43"/>
                    <a:pt x="289" y="0"/>
                    <a:pt x="251" y="0"/>
                  </a:cubicBezTo>
                  <a:cubicBezTo>
                    <a:pt x="214" y="0"/>
                    <a:pt x="184" y="43"/>
                    <a:pt x="166" y="121"/>
                  </a:cubicBezTo>
                  <a:cubicBezTo>
                    <a:pt x="134" y="111"/>
                    <a:pt x="105" y="106"/>
                    <a:pt x="83" y="106"/>
                  </a:cubicBezTo>
                  <a:cubicBezTo>
                    <a:pt x="43" y="106"/>
                    <a:pt x="26" y="121"/>
                    <a:pt x="18" y="134"/>
                  </a:cubicBezTo>
                  <a:cubicBezTo>
                    <a:pt x="0" y="167"/>
                    <a:pt x="22" y="214"/>
                    <a:pt x="81" y="269"/>
                  </a:cubicBezTo>
                  <a:cubicBezTo>
                    <a:pt x="71" y="278"/>
                    <a:pt x="63" y="286"/>
                    <a:pt x="55" y="295"/>
                  </a:cubicBezTo>
                  <a:cubicBezTo>
                    <a:pt x="5" y="350"/>
                    <a:pt x="8" y="384"/>
                    <a:pt x="18" y="403"/>
                  </a:cubicBezTo>
                  <a:cubicBezTo>
                    <a:pt x="26" y="416"/>
                    <a:pt x="43" y="431"/>
                    <a:pt x="83" y="431"/>
                  </a:cubicBezTo>
                  <a:cubicBezTo>
                    <a:pt x="105" y="431"/>
                    <a:pt x="134" y="426"/>
                    <a:pt x="166" y="416"/>
                  </a:cubicBezTo>
                  <a:cubicBezTo>
                    <a:pt x="184" y="494"/>
                    <a:pt x="214" y="537"/>
                    <a:pt x="251" y="537"/>
                  </a:cubicBezTo>
                  <a:cubicBezTo>
                    <a:pt x="289" y="537"/>
                    <a:pt x="319" y="494"/>
                    <a:pt x="336" y="416"/>
                  </a:cubicBezTo>
                  <a:cubicBezTo>
                    <a:pt x="368" y="426"/>
                    <a:pt x="397" y="431"/>
                    <a:pt x="420" y="431"/>
                  </a:cubicBezTo>
                  <a:cubicBezTo>
                    <a:pt x="459" y="431"/>
                    <a:pt x="477" y="416"/>
                    <a:pt x="484" y="403"/>
                  </a:cubicBezTo>
                  <a:cubicBezTo>
                    <a:pt x="503" y="370"/>
                    <a:pt x="480" y="323"/>
                    <a:pt x="421" y="2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5" name="Group 204">
            <a:extLst>
              <a:ext uri="{FF2B5EF4-FFF2-40B4-BE49-F238E27FC236}">
                <a16:creationId xmlns:a16="http://schemas.microsoft.com/office/drawing/2014/main" id="{0E30C9BE-35B3-467A-BE0D-2A4572E851B8}"/>
              </a:ext>
            </a:extLst>
          </p:cNvPr>
          <p:cNvGrpSpPr/>
          <p:nvPr/>
        </p:nvGrpSpPr>
        <p:grpSpPr>
          <a:xfrm>
            <a:off x="1370050" y="3285441"/>
            <a:ext cx="367041" cy="370273"/>
            <a:chOff x="6515101" y="2628900"/>
            <a:chExt cx="1622425" cy="1636713"/>
          </a:xfrm>
          <a:solidFill>
            <a:schemeClr val="bg2"/>
          </a:solidFill>
        </p:grpSpPr>
        <p:sp>
          <p:nvSpPr>
            <p:cNvPr id="206" name="Freeform 13">
              <a:extLst>
                <a:ext uri="{FF2B5EF4-FFF2-40B4-BE49-F238E27FC236}">
                  <a16:creationId xmlns:a16="http://schemas.microsoft.com/office/drawing/2014/main" id="{F76759A0-1A81-4958-8F3A-7547FF954E02}"/>
                </a:ext>
              </a:extLst>
            </p:cNvPr>
            <p:cNvSpPr>
              <a:spLocks/>
            </p:cNvSpPr>
            <p:nvPr/>
          </p:nvSpPr>
          <p:spPr bwMode="auto">
            <a:xfrm>
              <a:off x="6899276" y="3497263"/>
              <a:ext cx="238125" cy="211138"/>
            </a:xfrm>
            <a:custGeom>
              <a:avLst/>
              <a:gdLst>
                <a:gd name="T0" fmla="*/ 64 w 115"/>
                <a:gd name="T1" fmla="*/ 0 h 102"/>
                <a:gd name="T2" fmla="*/ 64 w 115"/>
                <a:gd name="T3" fmla="*/ 0 h 102"/>
                <a:gd name="T4" fmla="*/ 38 w 115"/>
                <a:gd name="T5" fmla="*/ 26 h 102"/>
                <a:gd name="T6" fmla="*/ 5 w 115"/>
                <a:gd name="T7" fmla="*/ 92 h 102"/>
                <a:gd name="T8" fmla="*/ 38 w 115"/>
                <a:gd name="T9" fmla="*/ 102 h 102"/>
                <a:gd name="T10" fmla="*/ 115 w 115"/>
                <a:gd name="T11" fmla="*/ 87 h 102"/>
                <a:gd name="T12" fmla="*/ 108 w 115"/>
                <a:gd name="T13" fmla="*/ 32 h 102"/>
                <a:gd name="T14" fmla="*/ 64 w 115"/>
                <a:gd name="T15" fmla="*/ 0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02">
                  <a:moveTo>
                    <a:pt x="64" y="0"/>
                  </a:moveTo>
                  <a:lnTo>
                    <a:pt x="64" y="0"/>
                  </a:lnTo>
                  <a:cubicBezTo>
                    <a:pt x="54" y="9"/>
                    <a:pt x="45" y="18"/>
                    <a:pt x="38" y="26"/>
                  </a:cubicBezTo>
                  <a:cubicBezTo>
                    <a:pt x="8" y="59"/>
                    <a:pt x="0" y="83"/>
                    <a:pt x="5" y="92"/>
                  </a:cubicBezTo>
                  <a:cubicBezTo>
                    <a:pt x="9" y="98"/>
                    <a:pt x="21" y="102"/>
                    <a:pt x="38" y="102"/>
                  </a:cubicBezTo>
                  <a:cubicBezTo>
                    <a:pt x="58" y="102"/>
                    <a:pt x="85" y="97"/>
                    <a:pt x="115" y="87"/>
                  </a:cubicBezTo>
                  <a:cubicBezTo>
                    <a:pt x="112" y="69"/>
                    <a:pt x="110" y="51"/>
                    <a:pt x="108" y="32"/>
                  </a:cubicBezTo>
                  <a:cubicBezTo>
                    <a:pt x="93" y="22"/>
                    <a:pt x="78" y="11"/>
                    <a:pt x="6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4">
              <a:extLst>
                <a:ext uri="{FF2B5EF4-FFF2-40B4-BE49-F238E27FC236}">
                  <a16:creationId xmlns:a16="http://schemas.microsoft.com/office/drawing/2014/main" id="{0AA8EF11-E0CF-4772-A76E-614ECA868563}"/>
                </a:ext>
              </a:extLst>
            </p:cNvPr>
            <p:cNvSpPr>
              <a:spLocks/>
            </p:cNvSpPr>
            <p:nvPr/>
          </p:nvSpPr>
          <p:spPr bwMode="auto">
            <a:xfrm>
              <a:off x="7221538" y="2963863"/>
              <a:ext cx="207963" cy="247650"/>
            </a:xfrm>
            <a:custGeom>
              <a:avLst/>
              <a:gdLst>
                <a:gd name="T0" fmla="*/ 101 w 101"/>
                <a:gd name="T1" fmla="*/ 97 h 119"/>
                <a:gd name="T2" fmla="*/ 101 w 101"/>
                <a:gd name="T3" fmla="*/ 97 h 119"/>
                <a:gd name="T4" fmla="*/ 51 w 101"/>
                <a:gd name="T5" fmla="*/ 0 h 119"/>
                <a:gd name="T6" fmla="*/ 0 w 101"/>
                <a:gd name="T7" fmla="*/ 97 h 119"/>
                <a:gd name="T8" fmla="*/ 51 w 101"/>
                <a:gd name="T9" fmla="*/ 119 h 119"/>
                <a:gd name="T10" fmla="*/ 101 w 101"/>
                <a:gd name="T11" fmla="*/ 97 h 119"/>
              </a:gdLst>
              <a:ahLst/>
              <a:cxnLst>
                <a:cxn ang="0">
                  <a:pos x="T0" y="T1"/>
                </a:cxn>
                <a:cxn ang="0">
                  <a:pos x="T2" y="T3"/>
                </a:cxn>
                <a:cxn ang="0">
                  <a:pos x="T4" y="T5"/>
                </a:cxn>
                <a:cxn ang="0">
                  <a:pos x="T6" y="T7"/>
                </a:cxn>
                <a:cxn ang="0">
                  <a:pos x="T8" y="T9"/>
                </a:cxn>
                <a:cxn ang="0">
                  <a:pos x="T10" y="T11"/>
                </a:cxn>
              </a:cxnLst>
              <a:rect l="0" t="0" r="r" b="b"/>
              <a:pathLst>
                <a:path w="101" h="119">
                  <a:moveTo>
                    <a:pt x="101" y="97"/>
                  </a:moveTo>
                  <a:lnTo>
                    <a:pt x="101" y="97"/>
                  </a:lnTo>
                  <a:cubicBezTo>
                    <a:pt x="87" y="34"/>
                    <a:pt x="65" y="0"/>
                    <a:pt x="51" y="0"/>
                  </a:cubicBezTo>
                  <a:cubicBezTo>
                    <a:pt x="36" y="0"/>
                    <a:pt x="14" y="34"/>
                    <a:pt x="0" y="97"/>
                  </a:cubicBezTo>
                  <a:cubicBezTo>
                    <a:pt x="17" y="104"/>
                    <a:pt x="34" y="111"/>
                    <a:pt x="51" y="119"/>
                  </a:cubicBezTo>
                  <a:cubicBezTo>
                    <a:pt x="68" y="111"/>
                    <a:pt x="85" y="104"/>
                    <a:pt x="101" y="9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15">
              <a:extLst>
                <a:ext uri="{FF2B5EF4-FFF2-40B4-BE49-F238E27FC236}">
                  <a16:creationId xmlns:a16="http://schemas.microsoft.com/office/drawing/2014/main" id="{7E1BAF6B-654A-49EC-9360-6F0CB417252F}"/>
                </a:ext>
              </a:extLst>
            </p:cNvPr>
            <p:cNvSpPr>
              <a:spLocks/>
            </p:cNvSpPr>
            <p:nvPr/>
          </p:nvSpPr>
          <p:spPr bwMode="auto">
            <a:xfrm>
              <a:off x="7202488" y="3616325"/>
              <a:ext cx="39688" cy="36513"/>
            </a:xfrm>
            <a:custGeom>
              <a:avLst/>
              <a:gdLst>
                <a:gd name="T0" fmla="*/ 10 w 19"/>
                <a:gd name="T1" fmla="*/ 5 h 18"/>
                <a:gd name="T2" fmla="*/ 10 w 19"/>
                <a:gd name="T3" fmla="*/ 5 h 18"/>
                <a:gd name="T4" fmla="*/ 0 w 19"/>
                <a:gd name="T5" fmla="*/ 0 h 18"/>
                <a:gd name="T6" fmla="*/ 2 w 19"/>
                <a:gd name="T7" fmla="*/ 18 h 18"/>
                <a:gd name="T8" fmla="*/ 19 w 19"/>
                <a:gd name="T9" fmla="*/ 11 h 18"/>
                <a:gd name="T10" fmla="*/ 10 w 19"/>
                <a:gd name="T11" fmla="*/ 5 h 18"/>
              </a:gdLst>
              <a:ahLst/>
              <a:cxnLst>
                <a:cxn ang="0">
                  <a:pos x="T0" y="T1"/>
                </a:cxn>
                <a:cxn ang="0">
                  <a:pos x="T2" y="T3"/>
                </a:cxn>
                <a:cxn ang="0">
                  <a:pos x="T4" y="T5"/>
                </a:cxn>
                <a:cxn ang="0">
                  <a:pos x="T6" y="T7"/>
                </a:cxn>
                <a:cxn ang="0">
                  <a:pos x="T8" y="T9"/>
                </a:cxn>
                <a:cxn ang="0">
                  <a:pos x="T10" y="T11"/>
                </a:cxn>
              </a:cxnLst>
              <a:rect l="0" t="0" r="r" b="b"/>
              <a:pathLst>
                <a:path w="19" h="18">
                  <a:moveTo>
                    <a:pt x="10" y="5"/>
                  </a:moveTo>
                  <a:lnTo>
                    <a:pt x="10" y="5"/>
                  </a:lnTo>
                  <a:cubicBezTo>
                    <a:pt x="6" y="4"/>
                    <a:pt x="3" y="2"/>
                    <a:pt x="0" y="0"/>
                  </a:cubicBezTo>
                  <a:cubicBezTo>
                    <a:pt x="1" y="6"/>
                    <a:pt x="2" y="12"/>
                    <a:pt x="2" y="18"/>
                  </a:cubicBezTo>
                  <a:cubicBezTo>
                    <a:pt x="8" y="15"/>
                    <a:pt x="13" y="13"/>
                    <a:pt x="19" y="11"/>
                  </a:cubicBezTo>
                  <a:cubicBezTo>
                    <a:pt x="16" y="9"/>
                    <a:pt x="13" y="7"/>
                    <a:pt x="10" y="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16">
              <a:extLst>
                <a:ext uri="{FF2B5EF4-FFF2-40B4-BE49-F238E27FC236}">
                  <a16:creationId xmlns:a16="http://schemas.microsoft.com/office/drawing/2014/main" id="{DABD9BDB-4790-49C4-BB56-0E56C79F769D}"/>
                </a:ext>
              </a:extLst>
            </p:cNvPr>
            <p:cNvSpPr>
              <a:spLocks/>
            </p:cNvSpPr>
            <p:nvPr/>
          </p:nvSpPr>
          <p:spPr bwMode="auto">
            <a:xfrm>
              <a:off x="7221538" y="3681413"/>
              <a:ext cx="207963" cy="247650"/>
            </a:xfrm>
            <a:custGeom>
              <a:avLst/>
              <a:gdLst>
                <a:gd name="T0" fmla="*/ 0 w 101"/>
                <a:gd name="T1" fmla="*/ 22 h 119"/>
                <a:gd name="T2" fmla="*/ 0 w 101"/>
                <a:gd name="T3" fmla="*/ 22 h 119"/>
                <a:gd name="T4" fmla="*/ 51 w 101"/>
                <a:gd name="T5" fmla="*/ 119 h 119"/>
                <a:gd name="T6" fmla="*/ 101 w 101"/>
                <a:gd name="T7" fmla="*/ 22 h 119"/>
                <a:gd name="T8" fmla="*/ 51 w 101"/>
                <a:gd name="T9" fmla="*/ 0 h 119"/>
                <a:gd name="T10" fmla="*/ 0 w 101"/>
                <a:gd name="T11" fmla="*/ 22 h 119"/>
              </a:gdLst>
              <a:ahLst/>
              <a:cxnLst>
                <a:cxn ang="0">
                  <a:pos x="T0" y="T1"/>
                </a:cxn>
                <a:cxn ang="0">
                  <a:pos x="T2" y="T3"/>
                </a:cxn>
                <a:cxn ang="0">
                  <a:pos x="T4" y="T5"/>
                </a:cxn>
                <a:cxn ang="0">
                  <a:pos x="T6" y="T7"/>
                </a:cxn>
                <a:cxn ang="0">
                  <a:pos x="T8" y="T9"/>
                </a:cxn>
                <a:cxn ang="0">
                  <a:pos x="T10" y="T11"/>
                </a:cxn>
              </a:cxnLst>
              <a:rect l="0" t="0" r="r" b="b"/>
              <a:pathLst>
                <a:path w="101" h="119">
                  <a:moveTo>
                    <a:pt x="0" y="22"/>
                  </a:moveTo>
                  <a:lnTo>
                    <a:pt x="0" y="22"/>
                  </a:lnTo>
                  <a:cubicBezTo>
                    <a:pt x="14" y="85"/>
                    <a:pt x="36" y="119"/>
                    <a:pt x="51" y="119"/>
                  </a:cubicBezTo>
                  <a:cubicBezTo>
                    <a:pt x="65" y="119"/>
                    <a:pt x="87" y="85"/>
                    <a:pt x="101" y="22"/>
                  </a:cubicBezTo>
                  <a:cubicBezTo>
                    <a:pt x="84" y="15"/>
                    <a:pt x="67" y="8"/>
                    <a:pt x="51" y="0"/>
                  </a:cubicBezTo>
                  <a:cubicBezTo>
                    <a:pt x="34" y="8"/>
                    <a:pt x="17" y="16"/>
                    <a:pt x="0" y="2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17">
              <a:extLst>
                <a:ext uri="{FF2B5EF4-FFF2-40B4-BE49-F238E27FC236}">
                  <a16:creationId xmlns:a16="http://schemas.microsoft.com/office/drawing/2014/main" id="{A2E5FDB8-94F7-4B0B-91B2-99EBCC09E883}"/>
                </a:ext>
              </a:extLst>
            </p:cNvPr>
            <p:cNvSpPr>
              <a:spLocks/>
            </p:cNvSpPr>
            <p:nvPr/>
          </p:nvSpPr>
          <p:spPr bwMode="auto">
            <a:xfrm>
              <a:off x="7202488" y="3241675"/>
              <a:ext cx="39688" cy="34925"/>
            </a:xfrm>
            <a:custGeom>
              <a:avLst/>
              <a:gdLst>
                <a:gd name="T0" fmla="*/ 19 w 19"/>
                <a:gd name="T1" fmla="*/ 6 h 17"/>
                <a:gd name="T2" fmla="*/ 19 w 19"/>
                <a:gd name="T3" fmla="*/ 6 h 17"/>
                <a:gd name="T4" fmla="*/ 3 w 19"/>
                <a:gd name="T5" fmla="*/ 0 h 17"/>
                <a:gd name="T6" fmla="*/ 0 w 19"/>
                <a:gd name="T7" fmla="*/ 17 h 17"/>
                <a:gd name="T8" fmla="*/ 9 w 19"/>
                <a:gd name="T9" fmla="*/ 12 h 17"/>
                <a:gd name="T10" fmla="*/ 19 w 19"/>
                <a:gd name="T11" fmla="*/ 6 h 17"/>
              </a:gdLst>
              <a:ahLst/>
              <a:cxnLst>
                <a:cxn ang="0">
                  <a:pos x="T0" y="T1"/>
                </a:cxn>
                <a:cxn ang="0">
                  <a:pos x="T2" y="T3"/>
                </a:cxn>
                <a:cxn ang="0">
                  <a:pos x="T4" y="T5"/>
                </a:cxn>
                <a:cxn ang="0">
                  <a:pos x="T6" y="T7"/>
                </a:cxn>
                <a:cxn ang="0">
                  <a:pos x="T8" y="T9"/>
                </a:cxn>
                <a:cxn ang="0">
                  <a:pos x="T10" y="T11"/>
                </a:cxn>
              </a:cxnLst>
              <a:rect l="0" t="0" r="r" b="b"/>
              <a:pathLst>
                <a:path w="19" h="17">
                  <a:moveTo>
                    <a:pt x="19" y="6"/>
                  </a:moveTo>
                  <a:lnTo>
                    <a:pt x="19" y="6"/>
                  </a:lnTo>
                  <a:cubicBezTo>
                    <a:pt x="13" y="4"/>
                    <a:pt x="8" y="2"/>
                    <a:pt x="3" y="0"/>
                  </a:cubicBezTo>
                  <a:cubicBezTo>
                    <a:pt x="2" y="5"/>
                    <a:pt x="1" y="11"/>
                    <a:pt x="0" y="17"/>
                  </a:cubicBezTo>
                  <a:cubicBezTo>
                    <a:pt x="3" y="15"/>
                    <a:pt x="6" y="14"/>
                    <a:pt x="9" y="12"/>
                  </a:cubicBezTo>
                  <a:cubicBezTo>
                    <a:pt x="13" y="10"/>
                    <a:pt x="16" y="8"/>
                    <a:pt x="19"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18">
              <a:extLst>
                <a:ext uri="{FF2B5EF4-FFF2-40B4-BE49-F238E27FC236}">
                  <a16:creationId xmlns:a16="http://schemas.microsoft.com/office/drawing/2014/main" id="{F16012A0-BF6D-4C64-BC57-7E61E68C7FAE}"/>
                </a:ext>
              </a:extLst>
            </p:cNvPr>
            <p:cNvSpPr>
              <a:spLocks/>
            </p:cNvSpPr>
            <p:nvPr/>
          </p:nvSpPr>
          <p:spPr bwMode="auto">
            <a:xfrm>
              <a:off x="7089776" y="3424238"/>
              <a:ext cx="28575" cy="44450"/>
            </a:xfrm>
            <a:custGeom>
              <a:avLst/>
              <a:gdLst>
                <a:gd name="T0" fmla="*/ 0 w 14"/>
                <a:gd name="T1" fmla="*/ 11 h 21"/>
                <a:gd name="T2" fmla="*/ 0 w 14"/>
                <a:gd name="T3" fmla="*/ 11 h 21"/>
                <a:gd name="T4" fmla="*/ 14 w 14"/>
                <a:gd name="T5" fmla="*/ 21 h 21"/>
                <a:gd name="T6" fmla="*/ 14 w 14"/>
                <a:gd name="T7" fmla="*/ 11 h 21"/>
                <a:gd name="T8" fmla="*/ 14 w 14"/>
                <a:gd name="T9" fmla="*/ 0 h 21"/>
                <a:gd name="T10" fmla="*/ 0 w 14"/>
                <a:gd name="T11" fmla="*/ 11 h 21"/>
              </a:gdLst>
              <a:ahLst/>
              <a:cxnLst>
                <a:cxn ang="0">
                  <a:pos x="T0" y="T1"/>
                </a:cxn>
                <a:cxn ang="0">
                  <a:pos x="T2" y="T3"/>
                </a:cxn>
                <a:cxn ang="0">
                  <a:pos x="T4" y="T5"/>
                </a:cxn>
                <a:cxn ang="0">
                  <a:pos x="T6" y="T7"/>
                </a:cxn>
                <a:cxn ang="0">
                  <a:pos x="T8" y="T9"/>
                </a:cxn>
                <a:cxn ang="0">
                  <a:pos x="T10" y="T11"/>
                </a:cxn>
              </a:cxnLst>
              <a:rect l="0" t="0" r="r" b="b"/>
              <a:pathLst>
                <a:path w="14" h="21">
                  <a:moveTo>
                    <a:pt x="0" y="11"/>
                  </a:moveTo>
                  <a:lnTo>
                    <a:pt x="0" y="11"/>
                  </a:lnTo>
                  <a:cubicBezTo>
                    <a:pt x="5" y="14"/>
                    <a:pt x="10" y="18"/>
                    <a:pt x="14" y="21"/>
                  </a:cubicBezTo>
                  <a:cubicBezTo>
                    <a:pt x="14" y="18"/>
                    <a:pt x="14" y="14"/>
                    <a:pt x="14" y="11"/>
                  </a:cubicBezTo>
                  <a:cubicBezTo>
                    <a:pt x="14" y="7"/>
                    <a:pt x="14" y="3"/>
                    <a:pt x="14" y="0"/>
                  </a:cubicBezTo>
                  <a:cubicBezTo>
                    <a:pt x="10" y="3"/>
                    <a:pt x="5" y="7"/>
                    <a:pt x="0"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19">
              <a:extLst>
                <a:ext uri="{FF2B5EF4-FFF2-40B4-BE49-F238E27FC236}">
                  <a16:creationId xmlns:a16="http://schemas.microsoft.com/office/drawing/2014/main" id="{977A0ACA-E30E-4E6C-8162-5924300A173C}"/>
                </a:ext>
              </a:extLst>
            </p:cNvPr>
            <p:cNvSpPr>
              <a:spLocks/>
            </p:cNvSpPr>
            <p:nvPr/>
          </p:nvSpPr>
          <p:spPr bwMode="auto">
            <a:xfrm>
              <a:off x="7408863" y="3241675"/>
              <a:ext cx="38100" cy="34925"/>
            </a:xfrm>
            <a:custGeom>
              <a:avLst/>
              <a:gdLst>
                <a:gd name="T0" fmla="*/ 10 w 19"/>
                <a:gd name="T1" fmla="*/ 12 h 17"/>
                <a:gd name="T2" fmla="*/ 10 w 19"/>
                <a:gd name="T3" fmla="*/ 12 h 17"/>
                <a:gd name="T4" fmla="*/ 19 w 19"/>
                <a:gd name="T5" fmla="*/ 17 h 17"/>
                <a:gd name="T6" fmla="*/ 17 w 19"/>
                <a:gd name="T7" fmla="*/ 0 h 17"/>
                <a:gd name="T8" fmla="*/ 0 w 19"/>
                <a:gd name="T9" fmla="*/ 6 h 17"/>
                <a:gd name="T10" fmla="*/ 10 w 19"/>
                <a:gd name="T11" fmla="*/ 12 h 17"/>
              </a:gdLst>
              <a:ahLst/>
              <a:cxnLst>
                <a:cxn ang="0">
                  <a:pos x="T0" y="T1"/>
                </a:cxn>
                <a:cxn ang="0">
                  <a:pos x="T2" y="T3"/>
                </a:cxn>
                <a:cxn ang="0">
                  <a:pos x="T4" y="T5"/>
                </a:cxn>
                <a:cxn ang="0">
                  <a:pos x="T6" y="T7"/>
                </a:cxn>
                <a:cxn ang="0">
                  <a:pos x="T8" y="T9"/>
                </a:cxn>
                <a:cxn ang="0">
                  <a:pos x="T10" y="T11"/>
                </a:cxn>
              </a:cxnLst>
              <a:rect l="0" t="0" r="r" b="b"/>
              <a:pathLst>
                <a:path w="19" h="17">
                  <a:moveTo>
                    <a:pt x="10" y="12"/>
                  </a:moveTo>
                  <a:lnTo>
                    <a:pt x="10" y="12"/>
                  </a:lnTo>
                  <a:cubicBezTo>
                    <a:pt x="13" y="14"/>
                    <a:pt x="16" y="15"/>
                    <a:pt x="19" y="17"/>
                  </a:cubicBezTo>
                  <a:cubicBezTo>
                    <a:pt x="18" y="11"/>
                    <a:pt x="18" y="5"/>
                    <a:pt x="17" y="0"/>
                  </a:cubicBezTo>
                  <a:cubicBezTo>
                    <a:pt x="11" y="2"/>
                    <a:pt x="6" y="4"/>
                    <a:pt x="0" y="6"/>
                  </a:cubicBezTo>
                  <a:cubicBezTo>
                    <a:pt x="4" y="8"/>
                    <a:pt x="7" y="10"/>
                    <a:pt x="1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0">
              <a:extLst>
                <a:ext uri="{FF2B5EF4-FFF2-40B4-BE49-F238E27FC236}">
                  <a16:creationId xmlns:a16="http://schemas.microsoft.com/office/drawing/2014/main" id="{30F31C58-2D05-440D-A8A4-7E5E4D46F21B}"/>
                </a:ext>
              </a:extLst>
            </p:cNvPr>
            <p:cNvSpPr>
              <a:spLocks/>
            </p:cNvSpPr>
            <p:nvPr/>
          </p:nvSpPr>
          <p:spPr bwMode="auto">
            <a:xfrm>
              <a:off x="6896101" y="3186113"/>
              <a:ext cx="241300" cy="211138"/>
            </a:xfrm>
            <a:custGeom>
              <a:avLst/>
              <a:gdLst>
                <a:gd name="T0" fmla="*/ 7 w 117"/>
                <a:gd name="T1" fmla="*/ 9 h 102"/>
                <a:gd name="T2" fmla="*/ 7 w 117"/>
                <a:gd name="T3" fmla="*/ 9 h 102"/>
                <a:gd name="T4" fmla="*/ 66 w 117"/>
                <a:gd name="T5" fmla="*/ 102 h 102"/>
                <a:gd name="T6" fmla="*/ 110 w 117"/>
                <a:gd name="T7" fmla="*/ 69 h 102"/>
                <a:gd name="T8" fmla="*/ 117 w 117"/>
                <a:gd name="T9" fmla="*/ 14 h 102"/>
                <a:gd name="T10" fmla="*/ 40 w 117"/>
                <a:gd name="T11" fmla="*/ 0 h 102"/>
                <a:gd name="T12" fmla="*/ 7 w 117"/>
                <a:gd name="T13" fmla="*/ 9 h 102"/>
              </a:gdLst>
              <a:ahLst/>
              <a:cxnLst>
                <a:cxn ang="0">
                  <a:pos x="T0" y="T1"/>
                </a:cxn>
                <a:cxn ang="0">
                  <a:pos x="T2" y="T3"/>
                </a:cxn>
                <a:cxn ang="0">
                  <a:pos x="T4" y="T5"/>
                </a:cxn>
                <a:cxn ang="0">
                  <a:pos x="T6" y="T7"/>
                </a:cxn>
                <a:cxn ang="0">
                  <a:pos x="T8" y="T9"/>
                </a:cxn>
                <a:cxn ang="0">
                  <a:pos x="T10" y="T11"/>
                </a:cxn>
                <a:cxn ang="0">
                  <a:pos x="T12" y="T13"/>
                </a:cxn>
              </a:cxnLst>
              <a:rect l="0" t="0" r="r" b="b"/>
              <a:pathLst>
                <a:path w="117" h="102">
                  <a:moveTo>
                    <a:pt x="7" y="9"/>
                  </a:moveTo>
                  <a:lnTo>
                    <a:pt x="7" y="9"/>
                  </a:lnTo>
                  <a:cubicBezTo>
                    <a:pt x="0" y="22"/>
                    <a:pt x="19" y="58"/>
                    <a:pt x="66" y="102"/>
                  </a:cubicBezTo>
                  <a:cubicBezTo>
                    <a:pt x="80" y="91"/>
                    <a:pt x="95" y="80"/>
                    <a:pt x="110" y="69"/>
                  </a:cubicBezTo>
                  <a:cubicBezTo>
                    <a:pt x="112" y="50"/>
                    <a:pt x="114" y="32"/>
                    <a:pt x="117" y="14"/>
                  </a:cubicBezTo>
                  <a:cubicBezTo>
                    <a:pt x="87" y="5"/>
                    <a:pt x="60" y="0"/>
                    <a:pt x="40" y="0"/>
                  </a:cubicBezTo>
                  <a:cubicBezTo>
                    <a:pt x="23" y="0"/>
                    <a:pt x="11" y="3"/>
                    <a:pt x="7" y="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21">
              <a:extLst>
                <a:ext uri="{FF2B5EF4-FFF2-40B4-BE49-F238E27FC236}">
                  <a16:creationId xmlns:a16="http://schemas.microsoft.com/office/drawing/2014/main" id="{3CF38A3E-6F47-40B5-A8FD-EF75FA13A3A7}"/>
                </a:ext>
              </a:extLst>
            </p:cNvPr>
            <p:cNvSpPr>
              <a:spLocks/>
            </p:cNvSpPr>
            <p:nvPr/>
          </p:nvSpPr>
          <p:spPr bwMode="auto">
            <a:xfrm>
              <a:off x="7294563" y="3416300"/>
              <a:ext cx="60325" cy="60325"/>
            </a:xfrm>
            <a:custGeom>
              <a:avLst/>
              <a:gdLst>
                <a:gd name="T0" fmla="*/ 15 w 29"/>
                <a:gd name="T1" fmla="*/ 0 h 29"/>
                <a:gd name="T2" fmla="*/ 15 w 29"/>
                <a:gd name="T3" fmla="*/ 0 h 29"/>
                <a:gd name="T4" fmla="*/ 0 w 29"/>
                <a:gd name="T5" fmla="*/ 15 h 29"/>
                <a:gd name="T6" fmla="*/ 15 w 29"/>
                <a:gd name="T7" fmla="*/ 29 h 29"/>
                <a:gd name="T8" fmla="*/ 29 w 29"/>
                <a:gd name="T9" fmla="*/ 15 h 29"/>
                <a:gd name="T10" fmla="*/ 15 w 29"/>
                <a:gd name="T11" fmla="*/ 0 h 29"/>
              </a:gdLst>
              <a:ahLst/>
              <a:cxnLst>
                <a:cxn ang="0">
                  <a:pos x="T0" y="T1"/>
                </a:cxn>
                <a:cxn ang="0">
                  <a:pos x="T2" y="T3"/>
                </a:cxn>
                <a:cxn ang="0">
                  <a:pos x="T4" y="T5"/>
                </a:cxn>
                <a:cxn ang="0">
                  <a:pos x="T6" y="T7"/>
                </a:cxn>
                <a:cxn ang="0">
                  <a:pos x="T8" y="T9"/>
                </a:cxn>
                <a:cxn ang="0">
                  <a:pos x="T10" y="T11"/>
                </a:cxn>
              </a:cxnLst>
              <a:rect l="0" t="0" r="r" b="b"/>
              <a:pathLst>
                <a:path w="29" h="29">
                  <a:moveTo>
                    <a:pt x="15" y="0"/>
                  </a:moveTo>
                  <a:lnTo>
                    <a:pt x="15" y="0"/>
                  </a:lnTo>
                  <a:cubicBezTo>
                    <a:pt x="7" y="0"/>
                    <a:pt x="0" y="6"/>
                    <a:pt x="0" y="15"/>
                  </a:cubicBezTo>
                  <a:cubicBezTo>
                    <a:pt x="0" y="23"/>
                    <a:pt x="7" y="29"/>
                    <a:pt x="15" y="29"/>
                  </a:cubicBezTo>
                  <a:cubicBezTo>
                    <a:pt x="23" y="29"/>
                    <a:pt x="29" y="23"/>
                    <a:pt x="29" y="15"/>
                  </a:cubicBezTo>
                  <a:cubicBezTo>
                    <a:pt x="29" y="6"/>
                    <a:pt x="23" y="0"/>
                    <a:pt x="1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2">
              <a:extLst>
                <a:ext uri="{FF2B5EF4-FFF2-40B4-BE49-F238E27FC236}">
                  <a16:creationId xmlns:a16="http://schemas.microsoft.com/office/drawing/2014/main" id="{BDFFE376-F502-4911-A4AB-F4B6B73218EA}"/>
                </a:ext>
              </a:extLst>
            </p:cNvPr>
            <p:cNvSpPr>
              <a:spLocks/>
            </p:cNvSpPr>
            <p:nvPr/>
          </p:nvSpPr>
          <p:spPr bwMode="auto">
            <a:xfrm>
              <a:off x="7515226" y="3497263"/>
              <a:ext cx="236538" cy="211138"/>
            </a:xfrm>
            <a:custGeom>
              <a:avLst/>
              <a:gdLst>
                <a:gd name="T0" fmla="*/ 50 w 115"/>
                <a:gd name="T1" fmla="*/ 0 h 102"/>
                <a:gd name="T2" fmla="*/ 50 w 115"/>
                <a:gd name="T3" fmla="*/ 0 h 102"/>
                <a:gd name="T4" fmla="*/ 6 w 115"/>
                <a:gd name="T5" fmla="*/ 32 h 102"/>
                <a:gd name="T6" fmla="*/ 0 w 115"/>
                <a:gd name="T7" fmla="*/ 87 h 102"/>
                <a:gd name="T8" fmla="*/ 76 w 115"/>
                <a:gd name="T9" fmla="*/ 102 h 102"/>
                <a:gd name="T10" fmla="*/ 109 w 115"/>
                <a:gd name="T11" fmla="*/ 92 h 102"/>
                <a:gd name="T12" fmla="*/ 109 w 115"/>
                <a:gd name="T13" fmla="*/ 92 h 102"/>
                <a:gd name="T14" fmla="*/ 50 w 115"/>
                <a:gd name="T15" fmla="*/ 0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02">
                  <a:moveTo>
                    <a:pt x="50" y="0"/>
                  </a:moveTo>
                  <a:lnTo>
                    <a:pt x="50" y="0"/>
                  </a:lnTo>
                  <a:cubicBezTo>
                    <a:pt x="36" y="11"/>
                    <a:pt x="21" y="22"/>
                    <a:pt x="6" y="32"/>
                  </a:cubicBezTo>
                  <a:cubicBezTo>
                    <a:pt x="4" y="51"/>
                    <a:pt x="2" y="70"/>
                    <a:pt x="0" y="87"/>
                  </a:cubicBezTo>
                  <a:cubicBezTo>
                    <a:pt x="30" y="97"/>
                    <a:pt x="56" y="102"/>
                    <a:pt x="76" y="102"/>
                  </a:cubicBezTo>
                  <a:cubicBezTo>
                    <a:pt x="93" y="102"/>
                    <a:pt x="106" y="98"/>
                    <a:pt x="109" y="92"/>
                  </a:cubicBezTo>
                  <a:lnTo>
                    <a:pt x="109" y="92"/>
                  </a:lnTo>
                  <a:cubicBezTo>
                    <a:pt x="115" y="82"/>
                    <a:pt x="103" y="48"/>
                    <a:pt x="5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23">
              <a:extLst>
                <a:ext uri="{FF2B5EF4-FFF2-40B4-BE49-F238E27FC236}">
                  <a16:creationId xmlns:a16="http://schemas.microsoft.com/office/drawing/2014/main" id="{252F19AE-6A72-4604-A62D-054B83DDF4CF}"/>
                </a:ext>
              </a:extLst>
            </p:cNvPr>
            <p:cNvSpPr>
              <a:spLocks noEditPoints="1"/>
            </p:cNvSpPr>
            <p:nvPr/>
          </p:nvSpPr>
          <p:spPr bwMode="auto">
            <a:xfrm>
              <a:off x="6515101" y="2628900"/>
              <a:ext cx="1622425" cy="1636713"/>
            </a:xfrm>
            <a:custGeom>
              <a:avLst/>
              <a:gdLst>
                <a:gd name="T0" fmla="*/ 626 w 788"/>
                <a:gd name="T1" fmla="*/ 528 h 788"/>
                <a:gd name="T2" fmla="*/ 626 w 788"/>
                <a:gd name="T3" fmla="*/ 528 h 788"/>
                <a:gd name="T4" fmla="*/ 562 w 788"/>
                <a:gd name="T5" fmla="*/ 556 h 788"/>
                <a:gd name="T6" fmla="*/ 479 w 788"/>
                <a:gd name="T7" fmla="*/ 541 h 788"/>
                <a:gd name="T8" fmla="*/ 394 w 788"/>
                <a:gd name="T9" fmla="*/ 662 h 788"/>
                <a:gd name="T10" fmla="*/ 308 w 788"/>
                <a:gd name="T11" fmla="*/ 541 h 788"/>
                <a:gd name="T12" fmla="*/ 225 w 788"/>
                <a:gd name="T13" fmla="*/ 556 h 788"/>
                <a:gd name="T14" fmla="*/ 161 w 788"/>
                <a:gd name="T15" fmla="*/ 528 h 788"/>
                <a:gd name="T16" fmla="*/ 198 w 788"/>
                <a:gd name="T17" fmla="*/ 420 h 788"/>
                <a:gd name="T18" fmla="*/ 223 w 788"/>
                <a:gd name="T19" fmla="*/ 394 h 788"/>
                <a:gd name="T20" fmla="*/ 161 w 788"/>
                <a:gd name="T21" fmla="*/ 259 h 788"/>
                <a:gd name="T22" fmla="*/ 225 w 788"/>
                <a:gd name="T23" fmla="*/ 231 h 788"/>
                <a:gd name="T24" fmla="*/ 308 w 788"/>
                <a:gd name="T25" fmla="*/ 246 h 788"/>
                <a:gd name="T26" fmla="*/ 394 w 788"/>
                <a:gd name="T27" fmla="*/ 125 h 788"/>
                <a:gd name="T28" fmla="*/ 479 w 788"/>
                <a:gd name="T29" fmla="*/ 246 h 788"/>
                <a:gd name="T30" fmla="*/ 562 w 788"/>
                <a:gd name="T31" fmla="*/ 231 h 788"/>
                <a:gd name="T32" fmla="*/ 626 w 788"/>
                <a:gd name="T33" fmla="*/ 259 h 788"/>
                <a:gd name="T34" fmla="*/ 564 w 788"/>
                <a:gd name="T35" fmla="*/ 394 h 788"/>
                <a:gd name="T36" fmla="*/ 626 w 788"/>
                <a:gd name="T37" fmla="*/ 528 h 788"/>
                <a:gd name="T38" fmla="*/ 626 w 788"/>
                <a:gd name="T39" fmla="*/ 528 h 788"/>
                <a:gd name="T40" fmla="*/ 394 w 788"/>
                <a:gd name="T41" fmla="*/ 0 h 788"/>
                <a:gd name="T42" fmla="*/ 394 w 788"/>
                <a:gd name="T43" fmla="*/ 0 h 788"/>
                <a:gd name="T44" fmla="*/ 0 w 788"/>
                <a:gd name="T45" fmla="*/ 394 h 788"/>
                <a:gd name="T46" fmla="*/ 394 w 788"/>
                <a:gd name="T47" fmla="*/ 788 h 788"/>
                <a:gd name="T48" fmla="*/ 788 w 788"/>
                <a:gd name="T49" fmla="*/ 394 h 788"/>
                <a:gd name="T50" fmla="*/ 394 w 788"/>
                <a:gd name="T51" fmla="*/ 0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8" h="788">
                  <a:moveTo>
                    <a:pt x="626" y="528"/>
                  </a:moveTo>
                  <a:lnTo>
                    <a:pt x="626" y="528"/>
                  </a:lnTo>
                  <a:cubicBezTo>
                    <a:pt x="619" y="541"/>
                    <a:pt x="602" y="556"/>
                    <a:pt x="562" y="556"/>
                  </a:cubicBezTo>
                  <a:cubicBezTo>
                    <a:pt x="539" y="556"/>
                    <a:pt x="511" y="551"/>
                    <a:pt x="479" y="541"/>
                  </a:cubicBezTo>
                  <a:cubicBezTo>
                    <a:pt x="461" y="619"/>
                    <a:pt x="431" y="662"/>
                    <a:pt x="394" y="662"/>
                  </a:cubicBezTo>
                  <a:cubicBezTo>
                    <a:pt x="356" y="662"/>
                    <a:pt x="326" y="619"/>
                    <a:pt x="308" y="541"/>
                  </a:cubicBezTo>
                  <a:cubicBezTo>
                    <a:pt x="277" y="551"/>
                    <a:pt x="248" y="556"/>
                    <a:pt x="225" y="556"/>
                  </a:cubicBezTo>
                  <a:cubicBezTo>
                    <a:pt x="185" y="556"/>
                    <a:pt x="168" y="541"/>
                    <a:pt x="161" y="528"/>
                  </a:cubicBezTo>
                  <a:cubicBezTo>
                    <a:pt x="150" y="509"/>
                    <a:pt x="148" y="476"/>
                    <a:pt x="198" y="420"/>
                  </a:cubicBezTo>
                  <a:cubicBezTo>
                    <a:pt x="205" y="411"/>
                    <a:pt x="214" y="403"/>
                    <a:pt x="223" y="394"/>
                  </a:cubicBezTo>
                  <a:cubicBezTo>
                    <a:pt x="164" y="339"/>
                    <a:pt x="142" y="292"/>
                    <a:pt x="161" y="259"/>
                  </a:cubicBezTo>
                  <a:cubicBezTo>
                    <a:pt x="168" y="247"/>
                    <a:pt x="185" y="231"/>
                    <a:pt x="225" y="231"/>
                  </a:cubicBezTo>
                  <a:cubicBezTo>
                    <a:pt x="248" y="231"/>
                    <a:pt x="276" y="237"/>
                    <a:pt x="308" y="246"/>
                  </a:cubicBezTo>
                  <a:cubicBezTo>
                    <a:pt x="326" y="168"/>
                    <a:pt x="356" y="125"/>
                    <a:pt x="394" y="125"/>
                  </a:cubicBezTo>
                  <a:cubicBezTo>
                    <a:pt x="431" y="125"/>
                    <a:pt x="461" y="168"/>
                    <a:pt x="479" y="246"/>
                  </a:cubicBezTo>
                  <a:cubicBezTo>
                    <a:pt x="511" y="237"/>
                    <a:pt x="540" y="231"/>
                    <a:pt x="562" y="231"/>
                  </a:cubicBezTo>
                  <a:cubicBezTo>
                    <a:pt x="602" y="231"/>
                    <a:pt x="619" y="247"/>
                    <a:pt x="626" y="259"/>
                  </a:cubicBezTo>
                  <a:cubicBezTo>
                    <a:pt x="645" y="292"/>
                    <a:pt x="623" y="339"/>
                    <a:pt x="564" y="394"/>
                  </a:cubicBezTo>
                  <a:cubicBezTo>
                    <a:pt x="623" y="448"/>
                    <a:pt x="645" y="496"/>
                    <a:pt x="626" y="528"/>
                  </a:cubicBezTo>
                  <a:lnTo>
                    <a:pt x="626" y="528"/>
                  </a:lnTo>
                  <a:close/>
                  <a:moveTo>
                    <a:pt x="394" y="0"/>
                  </a:moveTo>
                  <a:lnTo>
                    <a:pt x="394" y="0"/>
                  </a:lnTo>
                  <a:cubicBezTo>
                    <a:pt x="176" y="0"/>
                    <a:pt x="0" y="176"/>
                    <a:pt x="0" y="394"/>
                  </a:cubicBezTo>
                  <a:cubicBezTo>
                    <a:pt x="0" y="611"/>
                    <a:pt x="176" y="788"/>
                    <a:pt x="394" y="788"/>
                  </a:cubicBezTo>
                  <a:cubicBezTo>
                    <a:pt x="611" y="788"/>
                    <a:pt x="788" y="611"/>
                    <a:pt x="788" y="394"/>
                  </a:cubicBezTo>
                  <a:cubicBezTo>
                    <a:pt x="788" y="176"/>
                    <a:pt x="611" y="0"/>
                    <a:pt x="3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24">
              <a:extLst>
                <a:ext uri="{FF2B5EF4-FFF2-40B4-BE49-F238E27FC236}">
                  <a16:creationId xmlns:a16="http://schemas.microsoft.com/office/drawing/2014/main" id="{0D6D414B-2DC2-4F4B-87E6-9C84CB7B7BF9}"/>
                </a:ext>
              </a:extLst>
            </p:cNvPr>
            <p:cNvSpPr>
              <a:spLocks/>
            </p:cNvSpPr>
            <p:nvPr/>
          </p:nvSpPr>
          <p:spPr bwMode="auto">
            <a:xfrm>
              <a:off x="7408863" y="3616325"/>
              <a:ext cx="38100" cy="36513"/>
            </a:xfrm>
            <a:custGeom>
              <a:avLst/>
              <a:gdLst>
                <a:gd name="T0" fmla="*/ 0 w 19"/>
                <a:gd name="T1" fmla="*/ 11 h 18"/>
                <a:gd name="T2" fmla="*/ 0 w 19"/>
                <a:gd name="T3" fmla="*/ 11 h 18"/>
                <a:gd name="T4" fmla="*/ 17 w 19"/>
                <a:gd name="T5" fmla="*/ 18 h 18"/>
                <a:gd name="T6" fmla="*/ 19 w 19"/>
                <a:gd name="T7" fmla="*/ 0 h 18"/>
                <a:gd name="T8" fmla="*/ 10 w 19"/>
                <a:gd name="T9" fmla="*/ 5 h 18"/>
                <a:gd name="T10" fmla="*/ 0 w 19"/>
                <a:gd name="T11" fmla="*/ 11 h 18"/>
              </a:gdLst>
              <a:ahLst/>
              <a:cxnLst>
                <a:cxn ang="0">
                  <a:pos x="T0" y="T1"/>
                </a:cxn>
                <a:cxn ang="0">
                  <a:pos x="T2" y="T3"/>
                </a:cxn>
                <a:cxn ang="0">
                  <a:pos x="T4" y="T5"/>
                </a:cxn>
                <a:cxn ang="0">
                  <a:pos x="T6" y="T7"/>
                </a:cxn>
                <a:cxn ang="0">
                  <a:pos x="T8" y="T9"/>
                </a:cxn>
                <a:cxn ang="0">
                  <a:pos x="T10" y="T11"/>
                </a:cxn>
              </a:cxnLst>
              <a:rect l="0" t="0" r="r" b="b"/>
              <a:pathLst>
                <a:path w="19" h="18">
                  <a:moveTo>
                    <a:pt x="0" y="11"/>
                  </a:moveTo>
                  <a:lnTo>
                    <a:pt x="0" y="11"/>
                  </a:lnTo>
                  <a:cubicBezTo>
                    <a:pt x="6" y="13"/>
                    <a:pt x="11" y="15"/>
                    <a:pt x="17" y="18"/>
                  </a:cubicBezTo>
                  <a:cubicBezTo>
                    <a:pt x="18" y="12"/>
                    <a:pt x="18" y="6"/>
                    <a:pt x="19" y="0"/>
                  </a:cubicBezTo>
                  <a:cubicBezTo>
                    <a:pt x="16" y="2"/>
                    <a:pt x="13" y="4"/>
                    <a:pt x="10" y="5"/>
                  </a:cubicBezTo>
                  <a:cubicBezTo>
                    <a:pt x="7" y="7"/>
                    <a:pt x="4" y="9"/>
                    <a:pt x="0"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25">
              <a:extLst>
                <a:ext uri="{FF2B5EF4-FFF2-40B4-BE49-F238E27FC236}">
                  <a16:creationId xmlns:a16="http://schemas.microsoft.com/office/drawing/2014/main" id="{CB1DF858-4C35-4108-AE0A-74220115C722}"/>
                </a:ext>
              </a:extLst>
            </p:cNvPr>
            <p:cNvSpPr>
              <a:spLocks/>
            </p:cNvSpPr>
            <p:nvPr/>
          </p:nvSpPr>
          <p:spPr bwMode="auto">
            <a:xfrm>
              <a:off x="7532688" y="3424238"/>
              <a:ext cx="28575" cy="44450"/>
            </a:xfrm>
            <a:custGeom>
              <a:avLst/>
              <a:gdLst>
                <a:gd name="T0" fmla="*/ 14 w 14"/>
                <a:gd name="T1" fmla="*/ 11 h 21"/>
                <a:gd name="T2" fmla="*/ 14 w 14"/>
                <a:gd name="T3" fmla="*/ 11 h 21"/>
                <a:gd name="T4" fmla="*/ 0 w 14"/>
                <a:gd name="T5" fmla="*/ 0 h 21"/>
                <a:gd name="T6" fmla="*/ 0 w 14"/>
                <a:gd name="T7" fmla="*/ 11 h 21"/>
                <a:gd name="T8" fmla="*/ 0 w 14"/>
                <a:gd name="T9" fmla="*/ 21 h 21"/>
                <a:gd name="T10" fmla="*/ 14 w 14"/>
                <a:gd name="T11" fmla="*/ 11 h 21"/>
              </a:gdLst>
              <a:ahLst/>
              <a:cxnLst>
                <a:cxn ang="0">
                  <a:pos x="T0" y="T1"/>
                </a:cxn>
                <a:cxn ang="0">
                  <a:pos x="T2" y="T3"/>
                </a:cxn>
                <a:cxn ang="0">
                  <a:pos x="T4" y="T5"/>
                </a:cxn>
                <a:cxn ang="0">
                  <a:pos x="T6" y="T7"/>
                </a:cxn>
                <a:cxn ang="0">
                  <a:pos x="T8" y="T9"/>
                </a:cxn>
                <a:cxn ang="0">
                  <a:pos x="T10" y="T11"/>
                </a:cxn>
              </a:cxnLst>
              <a:rect l="0" t="0" r="r" b="b"/>
              <a:pathLst>
                <a:path w="14" h="21">
                  <a:moveTo>
                    <a:pt x="14" y="11"/>
                  </a:moveTo>
                  <a:lnTo>
                    <a:pt x="14" y="11"/>
                  </a:lnTo>
                  <a:cubicBezTo>
                    <a:pt x="9" y="7"/>
                    <a:pt x="5" y="3"/>
                    <a:pt x="0" y="0"/>
                  </a:cubicBezTo>
                  <a:cubicBezTo>
                    <a:pt x="0" y="3"/>
                    <a:pt x="0" y="7"/>
                    <a:pt x="0" y="11"/>
                  </a:cubicBezTo>
                  <a:cubicBezTo>
                    <a:pt x="0" y="14"/>
                    <a:pt x="0" y="18"/>
                    <a:pt x="0" y="21"/>
                  </a:cubicBezTo>
                  <a:cubicBezTo>
                    <a:pt x="5" y="18"/>
                    <a:pt x="9" y="14"/>
                    <a:pt x="14"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26">
              <a:extLst>
                <a:ext uri="{FF2B5EF4-FFF2-40B4-BE49-F238E27FC236}">
                  <a16:creationId xmlns:a16="http://schemas.microsoft.com/office/drawing/2014/main" id="{DFA9572B-2E2F-4F4E-ABF2-FB543278ACE9}"/>
                </a:ext>
              </a:extLst>
            </p:cNvPr>
            <p:cNvSpPr>
              <a:spLocks/>
            </p:cNvSpPr>
            <p:nvPr/>
          </p:nvSpPr>
          <p:spPr bwMode="auto">
            <a:xfrm>
              <a:off x="7515226" y="3186113"/>
              <a:ext cx="239713" cy="211138"/>
            </a:xfrm>
            <a:custGeom>
              <a:avLst/>
              <a:gdLst>
                <a:gd name="T0" fmla="*/ 50 w 116"/>
                <a:gd name="T1" fmla="*/ 102 h 102"/>
                <a:gd name="T2" fmla="*/ 50 w 116"/>
                <a:gd name="T3" fmla="*/ 102 h 102"/>
                <a:gd name="T4" fmla="*/ 109 w 116"/>
                <a:gd name="T5" fmla="*/ 9 h 102"/>
                <a:gd name="T6" fmla="*/ 76 w 116"/>
                <a:gd name="T7" fmla="*/ 0 h 102"/>
                <a:gd name="T8" fmla="*/ 0 w 116"/>
                <a:gd name="T9" fmla="*/ 14 h 102"/>
                <a:gd name="T10" fmla="*/ 6 w 116"/>
                <a:gd name="T11" fmla="*/ 69 h 102"/>
                <a:gd name="T12" fmla="*/ 50 w 116"/>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16" h="102">
                  <a:moveTo>
                    <a:pt x="50" y="102"/>
                  </a:moveTo>
                  <a:lnTo>
                    <a:pt x="50" y="102"/>
                  </a:lnTo>
                  <a:cubicBezTo>
                    <a:pt x="98" y="58"/>
                    <a:pt x="116" y="22"/>
                    <a:pt x="109" y="9"/>
                  </a:cubicBezTo>
                  <a:cubicBezTo>
                    <a:pt x="105" y="3"/>
                    <a:pt x="94" y="0"/>
                    <a:pt x="76" y="0"/>
                  </a:cubicBezTo>
                  <a:cubicBezTo>
                    <a:pt x="56" y="0"/>
                    <a:pt x="30" y="5"/>
                    <a:pt x="0" y="14"/>
                  </a:cubicBezTo>
                  <a:cubicBezTo>
                    <a:pt x="2" y="31"/>
                    <a:pt x="4" y="50"/>
                    <a:pt x="6" y="69"/>
                  </a:cubicBezTo>
                  <a:cubicBezTo>
                    <a:pt x="21" y="80"/>
                    <a:pt x="36" y="90"/>
                    <a:pt x="50" y="10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27">
              <a:extLst>
                <a:ext uri="{FF2B5EF4-FFF2-40B4-BE49-F238E27FC236}">
                  <a16:creationId xmlns:a16="http://schemas.microsoft.com/office/drawing/2014/main" id="{B275FDB1-2D34-42FB-9FCC-1ED265664742}"/>
                </a:ext>
              </a:extLst>
            </p:cNvPr>
            <p:cNvSpPr>
              <a:spLocks noEditPoints="1"/>
            </p:cNvSpPr>
            <p:nvPr/>
          </p:nvSpPr>
          <p:spPr bwMode="auto">
            <a:xfrm>
              <a:off x="7194551" y="3295650"/>
              <a:ext cx="263525" cy="301625"/>
            </a:xfrm>
            <a:custGeom>
              <a:avLst/>
              <a:gdLst>
                <a:gd name="T0" fmla="*/ 64 w 128"/>
                <a:gd name="T1" fmla="*/ 124 h 145"/>
                <a:gd name="T2" fmla="*/ 64 w 128"/>
                <a:gd name="T3" fmla="*/ 124 h 145"/>
                <a:gd name="T4" fmla="*/ 13 w 128"/>
                <a:gd name="T5" fmla="*/ 73 h 145"/>
                <a:gd name="T6" fmla="*/ 64 w 128"/>
                <a:gd name="T7" fmla="*/ 22 h 145"/>
                <a:gd name="T8" fmla="*/ 115 w 128"/>
                <a:gd name="T9" fmla="*/ 73 h 145"/>
                <a:gd name="T10" fmla="*/ 64 w 128"/>
                <a:gd name="T11" fmla="*/ 124 h 145"/>
                <a:gd name="T12" fmla="*/ 64 w 128"/>
                <a:gd name="T13" fmla="*/ 124 h 145"/>
                <a:gd name="T14" fmla="*/ 96 w 128"/>
                <a:gd name="T15" fmla="*/ 17 h 145"/>
                <a:gd name="T16" fmla="*/ 96 w 128"/>
                <a:gd name="T17" fmla="*/ 17 h 145"/>
                <a:gd name="T18" fmla="*/ 64 w 128"/>
                <a:gd name="T19" fmla="*/ 0 h 145"/>
                <a:gd name="T20" fmla="*/ 32 w 128"/>
                <a:gd name="T21" fmla="*/ 17 h 145"/>
                <a:gd name="T22" fmla="*/ 1 w 128"/>
                <a:gd name="T23" fmla="*/ 36 h 145"/>
                <a:gd name="T24" fmla="*/ 0 w 128"/>
                <a:gd name="T25" fmla="*/ 73 h 145"/>
                <a:gd name="T26" fmla="*/ 1 w 128"/>
                <a:gd name="T27" fmla="*/ 109 h 145"/>
                <a:gd name="T28" fmla="*/ 32 w 128"/>
                <a:gd name="T29" fmla="*/ 128 h 145"/>
                <a:gd name="T30" fmla="*/ 64 w 128"/>
                <a:gd name="T31" fmla="*/ 145 h 145"/>
                <a:gd name="T32" fmla="*/ 96 w 128"/>
                <a:gd name="T33" fmla="*/ 128 h 145"/>
                <a:gd name="T34" fmla="*/ 127 w 128"/>
                <a:gd name="T35" fmla="*/ 109 h 145"/>
                <a:gd name="T36" fmla="*/ 128 w 128"/>
                <a:gd name="T37" fmla="*/ 73 h 145"/>
                <a:gd name="T38" fmla="*/ 127 w 128"/>
                <a:gd name="T39" fmla="*/ 36 h 145"/>
                <a:gd name="T40" fmla="*/ 96 w 128"/>
                <a:gd name="T41" fmla="*/ 1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45">
                  <a:moveTo>
                    <a:pt x="64" y="124"/>
                  </a:moveTo>
                  <a:lnTo>
                    <a:pt x="64" y="124"/>
                  </a:lnTo>
                  <a:cubicBezTo>
                    <a:pt x="36" y="124"/>
                    <a:pt x="13" y="101"/>
                    <a:pt x="13" y="73"/>
                  </a:cubicBezTo>
                  <a:cubicBezTo>
                    <a:pt x="13" y="44"/>
                    <a:pt x="36" y="22"/>
                    <a:pt x="64" y="22"/>
                  </a:cubicBezTo>
                  <a:cubicBezTo>
                    <a:pt x="92" y="22"/>
                    <a:pt x="115" y="44"/>
                    <a:pt x="115" y="73"/>
                  </a:cubicBezTo>
                  <a:cubicBezTo>
                    <a:pt x="115" y="101"/>
                    <a:pt x="92" y="124"/>
                    <a:pt x="64" y="124"/>
                  </a:cubicBezTo>
                  <a:lnTo>
                    <a:pt x="64" y="124"/>
                  </a:lnTo>
                  <a:close/>
                  <a:moveTo>
                    <a:pt x="96" y="17"/>
                  </a:moveTo>
                  <a:lnTo>
                    <a:pt x="96" y="17"/>
                  </a:lnTo>
                  <a:cubicBezTo>
                    <a:pt x="85" y="11"/>
                    <a:pt x="75" y="5"/>
                    <a:pt x="64" y="0"/>
                  </a:cubicBezTo>
                  <a:cubicBezTo>
                    <a:pt x="53" y="5"/>
                    <a:pt x="42" y="11"/>
                    <a:pt x="32" y="17"/>
                  </a:cubicBezTo>
                  <a:cubicBezTo>
                    <a:pt x="21" y="23"/>
                    <a:pt x="11" y="29"/>
                    <a:pt x="1" y="36"/>
                  </a:cubicBezTo>
                  <a:cubicBezTo>
                    <a:pt x="0" y="49"/>
                    <a:pt x="0" y="61"/>
                    <a:pt x="0" y="73"/>
                  </a:cubicBezTo>
                  <a:cubicBezTo>
                    <a:pt x="0" y="84"/>
                    <a:pt x="0" y="97"/>
                    <a:pt x="1" y="109"/>
                  </a:cubicBezTo>
                  <a:cubicBezTo>
                    <a:pt x="11" y="116"/>
                    <a:pt x="21" y="122"/>
                    <a:pt x="32" y="128"/>
                  </a:cubicBezTo>
                  <a:cubicBezTo>
                    <a:pt x="42" y="134"/>
                    <a:pt x="53" y="140"/>
                    <a:pt x="64" y="145"/>
                  </a:cubicBezTo>
                  <a:cubicBezTo>
                    <a:pt x="75" y="140"/>
                    <a:pt x="85" y="134"/>
                    <a:pt x="96" y="128"/>
                  </a:cubicBezTo>
                  <a:cubicBezTo>
                    <a:pt x="106" y="122"/>
                    <a:pt x="116" y="116"/>
                    <a:pt x="127" y="109"/>
                  </a:cubicBezTo>
                  <a:cubicBezTo>
                    <a:pt x="127" y="97"/>
                    <a:pt x="128" y="85"/>
                    <a:pt x="128" y="73"/>
                  </a:cubicBezTo>
                  <a:cubicBezTo>
                    <a:pt x="128" y="60"/>
                    <a:pt x="127" y="48"/>
                    <a:pt x="127" y="36"/>
                  </a:cubicBezTo>
                  <a:cubicBezTo>
                    <a:pt x="116" y="29"/>
                    <a:pt x="106" y="23"/>
                    <a:pt x="96" y="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1" name="TextBox 220">
            <a:extLst>
              <a:ext uri="{FF2B5EF4-FFF2-40B4-BE49-F238E27FC236}">
                <a16:creationId xmlns:a16="http://schemas.microsoft.com/office/drawing/2014/main" id="{9BA77736-20DC-4E92-BAA0-846E738E2FFD}"/>
              </a:ext>
            </a:extLst>
          </p:cNvPr>
          <p:cNvSpPr txBox="1"/>
          <p:nvPr/>
        </p:nvSpPr>
        <p:spPr>
          <a:xfrm>
            <a:off x="1364589" y="3703764"/>
            <a:ext cx="819150"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tom</a:t>
            </a:r>
            <a:br>
              <a:rPr lang="en-US" sz="1000" dirty="0">
                <a:solidFill>
                  <a:srgbClr val="313131"/>
                </a:solidFill>
              </a:rPr>
            </a:br>
            <a:r>
              <a:rPr lang="en-US" sz="1000" dirty="0">
                <a:solidFill>
                  <a:srgbClr val="313131"/>
                </a:solidFill>
              </a:rPr>
              <a:t>Molecule</a:t>
            </a:r>
          </a:p>
        </p:txBody>
      </p:sp>
    </p:spTree>
    <p:extLst>
      <p:ext uri="{BB962C8B-B14F-4D97-AF65-F5344CB8AC3E}">
        <p14:creationId xmlns:p14="http://schemas.microsoft.com/office/powerpoint/2010/main" val="1268589487"/>
      </p:ext>
    </p:extLst>
  </p:cSld>
  <p:clrMapOvr>
    <a:masterClrMapping/>
  </p:clrMapOvr>
  <p:transition>
    <p:fade/>
  </p:transition>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Energy</a:t>
            </a:r>
          </a:p>
        </p:txBody>
      </p:sp>
      <p:sp>
        <p:nvSpPr>
          <p:cNvPr id="4" name="Title 3"/>
          <p:cNvSpPr>
            <a:spLocks noGrp="1"/>
          </p:cNvSpPr>
          <p:nvPr>
            <p:ph type="title"/>
          </p:nvPr>
        </p:nvSpPr>
        <p:spPr/>
        <p:txBody>
          <a:bodyPr/>
          <a:lstStyle/>
          <a:p>
            <a:r>
              <a:rPr lang="en-GB" dirty="0"/>
              <a:t>Iconography</a:t>
            </a:r>
          </a:p>
        </p:txBody>
      </p:sp>
      <p:sp>
        <p:nvSpPr>
          <p:cNvPr id="95" name="TextBox 94">
            <a:extLst>
              <a:ext uri="{FF2B5EF4-FFF2-40B4-BE49-F238E27FC236}">
                <a16:creationId xmlns:a16="http://schemas.microsoft.com/office/drawing/2014/main" id="{86B31B05-9095-4165-B6F2-462F2C35FCCD}"/>
              </a:ext>
            </a:extLst>
          </p:cNvPr>
          <p:cNvSpPr txBox="1"/>
          <p:nvPr/>
        </p:nvSpPr>
        <p:spPr>
          <a:xfrm>
            <a:off x="466057" y="212197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0</a:t>
            </a:r>
          </a:p>
        </p:txBody>
      </p:sp>
      <p:sp>
        <p:nvSpPr>
          <p:cNvPr id="96" name="TextBox 95">
            <a:extLst>
              <a:ext uri="{FF2B5EF4-FFF2-40B4-BE49-F238E27FC236}">
                <a16:creationId xmlns:a16="http://schemas.microsoft.com/office/drawing/2014/main" id="{DFEB7F30-8580-41CD-AB06-B7F66FDCD092}"/>
              </a:ext>
            </a:extLst>
          </p:cNvPr>
          <p:cNvSpPr txBox="1"/>
          <p:nvPr/>
        </p:nvSpPr>
        <p:spPr>
          <a:xfrm>
            <a:off x="1327791" y="212197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1</a:t>
            </a:r>
          </a:p>
        </p:txBody>
      </p:sp>
      <p:sp>
        <p:nvSpPr>
          <p:cNvPr id="97" name="TextBox 96">
            <a:extLst>
              <a:ext uri="{FF2B5EF4-FFF2-40B4-BE49-F238E27FC236}">
                <a16:creationId xmlns:a16="http://schemas.microsoft.com/office/drawing/2014/main" id="{BE75C87B-28A6-470A-83EB-C5C4AB361321}"/>
              </a:ext>
            </a:extLst>
          </p:cNvPr>
          <p:cNvSpPr txBox="1"/>
          <p:nvPr/>
        </p:nvSpPr>
        <p:spPr>
          <a:xfrm>
            <a:off x="2204342"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2</a:t>
            </a:r>
          </a:p>
        </p:txBody>
      </p:sp>
      <p:sp>
        <p:nvSpPr>
          <p:cNvPr id="98" name="TextBox 97">
            <a:extLst>
              <a:ext uri="{FF2B5EF4-FFF2-40B4-BE49-F238E27FC236}">
                <a16:creationId xmlns:a16="http://schemas.microsoft.com/office/drawing/2014/main" id="{A87A6B2C-3BA3-4E1C-A2C0-2430ACEA5144}"/>
              </a:ext>
            </a:extLst>
          </p:cNvPr>
          <p:cNvSpPr txBox="1"/>
          <p:nvPr/>
        </p:nvSpPr>
        <p:spPr>
          <a:xfrm>
            <a:off x="3951094"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4</a:t>
            </a:r>
          </a:p>
        </p:txBody>
      </p:sp>
      <p:sp>
        <p:nvSpPr>
          <p:cNvPr id="99" name="TextBox 98">
            <a:extLst>
              <a:ext uri="{FF2B5EF4-FFF2-40B4-BE49-F238E27FC236}">
                <a16:creationId xmlns:a16="http://schemas.microsoft.com/office/drawing/2014/main" id="{A0F0FCA7-062F-47AE-BA08-D0DFE2957A6B}"/>
              </a:ext>
            </a:extLst>
          </p:cNvPr>
          <p:cNvSpPr txBox="1"/>
          <p:nvPr/>
        </p:nvSpPr>
        <p:spPr>
          <a:xfrm>
            <a:off x="4824470"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5</a:t>
            </a:r>
          </a:p>
        </p:txBody>
      </p:sp>
      <p:sp>
        <p:nvSpPr>
          <p:cNvPr id="100" name="TextBox 99">
            <a:extLst>
              <a:ext uri="{FF2B5EF4-FFF2-40B4-BE49-F238E27FC236}">
                <a16:creationId xmlns:a16="http://schemas.microsoft.com/office/drawing/2014/main" id="{D6AC22D5-628E-4D41-A03F-9E5624E38D25}"/>
              </a:ext>
            </a:extLst>
          </p:cNvPr>
          <p:cNvSpPr txBox="1"/>
          <p:nvPr/>
        </p:nvSpPr>
        <p:spPr>
          <a:xfrm>
            <a:off x="3077718"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3</a:t>
            </a:r>
          </a:p>
        </p:txBody>
      </p:sp>
      <p:sp>
        <p:nvSpPr>
          <p:cNvPr id="101" name="TextBox 100">
            <a:extLst>
              <a:ext uri="{FF2B5EF4-FFF2-40B4-BE49-F238E27FC236}">
                <a16:creationId xmlns:a16="http://schemas.microsoft.com/office/drawing/2014/main" id="{4ADD00A4-E8BE-4EE8-A1A6-B1F6B56E1A3D}"/>
              </a:ext>
            </a:extLst>
          </p:cNvPr>
          <p:cNvSpPr txBox="1"/>
          <p:nvPr/>
        </p:nvSpPr>
        <p:spPr>
          <a:xfrm>
            <a:off x="5697846"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ttery signs</a:t>
            </a:r>
          </a:p>
        </p:txBody>
      </p:sp>
      <p:sp>
        <p:nvSpPr>
          <p:cNvPr id="102" name="TextBox 101">
            <a:extLst>
              <a:ext uri="{FF2B5EF4-FFF2-40B4-BE49-F238E27FC236}">
                <a16:creationId xmlns:a16="http://schemas.microsoft.com/office/drawing/2014/main" id="{3982EBFB-F6B9-4DE3-A0B7-DD8EE6F5C399}"/>
              </a:ext>
            </a:extLst>
          </p:cNvPr>
          <p:cNvSpPr txBox="1"/>
          <p:nvPr/>
        </p:nvSpPr>
        <p:spPr>
          <a:xfrm>
            <a:off x="7444598"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urbine</a:t>
            </a:r>
          </a:p>
        </p:txBody>
      </p:sp>
      <p:sp>
        <p:nvSpPr>
          <p:cNvPr id="103" name="TextBox 102">
            <a:extLst>
              <a:ext uri="{FF2B5EF4-FFF2-40B4-BE49-F238E27FC236}">
                <a16:creationId xmlns:a16="http://schemas.microsoft.com/office/drawing/2014/main" id="{4DCF7891-1A56-40DF-B821-74D9C50850B2}"/>
              </a:ext>
            </a:extLst>
          </p:cNvPr>
          <p:cNvSpPr txBox="1"/>
          <p:nvPr/>
        </p:nvSpPr>
        <p:spPr>
          <a:xfrm>
            <a:off x="6571222"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trol pump</a:t>
            </a:r>
          </a:p>
        </p:txBody>
      </p:sp>
      <p:sp>
        <p:nvSpPr>
          <p:cNvPr id="104" name="TextBox 103">
            <a:extLst>
              <a:ext uri="{FF2B5EF4-FFF2-40B4-BE49-F238E27FC236}">
                <a16:creationId xmlns:a16="http://schemas.microsoft.com/office/drawing/2014/main" id="{1398EA57-E98C-4486-B420-BF3B021E5DFE}"/>
              </a:ext>
            </a:extLst>
          </p:cNvPr>
          <p:cNvSpPr txBox="1"/>
          <p:nvPr/>
        </p:nvSpPr>
        <p:spPr>
          <a:xfrm>
            <a:off x="8317974" y="2121970"/>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wer socket UK</a:t>
            </a:r>
          </a:p>
        </p:txBody>
      </p:sp>
      <p:sp>
        <p:nvSpPr>
          <p:cNvPr id="105" name="TextBox 104">
            <a:extLst>
              <a:ext uri="{FF2B5EF4-FFF2-40B4-BE49-F238E27FC236}">
                <a16:creationId xmlns:a16="http://schemas.microsoft.com/office/drawing/2014/main" id="{95C6D61D-42BA-43BB-AACB-A6285E24819C}"/>
              </a:ext>
            </a:extLst>
          </p:cNvPr>
          <p:cNvSpPr txBox="1"/>
          <p:nvPr/>
        </p:nvSpPr>
        <p:spPr>
          <a:xfrm>
            <a:off x="9179708" y="2121970"/>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wer socket US</a:t>
            </a:r>
          </a:p>
        </p:txBody>
      </p:sp>
      <p:sp>
        <p:nvSpPr>
          <p:cNvPr id="106" name="TextBox 105">
            <a:extLst>
              <a:ext uri="{FF2B5EF4-FFF2-40B4-BE49-F238E27FC236}">
                <a16:creationId xmlns:a16="http://schemas.microsoft.com/office/drawing/2014/main" id="{8F97F60A-F56B-4E73-B98B-B5E040473D61}"/>
              </a:ext>
            </a:extLst>
          </p:cNvPr>
          <p:cNvSpPr txBox="1"/>
          <p:nvPr/>
        </p:nvSpPr>
        <p:spPr>
          <a:xfrm>
            <a:off x="10056259"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ug US</a:t>
            </a:r>
          </a:p>
        </p:txBody>
      </p:sp>
      <p:sp>
        <p:nvSpPr>
          <p:cNvPr id="107" name="TextBox 106">
            <a:extLst>
              <a:ext uri="{FF2B5EF4-FFF2-40B4-BE49-F238E27FC236}">
                <a16:creationId xmlns:a16="http://schemas.microsoft.com/office/drawing/2014/main" id="{DD91AAB5-4196-421E-A768-3A6B6860A69E}"/>
              </a:ext>
            </a:extLst>
          </p:cNvPr>
          <p:cNvSpPr txBox="1"/>
          <p:nvPr/>
        </p:nvSpPr>
        <p:spPr>
          <a:xfrm>
            <a:off x="1328449" y="29374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opeller</a:t>
            </a:r>
          </a:p>
        </p:txBody>
      </p:sp>
      <p:sp>
        <p:nvSpPr>
          <p:cNvPr id="108" name="TextBox 107">
            <a:extLst>
              <a:ext uri="{FF2B5EF4-FFF2-40B4-BE49-F238E27FC236}">
                <a16:creationId xmlns:a16="http://schemas.microsoft.com/office/drawing/2014/main" id="{A97B2C9E-AA15-41FA-A3D0-73258BCF459F}"/>
              </a:ext>
            </a:extLst>
          </p:cNvPr>
          <p:cNvSpPr txBox="1"/>
          <p:nvPr/>
        </p:nvSpPr>
        <p:spPr>
          <a:xfrm>
            <a:off x="10929633" y="212197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bulb 1</a:t>
            </a:r>
          </a:p>
        </p:txBody>
      </p:sp>
      <p:sp>
        <p:nvSpPr>
          <p:cNvPr id="109" name="TextBox 108">
            <a:extLst>
              <a:ext uri="{FF2B5EF4-FFF2-40B4-BE49-F238E27FC236}">
                <a16:creationId xmlns:a16="http://schemas.microsoft.com/office/drawing/2014/main" id="{9306B1E8-3A78-480B-8DA4-B711102CFBA4}"/>
              </a:ext>
            </a:extLst>
          </p:cNvPr>
          <p:cNvSpPr txBox="1"/>
          <p:nvPr/>
        </p:nvSpPr>
        <p:spPr>
          <a:xfrm>
            <a:off x="2201375" y="2937404"/>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oling towers</a:t>
            </a:r>
          </a:p>
        </p:txBody>
      </p:sp>
      <p:sp>
        <p:nvSpPr>
          <p:cNvPr id="110" name="TextBox 109">
            <a:extLst>
              <a:ext uri="{FF2B5EF4-FFF2-40B4-BE49-F238E27FC236}">
                <a16:creationId xmlns:a16="http://schemas.microsoft.com/office/drawing/2014/main" id="{E2B4B94A-5479-483D-B1BB-7FBF056847C1}"/>
              </a:ext>
            </a:extLst>
          </p:cNvPr>
          <p:cNvSpPr txBox="1"/>
          <p:nvPr/>
        </p:nvSpPr>
        <p:spPr>
          <a:xfrm>
            <a:off x="3947228" y="29374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il derrick</a:t>
            </a:r>
          </a:p>
        </p:txBody>
      </p:sp>
      <p:sp>
        <p:nvSpPr>
          <p:cNvPr id="111" name="TextBox 110">
            <a:extLst>
              <a:ext uri="{FF2B5EF4-FFF2-40B4-BE49-F238E27FC236}">
                <a16:creationId xmlns:a16="http://schemas.microsoft.com/office/drawing/2014/main" id="{C682A5BA-701B-4C3C-ABD1-C33EC4396069}"/>
              </a:ext>
            </a:extLst>
          </p:cNvPr>
          <p:cNvSpPr txBox="1"/>
          <p:nvPr/>
        </p:nvSpPr>
        <p:spPr>
          <a:xfrm>
            <a:off x="3074301" y="29374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il barrel</a:t>
            </a:r>
          </a:p>
        </p:txBody>
      </p:sp>
      <p:sp>
        <p:nvSpPr>
          <p:cNvPr id="112" name="Freeform 255">
            <a:extLst>
              <a:ext uri="{FF2B5EF4-FFF2-40B4-BE49-F238E27FC236}">
                <a16:creationId xmlns:a16="http://schemas.microsoft.com/office/drawing/2014/main" id="{9673CD96-26D7-48F9-AD6E-0D9BF65E8415}"/>
              </a:ext>
            </a:extLst>
          </p:cNvPr>
          <p:cNvSpPr>
            <a:spLocks noChangeAspect="1" noEditPoints="1"/>
          </p:cNvSpPr>
          <p:nvPr/>
        </p:nvSpPr>
        <p:spPr bwMode="auto">
          <a:xfrm>
            <a:off x="487323" y="1700213"/>
            <a:ext cx="367982" cy="369064"/>
          </a:xfrm>
          <a:custGeom>
            <a:avLst/>
            <a:gdLst>
              <a:gd name="T0" fmla="*/ 373 w 512"/>
              <a:gd name="T1" fmla="*/ 234 h 512"/>
              <a:gd name="T2" fmla="*/ 394 w 512"/>
              <a:gd name="T3" fmla="*/ 234 h 512"/>
              <a:gd name="T4" fmla="*/ 394 w 512"/>
              <a:gd name="T5" fmla="*/ 277 h 512"/>
              <a:gd name="T6" fmla="*/ 373 w 512"/>
              <a:gd name="T7" fmla="*/ 277 h 512"/>
              <a:gd name="T8" fmla="*/ 373 w 512"/>
              <a:gd name="T9" fmla="*/ 234 h 512"/>
              <a:gd name="T10" fmla="*/ 117 w 512"/>
              <a:gd name="T11" fmla="*/ 192 h 512"/>
              <a:gd name="T12" fmla="*/ 352 w 512"/>
              <a:gd name="T13" fmla="*/ 192 h 512"/>
              <a:gd name="T14" fmla="*/ 352 w 512"/>
              <a:gd name="T15" fmla="*/ 320 h 512"/>
              <a:gd name="T16" fmla="*/ 117 w 512"/>
              <a:gd name="T17" fmla="*/ 320 h 512"/>
              <a:gd name="T18" fmla="*/ 117 w 512"/>
              <a:gd name="T19" fmla="*/ 192 h 512"/>
              <a:gd name="T20" fmla="*/ 219 w 512"/>
              <a:gd name="T21" fmla="*/ 256 h 512"/>
              <a:gd name="T22" fmla="*/ 195 w 512"/>
              <a:gd name="T23" fmla="*/ 280 h 512"/>
              <a:gd name="T24" fmla="*/ 195 w 512"/>
              <a:gd name="T25" fmla="*/ 295 h 512"/>
              <a:gd name="T26" fmla="*/ 202 w 512"/>
              <a:gd name="T27" fmla="*/ 298 h 512"/>
              <a:gd name="T28" fmla="*/ 210 w 512"/>
              <a:gd name="T29" fmla="*/ 295 h 512"/>
              <a:gd name="T30" fmla="*/ 234 w 512"/>
              <a:gd name="T31" fmla="*/ 271 h 512"/>
              <a:gd name="T32" fmla="*/ 259 w 512"/>
              <a:gd name="T33" fmla="*/ 295 h 512"/>
              <a:gd name="T34" fmla="*/ 266 w 512"/>
              <a:gd name="T35" fmla="*/ 298 h 512"/>
              <a:gd name="T36" fmla="*/ 274 w 512"/>
              <a:gd name="T37" fmla="*/ 295 h 512"/>
              <a:gd name="T38" fmla="*/ 274 w 512"/>
              <a:gd name="T39" fmla="*/ 280 h 512"/>
              <a:gd name="T40" fmla="*/ 249 w 512"/>
              <a:gd name="T41" fmla="*/ 256 h 512"/>
              <a:gd name="T42" fmla="*/ 274 w 512"/>
              <a:gd name="T43" fmla="*/ 231 h 512"/>
              <a:gd name="T44" fmla="*/ 274 w 512"/>
              <a:gd name="T45" fmla="*/ 216 h 512"/>
              <a:gd name="T46" fmla="*/ 259 w 512"/>
              <a:gd name="T47" fmla="*/ 216 h 512"/>
              <a:gd name="T48" fmla="*/ 234 w 512"/>
              <a:gd name="T49" fmla="*/ 241 h 512"/>
              <a:gd name="T50" fmla="*/ 210 w 512"/>
              <a:gd name="T51" fmla="*/ 216 h 512"/>
              <a:gd name="T52" fmla="*/ 195 w 512"/>
              <a:gd name="T53" fmla="*/ 216 h 512"/>
              <a:gd name="T54" fmla="*/ 195 w 512"/>
              <a:gd name="T55" fmla="*/ 231 h 512"/>
              <a:gd name="T56" fmla="*/ 219 w 512"/>
              <a:gd name="T57" fmla="*/ 256 h 512"/>
              <a:gd name="T58" fmla="*/ 512 w 512"/>
              <a:gd name="T59" fmla="*/ 256 h 512"/>
              <a:gd name="T60" fmla="*/ 256 w 512"/>
              <a:gd name="T61" fmla="*/ 512 h 512"/>
              <a:gd name="T62" fmla="*/ 0 w 512"/>
              <a:gd name="T63" fmla="*/ 256 h 512"/>
              <a:gd name="T64" fmla="*/ 256 w 512"/>
              <a:gd name="T65" fmla="*/ 0 h 512"/>
              <a:gd name="T66" fmla="*/ 512 w 512"/>
              <a:gd name="T67" fmla="*/ 256 h 512"/>
              <a:gd name="T68" fmla="*/ 416 w 512"/>
              <a:gd name="T69" fmla="*/ 224 h 512"/>
              <a:gd name="T70" fmla="*/ 405 w 512"/>
              <a:gd name="T71" fmla="*/ 213 h 512"/>
              <a:gd name="T72" fmla="*/ 373 w 512"/>
              <a:gd name="T73" fmla="*/ 213 h 512"/>
              <a:gd name="T74" fmla="*/ 373 w 512"/>
              <a:gd name="T75" fmla="*/ 181 h 512"/>
              <a:gd name="T76" fmla="*/ 362 w 512"/>
              <a:gd name="T77" fmla="*/ 170 h 512"/>
              <a:gd name="T78" fmla="*/ 106 w 512"/>
              <a:gd name="T79" fmla="*/ 170 h 512"/>
              <a:gd name="T80" fmla="*/ 96 w 512"/>
              <a:gd name="T81" fmla="*/ 181 h 512"/>
              <a:gd name="T82" fmla="*/ 96 w 512"/>
              <a:gd name="T83" fmla="*/ 330 h 512"/>
              <a:gd name="T84" fmla="*/ 106 w 512"/>
              <a:gd name="T85" fmla="*/ 341 h 512"/>
              <a:gd name="T86" fmla="*/ 362 w 512"/>
              <a:gd name="T87" fmla="*/ 341 h 512"/>
              <a:gd name="T88" fmla="*/ 373 w 512"/>
              <a:gd name="T89" fmla="*/ 330 h 512"/>
              <a:gd name="T90" fmla="*/ 373 w 512"/>
              <a:gd name="T91" fmla="*/ 298 h 512"/>
              <a:gd name="T92" fmla="*/ 405 w 512"/>
              <a:gd name="T93" fmla="*/ 298 h 512"/>
              <a:gd name="T94" fmla="*/ 416 w 512"/>
              <a:gd name="T95" fmla="*/ 288 h 512"/>
              <a:gd name="T96" fmla="*/ 416 w 512"/>
              <a:gd name="T9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34"/>
                </a:moveTo>
                <a:cubicBezTo>
                  <a:pt x="394" y="234"/>
                  <a:pt x="394" y="234"/>
                  <a:pt x="394" y="234"/>
                </a:cubicBezTo>
                <a:cubicBezTo>
                  <a:pt x="394" y="277"/>
                  <a:pt x="394" y="277"/>
                  <a:pt x="394" y="277"/>
                </a:cubicBezTo>
                <a:cubicBezTo>
                  <a:pt x="373" y="277"/>
                  <a:pt x="373" y="277"/>
                  <a:pt x="373" y="277"/>
                </a:cubicBezTo>
                <a:lnTo>
                  <a:pt x="373" y="234"/>
                </a:lnTo>
                <a:close/>
                <a:moveTo>
                  <a:pt x="117" y="192"/>
                </a:moveTo>
                <a:cubicBezTo>
                  <a:pt x="352" y="192"/>
                  <a:pt x="352" y="192"/>
                  <a:pt x="352" y="192"/>
                </a:cubicBezTo>
                <a:cubicBezTo>
                  <a:pt x="352" y="320"/>
                  <a:pt x="352" y="320"/>
                  <a:pt x="352" y="320"/>
                </a:cubicBezTo>
                <a:cubicBezTo>
                  <a:pt x="117" y="320"/>
                  <a:pt x="117" y="320"/>
                  <a:pt x="117" y="320"/>
                </a:cubicBezTo>
                <a:lnTo>
                  <a:pt x="117" y="192"/>
                </a:lnTo>
                <a:close/>
                <a:moveTo>
                  <a:pt x="219" y="256"/>
                </a:moveTo>
                <a:cubicBezTo>
                  <a:pt x="195" y="280"/>
                  <a:pt x="195" y="280"/>
                  <a:pt x="195" y="280"/>
                </a:cubicBezTo>
                <a:cubicBezTo>
                  <a:pt x="191" y="284"/>
                  <a:pt x="191" y="291"/>
                  <a:pt x="195" y="295"/>
                </a:cubicBezTo>
                <a:cubicBezTo>
                  <a:pt x="197" y="297"/>
                  <a:pt x="200" y="298"/>
                  <a:pt x="202" y="298"/>
                </a:cubicBezTo>
                <a:cubicBezTo>
                  <a:pt x="205" y="298"/>
                  <a:pt x="208" y="297"/>
                  <a:pt x="210" y="295"/>
                </a:cubicBezTo>
                <a:cubicBezTo>
                  <a:pt x="234" y="271"/>
                  <a:pt x="234" y="271"/>
                  <a:pt x="234" y="271"/>
                </a:cubicBezTo>
                <a:cubicBezTo>
                  <a:pt x="259" y="295"/>
                  <a:pt x="259" y="295"/>
                  <a:pt x="259" y="295"/>
                </a:cubicBezTo>
                <a:cubicBezTo>
                  <a:pt x="261" y="297"/>
                  <a:pt x="264" y="298"/>
                  <a:pt x="266" y="298"/>
                </a:cubicBezTo>
                <a:cubicBezTo>
                  <a:pt x="269" y="298"/>
                  <a:pt x="272" y="297"/>
                  <a:pt x="274" y="295"/>
                </a:cubicBezTo>
                <a:cubicBezTo>
                  <a:pt x="278" y="291"/>
                  <a:pt x="278" y="284"/>
                  <a:pt x="274" y="280"/>
                </a:cubicBezTo>
                <a:cubicBezTo>
                  <a:pt x="249" y="256"/>
                  <a:pt x="249" y="256"/>
                  <a:pt x="249" y="256"/>
                </a:cubicBezTo>
                <a:cubicBezTo>
                  <a:pt x="274" y="231"/>
                  <a:pt x="274" y="231"/>
                  <a:pt x="274" y="231"/>
                </a:cubicBezTo>
                <a:cubicBezTo>
                  <a:pt x="278" y="227"/>
                  <a:pt x="278" y="220"/>
                  <a:pt x="274" y="216"/>
                </a:cubicBezTo>
                <a:cubicBezTo>
                  <a:pt x="270" y="212"/>
                  <a:pt x="263" y="212"/>
                  <a:pt x="259" y="216"/>
                </a:cubicBezTo>
                <a:cubicBezTo>
                  <a:pt x="234" y="241"/>
                  <a:pt x="234" y="241"/>
                  <a:pt x="234" y="241"/>
                </a:cubicBezTo>
                <a:cubicBezTo>
                  <a:pt x="210" y="216"/>
                  <a:pt x="210" y="216"/>
                  <a:pt x="210" y="216"/>
                </a:cubicBezTo>
                <a:cubicBezTo>
                  <a:pt x="206" y="212"/>
                  <a:pt x="199" y="212"/>
                  <a:pt x="195" y="216"/>
                </a:cubicBezTo>
                <a:cubicBezTo>
                  <a:pt x="191" y="220"/>
                  <a:pt x="191" y="227"/>
                  <a:pt x="195" y="231"/>
                </a:cubicBezTo>
                <a:lnTo>
                  <a:pt x="219"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73" y="213"/>
                  <a:pt x="373" y="213"/>
                  <a:pt x="373" y="213"/>
                </a:cubicBezTo>
                <a:cubicBezTo>
                  <a:pt x="373" y="181"/>
                  <a:pt x="373" y="181"/>
                  <a:pt x="373" y="181"/>
                </a:cubicBezTo>
                <a:cubicBezTo>
                  <a:pt x="373" y="175"/>
                  <a:pt x="368" y="170"/>
                  <a:pt x="362" y="170"/>
                </a:cubicBezTo>
                <a:cubicBezTo>
                  <a:pt x="106" y="170"/>
                  <a:pt x="106" y="170"/>
                  <a:pt x="106" y="170"/>
                </a:cubicBezTo>
                <a:cubicBezTo>
                  <a:pt x="100" y="170"/>
                  <a:pt x="96" y="175"/>
                  <a:pt x="96" y="181"/>
                </a:cubicBezTo>
                <a:cubicBezTo>
                  <a:pt x="96" y="330"/>
                  <a:pt x="96" y="330"/>
                  <a:pt x="96" y="330"/>
                </a:cubicBezTo>
                <a:cubicBezTo>
                  <a:pt x="96" y="336"/>
                  <a:pt x="100" y="341"/>
                  <a:pt x="106" y="341"/>
                </a:cubicBezTo>
                <a:cubicBezTo>
                  <a:pt x="362" y="341"/>
                  <a:pt x="362" y="341"/>
                  <a:pt x="362" y="341"/>
                </a:cubicBezTo>
                <a:cubicBezTo>
                  <a:pt x="368" y="341"/>
                  <a:pt x="373" y="336"/>
                  <a:pt x="373" y="330"/>
                </a:cubicBezTo>
                <a:cubicBezTo>
                  <a:pt x="373" y="298"/>
                  <a:pt x="373" y="298"/>
                  <a:pt x="373" y="298"/>
                </a:cubicBezTo>
                <a:cubicBezTo>
                  <a:pt x="405" y="298"/>
                  <a:pt x="405" y="298"/>
                  <a:pt x="405" y="298"/>
                </a:cubicBezTo>
                <a:cubicBezTo>
                  <a:pt x="411" y="298"/>
                  <a:pt x="416" y="294"/>
                  <a:pt x="416" y="288"/>
                </a:cubicBezTo>
                <a:lnTo>
                  <a:pt x="416" y="22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3" name="Group 393">
            <a:extLst>
              <a:ext uri="{FF2B5EF4-FFF2-40B4-BE49-F238E27FC236}">
                <a16:creationId xmlns:a16="http://schemas.microsoft.com/office/drawing/2014/main" id="{0BC6F363-DE56-4F52-9094-EE3B84E6F76C}"/>
              </a:ext>
            </a:extLst>
          </p:cNvPr>
          <p:cNvGrpSpPr>
            <a:grpSpLocks noChangeAspect="1"/>
          </p:cNvGrpSpPr>
          <p:nvPr/>
        </p:nvGrpSpPr>
        <p:grpSpPr bwMode="auto">
          <a:xfrm>
            <a:off x="921429" y="1700213"/>
            <a:ext cx="367982" cy="369064"/>
            <a:chOff x="5010" y="3271"/>
            <a:chExt cx="340" cy="341"/>
          </a:xfrm>
          <a:solidFill>
            <a:schemeClr val="accent5"/>
          </a:solidFill>
        </p:grpSpPr>
        <p:sp>
          <p:nvSpPr>
            <p:cNvPr id="114" name="Freeform 394">
              <a:extLst>
                <a:ext uri="{FF2B5EF4-FFF2-40B4-BE49-F238E27FC236}">
                  <a16:creationId xmlns:a16="http://schemas.microsoft.com/office/drawing/2014/main" id="{A7B4EC5C-73F0-493E-B3A7-8B92E7957760}"/>
                </a:ext>
              </a:extLst>
            </p:cNvPr>
            <p:cNvSpPr>
              <a:spLocks noEditPoints="1"/>
            </p:cNvSpPr>
            <p:nvPr/>
          </p:nvSpPr>
          <p:spPr bwMode="auto">
            <a:xfrm>
              <a:off x="5074" y="3384"/>
              <a:ext cx="212" cy="114"/>
            </a:xfrm>
            <a:custGeom>
              <a:avLst/>
              <a:gdLst>
                <a:gd name="T0" fmla="*/ 99 w 320"/>
                <a:gd name="T1" fmla="*/ 110 h 171"/>
                <a:gd name="T2" fmla="*/ 123 w 320"/>
                <a:gd name="T3" fmla="*/ 86 h 171"/>
                <a:gd name="T4" fmla="*/ 99 w 320"/>
                <a:gd name="T5" fmla="*/ 61 h 171"/>
                <a:gd name="T6" fmla="*/ 99 w 320"/>
                <a:gd name="T7" fmla="*/ 46 h 171"/>
                <a:gd name="T8" fmla="*/ 114 w 320"/>
                <a:gd name="T9" fmla="*/ 46 h 171"/>
                <a:gd name="T10" fmla="*/ 138 w 320"/>
                <a:gd name="T11" fmla="*/ 71 h 171"/>
                <a:gd name="T12" fmla="*/ 163 w 320"/>
                <a:gd name="T13" fmla="*/ 46 h 171"/>
                <a:gd name="T14" fmla="*/ 178 w 320"/>
                <a:gd name="T15" fmla="*/ 46 h 171"/>
                <a:gd name="T16" fmla="*/ 178 w 320"/>
                <a:gd name="T17" fmla="*/ 61 h 171"/>
                <a:gd name="T18" fmla="*/ 153 w 320"/>
                <a:gd name="T19" fmla="*/ 86 h 171"/>
                <a:gd name="T20" fmla="*/ 178 w 320"/>
                <a:gd name="T21" fmla="*/ 110 h 171"/>
                <a:gd name="T22" fmla="*/ 178 w 320"/>
                <a:gd name="T23" fmla="*/ 125 h 171"/>
                <a:gd name="T24" fmla="*/ 170 w 320"/>
                <a:gd name="T25" fmla="*/ 128 h 171"/>
                <a:gd name="T26" fmla="*/ 163 w 320"/>
                <a:gd name="T27" fmla="*/ 125 h 171"/>
                <a:gd name="T28" fmla="*/ 138 w 320"/>
                <a:gd name="T29" fmla="*/ 101 h 171"/>
                <a:gd name="T30" fmla="*/ 114 w 320"/>
                <a:gd name="T31" fmla="*/ 125 h 171"/>
                <a:gd name="T32" fmla="*/ 106 w 320"/>
                <a:gd name="T33" fmla="*/ 128 h 171"/>
                <a:gd name="T34" fmla="*/ 99 w 320"/>
                <a:gd name="T35" fmla="*/ 125 h 171"/>
                <a:gd name="T36" fmla="*/ 99 w 320"/>
                <a:gd name="T37" fmla="*/ 110 h 171"/>
                <a:gd name="T38" fmla="*/ 320 w 320"/>
                <a:gd name="T39" fmla="*/ 54 h 171"/>
                <a:gd name="T40" fmla="*/ 320 w 320"/>
                <a:gd name="T41" fmla="*/ 118 h 171"/>
                <a:gd name="T42" fmla="*/ 309 w 320"/>
                <a:gd name="T43" fmla="*/ 128 h 171"/>
                <a:gd name="T44" fmla="*/ 277 w 320"/>
                <a:gd name="T45" fmla="*/ 128 h 171"/>
                <a:gd name="T46" fmla="*/ 277 w 320"/>
                <a:gd name="T47" fmla="*/ 160 h 171"/>
                <a:gd name="T48" fmla="*/ 266 w 320"/>
                <a:gd name="T49" fmla="*/ 171 h 171"/>
                <a:gd name="T50" fmla="*/ 10 w 320"/>
                <a:gd name="T51" fmla="*/ 171 h 171"/>
                <a:gd name="T52" fmla="*/ 0 w 320"/>
                <a:gd name="T53" fmla="*/ 160 h 171"/>
                <a:gd name="T54" fmla="*/ 0 w 320"/>
                <a:gd name="T55" fmla="*/ 11 h 171"/>
                <a:gd name="T56" fmla="*/ 10 w 320"/>
                <a:gd name="T57" fmla="*/ 0 h 171"/>
                <a:gd name="T58" fmla="*/ 266 w 320"/>
                <a:gd name="T59" fmla="*/ 0 h 171"/>
                <a:gd name="T60" fmla="*/ 277 w 320"/>
                <a:gd name="T61" fmla="*/ 11 h 171"/>
                <a:gd name="T62" fmla="*/ 277 w 320"/>
                <a:gd name="T63" fmla="*/ 43 h 171"/>
                <a:gd name="T64" fmla="*/ 309 w 320"/>
                <a:gd name="T65" fmla="*/ 43 h 171"/>
                <a:gd name="T66" fmla="*/ 320 w 320"/>
                <a:gd name="T67" fmla="*/ 54 h 171"/>
                <a:gd name="T68" fmla="*/ 256 w 320"/>
                <a:gd name="T69" fmla="*/ 22 h 171"/>
                <a:gd name="T70" fmla="*/ 21 w 320"/>
                <a:gd name="T71" fmla="*/ 22 h 171"/>
                <a:gd name="T72" fmla="*/ 21 w 320"/>
                <a:gd name="T73" fmla="*/ 150 h 171"/>
                <a:gd name="T74" fmla="*/ 256 w 320"/>
                <a:gd name="T75" fmla="*/ 150 h 171"/>
                <a:gd name="T76" fmla="*/ 256 w 320"/>
                <a:gd name="T77" fmla="*/ 22 h 171"/>
                <a:gd name="T78" fmla="*/ 298 w 320"/>
                <a:gd name="T79" fmla="*/ 64 h 171"/>
                <a:gd name="T80" fmla="*/ 277 w 320"/>
                <a:gd name="T81" fmla="*/ 64 h 171"/>
                <a:gd name="T82" fmla="*/ 277 w 320"/>
                <a:gd name="T83" fmla="*/ 107 h 171"/>
                <a:gd name="T84" fmla="*/ 298 w 320"/>
                <a:gd name="T85" fmla="*/ 107 h 171"/>
                <a:gd name="T86" fmla="*/ 298 w 320"/>
                <a:gd name="T87" fmla="*/ 6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0" h="171">
                  <a:moveTo>
                    <a:pt x="99" y="110"/>
                  </a:moveTo>
                  <a:cubicBezTo>
                    <a:pt x="123" y="86"/>
                    <a:pt x="123" y="86"/>
                    <a:pt x="123" y="86"/>
                  </a:cubicBezTo>
                  <a:cubicBezTo>
                    <a:pt x="99" y="61"/>
                    <a:pt x="99" y="61"/>
                    <a:pt x="99" y="61"/>
                  </a:cubicBezTo>
                  <a:cubicBezTo>
                    <a:pt x="95" y="57"/>
                    <a:pt x="95" y="50"/>
                    <a:pt x="99" y="46"/>
                  </a:cubicBezTo>
                  <a:cubicBezTo>
                    <a:pt x="103" y="42"/>
                    <a:pt x="110" y="42"/>
                    <a:pt x="114" y="46"/>
                  </a:cubicBezTo>
                  <a:cubicBezTo>
                    <a:pt x="138" y="71"/>
                    <a:pt x="138" y="71"/>
                    <a:pt x="138" y="71"/>
                  </a:cubicBezTo>
                  <a:cubicBezTo>
                    <a:pt x="163" y="46"/>
                    <a:pt x="163" y="46"/>
                    <a:pt x="163" y="46"/>
                  </a:cubicBezTo>
                  <a:cubicBezTo>
                    <a:pt x="167" y="42"/>
                    <a:pt x="174" y="42"/>
                    <a:pt x="178" y="46"/>
                  </a:cubicBezTo>
                  <a:cubicBezTo>
                    <a:pt x="182" y="50"/>
                    <a:pt x="182" y="57"/>
                    <a:pt x="178" y="61"/>
                  </a:cubicBezTo>
                  <a:cubicBezTo>
                    <a:pt x="153" y="86"/>
                    <a:pt x="153" y="86"/>
                    <a:pt x="153" y="86"/>
                  </a:cubicBezTo>
                  <a:cubicBezTo>
                    <a:pt x="178" y="110"/>
                    <a:pt x="178" y="110"/>
                    <a:pt x="178" y="110"/>
                  </a:cubicBezTo>
                  <a:cubicBezTo>
                    <a:pt x="182" y="114"/>
                    <a:pt x="182" y="121"/>
                    <a:pt x="178" y="125"/>
                  </a:cubicBezTo>
                  <a:cubicBezTo>
                    <a:pt x="176" y="127"/>
                    <a:pt x="173" y="128"/>
                    <a:pt x="170" y="128"/>
                  </a:cubicBezTo>
                  <a:cubicBezTo>
                    <a:pt x="168" y="128"/>
                    <a:pt x="165" y="127"/>
                    <a:pt x="163" y="125"/>
                  </a:cubicBezTo>
                  <a:cubicBezTo>
                    <a:pt x="138" y="101"/>
                    <a:pt x="138" y="101"/>
                    <a:pt x="138" y="101"/>
                  </a:cubicBezTo>
                  <a:cubicBezTo>
                    <a:pt x="114" y="125"/>
                    <a:pt x="114" y="125"/>
                    <a:pt x="114" y="125"/>
                  </a:cubicBezTo>
                  <a:cubicBezTo>
                    <a:pt x="112" y="127"/>
                    <a:pt x="109" y="128"/>
                    <a:pt x="106" y="128"/>
                  </a:cubicBezTo>
                  <a:cubicBezTo>
                    <a:pt x="104" y="128"/>
                    <a:pt x="101" y="127"/>
                    <a:pt x="99" y="125"/>
                  </a:cubicBezTo>
                  <a:cubicBezTo>
                    <a:pt x="95" y="121"/>
                    <a:pt x="95" y="114"/>
                    <a:pt x="99" y="110"/>
                  </a:cubicBezTo>
                  <a:close/>
                  <a:moveTo>
                    <a:pt x="320" y="54"/>
                  </a:moveTo>
                  <a:cubicBezTo>
                    <a:pt x="320" y="118"/>
                    <a:pt x="320" y="118"/>
                    <a:pt x="320" y="118"/>
                  </a:cubicBezTo>
                  <a:cubicBezTo>
                    <a:pt x="320" y="124"/>
                    <a:pt x="315" y="128"/>
                    <a:pt x="309" y="128"/>
                  </a:cubicBezTo>
                  <a:cubicBezTo>
                    <a:pt x="277" y="128"/>
                    <a:pt x="277" y="128"/>
                    <a:pt x="277" y="128"/>
                  </a:cubicBezTo>
                  <a:cubicBezTo>
                    <a:pt x="277" y="160"/>
                    <a:pt x="277" y="160"/>
                    <a:pt x="277" y="160"/>
                  </a:cubicBezTo>
                  <a:cubicBezTo>
                    <a:pt x="277" y="166"/>
                    <a:pt x="272" y="171"/>
                    <a:pt x="266" y="171"/>
                  </a:cubicBezTo>
                  <a:cubicBezTo>
                    <a:pt x="10" y="171"/>
                    <a:pt x="10" y="171"/>
                    <a:pt x="10" y="171"/>
                  </a:cubicBezTo>
                  <a:cubicBezTo>
                    <a:pt x="4" y="171"/>
                    <a:pt x="0" y="166"/>
                    <a:pt x="0" y="160"/>
                  </a:cubicBezTo>
                  <a:cubicBezTo>
                    <a:pt x="0" y="11"/>
                    <a:pt x="0" y="11"/>
                    <a:pt x="0" y="11"/>
                  </a:cubicBezTo>
                  <a:cubicBezTo>
                    <a:pt x="0" y="5"/>
                    <a:pt x="4" y="0"/>
                    <a:pt x="10" y="0"/>
                  </a:cubicBezTo>
                  <a:cubicBezTo>
                    <a:pt x="266" y="0"/>
                    <a:pt x="266" y="0"/>
                    <a:pt x="266" y="0"/>
                  </a:cubicBezTo>
                  <a:cubicBezTo>
                    <a:pt x="272" y="0"/>
                    <a:pt x="277" y="5"/>
                    <a:pt x="277" y="11"/>
                  </a:cubicBezTo>
                  <a:cubicBezTo>
                    <a:pt x="277" y="43"/>
                    <a:pt x="277" y="43"/>
                    <a:pt x="277" y="43"/>
                  </a:cubicBezTo>
                  <a:cubicBezTo>
                    <a:pt x="309" y="43"/>
                    <a:pt x="309" y="43"/>
                    <a:pt x="309" y="43"/>
                  </a:cubicBezTo>
                  <a:cubicBezTo>
                    <a:pt x="315" y="43"/>
                    <a:pt x="320" y="48"/>
                    <a:pt x="320" y="54"/>
                  </a:cubicBezTo>
                  <a:close/>
                  <a:moveTo>
                    <a:pt x="256" y="22"/>
                  </a:moveTo>
                  <a:cubicBezTo>
                    <a:pt x="21" y="22"/>
                    <a:pt x="21" y="22"/>
                    <a:pt x="21" y="22"/>
                  </a:cubicBezTo>
                  <a:cubicBezTo>
                    <a:pt x="21" y="150"/>
                    <a:pt x="21" y="150"/>
                    <a:pt x="21" y="150"/>
                  </a:cubicBezTo>
                  <a:cubicBezTo>
                    <a:pt x="256" y="150"/>
                    <a:pt x="256" y="150"/>
                    <a:pt x="256" y="150"/>
                  </a:cubicBezTo>
                  <a:lnTo>
                    <a:pt x="256" y="22"/>
                  </a:lnTo>
                  <a:close/>
                  <a:moveTo>
                    <a:pt x="298" y="64"/>
                  </a:moveTo>
                  <a:cubicBezTo>
                    <a:pt x="277" y="64"/>
                    <a:pt x="277" y="64"/>
                    <a:pt x="277" y="64"/>
                  </a:cubicBezTo>
                  <a:cubicBezTo>
                    <a:pt x="277" y="107"/>
                    <a:pt x="277" y="107"/>
                    <a:pt x="277" y="107"/>
                  </a:cubicBezTo>
                  <a:cubicBezTo>
                    <a:pt x="298" y="107"/>
                    <a:pt x="298" y="107"/>
                    <a:pt x="298" y="107"/>
                  </a:cubicBezTo>
                  <a:lnTo>
                    <a:pt x="298"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5" name="Freeform 395">
              <a:extLst>
                <a:ext uri="{FF2B5EF4-FFF2-40B4-BE49-F238E27FC236}">
                  <a16:creationId xmlns:a16="http://schemas.microsoft.com/office/drawing/2014/main" id="{47F6F26F-92B3-431A-9CA2-632EA46AE4C7}"/>
                </a:ext>
              </a:extLst>
            </p:cNvPr>
            <p:cNvSpPr>
              <a:spLocks noEditPoints="1"/>
            </p:cNvSpPr>
            <p:nvPr/>
          </p:nvSpPr>
          <p:spPr bwMode="auto">
            <a:xfrm>
              <a:off x="5010" y="32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6" name="Freeform 399">
            <a:extLst>
              <a:ext uri="{FF2B5EF4-FFF2-40B4-BE49-F238E27FC236}">
                <a16:creationId xmlns:a16="http://schemas.microsoft.com/office/drawing/2014/main" id="{E1ABFFDB-7591-4BC6-957D-6D8D185ED00E}"/>
              </a:ext>
            </a:extLst>
          </p:cNvPr>
          <p:cNvSpPr>
            <a:spLocks noChangeAspect="1" noEditPoints="1"/>
          </p:cNvSpPr>
          <p:nvPr/>
        </p:nvSpPr>
        <p:spPr bwMode="auto">
          <a:xfrm>
            <a:off x="1355535" y="1700213"/>
            <a:ext cx="369064" cy="367982"/>
          </a:xfrm>
          <a:custGeom>
            <a:avLst/>
            <a:gdLst>
              <a:gd name="T0" fmla="*/ 373 w 512"/>
              <a:gd name="T1" fmla="*/ 234 h 512"/>
              <a:gd name="T2" fmla="*/ 394 w 512"/>
              <a:gd name="T3" fmla="*/ 234 h 512"/>
              <a:gd name="T4" fmla="*/ 394 w 512"/>
              <a:gd name="T5" fmla="*/ 277 h 512"/>
              <a:gd name="T6" fmla="*/ 373 w 512"/>
              <a:gd name="T7" fmla="*/ 277 h 512"/>
              <a:gd name="T8" fmla="*/ 373 w 512"/>
              <a:gd name="T9" fmla="*/ 234 h 512"/>
              <a:gd name="T10" fmla="*/ 117 w 512"/>
              <a:gd name="T11" fmla="*/ 192 h 512"/>
              <a:gd name="T12" fmla="*/ 352 w 512"/>
              <a:gd name="T13" fmla="*/ 192 h 512"/>
              <a:gd name="T14" fmla="*/ 352 w 512"/>
              <a:gd name="T15" fmla="*/ 320 h 512"/>
              <a:gd name="T16" fmla="*/ 117 w 512"/>
              <a:gd name="T17" fmla="*/ 320 h 512"/>
              <a:gd name="T18" fmla="*/ 117 w 512"/>
              <a:gd name="T19" fmla="*/ 192 h 512"/>
              <a:gd name="T20" fmla="*/ 138 w 512"/>
              <a:gd name="T21" fmla="*/ 288 h 512"/>
              <a:gd name="T22" fmla="*/ 149 w 512"/>
              <a:gd name="T23" fmla="*/ 298 h 512"/>
              <a:gd name="T24" fmla="*/ 160 w 512"/>
              <a:gd name="T25" fmla="*/ 288 h 512"/>
              <a:gd name="T26" fmla="*/ 160 w 512"/>
              <a:gd name="T27" fmla="*/ 224 h 512"/>
              <a:gd name="T28" fmla="*/ 149 w 512"/>
              <a:gd name="T29" fmla="*/ 213 h 512"/>
              <a:gd name="T30" fmla="*/ 138 w 512"/>
              <a:gd name="T31" fmla="*/ 224 h 512"/>
              <a:gd name="T32" fmla="*/ 138 w 512"/>
              <a:gd name="T33" fmla="*/ 288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24 h 512"/>
              <a:gd name="T46" fmla="*/ 405 w 512"/>
              <a:gd name="T47" fmla="*/ 213 h 512"/>
              <a:gd name="T48" fmla="*/ 373 w 512"/>
              <a:gd name="T49" fmla="*/ 213 h 512"/>
              <a:gd name="T50" fmla="*/ 373 w 512"/>
              <a:gd name="T51" fmla="*/ 181 h 512"/>
              <a:gd name="T52" fmla="*/ 362 w 512"/>
              <a:gd name="T53" fmla="*/ 170 h 512"/>
              <a:gd name="T54" fmla="*/ 106 w 512"/>
              <a:gd name="T55" fmla="*/ 170 h 512"/>
              <a:gd name="T56" fmla="*/ 96 w 512"/>
              <a:gd name="T57" fmla="*/ 181 h 512"/>
              <a:gd name="T58" fmla="*/ 96 w 512"/>
              <a:gd name="T59" fmla="*/ 330 h 512"/>
              <a:gd name="T60" fmla="*/ 106 w 512"/>
              <a:gd name="T61" fmla="*/ 341 h 512"/>
              <a:gd name="T62" fmla="*/ 362 w 512"/>
              <a:gd name="T63" fmla="*/ 341 h 512"/>
              <a:gd name="T64" fmla="*/ 373 w 512"/>
              <a:gd name="T65" fmla="*/ 330 h 512"/>
              <a:gd name="T66" fmla="*/ 373 w 512"/>
              <a:gd name="T67" fmla="*/ 298 h 512"/>
              <a:gd name="T68" fmla="*/ 405 w 512"/>
              <a:gd name="T69" fmla="*/ 298 h 512"/>
              <a:gd name="T70" fmla="*/ 416 w 512"/>
              <a:gd name="T71" fmla="*/ 288 h 512"/>
              <a:gd name="T72" fmla="*/ 416 w 512"/>
              <a:gd name="T7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373" y="234"/>
                </a:moveTo>
                <a:cubicBezTo>
                  <a:pt x="394" y="234"/>
                  <a:pt x="394" y="234"/>
                  <a:pt x="394" y="234"/>
                </a:cubicBezTo>
                <a:cubicBezTo>
                  <a:pt x="394" y="277"/>
                  <a:pt x="394" y="277"/>
                  <a:pt x="394" y="277"/>
                </a:cubicBezTo>
                <a:cubicBezTo>
                  <a:pt x="373" y="277"/>
                  <a:pt x="373" y="277"/>
                  <a:pt x="373" y="277"/>
                </a:cubicBezTo>
                <a:lnTo>
                  <a:pt x="373" y="234"/>
                </a:lnTo>
                <a:close/>
                <a:moveTo>
                  <a:pt x="117" y="192"/>
                </a:moveTo>
                <a:cubicBezTo>
                  <a:pt x="352" y="192"/>
                  <a:pt x="352" y="192"/>
                  <a:pt x="352" y="192"/>
                </a:cubicBezTo>
                <a:cubicBezTo>
                  <a:pt x="352" y="320"/>
                  <a:pt x="352" y="320"/>
                  <a:pt x="352" y="320"/>
                </a:cubicBezTo>
                <a:cubicBezTo>
                  <a:pt x="117" y="320"/>
                  <a:pt x="117" y="320"/>
                  <a:pt x="117" y="320"/>
                </a:cubicBezTo>
                <a:lnTo>
                  <a:pt x="117" y="192"/>
                </a:lnTo>
                <a:close/>
                <a:moveTo>
                  <a:pt x="138" y="288"/>
                </a:moveTo>
                <a:cubicBezTo>
                  <a:pt x="138" y="294"/>
                  <a:pt x="143" y="298"/>
                  <a:pt x="149" y="298"/>
                </a:cubicBezTo>
                <a:cubicBezTo>
                  <a:pt x="155" y="298"/>
                  <a:pt x="160" y="294"/>
                  <a:pt x="160" y="288"/>
                </a:cubicBezTo>
                <a:cubicBezTo>
                  <a:pt x="160" y="224"/>
                  <a:pt x="160" y="224"/>
                  <a:pt x="160" y="224"/>
                </a:cubicBezTo>
                <a:cubicBezTo>
                  <a:pt x="160" y="218"/>
                  <a:pt x="155" y="213"/>
                  <a:pt x="149" y="213"/>
                </a:cubicBezTo>
                <a:cubicBezTo>
                  <a:pt x="143" y="213"/>
                  <a:pt x="138" y="218"/>
                  <a:pt x="138" y="224"/>
                </a:cubicBezTo>
                <a:lnTo>
                  <a:pt x="138"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73" y="213"/>
                  <a:pt x="373" y="213"/>
                  <a:pt x="373" y="213"/>
                </a:cubicBezTo>
                <a:cubicBezTo>
                  <a:pt x="373" y="181"/>
                  <a:pt x="373" y="181"/>
                  <a:pt x="373" y="181"/>
                </a:cubicBezTo>
                <a:cubicBezTo>
                  <a:pt x="373" y="175"/>
                  <a:pt x="368" y="170"/>
                  <a:pt x="362" y="170"/>
                </a:cubicBezTo>
                <a:cubicBezTo>
                  <a:pt x="106" y="170"/>
                  <a:pt x="106" y="170"/>
                  <a:pt x="106" y="170"/>
                </a:cubicBezTo>
                <a:cubicBezTo>
                  <a:pt x="100" y="170"/>
                  <a:pt x="96" y="175"/>
                  <a:pt x="96" y="181"/>
                </a:cubicBezTo>
                <a:cubicBezTo>
                  <a:pt x="96" y="330"/>
                  <a:pt x="96" y="330"/>
                  <a:pt x="96" y="330"/>
                </a:cubicBezTo>
                <a:cubicBezTo>
                  <a:pt x="96" y="336"/>
                  <a:pt x="100" y="341"/>
                  <a:pt x="106" y="341"/>
                </a:cubicBezTo>
                <a:cubicBezTo>
                  <a:pt x="362" y="341"/>
                  <a:pt x="362" y="341"/>
                  <a:pt x="362" y="341"/>
                </a:cubicBezTo>
                <a:cubicBezTo>
                  <a:pt x="368" y="341"/>
                  <a:pt x="373" y="336"/>
                  <a:pt x="373" y="330"/>
                </a:cubicBezTo>
                <a:cubicBezTo>
                  <a:pt x="373" y="298"/>
                  <a:pt x="373" y="298"/>
                  <a:pt x="373" y="298"/>
                </a:cubicBezTo>
                <a:cubicBezTo>
                  <a:pt x="405" y="298"/>
                  <a:pt x="405" y="298"/>
                  <a:pt x="405" y="298"/>
                </a:cubicBezTo>
                <a:cubicBezTo>
                  <a:pt x="411" y="298"/>
                  <a:pt x="416" y="294"/>
                  <a:pt x="416" y="288"/>
                </a:cubicBezTo>
                <a:lnTo>
                  <a:pt x="416" y="22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7" name="Group 402">
            <a:extLst>
              <a:ext uri="{FF2B5EF4-FFF2-40B4-BE49-F238E27FC236}">
                <a16:creationId xmlns:a16="http://schemas.microsoft.com/office/drawing/2014/main" id="{D8581636-540F-4035-9CA3-9FB07E4D4189}"/>
              </a:ext>
            </a:extLst>
          </p:cNvPr>
          <p:cNvGrpSpPr>
            <a:grpSpLocks noChangeAspect="1"/>
          </p:cNvGrpSpPr>
          <p:nvPr/>
        </p:nvGrpSpPr>
        <p:grpSpPr bwMode="auto">
          <a:xfrm>
            <a:off x="1790723" y="1700213"/>
            <a:ext cx="367982" cy="367982"/>
            <a:chOff x="3660" y="2329"/>
            <a:chExt cx="340" cy="340"/>
          </a:xfrm>
          <a:solidFill>
            <a:schemeClr val="accent5"/>
          </a:solidFill>
        </p:grpSpPr>
        <p:sp>
          <p:nvSpPr>
            <p:cNvPr id="118" name="Freeform 403">
              <a:extLst>
                <a:ext uri="{FF2B5EF4-FFF2-40B4-BE49-F238E27FC236}">
                  <a16:creationId xmlns:a16="http://schemas.microsoft.com/office/drawing/2014/main" id="{70AC4B5E-B6D2-45EB-AA6F-47A322D0BF6B}"/>
                </a:ext>
              </a:extLst>
            </p:cNvPr>
            <p:cNvSpPr>
              <a:spLocks noEditPoints="1"/>
            </p:cNvSpPr>
            <p:nvPr/>
          </p:nvSpPr>
          <p:spPr bwMode="auto">
            <a:xfrm>
              <a:off x="3724" y="2442"/>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9" name="Freeform 404">
              <a:extLst>
                <a:ext uri="{FF2B5EF4-FFF2-40B4-BE49-F238E27FC236}">
                  <a16:creationId xmlns:a16="http://schemas.microsoft.com/office/drawing/2014/main" id="{5BA676AB-3CAD-4E45-BB87-E323296D6A0B}"/>
                </a:ext>
              </a:extLst>
            </p:cNvPr>
            <p:cNvSpPr>
              <a:spLocks noEditPoints="1"/>
            </p:cNvSpPr>
            <p:nvPr/>
          </p:nvSpPr>
          <p:spPr bwMode="auto">
            <a:xfrm>
              <a:off x="3660" y="23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0" name="Freeform 408">
            <a:extLst>
              <a:ext uri="{FF2B5EF4-FFF2-40B4-BE49-F238E27FC236}">
                <a16:creationId xmlns:a16="http://schemas.microsoft.com/office/drawing/2014/main" id="{45EF2EAE-3D70-4B49-95C0-5F257CFB096D}"/>
              </a:ext>
            </a:extLst>
          </p:cNvPr>
          <p:cNvSpPr>
            <a:spLocks noChangeAspect="1" noEditPoints="1"/>
          </p:cNvSpPr>
          <p:nvPr/>
        </p:nvSpPr>
        <p:spPr bwMode="auto">
          <a:xfrm>
            <a:off x="2224829" y="1700213"/>
            <a:ext cx="367982" cy="369064"/>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181 w 512"/>
              <a:gd name="T11" fmla="*/ 224 h 512"/>
              <a:gd name="T12" fmla="*/ 192 w 512"/>
              <a:gd name="T13" fmla="*/ 213 h 512"/>
              <a:gd name="T14" fmla="*/ 202 w 512"/>
              <a:gd name="T15" fmla="*/ 224 h 512"/>
              <a:gd name="T16" fmla="*/ 202 w 512"/>
              <a:gd name="T17" fmla="*/ 288 h 512"/>
              <a:gd name="T18" fmla="*/ 192 w 512"/>
              <a:gd name="T19" fmla="*/ 298 h 512"/>
              <a:gd name="T20" fmla="*/ 181 w 512"/>
              <a:gd name="T21" fmla="*/ 288 h 512"/>
              <a:gd name="T22" fmla="*/ 181 w 512"/>
              <a:gd name="T23" fmla="*/ 224 h 512"/>
              <a:gd name="T24" fmla="*/ 138 w 512"/>
              <a:gd name="T25" fmla="*/ 224 h 512"/>
              <a:gd name="T26" fmla="*/ 149 w 512"/>
              <a:gd name="T27" fmla="*/ 213 h 512"/>
              <a:gd name="T28" fmla="*/ 160 w 512"/>
              <a:gd name="T29" fmla="*/ 224 h 512"/>
              <a:gd name="T30" fmla="*/ 160 w 512"/>
              <a:gd name="T31" fmla="*/ 288 h 512"/>
              <a:gd name="T32" fmla="*/ 149 w 512"/>
              <a:gd name="T33" fmla="*/ 298 h 512"/>
              <a:gd name="T34" fmla="*/ 138 w 512"/>
              <a:gd name="T35" fmla="*/ 288 h 512"/>
              <a:gd name="T36" fmla="*/ 138 w 512"/>
              <a:gd name="T37" fmla="*/ 224 h 512"/>
              <a:gd name="T38" fmla="*/ 373 w 512"/>
              <a:gd name="T39" fmla="*/ 234 h 512"/>
              <a:gd name="T40" fmla="*/ 394 w 512"/>
              <a:gd name="T41" fmla="*/ 234 h 512"/>
              <a:gd name="T42" fmla="*/ 394 w 512"/>
              <a:gd name="T43" fmla="*/ 277 h 512"/>
              <a:gd name="T44" fmla="*/ 373 w 512"/>
              <a:gd name="T45" fmla="*/ 277 h 512"/>
              <a:gd name="T46" fmla="*/ 373 w 512"/>
              <a:gd name="T47" fmla="*/ 234 h 512"/>
              <a:gd name="T48" fmla="*/ 256 w 512"/>
              <a:gd name="T49" fmla="*/ 0 h 512"/>
              <a:gd name="T50" fmla="*/ 0 w 512"/>
              <a:gd name="T51" fmla="*/ 256 h 512"/>
              <a:gd name="T52" fmla="*/ 256 w 512"/>
              <a:gd name="T53" fmla="*/ 512 h 512"/>
              <a:gd name="T54" fmla="*/ 512 w 512"/>
              <a:gd name="T55" fmla="*/ 256 h 512"/>
              <a:gd name="T56" fmla="*/ 256 w 512"/>
              <a:gd name="T57" fmla="*/ 0 h 512"/>
              <a:gd name="T58" fmla="*/ 416 w 512"/>
              <a:gd name="T59" fmla="*/ 288 h 512"/>
              <a:gd name="T60" fmla="*/ 405 w 512"/>
              <a:gd name="T61" fmla="*/ 298 h 512"/>
              <a:gd name="T62" fmla="*/ 373 w 512"/>
              <a:gd name="T63" fmla="*/ 298 h 512"/>
              <a:gd name="T64" fmla="*/ 373 w 512"/>
              <a:gd name="T65" fmla="*/ 330 h 512"/>
              <a:gd name="T66" fmla="*/ 362 w 512"/>
              <a:gd name="T67" fmla="*/ 341 h 512"/>
              <a:gd name="T68" fmla="*/ 106 w 512"/>
              <a:gd name="T69" fmla="*/ 341 h 512"/>
              <a:gd name="T70" fmla="*/ 96 w 512"/>
              <a:gd name="T71" fmla="*/ 330 h 512"/>
              <a:gd name="T72" fmla="*/ 96 w 512"/>
              <a:gd name="T73" fmla="*/ 181 h 512"/>
              <a:gd name="T74" fmla="*/ 106 w 512"/>
              <a:gd name="T75" fmla="*/ 170 h 512"/>
              <a:gd name="T76" fmla="*/ 362 w 512"/>
              <a:gd name="T77" fmla="*/ 170 h 512"/>
              <a:gd name="T78" fmla="*/ 373 w 512"/>
              <a:gd name="T79" fmla="*/ 181 h 512"/>
              <a:gd name="T80" fmla="*/ 373 w 512"/>
              <a:gd name="T81" fmla="*/ 213 h 512"/>
              <a:gd name="T82" fmla="*/ 405 w 512"/>
              <a:gd name="T83" fmla="*/ 213 h 512"/>
              <a:gd name="T84" fmla="*/ 416 w 512"/>
              <a:gd name="T85" fmla="*/ 224 h 512"/>
              <a:gd name="T86" fmla="*/ 416 w 512"/>
              <a:gd name="T87"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1" name="Group 411">
            <a:extLst>
              <a:ext uri="{FF2B5EF4-FFF2-40B4-BE49-F238E27FC236}">
                <a16:creationId xmlns:a16="http://schemas.microsoft.com/office/drawing/2014/main" id="{95D95805-CD59-4C0A-AC95-58C92B899A3E}"/>
              </a:ext>
            </a:extLst>
          </p:cNvPr>
          <p:cNvGrpSpPr>
            <a:grpSpLocks noChangeAspect="1"/>
          </p:cNvGrpSpPr>
          <p:nvPr/>
        </p:nvGrpSpPr>
        <p:grpSpPr bwMode="auto">
          <a:xfrm>
            <a:off x="2658935" y="1700213"/>
            <a:ext cx="367982" cy="367982"/>
            <a:chOff x="2889" y="2025"/>
            <a:chExt cx="340" cy="340"/>
          </a:xfrm>
          <a:solidFill>
            <a:schemeClr val="accent5"/>
          </a:solidFill>
        </p:grpSpPr>
        <p:sp>
          <p:nvSpPr>
            <p:cNvPr id="122" name="Freeform 412">
              <a:extLst>
                <a:ext uri="{FF2B5EF4-FFF2-40B4-BE49-F238E27FC236}">
                  <a16:creationId xmlns:a16="http://schemas.microsoft.com/office/drawing/2014/main" id="{3D15CD4A-8450-49C3-B30F-CCA901A85C6B}"/>
                </a:ext>
              </a:extLst>
            </p:cNvPr>
            <p:cNvSpPr>
              <a:spLocks noEditPoints="1"/>
            </p:cNvSpPr>
            <p:nvPr/>
          </p:nvSpPr>
          <p:spPr bwMode="auto">
            <a:xfrm>
              <a:off x="2953" y="2138"/>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3" name="Freeform 413">
              <a:extLst>
                <a:ext uri="{FF2B5EF4-FFF2-40B4-BE49-F238E27FC236}">
                  <a16:creationId xmlns:a16="http://schemas.microsoft.com/office/drawing/2014/main" id="{F0794CB8-1FC3-46FB-9EFA-1E2EEC2310EE}"/>
                </a:ext>
              </a:extLst>
            </p:cNvPr>
            <p:cNvSpPr>
              <a:spLocks noEditPoints="1"/>
            </p:cNvSpPr>
            <p:nvPr/>
          </p:nvSpPr>
          <p:spPr bwMode="auto">
            <a:xfrm>
              <a:off x="2889" y="202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4" name="Freeform 417">
            <a:extLst>
              <a:ext uri="{FF2B5EF4-FFF2-40B4-BE49-F238E27FC236}">
                <a16:creationId xmlns:a16="http://schemas.microsoft.com/office/drawing/2014/main" id="{8C2147B8-1D3B-4722-8486-0A51E019158A}"/>
              </a:ext>
            </a:extLst>
          </p:cNvPr>
          <p:cNvSpPr>
            <a:spLocks noChangeAspect="1" noEditPoints="1"/>
          </p:cNvSpPr>
          <p:nvPr/>
        </p:nvSpPr>
        <p:spPr bwMode="auto">
          <a:xfrm>
            <a:off x="3093041" y="1700213"/>
            <a:ext cx="367982" cy="367982"/>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24 w 512"/>
              <a:gd name="T11" fmla="*/ 224 h 512"/>
              <a:gd name="T12" fmla="*/ 234 w 512"/>
              <a:gd name="T13" fmla="*/ 213 h 512"/>
              <a:gd name="T14" fmla="*/ 245 w 512"/>
              <a:gd name="T15" fmla="*/ 224 h 512"/>
              <a:gd name="T16" fmla="*/ 245 w 512"/>
              <a:gd name="T17" fmla="*/ 288 h 512"/>
              <a:gd name="T18" fmla="*/ 234 w 512"/>
              <a:gd name="T19" fmla="*/ 298 h 512"/>
              <a:gd name="T20" fmla="*/ 224 w 512"/>
              <a:gd name="T21" fmla="*/ 288 h 512"/>
              <a:gd name="T22" fmla="*/ 224 w 512"/>
              <a:gd name="T23" fmla="*/ 224 h 512"/>
              <a:gd name="T24" fmla="*/ 181 w 512"/>
              <a:gd name="T25" fmla="*/ 224 h 512"/>
              <a:gd name="T26" fmla="*/ 192 w 512"/>
              <a:gd name="T27" fmla="*/ 213 h 512"/>
              <a:gd name="T28" fmla="*/ 202 w 512"/>
              <a:gd name="T29" fmla="*/ 224 h 512"/>
              <a:gd name="T30" fmla="*/ 202 w 512"/>
              <a:gd name="T31" fmla="*/ 288 h 512"/>
              <a:gd name="T32" fmla="*/ 192 w 512"/>
              <a:gd name="T33" fmla="*/ 298 h 512"/>
              <a:gd name="T34" fmla="*/ 181 w 512"/>
              <a:gd name="T35" fmla="*/ 288 h 512"/>
              <a:gd name="T36" fmla="*/ 181 w 512"/>
              <a:gd name="T37" fmla="*/ 224 h 512"/>
              <a:gd name="T38" fmla="*/ 138 w 512"/>
              <a:gd name="T39" fmla="*/ 224 h 512"/>
              <a:gd name="T40" fmla="*/ 149 w 512"/>
              <a:gd name="T41" fmla="*/ 213 h 512"/>
              <a:gd name="T42" fmla="*/ 160 w 512"/>
              <a:gd name="T43" fmla="*/ 224 h 512"/>
              <a:gd name="T44" fmla="*/ 160 w 512"/>
              <a:gd name="T45" fmla="*/ 288 h 512"/>
              <a:gd name="T46" fmla="*/ 149 w 512"/>
              <a:gd name="T47" fmla="*/ 298 h 512"/>
              <a:gd name="T48" fmla="*/ 138 w 512"/>
              <a:gd name="T49" fmla="*/ 288 h 512"/>
              <a:gd name="T50" fmla="*/ 138 w 512"/>
              <a:gd name="T51" fmla="*/ 224 h 512"/>
              <a:gd name="T52" fmla="*/ 256 w 512"/>
              <a:gd name="T53" fmla="*/ 0 h 512"/>
              <a:gd name="T54" fmla="*/ 0 w 512"/>
              <a:gd name="T55" fmla="*/ 256 h 512"/>
              <a:gd name="T56" fmla="*/ 256 w 512"/>
              <a:gd name="T57" fmla="*/ 512 h 512"/>
              <a:gd name="T58" fmla="*/ 512 w 512"/>
              <a:gd name="T59" fmla="*/ 256 h 512"/>
              <a:gd name="T60" fmla="*/ 256 w 512"/>
              <a:gd name="T61" fmla="*/ 0 h 512"/>
              <a:gd name="T62" fmla="*/ 416 w 512"/>
              <a:gd name="T63" fmla="*/ 288 h 512"/>
              <a:gd name="T64" fmla="*/ 405 w 512"/>
              <a:gd name="T65" fmla="*/ 298 h 512"/>
              <a:gd name="T66" fmla="*/ 373 w 512"/>
              <a:gd name="T67" fmla="*/ 298 h 512"/>
              <a:gd name="T68" fmla="*/ 373 w 512"/>
              <a:gd name="T69" fmla="*/ 330 h 512"/>
              <a:gd name="T70" fmla="*/ 362 w 512"/>
              <a:gd name="T71" fmla="*/ 341 h 512"/>
              <a:gd name="T72" fmla="*/ 106 w 512"/>
              <a:gd name="T73" fmla="*/ 341 h 512"/>
              <a:gd name="T74" fmla="*/ 96 w 512"/>
              <a:gd name="T75" fmla="*/ 330 h 512"/>
              <a:gd name="T76" fmla="*/ 96 w 512"/>
              <a:gd name="T77" fmla="*/ 181 h 512"/>
              <a:gd name="T78" fmla="*/ 106 w 512"/>
              <a:gd name="T79" fmla="*/ 170 h 512"/>
              <a:gd name="T80" fmla="*/ 362 w 512"/>
              <a:gd name="T81" fmla="*/ 170 h 512"/>
              <a:gd name="T82" fmla="*/ 373 w 512"/>
              <a:gd name="T83" fmla="*/ 181 h 512"/>
              <a:gd name="T84" fmla="*/ 373 w 512"/>
              <a:gd name="T85" fmla="*/ 213 h 512"/>
              <a:gd name="T86" fmla="*/ 405 w 512"/>
              <a:gd name="T87" fmla="*/ 213 h 512"/>
              <a:gd name="T88" fmla="*/ 416 w 512"/>
              <a:gd name="T89" fmla="*/ 224 h 512"/>
              <a:gd name="T90" fmla="*/ 416 w 512"/>
              <a:gd name="T91" fmla="*/ 288 h 512"/>
              <a:gd name="T92" fmla="*/ 373 w 512"/>
              <a:gd name="T93" fmla="*/ 234 h 512"/>
              <a:gd name="T94" fmla="*/ 394 w 512"/>
              <a:gd name="T95" fmla="*/ 234 h 512"/>
              <a:gd name="T96" fmla="*/ 394 w 512"/>
              <a:gd name="T97" fmla="*/ 277 h 512"/>
              <a:gd name="T98" fmla="*/ 373 w 512"/>
              <a:gd name="T99" fmla="*/ 277 h 512"/>
              <a:gd name="T100" fmla="*/ 373 w 512"/>
              <a:gd name="T10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moveTo>
                  <a:pt x="373" y="234"/>
                </a:moveTo>
                <a:cubicBezTo>
                  <a:pt x="394" y="234"/>
                  <a:pt x="394" y="234"/>
                  <a:pt x="394" y="234"/>
                </a:cubicBezTo>
                <a:cubicBezTo>
                  <a:pt x="394" y="277"/>
                  <a:pt x="394" y="277"/>
                  <a:pt x="394" y="277"/>
                </a:cubicBezTo>
                <a:cubicBezTo>
                  <a:pt x="373" y="277"/>
                  <a:pt x="373" y="277"/>
                  <a:pt x="373" y="277"/>
                </a:cubicBezTo>
                <a:lnTo>
                  <a:pt x="373" y="23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5" name="Group 420">
            <a:extLst>
              <a:ext uri="{FF2B5EF4-FFF2-40B4-BE49-F238E27FC236}">
                <a16:creationId xmlns:a16="http://schemas.microsoft.com/office/drawing/2014/main" id="{8842D15B-A8BB-475B-9F6D-2A71C257382C}"/>
              </a:ext>
            </a:extLst>
          </p:cNvPr>
          <p:cNvGrpSpPr>
            <a:grpSpLocks noChangeAspect="1"/>
          </p:cNvGrpSpPr>
          <p:nvPr/>
        </p:nvGrpSpPr>
        <p:grpSpPr bwMode="auto">
          <a:xfrm>
            <a:off x="3527147" y="1700213"/>
            <a:ext cx="369064" cy="367982"/>
            <a:chOff x="3059" y="1907"/>
            <a:chExt cx="341" cy="340"/>
          </a:xfrm>
          <a:solidFill>
            <a:schemeClr val="accent5"/>
          </a:solidFill>
        </p:grpSpPr>
        <p:sp>
          <p:nvSpPr>
            <p:cNvPr id="126" name="Freeform 421">
              <a:extLst>
                <a:ext uri="{FF2B5EF4-FFF2-40B4-BE49-F238E27FC236}">
                  <a16:creationId xmlns:a16="http://schemas.microsoft.com/office/drawing/2014/main" id="{C4B14BA8-8248-4E5F-9776-10D956884572}"/>
                </a:ext>
              </a:extLst>
            </p:cNvPr>
            <p:cNvSpPr>
              <a:spLocks noEditPoints="1"/>
            </p:cNvSpPr>
            <p:nvPr/>
          </p:nvSpPr>
          <p:spPr bwMode="auto">
            <a:xfrm>
              <a:off x="3123" y="2020"/>
              <a:ext cx="213"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 name="T78" fmla="*/ 128 w 320"/>
                <a:gd name="T79" fmla="*/ 118 h 171"/>
                <a:gd name="T80" fmla="*/ 128 w 320"/>
                <a:gd name="T81" fmla="*/ 54 h 171"/>
                <a:gd name="T82" fmla="*/ 138 w 320"/>
                <a:gd name="T83" fmla="*/ 43 h 171"/>
                <a:gd name="T84" fmla="*/ 149 w 320"/>
                <a:gd name="T85" fmla="*/ 54 h 171"/>
                <a:gd name="T86" fmla="*/ 149 w 320"/>
                <a:gd name="T87" fmla="*/ 118 h 171"/>
                <a:gd name="T88" fmla="*/ 138 w 320"/>
                <a:gd name="T89" fmla="*/ 128 h 171"/>
                <a:gd name="T90" fmla="*/ 128 w 320"/>
                <a:gd name="T91"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moveTo>
                    <a:pt x="128" y="118"/>
                  </a:moveTo>
                  <a:cubicBezTo>
                    <a:pt x="128" y="54"/>
                    <a:pt x="128" y="54"/>
                    <a:pt x="128" y="54"/>
                  </a:cubicBezTo>
                  <a:cubicBezTo>
                    <a:pt x="128" y="48"/>
                    <a:pt x="132" y="43"/>
                    <a:pt x="138" y="43"/>
                  </a:cubicBezTo>
                  <a:cubicBezTo>
                    <a:pt x="144" y="43"/>
                    <a:pt x="149" y="48"/>
                    <a:pt x="149" y="54"/>
                  </a:cubicBezTo>
                  <a:cubicBezTo>
                    <a:pt x="149" y="118"/>
                    <a:pt x="149" y="118"/>
                    <a:pt x="149" y="118"/>
                  </a:cubicBezTo>
                  <a:cubicBezTo>
                    <a:pt x="149" y="124"/>
                    <a:pt x="144" y="128"/>
                    <a:pt x="138" y="128"/>
                  </a:cubicBezTo>
                  <a:cubicBezTo>
                    <a:pt x="132" y="128"/>
                    <a:pt x="128" y="124"/>
                    <a:pt x="128"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7" name="Freeform 422">
              <a:extLst>
                <a:ext uri="{FF2B5EF4-FFF2-40B4-BE49-F238E27FC236}">
                  <a16:creationId xmlns:a16="http://schemas.microsoft.com/office/drawing/2014/main" id="{D9F2E480-D994-497D-AE22-84B428CA95E1}"/>
                </a:ext>
              </a:extLst>
            </p:cNvPr>
            <p:cNvSpPr>
              <a:spLocks noEditPoints="1"/>
            </p:cNvSpPr>
            <p:nvPr/>
          </p:nvSpPr>
          <p:spPr bwMode="auto">
            <a:xfrm>
              <a:off x="3059" y="190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8" name="Freeform 426">
            <a:extLst>
              <a:ext uri="{FF2B5EF4-FFF2-40B4-BE49-F238E27FC236}">
                <a16:creationId xmlns:a16="http://schemas.microsoft.com/office/drawing/2014/main" id="{012A04DD-EBEB-4D57-AE74-7B448DBF9D6E}"/>
              </a:ext>
            </a:extLst>
          </p:cNvPr>
          <p:cNvSpPr>
            <a:spLocks noChangeAspect="1" noEditPoints="1"/>
          </p:cNvSpPr>
          <p:nvPr/>
        </p:nvSpPr>
        <p:spPr bwMode="auto">
          <a:xfrm>
            <a:off x="3962335" y="1700213"/>
            <a:ext cx="367982" cy="367982"/>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66 w 512"/>
              <a:gd name="T11" fmla="*/ 224 h 512"/>
              <a:gd name="T12" fmla="*/ 277 w 512"/>
              <a:gd name="T13" fmla="*/ 213 h 512"/>
              <a:gd name="T14" fmla="*/ 288 w 512"/>
              <a:gd name="T15" fmla="*/ 224 h 512"/>
              <a:gd name="T16" fmla="*/ 288 w 512"/>
              <a:gd name="T17" fmla="*/ 288 h 512"/>
              <a:gd name="T18" fmla="*/ 277 w 512"/>
              <a:gd name="T19" fmla="*/ 298 h 512"/>
              <a:gd name="T20" fmla="*/ 266 w 512"/>
              <a:gd name="T21" fmla="*/ 288 h 512"/>
              <a:gd name="T22" fmla="*/ 266 w 512"/>
              <a:gd name="T23" fmla="*/ 224 h 512"/>
              <a:gd name="T24" fmla="*/ 224 w 512"/>
              <a:gd name="T25" fmla="*/ 224 h 512"/>
              <a:gd name="T26" fmla="*/ 234 w 512"/>
              <a:gd name="T27" fmla="*/ 213 h 512"/>
              <a:gd name="T28" fmla="*/ 245 w 512"/>
              <a:gd name="T29" fmla="*/ 224 h 512"/>
              <a:gd name="T30" fmla="*/ 245 w 512"/>
              <a:gd name="T31" fmla="*/ 288 h 512"/>
              <a:gd name="T32" fmla="*/ 234 w 512"/>
              <a:gd name="T33" fmla="*/ 298 h 512"/>
              <a:gd name="T34" fmla="*/ 224 w 512"/>
              <a:gd name="T35" fmla="*/ 288 h 512"/>
              <a:gd name="T36" fmla="*/ 224 w 512"/>
              <a:gd name="T37" fmla="*/ 224 h 512"/>
              <a:gd name="T38" fmla="*/ 181 w 512"/>
              <a:gd name="T39" fmla="*/ 224 h 512"/>
              <a:gd name="T40" fmla="*/ 192 w 512"/>
              <a:gd name="T41" fmla="*/ 213 h 512"/>
              <a:gd name="T42" fmla="*/ 202 w 512"/>
              <a:gd name="T43" fmla="*/ 224 h 512"/>
              <a:gd name="T44" fmla="*/ 202 w 512"/>
              <a:gd name="T45" fmla="*/ 288 h 512"/>
              <a:gd name="T46" fmla="*/ 192 w 512"/>
              <a:gd name="T47" fmla="*/ 298 h 512"/>
              <a:gd name="T48" fmla="*/ 181 w 512"/>
              <a:gd name="T49" fmla="*/ 288 h 512"/>
              <a:gd name="T50" fmla="*/ 181 w 512"/>
              <a:gd name="T51" fmla="*/ 224 h 512"/>
              <a:gd name="T52" fmla="*/ 138 w 512"/>
              <a:gd name="T53" fmla="*/ 224 h 512"/>
              <a:gd name="T54" fmla="*/ 149 w 512"/>
              <a:gd name="T55" fmla="*/ 213 h 512"/>
              <a:gd name="T56" fmla="*/ 160 w 512"/>
              <a:gd name="T57" fmla="*/ 224 h 512"/>
              <a:gd name="T58" fmla="*/ 160 w 512"/>
              <a:gd name="T59" fmla="*/ 288 h 512"/>
              <a:gd name="T60" fmla="*/ 149 w 512"/>
              <a:gd name="T61" fmla="*/ 298 h 512"/>
              <a:gd name="T62" fmla="*/ 138 w 512"/>
              <a:gd name="T63" fmla="*/ 288 h 512"/>
              <a:gd name="T64" fmla="*/ 138 w 512"/>
              <a:gd name="T65" fmla="*/ 224 h 512"/>
              <a:gd name="T66" fmla="*/ 373 w 512"/>
              <a:gd name="T67" fmla="*/ 234 h 512"/>
              <a:gd name="T68" fmla="*/ 394 w 512"/>
              <a:gd name="T69" fmla="*/ 234 h 512"/>
              <a:gd name="T70" fmla="*/ 394 w 512"/>
              <a:gd name="T71" fmla="*/ 277 h 512"/>
              <a:gd name="T72" fmla="*/ 373 w 512"/>
              <a:gd name="T73" fmla="*/ 277 h 512"/>
              <a:gd name="T74" fmla="*/ 373 w 512"/>
              <a:gd name="T75" fmla="*/ 234 h 512"/>
              <a:gd name="T76" fmla="*/ 256 w 512"/>
              <a:gd name="T77" fmla="*/ 0 h 512"/>
              <a:gd name="T78" fmla="*/ 0 w 512"/>
              <a:gd name="T79" fmla="*/ 256 h 512"/>
              <a:gd name="T80" fmla="*/ 256 w 512"/>
              <a:gd name="T81" fmla="*/ 512 h 512"/>
              <a:gd name="T82" fmla="*/ 512 w 512"/>
              <a:gd name="T83" fmla="*/ 256 h 512"/>
              <a:gd name="T84" fmla="*/ 256 w 512"/>
              <a:gd name="T85" fmla="*/ 0 h 512"/>
              <a:gd name="T86" fmla="*/ 416 w 512"/>
              <a:gd name="T87" fmla="*/ 288 h 512"/>
              <a:gd name="T88" fmla="*/ 405 w 512"/>
              <a:gd name="T89" fmla="*/ 298 h 512"/>
              <a:gd name="T90" fmla="*/ 373 w 512"/>
              <a:gd name="T91" fmla="*/ 298 h 512"/>
              <a:gd name="T92" fmla="*/ 373 w 512"/>
              <a:gd name="T93" fmla="*/ 330 h 512"/>
              <a:gd name="T94" fmla="*/ 362 w 512"/>
              <a:gd name="T95" fmla="*/ 341 h 512"/>
              <a:gd name="T96" fmla="*/ 106 w 512"/>
              <a:gd name="T97" fmla="*/ 341 h 512"/>
              <a:gd name="T98" fmla="*/ 96 w 512"/>
              <a:gd name="T99" fmla="*/ 330 h 512"/>
              <a:gd name="T100" fmla="*/ 96 w 512"/>
              <a:gd name="T101" fmla="*/ 181 h 512"/>
              <a:gd name="T102" fmla="*/ 106 w 512"/>
              <a:gd name="T103" fmla="*/ 170 h 512"/>
              <a:gd name="T104" fmla="*/ 362 w 512"/>
              <a:gd name="T105" fmla="*/ 170 h 512"/>
              <a:gd name="T106" fmla="*/ 373 w 512"/>
              <a:gd name="T107" fmla="*/ 181 h 512"/>
              <a:gd name="T108" fmla="*/ 373 w 512"/>
              <a:gd name="T109" fmla="*/ 213 h 512"/>
              <a:gd name="T110" fmla="*/ 405 w 512"/>
              <a:gd name="T111" fmla="*/ 213 h 512"/>
              <a:gd name="T112" fmla="*/ 416 w 512"/>
              <a:gd name="T113" fmla="*/ 224 h 512"/>
              <a:gd name="T114" fmla="*/ 416 w 512"/>
              <a:gd name="T11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9" name="Group 128">
            <a:extLst>
              <a:ext uri="{FF2B5EF4-FFF2-40B4-BE49-F238E27FC236}">
                <a16:creationId xmlns:a16="http://schemas.microsoft.com/office/drawing/2014/main" id="{3510D30B-05CD-4504-896E-070002F10772}"/>
              </a:ext>
            </a:extLst>
          </p:cNvPr>
          <p:cNvGrpSpPr>
            <a:grpSpLocks noChangeAspect="1"/>
          </p:cNvGrpSpPr>
          <p:nvPr/>
        </p:nvGrpSpPr>
        <p:grpSpPr bwMode="auto">
          <a:xfrm>
            <a:off x="4396441" y="1700213"/>
            <a:ext cx="367982" cy="367982"/>
            <a:chOff x="3722" y="2177"/>
            <a:chExt cx="340" cy="340"/>
          </a:xfrm>
          <a:solidFill>
            <a:schemeClr val="accent5"/>
          </a:solidFill>
        </p:grpSpPr>
        <p:sp>
          <p:nvSpPr>
            <p:cNvPr id="130" name="Freeform 430">
              <a:extLst>
                <a:ext uri="{FF2B5EF4-FFF2-40B4-BE49-F238E27FC236}">
                  <a16:creationId xmlns:a16="http://schemas.microsoft.com/office/drawing/2014/main" id="{CF5B2CE3-F454-48E3-BED3-0F630DA2487C}"/>
                </a:ext>
              </a:extLst>
            </p:cNvPr>
            <p:cNvSpPr>
              <a:spLocks noEditPoints="1"/>
            </p:cNvSpPr>
            <p:nvPr/>
          </p:nvSpPr>
          <p:spPr bwMode="auto">
            <a:xfrm>
              <a:off x="3786" y="2290"/>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 name="T78" fmla="*/ 128 w 320"/>
                <a:gd name="T79" fmla="*/ 118 h 171"/>
                <a:gd name="T80" fmla="*/ 128 w 320"/>
                <a:gd name="T81" fmla="*/ 54 h 171"/>
                <a:gd name="T82" fmla="*/ 138 w 320"/>
                <a:gd name="T83" fmla="*/ 43 h 171"/>
                <a:gd name="T84" fmla="*/ 149 w 320"/>
                <a:gd name="T85" fmla="*/ 54 h 171"/>
                <a:gd name="T86" fmla="*/ 149 w 320"/>
                <a:gd name="T87" fmla="*/ 118 h 171"/>
                <a:gd name="T88" fmla="*/ 138 w 320"/>
                <a:gd name="T89" fmla="*/ 128 h 171"/>
                <a:gd name="T90" fmla="*/ 128 w 320"/>
                <a:gd name="T91" fmla="*/ 118 h 171"/>
                <a:gd name="T92" fmla="*/ 170 w 320"/>
                <a:gd name="T93" fmla="*/ 118 h 171"/>
                <a:gd name="T94" fmla="*/ 170 w 320"/>
                <a:gd name="T95" fmla="*/ 54 h 171"/>
                <a:gd name="T96" fmla="*/ 181 w 320"/>
                <a:gd name="T97" fmla="*/ 43 h 171"/>
                <a:gd name="T98" fmla="*/ 192 w 320"/>
                <a:gd name="T99" fmla="*/ 54 h 171"/>
                <a:gd name="T100" fmla="*/ 192 w 320"/>
                <a:gd name="T101" fmla="*/ 118 h 171"/>
                <a:gd name="T102" fmla="*/ 181 w 320"/>
                <a:gd name="T103" fmla="*/ 128 h 171"/>
                <a:gd name="T104" fmla="*/ 170 w 320"/>
                <a:gd name="T105"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moveTo>
                    <a:pt x="128" y="118"/>
                  </a:moveTo>
                  <a:cubicBezTo>
                    <a:pt x="128" y="54"/>
                    <a:pt x="128" y="54"/>
                    <a:pt x="128" y="54"/>
                  </a:cubicBezTo>
                  <a:cubicBezTo>
                    <a:pt x="128" y="48"/>
                    <a:pt x="132" y="43"/>
                    <a:pt x="138" y="43"/>
                  </a:cubicBezTo>
                  <a:cubicBezTo>
                    <a:pt x="144" y="43"/>
                    <a:pt x="149" y="48"/>
                    <a:pt x="149" y="54"/>
                  </a:cubicBezTo>
                  <a:cubicBezTo>
                    <a:pt x="149" y="118"/>
                    <a:pt x="149" y="118"/>
                    <a:pt x="149" y="118"/>
                  </a:cubicBezTo>
                  <a:cubicBezTo>
                    <a:pt x="149" y="124"/>
                    <a:pt x="144" y="128"/>
                    <a:pt x="138" y="128"/>
                  </a:cubicBezTo>
                  <a:cubicBezTo>
                    <a:pt x="132" y="128"/>
                    <a:pt x="128" y="124"/>
                    <a:pt x="128" y="118"/>
                  </a:cubicBezTo>
                  <a:close/>
                  <a:moveTo>
                    <a:pt x="170" y="118"/>
                  </a:moveTo>
                  <a:cubicBezTo>
                    <a:pt x="170" y="54"/>
                    <a:pt x="170" y="54"/>
                    <a:pt x="170" y="54"/>
                  </a:cubicBezTo>
                  <a:cubicBezTo>
                    <a:pt x="170" y="48"/>
                    <a:pt x="175" y="43"/>
                    <a:pt x="181" y="43"/>
                  </a:cubicBezTo>
                  <a:cubicBezTo>
                    <a:pt x="187" y="43"/>
                    <a:pt x="192" y="48"/>
                    <a:pt x="192" y="54"/>
                  </a:cubicBezTo>
                  <a:cubicBezTo>
                    <a:pt x="192" y="118"/>
                    <a:pt x="192" y="118"/>
                    <a:pt x="192" y="118"/>
                  </a:cubicBezTo>
                  <a:cubicBezTo>
                    <a:pt x="192" y="124"/>
                    <a:pt x="187" y="128"/>
                    <a:pt x="181" y="128"/>
                  </a:cubicBezTo>
                  <a:cubicBezTo>
                    <a:pt x="175" y="128"/>
                    <a:pt x="170" y="124"/>
                    <a:pt x="170"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1" name="Freeform 431">
              <a:extLst>
                <a:ext uri="{FF2B5EF4-FFF2-40B4-BE49-F238E27FC236}">
                  <a16:creationId xmlns:a16="http://schemas.microsoft.com/office/drawing/2014/main" id="{AC838037-6E04-40D2-8037-E06661E47B05}"/>
                </a:ext>
              </a:extLst>
            </p:cNvPr>
            <p:cNvSpPr>
              <a:spLocks noEditPoints="1"/>
            </p:cNvSpPr>
            <p:nvPr/>
          </p:nvSpPr>
          <p:spPr bwMode="auto">
            <a:xfrm>
              <a:off x="3722" y="2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2" name="Freeform 275">
            <a:extLst>
              <a:ext uri="{FF2B5EF4-FFF2-40B4-BE49-F238E27FC236}">
                <a16:creationId xmlns:a16="http://schemas.microsoft.com/office/drawing/2014/main" id="{29CB311A-F244-4D42-A337-880FA8EF6F93}"/>
              </a:ext>
            </a:extLst>
          </p:cNvPr>
          <p:cNvSpPr>
            <a:spLocks noChangeAspect="1" noEditPoints="1"/>
          </p:cNvSpPr>
          <p:nvPr/>
        </p:nvSpPr>
        <p:spPr bwMode="auto">
          <a:xfrm>
            <a:off x="4830547" y="1700213"/>
            <a:ext cx="367982" cy="367982"/>
          </a:xfrm>
          <a:custGeom>
            <a:avLst/>
            <a:gdLst>
              <a:gd name="T0" fmla="*/ 352 w 512"/>
              <a:gd name="T1" fmla="*/ 320 h 512"/>
              <a:gd name="T2" fmla="*/ 117 w 512"/>
              <a:gd name="T3" fmla="*/ 192 h 512"/>
              <a:gd name="T4" fmla="*/ 309 w 512"/>
              <a:gd name="T5" fmla="*/ 224 h 512"/>
              <a:gd name="T6" fmla="*/ 330 w 512"/>
              <a:gd name="T7" fmla="*/ 224 h 512"/>
              <a:gd name="T8" fmla="*/ 320 w 512"/>
              <a:gd name="T9" fmla="*/ 298 h 512"/>
              <a:gd name="T10" fmla="*/ 309 w 512"/>
              <a:gd name="T11" fmla="*/ 224 h 512"/>
              <a:gd name="T12" fmla="*/ 277 w 512"/>
              <a:gd name="T13" fmla="*/ 213 h 512"/>
              <a:gd name="T14" fmla="*/ 288 w 512"/>
              <a:gd name="T15" fmla="*/ 288 h 512"/>
              <a:gd name="T16" fmla="*/ 266 w 512"/>
              <a:gd name="T17" fmla="*/ 288 h 512"/>
              <a:gd name="T18" fmla="*/ 224 w 512"/>
              <a:gd name="T19" fmla="*/ 224 h 512"/>
              <a:gd name="T20" fmla="*/ 245 w 512"/>
              <a:gd name="T21" fmla="*/ 224 h 512"/>
              <a:gd name="T22" fmla="*/ 234 w 512"/>
              <a:gd name="T23" fmla="*/ 298 h 512"/>
              <a:gd name="T24" fmla="*/ 224 w 512"/>
              <a:gd name="T25" fmla="*/ 224 h 512"/>
              <a:gd name="T26" fmla="*/ 192 w 512"/>
              <a:gd name="T27" fmla="*/ 213 h 512"/>
              <a:gd name="T28" fmla="*/ 202 w 512"/>
              <a:gd name="T29" fmla="*/ 288 h 512"/>
              <a:gd name="T30" fmla="*/ 181 w 512"/>
              <a:gd name="T31" fmla="*/ 288 h 512"/>
              <a:gd name="T32" fmla="*/ 138 w 512"/>
              <a:gd name="T33" fmla="*/ 224 h 512"/>
              <a:gd name="T34" fmla="*/ 160 w 512"/>
              <a:gd name="T35" fmla="*/ 224 h 512"/>
              <a:gd name="T36" fmla="*/ 149 w 512"/>
              <a:gd name="T37" fmla="*/ 298 h 512"/>
              <a:gd name="T38" fmla="*/ 138 w 512"/>
              <a:gd name="T39" fmla="*/ 224 h 512"/>
              <a:gd name="T40" fmla="*/ 394 w 512"/>
              <a:gd name="T41" fmla="*/ 234 h 512"/>
              <a:gd name="T42" fmla="*/ 373 w 512"/>
              <a:gd name="T43" fmla="*/ 277 h 512"/>
              <a:gd name="T44" fmla="*/ 256 w 512"/>
              <a:gd name="T45" fmla="*/ 0 h 512"/>
              <a:gd name="T46" fmla="*/ 256 w 512"/>
              <a:gd name="T47" fmla="*/ 512 h 512"/>
              <a:gd name="T48" fmla="*/ 256 w 512"/>
              <a:gd name="T49" fmla="*/ 0 h 512"/>
              <a:gd name="T50" fmla="*/ 405 w 512"/>
              <a:gd name="T51" fmla="*/ 298 h 512"/>
              <a:gd name="T52" fmla="*/ 373 w 512"/>
              <a:gd name="T53" fmla="*/ 330 h 512"/>
              <a:gd name="T54" fmla="*/ 106 w 512"/>
              <a:gd name="T55" fmla="*/ 341 h 512"/>
              <a:gd name="T56" fmla="*/ 96 w 512"/>
              <a:gd name="T57" fmla="*/ 181 h 512"/>
              <a:gd name="T58" fmla="*/ 362 w 512"/>
              <a:gd name="T59" fmla="*/ 170 h 512"/>
              <a:gd name="T60" fmla="*/ 373 w 512"/>
              <a:gd name="T61" fmla="*/ 213 h 512"/>
              <a:gd name="T62" fmla="*/ 416 w 512"/>
              <a:gd name="T6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309" y="224"/>
                </a:moveTo>
                <a:cubicBezTo>
                  <a:pt x="309" y="218"/>
                  <a:pt x="314" y="213"/>
                  <a:pt x="320" y="213"/>
                </a:cubicBezTo>
                <a:cubicBezTo>
                  <a:pt x="326" y="213"/>
                  <a:pt x="330" y="218"/>
                  <a:pt x="330" y="224"/>
                </a:cubicBezTo>
                <a:cubicBezTo>
                  <a:pt x="330" y="288"/>
                  <a:pt x="330" y="288"/>
                  <a:pt x="330" y="288"/>
                </a:cubicBezTo>
                <a:cubicBezTo>
                  <a:pt x="330" y="294"/>
                  <a:pt x="326" y="298"/>
                  <a:pt x="320" y="298"/>
                </a:cubicBezTo>
                <a:cubicBezTo>
                  <a:pt x="314" y="298"/>
                  <a:pt x="309" y="294"/>
                  <a:pt x="309" y="288"/>
                </a:cubicBezTo>
                <a:lnTo>
                  <a:pt x="309" y="224"/>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3" name="Group 438">
            <a:extLst>
              <a:ext uri="{FF2B5EF4-FFF2-40B4-BE49-F238E27FC236}">
                <a16:creationId xmlns:a16="http://schemas.microsoft.com/office/drawing/2014/main" id="{BA52E2CF-EA3E-4EB0-91CE-3C98598C303B}"/>
              </a:ext>
            </a:extLst>
          </p:cNvPr>
          <p:cNvGrpSpPr>
            <a:grpSpLocks noChangeAspect="1"/>
          </p:cNvGrpSpPr>
          <p:nvPr/>
        </p:nvGrpSpPr>
        <p:grpSpPr bwMode="auto">
          <a:xfrm>
            <a:off x="5264653" y="1700213"/>
            <a:ext cx="367982" cy="367982"/>
            <a:chOff x="4426" y="2603"/>
            <a:chExt cx="340" cy="340"/>
          </a:xfrm>
          <a:solidFill>
            <a:schemeClr val="accent5"/>
          </a:solidFill>
        </p:grpSpPr>
        <p:sp>
          <p:nvSpPr>
            <p:cNvPr id="134" name="Freeform 439">
              <a:extLst>
                <a:ext uri="{FF2B5EF4-FFF2-40B4-BE49-F238E27FC236}">
                  <a16:creationId xmlns:a16="http://schemas.microsoft.com/office/drawing/2014/main" id="{E924BDAA-80A8-4982-8630-D9033C4E86E2}"/>
                </a:ext>
              </a:extLst>
            </p:cNvPr>
            <p:cNvSpPr>
              <a:spLocks noEditPoints="1"/>
            </p:cNvSpPr>
            <p:nvPr/>
          </p:nvSpPr>
          <p:spPr bwMode="auto">
            <a:xfrm>
              <a:off x="4490" y="2716"/>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 name="T78" fmla="*/ 128 w 320"/>
                <a:gd name="T79" fmla="*/ 118 h 171"/>
                <a:gd name="T80" fmla="*/ 128 w 320"/>
                <a:gd name="T81" fmla="*/ 54 h 171"/>
                <a:gd name="T82" fmla="*/ 138 w 320"/>
                <a:gd name="T83" fmla="*/ 43 h 171"/>
                <a:gd name="T84" fmla="*/ 149 w 320"/>
                <a:gd name="T85" fmla="*/ 54 h 171"/>
                <a:gd name="T86" fmla="*/ 149 w 320"/>
                <a:gd name="T87" fmla="*/ 118 h 171"/>
                <a:gd name="T88" fmla="*/ 138 w 320"/>
                <a:gd name="T89" fmla="*/ 128 h 171"/>
                <a:gd name="T90" fmla="*/ 128 w 320"/>
                <a:gd name="T91" fmla="*/ 118 h 171"/>
                <a:gd name="T92" fmla="*/ 170 w 320"/>
                <a:gd name="T93" fmla="*/ 118 h 171"/>
                <a:gd name="T94" fmla="*/ 170 w 320"/>
                <a:gd name="T95" fmla="*/ 54 h 171"/>
                <a:gd name="T96" fmla="*/ 181 w 320"/>
                <a:gd name="T97" fmla="*/ 43 h 171"/>
                <a:gd name="T98" fmla="*/ 192 w 320"/>
                <a:gd name="T99" fmla="*/ 54 h 171"/>
                <a:gd name="T100" fmla="*/ 192 w 320"/>
                <a:gd name="T101" fmla="*/ 118 h 171"/>
                <a:gd name="T102" fmla="*/ 181 w 320"/>
                <a:gd name="T103" fmla="*/ 128 h 171"/>
                <a:gd name="T104" fmla="*/ 170 w 320"/>
                <a:gd name="T105" fmla="*/ 118 h 171"/>
                <a:gd name="T106" fmla="*/ 213 w 320"/>
                <a:gd name="T107" fmla="*/ 118 h 171"/>
                <a:gd name="T108" fmla="*/ 213 w 320"/>
                <a:gd name="T109" fmla="*/ 54 h 171"/>
                <a:gd name="T110" fmla="*/ 224 w 320"/>
                <a:gd name="T111" fmla="*/ 43 h 171"/>
                <a:gd name="T112" fmla="*/ 234 w 320"/>
                <a:gd name="T113" fmla="*/ 54 h 171"/>
                <a:gd name="T114" fmla="*/ 234 w 320"/>
                <a:gd name="T115" fmla="*/ 118 h 171"/>
                <a:gd name="T116" fmla="*/ 224 w 320"/>
                <a:gd name="T117" fmla="*/ 128 h 171"/>
                <a:gd name="T118" fmla="*/ 213 w 320"/>
                <a:gd name="T119"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moveTo>
                    <a:pt x="128" y="118"/>
                  </a:moveTo>
                  <a:cubicBezTo>
                    <a:pt x="128" y="54"/>
                    <a:pt x="128" y="54"/>
                    <a:pt x="128" y="54"/>
                  </a:cubicBezTo>
                  <a:cubicBezTo>
                    <a:pt x="128" y="48"/>
                    <a:pt x="132" y="43"/>
                    <a:pt x="138" y="43"/>
                  </a:cubicBezTo>
                  <a:cubicBezTo>
                    <a:pt x="144" y="43"/>
                    <a:pt x="149" y="48"/>
                    <a:pt x="149" y="54"/>
                  </a:cubicBezTo>
                  <a:cubicBezTo>
                    <a:pt x="149" y="118"/>
                    <a:pt x="149" y="118"/>
                    <a:pt x="149" y="118"/>
                  </a:cubicBezTo>
                  <a:cubicBezTo>
                    <a:pt x="149" y="124"/>
                    <a:pt x="144" y="128"/>
                    <a:pt x="138" y="128"/>
                  </a:cubicBezTo>
                  <a:cubicBezTo>
                    <a:pt x="132" y="128"/>
                    <a:pt x="128" y="124"/>
                    <a:pt x="128" y="118"/>
                  </a:cubicBezTo>
                  <a:close/>
                  <a:moveTo>
                    <a:pt x="170" y="118"/>
                  </a:moveTo>
                  <a:cubicBezTo>
                    <a:pt x="170" y="54"/>
                    <a:pt x="170" y="54"/>
                    <a:pt x="170" y="54"/>
                  </a:cubicBezTo>
                  <a:cubicBezTo>
                    <a:pt x="170" y="48"/>
                    <a:pt x="175" y="43"/>
                    <a:pt x="181" y="43"/>
                  </a:cubicBezTo>
                  <a:cubicBezTo>
                    <a:pt x="187" y="43"/>
                    <a:pt x="192" y="48"/>
                    <a:pt x="192" y="54"/>
                  </a:cubicBezTo>
                  <a:cubicBezTo>
                    <a:pt x="192" y="118"/>
                    <a:pt x="192" y="118"/>
                    <a:pt x="192" y="118"/>
                  </a:cubicBezTo>
                  <a:cubicBezTo>
                    <a:pt x="192" y="124"/>
                    <a:pt x="187" y="128"/>
                    <a:pt x="181" y="128"/>
                  </a:cubicBezTo>
                  <a:cubicBezTo>
                    <a:pt x="175" y="128"/>
                    <a:pt x="170" y="124"/>
                    <a:pt x="170" y="118"/>
                  </a:cubicBezTo>
                  <a:close/>
                  <a:moveTo>
                    <a:pt x="213" y="118"/>
                  </a:moveTo>
                  <a:cubicBezTo>
                    <a:pt x="213" y="54"/>
                    <a:pt x="213" y="54"/>
                    <a:pt x="213" y="54"/>
                  </a:cubicBezTo>
                  <a:cubicBezTo>
                    <a:pt x="213" y="48"/>
                    <a:pt x="218" y="43"/>
                    <a:pt x="224" y="43"/>
                  </a:cubicBezTo>
                  <a:cubicBezTo>
                    <a:pt x="230" y="43"/>
                    <a:pt x="234" y="48"/>
                    <a:pt x="234" y="54"/>
                  </a:cubicBezTo>
                  <a:cubicBezTo>
                    <a:pt x="234" y="118"/>
                    <a:pt x="234" y="118"/>
                    <a:pt x="234" y="118"/>
                  </a:cubicBezTo>
                  <a:cubicBezTo>
                    <a:pt x="234" y="124"/>
                    <a:pt x="230" y="128"/>
                    <a:pt x="224" y="128"/>
                  </a:cubicBezTo>
                  <a:cubicBezTo>
                    <a:pt x="218" y="128"/>
                    <a:pt x="213" y="124"/>
                    <a:pt x="213"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5" name="Freeform 440">
              <a:extLst>
                <a:ext uri="{FF2B5EF4-FFF2-40B4-BE49-F238E27FC236}">
                  <a16:creationId xmlns:a16="http://schemas.microsoft.com/office/drawing/2014/main" id="{53013386-28A3-4225-A1B3-070CFFFC50F1}"/>
                </a:ext>
              </a:extLst>
            </p:cNvPr>
            <p:cNvSpPr>
              <a:spLocks noEditPoints="1"/>
            </p:cNvSpPr>
            <p:nvPr/>
          </p:nvSpPr>
          <p:spPr bwMode="auto">
            <a:xfrm>
              <a:off x="4426" y="26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6" name="Freeform 444">
            <a:extLst>
              <a:ext uri="{FF2B5EF4-FFF2-40B4-BE49-F238E27FC236}">
                <a16:creationId xmlns:a16="http://schemas.microsoft.com/office/drawing/2014/main" id="{5ED80F7D-0FAE-448D-8687-3947D84F34FA}"/>
              </a:ext>
            </a:extLst>
          </p:cNvPr>
          <p:cNvSpPr>
            <a:spLocks noChangeAspect="1" noEditPoints="1"/>
          </p:cNvSpPr>
          <p:nvPr/>
        </p:nvSpPr>
        <p:spPr bwMode="auto">
          <a:xfrm>
            <a:off x="5698759" y="1700213"/>
            <a:ext cx="367982" cy="367982"/>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56 w 512"/>
              <a:gd name="T11" fmla="*/ 245 h 512"/>
              <a:gd name="T12" fmla="*/ 277 w 512"/>
              <a:gd name="T13" fmla="*/ 245 h 512"/>
              <a:gd name="T14" fmla="*/ 277 w 512"/>
              <a:gd name="T15" fmla="*/ 224 h 512"/>
              <a:gd name="T16" fmla="*/ 288 w 512"/>
              <a:gd name="T17" fmla="*/ 213 h 512"/>
              <a:gd name="T18" fmla="*/ 298 w 512"/>
              <a:gd name="T19" fmla="*/ 224 h 512"/>
              <a:gd name="T20" fmla="*/ 298 w 512"/>
              <a:gd name="T21" fmla="*/ 245 h 512"/>
              <a:gd name="T22" fmla="*/ 320 w 512"/>
              <a:gd name="T23" fmla="*/ 245 h 512"/>
              <a:gd name="T24" fmla="*/ 330 w 512"/>
              <a:gd name="T25" fmla="*/ 256 h 512"/>
              <a:gd name="T26" fmla="*/ 320 w 512"/>
              <a:gd name="T27" fmla="*/ 266 h 512"/>
              <a:gd name="T28" fmla="*/ 298 w 512"/>
              <a:gd name="T29" fmla="*/ 266 h 512"/>
              <a:gd name="T30" fmla="*/ 298 w 512"/>
              <a:gd name="T31" fmla="*/ 288 h 512"/>
              <a:gd name="T32" fmla="*/ 288 w 512"/>
              <a:gd name="T33" fmla="*/ 298 h 512"/>
              <a:gd name="T34" fmla="*/ 277 w 512"/>
              <a:gd name="T35" fmla="*/ 288 h 512"/>
              <a:gd name="T36" fmla="*/ 277 w 512"/>
              <a:gd name="T37" fmla="*/ 266 h 512"/>
              <a:gd name="T38" fmla="*/ 256 w 512"/>
              <a:gd name="T39" fmla="*/ 266 h 512"/>
              <a:gd name="T40" fmla="*/ 245 w 512"/>
              <a:gd name="T41" fmla="*/ 256 h 512"/>
              <a:gd name="T42" fmla="*/ 256 w 512"/>
              <a:gd name="T43" fmla="*/ 245 h 512"/>
              <a:gd name="T44" fmla="*/ 149 w 512"/>
              <a:gd name="T45" fmla="*/ 245 h 512"/>
              <a:gd name="T46" fmla="*/ 213 w 512"/>
              <a:gd name="T47" fmla="*/ 245 h 512"/>
              <a:gd name="T48" fmla="*/ 224 w 512"/>
              <a:gd name="T49" fmla="*/ 256 h 512"/>
              <a:gd name="T50" fmla="*/ 213 w 512"/>
              <a:gd name="T51" fmla="*/ 266 h 512"/>
              <a:gd name="T52" fmla="*/ 149 w 512"/>
              <a:gd name="T53" fmla="*/ 266 h 512"/>
              <a:gd name="T54" fmla="*/ 138 w 512"/>
              <a:gd name="T55" fmla="*/ 256 h 512"/>
              <a:gd name="T56" fmla="*/ 149 w 512"/>
              <a:gd name="T57" fmla="*/ 245 h 512"/>
              <a:gd name="T58" fmla="*/ 373 w 512"/>
              <a:gd name="T59" fmla="*/ 234 h 512"/>
              <a:gd name="T60" fmla="*/ 394 w 512"/>
              <a:gd name="T61" fmla="*/ 234 h 512"/>
              <a:gd name="T62" fmla="*/ 394 w 512"/>
              <a:gd name="T63" fmla="*/ 277 h 512"/>
              <a:gd name="T64" fmla="*/ 373 w 512"/>
              <a:gd name="T65" fmla="*/ 277 h 512"/>
              <a:gd name="T66" fmla="*/ 373 w 512"/>
              <a:gd name="T67" fmla="*/ 234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416 w 512"/>
              <a:gd name="T79" fmla="*/ 288 h 512"/>
              <a:gd name="T80" fmla="*/ 405 w 512"/>
              <a:gd name="T81" fmla="*/ 298 h 512"/>
              <a:gd name="T82" fmla="*/ 373 w 512"/>
              <a:gd name="T83" fmla="*/ 298 h 512"/>
              <a:gd name="T84" fmla="*/ 373 w 512"/>
              <a:gd name="T85" fmla="*/ 330 h 512"/>
              <a:gd name="T86" fmla="*/ 362 w 512"/>
              <a:gd name="T87" fmla="*/ 341 h 512"/>
              <a:gd name="T88" fmla="*/ 106 w 512"/>
              <a:gd name="T89" fmla="*/ 341 h 512"/>
              <a:gd name="T90" fmla="*/ 96 w 512"/>
              <a:gd name="T91" fmla="*/ 330 h 512"/>
              <a:gd name="T92" fmla="*/ 96 w 512"/>
              <a:gd name="T93" fmla="*/ 181 h 512"/>
              <a:gd name="T94" fmla="*/ 106 w 512"/>
              <a:gd name="T95" fmla="*/ 170 h 512"/>
              <a:gd name="T96" fmla="*/ 362 w 512"/>
              <a:gd name="T97" fmla="*/ 170 h 512"/>
              <a:gd name="T98" fmla="*/ 373 w 512"/>
              <a:gd name="T99" fmla="*/ 181 h 512"/>
              <a:gd name="T100" fmla="*/ 373 w 512"/>
              <a:gd name="T101" fmla="*/ 213 h 512"/>
              <a:gd name="T102" fmla="*/ 405 w 512"/>
              <a:gd name="T103" fmla="*/ 213 h 512"/>
              <a:gd name="T104" fmla="*/ 416 w 512"/>
              <a:gd name="T105" fmla="*/ 224 h 512"/>
              <a:gd name="T106" fmla="*/ 416 w 512"/>
              <a:gd name="T107"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56" y="245"/>
                </a:moveTo>
                <a:cubicBezTo>
                  <a:pt x="277" y="245"/>
                  <a:pt x="277" y="245"/>
                  <a:pt x="277" y="245"/>
                </a:cubicBezTo>
                <a:cubicBezTo>
                  <a:pt x="277" y="224"/>
                  <a:pt x="277" y="224"/>
                  <a:pt x="277" y="224"/>
                </a:cubicBezTo>
                <a:cubicBezTo>
                  <a:pt x="277" y="218"/>
                  <a:pt x="282" y="213"/>
                  <a:pt x="288" y="213"/>
                </a:cubicBezTo>
                <a:cubicBezTo>
                  <a:pt x="294" y="213"/>
                  <a:pt x="298" y="218"/>
                  <a:pt x="298" y="224"/>
                </a:cubicBezTo>
                <a:cubicBezTo>
                  <a:pt x="298" y="245"/>
                  <a:pt x="298" y="245"/>
                  <a:pt x="298" y="245"/>
                </a:cubicBezTo>
                <a:cubicBezTo>
                  <a:pt x="320" y="245"/>
                  <a:pt x="320" y="245"/>
                  <a:pt x="320" y="245"/>
                </a:cubicBezTo>
                <a:cubicBezTo>
                  <a:pt x="326" y="245"/>
                  <a:pt x="330" y="250"/>
                  <a:pt x="330" y="256"/>
                </a:cubicBezTo>
                <a:cubicBezTo>
                  <a:pt x="330" y="262"/>
                  <a:pt x="326" y="266"/>
                  <a:pt x="320" y="266"/>
                </a:cubicBezTo>
                <a:cubicBezTo>
                  <a:pt x="298" y="266"/>
                  <a:pt x="298" y="266"/>
                  <a:pt x="298" y="266"/>
                </a:cubicBezTo>
                <a:cubicBezTo>
                  <a:pt x="298" y="288"/>
                  <a:pt x="298" y="288"/>
                  <a:pt x="298" y="288"/>
                </a:cubicBezTo>
                <a:cubicBezTo>
                  <a:pt x="298" y="294"/>
                  <a:pt x="294" y="298"/>
                  <a:pt x="288" y="298"/>
                </a:cubicBezTo>
                <a:cubicBezTo>
                  <a:pt x="282" y="298"/>
                  <a:pt x="277" y="294"/>
                  <a:pt x="277" y="288"/>
                </a:cubicBezTo>
                <a:cubicBezTo>
                  <a:pt x="277" y="266"/>
                  <a:pt x="277" y="266"/>
                  <a:pt x="277" y="266"/>
                </a:cubicBezTo>
                <a:cubicBezTo>
                  <a:pt x="256" y="266"/>
                  <a:pt x="256" y="266"/>
                  <a:pt x="256" y="266"/>
                </a:cubicBezTo>
                <a:cubicBezTo>
                  <a:pt x="250" y="266"/>
                  <a:pt x="245" y="262"/>
                  <a:pt x="245" y="256"/>
                </a:cubicBezTo>
                <a:cubicBezTo>
                  <a:pt x="245" y="250"/>
                  <a:pt x="250" y="245"/>
                  <a:pt x="256" y="245"/>
                </a:cubicBezTo>
                <a:close/>
                <a:moveTo>
                  <a:pt x="149" y="245"/>
                </a:moveTo>
                <a:cubicBezTo>
                  <a:pt x="213" y="245"/>
                  <a:pt x="213" y="245"/>
                  <a:pt x="213" y="245"/>
                </a:cubicBezTo>
                <a:cubicBezTo>
                  <a:pt x="219" y="245"/>
                  <a:pt x="224" y="250"/>
                  <a:pt x="224" y="256"/>
                </a:cubicBezTo>
                <a:cubicBezTo>
                  <a:pt x="224" y="262"/>
                  <a:pt x="219" y="266"/>
                  <a:pt x="213" y="266"/>
                </a:cubicBezTo>
                <a:cubicBezTo>
                  <a:pt x="149" y="266"/>
                  <a:pt x="149" y="266"/>
                  <a:pt x="149" y="266"/>
                </a:cubicBezTo>
                <a:cubicBezTo>
                  <a:pt x="143" y="266"/>
                  <a:pt x="138" y="262"/>
                  <a:pt x="138" y="256"/>
                </a:cubicBezTo>
                <a:cubicBezTo>
                  <a:pt x="138" y="250"/>
                  <a:pt x="143" y="245"/>
                  <a:pt x="149" y="245"/>
                </a:cubicBez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7" name="Group 447">
            <a:extLst>
              <a:ext uri="{FF2B5EF4-FFF2-40B4-BE49-F238E27FC236}">
                <a16:creationId xmlns:a16="http://schemas.microsoft.com/office/drawing/2014/main" id="{CE6D69CF-3886-40F4-98C1-36E3D699B417}"/>
              </a:ext>
            </a:extLst>
          </p:cNvPr>
          <p:cNvGrpSpPr>
            <a:grpSpLocks noChangeAspect="1"/>
          </p:cNvGrpSpPr>
          <p:nvPr/>
        </p:nvGrpSpPr>
        <p:grpSpPr bwMode="auto">
          <a:xfrm>
            <a:off x="6132865" y="1700213"/>
            <a:ext cx="367982" cy="367982"/>
            <a:chOff x="3679" y="2685"/>
            <a:chExt cx="340" cy="340"/>
          </a:xfrm>
          <a:solidFill>
            <a:schemeClr val="accent5"/>
          </a:solidFill>
        </p:grpSpPr>
        <p:sp>
          <p:nvSpPr>
            <p:cNvPr id="138" name="Freeform 448">
              <a:extLst>
                <a:ext uri="{FF2B5EF4-FFF2-40B4-BE49-F238E27FC236}">
                  <a16:creationId xmlns:a16="http://schemas.microsoft.com/office/drawing/2014/main" id="{D68B0B28-25BA-45AB-9D3E-03AE2789308B}"/>
                </a:ext>
              </a:extLst>
            </p:cNvPr>
            <p:cNvSpPr>
              <a:spLocks noEditPoints="1"/>
            </p:cNvSpPr>
            <p:nvPr/>
          </p:nvSpPr>
          <p:spPr bwMode="auto">
            <a:xfrm>
              <a:off x="3679" y="26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9" name="Freeform 449">
              <a:extLst>
                <a:ext uri="{FF2B5EF4-FFF2-40B4-BE49-F238E27FC236}">
                  <a16:creationId xmlns:a16="http://schemas.microsoft.com/office/drawing/2014/main" id="{3465446B-BE8C-4817-AE58-10D172BECB8D}"/>
                </a:ext>
              </a:extLst>
            </p:cNvPr>
            <p:cNvSpPr>
              <a:spLocks noEditPoints="1"/>
            </p:cNvSpPr>
            <p:nvPr/>
          </p:nvSpPr>
          <p:spPr bwMode="auto">
            <a:xfrm>
              <a:off x="3743" y="2798"/>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234 w 320"/>
                <a:gd name="T51" fmla="*/ 86 h 171"/>
                <a:gd name="T52" fmla="*/ 224 w 320"/>
                <a:gd name="T53" fmla="*/ 96 h 171"/>
                <a:gd name="T54" fmla="*/ 202 w 320"/>
                <a:gd name="T55" fmla="*/ 96 h 171"/>
                <a:gd name="T56" fmla="*/ 202 w 320"/>
                <a:gd name="T57" fmla="*/ 118 h 171"/>
                <a:gd name="T58" fmla="*/ 192 w 320"/>
                <a:gd name="T59" fmla="*/ 128 h 171"/>
                <a:gd name="T60" fmla="*/ 181 w 320"/>
                <a:gd name="T61" fmla="*/ 118 h 171"/>
                <a:gd name="T62" fmla="*/ 181 w 320"/>
                <a:gd name="T63" fmla="*/ 96 h 171"/>
                <a:gd name="T64" fmla="*/ 160 w 320"/>
                <a:gd name="T65" fmla="*/ 96 h 171"/>
                <a:gd name="T66" fmla="*/ 149 w 320"/>
                <a:gd name="T67" fmla="*/ 86 h 171"/>
                <a:gd name="T68" fmla="*/ 160 w 320"/>
                <a:gd name="T69" fmla="*/ 75 h 171"/>
                <a:gd name="T70" fmla="*/ 181 w 320"/>
                <a:gd name="T71" fmla="*/ 75 h 171"/>
                <a:gd name="T72" fmla="*/ 181 w 320"/>
                <a:gd name="T73" fmla="*/ 54 h 171"/>
                <a:gd name="T74" fmla="*/ 192 w 320"/>
                <a:gd name="T75" fmla="*/ 43 h 171"/>
                <a:gd name="T76" fmla="*/ 202 w 320"/>
                <a:gd name="T77" fmla="*/ 54 h 171"/>
                <a:gd name="T78" fmla="*/ 202 w 320"/>
                <a:gd name="T79" fmla="*/ 75 h 171"/>
                <a:gd name="T80" fmla="*/ 224 w 320"/>
                <a:gd name="T81" fmla="*/ 75 h 171"/>
                <a:gd name="T82" fmla="*/ 234 w 320"/>
                <a:gd name="T83" fmla="*/ 86 h 171"/>
                <a:gd name="T84" fmla="*/ 128 w 320"/>
                <a:gd name="T85" fmla="*/ 86 h 171"/>
                <a:gd name="T86" fmla="*/ 117 w 320"/>
                <a:gd name="T87" fmla="*/ 96 h 171"/>
                <a:gd name="T88" fmla="*/ 53 w 320"/>
                <a:gd name="T89" fmla="*/ 96 h 171"/>
                <a:gd name="T90" fmla="*/ 42 w 320"/>
                <a:gd name="T91" fmla="*/ 86 h 171"/>
                <a:gd name="T92" fmla="*/ 53 w 320"/>
                <a:gd name="T93" fmla="*/ 75 h 171"/>
                <a:gd name="T94" fmla="*/ 117 w 320"/>
                <a:gd name="T95" fmla="*/ 75 h 171"/>
                <a:gd name="T96" fmla="*/ 128 w 320"/>
                <a:gd name="T9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234" y="86"/>
                  </a:moveTo>
                  <a:cubicBezTo>
                    <a:pt x="234" y="92"/>
                    <a:pt x="230" y="96"/>
                    <a:pt x="224" y="96"/>
                  </a:cubicBezTo>
                  <a:cubicBezTo>
                    <a:pt x="202" y="96"/>
                    <a:pt x="202" y="96"/>
                    <a:pt x="202" y="96"/>
                  </a:cubicBezTo>
                  <a:cubicBezTo>
                    <a:pt x="202" y="118"/>
                    <a:pt x="202" y="118"/>
                    <a:pt x="202" y="118"/>
                  </a:cubicBezTo>
                  <a:cubicBezTo>
                    <a:pt x="202" y="124"/>
                    <a:pt x="198" y="128"/>
                    <a:pt x="192" y="128"/>
                  </a:cubicBezTo>
                  <a:cubicBezTo>
                    <a:pt x="186" y="128"/>
                    <a:pt x="181" y="124"/>
                    <a:pt x="181" y="118"/>
                  </a:cubicBezTo>
                  <a:cubicBezTo>
                    <a:pt x="181" y="96"/>
                    <a:pt x="181" y="96"/>
                    <a:pt x="181" y="96"/>
                  </a:cubicBezTo>
                  <a:cubicBezTo>
                    <a:pt x="160" y="96"/>
                    <a:pt x="160" y="96"/>
                    <a:pt x="160" y="96"/>
                  </a:cubicBezTo>
                  <a:cubicBezTo>
                    <a:pt x="154" y="96"/>
                    <a:pt x="149" y="92"/>
                    <a:pt x="149" y="86"/>
                  </a:cubicBezTo>
                  <a:cubicBezTo>
                    <a:pt x="149" y="80"/>
                    <a:pt x="154" y="75"/>
                    <a:pt x="160" y="75"/>
                  </a:cubicBezTo>
                  <a:cubicBezTo>
                    <a:pt x="181" y="75"/>
                    <a:pt x="181" y="75"/>
                    <a:pt x="181" y="75"/>
                  </a:cubicBezTo>
                  <a:cubicBezTo>
                    <a:pt x="181" y="54"/>
                    <a:pt x="181" y="54"/>
                    <a:pt x="181" y="54"/>
                  </a:cubicBezTo>
                  <a:cubicBezTo>
                    <a:pt x="181" y="48"/>
                    <a:pt x="186" y="43"/>
                    <a:pt x="192" y="43"/>
                  </a:cubicBezTo>
                  <a:cubicBezTo>
                    <a:pt x="198" y="43"/>
                    <a:pt x="202" y="48"/>
                    <a:pt x="202" y="54"/>
                  </a:cubicBezTo>
                  <a:cubicBezTo>
                    <a:pt x="202" y="75"/>
                    <a:pt x="202" y="75"/>
                    <a:pt x="202" y="75"/>
                  </a:cubicBezTo>
                  <a:cubicBezTo>
                    <a:pt x="224" y="75"/>
                    <a:pt x="224" y="75"/>
                    <a:pt x="224" y="75"/>
                  </a:cubicBezTo>
                  <a:cubicBezTo>
                    <a:pt x="230" y="75"/>
                    <a:pt x="234" y="80"/>
                    <a:pt x="234" y="86"/>
                  </a:cubicBezTo>
                  <a:close/>
                  <a:moveTo>
                    <a:pt x="128" y="86"/>
                  </a:moveTo>
                  <a:cubicBezTo>
                    <a:pt x="128" y="92"/>
                    <a:pt x="123" y="96"/>
                    <a:pt x="117" y="96"/>
                  </a:cubicBezTo>
                  <a:cubicBezTo>
                    <a:pt x="53" y="96"/>
                    <a:pt x="53" y="96"/>
                    <a:pt x="53" y="96"/>
                  </a:cubicBezTo>
                  <a:cubicBezTo>
                    <a:pt x="47" y="96"/>
                    <a:pt x="42" y="92"/>
                    <a:pt x="42" y="86"/>
                  </a:cubicBezTo>
                  <a:cubicBezTo>
                    <a:pt x="42" y="80"/>
                    <a:pt x="47" y="75"/>
                    <a:pt x="53" y="75"/>
                  </a:cubicBezTo>
                  <a:cubicBezTo>
                    <a:pt x="117" y="75"/>
                    <a:pt x="117" y="75"/>
                    <a:pt x="117" y="75"/>
                  </a:cubicBezTo>
                  <a:cubicBezTo>
                    <a:pt x="123" y="75"/>
                    <a:pt x="128" y="80"/>
                    <a:pt x="128"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0" name="Freeform 292">
            <a:extLst>
              <a:ext uri="{FF2B5EF4-FFF2-40B4-BE49-F238E27FC236}">
                <a16:creationId xmlns:a16="http://schemas.microsoft.com/office/drawing/2014/main" id="{BB1837ED-CD0F-4370-87E4-30CB70A4EB1C}"/>
              </a:ext>
            </a:extLst>
          </p:cNvPr>
          <p:cNvSpPr>
            <a:spLocks noChangeAspect="1" noEditPoints="1"/>
          </p:cNvSpPr>
          <p:nvPr/>
        </p:nvSpPr>
        <p:spPr bwMode="auto">
          <a:xfrm>
            <a:off x="6566971" y="1700213"/>
            <a:ext cx="369021" cy="369021"/>
          </a:xfrm>
          <a:custGeom>
            <a:avLst/>
            <a:gdLst>
              <a:gd name="T0" fmla="*/ 160 w 512"/>
              <a:gd name="T1" fmla="*/ 394 h 512"/>
              <a:gd name="T2" fmla="*/ 309 w 512"/>
              <a:gd name="T3" fmla="*/ 394 h 512"/>
              <a:gd name="T4" fmla="*/ 309 w 512"/>
              <a:gd name="T5" fmla="*/ 117 h 512"/>
              <a:gd name="T6" fmla="*/ 160 w 512"/>
              <a:gd name="T7" fmla="*/ 117 h 512"/>
              <a:gd name="T8" fmla="*/ 160 w 512"/>
              <a:gd name="T9" fmla="*/ 394 h 512"/>
              <a:gd name="T10" fmla="*/ 181 w 512"/>
              <a:gd name="T11" fmla="*/ 149 h 512"/>
              <a:gd name="T12" fmla="*/ 192 w 512"/>
              <a:gd name="T13" fmla="*/ 138 h 512"/>
              <a:gd name="T14" fmla="*/ 277 w 512"/>
              <a:gd name="T15" fmla="*/ 138 h 512"/>
              <a:gd name="T16" fmla="*/ 288 w 512"/>
              <a:gd name="T17" fmla="*/ 149 h 512"/>
              <a:gd name="T18" fmla="*/ 288 w 512"/>
              <a:gd name="T19" fmla="*/ 202 h 512"/>
              <a:gd name="T20" fmla="*/ 277 w 512"/>
              <a:gd name="T21" fmla="*/ 213 h 512"/>
              <a:gd name="T22" fmla="*/ 192 w 512"/>
              <a:gd name="T23" fmla="*/ 213 h 512"/>
              <a:gd name="T24" fmla="*/ 181 w 512"/>
              <a:gd name="T25" fmla="*/ 202 h 512"/>
              <a:gd name="T26" fmla="*/ 181 w 512"/>
              <a:gd name="T27" fmla="*/ 149 h 512"/>
              <a:gd name="T28" fmla="*/ 266 w 512"/>
              <a:gd name="T29" fmla="*/ 192 h 512"/>
              <a:gd name="T30" fmla="*/ 202 w 512"/>
              <a:gd name="T31" fmla="*/ 192 h 512"/>
              <a:gd name="T32" fmla="*/ 202 w 512"/>
              <a:gd name="T33" fmla="*/ 160 h 512"/>
              <a:gd name="T34" fmla="*/ 266 w 512"/>
              <a:gd name="T35" fmla="*/ 160 h 512"/>
              <a:gd name="T36" fmla="*/ 266 w 512"/>
              <a:gd name="T37" fmla="*/ 192 h 512"/>
              <a:gd name="T38" fmla="*/ 256 w 512"/>
              <a:gd name="T39" fmla="*/ 0 h 512"/>
              <a:gd name="T40" fmla="*/ 0 w 512"/>
              <a:gd name="T41" fmla="*/ 256 h 512"/>
              <a:gd name="T42" fmla="*/ 256 w 512"/>
              <a:gd name="T43" fmla="*/ 512 h 512"/>
              <a:gd name="T44" fmla="*/ 512 w 512"/>
              <a:gd name="T45" fmla="*/ 256 h 512"/>
              <a:gd name="T46" fmla="*/ 256 w 512"/>
              <a:gd name="T47" fmla="*/ 0 h 512"/>
              <a:gd name="T48" fmla="*/ 404 w 512"/>
              <a:gd name="T49" fmla="*/ 312 h 512"/>
              <a:gd name="T50" fmla="*/ 330 w 512"/>
              <a:gd name="T51" fmla="*/ 370 h 512"/>
              <a:gd name="T52" fmla="*/ 330 w 512"/>
              <a:gd name="T53" fmla="*/ 405 h 512"/>
              <a:gd name="T54" fmla="*/ 320 w 512"/>
              <a:gd name="T55" fmla="*/ 416 h 512"/>
              <a:gd name="T56" fmla="*/ 149 w 512"/>
              <a:gd name="T57" fmla="*/ 416 h 512"/>
              <a:gd name="T58" fmla="*/ 138 w 512"/>
              <a:gd name="T59" fmla="*/ 405 h 512"/>
              <a:gd name="T60" fmla="*/ 138 w 512"/>
              <a:gd name="T61" fmla="*/ 106 h 512"/>
              <a:gd name="T62" fmla="*/ 149 w 512"/>
              <a:gd name="T63" fmla="*/ 96 h 512"/>
              <a:gd name="T64" fmla="*/ 320 w 512"/>
              <a:gd name="T65" fmla="*/ 96 h 512"/>
              <a:gd name="T66" fmla="*/ 330 w 512"/>
              <a:gd name="T67" fmla="*/ 106 h 512"/>
              <a:gd name="T68" fmla="*/ 330 w 512"/>
              <a:gd name="T69" fmla="*/ 348 h 512"/>
              <a:gd name="T70" fmla="*/ 384 w 512"/>
              <a:gd name="T71" fmla="*/ 305 h 512"/>
              <a:gd name="T72" fmla="*/ 375 w 512"/>
              <a:gd name="T73" fmla="*/ 240 h 512"/>
              <a:gd name="T74" fmla="*/ 366 w 512"/>
              <a:gd name="T75" fmla="*/ 225 h 512"/>
              <a:gd name="T76" fmla="*/ 366 w 512"/>
              <a:gd name="T77" fmla="*/ 224 h 512"/>
              <a:gd name="T78" fmla="*/ 365 w 512"/>
              <a:gd name="T79" fmla="*/ 223 h 512"/>
              <a:gd name="T80" fmla="*/ 365 w 512"/>
              <a:gd name="T81" fmla="*/ 222 h 512"/>
              <a:gd name="T82" fmla="*/ 362 w 512"/>
              <a:gd name="T83" fmla="*/ 213 h 512"/>
              <a:gd name="T84" fmla="*/ 373 w 512"/>
              <a:gd name="T85" fmla="*/ 195 h 512"/>
              <a:gd name="T86" fmla="*/ 353 w 512"/>
              <a:gd name="T87" fmla="*/ 154 h 512"/>
              <a:gd name="T88" fmla="*/ 358 w 512"/>
              <a:gd name="T89" fmla="*/ 139 h 512"/>
              <a:gd name="T90" fmla="*/ 372 w 512"/>
              <a:gd name="T91" fmla="*/ 144 h 512"/>
              <a:gd name="T92" fmla="*/ 399 w 512"/>
              <a:gd name="T93" fmla="*/ 198 h 512"/>
              <a:gd name="T94" fmla="*/ 405 w 512"/>
              <a:gd name="T95" fmla="*/ 212 h 512"/>
              <a:gd name="T96" fmla="*/ 405 w 512"/>
              <a:gd name="T97" fmla="*/ 213 h 512"/>
              <a:gd name="T98" fmla="*/ 405 w 512"/>
              <a:gd name="T99" fmla="*/ 213 h 512"/>
              <a:gd name="T100" fmla="*/ 394 w 512"/>
              <a:gd name="T101" fmla="*/ 231 h 512"/>
              <a:gd name="T102" fmla="*/ 404 w 512"/>
              <a:gd name="T103"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60" y="394"/>
                </a:moveTo>
                <a:cubicBezTo>
                  <a:pt x="309" y="394"/>
                  <a:pt x="309" y="394"/>
                  <a:pt x="309" y="394"/>
                </a:cubicBezTo>
                <a:cubicBezTo>
                  <a:pt x="309" y="117"/>
                  <a:pt x="309" y="117"/>
                  <a:pt x="309" y="117"/>
                </a:cubicBezTo>
                <a:cubicBezTo>
                  <a:pt x="160" y="117"/>
                  <a:pt x="160" y="117"/>
                  <a:pt x="160" y="117"/>
                </a:cubicBezTo>
                <a:lnTo>
                  <a:pt x="160" y="394"/>
                </a:lnTo>
                <a:close/>
                <a:moveTo>
                  <a:pt x="181" y="149"/>
                </a:moveTo>
                <a:cubicBezTo>
                  <a:pt x="181" y="143"/>
                  <a:pt x="186" y="138"/>
                  <a:pt x="192" y="138"/>
                </a:cubicBezTo>
                <a:cubicBezTo>
                  <a:pt x="277" y="138"/>
                  <a:pt x="277" y="138"/>
                  <a:pt x="277" y="138"/>
                </a:cubicBezTo>
                <a:cubicBezTo>
                  <a:pt x="283" y="138"/>
                  <a:pt x="288" y="143"/>
                  <a:pt x="288" y="149"/>
                </a:cubicBezTo>
                <a:cubicBezTo>
                  <a:pt x="288" y="202"/>
                  <a:pt x="288" y="202"/>
                  <a:pt x="288" y="202"/>
                </a:cubicBezTo>
                <a:cubicBezTo>
                  <a:pt x="288" y="208"/>
                  <a:pt x="283" y="213"/>
                  <a:pt x="277" y="213"/>
                </a:cubicBezTo>
                <a:cubicBezTo>
                  <a:pt x="192" y="213"/>
                  <a:pt x="192" y="213"/>
                  <a:pt x="192" y="213"/>
                </a:cubicBezTo>
                <a:cubicBezTo>
                  <a:pt x="186" y="213"/>
                  <a:pt x="181" y="208"/>
                  <a:pt x="181" y="202"/>
                </a:cubicBezTo>
                <a:lnTo>
                  <a:pt x="181" y="149"/>
                </a:lnTo>
                <a:close/>
                <a:moveTo>
                  <a:pt x="266" y="192"/>
                </a:moveTo>
                <a:cubicBezTo>
                  <a:pt x="202" y="192"/>
                  <a:pt x="202" y="192"/>
                  <a:pt x="202" y="192"/>
                </a:cubicBezTo>
                <a:cubicBezTo>
                  <a:pt x="202" y="160"/>
                  <a:pt x="202" y="160"/>
                  <a:pt x="202" y="160"/>
                </a:cubicBezTo>
                <a:cubicBezTo>
                  <a:pt x="266" y="160"/>
                  <a:pt x="266" y="160"/>
                  <a:pt x="266" y="160"/>
                </a:cubicBezTo>
                <a:lnTo>
                  <a:pt x="266" y="192"/>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312"/>
                </a:moveTo>
                <a:cubicBezTo>
                  <a:pt x="394" y="339"/>
                  <a:pt x="369" y="358"/>
                  <a:pt x="330" y="370"/>
                </a:cubicBezTo>
                <a:cubicBezTo>
                  <a:pt x="330" y="405"/>
                  <a:pt x="330" y="405"/>
                  <a:pt x="330" y="405"/>
                </a:cubicBezTo>
                <a:cubicBezTo>
                  <a:pt x="330" y="411"/>
                  <a:pt x="326" y="416"/>
                  <a:pt x="320"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20" y="96"/>
                  <a:pt x="320" y="96"/>
                  <a:pt x="320" y="96"/>
                </a:cubicBezTo>
                <a:cubicBezTo>
                  <a:pt x="326" y="96"/>
                  <a:pt x="330" y="100"/>
                  <a:pt x="330" y="106"/>
                </a:cubicBezTo>
                <a:cubicBezTo>
                  <a:pt x="330" y="348"/>
                  <a:pt x="330" y="348"/>
                  <a:pt x="330" y="348"/>
                </a:cubicBezTo>
                <a:cubicBezTo>
                  <a:pt x="359" y="338"/>
                  <a:pt x="377" y="324"/>
                  <a:pt x="384" y="305"/>
                </a:cubicBezTo>
                <a:cubicBezTo>
                  <a:pt x="396" y="274"/>
                  <a:pt x="375" y="240"/>
                  <a:pt x="375" y="240"/>
                </a:cubicBezTo>
                <a:cubicBezTo>
                  <a:pt x="366" y="225"/>
                  <a:pt x="366" y="225"/>
                  <a:pt x="366" y="225"/>
                </a:cubicBezTo>
                <a:cubicBezTo>
                  <a:pt x="366" y="225"/>
                  <a:pt x="366" y="225"/>
                  <a:pt x="366" y="224"/>
                </a:cubicBezTo>
                <a:cubicBezTo>
                  <a:pt x="365" y="223"/>
                  <a:pt x="365" y="223"/>
                  <a:pt x="365" y="223"/>
                </a:cubicBezTo>
                <a:cubicBezTo>
                  <a:pt x="365" y="222"/>
                  <a:pt x="365" y="222"/>
                  <a:pt x="365" y="222"/>
                </a:cubicBezTo>
                <a:cubicBezTo>
                  <a:pt x="363" y="219"/>
                  <a:pt x="362" y="216"/>
                  <a:pt x="362" y="213"/>
                </a:cubicBezTo>
                <a:cubicBezTo>
                  <a:pt x="362" y="205"/>
                  <a:pt x="367" y="198"/>
                  <a:pt x="373" y="195"/>
                </a:cubicBezTo>
                <a:cubicBezTo>
                  <a:pt x="353" y="154"/>
                  <a:pt x="353" y="154"/>
                  <a:pt x="353" y="154"/>
                </a:cubicBezTo>
                <a:cubicBezTo>
                  <a:pt x="350" y="148"/>
                  <a:pt x="352" y="142"/>
                  <a:pt x="358" y="139"/>
                </a:cubicBezTo>
                <a:cubicBezTo>
                  <a:pt x="363" y="137"/>
                  <a:pt x="369" y="139"/>
                  <a:pt x="372" y="144"/>
                </a:cubicBezTo>
                <a:cubicBezTo>
                  <a:pt x="399" y="198"/>
                  <a:pt x="399" y="198"/>
                  <a:pt x="399" y="198"/>
                </a:cubicBezTo>
                <a:cubicBezTo>
                  <a:pt x="402" y="202"/>
                  <a:pt x="405" y="207"/>
                  <a:pt x="405" y="212"/>
                </a:cubicBezTo>
                <a:cubicBezTo>
                  <a:pt x="405" y="212"/>
                  <a:pt x="405" y="212"/>
                  <a:pt x="405" y="213"/>
                </a:cubicBezTo>
                <a:cubicBezTo>
                  <a:pt x="405" y="213"/>
                  <a:pt x="405" y="213"/>
                  <a:pt x="405" y="213"/>
                </a:cubicBezTo>
                <a:cubicBezTo>
                  <a:pt x="405" y="221"/>
                  <a:pt x="401" y="228"/>
                  <a:pt x="394" y="231"/>
                </a:cubicBezTo>
                <a:cubicBezTo>
                  <a:pt x="400" y="241"/>
                  <a:pt x="418" y="277"/>
                  <a:pt x="404" y="31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1" name="Group 295">
            <a:extLst>
              <a:ext uri="{FF2B5EF4-FFF2-40B4-BE49-F238E27FC236}">
                <a16:creationId xmlns:a16="http://schemas.microsoft.com/office/drawing/2014/main" id="{6A312D0F-305E-49C0-8389-FC022B7B6C0D}"/>
              </a:ext>
            </a:extLst>
          </p:cNvPr>
          <p:cNvGrpSpPr>
            <a:grpSpLocks noChangeAspect="1"/>
          </p:cNvGrpSpPr>
          <p:nvPr/>
        </p:nvGrpSpPr>
        <p:grpSpPr bwMode="auto">
          <a:xfrm>
            <a:off x="7002116" y="1700213"/>
            <a:ext cx="369021" cy="370106"/>
            <a:chOff x="7340" y="790"/>
            <a:chExt cx="340" cy="341"/>
          </a:xfrm>
          <a:solidFill>
            <a:schemeClr val="accent3"/>
          </a:solidFill>
        </p:grpSpPr>
        <p:sp>
          <p:nvSpPr>
            <p:cNvPr id="142" name="Freeform 296">
              <a:extLst>
                <a:ext uri="{FF2B5EF4-FFF2-40B4-BE49-F238E27FC236}">
                  <a16:creationId xmlns:a16="http://schemas.microsoft.com/office/drawing/2014/main" id="{A920528A-BFA7-431A-85D6-04B7284ACB90}"/>
                </a:ext>
              </a:extLst>
            </p:cNvPr>
            <p:cNvSpPr>
              <a:spLocks noEditPoints="1"/>
            </p:cNvSpPr>
            <p:nvPr/>
          </p:nvSpPr>
          <p:spPr bwMode="auto">
            <a:xfrm>
              <a:off x="7340" y="79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3" name="Freeform 297">
              <a:extLst>
                <a:ext uri="{FF2B5EF4-FFF2-40B4-BE49-F238E27FC236}">
                  <a16:creationId xmlns:a16="http://schemas.microsoft.com/office/drawing/2014/main" id="{354F76FD-94EC-43E3-87F2-8136D0C89AE3}"/>
                </a:ext>
              </a:extLst>
            </p:cNvPr>
            <p:cNvSpPr>
              <a:spLocks noEditPoints="1"/>
            </p:cNvSpPr>
            <p:nvPr/>
          </p:nvSpPr>
          <p:spPr bwMode="auto">
            <a:xfrm>
              <a:off x="7432" y="854"/>
              <a:ext cx="186" cy="213"/>
            </a:xfrm>
            <a:custGeom>
              <a:avLst/>
              <a:gdLst>
                <a:gd name="T0" fmla="*/ 54 w 280"/>
                <a:gd name="T1" fmla="*/ 117 h 320"/>
                <a:gd name="T2" fmla="*/ 139 w 280"/>
                <a:gd name="T3" fmla="*/ 117 h 320"/>
                <a:gd name="T4" fmla="*/ 150 w 280"/>
                <a:gd name="T5" fmla="*/ 106 h 320"/>
                <a:gd name="T6" fmla="*/ 150 w 280"/>
                <a:gd name="T7" fmla="*/ 53 h 320"/>
                <a:gd name="T8" fmla="*/ 139 w 280"/>
                <a:gd name="T9" fmla="*/ 42 h 320"/>
                <a:gd name="T10" fmla="*/ 54 w 280"/>
                <a:gd name="T11" fmla="*/ 42 h 320"/>
                <a:gd name="T12" fmla="*/ 43 w 280"/>
                <a:gd name="T13" fmla="*/ 53 h 320"/>
                <a:gd name="T14" fmla="*/ 43 w 280"/>
                <a:gd name="T15" fmla="*/ 106 h 320"/>
                <a:gd name="T16" fmla="*/ 54 w 280"/>
                <a:gd name="T17" fmla="*/ 117 h 320"/>
                <a:gd name="T18" fmla="*/ 64 w 280"/>
                <a:gd name="T19" fmla="*/ 64 h 320"/>
                <a:gd name="T20" fmla="*/ 128 w 280"/>
                <a:gd name="T21" fmla="*/ 64 h 320"/>
                <a:gd name="T22" fmla="*/ 128 w 280"/>
                <a:gd name="T23" fmla="*/ 96 h 320"/>
                <a:gd name="T24" fmla="*/ 64 w 280"/>
                <a:gd name="T25" fmla="*/ 96 h 320"/>
                <a:gd name="T26" fmla="*/ 64 w 280"/>
                <a:gd name="T27" fmla="*/ 64 h 320"/>
                <a:gd name="T28" fmla="*/ 256 w 280"/>
                <a:gd name="T29" fmla="*/ 135 h 320"/>
                <a:gd name="T30" fmla="*/ 267 w 280"/>
                <a:gd name="T31" fmla="*/ 117 h 320"/>
                <a:gd name="T32" fmla="*/ 267 w 280"/>
                <a:gd name="T33" fmla="*/ 117 h 320"/>
                <a:gd name="T34" fmla="*/ 267 w 280"/>
                <a:gd name="T35" fmla="*/ 116 h 320"/>
                <a:gd name="T36" fmla="*/ 261 w 280"/>
                <a:gd name="T37" fmla="*/ 102 h 320"/>
                <a:gd name="T38" fmla="*/ 234 w 280"/>
                <a:gd name="T39" fmla="*/ 48 h 320"/>
                <a:gd name="T40" fmla="*/ 220 w 280"/>
                <a:gd name="T41" fmla="*/ 43 h 320"/>
                <a:gd name="T42" fmla="*/ 215 w 280"/>
                <a:gd name="T43" fmla="*/ 58 h 320"/>
                <a:gd name="T44" fmla="*/ 235 w 280"/>
                <a:gd name="T45" fmla="*/ 99 h 320"/>
                <a:gd name="T46" fmla="*/ 224 w 280"/>
                <a:gd name="T47" fmla="*/ 117 h 320"/>
                <a:gd name="T48" fmla="*/ 227 w 280"/>
                <a:gd name="T49" fmla="*/ 126 h 320"/>
                <a:gd name="T50" fmla="*/ 227 w 280"/>
                <a:gd name="T51" fmla="*/ 127 h 320"/>
                <a:gd name="T52" fmla="*/ 228 w 280"/>
                <a:gd name="T53" fmla="*/ 128 h 320"/>
                <a:gd name="T54" fmla="*/ 228 w 280"/>
                <a:gd name="T55" fmla="*/ 129 h 320"/>
                <a:gd name="T56" fmla="*/ 237 w 280"/>
                <a:gd name="T57" fmla="*/ 144 h 320"/>
                <a:gd name="T58" fmla="*/ 246 w 280"/>
                <a:gd name="T59" fmla="*/ 209 h 320"/>
                <a:gd name="T60" fmla="*/ 192 w 280"/>
                <a:gd name="T61" fmla="*/ 252 h 320"/>
                <a:gd name="T62" fmla="*/ 192 w 280"/>
                <a:gd name="T63" fmla="*/ 10 h 320"/>
                <a:gd name="T64" fmla="*/ 182 w 280"/>
                <a:gd name="T65" fmla="*/ 0 h 320"/>
                <a:gd name="T66" fmla="*/ 11 w 280"/>
                <a:gd name="T67" fmla="*/ 0 h 320"/>
                <a:gd name="T68" fmla="*/ 0 w 280"/>
                <a:gd name="T69" fmla="*/ 10 h 320"/>
                <a:gd name="T70" fmla="*/ 0 w 280"/>
                <a:gd name="T71" fmla="*/ 309 h 320"/>
                <a:gd name="T72" fmla="*/ 11 w 280"/>
                <a:gd name="T73" fmla="*/ 320 h 320"/>
                <a:gd name="T74" fmla="*/ 182 w 280"/>
                <a:gd name="T75" fmla="*/ 320 h 320"/>
                <a:gd name="T76" fmla="*/ 192 w 280"/>
                <a:gd name="T77" fmla="*/ 309 h 320"/>
                <a:gd name="T78" fmla="*/ 192 w 280"/>
                <a:gd name="T79" fmla="*/ 274 h 320"/>
                <a:gd name="T80" fmla="*/ 266 w 280"/>
                <a:gd name="T81" fmla="*/ 216 h 320"/>
                <a:gd name="T82" fmla="*/ 256 w 280"/>
                <a:gd name="T83" fmla="*/ 135 h 320"/>
                <a:gd name="T84" fmla="*/ 171 w 280"/>
                <a:gd name="T85" fmla="*/ 298 h 320"/>
                <a:gd name="T86" fmla="*/ 22 w 280"/>
                <a:gd name="T87" fmla="*/ 298 h 320"/>
                <a:gd name="T88" fmla="*/ 22 w 280"/>
                <a:gd name="T89" fmla="*/ 21 h 320"/>
                <a:gd name="T90" fmla="*/ 171 w 280"/>
                <a:gd name="T91" fmla="*/ 21 h 320"/>
                <a:gd name="T92" fmla="*/ 171 w 280"/>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0" h="320">
                  <a:moveTo>
                    <a:pt x="54" y="117"/>
                  </a:moveTo>
                  <a:cubicBezTo>
                    <a:pt x="139" y="117"/>
                    <a:pt x="139" y="117"/>
                    <a:pt x="139" y="117"/>
                  </a:cubicBezTo>
                  <a:cubicBezTo>
                    <a:pt x="145" y="117"/>
                    <a:pt x="150" y="112"/>
                    <a:pt x="150" y="106"/>
                  </a:cubicBezTo>
                  <a:cubicBezTo>
                    <a:pt x="150" y="53"/>
                    <a:pt x="150" y="53"/>
                    <a:pt x="150" y="53"/>
                  </a:cubicBezTo>
                  <a:cubicBezTo>
                    <a:pt x="150" y="47"/>
                    <a:pt x="145" y="42"/>
                    <a:pt x="139" y="42"/>
                  </a:cubicBezTo>
                  <a:cubicBezTo>
                    <a:pt x="54" y="42"/>
                    <a:pt x="54" y="42"/>
                    <a:pt x="54" y="42"/>
                  </a:cubicBezTo>
                  <a:cubicBezTo>
                    <a:pt x="48" y="42"/>
                    <a:pt x="43" y="47"/>
                    <a:pt x="43" y="53"/>
                  </a:cubicBezTo>
                  <a:cubicBezTo>
                    <a:pt x="43" y="106"/>
                    <a:pt x="43" y="106"/>
                    <a:pt x="43" y="106"/>
                  </a:cubicBezTo>
                  <a:cubicBezTo>
                    <a:pt x="43" y="112"/>
                    <a:pt x="48" y="117"/>
                    <a:pt x="54" y="117"/>
                  </a:cubicBezTo>
                  <a:close/>
                  <a:moveTo>
                    <a:pt x="64" y="64"/>
                  </a:moveTo>
                  <a:cubicBezTo>
                    <a:pt x="128" y="64"/>
                    <a:pt x="128" y="64"/>
                    <a:pt x="128" y="64"/>
                  </a:cubicBezTo>
                  <a:cubicBezTo>
                    <a:pt x="128" y="96"/>
                    <a:pt x="128" y="96"/>
                    <a:pt x="128" y="96"/>
                  </a:cubicBezTo>
                  <a:cubicBezTo>
                    <a:pt x="64" y="96"/>
                    <a:pt x="64" y="96"/>
                    <a:pt x="64" y="96"/>
                  </a:cubicBezTo>
                  <a:lnTo>
                    <a:pt x="64" y="64"/>
                  </a:lnTo>
                  <a:close/>
                  <a:moveTo>
                    <a:pt x="256" y="135"/>
                  </a:moveTo>
                  <a:cubicBezTo>
                    <a:pt x="263" y="132"/>
                    <a:pt x="267" y="125"/>
                    <a:pt x="267" y="117"/>
                  </a:cubicBezTo>
                  <a:cubicBezTo>
                    <a:pt x="267" y="117"/>
                    <a:pt x="267" y="117"/>
                    <a:pt x="267" y="117"/>
                  </a:cubicBezTo>
                  <a:cubicBezTo>
                    <a:pt x="267" y="116"/>
                    <a:pt x="267" y="116"/>
                    <a:pt x="267" y="116"/>
                  </a:cubicBezTo>
                  <a:cubicBezTo>
                    <a:pt x="267" y="111"/>
                    <a:pt x="264" y="106"/>
                    <a:pt x="261" y="102"/>
                  </a:cubicBezTo>
                  <a:cubicBezTo>
                    <a:pt x="234" y="48"/>
                    <a:pt x="234" y="48"/>
                    <a:pt x="234" y="48"/>
                  </a:cubicBezTo>
                  <a:cubicBezTo>
                    <a:pt x="231" y="43"/>
                    <a:pt x="225" y="41"/>
                    <a:pt x="220" y="43"/>
                  </a:cubicBezTo>
                  <a:cubicBezTo>
                    <a:pt x="214" y="46"/>
                    <a:pt x="212" y="52"/>
                    <a:pt x="215" y="58"/>
                  </a:cubicBezTo>
                  <a:cubicBezTo>
                    <a:pt x="235" y="99"/>
                    <a:pt x="235" y="99"/>
                    <a:pt x="235" y="99"/>
                  </a:cubicBezTo>
                  <a:cubicBezTo>
                    <a:pt x="229" y="102"/>
                    <a:pt x="224" y="109"/>
                    <a:pt x="224" y="117"/>
                  </a:cubicBezTo>
                  <a:cubicBezTo>
                    <a:pt x="224" y="120"/>
                    <a:pt x="225" y="123"/>
                    <a:pt x="227" y="126"/>
                  </a:cubicBezTo>
                  <a:cubicBezTo>
                    <a:pt x="227" y="126"/>
                    <a:pt x="227" y="126"/>
                    <a:pt x="227" y="127"/>
                  </a:cubicBezTo>
                  <a:cubicBezTo>
                    <a:pt x="228" y="128"/>
                    <a:pt x="228" y="128"/>
                    <a:pt x="228" y="128"/>
                  </a:cubicBezTo>
                  <a:cubicBezTo>
                    <a:pt x="228" y="129"/>
                    <a:pt x="228" y="129"/>
                    <a:pt x="228" y="129"/>
                  </a:cubicBezTo>
                  <a:cubicBezTo>
                    <a:pt x="237" y="144"/>
                    <a:pt x="237" y="144"/>
                    <a:pt x="237" y="144"/>
                  </a:cubicBezTo>
                  <a:cubicBezTo>
                    <a:pt x="237" y="144"/>
                    <a:pt x="258" y="178"/>
                    <a:pt x="246" y="209"/>
                  </a:cubicBezTo>
                  <a:cubicBezTo>
                    <a:pt x="239" y="228"/>
                    <a:pt x="221" y="242"/>
                    <a:pt x="192" y="252"/>
                  </a:cubicBezTo>
                  <a:cubicBezTo>
                    <a:pt x="192" y="10"/>
                    <a:pt x="192" y="10"/>
                    <a:pt x="192" y="10"/>
                  </a:cubicBezTo>
                  <a:cubicBezTo>
                    <a:pt x="192" y="4"/>
                    <a:pt x="188" y="0"/>
                    <a:pt x="182" y="0"/>
                  </a:cubicBezTo>
                  <a:cubicBezTo>
                    <a:pt x="11" y="0"/>
                    <a:pt x="11" y="0"/>
                    <a:pt x="11" y="0"/>
                  </a:cubicBezTo>
                  <a:cubicBezTo>
                    <a:pt x="5" y="0"/>
                    <a:pt x="0" y="4"/>
                    <a:pt x="0" y="10"/>
                  </a:cubicBezTo>
                  <a:cubicBezTo>
                    <a:pt x="0" y="309"/>
                    <a:pt x="0" y="309"/>
                    <a:pt x="0" y="309"/>
                  </a:cubicBezTo>
                  <a:cubicBezTo>
                    <a:pt x="0" y="315"/>
                    <a:pt x="5" y="320"/>
                    <a:pt x="11" y="320"/>
                  </a:cubicBezTo>
                  <a:cubicBezTo>
                    <a:pt x="182" y="320"/>
                    <a:pt x="182" y="320"/>
                    <a:pt x="182" y="320"/>
                  </a:cubicBezTo>
                  <a:cubicBezTo>
                    <a:pt x="188" y="320"/>
                    <a:pt x="192" y="315"/>
                    <a:pt x="192" y="309"/>
                  </a:cubicBezTo>
                  <a:cubicBezTo>
                    <a:pt x="192" y="274"/>
                    <a:pt x="192" y="274"/>
                    <a:pt x="192" y="274"/>
                  </a:cubicBezTo>
                  <a:cubicBezTo>
                    <a:pt x="231" y="262"/>
                    <a:pt x="256" y="243"/>
                    <a:pt x="266" y="216"/>
                  </a:cubicBezTo>
                  <a:cubicBezTo>
                    <a:pt x="280" y="181"/>
                    <a:pt x="262" y="145"/>
                    <a:pt x="256" y="135"/>
                  </a:cubicBezTo>
                  <a:close/>
                  <a:moveTo>
                    <a:pt x="171" y="298"/>
                  </a:moveTo>
                  <a:cubicBezTo>
                    <a:pt x="22" y="298"/>
                    <a:pt x="22" y="298"/>
                    <a:pt x="22" y="298"/>
                  </a:cubicBezTo>
                  <a:cubicBezTo>
                    <a:pt x="22" y="21"/>
                    <a:pt x="22" y="21"/>
                    <a:pt x="22" y="21"/>
                  </a:cubicBezTo>
                  <a:cubicBezTo>
                    <a:pt x="171" y="21"/>
                    <a:pt x="171" y="21"/>
                    <a:pt x="171" y="21"/>
                  </a:cubicBezTo>
                  <a:lnTo>
                    <a:pt x="171"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4" name="Group 638">
            <a:extLst>
              <a:ext uri="{FF2B5EF4-FFF2-40B4-BE49-F238E27FC236}">
                <a16:creationId xmlns:a16="http://schemas.microsoft.com/office/drawing/2014/main" id="{75CAAB64-0309-4092-B9C1-1A4E21432B16}"/>
              </a:ext>
            </a:extLst>
          </p:cNvPr>
          <p:cNvGrpSpPr>
            <a:grpSpLocks noChangeAspect="1"/>
          </p:cNvGrpSpPr>
          <p:nvPr/>
        </p:nvGrpSpPr>
        <p:grpSpPr bwMode="auto">
          <a:xfrm>
            <a:off x="7874148" y="1700213"/>
            <a:ext cx="369676" cy="369676"/>
            <a:chOff x="4300" y="2260"/>
            <a:chExt cx="340" cy="340"/>
          </a:xfrm>
          <a:solidFill>
            <a:schemeClr val="accent1"/>
          </a:solidFill>
        </p:grpSpPr>
        <p:sp>
          <p:nvSpPr>
            <p:cNvPr id="145" name="Freeform 639">
              <a:extLst>
                <a:ext uri="{FF2B5EF4-FFF2-40B4-BE49-F238E27FC236}">
                  <a16:creationId xmlns:a16="http://schemas.microsoft.com/office/drawing/2014/main" id="{F1DC1EBD-BC98-498C-BFE0-7991ADFECA5C}"/>
                </a:ext>
              </a:extLst>
            </p:cNvPr>
            <p:cNvSpPr>
              <a:spLocks/>
            </p:cNvSpPr>
            <p:nvPr/>
          </p:nvSpPr>
          <p:spPr bwMode="auto">
            <a:xfrm>
              <a:off x="4463" y="2437"/>
              <a:ext cx="14" cy="99"/>
            </a:xfrm>
            <a:custGeom>
              <a:avLst/>
              <a:gdLst>
                <a:gd name="T0" fmla="*/ 11 w 21"/>
                <a:gd name="T1" fmla="*/ 0 h 150"/>
                <a:gd name="T2" fmla="*/ 0 w 21"/>
                <a:gd name="T3" fmla="*/ 11 h 150"/>
                <a:gd name="T4" fmla="*/ 0 w 21"/>
                <a:gd name="T5" fmla="*/ 139 h 150"/>
                <a:gd name="T6" fmla="*/ 11 w 21"/>
                <a:gd name="T7" fmla="*/ 150 h 150"/>
                <a:gd name="T8" fmla="*/ 21 w 21"/>
                <a:gd name="T9" fmla="*/ 139 h 150"/>
                <a:gd name="T10" fmla="*/ 21 w 21"/>
                <a:gd name="T11" fmla="*/ 11 h 150"/>
                <a:gd name="T12" fmla="*/ 11 w 21"/>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21" h="150">
                  <a:moveTo>
                    <a:pt x="11" y="0"/>
                  </a:moveTo>
                  <a:cubicBezTo>
                    <a:pt x="5" y="0"/>
                    <a:pt x="0" y="5"/>
                    <a:pt x="0" y="11"/>
                  </a:cubicBezTo>
                  <a:cubicBezTo>
                    <a:pt x="0" y="139"/>
                    <a:pt x="0" y="139"/>
                    <a:pt x="0" y="139"/>
                  </a:cubicBezTo>
                  <a:cubicBezTo>
                    <a:pt x="0" y="145"/>
                    <a:pt x="5" y="150"/>
                    <a:pt x="11" y="150"/>
                  </a:cubicBezTo>
                  <a:cubicBezTo>
                    <a:pt x="17" y="150"/>
                    <a:pt x="21" y="145"/>
                    <a:pt x="21" y="139"/>
                  </a:cubicBezTo>
                  <a:cubicBezTo>
                    <a:pt x="21" y="11"/>
                    <a:pt x="21" y="11"/>
                    <a:pt x="21" y="11"/>
                  </a:cubicBezTo>
                  <a:cubicBezTo>
                    <a:pt x="21" y="5"/>
                    <a:pt x="17"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6" name="Freeform 640">
              <a:extLst>
                <a:ext uri="{FF2B5EF4-FFF2-40B4-BE49-F238E27FC236}">
                  <a16:creationId xmlns:a16="http://schemas.microsoft.com/office/drawing/2014/main" id="{4E001094-D7BF-4BFB-8CA3-7CE09365D873}"/>
                </a:ext>
              </a:extLst>
            </p:cNvPr>
            <p:cNvSpPr>
              <a:spLocks noEditPoints="1"/>
            </p:cNvSpPr>
            <p:nvPr/>
          </p:nvSpPr>
          <p:spPr bwMode="auto">
            <a:xfrm>
              <a:off x="4405" y="2330"/>
              <a:ext cx="132" cy="107"/>
            </a:xfrm>
            <a:custGeom>
              <a:avLst/>
              <a:gdLst>
                <a:gd name="T0" fmla="*/ 192 w 199"/>
                <a:gd name="T1" fmla="*/ 140 h 160"/>
                <a:gd name="T2" fmla="*/ 129 w 199"/>
                <a:gd name="T3" fmla="*/ 105 h 160"/>
                <a:gd name="T4" fmla="*/ 108 w 199"/>
                <a:gd name="T5" fmla="*/ 77 h 160"/>
                <a:gd name="T6" fmla="*/ 108 w 199"/>
                <a:gd name="T7" fmla="*/ 11 h 160"/>
                <a:gd name="T8" fmla="*/ 98 w 199"/>
                <a:gd name="T9" fmla="*/ 0 h 160"/>
                <a:gd name="T10" fmla="*/ 87 w 199"/>
                <a:gd name="T11" fmla="*/ 11 h 160"/>
                <a:gd name="T12" fmla="*/ 87 w 199"/>
                <a:gd name="T13" fmla="*/ 77 h 160"/>
                <a:gd name="T14" fmla="*/ 66 w 199"/>
                <a:gd name="T15" fmla="*/ 107 h 160"/>
                <a:gd name="T16" fmla="*/ 7 w 199"/>
                <a:gd name="T17" fmla="*/ 140 h 160"/>
                <a:gd name="T18" fmla="*/ 3 w 199"/>
                <a:gd name="T19" fmla="*/ 155 h 160"/>
                <a:gd name="T20" fmla="*/ 12 w 199"/>
                <a:gd name="T21" fmla="*/ 160 h 160"/>
                <a:gd name="T22" fmla="*/ 18 w 199"/>
                <a:gd name="T23" fmla="*/ 159 h 160"/>
                <a:gd name="T24" fmla="*/ 73 w 199"/>
                <a:gd name="T25" fmla="*/ 127 h 160"/>
                <a:gd name="T26" fmla="*/ 98 w 199"/>
                <a:gd name="T27" fmla="*/ 139 h 160"/>
                <a:gd name="T28" fmla="*/ 123 w 199"/>
                <a:gd name="T29" fmla="*/ 126 h 160"/>
                <a:gd name="T30" fmla="*/ 181 w 199"/>
                <a:gd name="T31" fmla="*/ 159 h 160"/>
                <a:gd name="T32" fmla="*/ 187 w 199"/>
                <a:gd name="T33" fmla="*/ 160 h 160"/>
                <a:gd name="T34" fmla="*/ 196 w 199"/>
                <a:gd name="T35" fmla="*/ 155 h 160"/>
                <a:gd name="T36" fmla="*/ 192 w 199"/>
                <a:gd name="T37" fmla="*/ 140 h 160"/>
                <a:gd name="T38" fmla="*/ 98 w 199"/>
                <a:gd name="T39" fmla="*/ 118 h 160"/>
                <a:gd name="T40" fmla="*/ 87 w 199"/>
                <a:gd name="T41" fmla="*/ 107 h 160"/>
                <a:gd name="T42" fmla="*/ 98 w 199"/>
                <a:gd name="T43" fmla="*/ 96 h 160"/>
                <a:gd name="T44" fmla="*/ 108 w 199"/>
                <a:gd name="T45" fmla="*/ 107 h 160"/>
                <a:gd name="T46" fmla="*/ 98 w 199"/>
                <a:gd name="T47" fmla="*/ 1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9" h="160">
                  <a:moveTo>
                    <a:pt x="192" y="140"/>
                  </a:moveTo>
                  <a:cubicBezTo>
                    <a:pt x="129" y="105"/>
                    <a:pt x="129" y="105"/>
                    <a:pt x="129" y="105"/>
                  </a:cubicBezTo>
                  <a:cubicBezTo>
                    <a:pt x="129" y="92"/>
                    <a:pt x="120" y="81"/>
                    <a:pt x="108" y="77"/>
                  </a:cubicBezTo>
                  <a:cubicBezTo>
                    <a:pt x="108" y="11"/>
                    <a:pt x="108" y="11"/>
                    <a:pt x="108" y="11"/>
                  </a:cubicBezTo>
                  <a:cubicBezTo>
                    <a:pt x="108" y="5"/>
                    <a:pt x="104" y="0"/>
                    <a:pt x="98" y="0"/>
                  </a:cubicBezTo>
                  <a:cubicBezTo>
                    <a:pt x="92" y="0"/>
                    <a:pt x="87" y="5"/>
                    <a:pt x="87" y="11"/>
                  </a:cubicBezTo>
                  <a:cubicBezTo>
                    <a:pt x="87" y="77"/>
                    <a:pt x="87" y="77"/>
                    <a:pt x="87" y="77"/>
                  </a:cubicBezTo>
                  <a:cubicBezTo>
                    <a:pt x="75" y="81"/>
                    <a:pt x="66" y="93"/>
                    <a:pt x="66" y="107"/>
                  </a:cubicBezTo>
                  <a:cubicBezTo>
                    <a:pt x="7" y="140"/>
                    <a:pt x="7" y="140"/>
                    <a:pt x="7" y="140"/>
                  </a:cubicBezTo>
                  <a:cubicBezTo>
                    <a:pt x="2" y="143"/>
                    <a:pt x="0" y="150"/>
                    <a:pt x="3" y="155"/>
                  </a:cubicBezTo>
                  <a:cubicBezTo>
                    <a:pt x="5" y="158"/>
                    <a:pt x="9" y="160"/>
                    <a:pt x="12" y="160"/>
                  </a:cubicBezTo>
                  <a:cubicBezTo>
                    <a:pt x="14" y="160"/>
                    <a:pt x="16" y="160"/>
                    <a:pt x="18" y="159"/>
                  </a:cubicBezTo>
                  <a:cubicBezTo>
                    <a:pt x="73" y="127"/>
                    <a:pt x="73" y="127"/>
                    <a:pt x="73" y="127"/>
                  </a:cubicBezTo>
                  <a:cubicBezTo>
                    <a:pt x="79" y="134"/>
                    <a:pt x="88" y="139"/>
                    <a:pt x="98" y="139"/>
                  </a:cubicBezTo>
                  <a:cubicBezTo>
                    <a:pt x="108" y="139"/>
                    <a:pt x="117" y="134"/>
                    <a:pt x="123" y="126"/>
                  </a:cubicBezTo>
                  <a:cubicBezTo>
                    <a:pt x="181" y="159"/>
                    <a:pt x="181" y="159"/>
                    <a:pt x="181" y="159"/>
                  </a:cubicBezTo>
                  <a:cubicBezTo>
                    <a:pt x="183" y="160"/>
                    <a:pt x="185" y="160"/>
                    <a:pt x="187" y="160"/>
                  </a:cubicBezTo>
                  <a:cubicBezTo>
                    <a:pt x="190" y="160"/>
                    <a:pt x="194" y="158"/>
                    <a:pt x="196" y="155"/>
                  </a:cubicBezTo>
                  <a:cubicBezTo>
                    <a:pt x="199" y="150"/>
                    <a:pt x="197" y="143"/>
                    <a:pt x="192" y="140"/>
                  </a:cubicBezTo>
                  <a:close/>
                  <a:moveTo>
                    <a:pt x="98" y="118"/>
                  </a:moveTo>
                  <a:cubicBezTo>
                    <a:pt x="92" y="118"/>
                    <a:pt x="87" y="113"/>
                    <a:pt x="87" y="107"/>
                  </a:cubicBezTo>
                  <a:cubicBezTo>
                    <a:pt x="87" y="101"/>
                    <a:pt x="92" y="96"/>
                    <a:pt x="98" y="96"/>
                  </a:cubicBezTo>
                  <a:cubicBezTo>
                    <a:pt x="104" y="96"/>
                    <a:pt x="108" y="101"/>
                    <a:pt x="108" y="107"/>
                  </a:cubicBezTo>
                  <a:cubicBezTo>
                    <a:pt x="108" y="113"/>
                    <a:pt x="104" y="118"/>
                    <a:pt x="98"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7" name="Freeform 641">
              <a:extLst>
                <a:ext uri="{FF2B5EF4-FFF2-40B4-BE49-F238E27FC236}">
                  <a16:creationId xmlns:a16="http://schemas.microsoft.com/office/drawing/2014/main" id="{D2926D6D-0F7D-4158-959D-ECAD9C851751}"/>
                </a:ext>
              </a:extLst>
            </p:cNvPr>
            <p:cNvSpPr>
              <a:spLocks noEditPoints="1"/>
            </p:cNvSpPr>
            <p:nvPr/>
          </p:nvSpPr>
          <p:spPr bwMode="auto">
            <a:xfrm>
              <a:off x="4300" y="22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8" name="Freeform 645">
            <a:extLst>
              <a:ext uri="{FF2B5EF4-FFF2-40B4-BE49-F238E27FC236}">
                <a16:creationId xmlns:a16="http://schemas.microsoft.com/office/drawing/2014/main" id="{B3E47601-F635-4386-BA21-059AF75EB49D}"/>
              </a:ext>
            </a:extLst>
          </p:cNvPr>
          <p:cNvSpPr>
            <a:spLocks noChangeAspect="1" noEditPoints="1"/>
          </p:cNvSpPr>
          <p:nvPr/>
        </p:nvSpPr>
        <p:spPr bwMode="auto">
          <a:xfrm>
            <a:off x="7437261" y="1700213"/>
            <a:ext cx="370763" cy="369676"/>
          </a:xfrm>
          <a:custGeom>
            <a:avLst/>
            <a:gdLst>
              <a:gd name="T0" fmla="*/ 266 w 512"/>
              <a:gd name="T1" fmla="*/ 213 h 512"/>
              <a:gd name="T2" fmla="*/ 256 w 512"/>
              <a:gd name="T3" fmla="*/ 224 h 512"/>
              <a:gd name="T4" fmla="*/ 245 w 512"/>
              <a:gd name="T5" fmla="*/ 213 h 512"/>
              <a:gd name="T6" fmla="*/ 256 w 512"/>
              <a:gd name="T7" fmla="*/ 202 h 512"/>
              <a:gd name="T8" fmla="*/ 266 w 512"/>
              <a:gd name="T9" fmla="*/ 213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66 w 512"/>
              <a:gd name="T21" fmla="*/ 277 h 512"/>
              <a:gd name="T22" fmla="*/ 256 w 512"/>
              <a:gd name="T23" fmla="*/ 266 h 512"/>
              <a:gd name="T24" fmla="*/ 245 w 512"/>
              <a:gd name="T25" fmla="*/ 277 h 512"/>
              <a:gd name="T26" fmla="*/ 245 w 512"/>
              <a:gd name="T27" fmla="*/ 405 h 512"/>
              <a:gd name="T28" fmla="*/ 256 w 512"/>
              <a:gd name="T29" fmla="*/ 416 h 512"/>
              <a:gd name="T30" fmla="*/ 266 w 512"/>
              <a:gd name="T31" fmla="*/ 405 h 512"/>
              <a:gd name="T32" fmla="*/ 266 w 512"/>
              <a:gd name="T33" fmla="*/ 277 h 512"/>
              <a:gd name="T34" fmla="*/ 350 w 512"/>
              <a:gd name="T35" fmla="*/ 246 h 512"/>
              <a:gd name="T36" fmla="*/ 287 w 512"/>
              <a:gd name="T37" fmla="*/ 211 h 512"/>
              <a:gd name="T38" fmla="*/ 266 w 512"/>
              <a:gd name="T39" fmla="*/ 183 h 512"/>
              <a:gd name="T40" fmla="*/ 266 w 512"/>
              <a:gd name="T41" fmla="*/ 117 h 512"/>
              <a:gd name="T42" fmla="*/ 256 w 512"/>
              <a:gd name="T43" fmla="*/ 106 h 512"/>
              <a:gd name="T44" fmla="*/ 245 w 512"/>
              <a:gd name="T45" fmla="*/ 117 h 512"/>
              <a:gd name="T46" fmla="*/ 245 w 512"/>
              <a:gd name="T47" fmla="*/ 183 h 512"/>
              <a:gd name="T48" fmla="*/ 224 w 512"/>
              <a:gd name="T49" fmla="*/ 213 h 512"/>
              <a:gd name="T50" fmla="*/ 165 w 512"/>
              <a:gd name="T51" fmla="*/ 246 h 512"/>
              <a:gd name="T52" fmla="*/ 161 w 512"/>
              <a:gd name="T53" fmla="*/ 261 h 512"/>
              <a:gd name="T54" fmla="*/ 170 w 512"/>
              <a:gd name="T55" fmla="*/ 266 h 512"/>
              <a:gd name="T56" fmla="*/ 176 w 512"/>
              <a:gd name="T57" fmla="*/ 265 h 512"/>
              <a:gd name="T58" fmla="*/ 231 w 512"/>
              <a:gd name="T59" fmla="*/ 233 h 512"/>
              <a:gd name="T60" fmla="*/ 256 w 512"/>
              <a:gd name="T61" fmla="*/ 245 h 512"/>
              <a:gd name="T62" fmla="*/ 281 w 512"/>
              <a:gd name="T63" fmla="*/ 232 h 512"/>
              <a:gd name="T64" fmla="*/ 339 w 512"/>
              <a:gd name="T65" fmla="*/ 265 h 512"/>
              <a:gd name="T66" fmla="*/ 345 w 512"/>
              <a:gd name="T67" fmla="*/ 266 h 512"/>
              <a:gd name="T68" fmla="*/ 354 w 512"/>
              <a:gd name="T69" fmla="*/ 261 h 512"/>
              <a:gd name="T70" fmla="*/ 350 w 512"/>
              <a:gd name="T71"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66" y="213"/>
                </a:moveTo>
                <a:cubicBezTo>
                  <a:pt x="266" y="219"/>
                  <a:pt x="262" y="224"/>
                  <a:pt x="256" y="224"/>
                </a:cubicBezTo>
                <a:cubicBezTo>
                  <a:pt x="250" y="224"/>
                  <a:pt x="245" y="219"/>
                  <a:pt x="245" y="213"/>
                </a:cubicBezTo>
                <a:cubicBezTo>
                  <a:pt x="245" y="207"/>
                  <a:pt x="250" y="202"/>
                  <a:pt x="256" y="202"/>
                </a:cubicBezTo>
                <a:cubicBezTo>
                  <a:pt x="262" y="202"/>
                  <a:pt x="266" y="207"/>
                  <a:pt x="266"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77"/>
                </a:moveTo>
                <a:cubicBezTo>
                  <a:pt x="266" y="271"/>
                  <a:pt x="262" y="266"/>
                  <a:pt x="256" y="266"/>
                </a:cubicBezTo>
                <a:cubicBezTo>
                  <a:pt x="250" y="266"/>
                  <a:pt x="245" y="271"/>
                  <a:pt x="245" y="277"/>
                </a:cubicBezTo>
                <a:cubicBezTo>
                  <a:pt x="245" y="405"/>
                  <a:pt x="245" y="405"/>
                  <a:pt x="245" y="405"/>
                </a:cubicBezTo>
                <a:cubicBezTo>
                  <a:pt x="245" y="411"/>
                  <a:pt x="250" y="416"/>
                  <a:pt x="256" y="416"/>
                </a:cubicBezTo>
                <a:cubicBezTo>
                  <a:pt x="262" y="416"/>
                  <a:pt x="266" y="411"/>
                  <a:pt x="266" y="405"/>
                </a:cubicBezTo>
                <a:lnTo>
                  <a:pt x="266" y="277"/>
                </a:lnTo>
                <a:close/>
                <a:moveTo>
                  <a:pt x="350" y="246"/>
                </a:moveTo>
                <a:cubicBezTo>
                  <a:pt x="287" y="211"/>
                  <a:pt x="287" y="211"/>
                  <a:pt x="287" y="211"/>
                </a:cubicBezTo>
                <a:cubicBezTo>
                  <a:pt x="287" y="198"/>
                  <a:pt x="278" y="187"/>
                  <a:pt x="266" y="183"/>
                </a:cubicBezTo>
                <a:cubicBezTo>
                  <a:pt x="266" y="117"/>
                  <a:pt x="266" y="117"/>
                  <a:pt x="266" y="117"/>
                </a:cubicBezTo>
                <a:cubicBezTo>
                  <a:pt x="266" y="111"/>
                  <a:pt x="262" y="106"/>
                  <a:pt x="256" y="106"/>
                </a:cubicBezTo>
                <a:cubicBezTo>
                  <a:pt x="250" y="106"/>
                  <a:pt x="245" y="111"/>
                  <a:pt x="245" y="117"/>
                </a:cubicBezTo>
                <a:cubicBezTo>
                  <a:pt x="245" y="183"/>
                  <a:pt x="245" y="183"/>
                  <a:pt x="245" y="183"/>
                </a:cubicBezTo>
                <a:cubicBezTo>
                  <a:pt x="233" y="187"/>
                  <a:pt x="224" y="199"/>
                  <a:pt x="224" y="213"/>
                </a:cubicBezTo>
                <a:cubicBezTo>
                  <a:pt x="165" y="246"/>
                  <a:pt x="165" y="246"/>
                  <a:pt x="165" y="246"/>
                </a:cubicBezTo>
                <a:cubicBezTo>
                  <a:pt x="160" y="249"/>
                  <a:pt x="158" y="256"/>
                  <a:pt x="161" y="261"/>
                </a:cubicBezTo>
                <a:cubicBezTo>
                  <a:pt x="163" y="264"/>
                  <a:pt x="167" y="266"/>
                  <a:pt x="170" y="266"/>
                </a:cubicBezTo>
                <a:cubicBezTo>
                  <a:pt x="172" y="266"/>
                  <a:pt x="174" y="266"/>
                  <a:pt x="176" y="265"/>
                </a:cubicBezTo>
                <a:cubicBezTo>
                  <a:pt x="231" y="233"/>
                  <a:pt x="231" y="233"/>
                  <a:pt x="231" y="233"/>
                </a:cubicBezTo>
                <a:cubicBezTo>
                  <a:pt x="237" y="240"/>
                  <a:pt x="246" y="245"/>
                  <a:pt x="256" y="245"/>
                </a:cubicBezTo>
                <a:cubicBezTo>
                  <a:pt x="266" y="245"/>
                  <a:pt x="275" y="240"/>
                  <a:pt x="281" y="232"/>
                </a:cubicBezTo>
                <a:cubicBezTo>
                  <a:pt x="339" y="265"/>
                  <a:pt x="339" y="265"/>
                  <a:pt x="339" y="265"/>
                </a:cubicBezTo>
                <a:cubicBezTo>
                  <a:pt x="341" y="266"/>
                  <a:pt x="343" y="266"/>
                  <a:pt x="345" y="266"/>
                </a:cubicBezTo>
                <a:cubicBezTo>
                  <a:pt x="348" y="266"/>
                  <a:pt x="352" y="264"/>
                  <a:pt x="354" y="261"/>
                </a:cubicBezTo>
                <a:cubicBezTo>
                  <a:pt x="357" y="256"/>
                  <a:pt x="355" y="249"/>
                  <a:pt x="350" y="2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9" name="Group 396">
            <a:extLst>
              <a:ext uri="{FF2B5EF4-FFF2-40B4-BE49-F238E27FC236}">
                <a16:creationId xmlns:a16="http://schemas.microsoft.com/office/drawing/2014/main" id="{4F40CDFA-0D80-4668-B525-00C8B947C227}"/>
              </a:ext>
            </a:extLst>
          </p:cNvPr>
          <p:cNvGrpSpPr>
            <a:grpSpLocks noChangeAspect="1"/>
          </p:cNvGrpSpPr>
          <p:nvPr/>
        </p:nvGrpSpPr>
        <p:grpSpPr bwMode="auto">
          <a:xfrm>
            <a:off x="9615383" y="1700213"/>
            <a:ext cx="369021" cy="369021"/>
            <a:chOff x="6573" y="1568"/>
            <a:chExt cx="340" cy="340"/>
          </a:xfrm>
          <a:solidFill>
            <a:schemeClr val="accent5"/>
          </a:solidFill>
        </p:grpSpPr>
        <p:sp>
          <p:nvSpPr>
            <p:cNvPr id="150" name="Freeform 397">
              <a:extLst>
                <a:ext uri="{FF2B5EF4-FFF2-40B4-BE49-F238E27FC236}">
                  <a16:creationId xmlns:a16="http://schemas.microsoft.com/office/drawing/2014/main" id="{378074E9-6662-4BF3-A7C1-07F8A796FBB5}"/>
                </a:ext>
              </a:extLst>
            </p:cNvPr>
            <p:cNvSpPr>
              <a:spLocks noEditPoints="1"/>
            </p:cNvSpPr>
            <p:nvPr/>
          </p:nvSpPr>
          <p:spPr bwMode="auto">
            <a:xfrm>
              <a:off x="6573" y="156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1" name="Freeform 398">
              <a:extLst>
                <a:ext uri="{FF2B5EF4-FFF2-40B4-BE49-F238E27FC236}">
                  <a16:creationId xmlns:a16="http://schemas.microsoft.com/office/drawing/2014/main" id="{B878B595-C066-4B57-9CF1-2BFA28A767FD}"/>
                </a:ext>
              </a:extLst>
            </p:cNvPr>
            <p:cNvSpPr>
              <a:spLocks noEditPoints="1"/>
            </p:cNvSpPr>
            <p:nvPr/>
          </p:nvSpPr>
          <p:spPr bwMode="auto">
            <a:xfrm>
              <a:off x="6651" y="1646"/>
              <a:ext cx="184" cy="184"/>
            </a:xfrm>
            <a:custGeom>
              <a:avLst/>
              <a:gdLst>
                <a:gd name="T0" fmla="*/ 256 w 277"/>
                <a:gd name="T1" fmla="*/ 0 h 277"/>
                <a:gd name="T2" fmla="*/ 21 w 277"/>
                <a:gd name="T3" fmla="*/ 0 h 277"/>
                <a:gd name="T4" fmla="*/ 0 w 277"/>
                <a:gd name="T5" fmla="*/ 21 h 277"/>
                <a:gd name="T6" fmla="*/ 0 w 277"/>
                <a:gd name="T7" fmla="*/ 256 h 277"/>
                <a:gd name="T8" fmla="*/ 21 w 277"/>
                <a:gd name="T9" fmla="*/ 277 h 277"/>
                <a:gd name="T10" fmla="*/ 256 w 277"/>
                <a:gd name="T11" fmla="*/ 277 h 277"/>
                <a:gd name="T12" fmla="*/ 277 w 277"/>
                <a:gd name="T13" fmla="*/ 256 h 277"/>
                <a:gd name="T14" fmla="*/ 277 w 277"/>
                <a:gd name="T15" fmla="*/ 21 h 277"/>
                <a:gd name="T16" fmla="*/ 256 w 277"/>
                <a:gd name="T17" fmla="*/ 0 h 277"/>
                <a:gd name="T18" fmla="*/ 256 w 277"/>
                <a:gd name="T19" fmla="*/ 256 h 277"/>
                <a:gd name="T20" fmla="*/ 21 w 277"/>
                <a:gd name="T21" fmla="*/ 256 h 277"/>
                <a:gd name="T22" fmla="*/ 21 w 277"/>
                <a:gd name="T23" fmla="*/ 21 h 277"/>
                <a:gd name="T24" fmla="*/ 256 w 277"/>
                <a:gd name="T25" fmla="*/ 21 h 277"/>
                <a:gd name="T26" fmla="*/ 256 w 277"/>
                <a:gd name="T27" fmla="*/ 256 h 277"/>
                <a:gd name="T28" fmla="*/ 139 w 277"/>
                <a:gd name="T29" fmla="*/ 235 h 277"/>
                <a:gd name="T30" fmla="*/ 235 w 277"/>
                <a:gd name="T31" fmla="*/ 139 h 277"/>
                <a:gd name="T32" fmla="*/ 139 w 277"/>
                <a:gd name="T33" fmla="*/ 43 h 277"/>
                <a:gd name="T34" fmla="*/ 43 w 277"/>
                <a:gd name="T35" fmla="*/ 139 h 277"/>
                <a:gd name="T36" fmla="*/ 139 w 277"/>
                <a:gd name="T37" fmla="*/ 235 h 277"/>
                <a:gd name="T38" fmla="*/ 139 w 277"/>
                <a:gd name="T39" fmla="*/ 64 h 277"/>
                <a:gd name="T40" fmla="*/ 213 w 277"/>
                <a:gd name="T41" fmla="*/ 139 h 277"/>
                <a:gd name="T42" fmla="*/ 139 w 277"/>
                <a:gd name="T43" fmla="*/ 213 h 277"/>
                <a:gd name="T44" fmla="*/ 64 w 277"/>
                <a:gd name="T45" fmla="*/ 139 h 277"/>
                <a:gd name="T46" fmla="*/ 139 w 277"/>
                <a:gd name="T47" fmla="*/ 64 h 277"/>
                <a:gd name="T48" fmla="*/ 90 w 277"/>
                <a:gd name="T49" fmla="*/ 139 h 277"/>
                <a:gd name="T50" fmla="*/ 107 w 277"/>
                <a:gd name="T51" fmla="*/ 122 h 277"/>
                <a:gd name="T52" fmla="*/ 123 w 277"/>
                <a:gd name="T53" fmla="*/ 139 h 277"/>
                <a:gd name="T54" fmla="*/ 107 w 277"/>
                <a:gd name="T55" fmla="*/ 155 h 277"/>
                <a:gd name="T56" fmla="*/ 90 w 277"/>
                <a:gd name="T57" fmla="*/ 139 h 277"/>
                <a:gd name="T58" fmla="*/ 154 w 277"/>
                <a:gd name="T59" fmla="*/ 139 h 277"/>
                <a:gd name="T60" fmla="*/ 171 w 277"/>
                <a:gd name="T61" fmla="*/ 122 h 277"/>
                <a:gd name="T62" fmla="*/ 187 w 277"/>
                <a:gd name="T63" fmla="*/ 139 h 277"/>
                <a:gd name="T64" fmla="*/ 171 w 277"/>
                <a:gd name="T65" fmla="*/ 155 h 277"/>
                <a:gd name="T66" fmla="*/ 154 w 277"/>
                <a:gd name="T67" fmla="*/ 13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277">
                  <a:moveTo>
                    <a:pt x="256" y="0"/>
                  </a:moveTo>
                  <a:cubicBezTo>
                    <a:pt x="21" y="0"/>
                    <a:pt x="21" y="0"/>
                    <a:pt x="21" y="0"/>
                  </a:cubicBezTo>
                  <a:cubicBezTo>
                    <a:pt x="10" y="0"/>
                    <a:pt x="0" y="10"/>
                    <a:pt x="0" y="21"/>
                  </a:cubicBezTo>
                  <a:cubicBezTo>
                    <a:pt x="0" y="256"/>
                    <a:pt x="0" y="256"/>
                    <a:pt x="0" y="256"/>
                  </a:cubicBezTo>
                  <a:cubicBezTo>
                    <a:pt x="0" y="268"/>
                    <a:pt x="10" y="277"/>
                    <a:pt x="21" y="277"/>
                  </a:cubicBezTo>
                  <a:cubicBezTo>
                    <a:pt x="256" y="277"/>
                    <a:pt x="256" y="277"/>
                    <a:pt x="256" y="277"/>
                  </a:cubicBezTo>
                  <a:cubicBezTo>
                    <a:pt x="268" y="277"/>
                    <a:pt x="277" y="268"/>
                    <a:pt x="277" y="256"/>
                  </a:cubicBezTo>
                  <a:cubicBezTo>
                    <a:pt x="277" y="21"/>
                    <a:pt x="277" y="21"/>
                    <a:pt x="277" y="21"/>
                  </a:cubicBezTo>
                  <a:cubicBezTo>
                    <a:pt x="277" y="10"/>
                    <a:pt x="268" y="0"/>
                    <a:pt x="256" y="0"/>
                  </a:cubicBezTo>
                  <a:close/>
                  <a:moveTo>
                    <a:pt x="256" y="256"/>
                  </a:moveTo>
                  <a:cubicBezTo>
                    <a:pt x="21" y="256"/>
                    <a:pt x="21" y="256"/>
                    <a:pt x="21" y="256"/>
                  </a:cubicBezTo>
                  <a:cubicBezTo>
                    <a:pt x="21" y="21"/>
                    <a:pt x="21" y="21"/>
                    <a:pt x="21" y="21"/>
                  </a:cubicBezTo>
                  <a:cubicBezTo>
                    <a:pt x="256" y="21"/>
                    <a:pt x="256" y="21"/>
                    <a:pt x="256" y="21"/>
                  </a:cubicBezTo>
                  <a:lnTo>
                    <a:pt x="256" y="256"/>
                  </a:lnTo>
                  <a:close/>
                  <a:moveTo>
                    <a:pt x="139" y="235"/>
                  </a:moveTo>
                  <a:cubicBezTo>
                    <a:pt x="192" y="235"/>
                    <a:pt x="235" y="192"/>
                    <a:pt x="235" y="139"/>
                  </a:cubicBezTo>
                  <a:cubicBezTo>
                    <a:pt x="235" y="86"/>
                    <a:pt x="192" y="43"/>
                    <a:pt x="139" y="43"/>
                  </a:cubicBezTo>
                  <a:cubicBezTo>
                    <a:pt x="86" y="43"/>
                    <a:pt x="43" y="86"/>
                    <a:pt x="43" y="139"/>
                  </a:cubicBezTo>
                  <a:cubicBezTo>
                    <a:pt x="43" y="192"/>
                    <a:pt x="86" y="235"/>
                    <a:pt x="139" y="235"/>
                  </a:cubicBezTo>
                  <a:close/>
                  <a:moveTo>
                    <a:pt x="139" y="64"/>
                  </a:moveTo>
                  <a:cubicBezTo>
                    <a:pt x="180" y="64"/>
                    <a:pt x="213" y="97"/>
                    <a:pt x="213" y="139"/>
                  </a:cubicBezTo>
                  <a:cubicBezTo>
                    <a:pt x="213" y="180"/>
                    <a:pt x="180" y="213"/>
                    <a:pt x="139" y="213"/>
                  </a:cubicBezTo>
                  <a:cubicBezTo>
                    <a:pt x="97" y="213"/>
                    <a:pt x="64" y="180"/>
                    <a:pt x="64" y="139"/>
                  </a:cubicBezTo>
                  <a:cubicBezTo>
                    <a:pt x="64" y="97"/>
                    <a:pt x="97" y="64"/>
                    <a:pt x="139" y="64"/>
                  </a:cubicBezTo>
                  <a:close/>
                  <a:moveTo>
                    <a:pt x="90" y="139"/>
                  </a:moveTo>
                  <a:cubicBezTo>
                    <a:pt x="90" y="130"/>
                    <a:pt x="98" y="122"/>
                    <a:pt x="107" y="122"/>
                  </a:cubicBezTo>
                  <a:cubicBezTo>
                    <a:pt x="116" y="122"/>
                    <a:pt x="123" y="130"/>
                    <a:pt x="123" y="139"/>
                  </a:cubicBezTo>
                  <a:cubicBezTo>
                    <a:pt x="123" y="148"/>
                    <a:pt x="116" y="155"/>
                    <a:pt x="107" y="155"/>
                  </a:cubicBezTo>
                  <a:cubicBezTo>
                    <a:pt x="98" y="155"/>
                    <a:pt x="90" y="148"/>
                    <a:pt x="90" y="139"/>
                  </a:cubicBezTo>
                  <a:close/>
                  <a:moveTo>
                    <a:pt x="154" y="139"/>
                  </a:moveTo>
                  <a:cubicBezTo>
                    <a:pt x="154" y="130"/>
                    <a:pt x="162" y="122"/>
                    <a:pt x="171" y="122"/>
                  </a:cubicBezTo>
                  <a:cubicBezTo>
                    <a:pt x="180" y="122"/>
                    <a:pt x="187" y="130"/>
                    <a:pt x="187" y="139"/>
                  </a:cubicBezTo>
                  <a:cubicBezTo>
                    <a:pt x="187" y="148"/>
                    <a:pt x="180" y="155"/>
                    <a:pt x="171" y="155"/>
                  </a:cubicBezTo>
                  <a:cubicBezTo>
                    <a:pt x="162" y="155"/>
                    <a:pt x="154" y="148"/>
                    <a:pt x="154"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2" name="Freeform 402">
            <a:extLst>
              <a:ext uri="{FF2B5EF4-FFF2-40B4-BE49-F238E27FC236}">
                <a16:creationId xmlns:a16="http://schemas.microsoft.com/office/drawing/2014/main" id="{6A8833D4-397F-4C64-8A54-EFCEF4CB2BB1}"/>
              </a:ext>
            </a:extLst>
          </p:cNvPr>
          <p:cNvSpPr>
            <a:spLocks noChangeAspect="1" noEditPoints="1"/>
          </p:cNvSpPr>
          <p:nvPr/>
        </p:nvSpPr>
        <p:spPr bwMode="auto">
          <a:xfrm>
            <a:off x="9180238" y="1700213"/>
            <a:ext cx="369021" cy="369021"/>
          </a:xfrm>
          <a:custGeom>
            <a:avLst/>
            <a:gdLst>
              <a:gd name="T0" fmla="*/ 256 w 512"/>
              <a:gd name="T1" fmla="*/ 330 h 512"/>
              <a:gd name="T2" fmla="*/ 330 w 512"/>
              <a:gd name="T3" fmla="*/ 256 h 512"/>
              <a:gd name="T4" fmla="*/ 256 w 512"/>
              <a:gd name="T5" fmla="*/ 181 h 512"/>
              <a:gd name="T6" fmla="*/ 181 w 512"/>
              <a:gd name="T7" fmla="*/ 256 h 512"/>
              <a:gd name="T8" fmla="*/ 256 w 512"/>
              <a:gd name="T9" fmla="*/ 330 h 512"/>
              <a:gd name="T10" fmla="*/ 288 w 512"/>
              <a:gd name="T11" fmla="*/ 239 h 512"/>
              <a:gd name="T12" fmla="*/ 304 w 512"/>
              <a:gd name="T13" fmla="*/ 256 h 512"/>
              <a:gd name="T14" fmla="*/ 288 w 512"/>
              <a:gd name="T15" fmla="*/ 272 h 512"/>
              <a:gd name="T16" fmla="*/ 271 w 512"/>
              <a:gd name="T17" fmla="*/ 256 h 512"/>
              <a:gd name="T18" fmla="*/ 288 w 512"/>
              <a:gd name="T19" fmla="*/ 239 h 512"/>
              <a:gd name="T20" fmla="*/ 224 w 512"/>
              <a:gd name="T21" fmla="*/ 239 h 512"/>
              <a:gd name="T22" fmla="*/ 240 w 512"/>
              <a:gd name="T23" fmla="*/ 256 h 512"/>
              <a:gd name="T24" fmla="*/ 224 w 512"/>
              <a:gd name="T25" fmla="*/ 272 h 512"/>
              <a:gd name="T26" fmla="*/ 207 w 512"/>
              <a:gd name="T27" fmla="*/ 256 h 512"/>
              <a:gd name="T28" fmla="*/ 224 w 512"/>
              <a:gd name="T29" fmla="*/ 239 h 512"/>
              <a:gd name="T30" fmla="*/ 138 w 512"/>
              <a:gd name="T31" fmla="*/ 373 h 512"/>
              <a:gd name="T32" fmla="*/ 373 w 512"/>
              <a:gd name="T33" fmla="*/ 373 h 512"/>
              <a:gd name="T34" fmla="*/ 373 w 512"/>
              <a:gd name="T35" fmla="*/ 138 h 512"/>
              <a:gd name="T36" fmla="*/ 138 w 512"/>
              <a:gd name="T37" fmla="*/ 138 h 512"/>
              <a:gd name="T38" fmla="*/ 138 w 512"/>
              <a:gd name="T39" fmla="*/ 373 h 512"/>
              <a:gd name="T40" fmla="*/ 256 w 512"/>
              <a:gd name="T41" fmla="*/ 160 h 512"/>
              <a:gd name="T42" fmla="*/ 352 w 512"/>
              <a:gd name="T43" fmla="*/ 256 h 512"/>
              <a:gd name="T44" fmla="*/ 256 w 512"/>
              <a:gd name="T45" fmla="*/ 352 h 512"/>
              <a:gd name="T46" fmla="*/ 160 w 512"/>
              <a:gd name="T47" fmla="*/ 256 h 512"/>
              <a:gd name="T48" fmla="*/ 256 w 512"/>
              <a:gd name="T49" fmla="*/ 160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394 w 512"/>
              <a:gd name="T61" fmla="*/ 373 h 512"/>
              <a:gd name="T62" fmla="*/ 373 w 512"/>
              <a:gd name="T63" fmla="*/ 394 h 512"/>
              <a:gd name="T64" fmla="*/ 138 w 512"/>
              <a:gd name="T65" fmla="*/ 394 h 512"/>
              <a:gd name="T66" fmla="*/ 117 w 512"/>
              <a:gd name="T67" fmla="*/ 373 h 512"/>
              <a:gd name="T68" fmla="*/ 117 w 512"/>
              <a:gd name="T69" fmla="*/ 138 h 512"/>
              <a:gd name="T70" fmla="*/ 138 w 512"/>
              <a:gd name="T71" fmla="*/ 117 h 512"/>
              <a:gd name="T72" fmla="*/ 373 w 512"/>
              <a:gd name="T73" fmla="*/ 117 h 512"/>
              <a:gd name="T74" fmla="*/ 394 w 512"/>
              <a:gd name="T75" fmla="*/ 138 h 512"/>
              <a:gd name="T76" fmla="*/ 394 w 512"/>
              <a:gd name="T7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330"/>
                </a:moveTo>
                <a:cubicBezTo>
                  <a:pt x="297" y="330"/>
                  <a:pt x="330" y="297"/>
                  <a:pt x="330" y="256"/>
                </a:cubicBezTo>
                <a:cubicBezTo>
                  <a:pt x="330" y="214"/>
                  <a:pt x="297" y="181"/>
                  <a:pt x="256" y="181"/>
                </a:cubicBezTo>
                <a:cubicBezTo>
                  <a:pt x="214" y="181"/>
                  <a:pt x="181" y="214"/>
                  <a:pt x="181" y="256"/>
                </a:cubicBezTo>
                <a:cubicBezTo>
                  <a:pt x="181" y="297"/>
                  <a:pt x="214" y="330"/>
                  <a:pt x="256" y="330"/>
                </a:cubicBezTo>
                <a:close/>
                <a:moveTo>
                  <a:pt x="288" y="239"/>
                </a:moveTo>
                <a:cubicBezTo>
                  <a:pt x="297" y="239"/>
                  <a:pt x="304" y="247"/>
                  <a:pt x="304" y="256"/>
                </a:cubicBezTo>
                <a:cubicBezTo>
                  <a:pt x="304" y="265"/>
                  <a:pt x="297" y="272"/>
                  <a:pt x="288" y="272"/>
                </a:cubicBezTo>
                <a:cubicBezTo>
                  <a:pt x="279" y="272"/>
                  <a:pt x="271" y="265"/>
                  <a:pt x="271" y="256"/>
                </a:cubicBezTo>
                <a:cubicBezTo>
                  <a:pt x="271" y="247"/>
                  <a:pt x="279" y="239"/>
                  <a:pt x="288" y="239"/>
                </a:cubicBezTo>
                <a:close/>
                <a:moveTo>
                  <a:pt x="224" y="239"/>
                </a:moveTo>
                <a:cubicBezTo>
                  <a:pt x="233" y="239"/>
                  <a:pt x="240" y="247"/>
                  <a:pt x="240" y="256"/>
                </a:cubicBezTo>
                <a:cubicBezTo>
                  <a:pt x="240" y="265"/>
                  <a:pt x="233" y="272"/>
                  <a:pt x="224" y="272"/>
                </a:cubicBezTo>
                <a:cubicBezTo>
                  <a:pt x="215" y="272"/>
                  <a:pt x="207" y="265"/>
                  <a:pt x="207" y="256"/>
                </a:cubicBezTo>
                <a:cubicBezTo>
                  <a:pt x="207" y="247"/>
                  <a:pt x="215" y="239"/>
                  <a:pt x="224" y="239"/>
                </a:cubicBezTo>
                <a:close/>
                <a:moveTo>
                  <a:pt x="138" y="373"/>
                </a:moveTo>
                <a:cubicBezTo>
                  <a:pt x="373" y="373"/>
                  <a:pt x="373" y="373"/>
                  <a:pt x="373" y="373"/>
                </a:cubicBezTo>
                <a:cubicBezTo>
                  <a:pt x="373" y="138"/>
                  <a:pt x="373" y="138"/>
                  <a:pt x="373" y="138"/>
                </a:cubicBezTo>
                <a:cubicBezTo>
                  <a:pt x="138" y="138"/>
                  <a:pt x="138" y="138"/>
                  <a:pt x="138" y="138"/>
                </a:cubicBezTo>
                <a:lnTo>
                  <a:pt x="138" y="373"/>
                </a:lnTo>
                <a:close/>
                <a:moveTo>
                  <a:pt x="256" y="160"/>
                </a:moveTo>
                <a:cubicBezTo>
                  <a:pt x="309" y="160"/>
                  <a:pt x="352" y="203"/>
                  <a:pt x="352" y="256"/>
                </a:cubicBezTo>
                <a:cubicBezTo>
                  <a:pt x="352" y="309"/>
                  <a:pt x="309" y="352"/>
                  <a:pt x="256" y="352"/>
                </a:cubicBezTo>
                <a:cubicBezTo>
                  <a:pt x="203" y="352"/>
                  <a:pt x="160" y="309"/>
                  <a:pt x="160" y="256"/>
                </a:cubicBezTo>
                <a:cubicBezTo>
                  <a:pt x="160" y="203"/>
                  <a:pt x="203" y="160"/>
                  <a:pt x="256" y="16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73"/>
                </a:moveTo>
                <a:cubicBezTo>
                  <a:pt x="394" y="385"/>
                  <a:pt x="385" y="394"/>
                  <a:pt x="373" y="394"/>
                </a:cubicBezTo>
                <a:cubicBezTo>
                  <a:pt x="138" y="394"/>
                  <a:pt x="138" y="394"/>
                  <a:pt x="138" y="394"/>
                </a:cubicBezTo>
                <a:cubicBezTo>
                  <a:pt x="127" y="394"/>
                  <a:pt x="117" y="385"/>
                  <a:pt x="117" y="373"/>
                </a:cubicBezTo>
                <a:cubicBezTo>
                  <a:pt x="117" y="138"/>
                  <a:pt x="117" y="138"/>
                  <a:pt x="117" y="138"/>
                </a:cubicBezTo>
                <a:cubicBezTo>
                  <a:pt x="117" y="127"/>
                  <a:pt x="127" y="117"/>
                  <a:pt x="138" y="117"/>
                </a:cubicBezTo>
                <a:cubicBezTo>
                  <a:pt x="373" y="117"/>
                  <a:pt x="373" y="117"/>
                  <a:pt x="373" y="117"/>
                </a:cubicBezTo>
                <a:cubicBezTo>
                  <a:pt x="385" y="117"/>
                  <a:pt x="394" y="127"/>
                  <a:pt x="394" y="138"/>
                </a:cubicBezTo>
                <a:lnTo>
                  <a:pt x="394" y="37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3" name="Group 405">
            <a:extLst>
              <a:ext uri="{FF2B5EF4-FFF2-40B4-BE49-F238E27FC236}">
                <a16:creationId xmlns:a16="http://schemas.microsoft.com/office/drawing/2014/main" id="{6006FB0E-187F-4826-9EE2-A83C0B581B8E}"/>
              </a:ext>
            </a:extLst>
          </p:cNvPr>
          <p:cNvGrpSpPr>
            <a:grpSpLocks noChangeAspect="1"/>
          </p:cNvGrpSpPr>
          <p:nvPr/>
        </p:nvGrpSpPr>
        <p:grpSpPr bwMode="auto">
          <a:xfrm>
            <a:off x="8745093" y="1700213"/>
            <a:ext cx="369021" cy="369021"/>
            <a:chOff x="5821" y="1571"/>
            <a:chExt cx="340" cy="340"/>
          </a:xfrm>
          <a:solidFill>
            <a:schemeClr val="accent5"/>
          </a:solidFill>
        </p:grpSpPr>
        <p:sp>
          <p:nvSpPr>
            <p:cNvPr id="154" name="Freeform 406">
              <a:extLst>
                <a:ext uri="{FF2B5EF4-FFF2-40B4-BE49-F238E27FC236}">
                  <a16:creationId xmlns:a16="http://schemas.microsoft.com/office/drawing/2014/main" id="{E80D4EBA-AEC3-484C-81F6-1E26116AB649}"/>
                </a:ext>
              </a:extLst>
            </p:cNvPr>
            <p:cNvSpPr>
              <a:spLocks noEditPoints="1"/>
            </p:cNvSpPr>
            <p:nvPr/>
          </p:nvSpPr>
          <p:spPr bwMode="auto">
            <a:xfrm>
              <a:off x="5821" y="15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407">
              <a:extLst>
                <a:ext uri="{FF2B5EF4-FFF2-40B4-BE49-F238E27FC236}">
                  <a16:creationId xmlns:a16="http://schemas.microsoft.com/office/drawing/2014/main" id="{41C41DEB-FAA8-4CE6-A0B8-EDB07C271592}"/>
                </a:ext>
              </a:extLst>
            </p:cNvPr>
            <p:cNvSpPr>
              <a:spLocks noEditPoints="1"/>
            </p:cNvSpPr>
            <p:nvPr/>
          </p:nvSpPr>
          <p:spPr bwMode="auto">
            <a:xfrm>
              <a:off x="5899" y="1649"/>
              <a:ext cx="184" cy="184"/>
            </a:xfrm>
            <a:custGeom>
              <a:avLst/>
              <a:gdLst>
                <a:gd name="T0" fmla="*/ 256 w 277"/>
                <a:gd name="T1" fmla="*/ 0 h 277"/>
                <a:gd name="T2" fmla="*/ 21 w 277"/>
                <a:gd name="T3" fmla="*/ 0 h 277"/>
                <a:gd name="T4" fmla="*/ 0 w 277"/>
                <a:gd name="T5" fmla="*/ 21 h 277"/>
                <a:gd name="T6" fmla="*/ 0 w 277"/>
                <a:gd name="T7" fmla="*/ 256 h 277"/>
                <a:gd name="T8" fmla="*/ 21 w 277"/>
                <a:gd name="T9" fmla="*/ 277 h 277"/>
                <a:gd name="T10" fmla="*/ 256 w 277"/>
                <a:gd name="T11" fmla="*/ 277 h 277"/>
                <a:gd name="T12" fmla="*/ 277 w 277"/>
                <a:gd name="T13" fmla="*/ 256 h 277"/>
                <a:gd name="T14" fmla="*/ 277 w 277"/>
                <a:gd name="T15" fmla="*/ 21 h 277"/>
                <a:gd name="T16" fmla="*/ 256 w 277"/>
                <a:gd name="T17" fmla="*/ 0 h 277"/>
                <a:gd name="T18" fmla="*/ 256 w 277"/>
                <a:gd name="T19" fmla="*/ 256 h 277"/>
                <a:gd name="T20" fmla="*/ 21 w 277"/>
                <a:gd name="T21" fmla="*/ 256 h 277"/>
                <a:gd name="T22" fmla="*/ 21 w 277"/>
                <a:gd name="T23" fmla="*/ 21 h 277"/>
                <a:gd name="T24" fmla="*/ 256 w 277"/>
                <a:gd name="T25" fmla="*/ 21 h 277"/>
                <a:gd name="T26" fmla="*/ 256 w 277"/>
                <a:gd name="T27" fmla="*/ 256 h 277"/>
                <a:gd name="T28" fmla="*/ 139 w 277"/>
                <a:gd name="T29" fmla="*/ 235 h 277"/>
                <a:gd name="T30" fmla="*/ 235 w 277"/>
                <a:gd name="T31" fmla="*/ 139 h 277"/>
                <a:gd name="T32" fmla="*/ 139 w 277"/>
                <a:gd name="T33" fmla="*/ 43 h 277"/>
                <a:gd name="T34" fmla="*/ 43 w 277"/>
                <a:gd name="T35" fmla="*/ 139 h 277"/>
                <a:gd name="T36" fmla="*/ 139 w 277"/>
                <a:gd name="T37" fmla="*/ 235 h 277"/>
                <a:gd name="T38" fmla="*/ 139 w 277"/>
                <a:gd name="T39" fmla="*/ 64 h 277"/>
                <a:gd name="T40" fmla="*/ 213 w 277"/>
                <a:gd name="T41" fmla="*/ 139 h 277"/>
                <a:gd name="T42" fmla="*/ 139 w 277"/>
                <a:gd name="T43" fmla="*/ 213 h 277"/>
                <a:gd name="T44" fmla="*/ 64 w 277"/>
                <a:gd name="T45" fmla="*/ 139 h 277"/>
                <a:gd name="T46" fmla="*/ 139 w 277"/>
                <a:gd name="T47" fmla="*/ 64 h 277"/>
                <a:gd name="T48" fmla="*/ 128 w 277"/>
                <a:gd name="T49" fmla="*/ 117 h 277"/>
                <a:gd name="T50" fmla="*/ 128 w 277"/>
                <a:gd name="T51" fmla="*/ 96 h 277"/>
                <a:gd name="T52" fmla="*/ 139 w 277"/>
                <a:gd name="T53" fmla="*/ 85 h 277"/>
                <a:gd name="T54" fmla="*/ 149 w 277"/>
                <a:gd name="T55" fmla="*/ 96 h 277"/>
                <a:gd name="T56" fmla="*/ 149 w 277"/>
                <a:gd name="T57" fmla="*/ 117 h 277"/>
                <a:gd name="T58" fmla="*/ 139 w 277"/>
                <a:gd name="T59" fmla="*/ 128 h 277"/>
                <a:gd name="T60" fmla="*/ 128 w 277"/>
                <a:gd name="T61" fmla="*/ 117 h 277"/>
                <a:gd name="T62" fmla="*/ 85 w 277"/>
                <a:gd name="T63" fmla="*/ 160 h 277"/>
                <a:gd name="T64" fmla="*/ 96 w 277"/>
                <a:gd name="T65" fmla="*/ 149 h 277"/>
                <a:gd name="T66" fmla="*/ 117 w 277"/>
                <a:gd name="T67" fmla="*/ 149 h 277"/>
                <a:gd name="T68" fmla="*/ 128 w 277"/>
                <a:gd name="T69" fmla="*/ 160 h 277"/>
                <a:gd name="T70" fmla="*/ 117 w 277"/>
                <a:gd name="T71" fmla="*/ 171 h 277"/>
                <a:gd name="T72" fmla="*/ 96 w 277"/>
                <a:gd name="T73" fmla="*/ 171 h 277"/>
                <a:gd name="T74" fmla="*/ 85 w 277"/>
                <a:gd name="T75" fmla="*/ 160 h 277"/>
                <a:gd name="T76" fmla="*/ 149 w 277"/>
                <a:gd name="T77" fmla="*/ 160 h 277"/>
                <a:gd name="T78" fmla="*/ 160 w 277"/>
                <a:gd name="T79" fmla="*/ 149 h 277"/>
                <a:gd name="T80" fmla="*/ 181 w 277"/>
                <a:gd name="T81" fmla="*/ 149 h 277"/>
                <a:gd name="T82" fmla="*/ 192 w 277"/>
                <a:gd name="T83" fmla="*/ 160 h 277"/>
                <a:gd name="T84" fmla="*/ 181 w 277"/>
                <a:gd name="T85" fmla="*/ 171 h 277"/>
                <a:gd name="T86" fmla="*/ 160 w 277"/>
                <a:gd name="T87" fmla="*/ 171 h 277"/>
                <a:gd name="T88" fmla="*/ 149 w 277"/>
                <a:gd name="T89" fmla="*/ 16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77">
                  <a:moveTo>
                    <a:pt x="256" y="0"/>
                  </a:moveTo>
                  <a:cubicBezTo>
                    <a:pt x="21" y="0"/>
                    <a:pt x="21" y="0"/>
                    <a:pt x="21" y="0"/>
                  </a:cubicBezTo>
                  <a:cubicBezTo>
                    <a:pt x="10" y="0"/>
                    <a:pt x="0" y="10"/>
                    <a:pt x="0" y="21"/>
                  </a:cubicBezTo>
                  <a:cubicBezTo>
                    <a:pt x="0" y="256"/>
                    <a:pt x="0" y="256"/>
                    <a:pt x="0" y="256"/>
                  </a:cubicBezTo>
                  <a:cubicBezTo>
                    <a:pt x="0" y="268"/>
                    <a:pt x="10" y="277"/>
                    <a:pt x="21" y="277"/>
                  </a:cubicBezTo>
                  <a:cubicBezTo>
                    <a:pt x="256" y="277"/>
                    <a:pt x="256" y="277"/>
                    <a:pt x="256" y="277"/>
                  </a:cubicBezTo>
                  <a:cubicBezTo>
                    <a:pt x="268" y="277"/>
                    <a:pt x="277" y="268"/>
                    <a:pt x="277" y="256"/>
                  </a:cubicBezTo>
                  <a:cubicBezTo>
                    <a:pt x="277" y="21"/>
                    <a:pt x="277" y="21"/>
                    <a:pt x="277" y="21"/>
                  </a:cubicBezTo>
                  <a:cubicBezTo>
                    <a:pt x="277" y="10"/>
                    <a:pt x="268" y="0"/>
                    <a:pt x="256" y="0"/>
                  </a:cubicBezTo>
                  <a:close/>
                  <a:moveTo>
                    <a:pt x="256" y="256"/>
                  </a:moveTo>
                  <a:cubicBezTo>
                    <a:pt x="21" y="256"/>
                    <a:pt x="21" y="256"/>
                    <a:pt x="21" y="256"/>
                  </a:cubicBezTo>
                  <a:cubicBezTo>
                    <a:pt x="21" y="21"/>
                    <a:pt x="21" y="21"/>
                    <a:pt x="21" y="21"/>
                  </a:cubicBezTo>
                  <a:cubicBezTo>
                    <a:pt x="256" y="21"/>
                    <a:pt x="256" y="21"/>
                    <a:pt x="256" y="21"/>
                  </a:cubicBezTo>
                  <a:lnTo>
                    <a:pt x="256" y="256"/>
                  </a:lnTo>
                  <a:close/>
                  <a:moveTo>
                    <a:pt x="139" y="235"/>
                  </a:moveTo>
                  <a:cubicBezTo>
                    <a:pt x="192" y="235"/>
                    <a:pt x="235" y="192"/>
                    <a:pt x="235" y="139"/>
                  </a:cubicBezTo>
                  <a:cubicBezTo>
                    <a:pt x="235" y="86"/>
                    <a:pt x="192" y="43"/>
                    <a:pt x="139" y="43"/>
                  </a:cubicBezTo>
                  <a:cubicBezTo>
                    <a:pt x="86" y="43"/>
                    <a:pt x="43" y="86"/>
                    <a:pt x="43" y="139"/>
                  </a:cubicBezTo>
                  <a:cubicBezTo>
                    <a:pt x="43" y="192"/>
                    <a:pt x="86" y="235"/>
                    <a:pt x="139" y="235"/>
                  </a:cubicBezTo>
                  <a:close/>
                  <a:moveTo>
                    <a:pt x="139" y="64"/>
                  </a:moveTo>
                  <a:cubicBezTo>
                    <a:pt x="180" y="64"/>
                    <a:pt x="213" y="97"/>
                    <a:pt x="213" y="139"/>
                  </a:cubicBezTo>
                  <a:cubicBezTo>
                    <a:pt x="213" y="180"/>
                    <a:pt x="180" y="213"/>
                    <a:pt x="139" y="213"/>
                  </a:cubicBezTo>
                  <a:cubicBezTo>
                    <a:pt x="97" y="213"/>
                    <a:pt x="64" y="180"/>
                    <a:pt x="64" y="139"/>
                  </a:cubicBezTo>
                  <a:cubicBezTo>
                    <a:pt x="64" y="97"/>
                    <a:pt x="97" y="64"/>
                    <a:pt x="139" y="64"/>
                  </a:cubicBezTo>
                  <a:close/>
                  <a:moveTo>
                    <a:pt x="128" y="117"/>
                  </a:moveTo>
                  <a:cubicBezTo>
                    <a:pt x="128" y="96"/>
                    <a:pt x="128" y="96"/>
                    <a:pt x="128" y="96"/>
                  </a:cubicBezTo>
                  <a:cubicBezTo>
                    <a:pt x="128" y="90"/>
                    <a:pt x="133" y="85"/>
                    <a:pt x="139" y="85"/>
                  </a:cubicBezTo>
                  <a:cubicBezTo>
                    <a:pt x="145" y="85"/>
                    <a:pt x="149" y="90"/>
                    <a:pt x="149" y="96"/>
                  </a:cubicBezTo>
                  <a:cubicBezTo>
                    <a:pt x="149" y="117"/>
                    <a:pt x="149" y="117"/>
                    <a:pt x="149" y="117"/>
                  </a:cubicBezTo>
                  <a:cubicBezTo>
                    <a:pt x="149" y="123"/>
                    <a:pt x="145" y="128"/>
                    <a:pt x="139" y="128"/>
                  </a:cubicBezTo>
                  <a:cubicBezTo>
                    <a:pt x="133" y="128"/>
                    <a:pt x="128" y="123"/>
                    <a:pt x="128" y="117"/>
                  </a:cubicBezTo>
                  <a:close/>
                  <a:moveTo>
                    <a:pt x="85" y="160"/>
                  </a:moveTo>
                  <a:cubicBezTo>
                    <a:pt x="85" y="154"/>
                    <a:pt x="90" y="149"/>
                    <a:pt x="96" y="149"/>
                  </a:cubicBezTo>
                  <a:cubicBezTo>
                    <a:pt x="117" y="149"/>
                    <a:pt x="117" y="149"/>
                    <a:pt x="117" y="149"/>
                  </a:cubicBezTo>
                  <a:cubicBezTo>
                    <a:pt x="123" y="149"/>
                    <a:pt x="128" y="154"/>
                    <a:pt x="128" y="160"/>
                  </a:cubicBezTo>
                  <a:cubicBezTo>
                    <a:pt x="128" y="166"/>
                    <a:pt x="123" y="171"/>
                    <a:pt x="117" y="171"/>
                  </a:cubicBezTo>
                  <a:cubicBezTo>
                    <a:pt x="96" y="171"/>
                    <a:pt x="96" y="171"/>
                    <a:pt x="96" y="171"/>
                  </a:cubicBezTo>
                  <a:cubicBezTo>
                    <a:pt x="90" y="171"/>
                    <a:pt x="85" y="166"/>
                    <a:pt x="85" y="160"/>
                  </a:cubicBezTo>
                  <a:close/>
                  <a:moveTo>
                    <a:pt x="149" y="160"/>
                  </a:moveTo>
                  <a:cubicBezTo>
                    <a:pt x="149" y="154"/>
                    <a:pt x="154" y="149"/>
                    <a:pt x="160" y="149"/>
                  </a:cubicBezTo>
                  <a:cubicBezTo>
                    <a:pt x="181" y="149"/>
                    <a:pt x="181" y="149"/>
                    <a:pt x="181" y="149"/>
                  </a:cubicBezTo>
                  <a:cubicBezTo>
                    <a:pt x="187" y="149"/>
                    <a:pt x="192" y="154"/>
                    <a:pt x="192" y="160"/>
                  </a:cubicBezTo>
                  <a:cubicBezTo>
                    <a:pt x="192" y="166"/>
                    <a:pt x="187" y="171"/>
                    <a:pt x="181" y="171"/>
                  </a:cubicBezTo>
                  <a:cubicBezTo>
                    <a:pt x="160" y="171"/>
                    <a:pt x="160" y="171"/>
                    <a:pt x="160" y="171"/>
                  </a:cubicBezTo>
                  <a:cubicBezTo>
                    <a:pt x="154" y="171"/>
                    <a:pt x="149" y="166"/>
                    <a:pt x="149"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6" name="Freeform 411">
            <a:extLst>
              <a:ext uri="{FF2B5EF4-FFF2-40B4-BE49-F238E27FC236}">
                <a16:creationId xmlns:a16="http://schemas.microsoft.com/office/drawing/2014/main" id="{5A565215-58CB-4DB9-B620-DB1C18392F59}"/>
              </a:ext>
            </a:extLst>
          </p:cNvPr>
          <p:cNvSpPr>
            <a:spLocks noChangeAspect="1" noEditPoints="1"/>
          </p:cNvSpPr>
          <p:nvPr/>
        </p:nvSpPr>
        <p:spPr bwMode="auto">
          <a:xfrm>
            <a:off x="8309948" y="1700213"/>
            <a:ext cx="369021" cy="369021"/>
          </a:xfrm>
          <a:custGeom>
            <a:avLst/>
            <a:gdLst>
              <a:gd name="T0" fmla="*/ 138 w 512"/>
              <a:gd name="T1" fmla="*/ 373 h 512"/>
              <a:gd name="T2" fmla="*/ 373 w 512"/>
              <a:gd name="T3" fmla="*/ 373 h 512"/>
              <a:gd name="T4" fmla="*/ 373 w 512"/>
              <a:gd name="T5" fmla="*/ 138 h 512"/>
              <a:gd name="T6" fmla="*/ 138 w 512"/>
              <a:gd name="T7" fmla="*/ 138 h 512"/>
              <a:gd name="T8" fmla="*/ 138 w 512"/>
              <a:gd name="T9" fmla="*/ 373 h 512"/>
              <a:gd name="T10" fmla="*/ 256 w 512"/>
              <a:gd name="T11" fmla="*/ 160 h 512"/>
              <a:gd name="T12" fmla="*/ 352 w 512"/>
              <a:gd name="T13" fmla="*/ 256 h 512"/>
              <a:gd name="T14" fmla="*/ 256 w 512"/>
              <a:gd name="T15" fmla="*/ 352 h 512"/>
              <a:gd name="T16" fmla="*/ 160 w 512"/>
              <a:gd name="T17" fmla="*/ 256 h 512"/>
              <a:gd name="T18" fmla="*/ 256 w 512"/>
              <a:gd name="T19" fmla="*/ 160 h 512"/>
              <a:gd name="T20" fmla="*/ 256 w 512"/>
              <a:gd name="T21" fmla="*/ 330 h 512"/>
              <a:gd name="T22" fmla="*/ 330 w 512"/>
              <a:gd name="T23" fmla="*/ 256 h 512"/>
              <a:gd name="T24" fmla="*/ 256 w 512"/>
              <a:gd name="T25" fmla="*/ 181 h 512"/>
              <a:gd name="T26" fmla="*/ 181 w 512"/>
              <a:gd name="T27" fmla="*/ 256 h 512"/>
              <a:gd name="T28" fmla="*/ 256 w 512"/>
              <a:gd name="T29" fmla="*/ 330 h 512"/>
              <a:gd name="T30" fmla="*/ 277 w 512"/>
              <a:gd name="T31" fmla="*/ 266 h 512"/>
              <a:gd name="T32" fmla="*/ 298 w 512"/>
              <a:gd name="T33" fmla="*/ 266 h 512"/>
              <a:gd name="T34" fmla="*/ 309 w 512"/>
              <a:gd name="T35" fmla="*/ 277 h 512"/>
              <a:gd name="T36" fmla="*/ 298 w 512"/>
              <a:gd name="T37" fmla="*/ 288 h 512"/>
              <a:gd name="T38" fmla="*/ 277 w 512"/>
              <a:gd name="T39" fmla="*/ 288 h 512"/>
              <a:gd name="T40" fmla="*/ 266 w 512"/>
              <a:gd name="T41" fmla="*/ 277 h 512"/>
              <a:gd name="T42" fmla="*/ 277 w 512"/>
              <a:gd name="T43" fmla="*/ 266 h 512"/>
              <a:gd name="T44" fmla="*/ 245 w 512"/>
              <a:gd name="T45" fmla="*/ 213 h 512"/>
              <a:gd name="T46" fmla="*/ 256 w 512"/>
              <a:gd name="T47" fmla="*/ 202 h 512"/>
              <a:gd name="T48" fmla="*/ 266 w 512"/>
              <a:gd name="T49" fmla="*/ 213 h 512"/>
              <a:gd name="T50" fmla="*/ 266 w 512"/>
              <a:gd name="T51" fmla="*/ 234 h 512"/>
              <a:gd name="T52" fmla="*/ 256 w 512"/>
              <a:gd name="T53" fmla="*/ 245 h 512"/>
              <a:gd name="T54" fmla="*/ 245 w 512"/>
              <a:gd name="T55" fmla="*/ 234 h 512"/>
              <a:gd name="T56" fmla="*/ 245 w 512"/>
              <a:gd name="T57" fmla="*/ 213 h 512"/>
              <a:gd name="T58" fmla="*/ 213 w 512"/>
              <a:gd name="T59" fmla="*/ 266 h 512"/>
              <a:gd name="T60" fmla="*/ 234 w 512"/>
              <a:gd name="T61" fmla="*/ 266 h 512"/>
              <a:gd name="T62" fmla="*/ 245 w 512"/>
              <a:gd name="T63" fmla="*/ 277 h 512"/>
              <a:gd name="T64" fmla="*/ 234 w 512"/>
              <a:gd name="T65" fmla="*/ 288 h 512"/>
              <a:gd name="T66" fmla="*/ 213 w 512"/>
              <a:gd name="T67" fmla="*/ 288 h 512"/>
              <a:gd name="T68" fmla="*/ 202 w 512"/>
              <a:gd name="T69" fmla="*/ 277 h 512"/>
              <a:gd name="T70" fmla="*/ 213 w 512"/>
              <a:gd name="T71" fmla="*/ 266 h 512"/>
              <a:gd name="T72" fmla="*/ 256 w 512"/>
              <a:gd name="T73" fmla="*/ 0 h 512"/>
              <a:gd name="T74" fmla="*/ 0 w 512"/>
              <a:gd name="T75" fmla="*/ 256 h 512"/>
              <a:gd name="T76" fmla="*/ 256 w 512"/>
              <a:gd name="T77" fmla="*/ 512 h 512"/>
              <a:gd name="T78" fmla="*/ 512 w 512"/>
              <a:gd name="T79" fmla="*/ 256 h 512"/>
              <a:gd name="T80" fmla="*/ 256 w 512"/>
              <a:gd name="T81" fmla="*/ 0 h 512"/>
              <a:gd name="T82" fmla="*/ 394 w 512"/>
              <a:gd name="T83" fmla="*/ 373 h 512"/>
              <a:gd name="T84" fmla="*/ 373 w 512"/>
              <a:gd name="T85" fmla="*/ 394 h 512"/>
              <a:gd name="T86" fmla="*/ 138 w 512"/>
              <a:gd name="T87" fmla="*/ 394 h 512"/>
              <a:gd name="T88" fmla="*/ 117 w 512"/>
              <a:gd name="T89" fmla="*/ 373 h 512"/>
              <a:gd name="T90" fmla="*/ 117 w 512"/>
              <a:gd name="T91" fmla="*/ 138 h 512"/>
              <a:gd name="T92" fmla="*/ 138 w 512"/>
              <a:gd name="T93" fmla="*/ 117 h 512"/>
              <a:gd name="T94" fmla="*/ 373 w 512"/>
              <a:gd name="T95" fmla="*/ 117 h 512"/>
              <a:gd name="T96" fmla="*/ 394 w 512"/>
              <a:gd name="T97" fmla="*/ 138 h 512"/>
              <a:gd name="T98" fmla="*/ 394 w 512"/>
              <a:gd name="T99"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138" y="373"/>
                </a:moveTo>
                <a:cubicBezTo>
                  <a:pt x="373" y="373"/>
                  <a:pt x="373" y="373"/>
                  <a:pt x="373" y="373"/>
                </a:cubicBezTo>
                <a:cubicBezTo>
                  <a:pt x="373" y="138"/>
                  <a:pt x="373" y="138"/>
                  <a:pt x="373" y="138"/>
                </a:cubicBezTo>
                <a:cubicBezTo>
                  <a:pt x="138" y="138"/>
                  <a:pt x="138" y="138"/>
                  <a:pt x="138" y="138"/>
                </a:cubicBezTo>
                <a:lnTo>
                  <a:pt x="138" y="373"/>
                </a:lnTo>
                <a:close/>
                <a:moveTo>
                  <a:pt x="256" y="160"/>
                </a:moveTo>
                <a:cubicBezTo>
                  <a:pt x="309" y="160"/>
                  <a:pt x="352" y="203"/>
                  <a:pt x="352" y="256"/>
                </a:cubicBezTo>
                <a:cubicBezTo>
                  <a:pt x="352" y="309"/>
                  <a:pt x="309" y="352"/>
                  <a:pt x="256" y="352"/>
                </a:cubicBezTo>
                <a:cubicBezTo>
                  <a:pt x="203" y="352"/>
                  <a:pt x="160" y="309"/>
                  <a:pt x="160" y="256"/>
                </a:cubicBezTo>
                <a:cubicBezTo>
                  <a:pt x="160" y="203"/>
                  <a:pt x="203" y="160"/>
                  <a:pt x="256" y="160"/>
                </a:cubicBezTo>
                <a:close/>
                <a:moveTo>
                  <a:pt x="256" y="330"/>
                </a:moveTo>
                <a:cubicBezTo>
                  <a:pt x="297" y="330"/>
                  <a:pt x="330" y="297"/>
                  <a:pt x="330" y="256"/>
                </a:cubicBezTo>
                <a:cubicBezTo>
                  <a:pt x="330" y="214"/>
                  <a:pt x="297" y="181"/>
                  <a:pt x="256" y="181"/>
                </a:cubicBezTo>
                <a:cubicBezTo>
                  <a:pt x="214" y="181"/>
                  <a:pt x="181" y="214"/>
                  <a:pt x="181" y="256"/>
                </a:cubicBezTo>
                <a:cubicBezTo>
                  <a:pt x="181" y="297"/>
                  <a:pt x="214" y="330"/>
                  <a:pt x="256" y="330"/>
                </a:cubicBezTo>
                <a:close/>
                <a:moveTo>
                  <a:pt x="277" y="266"/>
                </a:moveTo>
                <a:cubicBezTo>
                  <a:pt x="298" y="266"/>
                  <a:pt x="298" y="266"/>
                  <a:pt x="298" y="266"/>
                </a:cubicBezTo>
                <a:cubicBezTo>
                  <a:pt x="304" y="266"/>
                  <a:pt x="309" y="271"/>
                  <a:pt x="309" y="277"/>
                </a:cubicBezTo>
                <a:cubicBezTo>
                  <a:pt x="309" y="283"/>
                  <a:pt x="304" y="288"/>
                  <a:pt x="298" y="288"/>
                </a:cubicBezTo>
                <a:cubicBezTo>
                  <a:pt x="277" y="288"/>
                  <a:pt x="277" y="288"/>
                  <a:pt x="277" y="288"/>
                </a:cubicBezTo>
                <a:cubicBezTo>
                  <a:pt x="271" y="288"/>
                  <a:pt x="266" y="283"/>
                  <a:pt x="266" y="277"/>
                </a:cubicBezTo>
                <a:cubicBezTo>
                  <a:pt x="266" y="271"/>
                  <a:pt x="271" y="266"/>
                  <a:pt x="277" y="266"/>
                </a:cubicBezTo>
                <a:close/>
                <a:moveTo>
                  <a:pt x="245" y="213"/>
                </a:moveTo>
                <a:cubicBezTo>
                  <a:pt x="245" y="207"/>
                  <a:pt x="250" y="202"/>
                  <a:pt x="256" y="202"/>
                </a:cubicBezTo>
                <a:cubicBezTo>
                  <a:pt x="262" y="202"/>
                  <a:pt x="266" y="207"/>
                  <a:pt x="266" y="213"/>
                </a:cubicBezTo>
                <a:cubicBezTo>
                  <a:pt x="266" y="234"/>
                  <a:pt x="266" y="234"/>
                  <a:pt x="266" y="234"/>
                </a:cubicBezTo>
                <a:cubicBezTo>
                  <a:pt x="266" y="240"/>
                  <a:pt x="262" y="245"/>
                  <a:pt x="256" y="245"/>
                </a:cubicBezTo>
                <a:cubicBezTo>
                  <a:pt x="250" y="245"/>
                  <a:pt x="245" y="240"/>
                  <a:pt x="245" y="234"/>
                </a:cubicBezTo>
                <a:lnTo>
                  <a:pt x="245" y="213"/>
                </a:lnTo>
                <a:close/>
                <a:moveTo>
                  <a:pt x="213" y="266"/>
                </a:moveTo>
                <a:cubicBezTo>
                  <a:pt x="234" y="266"/>
                  <a:pt x="234" y="266"/>
                  <a:pt x="234" y="266"/>
                </a:cubicBezTo>
                <a:cubicBezTo>
                  <a:pt x="240" y="266"/>
                  <a:pt x="245" y="271"/>
                  <a:pt x="245" y="277"/>
                </a:cubicBezTo>
                <a:cubicBezTo>
                  <a:pt x="245" y="283"/>
                  <a:pt x="240" y="288"/>
                  <a:pt x="234" y="288"/>
                </a:cubicBezTo>
                <a:cubicBezTo>
                  <a:pt x="213" y="288"/>
                  <a:pt x="213" y="288"/>
                  <a:pt x="213" y="288"/>
                </a:cubicBezTo>
                <a:cubicBezTo>
                  <a:pt x="207" y="288"/>
                  <a:pt x="202" y="283"/>
                  <a:pt x="202" y="277"/>
                </a:cubicBezTo>
                <a:cubicBezTo>
                  <a:pt x="202" y="271"/>
                  <a:pt x="207" y="266"/>
                  <a:pt x="213"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73"/>
                </a:moveTo>
                <a:cubicBezTo>
                  <a:pt x="394" y="385"/>
                  <a:pt x="385" y="394"/>
                  <a:pt x="373" y="394"/>
                </a:cubicBezTo>
                <a:cubicBezTo>
                  <a:pt x="138" y="394"/>
                  <a:pt x="138" y="394"/>
                  <a:pt x="138" y="394"/>
                </a:cubicBezTo>
                <a:cubicBezTo>
                  <a:pt x="127" y="394"/>
                  <a:pt x="117" y="385"/>
                  <a:pt x="117" y="373"/>
                </a:cubicBezTo>
                <a:cubicBezTo>
                  <a:pt x="117" y="138"/>
                  <a:pt x="117" y="138"/>
                  <a:pt x="117" y="138"/>
                </a:cubicBezTo>
                <a:cubicBezTo>
                  <a:pt x="117" y="127"/>
                  <a:pt x="127" y="117"/>
                  <a:pt x="138" y="117"/>
                </a:cubicBezTo>
                <a:cubicBezTo>
                  <a:pt x="373" y="117"/>
                  <a:pt x="373" y="117"/>
                  <a:pt x="373" y="117"/>
                </a:cubicBezTo>
                <a:cubicBezTo>
                  <a:pt x="385" y="117"/>
                  <a:pt x="394" y="127"/>
                  <a:pt x="394" y="138"/>
                </a:cubicBezTo>
                <a:lnTo>
                  <a:pt x="394" y="37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7" name="Group 454">
            <a:extLst>
              <a:ext uri="{FF2B5EF4-FFF2-40B4-BE49-F238E27FC236}">
                <a16:creationId xmlns:a16="http://schemas.microsoft.com/office/drawing/2014/main" id="{0907E149-3832-4143-8410-03CB4AB81256}"/>
              </a:ext>
            </a:extLst>
          </p:cNvPr>
          <p:cNvGrpSpPr>
            <a:grpSpLocks noChangeAspect="1"/>
          </p:cNvGrpSpPr>
          <p:nvPr/>
        </p:nvGrpSpPr>
        <p:grpSpPr bwMode="auto">
          <a:xfrm>
            <a:off x="10485673" y="1700213"/>
            <a:ext cx="369021" cy="369021"/>
            <a:chOff x="1912" y="1576"/>
            <a:chExt cx="340" cy="340"/>
          </a:xfrm>
          <a:solidFill>
            <a:schemeClr val="accent5"/>
          </a:solidFill>
        </p:grpSpPr>
        <p:sp>
          <p:nvSpPr>
            <p:cNvPr id="158" name="Freeform 455">
              <a:extLst>
                <a:ext uri="{FF2B5EF4-FFF2-40B4-BE49-F238E27FC236}">
                  <a16:creationId xmlns:a16="http://schemas.microsoft.com/office/drawing/2014/main" id="{A1269A2B-FDE2-4197-A3C6-4200B6CA449D}"/>
                </a:ext>
              </a:extLst>
            </p:cNvPr>
            <p:cNvSpPr>
              <a:spLocks noEditPoints="1"/>
            </p:cNvSpPr>
            <p:nvPr/>
          </p:nvSpPr>
          <p:spPr bwMode="auto">
            <a:xfrm>
              <a:off x="2004" y="1653"/>
              <a:ext cx="171" cy="170"/>
            </a:xfrm>
            <a:custGeom>
              <a:avLst/>
              <a:gdLst>
                <a:gd name="T0" fmla="*/ 253 w 258"/>
                <a:gd name="T1" fmla="*/ 49 h 256"/>
                <a:gd name="T2" fmla="*/ 238 w 258"/>
                <a:gd name="T3" fmla="*/ 49 h 256"/>
                <a:gd name="T4" fmla="*/ 193 w 258"/>
                <a:gd name="T5" fmla="*/ 94 h 256"/>
                <a:gd name="T6" fmla="*/ 163 w 258"/>
                <a:gd name="T7" fmla="*/ 64 h 256"/>
                <a:gd name="T8" fmla="*/ 208 w 258"/>
                <a:gd name="T9" fmla="*/ 19 h 256"/>
                <a:gd name="T10" fmla="*/ 208 w 258"/>
                <a:gd name="T11" fmla="*/ 4 h 256"/>
                <a:gd name="T12" fmla="*/ 193 w 258"/>
                <a:gd name="T13" fmla="*/ 4 h 256"/>
                <a:gd name="T14" fmla="*/ 148 w 258"/>
                <a:gd name="T15" fmla="*/ 49 h 256"/>
                <a:gd name="T16" fmla="*/ 133 w 258"/>
                <a:gd name="T17" fmla="*/ 34 h 256"/>
                <a:gd name="T18" fmla="*/ 125 w 258"/>
                <a:gd name="T19" fmla="*/ 27 h 256"/>
                <a:gd name="T20" fmla="*/ 110 w 258"/>
                <a:gd name="T21" fmla="*/ 27 h 256"/>
                <a:gd name="T22" fmla="*/ 110 w 258"/>
                <a:gd name="T23" fmla="*/ 42 h 256"/>
                <a:gd name="T24" fmla="*/ 72 w 258"/>
                <a:gd name="T25" fmla="*/ 79 h 256"/>
                <a:gd name="T26" fmla="*/ 51 w 258"/>
                <a:gd name="T27" fmla="*/ 132 h 256"/>
                <a:gd name="T28" fmla="*/ 65 w 258"/>
                <a:gd name="T29" fmla="*/ 177 h 256"/>
                <a:gd name="T30" fmla="*/ 5 w 258"/>
                <a:gd name="T31" fmla="*/ 238 h 256"/>
                <a:gd name="T32" fmla="*/ 5 w 258"/>
                <a:gd name="T33" fmla="*/ 253 h 256"/>
                <a:gd name="T34" fmla="*/ 12 w 258"/>
                <a:gd name="T35" fmla="*/ 256 h 256"/>
                <a:gd name="T36" fmla="*/ 20 w 258"/>
                <a:gd name="T37" fmla="*/ 253 h 256"/>
                <a:gd name="T38" fmla="*/ 81 w 258"/>
                <a:gd name="T39" fmla="*/ 192 h 256"/>
                <a:gd name="T40" fmla="*/ 125 w 258"/>
                <a:gd name="T41" fmla="*/ 207 h 256"/>
                <a:gd name="T42" fmla="*/ 178 w 258"/>
                <a:gd name="T43" fmla="*/ 185 h 256"/>
                <a:gd name="T44" fmla="*/ 216 w 258"/>
                <a:gd name="T45" fmla="*/ 147 h 256"/>
                <a:gd name="T46" fmla="*/ 216 w 258"/>
                <a:gd name="T47" fmla="*/ 147 h 256"/>
                <a:gd name="T48" fmla="*/ 223 w 258"/>
                <a:gd name="T49" fmla="*/ 150 h 256"/>
                <a:gd name="T50" fmla="*/ 231 w 258"/>
                <a:gd name="T51" fmla="*/ 147 h 256"/>
                <a:gd name="T52" fmla="*/ 231 w 258"/>
                <a:gd name="T53" fmla="*/ 132 h 256"/>
                <a:gd name="T54" fmla="*/ 223 w 258"/>
                <a:gd name="T55" fmla="*/ 125 h 256"/>
                <a:gd name="T56" fmla="*/ 208 w 258"/>
                <a:gd name="T57" fmla="*/ 109 h 256"/>
                <a:gd name="T58" fmla="*/ 253 w 258"/>
                <a:gd name="T59" fmla="*/ 64 h 256"/>
                <a:gd name="T60" fmla="*/ 253 w 258"/>
                <a:gd name="T61" fmla="*/ 49 h 256"/>
                <a:gd name="T62" fmla="*/ 163 w 258"/>
                <a:gd name="T63" fmla="*/ 170 h 256"/>
                <a:gd name="T64" fmla="*/ 125 w 258"/>
                <a:gd name="T65" fmla="*/ 185 h 256"/>
                <a:gd name="T66" fmla="*/ 87 w 258"/>
                <a:gd name="T67" fmla="*/ 170 h 256"/>
                <a:gd name="T68" fmla="*/ 72 w 258"/>
                <a:gd name="T69" fmla="*/ 132 h 256"/>
                <a:gd name="T70" fmla="*/ 87 w 258"/>
                <a:gd name="T71" fmla="*/ 94 h 256"/>
                <a:gd name="T72" fmla="*/ 125 w 258"/>
                <a:gd name="T73" fmla="*/ 57 h 256"/>
                <a:gd name="T74" fmla="*/ 201 w 258"/>
                <a:gd name="T75" fmla="*/ 132 h 256"/>
                <a:gd name="T76" fmla="*/ 163 w 258"/>
                <a:gd name="T77" fmla="*/ 17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8" h="256">
                  <a:moveTo>
                    <a:pt x="253" y="49"/>
                  </a:moveTo>
                  <a:cubicBezTo>
                    <a:pt x="249" y="45"/>
                    <a:pt x="243" y="45"/>
                    <a:pt x="238" y="49"/>
                  </a:cubicBezTo>
                  <a:cubicBezTo>
                    <a:pt x="193" y="94"/>
                    <a:pt x="193" y="94"/>
                    <a:pt x="193" y="94"/>
                  </a:cubicBezTo>
                  <a:cubicBezTo>
                    <a:pt x="163" y="64"/>
                    <a:pt x="163" y="64"/>
                    <a:pt x="163" y="64"/>
                  </a:cubicBezTo>
                  <a:cubicBezTo>
                    <a:pt x="208" y="19"/>
                    <a:pt x="208" y="19"/>
                    <a:pt x="208" y="19"/>
                  </a:cubicBezTo>
                  <a:cubicBezTo>
                    <a:pt x="212" y="15"/>
                    <a:pt x="212" y="8"/>
                    <a:pt x="208" y="4"/>
                  </a:cubicBezTo>
                  <a:cubicBezTo>
                    <a:pt x="204" y="0"/>
                    <a:pt x="197" y="0"/>
                    <a:pt x="193" y="4"/>
                  </a:cubicBezTo>
                  <a:cubicBezTo>
                    <a:pt x="148" y="49"/>
                    <a:pt x="148" y="49"/>
                    <a:pt x="148" y="49"/>
                  </a:cubicBezTo>
                  <a:cubicBezTo>
                    <a:pt x="133" y="34"/>
                    <a:pt x="133" y="34"/>
                    <a:pt x="133" y="34"/>
                  </a:cubicBezTo>
                  <a:cubicBezTo>
                    <a:pt x="125" y="27"/>
                    <a:pt x="125" y="27"/>
                    <a:pt x="125" y="27"/>
                  </a:cubicBezTo>
                  <a:cubicBezTo>
                    <a:pt x="121" y="22"/>
                    <a:pt x="114" y="22"/>
                    <a:pt x="110" y="27"/>
                  </a:cubicBezTo>
                  <a:cubicBezTo>
                    <a:pt x="106" y="31"/>
                    <a:pt x="106" y="37"/>
                    <a:pt x="110" y="42"/>
                  </a:cubicBezTo>
                  <a:cubicBezTo>
                    <a:pt x="72" y="79"/>
                    <a:pt x="72" y="79"/>
                    <a:pt x="72" y="79"/>
                  </a:cubicBezTo>
                  <a:cubicBezTo>
                    <a:pt x="58" y="93"/>
                    <a:pt x="51" y="112"/>
                    <a:pt x="51" y="132"/>
                  </a:cubicBezTo>
                  <a:cubicBezTo>
                    <a:pt x="51" y="148"/>
                    <a:pt x="56" y="164"/>
                    <a:pt x="65" y="177"/>
                  </a:cubicBezTo>
                  <a:cubicBezTo>
                    <a:pt x="5" y="238"/>
                    <a:pt x="5" y="238"/>
                    <a:pt x="5" y="238"/>
                  </a:cubicBezTo>
                  <a:cubicBezTo>
                    <a:pt x="0" y="242"/>
                    <a:pt x="0" y="249"/>
                    <a:pt x="5" y="253"/>
                  </a:cubicBezTo>
                  <a:cubicBezTo>
                    <a:pt x="7" y="255"/>
                    <a:pt x="9" y="256"/>
                    <a:pt x="12" y="256"/>
                  </a:cubicBezTo>
                  <a:cubicBezTo>
                    <a:pt x="15" y="256"/>
                    <a:pt x="18" y="255"/>
                    <a:pt x="20" y="253"/>
                  </a:cubicBezTo>
                  <a:cubicBezTo>
                    <a:pt x="81" y="192"/>
                    <a:pt x="81" y="192"/>
                    <a:pt x="81" y="192"/>
                  </a:cubicBezTo>
                  <a:cubicBezTo>
                    <a:pt x="93" y="202"/>
                    <a:pt x="109" y="207"/>
                    <a:pt x="125" y="207"/>
                  </a:cubicBezTo>
                  <a:cubicBezTo>
                    <a:pt x="145" y="207"/>
                    <a:pt x="164" y="199"/>
                    <a:pt x="178" y="185"/>
                  </a:cubicBezTo>
                  <a:cubicBezTo>
                    <a:pt x="216" y="147"/>
                    <a:pt x="216" y="147"/>
                    <a:pt x="216" y="147"/>
                  </a:cubicBezTo>
                  <a:cubicBezTo>
                    <a:pt x="216" y="147"/>
                    <a:pt x="216" y="147"/>
                    <a:pt x="216" y="147"/>
                  </a:cubicBezTo>
                  <a:cubicBezTo>
                    <a:pt x="218" y="149"/>
                    <a:pt x="221" y="150"/>
                    <a:pt x="223" y="150"/>
                  </a:cubicBezTo>
                  <a:cubicBezTo>
                    <a:pt x="226" y="150"/>
                    <a:pt x="229" y="149"/>
                    <a:pt x="231" y="147"/>
                  </a:cubicBezTo>
                  <a:cubicBezTo>
                    <a:pt x="235" y="143"/>
                    <a:pt x="235" y="136"/>
                    <a:pt x="231" y="132"/>
                  </a:cubicBezTo>
                  <a:cubicBezTo>
                    <a:pt x="223" y="125"/>
                    <a:pt x="223" y="125"/>
                    <a:pt x="223" y="125"/>
                  </a:cubicBezTo>
                  <a:cubicBezTo>
                    <a:pt x="208" y="109"/>
                    <a:pt x="208" y="109"/>
                    <a:pt x="208" y="109"/>
                  </a:cubicBezTo>
                  <a:cubicBezTo>
                    <a:pt x="253" y="64"/>
                    <a:pt x="253" y="64"/>
                    <a:pt x="253" y="64"/>
                  </a:cubicBezTo>
                  <a:cubicBezTo>
                    <a:pt x="258" y="60"/>
                    <a:pt x="258" y="53"/>
                    <a:pt x="253" y="49"/>
                  </a:cubicBezTo>
                  <a:close/>
                  <a:moveTo>
                    <a:pt x="163" y="170"/>
                  </a:moveTo>
                  <a:cubicBezTo>
                    <a:pt x="153" y="180"/>
                    <a:pt x="139" y="185"/>
                    <a:pt x="125" y="185"/>
                  </a:cubicBezTo>
                  <a:cubicBezTo>
                    <a:pt x="111" y="185"/>
                    <a:pt x="98" y="180"/>
                    <a:pt x="87" y="170"/>
                  </a:cubicBezTo>
                  <a:cubicBezTo>
                    <a:pt x="77" y="160"/>
                    <a:pt x="72" y="146"/>
                    <a:pt x="72" y="132"/>
                  </a:cubicBezTo>
                  <a:cubicBezTo>
                    <a:pt x="72" y="118"/>
                    <a:pt x="77" y="104"/>
                    <a:pt x="87" y="94"/>
                  </a:cubicBezTo>
                  <a:cubicBezTo>
                    <a:pt x="125" y="57"/>
                    <a:pt x="125" y="57"/>
                    <a:pt x="125" y="57"/>
                  </a:cubicBezTo>
                  <a:cubicBezTo>
                    <a:pt x="201" y="132"/>
                    <a:pt x="201" y="132"/>
                    <a:pt x="201" y="132"/>
                  </a:cubicBezTo>
                  <a:lnTo>
                    <a:pt x="163"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9" name="Freeform 456">
              <a:extLst>
                <a:ext uri="{FF2B5EF4-FFF2-40B4-BE49-F238E27FC236}">
                  <a16:creationId xmlns:a16="http://schemas.microsoft.com/office/drawing/2014/main" id="{B5CF0C10-F514-41B5-9BA5-78C17A8CEF2D}"/>
                </a:ext>
              </a:extLst>
            </p:cNvPr>
            <p:cNvSpPr>
              <a:spLocks noEditPoints="1"/>
            </p:cNvSpPr>
            <p:nvPr/>
          </p:nvSpPr>
          <p:spPr bwMode="auto">
            <a:xfrm>
              <a:off x="1912" y="157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0" name="Freeform 460">
            <a:extLst>
              <a:ext uri="{FF2B5EF4-FFF2-40B4-BE49-F238E27FC236}">
                <a16:creationId xmlns:a16="http://schemas.microsoft.com/office/drawing/2014/main" id="{00712264-7DF4-410E-A926-6F5234264F01}"/>
              </a:ext>
            </a:extLst>
          </p:cNvPr>
          <p:cNvSpPr>
            <a:spLocks noChangeAspect="1" noEditPoints="1"/>
          </p:cNvSpPr>
          <p:nvPr/>
        </p:nvSpPr>
        <p:spPr bwMode="auto">
          <a:xfrm>
            <a:off x="10050528" y="1700213"/>
            <a:ext cx="369021" cy="370106"/>
          </a:xfrm>
          <a:custGeom>
            <a:avLst/>
            <a:gdLst>
              <a:gd name="T0" fmla="*/ 263 w 512"/>
              <a:gd name="T1" fmla="*/ 173 h 512"/>
              <a:gd name="T2" fmla="*/ 339 w 512"/>
              <a:gd name="T3" fmla="*/ 248 h 512"/>
              <a:gd name="T4" fmla="*/ 301 w 512"/>
              <a:gd name="T5" fmla="*/ 286 h 512"/>
              <a:gd name="T6" fmla="*/ 263 w 512"/>
              <a:gd name="T7" fmla="*/ 301 h 512"/>
              <a:gd name="T8" fmla="*/ 225 w 512"/>
              <a:gd name="T9" fmla="*/ 286 h 512"/>
              <a:gd name="T10" fmla="*/ 210 w 512"/>
              <a:gd name="T11" fmla="*/ 248 h 512"/>
              <a:gd name="T12" fmla="*/ 225 w 512"/>
              <a:gd name="T13" fmla="*/ 210 h 512"/>
              <a:gd name="T14" fmla="*/ 263 w 512"/>
              <a:gd name="T15" fmla="*/ 173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91 w 512"/>
              <a:gd name="T27" fmla="*/ 165 h 512"/>
              <a:gd name="T28" fmla="*/ 376 w 512"/>
              <a:gd name="T29" fmla="*/ 165 h 512"/>
              <a:gd name="T30" fmla="*/ 331 w 512"/>
              <a:gd name="T31" fmla="*/ 210 h 512"/>
              <a:gd name="T32" fmla="*/ 301 w 512"/>
              <a:gd name="T33" fmla="*/ 180 h 512"/>
              <a:gd name="T34" fmla="*/ 346 w 512"/>
              <a:gd name="T35" fmla="*/ 135 h 512"/>
              <a:gd name="T36" fmla="*/ 346 w 512"/>
              <a:gd name="T37" fmla="*/ 120 h 512"/>
              <a:gd name="T38" fmla="*/ 331 w 512"/>
              <a:gd name="T39" fmla="*/ 120 h 512"/>
              <a:gd name="T40" fmla="*/ 286 w 512"/>
              <a:gd name="T41" fmla="*/ 165 h 512"/>
              <a:gd name="T42" fmla="*/ 271 w 512"/>
              <a:gd name="T43" fmla="*/ 150 h 512"/>
              <a:gd name="T44" fmla="*/ 263 w 512"/>
              <a:gd name="T45" fmla="*/ 143 h 512"/>
              <a:gd name="T46" fmla="*/ 248 w 512"/>
              <a:gd name="T47" fmla="*/ 143 h 512"/>
              <a:gd name="T48" fmla="*/ 248 w 512"/>
              <a:gd name="T49" fmla="*/ 158 h 512"/>
              <a:gd name="T50" fmla="*/ 210 w 512"/>
              <a:gd name="T51" fmla="*/ 195 h 512"/>
              <a:gd name="T52" fmla="*/ 189 w 512"/>
              <a:gd name="T53" fmla="*/ 248 h 512"/>
              <a:gd name="T54" fmla="*/ 203 w 512"/>
              <a:gd name="T55" fmla="*/ 293 h 512"/>
              <a:gd name="T56" fmla="*/ 143 w 512"/>
              <a:gd name="T57" fmla="*/ 354 h 512"/>
              <a:gd name="T58" fmla="*/ 143 w 512"/>
              <a:gd name="T59" fmla="*/ 369 h 512"/>
              <a:gd name="T60" fmla="*/ 150 w 512"/>
              <a:gd name="T61" fmla="*/ 372 h 512"/>
              <a:gd name="T62" fmla="*/ 158 w 512"/>
              <a:gd name="T63" fmla="*/ 369 h 512"/>
              <a:gd name="T64" fmla="*/ 219 w 512"/>
              <a:gd name="T65" fmla="*/ 308 h 512"/>
              <a:gd name="T66" fmla="*/ 263 w 512"/>
              <a:gd name="T67" fmla="*/ 323 h 512"/>
              <a:gd name="T68" fmla="*/ 316 w 512"/>
              <a:gd name="T69" fmla="*/ 301 h 512"/>
              <a:gd name="T70" fmla="*/ 354 w 512"/>
              <a:gd name="T71" fmla="*/ 263 h 512"/>
              <a:gd name="T72" fmla="*/ 354 w 512"/>
              <a:gd name="T73" fmla="*/ 263 h 512"/>
              <a:gd name="T74" fmla="*/ 361 w 512"/>
              <a:gd name="T75" fmla="*/ 266 h 512"/>
              <a:gd name="T76" fmla="*/ 369 w 512"/>
              <a:gd name="T77" fmla="*/ 263 h 512"/>
              <a:gd name="T78" fmla="*/ 369 w 512"/>
              <a:gd name="T79" fmla="*/ 248 h 512"/>
              <a:gd name="T80" fmla="*/ 361 w 512"/>
              <a:gd name="T81" fmla="*/ 241 h 512"/>
              <a:gd name="T82" fmla="*/ 346 w 512"/>
              <a:gd name="T83" fmla="*/ 225 h 512"/>
              <a:gd name="T84" fmla="*/ 391 w 512"/>
              <a:gd name="T85" fmla="*/ 180 h 512"/>
              <a:gd name="T86" fmla="*/ 39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63" y="173"/>
                </a:moveTo>
                <a:cubicBezTo>
                  <a:pt x="339" y="248"/>
                  <a:pt x="339" y="248"/>
                  <a:pt x="339" y="248"/>
                </a:cubicBezTo>
                <a:cubicBezTo>
                  <a:pt x="301" y="286"/>
                  <a:pt x="301" y="286"/>
                  <a:pt x="301" y="286"/>
                </a:cubicBezTo>
                <a:cubicBezTo>
                  <a:pt x="291" y="296"/>
                  <a:pt x="277" y="301"/>
                  <a:pt x="263" y="301"/>
                </a:cubicBezTo>
                <a:cubicBezTo>
                  <a:pt x="249" y="301"/>
                  <a:pt x="236" y="296"/>
                  <a:pt x="225" y="286"/>
                </a:cubicBezTo>
                <a:cubicBezTo>
                  <a:pt x="215" y="276"/>
                  <a:pt x="210" y="262"/>
                  <a:pt x="210" y="248"/>
                </a:cubicBezTo>
                <a:cubicBezTo>
                  <a:pt x="210" y="234"/>
                  <a:pt x="215" y="220"/>
                  <a:pt x="225" y="210"/>
                </a:cubicBezTo>
                <a:lnTo>
                  <a:pt x="263" y="1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165"/>
                </a:moveTo>
                <a:cubicBezTo>
                  <a:pt x="387" y="161"/>
                  <a:pt x="381" y="161"/>
                  <a:pt x="376" y="165"/>
                </a:cubicBezTo>
                <a:cubicBezTo>
                  <a:pt x="331" y="210"/>
                  <a:pt x="331" y="210"/>
                  <a:pt x="331" y="210"/>
                </a:cubicBezTo>
                <a:cubicBezTo>
                  <a:pt x="301" y="180"/>
                  <a:pt x="301" y="180"/>
                  <a:pt x="301" y="180"/>
                </a:cubicBezTo>
                <a:cubicBezTo>
                  <a:pt x="346" y="135"/>
                  <a:pt x="346" y="135"/>
                  <a:pt x="346" y="135"/>
                </a:cubicBezTo>
                <a:cubicBezTo>
                  <a:pt x="350" y="131"/>
                  <a:pt x="350" y="124"/>
                  <a:pt x="346" y="120"/>
                </a:cubicBezTo>
                <a:cubicBezTo>
                  <a:pt x="342" y="116"/>
                  <a:pt x="335" y="116"/>
                  <a:pt x="331" y="120"/>
                </a:cubicBezTo>
                <a:cubicBezTo>
                  <a:pt x="286" y="165"/>
                  <a:pt x="286" y="165"/>
                  <a:pt x="286" y="165"/>
                </a:cubicBezTo>
                <a:cubicBezTo>
                  <a:pt x="271" y="150"/>
                  <a:pt x="271" y="150"/>
                  <a:pt x="271" y="150"/>
                </a:cubicBezTo>
                <a:cubicBezTo>
                  <a:pt x="263" y="143"/>
                  <a:pt x="263" y="143"/>
                  <a:pt x="263" y="143"/>
                </a:cubicBezTo>
                <a:cubicBezTo>
                  <a:pt x="259" y="138"/>
                  <a:pt x="252" y="138"/>
                  <a:pt x="248" y="143"/>
                </a:cubicBezTo>
                <a:cubicBezTo>
                  <a:pt x="244" y="147"/>
                  <a:pt x="244" y="153"/>
                  <a:pt x="248" y="158"/>
                </a:cubicBezTo>
                <a:cubicBezTo>
                  <a:pt x="210" y="195"/>
                  <a:pt x="210" y="195"/>
                  <a:pt x="210" y="195"/>
                </a:cubicBezTo>
                <a:cubicBezTo>
                  <a:pt x="196" y="209"/>
                  <a:pt x="189" y="228"/>
                  <a:pt x="189" y="248"/>
                </a:cubicBezTo>
                <a:cubicBezTo>
                  <a:pt x="189" y="264"/>
                  <a:pt x="194" y="280"/>
                  <a:pt x="203" y="293"/>
                </a:cubicBezTo>
                <a:cubicBezTo>
                  <a:pt x="143" y="354"/>
                  <a:pt x="143" y="354"/>
                  <a:pt x="143" y="354"/>
                </a:cubicBezTo>
                <a:cubicBezTo>
                  <a:pt x="138" y="358"/>
                  <a:pt x="138" y="365"/>
                  <a:pt x="143" y="369"/>
                </a:cubicBezTo>
                <a:cubicBezTo>
                  <a:pt x="145" y="371"/>
                  <a:pt x="147" y="372"/>
                  <a:pt x="150" y="372"/>
                </a:cubicBezTo>
                <a:cubicBezTo>
                  <a:pt x="153" y="372"/>
                  <a:pt x="156" y="371"/>
                  <a:pt x="158" y="369"/>
                </a:cubicBezTo>
                <a:cubicBezTo>
                  <a:pt x="219" y="308"/>
                  <a:pt x="219" y="308"/>
                  <a:pt x="219" y="308"/>
                </a:cubicBezTo>
                <a:cubicBezTo>
                  <a:pt x="231" y="318"/>
                  <a:pt x="247" y="323"/>
                  <a:pt x="263" y="323"/>
                </a:cubicBezTo>
                <a:cubicBezTo>
                  <a:pt x="283" y="323"/>
                  <a:pt x="302" y="315"/>
                  <a:pt x="316" y="301"/>
                </a:cubicBezTo>
                <a:cubicBezTo>
                  <a:pt x="354" y="263"/>
                  <a:pt x="354" y="263"/>
                  <a:pt x="354" y="263"/>
                </a:cubicBezTo>
                <a:cubicBezTo>
                  <a:pt x="354" y="263"/>
                  <a:pt x="354" y="263"/>
                  <a:pt x="354" y="263"/>
                </a:cubicBezTo>
                <a:cubicBezTo>
                  <a:pt x="356" y="265"/>
                  <a:pt x="359" y="266"/>
                  <a:pt x="361" y="266"/>
                </a:cubicBezTo>
                <a:cubicBezTo>
                  <a:pt x="364" y="266"/>
                  <a:pt x="367" y="265"/>
                  <a:pt x="369" y="263"/>
                </a:cubicBezTo>
                <a:cubicBezTo>
                  <a:pt x="373" y="259"/>
                  <a:pt x="373" y="252"/>
                  <a:pt x="369" y="248"/>
                </a:cubicBezTo>
                <a:cubicBezTo>
                  <a:pt x="361" y="241"/>
                  <a:pt x="361" y="241"/>
                  <a:pt x="361" y="241"/>
                </a:cubicBezTo>
                <a:cubicBezTo>
                  <a:pt x="346" y="225"/>
                  <a:pt x="346" y="225"/>
                  <a:pt x="346" y="225"/>
                </a:cubicBezTo>
                <a:cubicBezTo>
                  <a:pt x="391" y="180"/>
                  <a:pt x="391" y="180"/>
                  <a:pt x="391" y="180"/>
                </a:cubicBezTo>
                <a:cubicBezTo>
                  <a:pt x="396" y="176"/>
                  <a:pt x="396" y="169"/>
                  <a:pt x="391" y="16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1" name="Freeform 529">
            <a:extLst>
              <a:ext uri="{FF2B5EF4-FFF2-40B4-BE49-F238E27FC236}">
                <a16:creationId xmlns:a16="http://schemas.microsoft.com/office/drawing/2014/main" id="{429AADC6-D514-4338-B527-1DAEDE96D2AF}"/>
              </a:ext>
            </a:extLst>
          </p:cNvPr>
          <p:cNvSpPr>
            <a:spLocks noChangeAspect="1" noEditPoints="1"/>
          </p:cNvSpPr>
          <p:nvPr/>
        </p:nvSpPr>
        <p:spPr bwMode="auto">
          <a:xfrm>
            <a:off x="10920818" y="1700213"/>
            <a:ext cx="368120" cy="367041"/>
          </a:xfrm>
          <a:custGeom>
            <a:avLst/>
            <a:gdLst>
              <a:gd name="T0" fmla="*/ 285 w 512"/>
              <a:gd name="T1" fmla="*/ 352 h 512"/>
              <a:gd name="T2" fmla="*/ 232 w 512"/>
              <a:gd name="T3" fmla="*/ 384 h 512"/>
              <a:gd name="T4" fmla="*/ 512 w 512"/>
              <a:gd name="T5" fmla="*/ 256 h 512"/>
              <a:gd name="T6" fmla="*/ 0 w 512"/>
              <a:gd name="T7" fmla="*/ 256 h 512"/>
              <a:gd name="T8" fmla="*/ 512 w 512"/>
              <a:gd name="T9" fmla="*/ 256 h 512"/>
              <a:gd name="T10" fmla="*/ 170 w 512"/>
              <a:gd name="T11" fmla="*/ 149 h 512"/>
              <a:gd name="T12" fmla="*/ 258 w 512"/>
              <a:gd name="T13" fmla="*/ 127 h 512"/>
              <a:gd name="T14" fmla="*/ 253 w 512"/>
              <a:gd name="T15" fmla="*/ 107 h 512"/>
              <a:gd name="T16" fmla="*/ 160 w 512"/>
              <a:gd name="T17" fmla="*/ 141 h 512"/>
              <a:gd name="T18" fmla="*/ 338 w 512"/>
              <a:gd name="T19" fmla="*/ 256 h 512"/>
              <a:gd name="T20" fmla="*/ 266 w 512"/>
              <a:gd name="T21" fmla="*/ 282 h 512"/>
              <a:gd name="T22" fmla="*/ 245 w 512"/>
              <a:gd name="T23" fmla="*/ 330 h 512"/>
              <a:gd name="T24" fmla="*/ 234 w 512"/>
              <a:gd name="T25" fmla="*/ 288 h 512"/>
              <a:gd name="T26" fmla="*/ 224 w 512"/>
              <a:gd name="T27" fmla="*/ 330 h 512"/>
              <a:gd name="T28" fmla="*/ 205 w 512"/>
              <a:gd name="T29" fmla="*/ 334 h 512"/>
              <a:gd name="T30" fmla="*/ 213 w 512"/>
              <a:gd name="T31" fmla="*/ 396 h 512"/>
              <a:gd name="T32" fmla="*/ 288 w 512"/>
              <a:gd name="T33" fmla="*/ 405 h 512"/>
              <a:gd name="T34" fmla="*/ 309 w 512"/>
              <a:gd name="T35" fmla="*/ 343 h 512"/>
              <a:gd name="T36" fmla="*/ 298 w 512"/>
              <a:gd name="T37" fmla="*/ 330 h 512"/>
              <a:gd name="T38" fmla="*/ 288 w 512"/>
              <a:gd name="T39" fmla="*/ 291 h 512"/>
              <a:gd name="T40" fmla="*/ 351 w 512"/>
              <a:gd name="T41" fmla="*/ 264 h 512"/>
              <a:gd name="T42" fmla="*/ 338 w 512"/>
              <a:gd name="T43" fmla="*/ 213 h 512"/>
              <a:gd name="T44" fmla="*/ 160 w 512"/>
              <a:gd name="T45" fmla="*/ 269 h 512"/>
              <a:gd name="T46" fmla="*/ 173 w 512"/>
              <a:gd name="T47" fmla="*/ 277 h 512"/>
              <a:gd name="T48" fmla="*/ 351 w 512"/>
              <a:gd name="T49" fmla="*/ 221 h 512"/>
              <a:gd name="T50" fmla="*/ 338 w 512"/>
              <a:gd name="T51" fmla="*/ 171 h 512"/>
              <a:gd name="T52" fmla="*/ 160 w 512"/>
              <a:gd name="T53" fmla="*/ 226 h 512"/>
              <a:gd name="T54" fmla="*/ 173 w 512"/>
              <a:gd name="T55" fmla="*/ 234 h 512"/>
              <a:gd name="T56" fmla="*/ 351 w 512"/>
              <a:gd name="T57" fmla="*/ 178 h 512"/>
              <a:gd name="T58" fmla="*/ 338 w 512"/>
              <a:gd name="T59" fmla="*/ 128 h 512"/>
              <a:gd name="T60" fmla="*/ 160 w 512"/>
              <a:gd name="T61" fmla="*/ 184 h 512"/>
              <a:gd name="T62" fmla="*/ 173 w 512"/>
              <a:gd name="T63" fmla="*/ 191 h 512"/>
              <a:gd name="T64" fmla="*/ 351 w 512"/>
              <a:gd name="T65" fmla="*/ 1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26" y="352"/>
                </a:moveTo>
                <a:cubicBezTo>
                  <a:pt x="285" y="352"/>
                  <a:pt x="285" y="352"/>
                  <a:pt x="285" y="352"/>
                </a:cubicBezTo>
                <a:cubicBezTo>
                  <a:pt x="279" y="384"/>
                  <a:pt x="279" y="384"/>
                  <a:pt x="279" y="384"/>
                </a:cubicBezTo>
                <a:cubicBezTo>
                  <a:pt x="232" y="384"/>
                  <a:pt x="232" y="384"/>
                  <a:pt x="232" y="384"/>
                </a:cubicBezTo>
                <a:lnTo>
                  <a:pt x="226"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141"/>
                </a:moveTo>
                <a:cubicBezTo>
                  <a:pt x="161" y="146"/>
                  <a:pt x="166" y="149"/>
                  <a:pt x="170" y="149"/>
                </a:cubicBezTo>
                <a:cubicBezTo>
                  <a:pt x="171" y="149"/>
                  <a:pt x="172" y="149"/>
                  <a:pt x="173" y="149"/>
                </a:cubicBezTo>
                <a:cubicBezTo>
                  <a:pt x="258" y="127"/>
                  <a:pt x="258" y="127"/>
                  <a:pt x="258" y="127"/>
                </a:cubicBezTo>
                <a:cubicBezTo>
                  <a:pt x="264" y="126"/>
                  <a:pt x="267" y="120"/>
                  <a:pt x="266" y="114"/>
                </a:cubicBezTo>
                <a:cubicBezTo>
                  <a:pt x="265" y="109"/>
                  <a:pt x="259" y="105"/>
                  <a:pt x="253" y="107"/>
                </a:cubicBezTo>
                <a:cubicBezTo>
                  <a:pt x="168" y="128"/>
                  <a:pt x="168" y="128"/>
                  <a:pt x="168" y="128"/>
                </a:cubicBezTo>
                <a:cubicBezTo>
                  <a:pt x="162" y="129"/>
                  <a:pt x="159" y="135"/>
                  <a:pt x="160" y="141"/>
                </a:cubicBezTo>
                <a:close/>
                <a:moveTo>
                  <a:pt x="351" y="264"/>
                </a:moveTo>
                <a:cubicBezTo>
                  <a:pt x="350" y="258"/>
                  <a:pt x="344" y="255"/>
                  <a:pt x="338" y="256"/>
                </a:cubicBezTo>
                <a:cubicBezTo>
                  <a:pt x="274" y="272"/>
                  <a:pt x="274" y="272"/>
                  <a:pt x="274" y="272"/>
                </a:cubicBezTo>
                <a:cubicBezTo>
                  <a:pt x="270" y="273"/>
                  <a:pt x="266" y="277"/>
                  <a:pt x="266" y="282"/>
                </a:cubicBezTo>
                <a:cubicBezTo>
                  <a:pt x="266" y="330"/>
                  <a:pt x="266" y="330"/>
                  <a:pt x="266" y="330"/>
                </a:cubicBezTo>
                <a:cubicBezTo>
                  <a:pt x="245" y="330"/>
                  <a:pt x="245" y="330"/>
                  <a:pt x="245" y="330"/>
                </a:cubicBezTo>
                <a:cubicBezTo>
                  <a:pt x="245" y="298"/>
                  <a:pt x="245" y="298"/>
                  <a:pt x="245" y="298"/>
                </a:cubicBezTo>
                <a:cubicBezTo>
                  <a:pt x="245" y="292"/>
                  <a:pt x="240" y="288"/>
                  <a:pt x="234" y="288"/>
                </a:cubicBezTo>
                <a:cubicBezTo>
                  <a:pt x="228" y="288"/>
                  <a:pt x="224" y="292"/>
                  <a:pt x="224" y="298"/>
                </a:cubicBezTo>
                <a:cubicBezTo>
                  <a:pt x="224" y="330"/>
                  <a:pt x="224" y="330"/>
                  <a:pt x="224" y="330"/>
                </a:cubicBezTo>
                <a:cubicBezTo>
                  <a:pt x="213" y="330"/>
                  <a:pt x="213" y="330"/>
                  <a:pt x="213" y="330"/>
                </a:cubicBezTo>
                <a:cubicBezTo>
                  <a:pt x="210" y="330"/>
                  <a:pt x="207" y="332"/>
                  <a:pt x="205" y="334"/>
                </a:cubicBezTo>
                <a:cubicBezTo>
                  <a:pt x="203" y="337"/>
                  <a:pt x="202" y="340"/>
                  <a:pt x="203" y="343"/>
                </a:cubicBezTo>
                <a:cubicBezTo>
                  <a:pt x="213" y="396"/>
                  <a:pt x="213" y="396"/>
                  <a:pt x="213" y="396"/>
                </a:cubicBezTo>
                <a:cubicBezTo>
                  <a:pt x="214" y="401"/>
                  <a:pt x="219" y="405"/>
                  <a:pt x="224" y="405"/>
                </a:cubicBezTo>
                <a:cubicBezTo>
                  <a:pt x="288" y="405"/>
                  <a:pt x="288" y="405"/>
                  <a:pt x="288" y="405"/>
                </a:cubicBezTo>
                <a:cubicBezTo>
                  <a:pt x="293" y="405"/>
                  <a:pt x="297" y="401"/>
                  <a:pt x="298" y="396"/>
                </a:cubicBezTo>
                <a:cubicBezTo>
                  <a:pt x="309" y="343"/>
                  <a:pt x="309" y="343"/>
                  <a:pt x="309" y="343"/>
                </a:cubicBezTo>
                <a:cubicBezTo>
                  <a:pt x="309" y="340"/>
                  <a:pt x="309" y="337"/>
                  <a:pt x="307" y="334"/>
                </a:cubicBezTo>
                <a:cubicBezTo>
                  <a:pt x="305" y="332"/>
                  <a:pt x="302" y="330"/>
                  <a:pt x="298" y="330"/>
                </a:cubicBezTo>
                <a:cubicBezTo>
                  <a:pt x="288" y="330"/>
                  <a:pt x="288" y="330"/>
                  <a:pt x="288" y="330"/>
                </a:cubicBezTo>
                <a:cubicBezTo>
                  <a:pt x="288" y="291"/>
                  <a:pt x="288" y="291"/>
                  <a:pt x="288" y="291"/>
                </a:cubicBezTo>
                <a:cubicBezTo>
                  <a:pt x="344" y="277"/>
                  <a:pt x="344" y="277"/>
                  <a:pt x="344" y="277"/>
                </a:cubicBezTo>
                <a:cubicBezTo>
                  <a:pt x="349" y="275"/>
                  <a:pt x="353" y="269"/>
                  <a:pt x="351" y="264"/>
                </a:cubicBezTo>
                <a:close/>
                <a:moveTo>
                  <a:pt x="351" y="221"/>
                </a:moveTo>
                <a:cubicBezTo>
                  <a:pt x="350" y="215"/>
                  <a:pt x="344" y="212"/>
                  <a:pt x="338" y="213"/>
                </a:cubicBezTo>
                <a:cubicBezTo>
                  <a:pt x="168" y="256"/>
                  <a:pt x="168" y="256"/>
                  <a:pt x="168" y="256"/>
                </a:cubicBezTo>
                <a:cubicBezTo>
                  <a:pt x="162" y="257"/>
                  <a:pt x="159" y="263"/>
                  <a:pt x="160" y="269"/>
                </a:cubicBezTo>
                <a:cubicBezTo>
                  <a:pt x="161" y="274"/>
                  <a:pt x="166" y="277"/>
                  <a:pt x="170" y="277"/>
                </a:cubicBezTo>
                <a:cubicBezTo>
                  <a:pt x="171" y="277"/>
                  <a:pt x="172" y="277"/>
                  <a:pt x="173" y="277"/>
                </a:cubicBezTo>
                <a:cubicBezTo>
                  <a:pt x="344" y="234"/>
                  <a:pt x="344" y="234"/>
                  <a:pt x="344" y="234"/>
                </a:cubicBezTo>
                <a:cubicBezTo>
                  <a:pt x="349" y="233"/>
                  <a:pt x="353" y="227"/>
                  <a:pt x="351" y="221"/>
                </a:cubicBezTo>
                <a:close/>
                <a:moveTo>
                  <a:pt x="351" y="178"/>
                </a:moveTo>
                <a:cubicBezTo>
                  <a:pt x="350" y="173"/>
                  <a:pt x="344" y="169"/>
                  <a:pt x="338" y="171"/>
                </a:cubicBezTo>
                <a:cubicBezTo>
                  <a:pt x="168" y="213"/>
                  <a:pt x="168" y="213"/>
                  <a:pt x="168" y="213"/>
                </a:cubicBezTo>
                <a:cubicBezTo>
                  <a:pt x="162" y="215"/>
                  <a:pt x="159" y="221"/>
                  <a:pt x="160" y="226"/>
                </a:cubicBezTo>
                <a:cubicBezTo>
                  <a:pt x="161" y="231"/>
                  <a:pt x="166" y="234"/>
                  <a:pt x="170" y="234"/>
                </a:cubicBezTo>
                <a:cubicBezTo>
                  <a:pt x="171" y="234"/>
                  <a:pt x="172" y="234"/>
                  <a:pt x="173" y="234"/>
                </a:cubicBezTo>
                <a:cubicBezTo>
                  <a:pt x="344" y="191"/>
                  <a:pt x="344" y="191"/>
                  <a:pt x="344" y="191"/>
                </a:cubicBezTo>
                <a:cubicBezTo>
                  <a:pt x="349" y="190"/>
                  <a:pt x="353" y="184"/>
                  <a:pt x="351" y="178"/>
                </a:cubicBezTo>
                <a:close/>
                <a:moveTo>
                  <a:pt x="351" y="136"/>
                </a:moveTo>
                <a:cubicBezTo>
                  <a:pt x="350" y="130"/>
                  <a:pt x="344" y="127"/>
                  <a:pt x="338" y="128"/>
                </a:cubicBezTo>
                <a:cubicBezTo>
                  <a:pt x="168" y="171"/>
                  <a:pt x="168" y="171"/>
                  <a:pt x="168" y="171"/>
                </a:cubicBezTo>
                <a:cubicBezTo>
                  <a:pt x="162" y="172"/>
                  <a:pt x="159" y="178"/>
                  <a:pt x="160" y="184"/>
                </a:cubicBezTo>
                <a:cubicBezTo>
                  <a:pt x="161" y="188"/>
                  <a:pt x="166" y="192"/>
                  <a:pt x="170" y="192"/>
                </a:cubicBezTo>
                <a:cubicBezTo>
                  <a:pt x="171" y="192"/>
                  <a:pt x="172" y="192"/>
                  <a:pt x="173" y="191"/>
                </a:cubicBezTo>
                <a:cubicBezTo>
                  <a:pt x="344" y="149"/>
                  <a:pt x="344" y="149"/>
                  <a:pt x="344" y="149"/>
                </a:cubicBezTo>
                <a:cubicBezTo>
                  <a:pt x="349" y="147"/>
                  <a:pt x="353" y="141"/>
                  <a:pt x="351" y="13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2" name="Group 532">
            <a:extLst>
              <a:ext uri="{FF2B5EF4-FFF2-40B4-BE49-F238E27FC236}">
                <a16:creationId xmlns:a16="http://schemas.microsoft.com/office/drawing/2014/main" id="{FDCBDE56-2FA7-4141-AEC9-A9105FAFD554}"/>
              </a:ext>
            </a:extLst>
          </p:cNvPr>
          <p:cNvGrpSpPr>
            <a:grpSpLocks noChangeAspect="1"/>
          </p:cNvGrpSpPr>
          <p:nvPr/>
        </p:nvGrpSpPr>
        <p:grpSpPr bwMode="auto">
          <a:xfrm>
            <a:off x="11355059" y="1700213"/>
            <a:ext cx="367041" cy="367041"/>
            <a:chOff x="4511" y="2388"/>
            <a:chExt cx="340" cy="340"/>
          </a:xfrm>
          <a:solidFill>
            <a:schemeClr val="accent6"/>
          </a:solidFill>
        </p:grpSpPr>
        <p:sp>
          <p:nvSpPr>
            <p:cNvPr id="163" name="Freeform 533">
              <a:extLst>
                <a:ext uri="{FF2B5EF4-FFF2-40B4-BE49-F238E27FC236}">
                  <a16:creationId xmlns:a16="http://schemas.microsoft.com/office/drawing/2014/main" id="{5CDFC4E4-6E6C-483A-A03C-28B5E0A365A3}"/>
                </a:ext>
              </a:extLst>
            </p:cNvPr>
            <p:cNvSpPr>
              <a:spLocks noEditPoints="1"/>
            </p:cNvSpPr>
            <p:nvPr/>
          </p:nvSpPr>
          <p:spPr bwMode="auto">
            <a:xfrm>
              <a:off x="4511" y="23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4" name="Freeform 534">
              <a:extLst>
                <a:ext uri="{FF2B5EF4-FFF2-40B4-BE49-F238E27FC236}">
                  <a16:creationId xmlns:a16="http://schemas.microsoft.com/office/drawing/2014/main" id="{8069B2C4-D6D8-4676-82E9-31233348156D}"/>
                </a:ext>
              </a:extLst>
            </p:cNvPr>
            <p:cNvSpPr>
              <a:spLocks noEditPoints="1"/>
            </p:cNvSpPr>
            <p:nvPr/>
          </p:nvSpPr>
          <p:spPr bwMode="auto">
            <a:xfrm>
              <a:off x="4617" y="2458"/>
              <a:ext cx="128" cy="199"/>
            </a:xfrm>
            <a:custGeom>
              <a:avLst/>
              <a:gdLst>
                <a:gd name="T0" fmla="*/ 179 w 194"/>
                <a:gd name="T1" fmla="*/ 151 h 300"/>
                <a:gd name="T2" fmla="*/ 115 w 194"/>
                <a:gd name="T3" fmla="*/ 167 h 300"/>
                <a:gd name="T4" fmla="*/ 107 w 194"/>
                <a:gd name="T5" fmla="*/ 177 h 300"/>
                <a:gd name="T6" fmla="*/ 107 w 194"/>
                <a:gd name="T7" fmla="*/ 225 h 300"/>
                <a:gd name="T8" fmla="*/ 86 w 194"/>
                <a:gd name="T9" fmla="*/ 225 h 300"/>
                <a:gd name="T10" fmla="*/ 86 w 194"/>
                <a:gd name="T11" fmla="*/ 193 h 300"/>
                <a:gd name="T12" fmla="*/ 75 w 194"/>
                <a:gd name="T13" fmla="*/ 183 h 300"/>
                <a:gd name="T14" fmla="*/ 65 w 194"/>
                <a:gd name="T15" fmla="*/ 193 h 300"/>
                <a:gd name="T16" fmla="*/ 65 w 194"/>
                <a:gd name="T17" fmla="*/ 225 h 300"/>
                <a:gd name="T18" fmla="*/ 54 w 194"/>
                <a:gd name="T19" fmla="*/ 225 h 300"/>
                <a:gd name="T20" fmla="*/ 46 w 194"/>
                <a:gd name="T21" fmla="*/ 229 h 300"/>
                <a:gd name="T22" fmla="*/ 44 w 194"/>
                <a:gd name="T23" fmla="*/ 238 h 300"/>
                <a:gd name="T24" fmla="*/ 54 w 194"/>
                <a:gd name="T25" fmla="*/ 291 h 300"/>
                <a:gd name="T26" fmla="*/ 65 w 194"/>
                <a:gd name="T27" fmla="*/ 300 h 300"/>
                <a:gd name="T28" fmla="*/ 129 w 194"/>
                <a:gd name="T29" fmla="*/ 300 h 300"/>
                <a:gd name="T30" fmla="*/ 139 w 194"/>
                <a:gd name="T31" fmla="*/ 291 h 300"/>
                <a:gd name="T32" fmla="*/ 150 w 194"/>
                <a:gd name="T33" fmla="*/ 238 h 300"/>
                <a:gd name="T34" fmla="*/ 148 w 194"/>
                <a:gd name="T35" fmla="*/ 229 h 300"/>
                <a:gd name="T36" fmla="*/ 139 w 194"/>
                <a:gd name="T37" fmla="*/ 225 h 300"/>
                <a:gd name="T38" fmla="*/ 129 w 194"/>
                <a:gd name="T39" fmla="*/ 225 h 300"/>
                <a:gd name="T40" fmla="*/ 129 w 194"/>
                <a:gd name="T41" fmla="*/ 186 h 300"/>
                <a:gd name="T42" fmla="*/ 185 w 194"/>
                <a:gd name="T43" fmla="*/ 172 h 300"/>
                <a:gd name="T44" fmla="*/ 192 w 194"/>
                <a:gd name="T45" fmla="*/ 159 h 300"/>
                <a:gd name="T46" fmla="*/ 179 w 194"/>
                <a:gd name="T47" fmla="*/ 151 h 300"/>
                <a:gd name="T48" fmla="*/ 120 w 194"/>
                <a:gd name="T49" fmla="*/ 279 h 300"/>
                <a:gd name="T50" fmla="*/ 73 w 194"/>
                <a:gd name="T51" fmla="*/ 279 h 300"/>
                <a:gd name="T52" fmla="*/ 67 w 194"/>
                <a:gd name="T53" fmla="*/ 247 h 300"/>
                <a:gd name="T54" fmla="*/ 126 w 194"/>
                <a:gd name="T55" fmla="*/ 247 h 300"/>
                <a:gd name="T56" fmla="*/ 120 w 194"/>
                <a:gd name="T57" fmla="*/ 279 h 300"/>
                <a:gd name="T58" fmla="*/ 192 w 194"/>
                <a:gd name="T59" fmla="*/ 73 h 300"/>
                <a:gd name="T60" fmla="*/ 185 w 194"/>
                <a:gd name="T61" fmla="*/ 86 h 300"/>
                <a:gd name="T62" fmla="*/ 14 w 194"/>
                <a:gd name="T63" fmla="*/ 129 h 300"/>
                <a:gd name="T64" fmla="*/ 11 w 194"/>
                <a:gd name="T65" fmla="*/ 129 h 300"/>
                <a:gd name="T66" fmla="*/ 1 w 194"/>
                <a:gd name="T67" fmla="*/ 121 h 300"/>
                <a:gd name="T68" fmla="*/ 9 w 194"/>
                <a:gd name="T69" fmla="*/ 108 h 300"/>
                <a:gd name="T70" fmla="*/ 179 w 194"/>
                <a:gd name="T71" fmla="*/ 66 h 300"/>
                <a:gd name="T72" fmla="*/ 192 w 194"/>
                <a:gd name="T73" fmla="*/ 73 h 300"/>
                <a:gd name="T74" fmla="*/ 192 w 194"/>
                <a:gd name="T75" fmla="*/ 116 h 300"/>
                <a:gd name="T76" fmla="*/ 185 w 194"/>
                <a:gd name="T77" fmla="*/ 129 h 300"/>
                <a:gd name="T78" fmla="*/ 14 w 194"/>
                <a:gd name="T79" fmla="*/ 172 h 300"/>
                <a:gd name="T80" fmla="*/ 11 w 194"/>
                <a:gd name="T81" fmla="*/ 172 h 300"/>
                <a:gd name="T82" fmla="*/ 1 w 194"/>
                <a:gd name="T83" fmla="*/ 164 h 300"/>
                <a:gd name="T84" fmla="*/ 9 w 194"/>
                <a:gd name="T85" fmla="*/ 151 h 300"/>
                <a:gd name="T86" fmla="*/ 179 w 194"/>
                <a:gd name="T87" fmla="*/ 108 h 300"/>
                <a:gd name="T88" fmla="*/ 192 w 194"/>
                <a:gd name="T89" fmla="*/ 116 h 300"/>
                <a:gd name="T90" fmla="*/ 1 w 194"/>
                <a:gd name="T91" fmla="*/ 36 h 300"/>
                <a:gd name="T92" fmla="*/ 9 w 194"/>
                <a:gd name="T93" fmla="*/ 23 h 300"/>
                <a:gd name="T94" fmla="*/ 94 w 194"/>
                <a:gd name="T95" fmla="*/ 2 h 300"/>
                <a:gd name="T96" fmla="*/ 107 w 194"/>
                <a:gd name="T97" fmla="*/ 9 h 300"/>
                <a:gd name="T98" fmla="*/ 99 w 194"/>
                <a:gd name="T99" fmla="*/ 22 h 300"/>
                <a:gd name="T100" fmla="*/ 14 w 194"/>
                <a:gd name="T101" fmla="*/ 44 h 300"/>
                <a:gd name="T102" fmla="*/ 11 w 194"/>
                <a:gd name="T103" fmla="*/ 44 h 300"/>
                <a:gd name="T104" fmla="*/ 1 w 194"/>
                <a:gd name="T105" fmla="*/ 36 h 300"/>
                <a:gd name="T106" fmla="*/ 1 w 194"/>
                <a:gd name="T107" fmla="*/ 79 h 300"/>
                <a:gd name="T108" fmla="*/ 9 w 194"/>
                <a:gd name="T109" fmla="*/ 66 h 300"/>
                <a:gd name="T110" fmla="*/ 179 w 194"/>
                <a:gd name="T111" fmla="*/ 23 h 300"/>
                <a:gd name="T112" fmla="*/ 192 w 194"/>
                <a:gd name="T113" fmla="*/ 31 h 300"/>
                <a:gd name="T114" fmla="*/ 185 w 194"/>
                <a:gd name="T115" fmla="*/ 44 h 300"/>
                <a:gd name="T116" fmla="*/ 14 w 194"/>
                <a:gd name="T117" fmla="*/ 86 h 300"/>
                <a:gd name="T118" fmla="*/ 11 w 194"/>
                <a:gd name="T119" fmla="*/ 87 h 300"/>
                <a:gd name="T120" fmla="*/ 1 w 194"/>
                <a:gd name="T121" fmla="*/ 7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4" h="300">
                  <a:moveTo>
                    <a:pt x="179" y="151"/>
                  </a:moveTo>
                  <a:cubicBezTo>
                    <a:pt x="115" y="167"/>
                    <a:pt x="115" y="167"/>
                    <a:pt x="115" y="167"/>
                  </a:cubicBezTo>
                  <a:cubicBezTo>
                    <a:pt x="111" y="168"/>
                    <a:pt x="107" y="172"/>
                    <a:pt x="107" y="177"/>
                  </a:cubicBezTo>
                  <a:cubicBezTo>
                    <a:pt x="107" y="225"/>
                    <a:pt x="107" y="225"/>
                    <a:pt x="107" y="225"/>
                  </a:cubicBezTo>
                  <a:cubicBezTo>
                    <a:pt x="86" y="225"/>
                    <a:pt x="86" y="225"/>
                    <a:pt x="86" y="225"/>
                  </a:cubicBezTo>
                  <a:cubicBezTo>
                    <a:pt x="86" y="193"/>
                    <a:pt x="86" y="193"/>
                    <a:pt x="86" y="193"/>
                  </a:cubicBezTo>
                  <a:cubicBezTo>
                    <a:pt x="86" y="187"/>
                    <a:pt x="81" y="183"/>
                    <a:pt x="75" y="183"/>
                  </a:cubicBezTo>
                  <a:cubicBezTo>
                    <a:pt x="69" y="183"/>
                    <a:pt x="65" y="187"/>
                    <a:pt x="65" y="193"/>
                  </a:cubicBezTo>
                  <a:cubicBezTo>
                    <a:pt x="65" y="225"/>
                    <a:pt x="65" y="225"/>
                    <a:pt x="65" y="225"/>
                  </a:cubicBezTo>
                  <a:cubicBezTo>
                    <a:pt x="54" y="225"/>
                    <a:pt x="54" y="225"/>
                    <a:pt x="54" y="225"/>
                  </a:cubicBezTo>
                  <a:cubicBezTo>
                    <a:pt x="51" y="225"/>
                    <a:pt x="48" y="227"/>
                    <a:pt x="46" y="229"/>
                  </a:cubicBezTo>
                  <a:cubicBezTo>
                    <a:pt x="44" y="232"/>
                    <a:pt x="43" y="235"/>
                    <a:pt x="44" y="238"/>
                  </a:cubicBezTo>
                  <a:cubicBezTo>
                    <a:pt x="54" y="291"/>
                    <a:pt x="54" y="291"/>
                    <a:pt x="54" y="291"/>
                  </a:cubicBezTo>
                  <a:cubicBezTo>
                    <a:pt x="55" y="296"/>
                    <a:pt x="60" y="300"/>
                    <a:pt x="65" y="300"/>
                  </a:cubicBezTo>
                  <a:cubicBezTo>
                    <a:pt x="129" y="300"/>
                    <a:pt x="129" y="300"/>
                    <a:pt x="129" y="300"/>
                  </a:cubicBezTo>
                  <a:cubicBezTo>
                    <a:pt x="134" y="300"/>
                    <a:pt x="138" y="296"/>
                    <a:pt x="139" y="291"/>
                  </a:cubicBezTo>
                  <a:cubicBezTo>
                    <a:pt x="150" y="238"/>
                    <a:pt x="150" y="238"/>
                    <a:pt x="150" y="238"/>
                  </a:cubicBezTo>
                  <a:cubicBezTo>
                    <a:pt x="150" y="235"/>
                    <a:pt x="150" y="232"/>
                    <a:pt x="148" y="229"/>
                  </a:cubicBezTo>
                  <a:cubicBezTo>
                    <a:pt x="146" y="227"/>
                    <a:pt x="143" y="225"/>
                    <a:pt x="139" y="225"/>
                  </a:cubicBezTo>
                  <a:cubicBezTo>
                    <a:pt x="129" y="225"/>
                    <a:pt x="129" y="225"/>
                    <a:pt x="129" y="225"/>
                  </a:cubicBezTo>
                  <a:cubicBezTo>
                    <a:pt x="129" y="186"/>
                    <a:pt x="129" y="186"/>
                    <a:pt x="129" y="186"/>
                  </a:cubicBezTo>
                  <a:cubicBezTo>
                    <a:pt x="185" y="172"/>
                    <a:pt x="185" y="172"/>
                    <a:pt x="185" y="172"/>
                  </a:cubicBezTo>
                  <a:cubicBezTo>
                    <a:pt x="190" y="170"/>
                    <a:pt x="194" y="164"/>
                    <a:pt x="192" y="159"/>
                  </a:cubicBezTo>
                  <a:cubicBezTo>
                    <a:pt x="191" y="153"/>
                    <a:pt x="185" y="150"/>
                    <a:pt x="179" y="151"/>
                  </a:cubicBezTo>
                  <a:close/>
                  <a:moveTo>
                    <a:pt x="120" y="279"/>
                  </a:moveTo>
                  <a:cubicBezTo>
                    <a:pt x="73" y="279"/>
                    <a:pt x="73" y="279"/>
                    <a:pt x="73" y="279"/>
                  </a:cubicBezTo>
                  <a:cubicBezTo>
                    <a:pt x="67" y="247"/>
                    <a:pt x="67" y="247"/>
                    <a:pt x="67" y="247"/>
                  </a:cubicBezTo>
                  <a:cubicBezTo>
                    <a:pt x="126" y="247"/>
                    <a:pt x="126" y="247"/>
                    <a:pt x="126" y="247"/>
                  </a:cubicBezTo>
                  <a:lnTo>
                    <a:pt x="120" y="279"/>
                  </a:lnTo>
                  <a:close/>
                  <a:moveTo>
                    <a:pt x="192" y="73"/>
                  </a:moveTo>
                  <a:cubicBezTo>
                    <a:pt x="194" y="79"/>
                    <a:pt x="190" y="85"/>
                    <a:pt x="185" y="86"/>
                  </a:cubicBezTo>
                  <a:cubicBezTo>
                    <a:pt x="14" y="129"/>
                    <a:pt x="14" y="129"/>
                    <a:pt x="14" y="129"/>
                  </a:cubicBezTo>
                  <a:cubicBezTo>
                    <a:pt x="13" y="129"/>
                    <a:pt x="12" y="129"/>
                    <a:pt x="11" y="129"/>
                  </a:cubicBezTo>
                  <a:cubicBezTo>
                    <a:pt x="7" y="129"/>
                    <a:pt x="2" y="126"/>
                    <a:pt x="1" y="121"/>
                  </a:cubicBezTo>
                  <a:cubicBezTo>
                    <a:pt x="0" y="116"/>
                    <a:pt x="3" y="110"/>
                    <a:pt x="9" y="108"/>
                  </a:cubicBezTo>
                  <a:cubicBezTo>
                    <a:pt x="179" y="66"/>
                    <a:pt x="179" y="66"/>
                    <a:pt x="179" y="66"/>
                  </a:cubicBezTo>
                  <a:cubicBezTo>
                    <a:pt x="185" y="64"/>
                    <a:pt x="191" y="68"/>
                    <a:pt x="192" y="73"/>
                  </a:cubicBezTo>
                  <a:close/>
                  <a:moveTo>
                    <a:pt x="192" y="116"/>
                  </a:moveTo>
                  <a:cubicBezTo>
                    <a:pt x="194" y="122"/>
                    <a:pt x="190" y="128"/>
                    <a:pt x="185" y="129"/>
                  </a:cubicBezTo>
                  <a:cubicBezTo>
                    <a:pt x="14" y="172"/>
                    <a:pt x="14" y="172"/>
                    <a:pt x="14" y="172"/>
                  </a:cubicBezTo>
                  <a:cubicBezTo>
                    <a:pt x="13" y="172"/>
                    <a:pt x="12" y="172"/>
                    <a:pt x="11" y="172"/>
                  </a:cubicBezTo>
                  <a:cubicBezTo>
                    <a:pt x="7" y="172"/>
                    <a:pt x="2" y="169"/>
                    <a:pt x="1" y="164"/>
                  </a:cubicBezTo>
                  <a:cubicBezTo>
                    <a:pt x="0" y="158"/>
                    <a:pt x="3" y="152"/>
                    <a:pt x="9" y="151"/>
                  </a:cubicBezTo>
                  <a:cubicBezTo>
                    <a:pt x="179" y="108"/>
                    <a:pt x="179" y="108"/>
                    <a:pt x="179" y="108"/>
                  </a:cubicBezTo>
                  <a:cubicBezTo>
                    <a:pt x="185" y="107"/>
                    <a:pt x="191" y="110"/>
                    <a:pt x="192" y="116"/>
                  </a:cubicBezTo>
                  <a:close/>
                  <a:moveTo>
                    <a:pt x="1" y="36"/>
                  </a:moveTo>
                  <a:cubicBezTo>
                    <a:pt x="0" y="30"/>
                    <a:pt x="3" y="24"/>
                    <a:pt x="9" y="23"/>
                  </a:cubicBezTo>
                  <a:cubicBezTo>
                    <a:pt x="94" y="2"/>
                    <a:pt x="94" y="2"/>
                    <a:pt x="94" y="2"/>
                  </a:cubicBezTo>
                  <a:cubicBezTo>
                    <a:pt x="100" y="0"/>
                    <a:pt x="106" y="4"/>
                    <a:pt x="107" y="9"/>
                  </a:cubicBezTo>
                  <a:cubicBezTo>
                    <a:pt x="108" y="15"/>
                    <a:pt x="105" y="21"/>
                    <a:pt x="99" y="22"/>
                  </a:cubicBezTo>
                  <a:cubicBezTo>
                    <a:pt x="14" y="44"/>
                    <a:pt x="14" y="44"/>
                    <a:pt x="14" y="44"/>
                  </a:cubicBezTo>
                  <a:cubicBezTo>
                    <a:pt x="13" y="44"/>
                    <a:pt x="12" y="44"/>
                    <a:pt x="11" y="44"/>
                  </a:cubicBezTo>
                  <a:cubicBezTo>
                    <a:pt x="7" y="44"/>
                    <a:pt x="2" y="41"/>
                    <a:pt x="1" y="36"/>
                  </a:cubicBezTo>
                  <a:close/>
                  <a:moveTo>
                    <a:pt x="1" y="79"/>
                  </a:moveTo>
                  <a:cubicBezTo>
                    <a:pt x="0" y="73"/>
                    <a:pt x="3" y="67"/>
                    <a:pt x="9" y="66"/>
                  </a:cubicBezTo>
                  <a:cubicBezTo>
                    <a:pt x="179" y="23"/>
                    <a:pt x="179" y="23"/>
                    <a:pt x="179" y="23"/>
                  </a:cubicBezTo>
                  <a:cubicBezTo>
                    <a:pt x="185" y="22"/>
                    <a:pt x="191" y="25"/>
                    <a:pt x="192" y="31"/>
                  </a:cubicBezTo>
                  <a:cubicBezTo>
                    <a:pt x="194" y="36"/>
                    <a:pt x="190" y="42"/>
                    <a:pt x="185" y="44"/>
                  </a:cubicBezTo>
                  <a:cubicBezTo>
                    <a:pt x="14" y="86"/>
                    <a:pt x="14" y="86"/>
                    <a:pt x="14" y="86"/>
                  </a:cubicBezTo>
                  <a:cubicBezTo>
                    <a:pt x="13" y="87"/>
                    <a:pt x="12" y="87"/>
                    <a:pt x="11" y="87"/>
                  </a:cubicBezTo>
                  <a:cubicBezTo>
                    <a:pt x="7" y="87"/>
                    <a:pt x="2" y="83"/>
                    <a:pt x="1"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5" name="Freeform 538">
            <a:extLst>
              <a:ext uri="{FF2B5EF4-FFF2-40B4-BE49-F238E27FC236}">
                <a16:creationId xmlns:a16="http://schemas.microsoft.com/office/drawing/2014/main" id="{C5838E35-4BAF-4D1C-8012-C4ABCC243F87}"/>
              </a:ext>
            </a:extLst>
          </p:cNvPr>
          <p:cNvSpPr>
            <a:spLocks noChangeAspect="1" noEditPoints="1"/>
          </p:cNvSpPr>
          <p:nvPr/>
        </p:nvSpPr>
        <p:spPr bwMode="auto">
          <a:xfrm>
            <a:off x="469900" y="2544048"/>
            <a:ext cx="367041" cy="367041"/>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6" name="Group 541">
            <a:extLst>
              <a:ext uri="{FF2B5EF4-FFF2-40B4-BE49-F238E27FC236}">
                <a16:creationId xmlns:a16="http://schemas.microsoft.com/office/drawing/2014/main" id="{E6331EC6-AC41-4B31-BAEE-97C9B2D1B64D}"/>
              </a:ext>
            </a:extLst>
          </p:cNvPr>
          <p:cNvGrpSpPr>
            <a:grpSpLocks noChangeAspect="1"/>
          </p:cNvGrpSpPr>
          <p:nvPr/>
        </p:nvGrpSpPr>
        <p:grpSpPr bwMode="auto">
          <a:xfrm>
            <a:off x="904595" y="2544048"/>
            <a:ext cx="367041" cy="367041"/>
            <a:chOff x="5326" y="2494"/>
            <a:chExt cx="340" cy="340"/>
          </a:xfrm>
          <a:solidFill>
            <a:schemeClr val="accent6"/>
          </a:solidFill>
        </p:grpSpPr>
        <p:sp>
          <p:nvSpPr>
            <p:cNvPr id="167" name="Freeform 542">
              <a:extLst>
                <a:ext uri="{FF2B5EF4-FFF2-40B4-BE49-F238E27FC236}">
                  <a16:creationId xmlns:a16="http://schemas.microsoft.com/office/drawing/2014/main" id="{2E962CFE-D326-4BE7-B7B2-1CE31AB646A0}"/>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8" name="Freeform 543">
              <a:extLst>
                <a:ext uri="{FF2B5EF4-FFF2-40B4-BE49-F238E27FC236}">
                  <a16:creationId xmlns:a16="http://schemas.microsoft.com/office/drawing/2014/main" id="{661145D3-BD74-43F2-A030-34EABC614E49}"/>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9" name="TextBox 168">
            <a:extLst>
              <a:ext uri="{FF2B5EF4-FFF2-40B4-BE49-F238E27FC236}">
                <a16:creationId xmlns:a16="http://schemas.microsoft.com/office/drawing/2014/main" id="{55A12F18-9EE9-45F8-95EE-08C4EEA1F7D7}"/>
              </a:ext>
            </a:extLst>
          </p:cNvPr>
          <p:cNvSpPr txBox="1"/>
          <p:nvPr/>
        </p:nvSpPr>
        <p:spPr>
          <a:xfrm>
            <a:off x="455523" y="293740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bulb 2</a:t>
            </a:r>
          </a:p>
        </p:txBody>
      </p:sp>
      <p:grpSp>
        <p:nvGrpSpPr>
          <p:cNvPr id="170" name="Group 536">
            <a:extLst>
              <a:ext uri="{FF2B5EF4-FFF2-40B4-BE49-F238E27FC236}">
                <a16:creationId xmlns:a16="http://schemas.microsoft.com/office/drawing/2014/main" id="{CBC8B455-1AC3-49D8-8F18-0B4B2CC6AAF7}"/>
              </a:ext>
            </a:extLst>
          </p:cNvPr>
          <p:cNvGrpSpPr>
            <a:grpSpLocks noChangeAspect="1"/>
          </p:cNvGrpSpPr>
          <p:nvPr/>
        </p:nvGrpSpPr>
        <p:grpSpPr bwMode="auto">
          <a:xfrm>
            <a:off x="1775965" y="2544048"/>
            <a:ext cx="369021" cy="369021"/>
            <a:chOff x="2631" y="1992"/>
            <a:chExt cx="340" cy="340"/>
          </a:xfrm>
          <a:solidFill>
            <a:schemeClr val="accent6"/>
          </a:solidFill>
        </p:grpSpPr>
        <p:sp>
          <p:nvSpPr>
            <p:cNvPr id="171" name="Freeform 537">
              <a:extLst>
                <a:ext uri="{FF2B5EF4-FFF2-40B4-BE49-F238E27FC236}">
                  <a16:creationId xmlns:a16="http://schemas.microsoft.com/office/drawing/2014/main" id="{21D360AB-9022-4915-B718-5D641D0E6DBF}"/>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2" name="Freeform 538">
              <a:extLst>
                <a:ext uri="{FF2B5EF4-FFF2-40B4-BE49-F238E27FC236}">
                  <a16:creationId xmlns:a16="http://schemas.microsoft.com/office/drawing/2014/main" id="{BE0DDC28-BEDF-4ACE-A5E6-86421535EF83}"/>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3" name="Freeform 542">
            <a:extLst>
              <a:ext uri="{FF2B5EF4-FFF2-40B4-BE49-F238E27FC236}">
                <a16:creationId xmlns:a16="http://schemas.microsoft.com/office/drawing/2014/main" id="{D223883E-288D-4D1B-A5A6-E5D3E3A76C64}"/>
              </a:ext>
            </a:extLst>
          </p:cNvPr>
          <p:cNvSpPr>
            <a:spLocks noChangeAspect="1" noEditPoints="1"/>
          </p:cNvSpPr>
          <p:nvPr/>
        </p:nvSpPr>
        <p:spPr bwMode="auto">
          <a:xfrm>
            <a:off x="1339290" y="2544048"/>
            <a:ext cx="369021" cy="36902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4" name="Freeform 83">
            <a:extLst>
              <a:ext uri="{FF2B5EF4-FFF2-40B4-BE49-F238E27FC236}">
                <a16:creationId xmlns:a16="http://schemas.microsoft.com/office/drawing/2014/main" id="{A70935F6-45F6-464B-8C1D-1DD92A77BB7F}"/>
              </a:ext>
            </a:extLst>
          </p:cNvPr>
          <p:cNvSpPr>
            <a:spLocks noChangeAspect="1" noEditPoints="1"/>
          </p:cNvSpPr>
          <p:nvPr/>
        </p:nvSpPr>
        <p:spPr bwMode="auto">
          <a:xfrm>
            <a:off x="2212640" y="2544048"/>
            <a:ext cx="36871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412 h 512"/>
              <a:gd name="T12" fmla="*/ 321 w 512"/>
              <a:gd name="T13" fmla="*/ 416 h 512"/>
              <a:gd name="T14" fmla="*/ 149 w 512"/>
              <a:gd name="T15" fmla="*/ 416 h 512"/>
              <a:gd name="T16" fmla="*/ 141 w 512"/>
              <a:gd name="T17" fmla="*/ 412 h 512"/>
              <a:gd name="T18" fmla="*/ 139 w 512"/>
              <a:gd name="T19" fmla="*/ 403 h 512"/>
              <a:gd name="T20" fmla="*/ 160 w 512"/>
              <a:gd name="T21" fmla="*/ 287 h 512"/>
              <a:gd name="T22" fmla="*/ 160 w 512"/>
              <a:gd name="T23" fmla="*/ 224 h 512"/>
              <a:gd name="T24" fmla="*/ 167 w 512"/>
              <a:gd name="T25" fmla="*/ 214 h 512"/>
              <a:gd name="T26" fmla="*/ 234 w 512"/>
              <a:gd name="T27" fmla="*/ 202 h 512"/>
              <a:gd name="T28" fmla="*/ 302 w 512"/>
              <a:gd name="T29" fmla="*/ 214 h 512"/>
              <a:gd name="T30" fmla="*/ 309 w 512"/>
              <a:gd name="T31" fmla="*/ 224 h 512"/>
              <a:gd name="T32" fmla="*/ 309 w 512"/>
              <a:gd name="T33" fmla="*/ 287 h 512"/>
              <a:gd name="T34" fmla="*/ 332 w 512"/>
              <a:gd name="T35" fmla="*/ 403 h 512"/>
              <a:gd name="T36" fmla="*/ 330 w 512"/>
              <a:gd name="T37" fmla="*/ 412 h 512"/>
              <a:gd name="T38" fmla="*/ 352 w 512"/>
              <a:gd name="T39" fmla="*/ 213 h 512"/>
              <a:gd name="T40" fmla="*/ 341 w 512"/>
              <a:gd name="T41" fmla="*/ 213 h 512"/>
              <a:gd name="T42" fmla="*/ 330 w 512"/>
              <a:gd name="T43" fmla="*/ 202 h 512"/>
              <a:gd name="T44" fmla="*/ 341 w 512"/>
              <a:gd name="T45" fmla="*/ 192 h 512"/>
              <a:gd name="T46" fmla="*/ 352 w 512"/>
              <a:gd name="T47" fmla="*/ 192 h 512"/>
              <a:gd name="T48" fmla="*/ 368 w 512"/>
              <a:gd name="T49" fmla="*/ 176 h 512"/>
              <a:gd name="T50" fmla="*/ 352 w 512"/>
              <a:gd name="T51" fmla="*/ 160 h 512"/>
              <a:gd name="T52" fmla="*/ 341 w 512"/>
              <a:gd name="T53" fmla="*/ 149 h 512"/>
              <a:gd name="T54" fmla="*/ 309 w 512"/>
              <a:gd name="T55" fmla="*/ 117 h 512"/>
              <a:gd name="T56" fmla="*/ 278 w 512"/>
              <a:gd name="T57" fmla="*/ 143 h 512"/>
              <a:gd name="T58" fmla="*/ 272 w 512"/>
              <a:gd name="T59" fmla="*/ 150 h 512"/>
              <a:gd name="T60" fmla="*/ 263 w 512"/>
              <a:gd name="T61" fmla="*/ 150 h 512"/>
              <a:gd name="T62" fmla="*/ 234 w 512"/>
              <a:gd name="T63" fmla="*/ 170 h 512"/>
              <a:gd name="T64" fmla="*/ 224 w 512"/>
              <a:gd name="T65" fmla="*/ 181 h 512"/>
              <a:gd name="T66" fmla="*/ 213 w 512"/>
              <a:gd name="T67" fmla="*/ 170 h 512"/>
              <a:gd name="T68" fmla="*/ 260 w 512"/>
              <a:gd name="T69" fmla="*/ 128 h 512"/>
              <a:gd name="T70" fmla="*/ 309 w 512"/>
              <a:gd name="T71" fmla="*/ 96 h 512"/>
              <a:gd name="T72" fmla="*/ 362 w 512"/>
              <a:gd name="T73" fmla="*/ 140 h 512"/>
              <a:gd name="T74" fmla="*/ 389 w 512"/>
              <a:gd name="T75" fmla="*/ 176 h 512"/>
              <a:gd name="T76" fmla="*/ 352 w 512"/>
              <a:gd name="T77" fmla="*/ 213 h 512"/>
              <a:gd name="T78" fmla="*/ 288 w 512"/>
              <a:gd name="T79" fmla="*/ 290 h 512"/>
              <a:gd name="T80" fmla="*/ 308 w 512"/>
              <a:gd name="T81" fmla="*/ 394 h 512"/>
              <a:gd name="T82" fmla="*/ 162 w 512"/>
              <a:gd name="T83" fmla="*/ 394 h 512"/>
              <a:gd name="T84" fmla="*/ 181 w 512"/>
              <a:gd name="T85" fmla="*/ 290 h 512"/>
              <a:gd name="T86" fmla="*/ 181 w 512"/>
              <a:gd name="T87" fmla="*/ 288 h 512"/>
              <a:gd name="T88" fmla="*/ 181 w 512"/>
              <a:gd name="T89" fmla="*/ 232 h 512"/>
              <a:gd name="T90" fmla="*/ 234 w 512"/>
              <a:gd name="T91" fmla="*/ 224 h 512"/>
              <a:gd name="T92" fmla="*/ 288 w 512"/>
              <a:gd name="T93" fmla="*/ 232 h 512"/>
              <a:gd name="T94" fmla="*/ 288 w 512"/>
              <a:gd name="T95" fmla="*/ 288 h 512"/>
              <a:gd name="T96" fmla="*/ 288 w 512"/>
              <a:gd name="T97" fmla="*/ 2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412"/>
                </a:moveTo>
                <a:cubicBezTo>
                  <a:pt x="328" y="414"/>
                  <a:pt x="325" y="416"/>
                  <a:pt x="321" y="416"/>
                </a:cubicBezTo>
                <a:cubicBezTo>
                  <a:pt x="149" y="416"/>
                  <a:pt x="149" y="416"/>
                  <a:pt x="149" y="416"/>
                </a:cubicBezTo>
                <a:cubicBezTo>
                  <a:pt x="146" y="416"/>
                  <a:pt x="143" y="414"/>
                  <a:pt x="141" y="412"/>
                </a:cubicBezTo>
                <a:cubicBezTo>
                  <a:pt x="139" y="409"/>
                  <a:pt x="138" y="406"/>
                  <a:pt x="139" y="403"/>
                </a:cubicBezTo>
                <a:cubicBezTo>
                  <a:pt x="160" y="287"/>
                  <a:pt x="160" y="287"/>
                  <a:pt x="160" y="287"/>
                </a:cubicBezTo>
                <a:cubicBezTo>
                  <a:pt x="160" y="224"/>
                  <a:pt x="160" y="224"/>
                  <a:pt x="160" y="224"/>
                </a:cubicBezTo>
                <a:cubicBezTo>
                  <a:pt x="160" y="219"/>
                  <a:pt x="163" y="215"/>
                  <a:pt x="167" y="214"/>
                </a:cubicBezTo>
                <a:cubicBezTo>
                  <a:pt x="168" y="213"/>
                  <a:pt x="201" y="202"/>
                  <a:pt x="234" y="202"/>
                </a:cubicBezTo>
                <a:cubicBezTo>
                  <a:pt x="267" y="202"/>
                  <a:pt x="300" y="213"/>
                  <a:pt x="302" y="214"/>
                </a:cubicBezTo>
                <a:cubicBezTo>
                  <a:pt x="306" y="215"/>
                  <a:pt x="309" y="219"/>
                  <a:pt x="309" y="224"/>
                </a:cubicBezTo>
                <a:cubicBezTo>
                  <a:pt x="309" y="287"/>
                  <a:pt x="309" y="287"/>
                  <a:pt x="309" y="287"/>
                </a:cubicBezTo>
                <a:cubicBezTo>
                  <a:pt x="332" y="403"/>
                  <a:pt x="332" y="403"/>
                  <a:pt x="332" y="403"/>
                </a:cubicBezTo>
                <a:cubicBezTo>
                  <a:pt x="333" y="406"/>
                  <a:pt x="332" y="409"/>
                  <a:pt x="330" y="412"/>
                </a:cubicBezTo>
                <a:close/>
                <a:moveTo>
                  <a:pt x="352" y="213"/>
                </a:moveTo>
                <a:cubicBezTo>
                  <a:pt x="341" y="213"/>
                  <a:pt x="341" y="213"/>
                  <a:pt x="341" y="213"/>
                </a:cubicBezTo>
                <a:cubicBezTo>
                  <a:pt x="335" y="213"/>
                  <a:pt x="330" y="208"/>
                  <a:pt x="330" y="202"/>
                </a:cubicBezTo>
                <a:cubicBezTo>
                  <a:pt x="330" y="196"/>
                  <a:pt x="335" y="192"/>
                  <a:pt x="341" y="192"/>
                </a:cubicBezTo>
                <a:cubicBezTo>
                  <a:pt x="352" y="192"/>
                  <a:pt x="352" y="192"/>
                  <a:pt x="352" y="192"/>
                </a:cubicBezTo>
                <a:cubicBezTo>
                  <a:pt x="360" y="192"/>
                  <a:pt x="368" y="184"/>
                  <a:pt x="368" y="176"/>
                </a:cubicBezTo>
                <a:cubicBezTo>
                  <a:pt x="368" y="167"/>
                  <a:pt x="360" y="160"/>
                  <a:pt x="352" y="160"/>
                </a:cubicBezTo>
                <a:cubicBezTo>
                  <a:pt x="346" y="160"/>
                  <a:pt x="341" y="155"/>
                  <a:pt x="341" y="149"/>
                </a:cubicBezTo>
                <a:cubicBezTo>
                  <a:pt x="341" y="131"/>
                  <a:pt x="327" y="117"/>
                  <a:pt x="309" y="117"/>
                </a:cubicBezTo>
                <a:cubicBezTo>
                  <a:pt x="294" y="117"/>
                  <a:pt x="281" y="128"/>
                  <a:pt x="278" y="143"/>
                </a:cubicBezTo>
                <a:cubicBezTo>
                  <a:pt x="277" y="146"/>
                  <a:pt x="275" y="148"/>
                  <a:pt x="272" y="150"/>
                </a:cubicBezTo>
                <a:cubicBezTo>
                  <a:pt x="270" y="151"/>
                  <a:pt x="266" y="152"/>
                  <a:pt x="263" y="150"/>
                </a:cubicBezTo>
                <a:cubicBezTo>
                  <a:pt x="249" y="145"/>
                  <a:pt x="234" y="156"/>
                  <a:pt x="234" y="170"/>
                </a:cubicBezTo>
                <a:cubicBezTo>
                  <a:pt x="234" y="176"/>
                  <a:pt x="230" y="181"/>
                  <a:pt x="224" y="181"/>
                </a:cubicBezTo>
                <a:cubicBezTo>
                  <a:pt x="218" y="181"/>
                  <a:pt x="213" y="176"/>
                  <a:pt x="213" y="170"/>
                </a:cubicBezTo>
                <a:cubicBezTo>
                  <a:pt x="213" y="145"/>
                  <a:pt x="235" y="125"/>
                  <a:pt x="260" y="128"/>
                </a:cubicBezTo>
                <a:cubicBezTo>
                  <a:pt x="268" y="109"/>
                  <a:pt x="287" y="96"/>
                  <a:pt x="309" y="96"/>
                </a:cubicBezTo>
                <a:cubicBezTo>
                  <a:pt x="335" y="96"/>
                  <a:pt x="357" y="115"/>
                  <a:pt x="362" y="140"/>
                </a:cubicBezTo>
                <a:cubicBezTo>
                  <a:pt x="377" y="144"/>
                  <a:pt x="389" y="158"/>
                  <a:pt x="389" y="176"/>
                </a:cubicBezTo>
                <a:cubicBezTo>
                  <a:pt x="389" y="196"/>
                  <a:pt x="372" y="213"/>
                  <a:pt x="352" y="213"/>
                </a:cubicBezTo>
                <a:close/>
                <a:moveTo>
                  <a:pt x="288" y="290"/>
                </a:moveTo>
                <a:cubicBezTo>
                  <a:pt x="308" y="394"/>
                  <a:pt x="308" y="394"/>
                  <a:pt x="308" y="394"/>
                </a:cubicBezTo>
                <a:cubicBezTo>
                  <a:pt x="162" y="394"/>
                  <a:pt x="162" y="394"/>
                  <a:pt x="162" y="394"/>
                </a:cubicBezTo>
                <a:cubicBezTo>
                  <a:pt x="181" y="290"/>
                  <a:pt x="181" y="290"/>
                  <a:pt x="181" y="290"/>
                </a:cubicBezTo>
                <a:cubicBezTo>
                  <a:pt x="181" y="289"/>
                  <a:pt x="181" y="288"/>
                  <a:pt x="181" y="288"/>
                </a:cubicBezTo>
                <a:cubicBezTo>
                  <a:pt x="181" y="232"/>
                  <a:pt x="181" y="232"/>
                  <a:pt x="181" y="232"/>
                </a:cubicBezTo>
                <a:cubicBezTo>
                  <a:pt x="192" y="229"/>
                  <a:pt x="213" y="224"/>
                  <a:pt x="234" y="224"/>
                </a:cubicBezTo>
                <a:cubicBezTo>
                  <a:pt x="255" y="224"/>
                  <a:pt x="277" y="229"/>
                  <a:pt x="288" y="232"/>
                </a:cubicBezTo>
                <a:cubicBezTo>
                  <a:pt x="288" y="288"/>
                  <a:pt x="288" y="288"/>
                  <a:pt x="288" y="288"/>
                </a:cubicBezTo>
                <a:cubicBezTo>
                  <a:pt x="288" y="288"/>
                  <a:pt x="288" y="289"/>
                  <a:pt x="288" y="29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5" name="Group 174">
            <a:extLst>
              <a:ext uri="{FF2B5EF4-FFF2-40B4-BE49-F238E27FC236}">
                <a16:creationId xmlns:a16="http://schemas.microsoft.com/office/drawing/2014/main" id="{799F1383-C4CC-493E-BEE7-8ADA50524C8B}"/>
              </a:ext>
            </a:extLst>
          </p:cNvPr>
          <p:cNvGrpSpPr>
            <a:grpSpLocks noChangeAspect="1"/>
          </p:cNvGrpSpPr>
          <p:nvPr/>
        </p:nvGrpSpPr>
        <p:grpSpPr bwMode="auto">
          <a:xfrm>
            <a:off x="2649006" y="2544048"/>
            <a:ext cx="367631" cy="367631"/>
            <a:chOff x="5024" y="2494"/>
            <a:chExt cx="340" cy="340"/>
          </a:xfrm>
          <a:solidFill>
            <a:schemeClr val="accent1"/>
          </a:solidFill>
        </p:grpSpPr>
        <p:sp>
          <p:nvSpPr>
            <p:cNvPr id="176" name="Freeform 87">
              <a:extLst>
                <a:ext uri="{FF2B5EF4-FFF2-40B4-BE49-F238E27FC236}">
                  <a16:creationId xmlns:a16="http://schemas.microsoft.com/office/drawing/2014/main" id="{D0A3B623-5868-4638-9B5E-DDAEE1B138E3}"/>
                </a:ext>
              </a:extLst>
            </p:cNvPr>
            <p:cNvSpPr>
              <a:spLocks noEditPoints="1"/>
            </p:cNvSpPr>
            <p:nvPr/>
          </p:nvSpPr>
          <p:spPr bwMode="auto">
            <a:xfrm>
              <a:off x="5024"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7" name="Freeform 88">
              <a:extLst>
                <a:ext uri="{FF2B5EF4-FFF2-40B4-BE49-F238E27FC236}">
                  <a16:creationId xmlns:a16="http://schemas.microsoft.com/office/drawing/2014/main" id="{434D2530-A70F-4B46-9E50-06FB61A8F08E}"/>
                </a:ext>
              </a:extLst>
            </p:cNvPr>
            <p:cNvSpPr>
              <a:spLocks noEditPoints="1"/>
            </p:cNvSpPr>
            <p:nvPr/>
          </p:nvSpPr>
          <p:spPr bwMode="auto">
            <a:xfrm>
              <a:off x="5116" y="2558"/>
              <a:ext cx="166" cy="212"/>
            </a:xfrm>
            <a:custGeom>
              <a:avLst/>
              <a:gdLst>
                <a:gd name="T0" fmla="*/ 214 w 251"/>
                <a:gd name="T1" fmla="*/ 117 h 320"/>
                <a:gd name="T2" fmla="*/ 203 w 251"/>
                <a:gd name="T3" fmla="*/ 117 h 320"/>
                <a:gd name="T4" fmla="*/ 192 w 251"/>
                <a:gd name="T5" fmla="*/ 106 h 320"/>
                <a:gd name="T6" fmla="*/ 203 w 251"/>
                <a:gd name="T7" fmla="*/ 96 h 320"/>
                <a:gd name="T8" fmla="*/ 214 w 251"/>
                <a:gd name="T9" fmla="*/ 96 h 320"/>
                <a:gd name="T10" fmla="*/ 230 w 251"/>
                <a:gd name="T11" fmla="*/ 80 h 320"/>
                <a:gd name="T12" fmla="*/ 214 w 251"/>
                <a:gd name="T13" fmla="*/ 64 h 320"/>
                <a:gd name="T14" fmla="*/ 203 w 251"/>
                <a:gd name="T15" fmla="*/ 53 h 320"/>
                <a:gd name="T16" fmla="*/ 171 w 251"/>
                <a:gd name="T17" fmla="*/ 21 h 320"/>
                <a:gd name="T18" fmla="*/ 140 w 251"/>
                <a:gd name="T19" fmla="*/ 47 h 320"/>
                <a:gd name="T20" fmla="*/ 134 w 251"/>
                <a:gd name="T21" fmla="*/ 54 h 320"/>
                <a:gd name="T22" fmla="*/ 125 w 251"/>
                <a:gd name="T23" fmla="*/ 54 h 320"/>
                <a:gd name="T24" fmla="*/ 96 w 251"/>
                <a:gd name="T25" fmla="*/ 74 h 320"/>
                <a:gd name="T26" fmla="*/ 86 w 251"/>
                <a:gd name="T27" fmla="*/ 85 h 320"/>
                <a:gd name="T28" fmla="*/ 75 w 251"/>
                <a:gd name="T29" fmla="*/ 74 h 320"/>
                <a:gd name="T30" fmla="*/ 122 w 251"/>
                <a:gd name="T31" fmla="*/ 32 h 320"/>
                <a:gd name="T32" fmla="*/ 171 w 251"/>
                <a:gd name="T33" fmla="*/ 0 h 320"/>
                <a:gd name="T34" fmla="*/ 224 w 251"/>
                <a:gd name="T35" fmla="*/ 44 h 320"/>
                <a:gd name="T36" fmla="*/ 251 w 251"/>
                <a:gd name="T37" fmla="*/ 80 h 320"/>
                <a:gd name="T38" fmla="*/ 214 w 251"/>
                <a:gd name="T39" fmla="*/ 117 h 320"/>
                <a:gd name="T40" fmla="*/ 192 w 251"/>
                <a:gd name="T41" fmla="*/ 316 h 320"/>
                <a:gd name="T42" fmla="*/ 194 w 251"/>
                <a:gd name="T43" fmla="*/ 307 h 320"/>
                <a:gd name="T44" fmla="*/ 171 w 251"/>
                <a:gd name="T45" fmla="*/ 191 h 320"/>
                <a:gd name="T46" fmla="*/ 171 w 251"/>
                <a:gd name="T47" fmla="*/ 128 h 320"/>
                <a:gd name="T48" fmla="*/ 164 w 251"/>
                <a:gd name="T49" fmla="*/ 118 h 320"/>
                <a:gd name="T50" fmla="*/ 96 w 251"/>
                <a:gd name="T51" fmla="*/ 106 h 320"/>
                <a:gd name="T52" fmla="*/ 29 w 251"/>
                <a:gd name="T53" fmla="*/ 118 h 320"/>
                <a:gd name="T54" fmla="*/ 22 w 251"/>
                <a:gd name="T55" fmla="*/ 128 h 320"/>
                <a:gd name="T56" fmla="*/ 22 w 251"/>
                <a:gd name="T57" fmla="*/ 191 h 320"/>
                <a:gd name="T58" fmla="*/ 1 w 251"/>
                <a:gd name="T59" fmla="*/ 307 h 320"/>
                <a:gd name="T60" fmla="*/ 3 w 251"/>
                <a:gd name="T61" fmla="*/ 316 h 320"/>
                <a:gd name="T62" fmla="*/ 11 w 251"/>
                <a:gd name="T63" fmla="*/ 320 h 320"/>
                <a:gd name="T64" fmla="*/ 183 w 251"/>
                <a:gd name="T65" fmla="*/ 320 h 320"/>
                <a:gd name="T66" fmla="*/ 192 w 251"/>
                <a:gd name="T67" fmla="*/ 316 h 320"/>
                <a:gd name="T68" fmla="*/ 43 w 251"/>
                <a:gd name="T69" fmla="*/ 194 h 320"/>
                <a:gd name="T70" fmla="*/ 43 w 251"/>
                <a:gd name="T71" fmla="*/ 192 h 320"/>
                <a:gd name="T72" fmla="*/ 43 w 251"/>
                <a:gd name="T73" fmla="*/ 136 h 320"/>
                <a:gd name="T74" fmla="*/ 96 w 251"/>
                <a:gd name="T75" fmla="*/ 128 h 320"/>
                <a:gd name="T76" fmla="*/ 150 w 251"/>
                <a:gd name="T77" fmla="*/ 136 h 320"/>
                <a:gd name="T78" fmla="*/ 150 w 251"/>
                <a:gd name="T79" fmla="*/ 192 h 320"/>
                <a:gd name="T80" fmla="*/ 150 w 251"/>
                <a:gd name="T81" fmla="*/ 194 h 320"/>
                <a:gd name="T82" fmla="*/ 170 w 251"/>
                <a:gd name="T83" fmla="*/ 298 h 320"/>
                <a:gd name="T84" fmla="*/ 24 w 251"/>
                <a:gd name="T85" fmla="*/ 298 h 320"/>
                <a:gd name="T86" fmla="*/ 43 w 251"/>
                <a:gd name="T87" fmla="*/ 19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1" h="320">
                  <a:moveTo>
                    <a:pt x="214" y="117"/>
                  </a:moveTo>
                  <a:cubicBezTo>
                    <a:pt x="203" y="117"/>
                    <a:pt x="203" y="117"/>
                    <a:pt x="203" y="117"/>
                  </a:cubicBezTo>
                  <a:cubicBezTo>
                    <a:pt x="197" y="117"/>
                    <a:pt x="192" y="112"/>
                    <a:pt x="192" y="106"/>
                  </a:cubicBezTo>
                  <a:cubicBezTo>
                    <a:pt x="192" y="100"/>
                    <a:pt x="197" y="96"/>
                    <a:pt x="203" y="96"/>
                  </a:cubicBezTo>
                  <a:cubicBezTo>
                    <a:pt x="214" y="96"/>
                    <a:pt x="214" y="96"/>
                    <a:pt x="214" y="96"/>
                  </a:cubicBezTo>
                  <a:cubicBezTo>
                    <a:pt x="222" y="96"/>
                    <a:pt x="230" y="88"/>
                    <a:pt x="230" y="80"/>
                  </a:cubicBezTo>
                  <a:cubicBezTo>
                    <a:pt x="230" y="71"/>
                    <a:pt x="222" y="64"/>
                    <a:pt x="214" y="64"/>
                  </a:cubicBezTo>
                  <a:cubicBezTo>
                    <a:pt x="208" y="64"/>
                    <a:pt x="203" y="59"/>
                    <a:pt x="203" y="53"/>
                  </a:cubicBezTo>
                  <a:cubicBezTo>
                    <a:pt x="203" y="35"/>
                    <a:pt x="189" y="21"/>
                    <a:pt x="171" y="21"/>
                  </a:cubicBezTo>
                  <a:cubicBezTo>
                    <a:pt x="156" y="21"/>
                    <a:pt x="143" y="32"/>
                    <a:pt x="140" y="47"/>
                  </a:cubicBezTo>
                  <a:cubicBezTo>
                    <a:pt x="139" y="50"/>
                    <a:pt x="137" y="52"/>
                    <a:pt x="134" y="54"/>
                  </a:cubicBezTo>
                  <a:cubicBezTo>
                    <a:pt x="132" y="55"/>
                    <a:pt x="128" y="56"/>
                    <a:pt x="125" y="54"/>
                  </a:cubicBezTo>
                  <a:cubicBezTo>
                    <a:pt x="111" y="49"/>
                    <a:pt x="96" y="60"/>
                    <a:pt x="96" y="74"/>
                  </a:cubicBezTo>
                  <a:cubicBezTo>
                    <a:pt x="96" y="80"/>
                    <a:pt x="92" y="85"/>
                    <a:pt x="86" y="85"/>
                  </a:cubicBezTo>
                  <a:cubicBezTo>
                    <a:pt x="80" y="85"/>
                    <a:pt x="75" y="80"/>
                    <a:pt x="75" y="74"/>
                  </a:cubicBezTo>
                  <a:cubicBezTo>
                    <a:pt x="75" y="49"/>
                    <a:pt x="97" y="29"/>
                    <a:pt x="122" y="32"/>
                  </a:cubicBezTo>
                  <a:cubicBezTo>
                    <a:pt x="130" y="13"/>
                    <a:pt x="149" y="0"/>
                    <a:pt x="171" y="0"/>
                  </a:cubicBezTo>
                  <a:cubicBezTo>
                    <a:pt x="197" y="0"/>
                    <a:pt x="219" y="19"/>
                    <a:pt x="224" y="44"/>
                  </a:cubicBezTo>
                  <a:cubicBezTo>
                    <a:pt x="239" y="48"/>
                    <a:pt x="251" y="62"/>
                    <a:pt x="251" y="80"/>
                  </a:cubicBezTo>
                  <a:cubicBezTo>
                    <a:pt x="251" y="100"/>
                    <a:pt x="234" y="117"/>
                    <a:pt x="214" y="117"/>
                  </a:cubicBezTo>
                  <a:close/>
                  <a:moveTo>
                    <a:pt x="192" y="316"/>
                  </a:moveTo>
                  <a:cubicBezTo>
                    <a:pt x="194" y="313"/>
                    <a:pt x="195" y="310"/>
                    <a:pt x="194" y="307"/>
                  </a:cubicBezTo>
                  <a:cubicBezTo>
                    <a:pt x="171" y="191"/>
                    <a:pt x="171" y="191"/>
                    <a:pt x="171" y="191"/>
                  </a:cubicBezTo>
                  <a:cubicBezTo>
                    <a:pt x="171" y="128"/>
                    <a:pt x="171" y="128"/>
                    <a:pt x="171" y="128"/>
                  </a:cubicBezTo>
                  <a:cubicBezTo>
                    <a:pt x="171" y="123"/>
                    <a:pt x="168" y="119"/>
                    <a:pt x="164" y="118"/>
                  </a:cubicBezTo>
                  <a:cubicBezTo>
                    <a:pt x="162" y="117"/>
                    <a:pt x="129" y="106"/>
                    <a:pt x="96" y="106"/>
                  </a:cubicBezTo>
                  <a:cubicBezTo>
                    <a:pt x="63" y="106"/>
                    <a:pt x="30" y="117"/>
                    <a:pt x="29" y="118"/>
                  </a:cubicBezTo>
                  <a:cubicBezTo>
                    <a:pt x="25" y="119"/>
                    <a:pt x="22" y="123"/>
                    <a:pt x="22" y="128"/>
                  </a:cubicBezTo>
                  <a:cubicBezTo>
                    <a:pt x="22" y="191"/>
                    <a:pt x="22" y="191"/>
                    <a:pt x="22" y="191"/>
                  </a:cubicBezTo>
                  <a:cubicBezTo>
                    <a:pt x="1" y="307"/>
                    <a:pt x="1" y="307"/>
                    <a:pt x="1" y="307"/>
                  </a:cubicBezTo>
                  <a:cubicBezTo>
                    <a:pt x="0" y="310"/>
                    <a:pt x="1" y="313"/>
                    <a:pt x="3" y="316"/>
                  </a:cubicBezTo>
                  <a:cubicBezTo>
                    <a:pt x="5" y="318"/>
                    <a:pt x="8" y="320"/>
                    <a:pt x="11" y="320"/>
                  </a:cubicBezTo>
                  <a:cubicBezTo>
                    <a:pt x="183" y="320"/>
                    <a:pt x="183" y="320"/>
                    <a:pt x="183" y="320"/>
                  </a:cubicBezTo>
                  <a:cubicBezTo>
                    <a:pt x="187" y="320"/>
                    <a:pt x="190" y="318"/>
                    <a:pt x="192" y="316"/>
                  </a:cubicBezTo>
                  <a:close/>
                  <a:moveTo>
                    <a:pt x="43" y="194"/>
                  </a:moveTo>
                  <a:cubicBezTo>
                    <a:pt x="43" y="193"/>
                    <a:pt x="43" y="192"/>
                    <a:pt x="43" y="192"/>
                  </a:cubicBezTo>
                  <a:cubicBezTo>
                    <a:pt x="43" y="136"/>
                    <a:pt x="43" y="136"/>
                    <a:pt x="43" y="136"/>
                  </a:cubicBezTo>
                  <a:cubicBezTo>
                    <a:pt x="54" y="133"/>
                    <a:pt x="75" y="128"/>
                    <a:pt x="96" y="128"/>
                  </a:cubicBezTo>
                  <a:cubicBezTo>
                    <a:pt x="117" y="128"/>
                    <a:pt x="139" y="133"/>
                    <a:pt x="150" y="136"/>
                  </a:cubicBezTo>
                  <a:cubicBezTo>
                    <a:pt x="150" y="192"/>
                    <a:pt x="150" y="192"/>
                    <a:pt x="150" y="192"/>
                  </a:cubicBezTo>
                  <a:cubicBezTo>
                    <a:pt x="150" y="192"/>
                    <a:pt x="150" y="193"/>
                    <a:pt x="150" y="194"/>
                  </a:cubicBezTo>
                  <a:cubicBezTo>
                    <a:pt x="170" y="298"/>
                    <a:pt x="170" y="298"/>
                    <a:pt x="170" y="298"/>
                  </a:cubicBezTo>
                  <a:cubicBezTo>
                    <a:pt x="24" y="298"/>
                    <a:pt x="24" y="298"/>
                    <a:pt x="24" y="298"/>
                  </a:cubicBezTo>
                  <a:lnTo>
                    <a:pt x="43" y="19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8" name="Freeform 43">
            <a:extLst>
              <a:ext uri="{FF2B5EF4-FFF2-40B4-BE49-F238E27FC236}">
                <a16:creationId xmlns:a16="http://schemas.microsoft.com/office/drawing/2014/main" id="{C6841C73-5478-4CA8-A624-624E3F6EA453}"/>
              </a:ext>
            </a:extLst>
          </p:cNvPr>
          <p:cNvSpPr>
            <a:spLocks noChangeAspect="1" noEditPoints="1"/>
          </p:cNvSpPr>
          <p:nvPr/>
        </p:nvSpPr>
        <p:spPr bwMode="auto">
          <a:xfrm>
            <a:off x="3084291" y="2544048"/>
            <a:ext cx="370106" cy="369021"/>
          </a:xfrm>
          <a:custGeom>
            <a:avLst/>
            <a:gdLst>
              <a:gd name="T0" fmla="*/ 171 w 512"/>
              <a:gd name="T1" fmla="*/ 214 h 512"/>
              <a:gd name="T2" fmla="*/ 341 w 512"/>
              <a:gd name="T3" fmla="*/ 214 h 512"/>
              <a:gd name="T4" fmla="*/ 341 w 512"/>
              <a:gd name="T5" fmla="*/ 288 h 512"/>
              <a:gd name="T6" fmla="*/ 171 w 512"/>
              <a:gd name="T7" fmla="*/ 288 h 512"/>
              <a:gd name="T8" fmla="*/ 171 w 512"/>
              <a:gd name="T9" fmla="*/ 214 h 512"/>
              <a:gd name="T10" fmla="*/ 171 w 512"/>
              <a:gd name="T11" fmla="*/ 395 h 512"/>
              <a:gd name="T12" fmla="*/ 341 w 512"/>
              <a:gd name="T13" fmla="*/ 395 h 512"/>
              <a:gd name="T14" fmla="*/ 341 w 512"/>
              <a:gd name="T15" fmla="*/ 310 h 512"/>
              <a:gd name="T16" fmla="*/ 171 w 512"/>
              <a:gd name="T17" fmla="*/ 310 h 512"/>
              <a:gd name="T18" fmla="*/ 171 w 512"/>
              <a:gd name="T19" fmla="*/ 395 h 512"/>
              <a:gd name="T20" fmla="*/ 171 w 512"/>
              <a:gd name="T21" fmla="*/ 192 h 512"/>
              <a:gd name="T22" fmla="*/ 341 w 512"/>
              <a:gd name="T23" fmla="*/ 192 h 512"/>
              <a:gd name="T24" fmla="*/ 341 w 512"/>
              <a:gd name="T25" fmla="*/ 118 h 512"/>
              <a:gd name="T26" fmla="*/ 171 w 512"/>
              <a:gd name="T27" fmla="*/ 118 h 512"/>
              <a:gd name="T28" fmla="*/ 171 w 512"/>
              <a:gd name="T29" fmla="*/ 19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63 w 512"/>
              <a:gd name="T41" fmla="*/ 192 h 512"/>
              <a:gd name="T42" fmla="*/ 363 w 512"/>
              <a:gd name="T43" fmla="*/ 118 h 512"/>
              <a:gd name="T44" fmla="*/ 373 w 512"/>
              <a:gd name="T45" fmla="*/ 107 h 512"/>
              <a:gd name="T46" fmla="*/ 363 w 512"/>
              <a:gd name="T47" fmla="*/ 96 h 512"/>
              <a:gd name="T48" fmla="*/ 149 w 512"/>
              <a:gd name="T49" fmla="*/ 96 h 512"/>
              <a:gd name="T50" fmla="*/ 139 w 512"/>
              <a:gd name="T51" fmla="*/ 107 h 512"/>
              <a:gd name="T52" fmla="*/ 149 w 512"/>
              <a:gd name="T53" fmla="*/ 118 h 512"/>
              <a:gd name="T54" fmla="*/ 149 w 512"/>
              <a:gd name="T55" fmla="*/ 192 h 512"/>
              <a:gd name="T56" fmla="*/ 139 w 512"/>
              <a:gd name="T57" fmla="*/ 203 h 512"/>
              <a:gd name="T58" fmla="*/ 149 w 512"/>
              <a:gd name="T59" fmla="*/ 214 h 512"/>
              <a:gd name="T60" fmla="*/ 149 w 512"/>
              <a:gd name="T61" fmla="*/ 288 h 512"/>
              <a:gd name="T62" fmla="*/ 139 w 512"/>
              <a:gd name="T63" fmla="*/ 299 h 512"/>
              <a:gd name="T64" fmla="*/ 149 w 512"/>
              <a:gd name="T65" fmla="*/ 310 h 512"/>
              <a:gd name="T66" fmla="*/ 149 w 512"/>
              <a:gd name="T67" fmla="*/ 395 h 512"/>
              <a:gd name="T68" fmla="*/ 139 w 512"/>
              <a:gd name="T69" fmla="*/ 406 h 512"/>
              <a:gd name="T70" fmla="*/ 149 w 512"/>
              <a:gd name="T71" fmla="*/ 416 h 512"/>
              <a:gd name="T72" fmla="*/ 363 w 512"/>
              <a:gd name="T73" fmla="*/ 416 h 512"/>
              <a:gd name="T74" fmla="*/ 373 w 512"/>
              <a:gd name="T75" fmla="*/ 406 h 512"/>
              <a:gd name="T76" fmla="*/ 363 w 512"/>
              <a:gd name="T77" fmla="*/ 395 h 512"/>
              <a:gd name="T78" fmla="*/ 363 w 512"/>
              <a:gd name="T79" fmla="*/ 310 h 512"/>
              <a:gd name="T80" fmla="*/ 373 w 512"/>
              <a:gd name="T81" fmla="*/ 299 h 512"/>
              <a:gd name="T82" fmla="*/ 363 w 512"/>
              <a:gd name="T83" fmla="*/ 288 h 512"/>
              <a:gd name="T84" fmla="*/ 363 w 512"/>
              <a:gd name="T85" fmla="*/ 214 h 512"/>
              <a:gd name="T86" fmla="*/ 373 w 512"/>
              <a:gd name="T87" fmla="*/ 203 h 512"/>
              <a:gd name="T88" fmla="*/ 363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71" y="214"/>
                </a:moveTo>
                <a:cubicBezTo>
                  <a:pt x="341" y="214"/>
                  <a:pt x="341" y="214"/>
                  <a:pt x="341" y="214"/>
                </a:cubicBezTo>
                <a:cubicBezTo>
                  <a:pt x="341" y="288"/>
                  <a:pt x="341" y="288"/>
                  <a:pt x="341" y="288"/>
                </a:cubicBezTo>
                <a:cubicBezTo>
                  <a:pt x="171" y="288"/>
                  <a:pt x="171" y="288"/>
                  <a:pt x="171" y="288"/>
                </a:cubicBezTo>
                <a:lnTo>
                  <a:pt x="171" y="214"/>
                </a:lnTo>
                <a:close/>
                <a:moveTo>
                  <a:pt x="171" y="395"/>
                </a:moveTo>
                <a:cubicBezTo>
                  <a:pt x="341" y="395"/>
                  <a:pt x="341" y="395"/>
                  <a:pt x="341" y="395"/>
                </a:cubicBezTo>
                <a:cubicBezTo>
                  <a:pt x="341" y="310"/>
                  <a:pt x="341" y="310"/>
                  <a:pt x="341" y="310"/>
                </a:cubicBezTo>
                <a:cubicBezTo>
                  <a:pt x="171" y="310"/>
                  <a:pt x="171" y="310"/>
                  <a:pt x="171" y="310"/>
                </a:cubicBezTo>
                <a:lnTo>
                  <a:pt x="171" y="395"/>
                </a:lnTo>
                <a:close/>
                <a:moveTo>
                  <a:pt x="171" y="192"/>
                </a:moveTo>
                <a:cubicBezTo>
                  <a:pt x="341" y="192"/>
                  <a:pt x="341" y="192"/>
                  <a:pt x="341" y="192"/>
                </a:cubicBezTo>
                <a:cubicBezTo>
                  <a:pt x="341" y="118"/>
                  <a:pt x="341" y="118"/>
                  <a:pt x="341" y="118"/>
                </a:cubicBezTo>
                <a:cubicBezTo>
                  <a:pt x="171" y="118"/>
                  <a:pt x="171" y="118"/>
                  <a:pt x="171" y="118"/>
                </a:cubicBezTo>
                <a:lnTo>
                  <a:pt x="171" y="19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63" y="192"/>
                </a:moveTo>
                <a:cubicBezTo>
                  <a:pt x="363" y="118"/>
                  <a:pt x="363" y="118"/>
                  <a:pt x="363" y="118"/>
                </a:cubicBezTo>
                <a:cubicBezTo>
                  <a:pt x="369" y="118"/>
                  <a:pt x="373" y="113"/>
                  <a:pt x="373" y="107"/>
                </a:cubicBezTo>
                <a:cubicBezTo>
                  <a:pt x="373" y="101"/>
                  <a:pt x="369" y="96"/>
                  <a:pt x="363" y="96"/>
                </a:cubicBezTo>
                <a:cubicBezTo>
                  <a:pt x="149" y="96"/>
                  <a:pt x="149" y="96"/>
                  <a:pt x="149" y="96"/>
                </a:cubicBezTo>
                <a:cubicBezTo>
                  <a:pt x="143" y="96"/>
                  <a:pt x="139" y="101"/>
                  <a:pt x="139" y="107"/>
                </a:cubicBezTo>
                <a:cubicBezTo>
                  <a:pt x="139" y="113"/>
                  <a:pt x="143" y="118"/>
                  <a:pt x="149" y="118"/>
                </a:cubicBezTo>
                <a:cubicBezTo>
                  <a:pt x="149" y="192"/>
                  <a:pt x="149" y="192"/>
                  <a:pt x="149" y="192"/>
                </a:cubicBezTo>
                <a:cubicBezTo>
                  <a:pt x="143" y="192"/>
                  <a:pt x="139" y="197"/>
                  <a:pt x="139" y="203"/>
                </a:cubicBezTo>
                <a:cubicBezTo>
                  <a:pt x="139" y="209"/>
                  <a:pt x="143" y="214"/>
                  <a:pt x="149" y="214"/>
                </a:cubicBezTo>
                <a:cubicBezTo>
                  <a:pt x="149" y="288"/>
                  <a:pt x="149" y="288"/>
                  <a:pt x="149" y="288"/>
                </a:cubicBezTo>
                <a:cubicBezTo>
                  <a:pt x="143" y="288"/>
                  <a:pt x="139" y="293"/>
                  <a:pt x="139" y="299"/>
                </a:cubicBezTo>
                <a:cubicBezTo>
                  <a:pt x="139" y="305"/>
                  <a:pt x="143" y="310"/>
                  <a:pt x="149" y="310"/>
                </a:cubicBezTo>
                <a:cubicBezTo>
                  <a:pt x="149" y="395"/>
                  <a:pt x="149" y="395"/>
                  <a:pt x="149" y="395"/>
                </a:cubicBezTo>
                <a:cubicBezTo>
                  <a:pt x="143" y="395"/>
                  <a:pt x="139" y="400"/>
                  <a:pt x="139" y="406"/>
                </a:cubicBezTo>
                <a:cubicBezTo>
                  <a:pt x="139" y="412"/>
                  <a:pt x="143" y="416"/>
                  <a:pt x="149" y="416"/>
                </a:cubicBezTo>
                <a:cubicBezTo>
                  <a:pt x="363" y="416"/>
                  <a:pt x="363" y="416"/>
                  <a:pt x="363" y="416"/>
                </a:cubicBezTo>
                <a:cubicBezTo>
                  <a:pt x="369" y="416"/>
                  <a:pt x="373" y="412"/>
                  <a:pt x="373" y="406"/>
                </a:cubicBezTo>
                <a:cubicBezTo>
                  <a:pt x="373" y="400"/>
                  <a:pt x="369" y="395"/>
                  <a:pt x="363" y="395"/>
                </a:cubicBezTo>
                <a:cubicBezTo>
                  <a:pt x="363" y="310"/>
                  <a:pt x="363" y="310"/>
                  <a:pt x="363" y="310"/>
                </a:cubicBezTo>
                <a:cubicBezTo>
                  <a:pt x="369" y="310"/>
                  <a:pt x="373" y="305"/>
                  <a:pt x="373" y="299"/>
                </a:cubicBezTo>
                <a:cubicBezTo>
                  <a:pt x="373" y="293"/>
                  <a:pt x="369" y="288"/>
                  <a:pt x="363" y="288"/>
                </a:cubicBezTo>
                <a:cubicBezTo>
                  <a:pt x="363" y="214"/>
                  <a:pt x="363" y="214"/>
                  <a:pt x="363" y="214"/>
                </a:cubicBezTo>
                <a:cubicBezTo>
                  <a:pt x="369" y="214"/>
                  <a:pt x="373" y="209"/>
                  <a:pt x="373" y="203"/>
                </a:cubicBezTo>
                <a:cubicBezTo>
                  <a:pt x="373" y="197"/>
                  <a:pt x="369" y="192"/>
                  <a:pt x="363" y="1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9" name="Group 46">
            <a:extLst>
              <a:ext uri="{FF2B5EF4-FFF2-40B4-BE49-F238E27FC236}">
                <a16:creationId xmlns:a16="http://schemas.microsoft.com/office/drawing/2014/main" id="{4B38E960-CA29-4CA4-BB2C-294F906AC4BB}"/>
              </a:ext>
            </a:extLst>
          </p:cNvPr>
          <p:cNvGrpSpPr>
            <a:grpSpLocks noChangeAspect="1"/>
          </p:cNvGrpSpPr>
          <p:nvPr/>
        </p:nvGrpSpPr>
        <p:grpSpPr bwMode="auto">
          <a:xfrm>
            <a:off x="3522051" y="2544048"/>
            <a:ext cx="369021" cy="369021"/>
            <a:chOff x="3479" y="-1"/>
            <a:chExt cx="340" cy="340"/>
          </a:xfrm>
          <a:solidFill>
            <a:schemeClr val="accent1"/>
          </a:solidFill>
        </p:grpSpPr>
        <p:sp>
          <p:nvSpPr>
            <p:cNvPr id="180" name="Freeform 47">
              <a:extLst>
                <a:ext uri="{FF2B5EF4-FFF2-40B4-BE49-F238E27FC236}">
                  <a16:creationId xmlns:a16="http://schemas.microsoft.com/office/drawing/2014/main" id="{F35C9674-6B8C-4497-8AFE-32085A0F3B30}"/>
                </a:ext>
              </a:extLst>
            </p:cNvPr>
            <p:cNvSpPr>
              <a:spLocks noEditPoints="1"/>
            </p:cNvSpPr>
            <p:nvPr/>
          </p:nvSpPr>
          <p:spPr bwMode="auto">
            <a:xfrm>
              <a:off x="3479" y="-1"/>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1" name="Freeform 48">
              <a:extLst>
                <a:ext uri="{FF2B5EF4-FFF2-40B4-BE49-F238E27FC236}">
                  <a16:creationId xmlns:a16="http://schemas.microsoft.com/office/drawing/2014/main" id="{7F302C94-1FE7-449D-89F9-CD4E3F2C2B80}"/>
                </a:ext>
              </a:extLst>
            </p:cNvPr>
            <p:cNvSpPr>
              <a:spLocks noEditPoints="1"/>
            </p:cNvSpPr>
            <p:nvPr/>
          </p:nvSpPr>
          <p:spPr bwMode="auto">
            <a:xfrm>
              <a:off x="3571" y="63"/>
              <a:ext cx="156" cy="21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2" name="Freeform 52">
            <a:extLst>
              <a:ext uri="{FF2B5EF4-FFF2-40B4-BE49-F238E27FC236}">
                <a16:creationId xmlns:a16="http://schemas.microsoft.com/office/drawing/2014/main" id="{6B3FCC4E-3793-4685-AFFD-24B4A2886296}"/>
              </a:ext>
            </a:extLst>
          </p:cNvPr>
          <p:cNvSpPr>
            <a:spLocks noChangeAspect="1" noEditPoints="1"/>
          </p:cNvSpPr>
          <p:nvPr/>
        </p:nvSpPr>
        <p:spPr bwMode="auto">
          <a:xfrm>
            <a:off x="3958726" y="2544048"/>
            <a:ext cx="369021" cy="369021"/>
          </a:xfrm>
          <a:custGeom>
            <a:avLst/>
            <a:gdLst>
              <a:gd name="T0" fmla="*/ 256 w 512"/>
              <a:gd name="T1" fmla="*/ 285 h 512"/>
              <a:gd name="T2" fmla="*/ 274 w 512"/>
              <a:gd name="T3" fmla="*/ 373 h 512"/>
              <a:gd name="T4" fmla="*/ 237 w 512"/>
              <a:gd name="T5" fmla="*/ 373 h 512"/>
              <a:gd name="T6" fmla="*/ 256 w 512"/>
              <a:gd name="T7" fmla="*/ 285 h 512"/>
              <a:gd name="T8" fmla="*/ 160 w 512"/>
              <a:gd name="T9" fmla="*/ 294 h 512"/>
              <a:gd name="T10" fmla="*/ 160 w 512"/>
              <a:gd name="T11" fmla="*/ 320 h 512"/>
              <a:gd name="T12" fmla="*/ 170 w 512"/>
              <a:gd name="T13" fmla="*/ 320 h 512"/>
              <a:gd name="T14" fmla="*/ 181 w 512"/>
              <a:gd name="T15" fmla="*/ 330 h 512"/>
              <a:gd name="T16" fmla="*/ 181 w 512"/>
              <a:gd name="T17" fmla="*/ 373 h 512"/>
              <a:gd name="T18" fmla="*/ 215 w 512"/>
              <a:gd name="T19" fmla="*/ 373 h 512"/>
              <a:gd name="T20" fmla="*/ 242 w 512"/>
              <a:gd name="T21" fmla="*/ 248 h 512"/>
              <a:gd name="T22" fmla="*/ 160 w 512"/>
              <a:gd name="T23" fmla="*/ 294 h 512"/>
              <a:gd name="T24" fmla="*/ 138 w 512"/>
              <a:gd name="T25" fmla="*/ 373 h 512"/>
              <a:gd name="T26" fmla="*/ 160 w 512"/>
              <a:gd name="T27" fmla="*/ 373 h 512"/>
              <a:gd name="T28" fmla="*/ 160 w 512"/>
              <a:gd name="T29" fmla="*/ 341 h 512"/>
              <a:gd name="T30" fmla="*/ 138 w 512"/>
              <a:gd name="T31" fmla="*/ 341 h 512"/>
              <a:gd name="T32" fmla="*/ 138 w 512"/>
              <a:gd name="T33" fmla="*/ 373 h 512"/>
              <a:gd name="T34" fmla="*/ 343 w 512"/>
              <a:gd name="T35" fmla="*/ 139 h 512"/>
              <a:gd name="T36" fmla="*/ 331 w 512"/>
              <a:gd name="T37" fmla="*/ 131 h 512"/>
              <a:gd name="T38" fmla="*/ 322 w 512"/>
              <a:gd name="T39" fmla="*/ 133 h 512"/>
              <a:gd name="T40" fmla="*/ 314 w 512"/>
              <a:gd name="T41" fmla="*/ 153 h 512"/>
              <a:gd name="T42" fmla="*/ 333 w 512"/>
              <a:gd name="T43" fmla="*/ 190 h 512"/>
              <a:gd name="T44" fmla="*/ 368 w 512"/>
              <a:gd name="T45" fmla="*/ 225 h 512"/>
              <a:gd name="T46" fmla="*/ 361 w 512"/>
              <a:gd name="T47" fmla="*/ 175 h 512"/>
              <a:gd name="T48" fmla="*/ 343 w 512"/>
              <a:gd name="T49" fmla="*/ 139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394 w 512"/>
              <a:gd name="T61" fmla="*/ 384 h 512"/>
              <a:gd name="T62" fmla="*/ 384 w 512"/>
              <a:gd name="T63" fmla="*/ 373 h 512"/>
              <a:gd name="T64" fmla="*/ 384 w 512"/>
              <a:gd name="T65" fmla="*/ 240 h 512"/>
              <a:gd name="T66" fmla="*/ 381 w 512"/>
              <a:gd name="T67" fmla="*/ 168 h 512"/>
              <a:gd name="T68" fmla="*/ 381 w 512"/>
              <a:gd name="T69" fmla="*/ 168 h 512"/>
              <a:gd name="T70" fmla="*/ 360 w 512"/>
              <a:gd name="T71" fmla="*/ 125 h 512"/>
              <a:gd name="T72" fmla="*/ 313 w 512"/>
              <a:gd name="T73" fmla="*/ 114 h 512"/>
              <a:gd name="T74" fmla="*/ 293 w 512"/>
              <a:gd name="T75" fmla="*/ 158 h 512"/>
              <a:gd name="T76" fmla="*/ 306 w 512"/>
              <a:gd name="T77" fmla="*/ 187 h 512"/>
              <a:gd name="T78" fmla="*/ 144 w 512"/>
              <a:gd name="T79" fmla="*/ 278 h 512"/>
              <a:gd name="T80" fmla="*/ 138 w 512"/>
              <a:gd name="T81" fmla="*/ 288 h 512"/>
              <a:gd name="T82" fmla="*/ 138 w 512"/>
              <a:gd name="T83" fmla="*/ 320 h 512"/>
              <a:gd name="T84" fmla="*/ 128 w 512"/>
              <a:gd name="T85" fmla="*/ 320 h 512"/>
              <a:gd name="T86" fmla="*/ 117 w 512"/>
              <a:gd name="T87" fmla="*/ 330 h 512"/>
              <a:gd name="T88" fmla="*/ 117 w 512"/>
              <a:gd name="T89" fmla="*/ 384 h 512"/>
              <a:gd name="T90" fmla="*/ 128 w 512"/>
              <a:gd name="T91" fmla="*/ 394 h 512"/>
              <a:gd name="T92" fmla="*/ 170 w 512"/>
              <a:gd name="T93" fmla="*/ 394 h 512"/>
              <a:gd name="T94" fmla="*/ 384 w 512"/>
              <a:gd name="T95" fmla="*/ 394 h 512"/>
              <a:gd name="T96" fmla="*/ 394 w 512"/>
              <a:gd name="T97" fmla="*/ 384 h 512"/>
              <a:gd name="T98" fmla="*/ 317 w 512"/>
              <a:gd name="T99" fmla="*/ 205 h 512"/>
              <a:gd name="T100" fmla="*/ 266 w 512"/>
              <a:gd name="T101" fmla="*/ 234 h 512"/>
              <a:gd name="T102" fmla="*/ 296 w 512"/>
              <a:gd name="T103" fmla="*/ 373 h 512"/>
              <a:gd name="T104" fmla="*/ 362 w 512"/>
              <a:gd name="T105" fmla="*/ 373 h 512"/>
              <a:gd name="T106" fmla="*/ 362 w 512"/>
              <a:gd name="T107" fmla="*/ 246 h 512"/>
              <a:gd name="T108" fmla="*/ 317 w 512"/>
              <a:gd name="T109"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285"/>
                </a:moveTo>
                <a:cubicBezTo>
                  <a:pt x="274" y="373"/>
                  <a:pt x="274" y="373"/>
                  <a:pt x="274" y="373"/>
                </a:cubicBezTo>
                <a:cubicBezTo>
                  <a:pt x="237" y="373"/>
                  <a:pt x="237" y="373"/>
                  <a:pt x="237" y="373"/>
                </a:cubicBezTo>
                <a:lnTo>
                  <a:pt x="256" y="285"/>
                </a:lnTo>
                <a:close/>
                <a:moveTo>
                  <a:pt x="160" y="294"/>
                </a:moveTo>
                <a:cubicBezTo>
                  <a:pt x="160" y="320"/>
                  <a:pt x="160" y="320"/>
                  <a:pt x="160" y="320"/>
                </a:cubicBezTo>
                <a:cubicBezTo>
                  <a:pt x="170" y="320"/>
                  <a:pt x="170" y="320"/>
                  <a:pt x="170" y="320"/>
                </a:cubicBezTo>
                <a:cubicBezTo>
                  <a:pt x="176" y="320"/>
                  <a:pt x="181" y="324"/>
                  <a:pt x="181" y="330"/>
                </a:cubicBezTo>
                <a:cubicBezTo>
                  <a:pt x="181" y="373"/>
                  <a:pt x="181" y="373"/>
                  <a:pt x="181" y="373"/>
                </a:cubicBezTo>
                <a:cubicBezTo>
                  <a:pt x="215" y="373"/>
                  <a:pt x="215" y="373"/>
                  <a:pt x="215" y="373"/>
                </a:cubicBezTo>
                <a:cubicBezTo>
                  <a:pt x="242" y="248"/>
                  <a:pt x="242" y="248"/>
                  <a:pt x="242" y="248"/>
                </a:cubicBezTo>
                <a:lnTo>
                  <a:pt x="160" y="294"/>
                </a:lnTo>
                <a:close/>
                <a:moveTo>
                  <a:pt x="138" y="373"/>
                </a:moveTo>
                <a:cubicBezTo>
                  <a:pt x="160" y="373"/>
                  <a:pt x="160" y="373"/>
                  <a:pt x="160" y="373"/>
                </a:cubicBezTo>
                <a:cubicBezTo>
                  <a:pt x="160" y="341"/>
                  <a:pt x="160" y="341"/>
                  <a:pt x="160" y="341"/>
                </a:cubicBezTo>
                <a:cubicBezTo>
                  <a:pt x="138" y="341"/>
                  <a:pt x="138" y="341"/>
                  <a:pt x="138" y="341"/>
                </a:cubicBezTo>
                <a:lnTo>
                  <a:pt x="138" y="373"/>
                </a:lnTo>
                <a:close/>
                <a:moveTo>
                  <a:pt x="343" y="139"/>
                </a:moveTo>
                <a:cubicBezTo>
                  <a:pt x="338" y="133"/>
                  <a:pt x="334" y="131"/>
                  <a:pt x="331" y="131"/>
                </a:cubicBezTo>
                <a:cubicBezTo>
                  <a:pt x="328" y="131"/>
                  <a:pt x="325" y="132"/>
                  <a:pt x="322" y="133"/>
                </a:cubicBezTo>
                <a:cubicBezTo>
                  <a:pt x="316" y="137"/>
                  <a:pt x="311" y="140"/>
                  <a:pt x="314" y="153"/>
                </a:cubicBezTo>
                <a:cubicBezTo>
                  <a:pt x="315" y="157"/>
                  <a:pt x="318" y="166"/>
                  <a:pt x="333" y="190"/>
                </a:cubicBezTo>
                <a:cubicBezTo>
                  <a:pt x="352" y="222"/>
                  <a:pt x="364" y="227"/>
                  <a:pt x="368" y="225"/>
                </a:cubicBezTo>
                <a:cubicBezTo>
                  <a:pt x="372" y="223"/>
                  <a:pt x="376" y="215"/>
                  <a:pt x="361" y="175"/>
                </a:cubicBezTo>
                <a:cubicBezTo>
                  <a:pt x="357" y="163"/>
                  <a:pt x="348" y="144"/>
                  <a:pt x="343" y="13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78"/>
                  <a:pt x="390" y="373"/>
                  <a:pt x="384" y="373"/>
                </a:cubicBezTo>
                <a:cubicBezTo>
                  <a:pt x="384" y="240"/>
                  <a:pt x="384" y="240"/>
                  <a:pt x="384" y="240"/>
                </a:cubicBezTo>
                <a:cubicBezTo>
                  <a:pt x="400" y="226"/>
                  <a:pt x="392" y="197"/>
                  <a:pt x="381" y="168"/>
                </a:cubicBezTo>
                <a:cubicBezTo>
                  <a:pt x="381" y="168"/>
                  <a:pt x="381" y="168"/>
                  <a:pt x="381" y="168"/>
                </a:cubicBezTo>
                <a:cubicBezTo>
                  <a:pt x="378" y="158"/>
                  <a:pt x="368" y="135"/>
                  <a:pt x="360" y="125"/>
                </a:cubicBezTo>
                <a:cubicBezTo>
                  <a:pt x="346" y="109"/>
                  <a:pt x="331" y="105"/>
                  <a:pt x="313" y="114"/>
                </a:cubicBezTo>
                <a:cubicBezTo>
                  <a:pt x="295" y="123"/>
                  <a:pt x="288" y="138"/>
                  <a:pt x="293" y="158"/>
                </a:cubicBezTo>
                <a:cubicBezTo>
                  <a:pt x="295" y="164"/>
                  <a:pt x="299" y="174"/>
                  <a:pt x="306" y="187"/>
                </a:cubicBezTo>
                <a:cubicBezTo>
                  <a:pt x="144" y="278"/>
                  <a:pt x="144" y="278"/>
                  <a:pt x="144" y="278"/>
                </a:cubicBezTo>
                <a:cubicBezTo>
                  <a:pt x="140" y="280"/>
                  <a:pt x="138" y="284"/>
                  <a:pt x="138" y="288"/>
                </a:cubicBezTo>
                <a:cubicBezTo>
                  <a:pt x="138" y="320"/>
                  <a:pt x="138" y="320"/>
                  <a:pt x="138" y="320"/>
                </a:cubicBezTo>
                <a:cubicBezTo>
                  <a:pt x="128" y="320"/>
                  <a:pt x="128" y="320"/>
                  <a:pt x="128" y="320"/>
                </a:cubicBezTo>
                <a:cubicBezTo>
                  <a:pt x="122" y="320"/>
                  <a:pt x="117" y="324"/>
                  <a:pt x="117" y="330"/>
                </a:cubicBezTo>
                <a:cubicBezTo>
                  <a:pt x="117" y="384"/>
                  <a:pt x="117" y="384"/>
                  <a:pt x="117" y="384"/>
                </a:cubicBezTo>
                <a:cubicBezTo>
                  <a:pt x="117" y="390"/>
                  <a:pt x="122" y="394"/>
                  <a:pt x="128" y="394"/>
                </a:cubicBezTo>
                <a:cubicBezTo>
                  <a:pt x="170" y="394"/>
                  <a:pt x="170" y="394"/>
                  <a:pt x="170" y="394"/>
                </a:cubicBezTo>
                <a:cubicBezTo>
                  <a:pt x="384" y="394"/>
                  <a:pt x="384" y="394"/>
                  <a:pt x="384" y="394"/>
                </a:cubicBezTo>
                <a:cubicBezTo>
                  <a:pt x="390" y="394"/>
                  <a:pt x="394" y="390"/>
                  <a:pt x="394" y="384"/>
                </a:cubicBezTo>
                <a:close/>
                <a:moveTo>
                  <a:pt x="317" y="205"/>
                </a:moveTo>
                <a:cubicBezTo>
                  <a:pt x="266" y="234"/>
                  <a:pt x="266" y="234"/>
                  <a:pt x="266" y="234"/>
                </a:cubicBezTo>
                <a:cubicBezTo>
                  <a:pt x="296" y="373"/>
                  <a:pt x="296" y="373"/>
                  <a:pt x="296" y="373"/>
                </a:cubicBezTo>
                <a:cubicBezTo>
                  <a:pt x="362" y="373"/>
                  <a:pt x="362" y="373"/>
                  <a:pt x="362" y="373"/>
                </a:cubicBezTo>
                <a:cubicBezTo>
                  <a:pt x="362" y="246"/>
                  <a:pt x="362" y="246"/>
                  <a:pt x="362" y="246"/>
                </a:cubicBezTo>
                <a:cubicBezTo>
                  <a:pt x="348" y="244"/>
                  <a:pt x="333" y="230"/>
                  <a:pt x="317" y="20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3" name="Group 55">
            <a:extLst>
              <a:ext uri="{FF2B5EF4-FFF2-40B4-BE49-F238E27FC236}">
                <a16:creationId xmlns:a16="http://schemas.microsoft.com/office/drawing/2014/main" id="{441D1720-6F79-44B0-912E-57807FE8750A}"/>
              </a:ext>
            </a:extLst>
          </p:cNvPr>
          <p:cNvGrpSpPr>
            <a:grpSpLocks noChangeAspect="1"/>
          </p:cNvGrpSpPr>
          <p:nvPr/>
        </p:nvGrpSpPr>
        <p:grpSpPr bwMode="auto">
          <a:xfrm>
            <a:off x="4395402" y="2544048"/>
            <a:ext cx="369021" cy="369021"/>
            <a:chOff x="4263" y="0"/>
            <a:chExt cx="340" cy="340"/>
          </a:xfrm>
          <a:solidFill>
            <a:schemeClr val="accent1"/>
          </a:solidFill>
        </p:grpSpPr>
        <p:sp>
          <p:nvSpPr>
            <p:cNvPr id="184" name="Freeform 56">
              <a:extLst>
                <a:ext uri="{FF2B5EF4-FFF2-40B4-BE49-F238E27FC236}">
                  <a16:creationId xmlns:a16="http://schemas.microsoft.com/office/drawing/2014/main" id="{B2756EB0-531A-418B-9C1F-5AE6029A3ECB}"/>
                </a:ext>
              </a:extLst>
            </p:cNvPr>
            <p:cNvSpPr>
              <a:spLocks noEditPoints="1"/>
            </p:cNvSpPr>
            <p:nvPr/>
          </p:nvSpPr>
          <p:spPr bwMode="auto">
            <a:xfrm>
              <a:off x="4263" y="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5" name="Freeform 57">
              <a:extLst>
                <a:ext uri="{FF2B5EF4-FFF2-40B4-BE49-F238E27FC236}">
                  <a16:creationId xmlns:a16="http://schemas.microsoft.com/office/drawing/2014/main" id="{062677A8-BC5E-4A45-893A-1FEAE1804679}"/>
                </a:ext>
              </a:extLst>
            </p:cNvPr>
            <p:cNvSpPr>
              <a:spLocks noEditPoints="1"/>
            </p:cNvSpPr>
            <p:nvPr/>
          </p:nvSpPr>
          <p:spPr bwMode="auto">
            <a:xfrm>
              <a:off x="4341" y="70"/>
              <a:ext cx="188" cy="192"/>
            </a:xfrm>
            <a:custGeom>
              <a:avLst/>
              <a:gdLst>
                <a:gd name="T0" fmla="*/ 267 w 283"/>
                <a:gd name="T1" fmla="*/ 268 h 289"/>
                <a:gd name="T2" fmla="*/ 267 w 283"/>
                <a:gd name="T3" fmla="*/ 135 h 289"/>
                <a:gd name="T4" fmla="*/ 264 w 283"/>
                <a:gd name="T5" fmla="*/ 63 h 289"/>
                <a:gd name="T6" fmla="*/ 264 w 283"/>
                <a:gd name="T7" fmla="*/ 63 h 289"/>
                <a:gd name="T8" fmla="*/ 243 w 283"/>
                <a:gd name="T9" fmla="*/ 20 h 289"/>
                <a:gd name="T10" fmla="*/ 196 w 283"/>
                <a:gd name="T11" fmla="*/ 9 h 289"/>
                <a:gd name="T12" fmla="*/ 176 w 283"/>
                <a:gd name="T13" fmla="*/ 53 h 289"/>
                <a:gd name="T14" fmla="*/ 189 w 283"/>
                <a:gd name="T15" fmla="*/ 82 h 289"/>
                <a:gd name="T16" fmla="*/ 27 w 283"/>
                <a:gd name="T17" fmla="*/ 173 h 289"/>
                <a:gd name="T18" fmla="*/ 21 w 283"/>
                <a:gd name="T19" fmla="*/ 183 h 289"/>
                <a:gd name="T20" fmla="*/ 21 w 283"/>
                <a:gd name="T21" fmla="*/ 215 h 289"/>
                <a:gd name="T22" fmla="*/ 11 w 283"/>
                <a:gd name="T23" fmla="*/ 215 h 289"/>
                <a:gd name="T24" fmla="*/ 0 w 283"/>
                <a:gd name="T25" fmla="*/ 225 h 289"/>
                <a:gd name="T26" fmla="*/ 0 w 283"/>
                <a:gd name="T27" fmla="*/ 279 h 289"/>
                <a:gd name="T28" fmla="*/ 11 w 283"/>
                <a:gd name="T29" fmla="*/ 289 h 289"/>
                <a:gd name="T30" fmla="*/ 53 w 283"/>
                <a:gd name="T31" fmla="*/ 289 h 289"/>
                <a:gd name="T32" fmla="*/ 267 w 283"/>
                <a:gd name="T33" fmla="*/ 289 h 289"/>
                <a:gd name="T34" fmla="*/ 277 w 283"/>
                <a:gd name="T35" fmla="*/ 279 h 289"/>
                <a:gd name="T36" fmla="*/ 267 w 283"/>
                <a:gd name="T37" fmla="*/ 268 h 289"/>
                <a:gd name="T38" fmla="*/ 179 w 283"/>
                <a:gd name="T39" fmla="*/ 268 h 289"/>
                <a:gd name="T40" fmla="*/ 149 w 283"/>
                <a:gd name="T41" fmla="*/ 129 h 289"/>
                <a:gd name="T42" fmla="*/ 200 w 283"/>
                <a:gd name="T43" fmla="*/ 100 h 289"/>
                <a:gd name="T44" fmla="*/ 245 w 283"/>
                <a:gd name="T45" fmla="*/ 141 h 289"/>
                <a:gd name="T46" fmla="*/ 245 w 283"/>
                <a:gd name="T47" fmla="*/ 268 h 289"/>
                <a:gd name="T48" fmla="*/ 179 w 283"/>
                <a:gd name="T49" fmla="*/ 268 h 289"/>
                <a:gd name="T50" fmla="*/ 157 w 283"/>
                <a:gd name="T51" fmla="*/ 268 h 289"/>
                <a:gd name="T52" fmla="*/ 120 w 283"/>
                <a:gd name="T53" fmla="*/ 268 h 289"/>
                <a:gd name="T54" fmla="*/ 139 w 283"/>
                <a:gd name="T55" fmla="*/ 180 h 289"/>
                <a:gd name="T56" fmla="*/ 157 w 283"/>
                <a:gd name="T57" fmla="*/ 268 h 289"/>
                <a:gd name="T58" fmla="*/ 205 w 283"/>
                <a:gd name="T59" fmla="*/ 28 h 289"/>
                <a:gd name="T60" fmla="*/ 214 w 283"/>
                <a:gd name="T61" fmla="*/ 26 h 289"/>
                <a:gd name="T62" fmla="*/ 226 w 283"/>
                <a:gd name="T63" fmla="*/ 34 h 289"/>
                <a:gd name="T64" fmla="*/ 244 w 283"/>
                <a:gd name="T65" fmla="*/ 70 h 289"/>
                <a:gd name="T66" fmla="*/ 251 w 283"/>
                <a:gd name="T67" fmla="*/ 120 h 289"/>
                <a:gd name="T68" fmla="*/ 216 w 283"/>
                <a:gd name="T69" fmla="*/ 85 h 289"/>
                <a:gd name="T70" fmla="*/ 197 w 283"/>
                <a:gd name="T71" fmla="*/ 48 h 289"/>
                <a:gd name="T72" fmla="*/ 205 w 283"/>
                <a:gd name="T73" fmla="*/ 28 h 289"/>
                <a:gd name="T74" fmla="*/ 43 w 283"/>
                <a:gd name="T75" fmla="*/ 189 h 289"/>
                <a:gd name="T76" fmla="*/ 125 w 283"/>
                <a:gd name="T77" fmla="*/ 143 h 289"/>
                <a:gd name="T78" fmla="*/ 98 w 283"/>
                <a:gd name="T79" fmla="*/ 268 h 289"/>
                <a:gd name="T80" fmla="*/ 64 w 283"/>
                <a:gd name="T81" fmla="*/ 268 h 289"/>
                <a:gd name="T82" fmla="*/ 64 w 283"/>
                <a:gd name="T83" fmla="*/ 225 h 289"/>
                <a:gd name="T84" fmla="*/ 53 w 283"/>
                <a:gd name="T85" fmla="*/ 215 h 289"/>
                <a:gd name="T86" fmla="*/ 43 w 283"/>
                <a:gd name="T87" fmla="*/ 215 h 289"/>
                <a:gd name="T88" fmla="*/ 43 w 283"/>
                <a:gd name="T89" fmla="*/ 189 h 289"/>
                <a:gd name="T90" fmla="*/ 21 w 283"/>
                <a:gd name="T91" fmla="*/ 236 h 289"/>
                <a:gd name="T92" fmla="*/ 43 w 283"/>
                <a:gd name="T93" fmla="*/ 236 h 289"/>
                <a:gd name="T94" fmla="*/ 43 w 283"/>
                <a:gd name="T95" fmla="*/ 268 h 289"/>
                <a:gd name="T96" fmla="*/ 21 w 283"/>
                <a:gd name="T97" fmla="*/ 268 h 289"/>
                <a:gd name="T98" fmla="*/ 21 w 283"/>
                <a:gd name="T99" fmla="*/ 23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 h="289">
                  <a:moveTo>
                    <a:pt x="267" y="268"/>
                  </a:moveTo>
                  <a:cubicBezTo>
                    <a:pt x="267" y="135"/>
                    <a:pt x="267" y="135"/>
                    <a:pt x="267" y="135"/>
                  </a:cubicBezTo>
                  <a:cubicBezTo>
                    <a:pt x="283" y="121"/>
                    <a:pt x="275" y="92"/>
                    <a:pt x="264" y="63"/>
                  </a:cubicBezTo>
                  <a:cubicBezTo>
                    <a:pt x="264" y="63"/>
                    <a:pt x="264" y="63"/>
                    <a:pt x="264" y="63"/>
                  </a:cubicBezTo>
                  <a:cubicBezTo>
                    <a:pt x="261" y="53"/>
                    <a:pt x="251" y="30"/>
                    <a:pt x="243" y="20"/>
                  </a:cubicBezTo>
                  <a:cubicBezTo>
                    <a:pt x="229" y="4"/>
                    <a:pt x="214" y="0"/>
                    <a:pt x="196" y="9"/>
                  </a:cubicBezTo>
                  <a:cubicBezTo>
                    <a:pt x="178" y="18"/>
                    <a:pt x="171" y="33"/>
                    <a:pt x="176" y="53"/>
                  </a:cubicBezTo>
                  <a:cubicBezTo>
                    <a:pt x="178" y="59"/>
                    <a:pt x="182" y="69"/>
                    <a:pt x="189" y="82"/>
                  </a:cubicBezTo>
                  <a:cubicBezTo>
                    <a:pt x="27" y="173"/>
                    <a:pt x="27" y="173"/>
                    <a:pt x="27" y="173"/>
                  </a:cubicBezTo>
                  <a:cubicBezTo>
                    <a:pt x="23" y="175"/>
                    <a:pt x="21" y="179"/>
                    <a:pt x="21" y="183"/>
                  </a:cubicBezTo>
                  <a:cubicBezTo>
                    <a:pt x="21" y="215"/>
                    <a:pt x="21" y="215"/>
                    <a:pt x="21" y="215"/>
                  </a:cubicBezTo>
                  <a:cubicBezTo>
                    <a:pt x="11" y="215"/>
                    <a:pt x="11" y="215"/>
                    <a:pt x="11" y="215"/>
                  </a:cubicBezTo>
                  <a:cubicBezTo>
                    <a:pt x="5" y="215"/>
                    <a:pt x="0" y="219"/>
                    <a:pt x="0" y="225"/>
                  </a:cubicBezTo>
                  <a:cubicBezTo>
                    <a:pt x="0" y="279"/>
                    <a:pt x="0" y="279"/>
                    <a:pt x="0" y="279"/>
                  </a:cubicBezTo>
                  <a:cubicBezTo>
                    <a:pt x="0" y="285"/>
                    <a:pt x="5" y="289"/>
                    <a:pt x="11" y="289"/>
                  </a:cubicBezTo>
                  <a:cubicBezTo>
                    <a:pt x="53" y="289"/>
                    <a:pt x="53" y="289"/>
                    <a:pt x="53" y="289"/>
                  </a:cubicBezTo>
                  <a:cubicBezTo>
                    <a:pt x="267" y="289"/>
                    <a:pt x="267" y="289"/>
                    <a:pt x="267" y="289"/>
                  </a:cubicBezTo>
                  <a:cubicBezTo>
                    <a:pt x="273" y="289"/>
                    <a:pt x="277" y="285"/>
                    <a:pt x="277" y="279"/>
                  </a:cubicBezTo>
                  <a:cubicBezTo>
                    <a:pt x="277" y="273"/>
                    <a:pt x="273" y="268"/>
                    <a:pt x="267" y="268"/>
                  </a:cubicBezTo>
                  <a:close/>
                  <a:moveTo>
                    <a:pt x="179" y="268"/>
                  </a:moveTo>
                  <a:cubicBezTo>
                    <a:pt x="149" y="129"/>
                    <a:pt x="149" y="129"/>
                    <a:pt x="149" y="129"/>
                  </a:cubicBezTo>
                  <a:cubicBezTo>
                    <a:pt x="200" y="100"/>
                    <a:pt x="200" y="100"/>
                    <a:pt x="200" y="100"/>
                  </a:cubicBezTo>
                  <a:cubicBezTo>
                    <a:pt x="216" y="125"/>
                    <a:pt x="231" y="139"/>
                    <a:pt x="245" y="141"/>
                  </a:cubicBezTo>
                  <a:cubicBezTo>
                    <a:pt x="245" y="268"/>
                    <a:pt x="245" y="268"/>
                    <a:pt x="245" y="268"/>
                  </a:cubicBezTo>
                  <a:lnTo>
                    <a:pt x="179" y="268"/>
                  </a:lnTo>
                  <a:close/>
                  <a:moveTo>
                    <a:pt x="157" y="268"/>
                  </a:moveTo>
                  <a:cubicBezTo>
                    <a:pt x="120" y="268"/>
                    <a:pt x="120" y="268"/>
                    <a:pt x="120" y="268"/>
                  </a:cubicBezTo>
                  <a:cubicBezTo>
                    <a:pt x="139" y="180"/>
                    <a:pt x="139" y="180"/>
                    <a:pt x="139" y="180"/>
                  </a:cubicBezTo>
                  <a:lnTo>
                    <a:pt x="157" y="268"/>
                  </a:lnTo>
                  <a:close/>
                  <a:moveTo>
                    <a:pt x="205" y="28"/>
                  </a:moveTo>
                  <a:cubicBezTo>
                    <a:pt x="208" y="27"/>
                    <a:pt x="211" y="26"/>
                    <a:pt x="214" y="26"/>
                  </a:cubicBezTo>
                  <a:cubicBezTo>
                    <a:pt x="217" y="26"/>
                    <a:pt x="221" y="28"/>
                    <a:pt x="226" y="34"/>
                  </a:cubicBezTo>
                  <a:cubicBezTo>
                    <a:pt x="231" y="39"/>
                    <a:pt x="240" y="58"/>
                    <a:pt x="244" y="70"/>
                  </a:cubicBezTo>
                  <a:cubicBezTo>
                    <a:pt x="259" y="110"/>
                    <a:pt x="255" y="118"/>
                    <a:pt x="251" y="120"/>
                  </a:cubicBezTo>
                  <a:cubicBezTo>
                    <a:pt x="247" y="122"/>
                    <a:pt x="235" y="117"/>
                    <a:pt x="216" y="85"/>
                  </a:cubicBezTo>
                  <a:cubicBezTo>
                    <a:pt x="201" y="61"/>
                    <a:pt x="198" y="52"/>
                    <a:pt x="197" y="48"/>
                  </a:cubicBezTo>
                  <a:cubicBezTo>
                    <a:pt x="194" y="35"/>
                    <a:pt x="199" y="32"/>
                    <a:pt x="205" y="28"/>
                  </a:cubicBezTo>
                  <a:close/>
                  <a:moveTo>
                    <a:pt x="43" y="189"/>
                  </a:moveTo>
                  <a:cubicBezTo>
                    <a:pt x="125" y="143"/>
                    <a:pt x="125" y="143"/>
                    <a:pt x="125" y="143"/>
                  </a:cubicBezTo>
                  <a:cubicBezTo>
                    <a:pt x="98" y="268"/>
                    <a:pt x="98" y="268"/>
                    <a:pt x="98" y="268"/>
                  </a:cubicBezTo>
                  <a:cubicBezTo>
                    <a:pt x="64" y="268"/>
                    <a:pt x="64" y="268"/>
                    <a:pt x="64" y="268"/>
                  </a:cubicBezTo>
                  <a:cubicBezTo>
                    <a:pt x="64" y="225"/>
                    <a:pt x="64" y="225"/>
                    <a:pt x="64" y="225"/>
                  </a:cubicBezTo>
                  <a:cubicBezTo>
                    <a:pt x="64" y="219"/>
                    <a:pt x="59" y="215"/>
                    <a:pt x="53" y="215"/>
                  </a:cubicBezTo>
                  <a:cubicBezTo>
                    <a:pt x="43" y="215"/>
                    <a:pt x="43" y="215"/>
                    <a:pt x="43" y="215"/>
                  </a:cubicBezTo>
                  <a:lnTo>
                    <a:pt x="43" y="189"/>
                  </a:lnTo>
                  <a:close/>
                  <a:moveTo>
                    <a:pt x="21" y="236"/>
                  </a:moveTo>
                  <a:cubicBezTo>
                    <a:pt x="43" y="236"/>
                    <a:pt x="43" y="236"/>
                    <a:pt x="43" y="236"/>
                  </a:cubicBezTo>
                  <a:cubicBezTo>
                    <a:pt x="43" y="268"/>
                    <a:pt x="43" y="268"/>
                    <a:pt x="43" y="268"/>
                  </a:cubicBezTo>
                  <a:cubicBezTo>
                    <a:pt x="21" y="268"/>
                    <a:pt x="21" y="268"/>
                    <a:pt x="21" y="268"/>
                  </a:cubicBezTo>
                  <a:lnTo>
                    <a:pt x="21" y="2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6" name="Group 185">
            <a:extLst>
              <a:ext uri="{FF2B5EF4-FFF2-40B4-BE49-F238E27FC236}">
                <a16:creationId xmlns:a16="http://schemas.microsoft.com/office/drawing/2014/main" id="{C9130091-41AE-406A-83F9-6B62C622B507}"/>
              </a:ext>
            </a:extLst>
          </p:cNvPr>
          <p:cNvGrpSpPr/>
          <p:nvPr/>
        </p:nvGrpSpPr>
        <p:grpSpPr>
          <a:xfrm>
            <a:off x="5315151" y="2544048"/>
            <a:ext cx="365760" cy="365760"/>
            <a:chOff x="3306294" y="3523460"/>
            <a:chExt cx="434188" cy="435261"/>
          </a:xfrm>
          <a:solidFill>
            <a:schemeClr val="bg2"/>
          </a:solidFill>
        </p:grpSpPr>
        <p:sp>
          <p:nvSpPr>
            <p:cNvPr id="187" name="Freeform 5">
              <a:extLst>
                <a:ext uri="{FF2B5EF4-FFF2-40B4-BE49-F238E27FC236}">
                  <a16:creationId xmlns:a16="http://schemas.microsoft.com/office/drawing/2014/main" id="{418D5F13-25FD-4DD6-867B-26014D7B23BD}"/>
                </a:ext>
              </a:extLst>
            </p:cNvPr>
            <p:cNvSpPr>
              <a:spLocks noEditPoints="1"/>
            </p:cNvSpPr>
            <p:nvPr/>
          </p:nvSpPr>
          <p:spPr bwMode="auto">
            <a:xfrm>
              <a:off x="3408834" y="3577733"/>
              <a:ext cx="214949" cy="311912"/>
            </a:xfrm>
            <a:custGeom>
              <a:avLst/>
              <a:gdLst>
                <a:gd name="T0" fmla="*/ 851 w 1666"/>
                <a:gd name="T1" fmla="*/ 1061 h 2414"/>
                <a:gd name="T2" fmla="*/ 851 w 1666"/>
                <a:gd name="T3" fmla="*/ 1061 h 2414"/>
                <a:gd name="T4" fmla="*/ 859 w 1666"/>
                <a:gd name="T5" fmla="*/ 1061 h 2414"/>
                <a:gd name="T6" fmla="*/ 908 w 1666"/>
                <a:gd name="T7" fmla="*/ 1106 h 2414"/>
                <a:gd name="T8" fmla="*/ 1123 w 1666"/>
                <a:gd name="T9" fmla="*/ 1562 h 2414"/>
                <a:gd name="T10" fmla="*/ 1280 w 1666"/>
                <a:gd name="T11" fmla="*/ 2237 h 2414"/>
                <a:gd name="T12" fmla="*/ 1542 w 1666"/>
                <a:gd name="T13" fmla="*/ 1725 h 2414"/>
                <a:gd name="T14" fmla="*/ 1480 w 1666"/>
                <a:gd name="T15" fmla="*/ 1298 h 2414"/>
                <a:gd name="T16" fmla="*/ 1327 w 1666"/>
                <a:gd name="T17" fmla="*/ 984 h 2414"/>
                <a:gd name="T18" fmla="*/ 1216 w 1666"/>
                <a:gd name="T19" fmla="*/ 1211 h 2414"/>
                <a:gd name="T20" fmla="*/ 1075 w 1666"/>
                <a:gd name="T21" fmla="*/ 1097 h 2414"/>
                <a:gd name="T22" fmla="*/ 1036 w 1666"/>
                <a:gd name="T23" fmla="*/ 789 h 2414"/>
                <a:gd name="T24" fmla="*/ 855 w 1666"/>
                <a:gd name="T25" fmla="*/ 228 h 2414"/>
                <a:gd name="T26" fmla="*/ 800 w 1666"/>
                <a:gd name="T27" fmla="*/ 166 h 2414"/>
                <a:gd name="T28" fmla="*/ 433 w 1666"/>
                <a:gd name="T29" fmla="*/ 1153 h 2414"/>
                <a:gd name="T30" fmla="*/ 286 w 1666"/>
                <a:gd name="T31" fmla="*/ 1979 h 2414"/>
                <a:gd name="T32" fmla="*/ 474 w 1666"/>
                <a:gd name="T33" fmla="*/ 2228 h 2414"/>
                <a:gd name="T34" fmla="*/ 498 w 1666"/>
                <a:gd name="T35" fmla="*/ 1729 h 2414"/>
                <a:gd name="T36" fmla="*/ 800 w 1666"/>
                <a:gd name="T37" fmla="*/ 1092 h 2414"/>
                <a:gd name="T38" fmla="*/ 851 w 1666"/>
                <a:gd name="T39" fmla="*/ 1061 h 2414"/>
                <a:gd name="T40" fmla="*/ 851 w 1666"/>
                <a:gd name="T41" fmla="*/ 1061 h 2414"/>
                <a:gd name="T42" fmla="*/ 578 w 1666"/>
                <a:gd name="T43" fmla="*/ 2298 h 2414"/>
                <a:gd name="T44" fmla="*/ 578 w 1666"/>
                <a:gd name="T45" fmla="*/ 2298 h 2414"/>
                <a:gd name="T46" fmla="*/ 578 w 1666"/>
                <a:gd name="T47" fmla="*/ 2298 h 2414"/>
                <a:gd name="T48" fmla="*/ 578 w 1666"/>
                <a:gd name="T49" fmla="*/ 2298 h 2414"/>
                <a:gd name="T50" fmla="*/ 578 w 1666"/>
                <a:gd name="T51" fmla="*/ 2298 h 2414"/>
                <a:gd name="T52" fmla="*/ 578 w 1666"/>
                <a:gd name="T53" fmla="*/ 2298 h 2414"/>
                <a:gd name="T54" fmla="*/ 578 w 1666"/>
                <a:gd name="T55" fmla="*/ 2298 h 2414"/>
                <a:gd name="T56" fmla="*/ 578 w 1666"/>
                <a:gd name="T57" fmla="*/ 2298 h 2414"/>
                <a:gd name="T58" fmla="*/ 578 w 1666"/>
                <a:gd name="T59" fmla="*/ 2298 h 2414"/>
                <a:gd name="T60" fmla="*/ 563 w 1666"/>
                <a:gd name="T61" fmla="*/ 2410 h 2414"/>
                <a:gd name="T62" fmla="*/ 563 w 1666"/>
                <a:gd name="T63" fmla="*/ 2410 h 2414"/>
                <a:gd name="T64" fmla="*/ 524 w 1666"/>
                <a:gd name="T65" fmla="*/ 2400 h 2414"/>
                <a:gd name="T66" fmla="*/ 181 w 1666"/>
                <a:gd name="T67" fmla="*/ 2029 h 2414"/>
                <a:gd name="T68" fmla="*/ 339 w 1666"/>
                <a:gd name="T69" fmla="*/ 1085 h 2414"/>
                <a:gd name="T70" fmla="*/ 682 w 1666"/>
                <a:gd name="T71" fmla="*/ 95 h 2414"/>
                <a:gd name="T72" fmla="*/ 725 w 1666"/>
                <a:gd name="T73" fmla="*/ 16 h 2414"/>
                <a:gd name="T74" fmla="*/ 815 w 1666"/>
                <a:gd name="T75" fmla="*/ 23 h 2414"/>
                <a:gd name="T76" fmla="*/ 947 w 1666"/>
                <a:gd name="T77" fmla="*/ 158 h 2414"/>
                <a:gd name="T78" fmla="*/ 1153 w 1666"/>
                <a:gd name="T79" fmla="*/ 789 h 2414"/>
                <a:gd name="T80" fmla="*/ 1184 w 1666"/>
                <a:gd name="T81" fmla="*/ 1056 h 2414"/>
                <a:gd name="T82" fmla="*/ 1195 w 1666"/>
                <a:gd name="T83" fmla="*/ 1079 h 2414"/>
                <a:gd name="T84" fmla="*/ 1209 w 1666"/>
                <a:gd name="T85" fmla="*/ 903 h 2414"/>
                <a:gd name="T86" fmla="*/ 1255 w 1666"/>
                <a:gd name="T87" fmla="*/ 823 h 2414"/>
                <a:gd name="T88" fmla="*/ 1346 w 1666"/>
                <a:gd name="T89" fmla="*/ 835 h 2414"/>
                <a:gd name="T90" fmla="*/ 1591 w 1666"/>
                <a:gd name="T91" fmla="*/ 1262 h 2414"/>
                <a:gd name="T92" fmla="*/ 1658 w 1666"/>
                <a:gd name="T93" fmla="*/ 1733 h 2414"/>
                <a:gd name="T94" fmla="*/ 1239 w 1666"/>
                <a:gd name="T95" fmla="*/ 2397 h 2414"/>
                <a:gd name="T96" fmla="*/ 1141 w 1666"/>
                <a:gd name="T97" fmla="*/ 2380 h 2414"/>
                <a:gd name="T98" fmla="*/ 1131 w 1666"/>
                <a:gd name="T99" fmla="*/ 2280 h 2414"/>
                <a:gd name="T100" fmla="*/ 1029 w 1666"/>
                <a:gd name="T101" fmla="*/ 1630 h 2414"/>
                <a:gd name="T102" fmla="*/ 839 w 1666"/>
                <a:gd name="T103" fmla="*/ 1273 h 2414"/>
                <a:gd name="T104" fmla="*/ 604 w 1666"/>
                <a:gd name="T105" fmla="*/ 1777 h 2414"/>
                <a:gd name="T106" fmla="*/ 632 w 1666"/>
                <a:gd name="T107" fmla="*/ 2282 h 2414"/>
                <a:gd name="T108" fmla="*/ 624 w 1666"/>
                <a:gd name="T109" fmla="*/ 2383 h 2414"/>
                <a:gd name="T110" fmla="*/ 563 w 1666"/>
                <a:gd name="T111" fmla="*/ 2410 h 2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6" h="2414">
                  <a:moveTo>
                    <a:pt x="851" y="1061"/>
                  </a:moveTo>
                  <a:lnTo>
                    <a:pt x="851" y="1061"/>
                  </a:lnTo>
                  <a:cubicBezTo>
                    <a:pt x="854" y="1061"/>
                    <a:pt x="856" y="1061"/>
                    <a:pt x="859" y="1061"/>
                  </a:cubicBezTo>
                  <a:cubicBezTo>
                    <a:pt x="883" y="1064"/>
                    <a:pt x="902" y="1082"/>
                    <a:pt x="908" y="1106"/>
                  </a:cubicBezTo>
                  <a:cubicBezTo>
                    <a:pt x="909" y="1108"/>
                    <a:pt x="968" y="1350"/>
                    <a:pt x="1123" y="1562"/>
                  </a:cubicBezTo>
                  <a:cubicBezTo>
                    <a:pt x="1294" y="1797"/>
                    <a:pt x="1349" y="2036"/>
                    <a:pt x="1280" y="2237"/>
                  </a:cubicBezTo>
                  <a:cubicBezTo>
                    <a:pt x="1440" y="2121"/>
                    <a:pt x="1528" y="1949"/>
                    <a:pt x="1542" y="1725"/>
                  </a:cubicBezTo>
                  <a:cubicBezTo>
                    <a:pt x="1549" y="1639"/>
                    <a:pt x="1543" y="1495"/>
                    <a:pt x="1480" y="1298"/>
                  </a:cubicBezTo>
                  <a:cubicBezTo>
                    <a:pt x="1430" y="1142"/>
                    <a:pt x="1373" y="1044"/>
                    <a:pt x="1327" y="984"/>
                  </a:cubicBezTo>
                  <a:cubicBezTo>
                    <a:pt x="1322" y="1115"/>
                    <a:pt x="1283" y="1196"/>
                    <a:pt x="1216" y="1211"/>
                  </a:cubicBezTo>
                  <a:cubicBezTo>
                    <a:pt x="1189" y="1216"/>
                    <a:pt x="1120" y="1217"/>
                    <a:pt x="1075" y="1097"/>
                  </a:cubicBezTo>
                  <a:cubicBezTo>
                    <a:pt x="1050" y="1030"/>
                    <a:pt x="1036" y="921"/>
                    <a:pt x="1036" y="789"/>
                  </a:cubicBezTo>
                  <a:cubicBezTo>
                    <a:pt x="1036" y="581"/>
                    <a:pt x="972" y="381"/>
                    <a:pt x="855" y="228"/>
                  </a:cubicBezTo>
                  <a:cubicBezTo>
                    <a:pt x="838" y="206"/>
                    <a:pt x="820" y="185"/>
                    <a:pt x="800" y="166"/>
                  </a:cubicBezTo>
                  <a:cubicBezTo>
                    <a:pt x="799" y="359"/>
                    <a:pt x="746" y="727"/>
                    <a:pt x="433" y="1153"/>
                  </a:cubicBezTo>
                  <a:cubicBezTo>
                    <a:pt x="132" y="1573"/>
                    <a:pt x="244" y="1892"/>
                    <a:pt x="286" y="1979"/>
                  </a:cubicBezTo>
                  <a:cubicBezTo>
                    <a:pt x="334" y="2081"/>
                    <a:pt x="397" y="2164"/>
                    <a:pt x="474" y="2228"/>
                  </a:cubicBezTo>
                  <a:cubicBezTo>
                    <a:pt x="425" y="2101"/>
                    <a:pt x="407" y="1931"/>
                    <a:pt x="498" y="1729"/>
                  </a:cubicBezTo>
                  <a:cubicBezTo>
                    <a:pt x="683" y="1315"/>
                    <a:pt x="799" y="1094"/>
                    <a:pt x="800" y="1092"/>
                  </a:cubicBezTo>
                  <a:cubicBezTo>
                    <a:pt x="810" y="1073"/>
                    <a:pt x="830" y="1061"/>
                    <a:pt x="851" y="1061"/>
                  </a:cubicBezTo>
                  <a:lnTo>
                    <a:pt x="851" y="1061"/>
                  </a:lnTo>
                  <a:close/>
                  <a:moveTo>
                    <a:pt x="578" y="2298"/>
                  </a:moveTo>
                  <a:lnTo>
                    <a:pt x="578" y="2298"/>
                  </a:lnTo>
                  <a:cubicBezTo>
                    <a:pt x="578" y="2298"/>
                    <a:pt x="578" y="2298"/>
                    <a:pt x="578" y="2298"/>
                  </a:cubicBezTo>
                  <a:cubicBezTo>
                    <a:pt x="578" y="2298"/>
                    <a:pt x="578" y="2298"/>
                    <a:pt x="578" y="2298"/>
                  </a:cubicBezTo>
                  <a:lnTo>
                    <a:pt x="578" y="2298"/>
                  </a:lnTo>
                  <a:close/>
                  <a:moveTo>
                    <a:pt x="578" y="2298"/>
                  </a:moveTo>
                  <a:lnTo>
                    <a:pt x="578" y="2298"/>
                  </a:lnTo>
                  <a:lnTo>
                    <a:pt x="578" y="2298"/>
                  </a:lnTo>
                  <a:lnTo>
                    <a:pt x="578" y="2298"/>
                  </a:lnTo>
                  <a:close/>
                  <a:moveTo>
                    <a:pt x="563" y="2410"/>
                  </a:moveTo>
                  <a:lnTo>
                    <a:pt x="563" y="2410"/>
                  </a:lnTo>
                  <a:cubicBezTo>
                    <a:pt x="550" y="2410"/>
                    <a:pt x="536" y="2407"/>
                    <a:pt x="524" y="2400"/>
                  </a:cubicBezTo>
                  <a:cubicBezTo>
                    <a:pt x="375" y="2322"/>
                    <a:pt x="260" y="2197"/>
                    <a:pt x="181" y="2029"/>
                  </a:cubicBezTo>
                  <a:cubicBezTo>
                    <a:pt x="132" y="1927"/>
                    <a:pt x="0" y="1557"/>
                    <a:pt x="339" y="1085"/>
                  </a:cubicBezTo>
                  <a:cubicBezTo>
                    <a:pt x="680" y="621"/>
                    <a:pt x="692" y="238"/>
                    <a:pt x="682" y="95"/>
                  </a:cubicBezTo>
                  <a:cubicBezTo>
                    <a:pt x="679" y="62"/>
                    <a:pt x="697" y="31"/>
                    <a:pt x="725" y="16"/>
                  </a:cubicBezTo>
                  <a:cubicBezTo>
                    <a:pt x="754" y="0"/>
                    <a:pt x="790" y="3"/>
                    <a:pt x="815" y="23"/>
                  </a:cubicBezTo>
                  <a:cubicBezTo>
                    <a:pt x="863" y="61"/>
                    <a:pt x="908" y="106"/>
                    <a:pt x="947" y="158"/>
                  </a:cubicBezTo>
                  <a:cubicBezTo>
                    <a:pt x="1080" y="331"/>
                    <a:pt x="1153" y="555"/>
                    <a:pt x="1153" y="789"/>
                  </a:cubicBezTo>
                  <a:cubicBezTo>
                    <a:pt x="1153" y="905"/>
                    <a:pt x="1164" y="1002"/>
                    <a:pt x="1184" y="1056"/>
                  </a:cubicBezTo>
                  <a:cubicBezTo>
                    <a:pt x="1188" y="1065"/>
                    <a:pt x="1191" y="1073"/>
                    <a:pt x="1195" y="1079"/>
                  </a:cubicBezTo>
                  <a:cubicBezTo>
                    <a:pt x="1205" y="1051"/>
                    <a:pt x="1215" y="996"/>
                    <a:pt x="1209" y="903"/>
                  </a:cubicBezTo>
                  <a:cubicBezTo>
                    <a:pt x="1207" y="869"/>
                    <a:pt x="1225" y="838"/>
                    <a:pt x="1255" y="823"/>
                  </a:cubicBezTo>
                  <a:cubicBezTo>
                    <a:pt x="1285" y="808"/>
                    <a:pt x="1321" y="813"/>
                    <a:pt x="1346" y="835"/>
                  </a:cubicBezTo>
                  <a:cubicBezTo>
                    <a:pt x="1415" y="895"/>
                    <a:pt x="1513" y="1017"/>
                    <a:pt x="1591" y="1262"/>
                  </a:cubicBezTo>
                  <a:cubicBezTo>
                    <a:pt x="1660" y="1478"/>
                    <a:pt x="1666" y="1637"/>
                    <a:pt x="1658" y="1733"/>
                  </a:cubicBezTo>
                  <a:cubicBezTo>
                    <a:pt x="1635" y="2117"/>
                    <a:pt x="1417" y="2306"/>
                    <a:pt x="1239" y="2397"/>
                  </a:cubicBezTo>
                  <a:cubicBezTo>
                    <a:pt x="1206" y="2414"/>
                    <a:pt x="1166" y="2407"/>
                    <a:pt x="1141" y="2380"/>
                  </a:cubicBezTo>
                  <a:cubicBezTo>
                    <a:pt x="1115" y="2352"/>
                    <a:pt x="1111" y="2312"/>
                    <a:pt x="1131" y="2280"/>
                  </a:cubicBezTo>
                  <a:cubicBezTo>
                    <a:pt x="1182" y="2197"/>
                    <a:pt x="1274" y="1967"/>
                    <a:pt x="1029" y="1630"/>
                  </a:cubicBezTo>
                  <a:cubicBezTo>
                    <a:pt x="936" y="1504"/>
                    <a:pt x="876" y="1370"/>
                    <a:pt x="839" y="1273"/>
                  </a:cubicBezTo>
                  <a:cubicBezTo>
                    <a:pt x="788" y="1378"/>
                    <a:pt x="707" y="1547"/>
                    <a:pt x="604" y="1777"/>
                  </a:cubicBezTo>
                  <a:cubicBezTo>
                    <a:pt x="503" y="2002"/>
                    <a:pt x="564" y="2176"/>
                    <a:pt x="632" y="2282"/>
                  </a:cubicBezTo>
                  <a:cubicBezTo>
                    <a:pt x="653" y="2315"/>
                    <a:pt x="650" y="2355"/>
                    <a:pt x="624" y="2383"/>
                  </a:cubicBezTo>
                  <a:cubicBezTo>
                    <a:pt x="607" y="2401"/>
                    <a:pt x="585" y="2410"/>
                    <a:pt x="563" y="24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6">
              <a:extLst>
                <a:ext uri="{FF2B5EF4-FFF2-40B4-BE49-F238E27FC236}">
                  <a16:creationId xmlns:a16="http://schemas.microsoft.com/office/drawing/2014/main" id="{1D219763-78DC-4AE4-9851-07033EDD95EE}"/>
                </a:ext>
              </a:extLst>
            </p:cNvPr>
            <p:cNvSpPr>
              <a:spLocks noEditPoints="1"/>
            </p:cNvSpPr>
            <p:nvPr/>
          </p:nvSpPr>
          <p:spPr bwMode="auto">
            <a:xfrm>
              <a:off x="3306294" y="3523460"/>
              <a:ext cx="434188" cy="435261"/>
            </a:xfrm>
            <a:custGeom>
              <a:avLst/>
              <a:gdLst>
                <a:gd name="T0" fmla="*/ 1684 w 3367"/>
                <a:gd name="T1" fmla="*/ 138 h 3367"/>
                <a:gd name="T2" fmla="*/ 1684 w 3367"/>
                <a:gd name="T3" fmla="*/ 138 h 3367"/>
                <a:gd name="T4" fmla="*/ 3223 w 3367"/>
                <a:gd name="T5" fmla="*/ 1683 h 3367"/>
                <a:gd name="T6" fmla="*/ 1684 w 3367"/>
                <a:gd name="T7" fmla="*/ 3222 h 3367"/>
                <a:gd name="T8" fmla="*/ 139 w 3367"/>
                <a:gd name="T9" fmla="*/ 1683 h 3367"/>
                <a:gd name="T10" fmla="*/ 1684 w 3367"/>
                <a:gd name="T11" fmla="*/ 138 h 3367"/>
                <a:gd name="T12" fmla="*/ 1684 w 3367"/>
                <a:gd name="T13" fmla="*/ 0 h 3367"/>
                <a:gd name="T14" fmla="*/ 1684 w 3367"/>
                <a:gd name="T15" fmla="*/ 0 h 3367"/>
                <a:gd name="T16" fmla="*/ 0 w 3367"/>
                <a:gd name="T17" fmla="*/ 1683 h 3367"/>
                <a:gd name="T18" fmla="*/ 1684 w 3367"/>
                <a:gd name="T19" fmla="*/ 3367 h 3367"/>
                <a:gd name="T20" fmla="*/ 3367 w 3367"/>
                <a:gd name="T21" fmla="*/ 1683 h 3367"/>
                <a:gd name="T22" fmla="*/ 1684 w 3367"/>
                <a:gd name="T23" fmla="*/ 0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7" h="3367">
                  <a:moveTo>
                    <a:pt x="1684" y="138"/>
                  </a:moveTo>
                  <a:lnTo>
                    <a:pt x="1684" y="138"/>
                  </a:lnTo>
                  <a:cubicBezTo>
                    <a:pt x="2532" y="138"/>
                    <a:pt x="3223" y="828"/>
                    <a:pt x="3223" y="1683"/>
                  </a:cubicBezTo>
                  <a:cubicBezTo>
                    <a:pt x="3223" y="2531"/>
                    <a:pt x="2532" y="3222"/>
                    <a:pt x="1684" y="3222"/>
                  </a:cubicBezTo>
                  <a:cubicBezTo>
                    <a:pt x="829" y="3222"/>
                    <a:pt x="139" y="2531"/>
                    <a:pt x="139" y="1683"/>
                  </a:cubicBezTo>
                  <a:cubicBezTo>
                    <a:pt x="139" y="828"/>
                    <a:pt x="829" y="138"/>
                    <a:pt x="1684" y="138"/>
                  </a:cubicBezTo>
                  <a:close/>
                  <a:moveTo>
                    <a:pt x="1684" y="0"/>
                  </a:moveTo>
                  <a:lnTo>
                    <a:pt x="1684" y="0"/>
                  </a:lnTo>
                  <a:cubicBezTo>
                    <a:pt x="750" y="0"/>
                    <a:pt x="0" y="749"/>
                    <a:pt x="0" y="1683"/>
                  </a:cubicBezTo>
                  <a:cubicBezTo>
                    <a:pt x="0" y="2610"/>
                    <a:pt x="750" y="3367"/>
                    <a:pt x="1684" y="3367"/>
                  </a:cubicBezTo>
                  <a:cubicBezTo>
                    <a:pt x="2611" y="3367"/>
                    <a:pt x="3367" y="2610"/>
                    <a:pt x="3367" y="1683"/>
                  </a:cubicBezTo>
                  <a:cubicBezTo>
                    <a:pt x="3367" y="749"/>
                    <a:pt x="2611" y="0"/>
                    <a:pt x="16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89" name="Group 188">
            <a:extLst>
              <a:ext uri="{FF2B5EF4-FFF2-40B4-BE49-F238E27FC236}">
                <a16:creationId xmlns:a16="http://schemas.microsoft.com/office/drawing/2014/main" id="{BAC9F532-1202-467C-A2C7-68A52E1B37E9}"/>
              </a:ext>
            </a:extLst>
          </p:cNvPr>
          <p:cNvGrpSpPr/>
          <p:nvPr/>
        </p:nvGrpSpPr>
        <p:grpSpPr>
          <a:xfrm>
            <a:off x="4886140" y="2530238"/>
            <a:ext cx="365760" cy="365760"/>
            <a:chOff x="2849796" y="3523460"/>
            <a:chExt cx="434188" cy="435261"/>
          </a:xfrm>
          <a:solidFill>
            <a:schemeClr val="bg2"/>
          </a:solidFill>
        </p:grpSpPr>
        <p:sp>
          <p:nvSpPr>
            <p:cNvPr id="190" name="Freeform 7">
              <a:extLst>
                <a:ext uri="{FF2B5EF4-FFF2-40B4-BE49-F238E27FC236}">
                  <a16:creationId xmlns:a16="http://schemas.microsoft.com/office/drawing/2014/main" id="{5FC243FB-F484-4265-82F0-96F671A8B9F2}"/>
                </a:ext>
              </a:extLst>
            </p:cNvPr>
            <p:cNvSpPr>
              <a:spLocks/>
            </p:cNvSpPr>
            <p:nvPr/>
          </p:nvSpPr>
          <p:spPr bwMode="auto">
            <a:xfrm>
              <a:off x="2969284" y="3599185"/>
              <a:ext cx="182771" cy="267721"/>
            </a:xfrm>
            <a:custGeom>
              <a:avLst/>
              <a:gdLst>
                <a:gd name="T0" fmla="*/ 1195 w 1417"/>
                <a:gd name="T1" fmla="*/ 818 h 2071"/>
                <a:gd name="T2" fmla="*/ 1195 w 1417"/>
                <a:gd name="T3" fmla="*/ 818 h 2071"/>
                <a:gd name="T4" fmla="*/ 1084 w 1417"/>
                <a:gd name="T5" fmla="*/ 1045 h 2071"/>
                <a:gd name="T6" fmla="*/ 943 w 1417"/>
                <a:gd name="T7" fmla="*/ 931 h 2071"/>
                <a:gd name="T8" fmla="*/ 904 w 1417"/>
                <a:gd name="T9" fmla="*/ 623 h 2071"/>
                <a:gd name="T10" fmla="*/ 723 w 1417"/>
                <a:gd name="T11" fmla="*/ 62 h 2071"/>
                <a:gd name="T12" fmla="*/ 668 w 1417"/>
                <a:gd name="T13" fmla="*/ 0 h 2071"/>
                <a:gd name="T14" fmla="*/ 301 w 1417"/>
                <a:gd name="T15" fmla="*/ 987 h 2071"/>
                <a:gd name="T16" fmla="*/ 154 w 1417"/>
                <a:gd name="T17" fmla="*/ 1813 h 2071"/>
                <a:gd name="T18" fmla="*/ 342 w 1417"/>
                <a:gd name="T19" fmla="*/ 2062 h 2071"/>
                <a:gd name="T20" fmla="*/ 366 w 1417"/>
                <a:gd name="T21" fmla="*/ 1563 h 2071"/>
                <a:gd name="T22" fmla="*/ 668 w 1417"/>
                <a:gd name="T23" fmla="*/ 926 h 2071"/>
                <a:gd name="T24" fmla="*/ 719 w 1417"/>
                <a:gd name="T25" fmla="*/ 895 h 2071"/>
                <a:gd name="T26" fmla="*/ 727 w 1417"/>
                <a:gd name="T27" fmla="*/ 895 h 2071"/>
                <a:gd name="T28" fmla="*/ 776 w 1417"/>
                <a:gd name="T29" fmla="*/ 940 h 2071"/>
                <a:gd name="T30" fmla="*/ 991 w 1417"/>
                <a:gd name="T31" fmla="*/ 1396 h 2071"/>
                <a:gd name="T32" fmla="*/ 1148 w 1417"/>
                <a:gd name="T33" fmla="*/ 2071 h 2071"/>
                <a:gd name="T34" fmla="*/ 1410 w 1417"/>
                <a:gd name="T35" fmla="*/ 1559 h 2071"/>
                <a:gd name="T36" fmla="*/ 1348 w 1417"/>
                <a:gd name="T37" fmla="*/ 1132 h 2071"/>
                <a:gd name="T38" fmla="*/ 1195 w 1417"/>
                <a:gd name="T39" fmla="*/ 818 h 2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17" h="2071">
                  <a:moveTo>
                    <a:pt x="1195" y="818"/>
                  </a:moveTo>
                  <a:lnTo>
                    <a:pt x="1195" y="818"/>
                  </a:lnTo>
                  <a:cubicBezTo>
                    <a:pt x="1190" y="949"/>
                    <a:pt x="1151" y="1030"/>
                    <a:pt x="1084" y="1045"/>
                  </a:cubicBezTo>
                  <a:cubicBezTo>
                    <a:pt x="1057" y="1050"/>
                    <a:pt x="988" y="1051"/>
                    <a:pt x="943" y="931"/>
                  </a:cubicBezTo>
                  <a:cubicBezTo>
                    <a:pt x="918" y="864"/>
                    <a:pt x="904" y="755"/>
                    <a:pt x="904" y="623"/>
                  </a:cubicBezTo>
                  <a:cubicBezTo>
                    <a:pt x="904" y="415"/>
                    <a:pt x="840" y="215"/>
                    <a:pt x="723" y="62"/>
                  </a:cubicBezTo>
                  <a:cubicBezTo>
                    <a:pt x="706" y="40"/>
                    <a:pt x="688" y="19"/>
                    <a:pt x="668" y="0"/>
                  </a:cubicBezTo>
                  <a:cubicBezTo>
                    <a:pt x="667" y="193"/>
                    <a:pt x="614" y="561"/>
                    <a:pt x="301" y="987"/>
                  </a:cubicBezTo>
                  <a:cubicBezTo>
                    <a:pt x="0" y="1407"/>
                    <a:pt x="112" y="1726"/>
                    <a:pt x="154" y="1813"/>
                  </a:cubicBezTo>
                  <a:cubicBezTo>
                    <a:pt x="202" y="1915"/>
                    <a:pt x="265" y="1998"/>
                    <a:pt x="342" y="2062"/>
                  </a:cubicBezTo>
                  <a:cubicBezTo>
                    <a:pt x="293" y="1935"/>
                    <a:pt x="275" y="1765"/>
                    <a:pt x="366" y="1563"/>
                  </a:cubicBezTo>
                  <a:cubicBezTo>
                    <a:pt x="551" y="1149"/>
                    <a:pt x="667" y="928"/>
                    <a:pt x="668" y="926"/>
                  </a:cubicBezTo>
                  <a:cubicBezTo>
                    <a:pt x="678" y="907"/>
                    <a:pt x="698" y="895"/>
                    <a:pt x="719" y="895"/>
                  </a:cubicBezTo>
                  <a:cubicBezTo>
                    <a:pt x="722" y="895"/>
                    <a:pt x="724" y="895"/>
                    <a:pt x="727" y="895"/>
                  </a:cubicBezTo>
                  <a:cubicBezTo>
                    <a:pt x="751" y="898"/>
                    <a:pt x="770" y="916"/>
                    <a:pt x="776" y="940"/>
                  </a:cubicBezTo>
                  <a:cubicBezTo>
                    <a:pt x="777" y="942"/>
                    <a:pt x="836" y="1184"/>
                    <a:pt x="991" y="1396"/>
                  </a:cubicBezTo>
                  <a:cubicBezTo>
                    <a:pt x="1162" y="1631"/>
                    <a:pt x="1217" y="1870"/>
                    <a:pt x="1148" y="2071"/>
                  </a:cubicBezTo>
                  <a:cubicBezTo>
                    <a:pt x="1308" y="1955"/>
                    <a:pt x="1396" y="1783"/>
                    <a:pt x="1410" y="1559"/>
                  </a:cubicBezTo>
                  <a:cubicBezTo>
                    <a:pt x="1417" y="1473"/>
                    <a:pt x="1411" y="1329"/>
                    <a:pt x="1348" y="1132"/>
                  </a:cubicBezTo>
                  <a:cubicBezTo>
                    <a:pt x="1298" y="976"/>
                    <a:pt x="1241" y="878"/>
                    <a:pt x="1195" y="8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8">
              <a:extLst>
                <a:ext uri="{FF2B5EF4-FFF2-40B4-BE49-F238E27FC236}">
                  <a16:creationId xmlns:a16="http://schemas.microsoft.com/office/drawing/2014/main" id="{0AD44C00-1F35-4C71-B65C-A540AED119A6}"/>
                </a:ext>
              </a:extLst>
            </p:cNvPr>
            <p:cNvSpPr>
              <a:spLocks noEditPoints="1"/>
            </p:cNvSpPr>
            <p:nvPr/>
          </p:nvSpPr>
          <p:spPr bwMode="auto">
            <a:xfrm>
              <a:off x="2849796" y="3523460"/>
              <a:ext cx="434188" cy="435261"/>
            </a:xfrm>
            <a:custGeom>
              <a:avLst/>
              <a:gdLst>
                <a:gd name="T0" fmla="*/ 2452 w 3366"/>
                <a:gd name="T1" fmla="*/ 2152 h 3367"/>
                <a:gd name="T2" fmla="*/ 2452 w 3366"/>
                <a:gd name="T3" fmla="*/ 2152 h 3367"/>
                <a:gd name="T4" fmla="*/ 2033 w 3366"/>
                <a:gd name="T5" fmla="*/ 2816 h 3367"/>
                <a:gd name="T6" fmla="*/ 1935 w 3366"/>
                <a:gd name="T7" fmla="*/ 2799 h 3367"/>
                <a:gd name="T8" fmla="*/ 1925 w 3366"/>
                <a:gd name="T9" fmla="*/ 2699 h 3367"/>
                <a:gd name="T10" fmla="*/ 1823 w 3366"/>
                <a:gd name="T11" fmla="*/ 2049 h 3367"/>
                <a:gd name="T12" fmla="*/ 1633 w 3366"/>
                <a:gd name="T13" fmla="*/ 1692 h 3367"/>
                <a:gd name="T14" fmla="*/ 1398 w 3366"/>
                <a:gd name="T15" fmla="*/ 2196 h 3367"/>
                <a:gd name="T16" fmla="*/ 1426 w 3366"/>
                <a:gd name="T17" fmla="*/ 2701 h 3367"/>
                <a:gd name="T18" fmla="*/ 1418 w 3366"/>
                <a:gd name="T19" fmla="*/ 2802 h 3367"/>
                <a:gd name="T20" fmla="*/ 1357 w 3366"/>
                <a:gd name="T21" fmla="*/ 2829 h 3367"/>
                <a:gd name="T22" fmla="*/ 1318 w 3366"/>
                <a:gd name="T23" fmla="*/ 2819 h 3367"/>
                <a:gd name="T24" fmla="*/ 975 w 3366"/>
                <a:gd name="T25" fmla="*/ 2448 h 3367"/>
                <a:gd name="T26" fmla="*/ 1133 w 3366"/>
                <a:gd name="T27" fmla="*/ 1504 h 3367"/>
                <a:gd name="T28" fmla="*/ 1476 w 3366"/>
                <a:gd name="T29" fmla="*/ 514 h 3367"/>
                <a:gd name="T30" fmla="*/ 1519 w 3366"/>
                <a:gd name="T31" fmla="*/ 435 h 3367"/>
                <a:gd name="T32" fmla="*/ 1609 w 3366"/>
                <a:gd name="T33" fmla="*/ 442 h 3367"/>
                <a:gd name="T34" fmla="*/ 1741 w 3366"/>
                <a:gd name="T35" fmla="*/ 577 h 3367"/>
                <a:gd name="T36" fmla="*/ 1947 w 3366"/>
                <a:gd name="T37" fmla="*/ 1208 h 3367"/>
                <a:gd name="T38" fmla="*/ 1978 w 3366"/>
                <a:gd name="T39" fmla="*/ 1475 h 3367"/>
                <a:gd name="T40" fmla="*/ 1989 w 3366"/>
                <a:gd name="T41" fmla="*/ 1498 h 3367"/>
                <a:gd name="T42" fmla="*/ 2003 w 3366"/>
                <a:gd name="T43" fmla="*/ 1322 h 3367"/>
                <a:gd name="T44" fmla="*/ 2049 w 3366"/>
                <a:gd name="T45" fmla="*/ 1242 h 3367"/>
                <a:gd name="T46" fmla="*/ 2140 w 3366"/>
                <a:gd name="T47" fmla="*/ 1254 h 3367"/>
                <a:gd name="T48" fmla="*/ 2385 w 3366"/>
                <a:gd name="T49" fmla="*/ 1681 h 3367"/>
                <a:gd name="T50" fmla="*/ 2452 w 3366"/>
                <a:gd name="T51" fmla="*/ 2152 h 3367"/>
                <a:gd name="T52" fmla="*/ 2452 w 3366"/>
                <a:gd name="T53" fmla="*/ 2152 h 3367"/>
                <a:gd name="T54" fmla="*/ 1683 w 3366"/>
                <a:gd name="T55" fmla="*/ 0 h 3367"/>
                <a:gd name="T56" fmla="*/ 1683 w 3366"/>
                <a:gd name="T57" fmla="*/ 0 h 3367"/>
                <a:gd name="T58" fmla="*/ 0 w 3366"/>
                <a:gd name="T59" fmla="*/ 1683 h 3367"/>
                <a:gd name="T60" fmla="*/ 1683 w 3366"/>
                <a:gd name="T61" fmla="*/ 3367 h 3367"/>
                <a:gd name="T62" fmla="*/ 3366 w 3366"/>
                <a:gd name="T63" fmla="*/ 1683 h 3367"/>
                <a:gd name="T64" fmla="*/ 1683 w 3366"/>
                <a:gd name="T65" fmla="*/ 0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6" h="3367">
                  <a:moveTo>
                    <a:pt x="2452" y="2152"/>
                  </a:moveTo>
                  <a:lnTo>
                    <a:pt x="2452" y="2152"/>
                  </a:lnTo>
                  <a:cubicBezTo>
                    <a:pt x="2429" y="2536"/>
                    <a:pt x="2211" y="2725"/>
                    <a:pt x="2033" y="2816"/>
                  </a:cubicBezTo>
                  <a:cubicBezTo>
                    <a:pt x="2000" y="2833"/>
                    <a:pt x="1960" y="2826"/>
                    <a:pt x="1935" y="2799"/>
                  </a:cubicBezTo>
                  <a:cubicBezTo>
                    <a:pt x="1909" y="2771"/>
                    <a:pt x="1905" y="2731"/>
                    <a:pt x="1925" y="2699"/>
                  </a:cubicBezTo>
                  <a:cubicBezTo>
                    <a:pt x="1976" y="2616"/>
                    <a:pt x="2068" y="2386"/>
                    <a:pt x="1823" y="2049"/>
                  </a:cubicBezTo>
                  <a:cubicBezTo>
                    <a:pt x="1730" y="1923"/>
                    <a:pt x="1670" y="1789"/>
                    <a:pt x="1633" y="1692"/>
                  </a:cubicBezTo>
                  <a:cubicBezTo>
                    <a:pt x="1582" y="1797"/>
                    <a:pt x="1501" y="1966"/>
                    <a:pt x="1398" y="2196"/>
                  </a:cubicBezTo>
                  <a:cubicBezTo>
                    <a:pt x="1297" y="2421"/>
                    <a:pt x="1358" y="2595"/>
                    <a:pt x="1426" y="2701"/>
                  </a:cubicBezTo>
                  <a:cubicBezTo>
                    <a:pt x="1447" y="2734"/>
                    <a:pt x="1444" y="2774"/>
                    <a:pt x="1418" y="2802"/>
                  </a:cubicBezTo>
                  <a:cubicBezTo>
                    <a:pt x="1401" y="2820"/>
                    <a:pt x="1379" y="2829"/>
                    <a:pt x="1357" y="2829"/>
                  </a:cubicBezTo>
                  <a:cubicBezTo>
                    <a:pt x="1344" y="2829"/>
                    <a:pt x="1330" y="2826"/>
                    <a:pt x="1318" y="2819"/>
                  </a:cubicBezTo>
                  <a:cubicBezTo>
                    <a:pt x="1169" y="2741"/>
                    <a:pt x="1054" y="2616"/>
                    <a:pt x="975" y="2448"/>
                  </a:cubicBezTo>
                  <a:cubicBezTo>
                    <a:pt x="926" y="2346"/>
                    <a:pt x="794" y="1976"/>
                    <a:pt x="1133" y="1504"/>
                  </a:cubicBezTo>
                  <a:cubicBezTo>
                    <a:pt x="1474" y="1040"/>
                    <a:pt x="1486" y="657"/>
                    <a:pt x="1476" y="514"/>
                  </a:cubicBezTo>
                  <a:cubicBezTo>
                    <a:pt x="1473" y="481"/>
                    <a:pt x="1491" y="450"/>
                    <a:pt x="1519" y="435"/>
                  </a:cubicBezTo>
                  <a:cubicBezTo>
                    <a:pt x="1548" y="419"/>
                    <a:pt x="1584" y="422"/>
                    <a:pt x="1609" y="442"/>
                  </a:cubicBezTo>
                  <a:cubicBezTo>
                    <a:pt x="1657" y="480"/>
                    <a:pt x="1702" y="525"/>
                    <a:pt x="1741" y="577"/>
                  </a:cubicBezTo>
                  <a:cubicBezTo>
                    <a:pt x="1874" y="750"/>
                    <a:pt x="1947" y="974"/>
                    <a:pt x="1947" y="1208"/>
                  </a:cubicBezTo>
                  <a:cubicBezTo>
                    <a:pt x="1947" y="1324"/>
                    <a:pt x="1958" y="1421"/>
                    <a:pt x="1978" y="1475"/>
                  </a:cubicBezTo>
                  <a:cubicBezTo>
                    <a:pt x="1982" y="1484"/>
                    <a:pt x="1985" y="1492"/>
                    <a:pt x="1989" y="1498"/>
                  </a:cubicBezTo>
                  <a:cubicBezTo>
                    <a:pt x="1999" y="1470"/>
                    <a:pt x="2009" y="1415"/>
                    <a:pt x="2003" y="1322"/>
                  </a:cubicBezTo>
                  <a:cubicBezTo>
                    <a:pt x="2001" y="1288"/>
                    <a:pt x="2019" y="1257"/>
                    <a:pt x="2049" y="1242"/>
                  </a:cubicBezTo>
                  <a:cubicBezTo>
                    <a:pt x="2079" y="1227"/>
                    <a:pt x="2115" y="1232"/>
                    <a:pt x="2140" y="1254"/>
                  </a:cubicBezTo>
                  <a:cubicBezTo>
                    <a:pt x="2209" y="1314"/>
                    <a:pt x="2306" y="1436"/>
                    <a:pt x="2385" y="1681"/>
                  </a:cubicBezTo>
                  <a:cubicBezTo>
                    <a:pt x="2454" y="1897"/>
                    <a:pt x="2460" y="2056"/>
                    <a:pt x="2452" y="2152"/>
                  </a:cubicBezTo>
                  <a:lnTo>
                    <a:pt x="2452" y="2152"/>
                  </a:lnTo>
                  <a:close/>
                  <a:moveTo>
                    <a:pt x="1683" y="0"/>
                  </a:moveTo>
                  <a:lnTo>
                    <a:pt x="1683" y="0"/>
                  </a:lnTo>
                  <a:cubicBezTo>
                    <a:pt x="749" y="0"/>
                    <a:pt x="0" y="749"/>
                    <a:pt x="0" y="1683"/>
                  </a:cubicBezTo>
                  <a:cubicBezTo>
                    <a:pt x="0" y="2610"/>
                    <a:pt x="749" y="3367"/>
                    <a:pt x="1683" y="3367"/>
                  </a:cubicBezTo>
                  <a:cubicBezTo>
                    <a:pt x="2610" y="3367"/>
                    <a:pt x="3366" y="2610"/>
                    <a:pt x="3366" y="1683"/>
                  </a:cubicBezTo>
                  <a:cubicBezTo>
                    <a:pt x="3366" y="749"/>
                    <a:pt x="2610" y="0"/>
                    <a:pt x="16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92" name="TextBox 191">
            <a:extLst>
              <a:ext uri="{FF2B5EF4-FFF2-40B4-BE49-F238E27FC236}">
                <a16:creationId xmlns:a16="http://schemas.microsoft.com/office/drawing/2014/main" id="{0F006FB2-C674-4EB9-A2F7-2A99BC883215}"/>
              </a:ext>
            </a:extLst>
          </p:cNvPr>
          <p:cNvSpPr txBox="1"/>
          <p:nvPr/>
        </p:nvSpPr>
        <p:spPr>
          <a:xfrm>
            <a:off x="4850259" y="293884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Natural Gas</a:t>
            </a:r>
          </a:p>
        </p:txBody>
      </p:sp>
    </p:spTree>
    <p:extLst>
      <p:ext uri="{BB962C8B-B14F-4D97-AF65-F5344CB8AC3E}">
        <p14:creationId xmlns:p14="http://schemas.microsoft.com/office/powerpoint/2010/main" val="2355143700"/>
      </p:ext>
    </p:extLst>
  </p:cSld>
  <p:clrMapOvr>
    <a:masterClrMapping/>
  </p:clrMapOvr>
  <p:transition>
    <p:fade/>
  </p:transition>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Gestures</a:t>
            </a:r>
          </a:p>
        </p:txBody>
      </p:sp>
      <p:sp>
        <p:nvSpPr>
          <p:cNvPr id="4" name="Title 3"/>
          <p:cNvSpPr>
            <a:spLocks noGrp="1"/>
          </p:cNvSpPr>
          <p:nvPr>
            <p:ph type="title"/>
          </p:nvPr>
        </p:nvSpPr>
        <p:spPr/>
        <p:txBody>
          <a:bodyPr/>
          <a:lstStyle/>
          <a:p>
            <a:r>
              <a:rPr lang="en-GB" dirty="0"/>
              <a:t>Iconography</a:t>
            </a:r>
          </a:p>
        </p:txBody>
      </p:sp>
      <p:sp>
        <p:nvSpPr>
          <p:cNvPr id="109" name="TextBox 108">
            <a:extLst>
              <a:ext uri="{FF2B5EF4-FFF2-40B4-BE49-F238E27FC236}">
                <a16:creationId xmlns:a16="http://schemas.microsoft.com/office/drawing/2014/main" id="{3A06A803-1E45-4F30-A125-F68A3C033E09}"/>
              </a:ext>
            </a:extLst>
          </p:cNvPr>
          <p:cNvSpPr txBox="1"/>
          <p:nvPr/>
        </p:nvSpPr>
        <p:spPr>
          <a:xfrm>
            <a:off x="454042" y="2121972"/>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ouch</a:t>
            </a:r>
          </a:p>
        </p:txBody>
      </p:sp>
      <p:sp>
        <p:nvSpPr>
          <p:cNvPr id="110" name="TextBox 109">
            <a:extLst>
              <a:ext uri="{FF2B5EF4-FFF2-40B4-BE49-F238E27FC236}">
                <a16:creationId xmlns:a16="http://schemas.microsoft.com/office/drawing/2014/main" id="{F591A0E0-80A6-4F39-8F2D-F9694260C86A}"/>
              </a:ext>
            </a:extLst>
          </p:cNvPr>
          <p:cNvSpPr txBox="1"/>
          <p:nvPr/>
        </p:nvSpPr>
        <p:spPr>
          <a:xfrm>
            <a:off x="1315655" y="2121973"/>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wo finger move</a:t>
            </a:r>
          </a:p>
        </p:txBody>
      </p:sp>
      <p:sp>
        <p:nvSpPr>
          <p:cNvPr id="111" name="TextBox 110">
            <a:extLst>
              <a:ext uri="{FF2B5EF4-FFF2-40B4-BE49-F238E27FC236}">
                <a16:creationId xmlns:a16="http://schemas.microsoft.com/office/drawing/2014/main" id="{06904484-2F73-47CD-AA19-920E221DB9EC}"/>
              </a:ext>
            </a:extLst>
          </p:cNvPr>
          <p:cNvSpPr txBox="1"/>
          <p:nvPr/>
        </p:nvSpPr>
        <p:spPr>
          <a:xfrm>
            <a:off x="2192085" y="2121973"/>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wo finger swipe left</a:t>
            </a:r>
          </a:p>
        </p:txBody>
      </p:sp>
      <p:sp>
        <p:nvSpPr>
          <p:cNvPr id="112" name="TextBox 111">
            <a:extLst>
              <a:ext uri="{FF2B5EF4-FFF2-40B4-BE49-F238E27FC236}">
                <a16:creationId xmlns:a16="http://schemas.microsoft.com/office/drawing/2014/main" id="{A8BA4C29-0274-4443-A906-11C0AC64EE4B}"/>
              </a:ext>
            </a:extLst>
          </p:cNvPr>
          <p:cNvSpPr txBox="1"/>
          <p:nvPr/>
        </p:nvSpPr>
        <p:spPr>
          <a:xfrm>
            <a:off x="3938595" y="21219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wo finger tap</a:t>
            </a:r>
          </a:p>
        </p:txBody>
      </p:sp>
      <p:sp>
        <p:nvSpPr>
          <p:cNvPr id="113" name="TextBox 112">
            <a:extLst>
              <a:ext uri="{FF2B5EF4-FFF2-40B4-BE49-F238E27FC236}">
                <a16:creationId xmlns:a16="http://schemas.microsoft.com/office/drawing/2014/main" id="{DE18C902-7AD4-48AA-BCB1-8BB83DF01F68}"/>
              </a:ext>
            </a:extLst>
          </p:cNvPr>
          <p:cNvSpPr txBox="1"/>
          <p:nvPr/>
        </p:nvSpPr>
        <p:spPr>
          <a:xfrm>
            <a:off x="4811850" y="212197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Zoom in</a:t>
            </a:r>
          </a:p>
        </p:txBody>
      </p:sp>
      <p:sp>
        <p:nvSpPr>
          <p:cNvPr id="114" name="TextBox 113">
            <a:extLst>
              <a:ext uri="{FF2B5EF4-FFF2-40B4-BE49-F238E27FC236}">
                <a16:creationId xmlns:a16="http://schemas.microsoft.com/office/drawing/2014/main" id="{1E3FC0DC-EAAE-43BC-9F27-65480428128D}"/>
              </a:ext>
            </a:extLst>
          </p:cNvPr>
          <p:cNvSpPr txBox="1"/>
          <p:nvPr/>
        </p:nvSpPr>
        <p:spPr>
          <a:xfrm>
            <a:off x="3065340" y="2121973"/>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wo finger swipe right</a:t>
            </a:r>
          </a:p>
        </p:txBody>
      </p:sp>
      <p:sp>
        <p:nvSpPr>
          <p:cNvPr id="115" name="TextBox 114">
            <a:extLst>
              <a:ext uri="{FF2B5EF4-FFF2-40B4-BE49-F238E27FC236}">
                <a16:creationId xmlns:a16="http://schemas.microsoft.com/office/drawing/2014/main" id="{4F9893F9-24CD-40A2-B1E6-119D23071C49}"/>
              </a:ext>
            </a:extLst>
          </p:cNvPr>
          <p:cNvSpPr txBox="1"/>
          <p:nvPr/>
        </p:nvSpPr>
        <p:spPr>
          <a:xfrm>
            <a:off x="5685105" y="212197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Zoom out</a:t>
            </a:r>
          </a:p>
        </p:txBody>
      </p:sp>
      <p:sp>
        <p:nvSpPr>
          <p:cNvPr id="116" name="TextBox 115">
            <a:extLst>
              <a:ext uri="{FF2B5EF4-FFF2-40B4-BE49-F238E27FC236}">
                <a16:creationId xmlns:a16="http://schemas.microsoft.com/office/drawing/2014/main" id="{CBB77DE0-DB5A-4B80-BCE7-A7F38475D4EE}"/>
              </a:ext>
            </a:extLst>
          </p:cNvPr>
          <p:cNvSpPr txBox="1"/>
          <p:nvPr/>
        </p:nvSpPr>
        <p:spPr>
          <a:xfrm>
            <a:off x="6558360" y="2074411"/>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 grab</a:t>
            </a:r>
          </a:p>
        </p:txBody>
      </p:sp>
      <p:sp>
        <p:nvSpPr>
          <p:cNvPr id="117" name="TextBox 116">
            <a:extLst>
              <a:ext uri="{FF2B5EF4-FFF2-40B4-BE49-F238E27FC236}">
                <a16:creationId xmlns:a16="http://schemas.microsoft.com/office/drawing/2014/main" id="{D41A0EE7-C604-4AF2-BE40-98074990BE67}"/>
              </a:ext>
            </a:extLst>
          </p:cNvPr>
          <p:cNvSpPr txBox="1"/>
          <p:nvPr/>
        </p:nvSpPr>
        <p:spPr>
          <a:xfrm>
            <a:off x="7419973" y="2074412"/>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 pointing down</a:t>
            </a:r>
          </a:p>
        </p:txBody>
      </p:sp>
      <p:sp>
        <p:nvSpPr>
          <p:cNvPr id="118" name="TextBox 117">
            <a:extLst>
              <a:ext uri="{FF2B5EF4-FFF2-40B4-BE49-F238E27FC236}">
                <a16:creationId xmlns:a16="http://schemas.microsoft.com/office/drawing/2014/main" id="{0A02AB74-2EB8-4EA1-B528-8F5F8AC7522E}"/>
              </a:ext>
            </a:extLst>
          </p:cNvPr>
          <p:cNvSpPr txBox="1"/>
          <p:nvPr/>
        </p:nvSpPr>
        <p:spPr>
          <a:xfrm>
            <a:off x="8296403" y="2074412"/>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 pointing left</a:t>
            </a:r>
          </a:p>
        </p:txBody>
      </p:sp>
      <p:sp>
        <p:nvSpPr>
          <p:cNvPr id="119" name="TextBox 118">
            <a:extLst>
              <a:ext uri="{FF2B5EF4-FFF2-40B4-BE49-F238E27FC236}">
                <a16:creationId xmlns:a16="http://schemas.microsoft.com/office/drawing/2014/main" id="{7D21DC7F-35ED-4362-8163-5A2E264CB956}"/>
              </a:ext>
            </a:extLst>
          </p:cNvPr>
          <p:cNvSpPr txBox="1"/>
          <p:nvPr/>
        </p:nvSpPr>
        <p:spPr>
          <a:xfrm>
            <a:off x="10042913" y="2074412"/>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 pointing up</a:t>
            </a:r>
          </a:p>
        </p:txBody>
      </p:sp>
      <p:sp>
        <p:nvSpPr>
          <p:cNvPr id="120" name="TextBox 119">
            <a:extLst>
              <a:ext uri="{FF2B5EF4-FFF2-40B4-BE49-F238E27FC236}">
                <a16:creationId xmlns:a16="http://schemas.microsoft.com/office/drawing/2014/main" id="{C64B3EB8-8C5D-4197-BF86-5736F7442B0C}"/>
              </a:ext>
            </a:extLst>
          </p:cNvPr>
          <p:cNvSpPr txBox="1"/>
          <p:nvPr/>
        </p:nvSpPr>
        <p:spPr>
          <a:xfrm>
            <a:off x="9169658" y="2074412"/>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nd pointing right</a:t>
            </a:r>
          </a:p>
        </p:txBody>
      </p:sp>
      <p:sp>
        <p:nvSpPr>
          <p:cNvPr id="121" name="TextBox 120">
            <a:extLst>
              <a:ext uri="{FF2B5EF4-FFF2-40B4-BE49-F238E27FC236}">
                <a16:creationId xmlns:a16="http://schemas.microsoft.com/office/drawing/2014/main" id="{166AEF3A-2EF9-492D-8ECC-B593913A1A8E}"/>
              </a:ext>
            </a:extLst>
          </p:cNvPr>
          <p:cNvSpPr txBox="1"/>
          <p:nvPr/>
        </p:nvSpPr>
        <p:spPr>
          <a:xfrm>
            <a:off x="10916169" y="211138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uble tap</a:t>
            </a:r>
          </a:p>
        </p:txBody>
      </p:sp>
      <p:sp>
        <p:nvSpPr>
          <p:cNvPr id="122" name="TextBox 121">
            <a:extLst>
              <a:ext uri="{FF2B5EF4-FFF2-40B4-BE49-F238E27FC236}">
                <a16:creationId xmlns:a16="http://schemas.microsoft.com/office/drawing/2014/main" id="{A0F85989-3A7B-40D6-989E-741D6063FF3F}"/>
              </a:ext>
            </a:extLst>
          </p:cNvPr>
          <p:cNvSpPr txBox="1"/>
          <p:nvPr/>
        </p:nvSpPr>
        <p:spPr>
          <a:xfrm>
            <a:off x="435387" y="29511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old</a:t>
            </a:r>
          </a:p>
        </p:txBody>
      </p:sp>
      <p:sp>
        <p:nvSpPr>
          <p:cNvPr id="123" name="TextBox 122">
            <a:extLst>
              <a:ext uri="{FF2B5EF4-FFF2-40B4-BE49-F238E27FC236}">
                <a16:creationId xmlns:a16="http://schemas.microsoft.com/office/drawing/2014/main" id="{250A5996-2742-4D49-88A6-6FE1A9C4CD75}"/>
              </a:ext>
            </a:extLst>
          </p:cNvPr>
          <p:cNvSpPr txBox="1"/>
          <p:nvPr/>
        </p:nvSpPr>
        <p:spPr>
          <a:xfrm>
            <a:off x="1312398" y="2951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ve</a:t>
            </a:r>
          </a:p>
        </p:txBody>
      </p:sp>
      <p:sp>
        <p:nvSpPr>
          <p:cNvPr id="124" name="TextBox 123">
            <a:extLst>
              <a:ext uri="{FF2B5EF4-FFF2-40B4-BE49-F238E27FC236}">
                <a16:creationId xmlns:a16="http://schemas.microsoft.com/office/drawing/2014/main" id="{CD5E5D11-5F24-42B9-A38E-6F468859A997}"/>
              </a:ext>
            </a:extLst>
          </p:cNvPr>
          <p:cNvSpPr txBox="1"/>
          <p:nvPr/>
        </p:nvSpPr>
        <p:spPr>
          <a:xfrm>
            <a:off x="3060070" y="2951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tate</a:t>
            </a:r>
          </a:p>
        </p:txBody>
      </p:sp>
      <p:sp>
        <p:nvSpPr>
          <p:cNvPr id="125" name="TextBox 124">
            <a:extLst>
              <a:ext uri="{FF2B5EF4-FFF2-40B4-BE49-F238E27FC236}">
                <a16:creationId xmlns:a16="http://schemas.microsoft.com/office/drawing/2014/main" id="{F13EAFF3-0E0A-4C32-83BD-43C4ACC79791}"/>
              </a:ext>
            </a:extLst>
          </p:cNvPr>
          <p:cNvSpPr txBox="1"/>
          <p:nvPr/>
        </p:nvSpPr>
        <p:spPr>
          <a:xfrm>
            <a:off x="3933906" y="2951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wipe left</a:t>
            </a:r>
          </a:p>
        </p:txBody>
      </p:sp>
      <p:sp>
        <p:nvSpPr>
          <p:cNvPr id="126" name="TextBox 125">
            <a:extLst>
              <a:ext uri="{FF2B5EF4-FFF2-40B4-BE49-F238E27FC236}">
                <a16:creationId xmlns:a16="http://schemas.microsoft.com/office/drawing/2014/main" id="{EF27F3FE-DF72-4F88-A17F-94F75917F567}"/>
              </a:ext>
            </a:extLst>
          </p:cNvPr>
          <p:cNvSpPr txBox="1"/>
          <p:nvPr/>
        </p:nvSpPr>
        <p:spPr>
          <a:xfrm>
            <a:off x="2186234" y="2951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nch</a:t>
            </a:r>
          </a:p>
        </p:txBody>
      </p:sp>
      <p:sp>
        <p:nvSpPr>
          <p:cNvPr id="127" name="TextBox 126">
            <a:extLst>
              <a:ext uri="{FF2B5EF4-FFF2-40B4-BE49-F238E27FC236}">
                <a16:creationId xmlns:a16="http://schemas.microsoft.com/office/drawing/2014/main" id="{C43B6B6D-B4DA-4C0F-986F-6F7CA85CD197}"/>
              </a:ext>
            </a:extLst>
          </p:cNvPr>
          <p:cNvSpPr txBox="1"/>
          <p:nvPr/>
        </p:nvSpPr>
        <p:spPr>
          <a:xfrm>
            <a:off x="4807742" y="2951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wipe</a:t>
            </a:r>
          </a:p>
        </p:txBody>
      </p:sp>
      <p:sp>
        <p:nvSpPr>
          <p:cNvPr id="128" name="TextBox 127">
            <a:extLst>
              <a:ext uri="{FF2B5EF4-FFF2-40B4-BE49-F238E27FC236}">
                <a16:creationId xmlns:a16="http://schemas.microsoft.com/office/drawing/2014/main" id="{6F605C02-1A06-4BCD-A136-3A91142948BA}"/>
              </a:ext>
            </a:extLst>
          </p:cNvPr>
          <p:cNvSpPr txBox="1"/>
          <p:nvPr/>
        </p:nvSpPr>
        <p:spPr>
          <a:xfrm>
            <a:off x="5681577" y="29582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ap</a:t>
            </a:r>
          </a:p>
        </p:txBody>
      </p:sp>
      <p:sp>
        <p:nvSpPr>
          <p:cNvPr id="129" name="Freeform 255">
            <a:extLst>
              <a:ext uri="{FF2B5EF4-FFF2-40B4-BE49-F238E27FC236}">
                <a16:creationId xmlns:a16="http://schemas.microsoft.com/office/drawing/2014/main" id="{AAA77345-743F-4B68-A841-AB627FFDA21B}"/>
              </a:ext>
            </a:extLst>
          </p:cNvPr>
          <p:cNvSpPr>
            <a:spLocks noChangeAspect="1" noEditPoints="1"/>
          </p:cNvSpPr>
          <p:nvPr/>
        </p:nvSpPr>
        <p:spPr bwMode="auto">
          <a:xfrm>
            <a:off x="485942" y="1696520"/>
            <a:ext cx="367041" cy="367041"/>
          </a:xfrm>
          <a:custGeom>
            <a:avLst/>
            <a:gdLst>
              <a:gd name="T0" fmla="*/ 0 w 512"/>
              <a:gd name="T1" fmla="*/ 256 h 512"/>
              <a:gd name="T2" fmla="*/ 512 w 512"/>
              <a:gd name="T3" fmla="*/ 256 h 512"/>
              <a:gd name="T4" fmla="*/ 298 w 512"/>
              <a:gd name="T5" fmla="*/ 181 h 512"/>
              <a:gd name="T6" fmla="*/ 266 w 512"/>
              <a:gd name="T7" fmla="*/ 192 h 512"/>
              <a:gd name="T8" fmla="*/ 266 w 512"/>
              <a:gd name="T9" fmla="*/ 170 h 512"/>
              <a:gd name="T10" fmla="*/ 298 w 512"/>
              <a:gd name="T11" fmla="*/ 181 h 512"/>
              <a:gd name="T12" fmla="*/ 259 w 512"/>
              <a:gd name="T13" fmla="*/ 120 h 512"/>
              <a:gd name="T14" fmla="*/ 274 w 512"/>
              <a:gd name="T15" fmla="*/ 135 h 512"/>
              <a:gd name="T16" fmla="*/ 245 w 512"/>
              <a:gd name="T17" fmla="*/ 160 h 512"/>
              <a:gd name="T18" fmla="*/ 237 w 512"/>
              <a:gd name="T19" fmla="*/ 141 h 512"/>
              <a:gd name="T20" fmla="*/ 213 w 512"/>
              <a:gd name="T21" fmla="*/ 96 h 512"/>
              <a:gd name="T22" fmla="*/ 224 w 512"/>
              <a:gd name="T23" fmla="*/ 138 h 512"/>
              <a:gd name="T24" fmla="*/ 202 w 512"/>
              <a:gd name="T25" fmla="*/ 138 h 512"/>
              <a:gd name="T26" fmla="*/ 152 w 512"/>
              <a:gd name="T27" fmla="*/ 120 h 512"/>
              <a:gd name="T28" fmla="*/ 189 w 512"/>
              <a:gd name="T29" fmla="*/ 141 h 512"/>
              <a:gd name="T30" fmla="*/ 181 w 512"/>
              <a:gd name="T31" fmla="*/ 160 h 512"/>
              <a:gd name="T32" fmla="*/ 152 w 512"/>
              <a:gd name="T33" fmla="*/ 135 h 512"/>
              <a:gd name="T34" fmla="*/ 138 w 512"/>
              <a:gd name="T35" fmla="*/ 170 h 512"/>
              <a:gd name="T36" fmla="*/ 170 w 512"/>
              <a:gd name="T37" fmla="*/ 181 h 512"/>
              <a:gd name="T38" fmla="*/ 138 w 512"/>
              <a:gd name="T39" fmla="*/ 192 h 512"/>
              <a:gd name="T40" fmla="*/ 138 w 512"/>
              <a:gd name="T41" fmla="*/ 170 h 512"/>
              <a:gd name="T42" fmla="*/ 341 w 512"/>
              <a:gd name="T43" fmla="*/ 416 h 512"/>
              <a:gd name="T44" fmla="*/ 333 w 512"/>
              <a:gd name="T45" fmla="*/ 398 h 512"/>
              <a:gd name="T46" fmla="*/ 351 w 512"/>
              <a:gd name="T47" fmla="*/ 288 h 512"/>
              <a:gd name="T48" fmla="*/ 330 w 512"/>
              <a:gd name="T49" fmla="*/ 286 h 512"/>
              <a:gd name="T50" fmla="*/ 320 w 512"/>
              <a:gd name="T51" fmla="*/ 298 h 512"/>
              <a:gd name="T52" fmla="*/ 320 w 512"/>
              <a:gd name="T53" fmla="*/ 298 h 512"/>
              <a:gd name="T54" fmla="*/ 309 w 512"/>
              <a:gd name="T55" fmla="*/ 277 h 512"/>
              <a:gd name="T56" fmla="*/ 288 w 512"/>
              <a:gd name="T57" fmla="*/ 277 h 512"/>
              <a:gd name="T58" fmla="*/ 277 w 512"/>
              <a:gd name="T59" fmla="*/ 298 h 512"/>
              <a:gd name="T60" fmla="*/ 266 w 512"/>
              <a:gd name="T61" fmla="*/ 256 h 512"/>
              <a:gd name="T62" fmla="*/ 245 w 512"/>
              <a:gd name="T63" fmla="*/ 256 h 512"/>
              <a:gd name="T64" fmla="*/ 234 w 512"/>
              <a:gd name="T65" fmla="*/ 298 h 512"/>
              <a:gd name="T66" fmla="*/ 224 w 512"/>
              <a:gd name="T67" fmla="*/ 202 h 512"/>
              <a:gd name="T68" fmla="*/ 202 w 512"/>
              <a:gd name="T69" fmla="*/ 202 h 512"/>
              <a:gd name="T70" fmla="*/ 196 w 512"/>
              <a:gd name="T71" fmla="*/ 340 h 512"/>
              <a:gd name="T72" fmla="*/ 152 w 512"/>
              <a:gd name="T73" fmla="*/ 281 h 512"/>
              <a:gd name="T74" fmla="*/ 138 w 512"/>
              <a:gd name="T75" fmla="*/ 277 h 512"/>
              <a:gd name="T76" fmla="*/ 138 w 512"/>
              <a:gd name="T77" fmla="*/ 295 h 512"/>
              <a:gd name="T78" fmla="*/ 211 w 512"/>
              <a:gd name="T79" fmla="*/ 411 h 512"/>
              <a:gd name="T80" fmla="*/ 197 w 512"/>
              <a:gd name="T81" fmla="*/ 414 h 512"/>
              <a:gd name="T82" fmla="*/ 129 w 512"/>
              <a:gd name="T83" fmla="*/ 258 h 512"/>
              <a:gd name="T84" fmla="*/ 172 w 512"/>
              <a:gd name="T85" fmla="*/ 272 h 512"/>
              <a:gd name="T86" fmla="*/ 181 w 512"/>
              <a:gd name="T87" fmla="*/ 202 h 512"/>
              <a:gd name="T88" fmla="*/ 245 w 512"/>
              <a:gd name="T89" fmla="*/ 202 h 512"/>
              <a:gd name="T90" fmla="*/ 256 w 512"/>
              <a:gd name="T91" fmla="*/ 224 h 512"/>
              <a:gd name="T92" fmla="*/ 298 w 512"/>
              <a:gd name="T93" fmla="*/ 245 h 512"/>
              <a:gd name="T94" fmla="*/ 341 w 512"/>
              <a:gd name="T95" fmla="*/ 256 h 512"/>
              <a:gd name="T96" fmla="*/ 373 w 512"/>
              <a:gd name="T9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181"/>
                </a:moveTo>
                <a:cubicBezTo>
                  <a:pt x="298" y="187"/>
                  <a:pt x="294" y="192"/>
                  <a:pt x="288" y="192"/>
                </a:cubicBezTo>
                <a:cubicBezTo>
                  <a:pt x="266" y="192"/>
                  <a:pt x="266" y="192"/>
                  <a:pt x="266" y="192"/>
                </a:cubicBezTo>
                <a:cubicBezTo>
                  <a:pt x="260" y="192"/>
                  <a:pt x="256" y="187"/>
                  <a:pt x="256" y="181"/>
                </a:cubicBezTo>
                <a:cubicBezTo>
                  <a:pt x="256" y="175"/>
                  <a:pt x="260" y="170"/>
                  <a:pt x="266" y="170"/>
                </a:cubicBezTo>
                <a:cubicBezTo>
                  <a:pt x="288" y="170"/>
                  <a:pt x="288" y="170"/>
                  <a:pt x="288" y="170"/>
                </a:cubicBezTo>
                <a:cubicBezTo>
                  <a:pt x="294" y="170"/>
                  <a:pt x="298" y="175"/>
                  <a:pt x="298" y="181"/>
                </a:cubicBezTo>
                <a:close/>
                <a:moveTo>
                  <a:pt x="237" y="141"/>
                </a:moveTo>
                <a:cubicBezTo>
                  <a:pt x="259" y="120"/>
                  <a:pt x="259" y="120"/>
                  <a:pt x="259" y="120"/>
                </a:cubicBezTo>
                <a:cubicBezTo>
                  <a:pt x="263" y="116"/>
                  <a:pt x="270" y="116"/>
                  <a:pt x="274" y="120"/>
                </a:cubicBezTo>
                <a:cubicBezTo>
                  <a:pt x="278" y="124"/>
                  <a:pt x="278" y="131"/>
                  <a:pt x="274" y="135"/>
                </a:cubicBezTo>
                <a:cubicBezTo>
                  <a:pt x="253" y="157"/>
                  <a:pt x="253" y="157"/>
                  <a:pt x="253" y="157"/>
                </a:cubicBezTo>
                <a:cubicBezTo>
                  <a:pt x="250" y="159"/>
                  <a:pt x="248" y="160"/>
                  <a:pt x="245" y="160"/>
                </a:cubicBezTo>
                <a:cubicBezTo>
                  <a:pt x="242" y="160"/>
                  <a:pt x="240" y="159"/>
                  <a:pt x="237" y="157"/>
                </a:cubicBezTo>
                <a:cubicBezTo>
                  <a:pt x="233" y="152"/>
                  <a:pt x="233" y="146"/>
                  <a:pt x="237" y="141"/>
                </a:cubicBezTo>
                <a:close/>
                <a:moveTo>
                  <a:pt x="202" y="106"/>
                </a:moveTo>
                <a:cubicBezTo>
                  <a:pt x="202" y="100"/>
                  <a:pt x="207" y="96"/>
                  <a:pt x="213" y="96"/>
                </a:cubicBezTo>
                <a:cubicBezTo>
                  <a:pt x="219" y="96"/>
                  <a:pt x="224" y="100"/>
                  <a:pt x="224" y="106"/>
                </a:cubicBezTo>
                <a:cubicBezTo>
                  <a:pt x="224" y="138"/>
                  <a:pt x="224" y="138"/>
                  <a:pt x="224" y="138"/>
                </a:cubicBezTo>
                <a:cubicBezTo>
                  <a:pt x="224" y="144"/>
                  <a:pt x="219" y="149"/>
                  <a:pt x="213" y="149"/>
                </a:cubicBezTo>
                <a:cubicBezTo>
                  <a:pt x="207" y="149"/>
                  <a:pt x="202" y="144"/>
                  <a:pt x="202" y="138"/>
                </a:cubicBezTo>
                <a:lnTo>
                  <a:pt x="202" y="106"/>
                </a:lnTo>
                <a:close/>
                <a:moveTo>
                  <a:pt x="152" y="120"/>
                </a:moveTo>
                <a:cubicBezTo>
                  <a:pt x="156" y="116"/>
                  <a:pt x="163" y="116"/>
                  <a:pt x="167" y="120"/>
                </a:cubicBezTo>
                <a:cubicBezTo>
                  <a:pt x="189" y="141"/>
                  <a:pt x="189" y="141"/>
                  <a:pt x="189" y="141"/>
                </a:cubicBezTo>
                <a:cubicBezTo>
                  <a:pt x="193" y="146"/>
                  <a:pt x="193" y="152"/>
                  <a:pt x="189" y="157"/>
                </a:cubicBezTo>
                <a:cubicBezTo>
                  <a:pt x="186" y="159"/>
                  <a:pt x="184" y="160"/>
                  <a:pt x="181" y="160"/>
                </a:cubicBezTo>
                <a:cubicBezTo>
                  <a:pt x="178" y="160"/>
                  <a:pt x="176" y="159"/>
                  <a:pt x="173" y="157"/>
                </a:cubicBezTo>
                <a:cubicBezTo>
                  <a:pt x="152" y="135"/>
                  <a:pt x="152" y="135"/>
                  <a:pt x="152" y="135"/>
                </a:cubicBezTo>
                <a:cubicBezTo>
                  <a:pt x="148" y="131"/>
                  <a:pt x="148" y="124"/>
                  <a:pt x="152" y="120"/>
                </a:cubicBezTo>
                <a:close/>
                <a:moveTo>
                  <a:pt x="138" y="170"/>
                </a:moveTo>
                <a:cubicBezTo>
                  <a:pt x="160" y="170"/>
                  <a:pt x="160" y="170"/>
                  <a:pt x="160" y="170"/>
                </a:cubicBezTo>
                <a:cubicBezTo>
                  <a:pt x="166" y="170"/>
                  <a:pt x="170" y="175"/>
                  <a:pt x="170" y="181"/>
                </a:cubicBezTo>
                <a:cubicBezTo>
                  <a:pt x="170" y="187"/>
                  <a:pt x="166" y="192"/>
                  <a:pt x="160" y="192"/>
                </a:cubicBezTo>
                <a:cubicBezTo>
                  <a:pt x="138" y="192"/>
                  <a:pt x="138" y="192"/>
                  <a:pt x="138" y="192"/>
                </a:cubicBezTo>
                <a:cubicBezTo>
                  <a:pt x="132" y="192"/>
                  <a:pt x="128" y="187"/>
                  <a:pt x="128" y="181"/>
                </a:cubicBezTo>
                <a:cubicBezTo>
                  <a:pt x="128" y="175"/>
                  <a:pt x="132" y="170"/>
                  <a:pt x="138" y="170"/>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0" name="Group 8">
            <a:extLst>
              <a:ext uri="{FF2B5EF4-FFF2-40B4-BE49-F238E27FC236}">
                <a16:creationId xmlns:a16="http://schemas.microsoft.com/office/drawing/2014/main" id="{399DE79B-5883-4EE7-AD77-40B3CCC74FF1}"/>
              </a:ext>
            </a:extLst>
          </p:cNvPr>
          <p:cNvGrpSpPr>
            <a:grpSpLocks noChangeAspect="1"/>
          </p:cNvGrpSpPr>
          <p:nvPr/>
        </p:nvGrpSpPr>
        <p:grpSpPr bwMode="auto">
          <a:xfrm>
            <a:off x="920752" y="1696520"/>
            <a:ext cx="367041" cy="367041"/>
            <a:chOff x="1346" y="303"/>
            <a:chExt cx="340" cy="340"/>
          </a:xfrm>
          <a:solidFill>
            <a:schemeClr val="accent1"/>
          </a:solidFill>
        </p:grpSpPr>
        <p:sp>
          <p:nvSpPr>
            <p:cNvPr id="131" name="Freeform 9">
              <a:extLst>
                <a:ext uri="{FF2B5EF4-FFF2-40B4-BE49-F238E27FC236}">
                  <a16:creationId xmlns:a16="http://schemas.microsoft.com/office/drawing/2014/main" id="{F0BA5F4C-5945-4382-A256-AC623AC63D91}"/>
                </a:ext>
              </a:extLst>
            </p:cNvPr>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10">
              <a:extLst>
                <a:ext uri="{FF2B5EF4-FFF2-40B4-BE49-F238E27FC236}">
                  <a16:creationId xmlns:a16="http://schemas.microsoft.com/office/drawing/2014/main" id="{C87EDCFC-E335-4758-95A5-D28B75A2E13B}"/>
                </a:ext>
              </a:extLst>
            </p:cNvPr>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3" name="Freeform 14">
            <a:extLst>
              <a:ext uri="{FF2B5EF4-FFF2-40B4-BE49-F238E27FC236}">
                <a16:creationId xmlns:a16="http://schemas.microsoft.com/office/drawing/2014/main" id="{C1D8CF10-236E-4FB2-BDAD-161580F32CAD}"/>
              </a:ext>
            </a:extLst>
          </p:cNvPr>
          <p:cNvSpPr>
            <a:spLocks noChangeAspect="1" noEditPoints="1"/>
          </p:cNvSpPr>
          <p:nvPr/>
        </p:nvSpPr>
        <p:spPr bwMode="auto">
          <a:xfrm>
            <a:off x="1355562" y="1696520"/>
            <a:ext cx="367041" cy="367041"/>
          </a:xfrm>
          <a:custGeom>
            <a:avLst/>
            <a:gdLst>
              <a:gd name="T0" fmla="*/ 0 w 512"/>
              <a:gd name="T1" fmla="*/ 256 h 512"/>
              <a:gd name="T2" fmla="*/ 512 w 512"/>
              <a:gd name="T3" fmla="*/ 256 h 512"/>
              <a:gd name="T4" fmla="*/ 328 w 512"/>
              <a:gd name="T5" fmla="*/ 412 h 512"/>
              <a:gd name="T6" fmla="*/ 313 w 512"/>
              <a:gd name="T7" fmla="*/ 413 h 512"/>
              <a:gd name="T8" fmla="*/ 330 w 512"/>
              <a:gd name="T9" fmla="*/ 331 h 512"/>
              <a:gd name="T10" fmla="*/ 319 w 512"/>
              <a:gd name="T11" fmla="*/ 277 h 512"/>
              <a:gd name="T12" fmla="*/ 309 w 512"/>
              <a:gd name="T13" fmla="*/ 288 h 512"/>
              <a:gd name="T14" fmla="*/ 298 w 512"/>
              <a:gd name="T15" fmla="*/ 298 h 512"/>
              <a:gd name="T16" fmla="*/ 288 w 512"/>
              <a:gd name="T17" fmla="*/ 288 h 512"/>
              <a:gd name="T18" fmla="*/ 277 w 512"/>
              <a:gd name="T19" fmla="*/ 266 h 512"/>
              <a:gd name="T20" fmla="*/ 266 w 512"/>
              <a:gd name="T21" fmla="*/ 288 h 512"/>
              <a:gd name="T22" fmla="*/ 245 w 512"/>
              <a:gd name="T23" fmla="*/ 288 h 512"/>
              <a:gd name="T24" fmla="*/ 234 w 512"/>
              <a:gd name="T25" fmla="*/ 181 h 512"/>
              <a:gd name="T26" fmla="*/ 224 w 512"/>
              <a:gd name="T27" fmla="*/ 202 h 512"/>
              <a:gd name="T28" fmla="*/ 224 w 512"/>
              <a:gd name="T29" fmla="*/ 288 h 512"/>
              <a:gd name="T30" fmla="*/ 202 w 512"/>
              <a:gd name="T31" fmla="*/ 288 h 512"/>
              <a:gd name="T32" fmla="*/ 202 w 512"/>
              <a:gd name="T33" fmla="*/ 202 h 512"/>
              <a:gd name="T34" fmla="*/ 181 w 512"/>
              <a:gd name="T35" fmla="*/ 202 h 512"/>
              <a:gd name="T36" fmla="*/ 175 w 512"/>
              <a:gd name="T37" fmla="*/ 340 h 512"/>
              <a:gd name="T38" fmla="*/ 131 w 512"/>
              <a:gd name="T39" fmla="*/ 281 h 512"/>
              <a:gd name="T40" fmla="*/ 117 w 512"/>
              <a:gd name="T41" fmla="*/ 277 h 512"/>
              <a:gd name="T42" fmla="*/ 116 w 512"/>
              <a:gd name="T43" fmla="*/ 295 h 512"/>
              <a:gd name="T44" fmla="*/ 190 w 512"/>
              <a:gd name="T45" fmla="*/ 411 h 512"/>
              <a:gd name="T46" fmla="*/ 175 w 512"/>
              <a:gd name="T47" fmla="*/ 414 h 512"/>
              <a:gd name="T48" fmla="*/ 107 w 512"/>
              <a:gd name="T49" fmla="*/ 258 h 512"/>
              <a:gd name="T50" fmla="*/ 150 w 512"/>
              <a:gd name="T51" fmla="*/ 272 h 512"/>
              <a:gd name="T52" fmla="*/ 160 w 512"/>
              <a:gd name="T53" fmla="*/ 202 h 512"/>
              <a:gd name="T54" fmla="*/ 207 w 512"/>
              <a:gd name="T55" fmla="*/ 175 h 512"/>
              <a:gd name="T56" fmla="*/ 266 w 512"/>
              <a:gd name="T57" fmla="*/ 192 h 512"/>
              <a:gd name="T58" fmla="*/ 277 w 512"/>
              <a:gd name="T59" fmla="*/ 245 h 512"/>
              <a:gd name="T60" fmla="*/ 320 w 512"/>
              <a:gd name="T61" fmla="*/ 256 h 512"/>
              <a:gd name="T62" fmla="*/ 352 w 512"/>
              <a:gd name="T63" fmla="*/ 330 h 512"/>
              <a:gd name="T64" fmla="*/ 415 w 512"/>
              <a:gd name="T65" fmla="*/ 174 h 512"/>
              <a:gd name="T66" fmla="*/ 391 w 512"/>
              <a:gd name="T67" fmla="*/ 199 h 512"/>
              <a:gd name="T68" fmla="*/ 376 w 512"/>
              <a:gd name="T69" fmla="*/ 199 h 512"/>
              <a:gd name="T70" fmla="*/ 379 w 512"/>
              <a:gd name="T71" fmla="*/ 181 h 512"/>
              <a:gd name="T72" fmla="*/ 352 w 512"/>
              <a:gd name="T73" fmla="*/ 209 h 512"/>
              <a:gd name="T74" fmla="*/ 370 w 512"/>
              <a:gd name="T75" fmla="*/ 205 h 512"/>
              <a:gd name="T76" fmla="*/ 349 w 512"/>
              <a:gd name="T77" fmla="*/ 242 h 512"/>
              <a:gd name="T78" fmla="*/ 341 w 512"/>
              <a:gd name="T79" fmla="*/ 245 h 512"/>
              <a:gd name="T80" fmla="*/ 333 w 512"/>
              <a:gd name="T81" fmla="*/ 242 h 512"/>
              <a:gd name="T82" fmla="*/ 312 w 512"/>
              <a:gd name="T83" fmla="*/ 205 h 512"/>
              <a:gd name="T84" fmla="*/ 330 w 512"/>
              <a:gd name="T85" fmla="*/ 209 h 512"/>
              <a:gd name="T86" fmla="*/ 303 w 512"/>
              <a:gd name="T87" fmla="*/ 181 h 512"/>
              <a:gd name="T88" fmla="*/ 306 w 512"/>
              <a:gd name="T89" fmla="*/ 199 h 512"/>
              <a:gd name="T90" fmla="*/ 291 w 512"/>
              <a:gd name="T91" fmla="*/ 199 h 512"/>
              <a:gd name="T92" fmla="*/ 267 w 512"/>
              <a:gd name="T93" fmla="*/ 174 h 512"/>
              <a:gd name="T94" fmla="*/ 269 w 512"/>
              <a:gd name="T95" fmla="*/ 163 h 512"/>
              <a:gd name="T96" fmla="*/ 306 w 512"/>
              <a:gd name="T97" fmla="*/ 141 h 512"/>
              <a:gd name="T98" fmla="*/ 303 w 512"/>
              <a:gd name="T99" fmla="*/ 160 h 512"/>
              <a:gd name="T100" fmla="*/ 330 w 512"/>
              <a:gd name="T101" fmla="*/ 132 h 512"/>
              <a:gd name="T102" fmla="*/ 320 w 512"/>
              <a:gd name="T103" fmla="*/ 138 h 512"/>
              <a:gd name="T104" fmla="*/ 312 w 512"/>
              <a:gd name="T105" fmla="*/ 120 h 512"/>
              <a:gd name="T106" fmla="*/ 337 w 512"/>
              <a:gd name="T107" fmla="*/ 96 h 512"/>
              <a:gd name="T108" fmla="*/ 349 w 512"/>
              <a:gd name="T109" fmla="*/ 99 h 512"/>
              <a:gd name="T110" fmla="*/ 370 w 512"/>
              <a:gd name="T111" fmla="*/ 135 h 512"/>
              <a:gd name="T112" fmla="*/ 355 w 512"/>
              <a:gd name="T113" fmla="*/ 135 h 512"/>
              <a:gd name="T114" fmla="*/ 352 w 512"/>
              <a:gd name="T115" fmla="*/ 160 h 512"/>
              <a:gd name="T116" fmla="*/ 376 w 512"/>
              <a:gd name="T117" fmla="*/ 157 h 512"/>
              <a:gd name="T118" fmla="*/ 391 w 512"/>
              <a:gd name="T119" fmla="*/ 141 h 512"/>
              <a:gd name="T120" fmla="*/ 415 w 512"/>
              <a:gd name="T121" fmla="*/ 1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8" y="412"/>
                </a:moveTo>
                <a:cubicBezTo>
                  <a:pt x="326" y="414"/>
                  <a:pt x="322" y="416"/>
                  <a:pt x="319" y="416"/>
                </a:cubicBezTo>
                <a:cubicBezTo>
                  <a:pt x="317" y="416"/>
                  <a:pt x="315" y="415"/>
                  <a:pt x="313" y="413"/>
                </a:cubicBezTo>
                <a:cubicBezTo>
                  <a:pt x="308" y="409"/>
                  <a:pt x="308" y="403"/>
                  <a:pt x="311" y="398"/>
                </a:cubicBezTo>
                <a:cubicBezTo>
                  <a:pt x="333" y="373"/>
                  <a:pt x="330" y="332"/>
                  <a:pt x="330" y="331"/>
                </a:cubicBezTo>
                <a:cubicBezTo>
                  <a:pt x="330" y="288"/>
                  <a:pt x="330" y="288"/>
                  <a:pt x="330" y="288"/>
                </a:cubicBezTo>
                <a:cubicBezTo>
                  <a:pt x="330" y="282"/>
                  <a:pt x="325" y="277"/>
                  <a:pt x="319" y="277"/>
                </a:cubicBezTo>
                <a:cubicBezTo>
                  <a:pt x="314" y="277"/>
                  <a:pt x="309" y="281"/>
                  <a:pt x="309" y="287"/>
                </a:cubicBezTo>
                <a:cubicBezTo>
                  <a:pt x="309" y="288"/>
                  <a:pt x="309" y="288"/>
                  <a:pt x="309" y="288"/>
                </a:cubicBezTo>
                <a:cubicBezTo>
                  <a:pt x="309" y="294"/>
                  <a:pt x="304" y="298"/>
                  <a:pt x="298" y="298"/>
                </a:cubicBezTo>
                <a:cubicBezTo>
                  <a:pt x="298" y="298"/>
                  <a:pt x="298" y="298"/>
                  <a:pt x="298" y="298"/>
                </a:cubicBezTo>
                <a:cubicBezTo>
                  <a:pt x="298" y="298"/>
                  <a:pt x="298" y="298"/>
                  <a:pt x="298" y="298"/>
                </a:cubicBezTo>
                <a:cubicBezTo>
                  <a:pt x="292" y="298"/>
                  <a:pt x="288" y="294"/>
                  <a:pt x="288" y="288"/>
                </a:cubicBezTo>
                <a:cubicBezTo>
                  <a:pt x="288" y="277"/>
                  <a:pt x="288" y="277"/>
                  <a:pt x="288" y="277"/>
                </a:cubicBezTo>
                <a:cubicBezTo>
                  <a:pt x="288" y="271"/>
                  <a:pt x="283" y="266"/>
                  <a:pt x="277" y="266"/>
                </a:cubicBezTo>
                <a:cubicBezTo>
                  <a:pt x="271" y="266"/>
                  <a:pt x="266" y="271"/>
                  <a:pt x="266" y="277"/>
                </a:cubicBezTo>
                <a:cubicBezTo>
                  <a:pt x="266" y="288"/>
                  <a:pt x="266" y="288"/>
                  <a:pt x="266" y="288"/>
                </a:cubicBezTo>
                <a:cubicBezTo>
                  <a:pt x="266" y="294"/>
                  <a:pt x="262" y="298"/>
                  <a:pt x="256" y="298"/>
                </a:cubicBezTo>
                <a:cubicBezTo>
                  <a:pt x="250" y="298"/>
                  <a:pt x="245" y="294"/>
                  <a:pt x="245" y="288"/>
                </a:cubicBezTo>
                <a:cubicBezTo>
                  <a:pt x="245" y="192"/>
                  <a:pt x="245" y="192"/>
                  <a:pt x="245" y="192"/>
                </a:cubicBezTo>
                <a:cubicBezTo>
                  <a:pt x="245" y="186"/>
                  <a:pt x="240" y="181"/>
                  <a:pt x="234" y="181"/>
                </a:cubicBezTo>
                <a:cubicBezTo>
                  <a:pt x="228" y="181"/>
                  <a:pt x="224" y="186"/>
                  <a:pt x="224" y="192"/>
                </a:cubicBezTo>
                <a:cubicBezTo>
                  <a:pt x="224" y="202"/>
                  <a:pt x="224" y="202"/>
                  <a:pt x="224" y="202"/>
                </a:cubicBezTo>
                <a:cubicBezTo>
                  <a:pt x="224" y="213"/>
                  <a:pt x="224" y="213"/>
                  <a:pt x="224" y="213"/>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02"/>
                  <a:pt x="202" y="202"/>
                  <a:pt x="202" y="202"/>
                </a:cubicBezTo>
                <a:cubicBezTo>
                  <a:pt x="202" y="196"/>
                  <a:pt x="198" y="192"/>
                  <a:pt x="192" y="192"/>
                </a:cubicBezTo>
                <a:cubicBezTo>
                  <a:pt x="186" y="192"/>
                  <a:pt x="181" y="196"/>
                  <a:pt x="181" y="202"/>
                </a:cubicBezTo>
                <a:cubicBezTo>
                  <a:pt x="181" y="330"/>
                  <a:pt x="181" y="330"/>
                  <a:pt x="181" y="330"/>
                </a:cubicBezTo>
                <a:cubicBezTo>
                  <a:pt x="181" y="335"/>
                  <a:pt x="179" y="338"/>
                  <a:pt x="175" y="340"/>
                </a:cubicBezTo>
                <a:cubicBezTo>
                  <a:pt x="171" y="342"/>
                  <a:pt x="167" y="341"/>
                  <a:pt x="163" y="338"/>
                </a:cubicBezTo>
                <a:cubicBezTo>
                  <a:pt x="149" y="326"/>
                  <a:pt x="134" y="288"/>
                  <a:pt x="131" y="281"/>
                </a:cubicBezTo>
                <a:cubicBezTo>
                  <a:pt x="130" y="279"/>
                  <a:pt x="128" y="277"/>
                  <a:pt x="125" y="276"/>
                </a:cubicBezTo>
                <a:cubicBezTo>
                  <a:pt x="122" y="276"/>
                  <a:pt x="120" y="276"/>
                  <a:pt x="117" y="277"/>
                </a:cubicBezTo>
                <a:cubicBezTo>
                  <a:pt x="113" y="279"/>
                  <a:pt x="113" y="288"/>
                  <a:pt x="116" y="294"/>
                </a:cubicBezTo>
                <a:cubicBezTo>
                  <a:pt x="116" y="294"/>
                  <a:pt x="116" y="294"/>
                  <a:pt x="116" y="295"/>
                </a:cubicBezTo>
                <a:cubicBezTo>
                  <a:pt x="117" y="295"/>
                  <a:pt x="143" y="369"/>
                  <a:pt x="187" y="396"/>
                </a:cubicBezTo>
                <a:cubicBezTo>
                  <a:pt x="192" y="399"/>
                  <a:pt x="193" y="406"/>
                  <a:pt x="190" y="411"/>
                </a:cubicBezTo>
                <a:cubicBezTo>
                  <a:pt x="188" y="414"/>
                  <a:pt x="185" y="416"/>
                  <a:pt x="181" y="416"/>
                </a:cubicBezTo>
                <a:cubicBezTo>
                  <a:pt x="179" y="416"/>
                  <a:pt x="177" y="415"/>
                  <a:pt x="175" y="414"/>
                </a:cubicBezTo>
                <a:cubicBezTo>
                  <a:pt x="127" y="384"/>
                  <a:pt x="99" y="310"/>
                  <a:pt x="96" y="303"/>
                </a:cubicBezTo>
                <a:cubicBezTo>
                  <a:pt x="89" y="287"/>
                  <a:pt x="91" y="266"/>
                  <a:pt x="107" y="258"/>
                </a:cubicBezTo>
                <a:cubicBezTo>
                  <a:pt x="115" y="254"/>
                  <a:pt x="124" y="253"/>
                  <a:pt x="132" y="256"/>
                </a:cubicBezTo>
                <a:cubicBezTo>
                  <a:pt x="140" y="259"/>
                  <a:pt x="147" y="265"/>
                  <a:pt x="150" y="272"/>
                </a:cubicBezTo>
                <a:cubicBezTo>
                  <a:pt x="153" y="279"/>
                  <a:pt x="160" y="286"/>
                  <a:pt x="160" y="293"/>
                </a:cubicBezTo>
                <a:cubicBezTo>
                  <a:pt x="160" y="202"/>
                  <a:pt x="160" y="202"/>
                  <a:pt x="160" y="202"/>
                </a:cubicBezTo>
                <a:cubicBezTo>
                  <a:pt x="160" y="185"/>
                  <a:pt x="174" y="170"/>
                  <a:pt x="192" y="170"/>
                </a:cubicBezTo>
                <a:cubicBezTo>
                  <a:pt x="197" y="170"/>
                  <a:pt x="203" y="172"/>
                  <a:pt x="207" y="175"/>
                </a:cubicBezTo>
                <a:cubicBezTo>
                  <a:pt x="213" y="166"/>
                  <a:pt x="223" y="160"/>
                  <a:pt x="234" y="160"/>
                </a:cubicBezTo>
                <a:cubicBezTo>
                  <a:pt x="252" y="160"/>
                  <a:pt x="266" y="174"/>
                  <a:pt x="266" y="192"/>
                </a:cubicBezTo>
                <a:cubicBezTo>
                  <a:pt x="266" y="247"/>
                  <a:pt x="266" y="247"/>
                  <a:pt x="266" y="247"/>
                </a:cubicBezTo>
                <a:cubicBezTo>
                  <a:pt x="266" y="246"/>
                  <a:pt x="273" y="245"/>
                  <a:pt x="277" y="245"/>
                </a:cubicBezTo>
                <a:cubicBezTo>
                  <a:pt x="288" y="245"/>
                  <a:pt x="298" y="251"/>
                  <a:pt x="304" y="260"/>
                </a:cubicBezTo>
                <a:cubicBezTo>
                  <a:pt x="309" y="257"/>
                  <a:pt x="314" y="256"/>
                  <a:pt x="320" y="256"/>
                </a:cubicBezTo>
                <a:cubicBezTo>
                  <a:pt x="337" y="256"/>
                  <a:pt x="352" y="270"/>
                  <a:pt x="352" y="288"/>
                </a:cubicBezTo>
                <a:cubicBezTo>
                  <a:pt x="352" y="330"/>
                  <a:pt x="352" y="330"/>
                  <a:pt x="352" y="330"/>
                </a:cubicBezTo>
                <a:cubicBezTo>
                  <a:pt x="352" y="332"/>
                  <a:pt x="355" y="380"/>
                  <a:pt x="328" y="412"/>
                </a:cubicBezTo>
                <a:close/>
                <a:moveTo>
                  <a:pt x="415" y="174"/>
                </a:moveTo>
                <a:cubicBezTo>
                  <a:pt x="414" y="176"/>
                  <a:pt x="414" y="177"/>
                  <a:pt x="413" y="178"/>
                </a:cubicBezTo>
                <a:cubicBezTo>
                  <a:pt x="391" y="199"/>
                  <a:pt x="391" y="199"/>
                  <a:pt x="391" y="199"/>
                </a:cubicBezTo>
                <a:cubicBezTo>
                  <a:pt x="389" y="201"/>
                  <a:pt x="386" y="202"/>
                  <a:pt x="384" y="202"/>
                </a:cubicBezTo>
                <a:cubicBezTo>
                  <a:pt x="381" y="202"/>
                  <a:pt x="378" y="201"/>
                  <a:pt x="376" y="199"/>
                </a:cubicBezTo>
                <a:cubicBezTo>
                  <a:pt x="372" y="195"/>
                  <a:pt x="372" y="188"/>
                  <a:pt x="376" y="184"/>
                </a:cubicBezTo>
                <a:cubicBezTo>
                  <a:pt x="379" y="181"/>
                  <a:pt x="379" y="181"/>
                  <a:pt x="379" y="181"/>
                </a:cubicBezTo>
                <a:cubicBezTo>
                  <a:pt x="352" y="181"/>
                  <a:pt x="352" y="181"/>
                  <a:pt x="352" y="181"/>
                </a:cubicBezTo>
                <a:cubicBezTo>
                  <a:pt x="352" y="209"/>
                  <a:pt x="352" y="209"/>
                  <a:pt x="352" y="209"/>
                </a:cubicBezTo>
                <a:cubicBezTo>
                  <a:pt x="355" y="205"/>
                  <a:pt x="355" y="205"/>
                  <a:pt x="355" y="205"/>
                </a:cubicBezTo>
                <a:cubicBezTo>
                  <a:pt x="359" y="201"/>
                  <a:pt x="366" y="201"/>
                  <a:pt x="370" y="205"/>
                </a:cubicBezTo>
                <a:cubicBezTo>
                  <a:pt x="374" y="210"/>
                  <a:pt x="374" y="216"/>
                  <a:pt x="370" y="221"/>
                </a:cubicBezTo>
                <a:cubicBezTo>
                  <a:pt x="349" y="242"/>
                  <a:pt x="349" y="242"/>
                  <a:pt x="349" y="242"/>
                </a:cubicBezTo>
                <a:cubicBezTo>
                  <a:pt x="348" y="243"/>
                  <a:pt x="346" y="244"/>
                  <a:pt x="345" y="244"/>
                </a:cubicBezTo>
                <a:cubicBezTo>
                  <a:pt x="344" y="245"/>
                  <a:pt x="342" y="245"/>
                  <a:pt x="341" y="245"/>
                </a:cubicBezTo>
                <a:cubicBezTo>
                  <a:pt x="340" y="245"/>
                  <a:pt x="338" y="245"/>
                  <a:pt x="337" y="244"/>
                </a:cubicBezTo>
                <a:cubicBezTo>
                  <a:pt x="336" y="244"/>
                  <a:pt x="334" y="243"/>
                  <a:pt x="333" y="242"/>
                </a:cubicBezTo>
                <a:cubicBezTo>
                  <a:pt x="312" y="221"/>
                  <a:pt x="312" y="221"/>
                  <a:pt x="312" y="221"/>
                </a:cubicBezTo>
                <a:cubicBezTo>
                  <a:pt x="308" y="216"/>
                  <a:pt x="308" y="210"/>
                  <a:pt x="312" y="205"/>
                </a:cubicBezTo>
                <a:cubicBezTo>
                  <a:pt x="316" y="201"/>
                  <a:pt x="323" y="201"/>
                  <a:pt x="327" y="205"/>
                </a:cubicBezTo>
                <a:cubicBezTo>
                  <a:pt x="330" y="209"/>
                  <a:pt x="330" y="209"/>
                  <a:pt x="330" y="209"/>
                </a:cubicBezTo>
                <a:cubicBezTo>
                  <a:pt x="330" y="181"/>
                  <a:pt x="330" y="181"/>
                  <a:pt x="330" y="181"/>
                </a:cubicBezTo>
                <a:cubicBezTo>
                  <a:pt x="303" y="181"/>
                  <a:pt x="303" y="181"/>
                  <a:pt x="303" y="181"/>
                </a:cubicBezTo>
                <a:cubicBezTo>
                  <a:pt x="306" y="184"/>
                  <a:pt x="306" y="184"/>
                  <a:pt x="306" y="184"/>
                </a:cubicBezTo>
                <a:cubicBezTo>
                  <a:pt x="310" y="188"/>
                  <a:pt x="310" y="195"/>
                  <a:pt x="306" y="199"/>
                </a:cubicBezTo>
                <a:cubicBezTo>
                  <a:pt x="304" y="201"/>
                  <a:pt x="301" y="202"/>
                  <a:pt x="298" y="202"/>
                </a:cubicBezTo>
                <a:cubicBezTo>
                  <a:pt x="296" y="202"/>
                  <a:pt x="293" y="201"/>
                  <a:pt x="291" y="199"/>
                </a:cubicBezTo>
                <a:cubicBezTo>
                  <a:pt x="269" y="178"/>
                  <a:pt x="269" y="178"/>
                  <a:pt x="269" y="178"/>
                </a:cubicBezTo>
                <a:cubicBezTo>
                  <a:pt x="268" y="177"/>
                  <a:pt x="268" y="176"/>
                  <a:pt x="267" y="174"/>
                </a:cubicBezTo>
                <a:cubicBezTo>
                  <a:pt x="266" y="172"/>
                  <a:pt x="266" y="169"/>
                  <a:pt x="267" y="166"/>
                </a:cubicBezTo>
                <a:cubicBezTo>
                  <a:pt x="268" y="165"/>
                  <a:pt x="268" y="164"/>
                  <a:pt x="269" y="163"/>
                </a:cubicBezTo>
                <a:cubicBezTo>
                  <a:pt x="291" y="141"/>
                  <a:pt x="291" y="141"/>
                  <a:pt x="291" y="141"/>
                </a:cubicBezTo>
                <a:cubicBezTo>
                  <a:pt x="295" y="137"/>
                  <a:pt x="302" y="137"/>
                  <a:pt x="306" y="141"/>
                </a:cubicBezTo>
                <a:cubicBezTo>
                  <a:pt x="310" y="146"/>
                  <a:pt x="310" y="152"/>
                  <a:pt x="306" y="157"/>
                </a:cubicBezTo>
                <a:cubicBezTo>
                  <a:pt x="303" y="160"/>
                  <a:pt x="303" y="160"/>
                  <a:pt x="303" y="160"/>
                </a:cubicBezTo>
                <a:cubicBezTo>
                  <a:pt x="330" y="160"/>
                  <a:pt x="330" y="160"/>
                  <a:pt x="330" y="160"/>
                </a:cubicBezTo>
                <a:cubicBezTo>
                  <a:pt x="330" y="132"/>
                  <a:pt x="330" y="132"/>
                  <a:pt x="330" y="132"/>
                </a:cubicBezTo>
                <a:cubicBezTo>
                  <a:pt x="327" y="135"/>
                  <a:pt x="327" y="135"/>
                  <a:pt x="327" y="135"/>
                </a:cubicBezTo>
                <a:cubicBezTo>
                  <a:pt x="325" y="137"/>
                  <a:pt x="322" y="138"/>
                  <a:pt x="320" y="138"/>
                </a:cubicBezTo>
                <a:cubicBezTo>
                  <a:pt x="317" y="138"/>
                  <a:pt x="314" y="137"/>
                  <a:pt x="312" y="135"/>
                </a:cubicBezTo>
                <a:cubicBezTo>
                  <a:pt x="308" y="131"/>
                  <a:pt x="308" y="124"/>
                  <a:pt x="312" y="120"/>
                </a:cubicBezTo>
                <a:cubicBezTo>
                  <a:pt x="333" y="99"/>
                  <a:pt x="333" y="99"/>
                  <a:pt x="333" y="99"/>
                </a:cubicBezTo>
                <a:cubicBezTo>
                  <a:pt x="334" y="98"/>
                  <a:pt x="336" y="97"/>
                  <a:pt x="337" y="96"/>
                </a:cubicBezTo>
                <a:cubicBezTo>
                  <a:pt x="340" y="95"/>
                  <a:pt x="342" y="95"/>
                  <a:pt x="345" y="96"/>
                </a:cubicBezTo>
                <a:cubicBezTo>
                  <a:pt x="346" y="97"/>
                  <a:pt x="348" y="98"/>
                  <a:pt x="349" y="99"/>
                </a:cubicBezTo>
                <a:cubicBezTo>
                  <a:pt x="370" y="120"/>
                  <a:pt x="370" y="120"/>
                  <a:pt x="370" y="120"/>
                </a:cubicBezTo>
                <a:cubicBezTo>
                  <a:pt x="374" y="124"/>
                  <a:pt x="374" y="131"/>
                  <a:pt x="370" y="135"/>
                </a:cubicBezTo>
                <a:cubicBezTo>
                  <a:pt x="368" y="137"/>
                  <a:pt x="365" y="138"/>
                  <a:pt x="362" y="138"/>
                </a:cubicBezTo>
                <a:cubicBezTo>
                  <a:pt x="360" y="138"/>
                  <a:pt x="357" y="137"/>
                  <a:pt x="355" y="135"/>
                </a:cubicBezTo>
                <a:cubicBezTo>
                  <a:pt x="352" y="132"/>
                  <a:pt x="352" y="132"/>
                  <a:pt x="352" y="132"/>
                </a:cubicBezTo>
                <a:cubicBezTo>
                  <a:pt x="352" y="160"/>
                  <a:pt x="352" y="160"/>
                  <a:pt x="352" y="160"/>
                </a:cubicBezTo>
                <a:cubicBezTo>
                  <a:pt x="379" y="160"/>
                  <a:pt x="379" y="160"/>
                  <a:pt x="379" y="160"/>
                </a:cubicBezTo>
                <a:cubicBezTo>
                  <a:pt x="376" y="157"/>
                  <a:pt x="376" y="157"/>
                  <a:pt x="376" y="157"/>
                </a:cubicBezTo>
                <a:cubicBezTo>
                  <a:pt x="372" y="152"/>
                  <a:pt x="372" y="146"/>
                  <a:pt x="376" y="141"/>
                </a:cubicBezTo>
                <a:cubicBezTo>
                  <a:pt x="380" y="137"/>
                  <a:pt x="387" y="137"/>
                  <a:pt x="391" y="141"/>
                </a:cubicBezTo>
                <a:cubicBezTo>
                  <a:pt x="413" y="163"/>
                  <a:pt x="413" y="163"/>
                  <a:pt x="413" y="163"/>
                </a:cubicBezTo>
                <a:cubicBezTo>
                  <a:pt x="414" y="164"/>
                  <a:pt x="414" y="165"/>
                  <a:pt x="415" y="166"/>
                </a:cubicBezTo>
                <a:cubicBezTo>
                  <a:pt x="416" y="169"/>
                  <a:pt x="416" y="172"/>
                  <a:pt x="415" y="1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4" name="Group 17">
            <a:extLst>
              <a:ext uri="{FF2B5EF4-FFF2-40B4-BE49-F238E27FC236}">
                <a16:creationId xmlns:a16="http://schemas.microsoft.com/office/drawing/2014/main" id="{4B33757F-B47A-44D0-9D10-10A29F9EF719}"/>
              </a:ext>
            </a:extLst>
          </p:cNvPr>
          <p:cNvGrpSpPr>
            <a:grpSpLocks noChangeAspect="1"/>
          </p:cNvGrpSpPr>
          <p:nvPr/>
        </p:nvGrpSpPr>
        <p:grpSpPr bwMode="auto">
          <a:xfrm>
            <a:off x="1790372" y="1696520"/>
            <a:ext cx="367041" cy="368120"/>
            <a:chOff x="1516" y="151"/>
            <a:chExt cx="340" cy="341"/>
          </a:xfrm>
          <a:solidFill>
            <a:schemeClr val="accent1"/>
          </a:solidFill>
        </p:grpSpPr>
        <p:sp>
          <p:nvSpPr>
            <p:cNvPr id="135" name="Freeform 18">
              <a:extLst>
                <a:ext uri="{FF2B5EF4-FFF2-40B4-BE49-F238E27FC236}">
                  <a16:creationId xmlns:a16="http://schemas.microsoft.com/office/drawing/2014/main" id="{F0D1C0E4-51AB-49A7-A22C-3F29E20156DC}"/>
                </a:ext>
              </a:extLst>
            </p:cNvPr>
            <p:cNvSpPr>
              <a:spLocks noEditPoints="1"/>
            </p:cNvSpPr>
            <p:nvPr/>
          </p:nvSpPr>
          <p:spPr bwMode="auto">
            <a:xfrm>
              <a:off x="1516" y="1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6" name="Freeform 19">
              <a:extLst>
                <a:ext uri="{FF2B5EF4-FFF2-40B4-BE49-F238E27FC236}">
                  <a16:creationId xmlns:a16="http://schemas.microsoft.com/office/drawing/2014/main" id="{ABD75C50-9BB4-4382-831F-EE762EF3DB65}"/>
                </a:ext>
              </a:extLst>
            </p:cNvPr>
            <p:cNvSpPr>
              <a:spLocks noEditPoints="1"/>
            </p:cNvSpPr>
            <p:nvPr/>
          </p:nvSpPr>
          <p:spPr bwMode="auto">
            <a:xfrm>
              <a:off x="1575" y="214"/>
              <a:ext cx="217" cy="214"/>
            </a:xfrm>
            <a:custGeom>
              <a:avLst/>
              <a:gdLst>
                <a:gd name="T0" fmla="*/ 239 w 327"/>
                <a:gd name="T1" fmla="*/ 317 h 321"/>
                <a:gd name="T2" fmla="*/ 224 w 327"/>
                <a:gd name="T3" fmla="*/ 318 h 321"/>
                <a:gd name="T4" fmla="*/ 241 w 327"/>
                <a:gd name="T5" fmla="*/ 236 h 321"/>
                <a:gd name="T6" fmla="*/ 230 w 327"/>
                <a:gd name="T7" fmla="*/ 182 h 321"/>
                <a:gd name="T8" fmla="*/ 220 w 327"/>
                <a:gd name="T9" fmla="*/ 193 h 321"/>
                <a:gd name="T10" fmla="*/ 209 w 327"/>
                <a:gd name="T11" fmla="*/ 203 h 321"/>
                <a:gd name="T12" fmla="*/ 199 w 327"/>
                <a:gd name="T13" fmla="*/ 193 h 321"/>
                <a:gd name="T14" fmla="*/ 188 w 327"/>
                <a:gd name="T15" fmla="*/ 171 h 321"/>
                <a:gd name="T16" fmla="*/ 177 w 327"/>
                <a:gd name="T17" fmla="*/ 193 h 321"/>
                <a:gd name="T18" fmla="*/ 156 w 327"/>
                <a:gd name="T19" fmla="*/ 193 h 321"/>
                <a:gd name="T20" fmla="*/ 145 w 327"/>
                <a:gd name="T21" fmla="*/ 86 h 321"/>
                <a:gd name="T22" fmla="*/ 135 w 327"/>
                <a:gd name="T23" fmla="*/ 107 h 321"/>
                <a:gd name="T24" fmla="*/ 135 w 327"/>
                <a:gd name="T25" fmla="*/ 193 h 321"/>
                <a:gd name="T26" fmla="*/ 113 w 327"/>
                <a:gd name="T27" fmla="*/ 193 h 321"/>
                <a:gd name="T28" fmla="*/ 113 w 327"/>
                <a:gd name="T29" fmla="*/ 107 h 321"/>
                <a:gd name="T30" fmla="*/ 92 w 327"/>
                <a:gd name="T31" fmla="*/ 107 h 321"/>
                <a:gd name="T32" fmla="*/ 86 w 327"/>
                <a:gd name="T33" fmla="*/ 245 h 321"/>
                <a:gd name="T34" fmla="*/ 42 w 327"/>
                <a:gd name="T35" fmla="*/ 186 h 321"/>
                <a:gd name="T36" fmla="*/ 28 w 327"/>
                <a:gd name="T37" fmla="*/ 182 h 321"/>
                <a:gd name="T38" fmla="*/ 27 w 327"/>
                <a:gd name="T39" fmla="*/ 200 h 321"/>
                <a:gd name="T40" fmla="*/ 101 w 327"/>
                <a:gd name="T41" fmla="*/ 316 h 321"/>
                <a:gd name="T42" fmla="*/ 86 w 327"/>
                <a:gd name="T43" fmla="*/ 319 h 321"/>
                <a:gd name="T44" fmla="*/ 18 w 327"/>
                <a:gd name="T45" fmla="*/ 163 h 321"/>
                <a:gd name="T46" fmla="*/ 61 w 327"/>
                <a:gd name="T47" fmla="*/ 177 h 321"/>
                <a:gd name="T48" fmla="*/ 71 w 327"/>
                <a:gd name="T49" fmla="*/ 107 h 321"/>
                <a:gd name="T50" fmla="*/ 118 w 327"/>
                <a:gd name="T51" fmla="*/ 80 h 321"/>
                <a:gd name="T52" fmla="*/ 177 w 327"/>
                <a:gd name="T53" fmla="*/ 97 h 321"/>
                <a:gd name="T54" fmla="*/ 188 w 327"/>
                <a:gd name="T55" fmla="*/ 150 h 321"/>
                <a:gd name="T56" fmla="*/ 231 w 327"/>
                <a:gd name="T57" fmla="*/ 161 h 321"/>
                <a:gd name="T58" fmla="*/ 263 w 327"/>
                <a:gd name="T59" fmla="*/ 235 h 321"/>
                <a:gd name="T60" fmla="*/ 324 w 327"/>
                <a:gd name="T61" fmla="*/ 68 h 321"/>
                <a:gd name="T62" fmla="*/ 287 w 327"/>
                <a:gd name="T63" fmla="*/ 46 h 321"/>
                <a:gd name="T64" fmla="*/ 290 w 327"/>
                <a:gd name="T65" fmla="*/ 65 h 321"/>
                <a:gd name="T66" fmla="*/ 263 w 327"/>
                <a:gd name="T67" fmla="*/ 37 h 321"/>
                <a:gd name="T68" fmla="*/ 273 w 327"/>
                <a:gd name="T69" fmla="*/ 43 h 321"/>
                <a:gd name="T70" fmla="*/ 281 w 327"/>
                <a:gd name="T71" fmla="*/ 25 h 321"/>
                <a:gd name="T72" fmla="*/ 256 w 327"/>
                <a:gd name="T73" fmla="*/ 1 h 321"/>
                <a:gd name="T74" fmla="*/ 244 w 327"/>
                <a:gd name="T75" fmla="*/ 4 h 321"/>
                <a:gd name="T76" fmla="*/ 223 w 327"/>
                <a:gd name="T77" fmla="*/ 40 h 321"/>
                <a:gd name="T78" fmla="*/ 238 w 327"/>
                <a:gd name="T79" fmla="*/ 40 h 321"/>
                <a:gd name="T80" fmla="*/ 241 w 327"/>
                <a:gd name="T81" fmla="*/ 65 h 321"/>
                <a:gd name="T82" fmla="*/ 217 w 327"/>
                <a:gd name="T83" fmla="*/ 62 h 321"/>
                <a:gd name="T84" fmla="*/ 202 w 327"/>
                <a:gd name="T85" fmla="*/ 46 h 321"/>
                <a:gd name="T86" fmla="*/ 178 w 327"/>
                <a:gd name="T87" fmla="*/ 71 h 321"/>
                <a:gd name="T88" fmla="*/ 180 w 327"/>
                <a:gd name="T89" fmla="*/ 83 h 321"/>
                <a:gd name="T90" fmla="*/ 209 w 327"/>
                <a:gd name="T91" fmla="*/ 107 h 321"/>
                <a:gd name="T92" fmla="*/ 217 w 327"/>
                <a:gd name="T93" fmla="*/ 89 h 321"/>
                <a:gd name="T94" fmla="*/ 241 w 327"/>
                <a:gd name="T95" fmla="*/ 86 h 321"/>
                <a:gd name="T96" fmla="*/ 238 w 327"/>
                <a:gd name="T97" fmla="*/ 110 h 321"/>
                <a:gd name="T98" fmla="*/ 223 w 327"/>
                <a:gd name="T99" fmla="*/ 126 h 321"/>
                <a:gd name="T100" fmla="*/ 248 w 327"/>
                <a:gd name="T101" fmla="*/ 149 h 321"/>
                <a:gd name="T102" fmla="*/ 256 w 327"/>
                <a:gd name="T103" fmla="*/ 149 h 321"/>
                <a:gd name="T104" fmla="*/ 281 w 327"/>
                <a:gd name="T105" fmla="*/ 126 h 321"/>
                <a:gd name="T106" fmla="*/ 266 w 327"/>
                <a:gd name="T107" fmla="*/ 110 h 321"/>
                <a:gd name="T108" fmla="*/ 263 w 327"/>
                <a:gd name="T109" fmla="*/ 86 h 321"/>
                <a:gd name="T110" fmla="*/ 287 w 327"/>
                <a:gd name="T111" fmla="*/ 89 h 321"/>
                <a:gd name="T112" fmla="*/ 295 w 327"/>
                <a:gd name="T113" fmla="*/ 107 h 321"/>
                <a:gd name="T114" fmla="*/ 324 w 327"/>
                <a:gd name="T115" fmla="*/ 83 h 321"/>
                <a:gd name="T116" fmla="*/ 326 w 327"/>
                <a:gd name="T117" fmla="*/ 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321">
                  <a:moveTo>
                    <a:pt x="263" y="235"/>
                  </a:moveTo>
                  <a:cubicBezTo>
                    <a:pt x="263" y="237"/>
                    <a:pt x="266" y="285"/>
                    <a:pt x="239" y="317"/>
                  </a:cubicBezTo>
                  <a:cubicBezTo>
                    <a:pt x="237" y="319"/>
                    <a:pt x="233" y="321"/>
                    <a:pt x="230" y="321"/>
                  </a:cubicBezTo>
                  <a:cubicBezTo>
                    <a:pt x="228" y="321"/>
                    <a:pt x="226" y="320"/>
                    <a:pt x="224" y="318"/>
                  </a:cubicBezTo>
                  <a:cubicBezTo>
                    <a:pt x="219" y="314"/>
                    <a:pt x="219" y="308"/>
                    <a:pt x="222" y="303"/>
                  </a:cubicBezTo>
                  <a:cubicBezTo>
                    <a:pt x="244" y="278"/>
                    <a:pt x="241" y="237"/>
                    <a:pt x="241" y="236"/>
                  </a:cubicBezTo>
                  <a:cubicBezTo>
                    <a:pt x="241" y="193"/>
                    <a:pt x="241" y="193"/>
                    <a:pt x="241" y="193"/>
                  </a:cubicBezTo>
                  <a:cubicBezTo>
                    <a:pt x="241" y="187"/>
                    <a:pt x="236" y="182"/>
                    <a:pt x="230" y="182"/>
                  </a:cubicBezTo>
                  <a:cubicBezTo>
                    <a:pt x="225" y="182"/>
                    <a:pt x="220" y="186"/>
                    <a:pt x="220" y="192"/>
                  </a:cubicBezTo>
                  <a:cubicBezTo>
                    <a:pt x="220" y="193"/>
                    <a:pt x="220" y="193"/>
                    <a:pt x="220" y="193"/>
                  </a:cubicBezTo>
                  <a:cubicBezTo>
                    <a:pt x="220" y="199"/>
                    <a:pt x="215" y="203"/>
                    <a:pt x="209" y="203"/>
                  </a:cubicBezTo>
                  <a:cubicBezTo>
                    <a:pt x="209" y="203"/>
                    <a:pt x="209" y="203"/>
                    <a:pt x="209" y="203"/>
                  </a:cubicBezTo>
                  <a:cubicBezTo>
                    <a:pt x="209" y="203"/>
                    <a:pt x="209" y="203"/>
                    <a:pt x="209" y="203"/>
                  </a:cubicBezTo>
                  <a:cubicBezTo>
                    <a:pt x="203" y="203"/>
                    <a:pt x="199" y="199"/>
                    <a:pt x="199" y="193"/>
                  </a:cubicBezTo>
                  <a:cubicBezTo>
                    <a:pt x="199" y="182"/>
                    <a:pt x="199" y="182"/>
                    <a:pt x="199" y="182"/>
                  </a:cubicBezTo>
                  <a:cubicBezTo>
                    <a:pt x="199" y="176"/>
                    <a:pt x="194" y="171"/>
                    <a:pt x="188" y="171"/>
                  </a:cubicBezTo>
                  <a:cubicBezTo>
                    <a:pt x="182" y="171"/>
                    <a:pt x="177" y="176"/>
                    <a:pt x="177" y="182"/>
                  </a:cubicBezTo>
                  <a:cubicBezTo>
                    <a:pt x="177" y="193"/>
                    <a:pt x="177" y="193"/>
                    <a:pt x="177" y="193"/>
                  </a:cubicBezTo>
                  <a:cubicBezTo>
                    <a:pt x="177" y="199"/>
                    <a:pt x="173" y="203"/>
                    <a:pt x="167" y="203"/>
                  </a:cubicBezTo>
                  <a:cubicBezTo>
                    <a:pt x="161" y="203"/>
                    <a:pt x="156" y="199"/>
                    <a:pt x="156" y="193"/>
                  </a:cubicBezTo>
                  <a:cubicBezTo>
                    <a:pt x="156" y="97"/>
                    <a:pt x="156" y="97"/>
                    <a:pt x="156" y="97"/>
                  </a:cubicBezTo>
                  <a:cubicBezTo>
                    <a:pt x="156" y="91"/>
                    <a:pt x="151" y="86"/>
                    <a:pt x="145" y="86"/>
                  </a:cubicBezTo>
                  <a:cubicBezTo>
                    <a:pt x="139" y="86"/>
                    <a:pt x="135" y="91"/>
                    <a:pt x="135" y="97"/>
                  </a:cubicBezTo>
                  <a:cubicBezTo>
                    <a:pt x="135" y="107"/>
                    <a:pt x="135" y="107"/>
                    <a:pt x="135" y="107"/>
                  </a:cubicBezTo>
                  <a:cubicBezTo>
                    <a:pt x="135" y="118"/>
                    <a:pt x="135" y="118"/>
                    <a:pt x="135" y="118"/>
                  </a:cubicBezTo>
                  <a:cubicBezTo>
                    <a:pt x="135" y="193"/>
                    <a:pt x="135" y="193"/>
                    <a:pt x="135" y="193"/>
                  </a:cubicBezTo>
                  <a:cubicBezTo>
                    <a:pt x="135" y="199"/>
                    <a:pt x="130" y="203"/>
                    <a:pt x="124" y="203"/>
                  </a:cubicBezTo>
                  <a:cubicBezTo>
                    <a:pt x="118" y="203"/>
                    <a:pt x="113" y="199"/>
                    <a:pt x="113" y="193"/>
                  </a:cubicBezTo>
                  <a:cubicBezTo>
                    <a:pt x="113" y="118"/>
                    <a:pt x="113" y="118"/>
                    <a:pt x="113" y="118"/>
                  </a:cubicBezTo>
                  <a:cubicBezTo>
                    <a:pt x="113" y="107"/>
                    <a:pt x="113" y="107"/>
                    <a:pt x="113" y="107"/>
                  </a:cubicBezTo>
                  <a:cubicBezTo>
                    <a:pt x="113" y="101"/>
                    <a:pt x="109" y="97"/>
                    <a:pt x="103" y="97"/>
                  </a:cubicBezTo>
                  <a:cubicBezTo>
                    <a:pt x="97" y="97"/>
                    <a:pt x="92" y="101"/>
                    <a:pt x="92" y="107"/>
                  </a:cubicBezTo>
                  <a:cubicBezTo>
                    <a:pt x="92" y="235"/>
                    <a:pt x="92" y="235"/>
                    <a:pt x="92" y="235"/>
                  </a:cubicBezTo>
                  <a:cubicBezTo>
                    <a:pt x="92" y="240"/>
                    <a:pt x="90" y="243"/>
                    <a:pt x="86" y="245"/>
                  </a:cubicBezTo>
                  <a:cubicBezTo>
                    <a:pt x="82" y="247"/>
                    <a:pt x="78" y="246"/>
                    <a:pt x="74" y="243"/>
                  </a:cubicBezTo>
                  <a:cubicBezTo>
                    <a:pt x="60" y="231"/>
                    <a:pt x="45" y="193"/>
                    <a:pt x="42" y="186"/>
                  </a:cubicBezTo>
                  <a:cubicBezTo>
                    <a:pt x="41" y="184"/>
                    <a:pt x="39" y="182"/>
                    <a:pt x="36" y="181"/>
                  </a:cubicBezTo>
                  <a:cubicBezTo>
                    <a:pt x="33" y="181"/>
                    <a:pt x="31" y="181"/>
                    <a:pt x="28" y="182"/>
                  </a:cubicBezTo>
                  <a:cubicBezTo>
                    <a:pt x="24" y="184"/>
                    <a:pt x="24" y="193"/>
                    <a:pt x="27" y="199"/>
                  </a:cubicBezTo>
                  <a:cubicBezTo>
                    <a:pt x="27" y="199"/>
                    <a:pt x="27" y="199"/>
                    <a:pt x="27" y="200"/>
                  </a:cubicBezTo>
                  <a:cubicBezTo>
                    <a:pt x="28" y="200"/>
                    <a:pt x="54" y="274"/>
                    <a:pt x="98" y="301"/>
                  </a:cubicBezTo>
                  <a:cubicBezTo>
                    <a:pt x="103" y="304"/>
                    <a:pt x="104" y="311"/>
                    <a:pt x="101" y="316"/>
                  </a:cubicBezTo>
                  <a:cubicBezTo>
                    <a:pt x="99" y="319"/>
                    <a:pt x="96" y="321"/>
                    <a:pt x="92" y="321"/>
                  </a:cubicBezTo>
                  <a:cubicBezTo>
                    <a:pt x="90" y="321"/>
                    <a:pt x="88" y="320"/>
                    <a:pt x="86" y="319"/>
                  </a:cubicBezTo>
                  <a:cubicBezTo>
                    <a:pt x="38" y="289"/>
                    <a:pt x="10" y="215"/>
                    <a:pt x="7" y="208"/>
                  </a:cubicBezTo>
                  <a:cubicBezTo>
                    <a:pt x="0" y="192"/>
                    <a:pt x="2" y="171"/>
                    <a:pt x="18" y="163"/>
                  </a:cubicBezTo>
                  <a:cubicBezTo>
                    <a:pt x="26" y="159"/>
                    <a:pt x="35" y="158"/>
                    <a:pt x="43" y="161"/>
                  </a:cubicBezTo>
                  <a:cubicBezTo>
                    <a:pt x="51" y="164"/>
                    <a:pt x="58" y="170"/>
                    <a:pt x="61" y="177"/>
                  </a:cubicBezTo>
                  <a:cubicBezTo>
                    <a:pt x="64" y="184"/>
                    <a:pt x="67" y="191"/>
                    <a:pt x="71" y="198"/>
                  </a:cubicBezTo>
                  <a:cubicBezTo>
                    <a:pt x="71" y="107"/>
                    <a:pt x="71" y="107"/>
                    <a:pt x="71" y="107"/>
                  </a:cubicBezTo>
                  <a:cubicBezTo>
                    <a:pt x="71" y="90"/>
                    <a:pt x="85" y="75"/>
                    <a:pt x="103" y="75"/>
                  </a:cubicBezTo>
                  <a:cubicBezTo>
                    <a:pt x="108" y="75"/>
                    <a:pt x="114" y="77"/>
                    <a:pt x="118" y="80"/>
                  </a:cubicBezTo>
                  <a:cubicBezTo>
                    <a:pt x="124" y="71"/>
                    <a:pt x="134" y="65"/>
                    <a:pt x="145" y="65"/>
                  </a:cubicBezTo>
                  <a:cubicBezTo>
                    <a:pt x="163" y="65"/>
                    <a:pt x="177" y="79"/>
                    <a:pt x="177" y="97"/>
                  </a:cubicBezTo>
                  <a:cubicBezTo>
                    <a:pt x="177" y="152"/>
                    <a:pt x="177" y="152"/>
                    <a:pt x="177" y="152"/>
                  </a:cubicBezTo>
                  <a:cubicBezTo>
                    <a:pt x="181" y="151"/>
                    <a:pt x="184" y="150"/>
                    <a:pt x="188" y="150"/>
                  </a:cubicBezTo>
                  <a:cubicBezTo>
                    <a:pt x="199" y="150"/>
                    <a:pt x="209" y="156"/>
                    <a:pt x="215" y="165"/>
                  </a:cubicBezTo>
                  <a:cubicBezTo>
                    <a:pt x="220" y="162"/>
                    <a:pt x="225" y="161"/>
                    <a:pt x="231" y="161"/>
                  </a:cubicBezTo>
                  <a:cubicBezTo>
                    <a:pt x="248" y="161"/>
                    <a:pt x="263" y="175"/>
                    <a:pt x="263" y="193"/>
                  </a:cubicBezTo>
                  <a:lnTo>
                    <a:pt x="263" y="235"/>
                  </a:lnTo>
                  <a:close/>
                  <a:moveTo>
                    <a:pt x="326" y="71"/>
                  </a:moveTo>
                  <a:cubicBezTo>
                    <a:pt x="325" y="70"/>
                    <a:pt x="325" y="69"/>
                    <a:pt x="324" y="68"/>
                  </a:cubicBezTo>
                  <a:cubicBezTo>
                    <a:pt x="302" y="46"/>
                    <a:pt x="302" y="46"/>
                    <a:pt x="302" y="46"/>
                  </a:cubicBezTo>
                  <a:cubicBezTo>
                    <a:pt x="298" y="42"/>
                    <a:pt x="291" y="42"/>
                    <a:pt x="287" y="46"/>
                  </a:cubicBezTo>
                  <a:cubicBezTo>
                    <a:pt x="283" y="51"/>
                    <a:pt x="283" y="57"/>
                    <a:pt x="287" y="62"/>
                  </a:cubicBezTo>
                  <a:cubicBezTo>
                    <a:pt x="290" y="65"/>
                    <a:pt x="290" y="65"/>
                    <a:pt x="290" y="65"/>
                  </a:cubicBezTo>
                  <a:cubicBezTo>
                    <a:pt x="263" y="65"/>
                    <a:pt x="263" y="65"/>
                    <a:pt x="263" y="65"/>
                  </a:cubicBezTo>
                  <a:cubicBezTo>
                    <a:pt x="263" y="37"/>
                    <a:pt x="263" y="37"/>
                    <a:pt x="263" y="37"/>
                  </a:cubicBezTo>
                  <a:cubicBezTo>
                    <a:pt x="266" y="40"/>
                    <a:pt x="266" y="40"/>
                    <a:pt x="266" y="40"/>
                  </a:cubicBezTo>
                  <a:cubicBezTo>
                    <a:pt x="268" y="42"/>
                    <a:pt x="271" y="43"/>
                    <a:pt x="273" y="43"/>
                  </a:cubicBezTo>
                  <a:cubicBezTo>
                    <a:pt x="276" y="43"/>
                    <a:pt x="279" y="42"/>
                    <a:pt x="281" y="40"/>
                  </a:cubicBezTo>
                  <a:cubicBezTo>
                    <a:pt x="285" y="36"/>
                    <a:pt x="285" y="29"/>
                    <a:pt x="281" y="25"/>
                  </a:cubicBezTo>
                  <a:cubicBezTo>
                    <a:pt x="260" y="4"/>
                    <a:pt x="260" y="4"/>
                    <a:pt x="260" y="4"/>
                  </a:cubicBezTo>
                  <a:cubicBezTo>
                    <a:pt x="259" y="3"/>
                    <a:pt x="257" y="2"/>
                    <a:pt x="256" y="1"/>
                  </a:cubicBezTo>
                  <a:cubicBezTo>
                    <a:pt x="253" y="0"/>
                    <a:pt x="251" y="0"/>
                    <a:pt x="248" y="1"/>
                  </a:cubicBezTo>
                  <a:cubicBezTo>
                    <a:pt x="247" y="2"/>
                    <a:pt x="245" y="3"/>
                    <a:pt x="244" y="4"/>
                  </a:cubicBezTo>
                  <a:cubicBezTo>
                    <a:pt x="223" y="25"/>
                    <a:pt x="223" y="25"/>
                    <a:pt x="223" y="25"/>
                  </a:cubicBezTo>
                  <a:cubicBezTo>
                    <a:pt x="219" y="29"/>
                    <a:pt x="219" y="36"/>
                    <a:pt x="223" y="40"/>
                  </a:cubicBezTo>
                  <a:cubicBezTo>
                    <a:pt x="225" y="42"/>
                    <a:pt x="228" y="43"/>
                    <a:pt x="231" y="43"/>
                  </a:cubicBezTo>
                  <a:cubicBezTo>
                    <a:pt x="233" y="43"/>
                    <a:pt x="236" y="42"/>
                    <a:pt x="238" y="40"/>
                  </a:cubicBezTo>
                  <a:cubicBezTo>
                    <a:pt x="241" y="37"/>
                    <a:pt x="241" y="37"/>
                    <a:pt x="241" y="37"/>
                  </a:cubicBezTo>
                  <a:cubicBezTo>
                    <a:pt x="241" y="65"/>
                    <a:pt x="241" y="65"/>
                    <a:pt x="241" y="65"/>
                  </a:cubicBezTo>
                  <a:cubicBezTo>
                    <a:pt x="214" y="65"/>
                    <a:pt x="214" y="65"/>
                    <a:pt x="214" y="65"/>
                  </a:cubicBezTo>
                  <a:cubicBezTo>
                    <a:pt x="217" y="62"/>
                    <a:pt x="217" y="62"/>
                    <a:pt x="217" y="62"/>
                  </a:cubicBezTo>
                  <a:cubicBezTo>
                    <a:pt x="221" y="57"/>
                    <a:pt x="221" y="51"/>
                    <a:pt x="217" y="46"/>
                  </a:cubicBezTo>
                  <a:cubicBezTo>
                    <a:pt x="213" y="42"/>
                    <a:pt x="206" y="42"/>
                    <a:pt x="202" y="46"/>
                  </a:cubicBezTo>
                  <a:cubicBezTo>
                    <a:pt x="180" y="68"/>
                    <a:pt x="180" y="68"/>
                    <a:pt x="180" y="68"/>
                  </a:cubicBezTo>
                  <a:cubicBezTo>
                    <a:pt x="179" y="69"/>
                    <a:pt x="179" y="70"/>
                    <a:pt x="178" y="71"/>
                  </a:cubicBezTo>
                  <a:cubicBezTo>
                    <a:pt x="177" y="74"/>
                    <a:pt x="177" y="77"/>
                    <a:pt x="178" y="79"/>
                  </a:cubicBezTo>
                  <a:cubicBezTo>
                    <a:pt x="179" y="81"/>
                    <a:pt x="179" y="82"/>
                    <a:pt x="180" y="83"/>
                  </a:cubicBezTo>
                  <a:cubicBezTo>
                    <a:pt x="202" y="104"/>
                    <a:pt x="202" y="104"/>
                    <a:pt x="202" y="104"/>
                  </a:cubicBezTo>
                  <a:cubicBezTo>
                    <a:pt x="204" y="106"/>
                    <a:pt x="207" y="107"/>
                    <a:pt x="209" y="107"/>
                  </a:cubicBezTo>
                  <a:cubicBezTo>
                    <a:pt x="212" y="107"/>
                    <a:pt x="215" y="106"/>
                    <a:pt x="217" y="104"/>
                  </a:cubicBezTo>
                  <a:cubicBezTo>
                    <a:pt x="221" y="100"/>
                    <a:pt x="221" y="93"/>
                    <a:pt x="217" y="89"/>
                  </a:cubicBezTo>
                  <a:cubicBezTo>
                    <a:pt x="214" y="86"/>
                    <a:pt x="214" y="86"/>
                    <a:pt x="214" y="86"/>
                  </a:cubicBezTo>
                  <a:cubicBezTo>
                    <a:pt x="241" y="86"/>
                    <a:pt x="241" y="86"/>
                    <a:pt x="241" y="86"/>
                  </a:cubicBezTo>
                  <a:cubicBezTo>
                    <a:pt x="241" y="114"/>
                    <a:pt x="241" y="114"/>
                    <a:pt x="241" y="114"/>
                  </a:cubicBezTo>
                  <a:cubicBezTo>
                    <a:pt x="238" y="110"/>
                    <a:pt x="238" y="110"/>
                    <a:pt x="238" y="110"/>
                  </a:cubicBezTo>
                  <a:cubicBezTo>
                    <a:pt x="234" y="106"/>
                    <a:pt x="227" y="106"/>
                    <a:pt x="223" y="110"/>
                  </a:cubicBezTo>
                  <a:cubicBezTo>
                    <a:pt x="219" y="115"/>
                    <a:pt x="219" y="121"/>
                    <a:pt x="223" y="126"/>
                  </a:cubicBezTo>
                  <a:cubicBezTo>
                    <a:pt x="244" y="147"/>
                    <a:pt x="244" y="147"/>
                    <a:pt x="244" y="147"/>
                  </a:cubicBezTo>
                  <a:cubicBezTo>
                    <a:pt x="245" y="148"/>
                    <a:pt x="247" y="149"/>
                    <a:pt x="248" y="149"/>
                  </a:cubicBezTo>
                  <a:cubicBezTo>
                    <a:pt x="249" y="150"/>
                    <a:pt x="251" y="150"/>
                    <a:pt x="252" y="150"/>
                  </a:cubicBezTo>
                  <a:cubicBezTo>
                    <a:pt x="253" y="150"/>
                    <a:pt x="255" y="150"/>
                    <a:pt x="256" y="149"/>
                  </a:cubicBezTo>
                  <a:cubicBezTo>
                    <a:pt x="257" y="149"/>
                    <a:pt x="259" y="148"/>
                    <a:pt x="260" y="147"/>
                  </a:cubicBezTo>
                  <a:cubicBezTo>
                    <a:pt x="281" y="126"/>
                    <a:pt x="281" y="126"/>
                    <a:pt x="281" y="126"/>
                  </a:cubicBezTo>
                  <a:cubicBezTo>
                    <a:pt x="285" y="121"/>
                    <a:pt x="285" y="115"/>
                    <a:pt x="281" y="110"/>
                  </a:cubicBezTo>
                  <a:cubicBezTo>
                    <a:pt x="277" y="106"/>
                    <a:pt x="270" y="106"/>
                    <a:pt x="266" y="110"/>
                  </a:cubicBezTo>
                  <a:cubicBezTo>
                    <a:pt x="263" y="114"/>
                    <a:pt x="263" y="114"/>
                    <a:pt x="263" y="114"/>
                  </a:cubicBezTo>
                  <a:cubicBezTo>
                    <a:pt x="263" y="86"/>
                    <a:pt x="263" y="86"/>
                    <a:pt x="263" y="86"/>
                  </a:cubicBezTo>
                  <a:cubicBezTo>
                    <a:pt x="290" y="86"/>
                    <a:pt x="290" y="86"/>
                    <a:pt x="290" y="86"/>
                  </a:cubicBezTo>
                  <a:cubicBezTo>
                    <a:pt x="287" y="89"/>
                    <a:pt x="287" y="89"/>
                    <a:pt x="287" y="89"/>
                  </a:cubicBezTo>
                  <a:cubicBezTo>
                    <a:pt x="283" y="93"/>
                    <a:pt x="283" y="100"/>
                    <a:pt x="287" y="104"/>
                  </a:cubicBezTo>
                  <a:cubicBezTo>
                    <a:pt x="289" y="106"/>
                    <a:pt x="292" y="107"/>
                    <a:pt x="295" y="107"/>
                  </a:cubicBezTo>
                  <a:cubicBezTo>
                    <a:pt x="297" y="107"/>
                    <a:pt x="300" y="106"/>
                    <a:pt x="302" y="104"/>
                  </a:cubicBezTo>
                  <a:cubicBezTo>
                    <a:pt x="324" y="83"/>
                    <a:pt x="324" y="83"/>
                    <a:pt x="324" y="83"/>
                  </a:cubicBezTo>
                  <a:cubicBezTo>
                    <a:pt x="325" y="82"/>
                    <a:pt x="325" y="81"/>
                    <a:pt x="326" y="79"/>
                  </a:cubicBezTo>
                  <a:cubicBezTo>
                    <a:pt x="327" y="77"/>
                    <a:pt x="327" y="74"/>
                    <a:pt x="326" y="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7" name="Freeform 23">
            <a:extLst>
              <a:ext uri="{FF2B5EF4-FFF2-40B4-BE49-F238E27FC236}">
                <a16:creationId xmlns:a16="http://schemas.microsoft.com/office/drawing/2014/main" id="{FF4DDDEE-B175-41F8-877F-B506C85CFEC9}"/>
              </a:ext>
            </a:extLst>
          </p:cNvPr>
          <p:cNvSpPr>
            <a:spLocks noChangeAspect="1" noEditPoints="1"/>
          </p:cNvSpPr>
          <p:nvPr/>
        </p:nvSpPr>
        <p:spPr bwMode="auto">
          <a:xfrm>
            <a:off x="2225182" y="1696520"/>
            <a:ext cx="367041" cy="367041"/>
          </a:xfrm>
          <a:custGeom>
            <a:avLst/>
            <a:gdLst>
              <a:gd name="T0" fmla="*/ 0 w 512"/>
              <a:gd name="T1" fmla="*/ 256 h 512"/>
              <a:gd name="T2" fmla="*/ 512 w 512"/>
              <a:gd name="T3" fmla="*/ 256 h 512"/>
              <a:gd name="T4" fmla="*/ 149 w 512"/>
              <a:gd name="T5" fmla="*/ 117 h 512"/>
              <a:gd name="T6" fmla="*/ 170 w 512"/>
              <a:gd name="T7" fmla="*/ 117 h 512"/>
              <a:gd name="T8" fmla="*/ 256 w 512"/>
              <a:gd name="T9" fmla="*/ 96 h 512"/>
              <a:gd name="T10" fmla="*/ 359 w 512"/>
              <a:gd name="T11" fmla="*/ 157 h 512"/>
              <a:gd name="T12" fmla="*/ 344 w 512"/>
              <a:gd name="T13" fmla="*/ 156 h 512"/>
              <a:gd name="T14" fmla="*/ 189 w 512"/>
              <a:gd name="T15" fmla="*/ 138 h 512"/>
              <a:gd name="T16" fmla="*/ 202 w 512"/>
              <a:gd name="T17" fmla="*/ 149 h 512"/>
              <a:gd name="T18" fmla="*/ 160 w 512"/>
              <a:gd name="T19" fmla="*/ 160 h 512"/>
              <a:gd name="T20" fmla="*/ 149 w 512"/>
              <a:gd name="T21" fmla="*/ 117 h 512"/>
              <a:gd name="T22" fmla="*/ 341 w 512"/>
              <a:gd name="T23" fmla="*/ 416 h 512"/>
              <a:gd name="T24" fmla="*/ 333 w 512"/>
              <a:gd name="T25" fmla="*/ 398 h 512"/>
              <a:gd name="T26" fmla="*/ 351 w 512"/>
              <a:gd name="T27" fmla="*/ 288 h 512"/>
              <a:gd name="T28" fmla="*/ 330 w 512"/>
              <a:gd name="T29" fmla="*/ 286 h 512"/>
              <a:gd name="T30" fmla="*/ 320 w 512"/>
              <a:gd name="T31" fmla="*/ 298 h 512"/>
              <a:gd name="T32" fmla="*/ 309 w 512"/>
              <a:gd name="T33" fmla="*/ 287 h 512"/>
              <a:gd name="T34" fmla="*/ 298 w 512"/>
              <a:gd name="T35" fmla="*/ 266 h 512"/>
              <a:gd name="T36" fmla="*/ 288 w 512"/>
              <a:gd name="T37" fmla="*/ 288 h 512"/>
              <a:gd name="T38" fmla="*/ 266 w 512"/>
              <a:gd name="T39" fmla="*/ 288 h 512"/>
              <a:gd name="T40" fmla="*/ 256 w 512"/>
              <a:gd name="T41" fmla="*/ 170 h 512"/>
              <a:gd name="T42" fmla="*/ 245 w 512"/>
              <a:gd name="T43" fmla="*/ 202 h 512"/>
              <a:gd name="T44" fmla="*/ 234 w 512"/>
              <a:gd name="T45" fmla="*/ 298 h 512"/>
              <a:gd name="T46" fmla="*/ 224 w 512"/>
              <a:gd name="T47" fmla="*/ 202 h 512"/>
              <a:gd name="T48" fmla="*/ 202 w 512"/>
              <a:gd name="T49" fmla="*/ 202 h 512"/>
              <a:gd name="T50" fmla="*/ 196 w 512"/>
              <a:gd name="T51" fmla="*/ 340 h 512"/>
              <a:gd name="T52" fmla="*/ 152 w 512"/>
              <a:gd name="T53" fmla="*/ 281 h 512"/>
              <a:gd name="T54" fmla="*/ 138 w 512"/>
              <a:gd name="T55" fmla="*/ 277 h 512"/>
              <a:gd name="T56" fmla="*/ 138 w 512"/>
              <a:gd name="T57" fmla="*/ 295 h 512"/>
              <a:gd name="T58" fmla="*/ 211 w 512"/>
              <a:gd name="T59" fmla="*/ 411 h 512"/>
              <a:gd name="T60" fmla="*/ 197 w 512"/>
              <a:gd name="T61" fmla="*/ 414 h 512"/>
              <a:gd name="T62" fmla="*/ 129 w 512"/>
              <a:gd name="T63" fmla="*/ 258 h 512"/>
              <a:gd name="T64" fmla="*/ 172 w 512"/>
              <a:gd name="T65" fmla="*/ 272 h 512"/>
              <a:gd name="T66" fmla="*/ 181 w 512"/>
              <a:gd name="T67" fmla="*/ 202 h 512"/>
              <a:gd name="T68" fmla="*/ 225 w 512"/>
              <a:gd name="T69" fmla="*/ 173 h 512"/>
              <a:gd name="T70" fmla="*/ 288 w 512"/>
              <a:gd name="T71" fmla="*/ 181 h 512"/>
              <a:gd name="T72" fmla="*/ 298 w 512"/>
              <a:gd name="T73" fmla="*/ 245 h 512"/>
              <a:gd name="T74" fmla="*/ 341 w 512"/>
              <a:gd name="T75" fmla="*/ 256 h 512"/>
              <a:gd name="T76" fmla="*/ 373 w 512"/>
              <a:gd name="T7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117"/>
                </a:moveTo>
                <a:cubicBezTo>
                  <a:pt x="149" y="111"/>
                  <a:pt x="154" y="106"/>
                  <a:pt x="160" y="106"/>
                </a:cubicBezTo>
                <a:cubicBezTo>
                  <a:pt x="166" y="106"/>
                  <a:pt x="170" y="111"/>
                  <a:pt x="170" y="117"/>
                </a:cubicBezTo>
                <a:cubicBezTo>
                  <a:pt x="170" y="126"/>
                  <a:pt x="170" y="126"/>
                  <a:pt x="170" y="126"/>
                </a:cubicBezTo>
                <a:cubicBezTo>
                  <a:pt x="195" y="106"/>
                  <a:pt x="225" y="96"/>
                  <a:pt x="256" y="96"/>
                </a:cubicBezTo>
                <a:cubicBezTo>
                  <a:pt x="296" y="96"/>
                  <a:pt x="333" y="113"/>
                  <a:pt x="360" y="142"/>
                </a:cubicBezTo>
                <a:cubicBezTo>
                  <a:pt x="364" y="146"/>
                  <a:pt x="363" y="153"/>
                  <a:pt x="359" y="157"/>
                </a:cubicBezTo>
                <a:cubicBezTo>
                  <a:pt x="357" y="159"/>
                  <a:pt x="354" y="160"/>
                  <a:pt x="352" y="160"/>
                </a:cubicBezTo>
                <a:cubicBezTo>
                  <a:pt x="349" y="160"/>
                  <a:pt x="346" y="158"/>
                  <a:pt x="344" y="156"/>
                </a:cubicBezTo>
                <a:cubicBezTo>
                  <a:pt x="321" y="131"/>
                  <a:pt x="290" y="117"/>
                  <a:pt x="256" y="117"/>
                </a:cubicBezTo>
                <a:cubicBezTo>
                  <a:pt x="232" y="117"/>
                  <a:pt x="209" y="125"/>
                  <a:pt x="189" y="138"/>
                </a:cubicBezTo>
                <a:cubicBezTo>
                  <a:pt x="192" y="138"/>
                  <a:pt x="192" y="138"/>
                  <a:pt x="192" y="138"/>
                </a:cubicBezTo>
                <a:cubicBezTo>
                  <a:pt x="198" y="138"/>
                  <a:pt x="202" y="143"/>
                  <a:pt x="202" y="149"/>
                </a:cubicBezTo>
                <a:cubicBezTo>
                  <a:pt x="202" y="155"/>
                  <a:pt x="198" y="160"/>
                  <a:pt x="192" y="160"/>
                </a:cubicBezTo>
                <a:cubicBezTo>
                  <a:pt x="160" y="160"/>
                  <a:pt x="160" y="160"/>
                  <a:pt x="160" y="160"/>
                </a:cubicBezTo>
                <a:cubicBezTo>
                  <a:pt x="154" y="160"/>
                  <a:pt x="149" y="155"/>
                  <a:pt x="149" y="149"/>
                </a:cubicBezTo>
                <a:lnTo>
                  <a:pt x="149" y="117"/>
                </a:lnTo>
                <a:close/>
                <a:moveTo>
                  <a:pt x="349" y="412"/>
                </a:moveTo>
                <a:cubicBezTo>
                  <a:pt x="347" y="414"/>
                  <a:pt x="344" y="416"/>
                  <a:pt x="341" y="416"/>
                </a:cubicBezTo>
                <a:cubicBezTo>
                  <a:pt x="338" y="416"/>
                  <a:pt x="336" y="415"/>
                  <a:pt x="334" y="413"/>
                </a:cubicBezTo>
                <a:cubicBezTo>
                  <a:pt x="329" y="409"/>
                  <a:pt x="329" y="403"/>
                  <a:pt x="333" y="398"/>
                </a:cubicBezTo>
                <a:cubicBezTo>
                  <a:pt x="354" y="372"/>
                  <a:pt x="351" y="332"/>
                  <a:pt x="351" y="331"/>
                </a:cubicBezTo>
                <a:cubicBezTo>
                  <a:pt x="351" y="288"/>
                  <a:pt x="351" y="288"/>
                  <a:pt x="351" y="288"/>
                </a:cubicBezTo>
                <a:cubicBezTo>
                  <a:pt x="351" y="282"/>
                  <a:pt x="347" y="277"/>
                  <a:pt x="341" y="277"/>
                </a:cubicBezTo>
                <a:cubicBezTo>
                  <a:pt x="335" y="277"/>
                  <a:pt x="331" y="281"/>
                  <a:pt x="330" y="286"/>
                </a:cubicBezTo>
                <a:cubicBezTo>
                  <a:pt x="330" y="288"/>
                  <a:pt x="330" y="288"/>
                  <a:pt x="330" y="288"/>
                </a:cubicBezTo>
                <a:cubicBezTo>
                  <a:pt x="330" y="294"/>
                  <a:pt x="326" y="298"/>
                  <a:pt x="320" y="298"/>
                </a:cubicBezTo>
                <a:cubicBezTo>
                  <a:pt x="314" y="298"/>
                  <a:pt x="309" y="294"/>
                  <a:pt x="309" y="288"/>
                </a:cubicBezTo>
                <a:cubicBezTo>
                  <a:pt x="309" y="287"/>
                  <a:pt x="309" y="287"/>
                  <a:pt x="309" y="287"/>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181"/>
                  <a:pt x="266" y="181"/>
                  <a:pt x="266" y="181"/>
                </a:cubicBezTo>
                <a:cubicBezTo>
                  <a:pt x="266" y="175"/>
                  <a:pt x="262" y="170"/>
                  <a:pt x="256" y="170"/>
                </a:cubicBezTo>
                <a:cubicBezTo>
                  <a:pt x="250" y="170"/>
                  <a:pt x="245" y="175"/>
                  <a:pt x="245" y="181"/>
                </a:cubicBezTo>
                <a:cubicBezTo>
                  <a:pt x="245" y="202"/>
                  <a:pt x="245" y="202"/>
                  <a:pt x="245" y="202"/>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9"/>
                  <a:pt x="196" y="340"/>
                </a:cubicBezTo>
                <a:cubicBezTo>
                  <a:pt x="192" y="342"/>
                  <a:pt x="187" y="341"/>
                  <a:pt x="184" y="338"/>
                </a:cubicBezTo>
                <a:cubicBezTo>
                  <a:pt x="172" y="326"/>
                  <a:pt x="154" y="286"/>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8"/>
                  <a:pt x="177" y="285"/>
                  <a:pt x="181" y="292"/>
                </a:cubicBezTo>
                <a:cubicBezTo>
                  <a:pt x="181" y="202"/>
                  <a:pt x="181" y="202"/>
                  <a:pt x="181" y="202"/>
                </a:cubicBezTo>
                <a:cubicBezTo>
                  <a:pt x="181" y="185"/>
                  <a:pt x="195" y="170"/>
                  <a:pt x="213" y="170"/>
                </a:cubicBezTo>
                <a:cubicBezTo>
                  <a:pt x="217" y="170"/>
                  <a:pt x="221" y="171"/>
                  <a:pt x="225" y="173"/>
                </a:cubicBezTo>
                <a:cubicBezTo>
                  <a:pt x="229" y="159"/>
                  <a:pt x="241" y="149"/>
                  <a:pt x="256" y="149"/>
                </a:cubicBezTo>
                <a:cubicBezTo>
                  <a:pt x="273" y="149"/>
                  <a:pt x="288" y="163"/>
                  <a:pt x="288" y="181"/>
                </a:cubicBezTo>
                <a:cubicBezTo>
                  <a:pt x="288" y="247"/>
                  <a:pt x="288" y="247"/>
                  <a:pt x="288" y="247"/>
                </a:cubicBezTo>
                <a:cubicBezTo>
                  <a:pt x="291" y="246"/>
                  <a:pt x="295"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8" name="Group 26">
            <a:extLst>
              <a:ext uri="{FF2B5EF4-FFF2-40B4-BE49-F238E27FC236}">
                <a16:creationId xmlns:a16="http://schemas.microsoft.com/office/drawing/2014/main" id="{CA612CA6-DBBF-43DD-A4B2-6C9F34C25ABF}"/>
              </a:ext>
            </a:extLst>
          </p:cNvPr>
          <p:cNvGrpSpPr>
            <a:grpSpLocks noChangeAspect="1"/>
          </p:cNvGrpSpPr>
          <p:nvPr/>
        </p:nvGrpSpPr>
        <p:grpSpPr bwMode="auto">
          <a:xfrm>
            <a:off x="2659992" y="1696520"/>
            <a:ext cx="367041" cy="367041"/>
            <a:chOff x="2391" y="339"/>
            <a:chExt cx="340" cy="340"/>
          </a:xfrm>
          <a:solidFill>
            <a:schemeClr val="accent1"/>
          </a:solidFill>
        </p:grpSpPr>
        <p:sp>
          <p:nvSpPr>
            <p:cNvPr id="139" name="Freeform 27">
              <a:extLst>
                <a:ext uri="{FF2B5EF4-FFF2-40B4-BE49-F238E27FC236}">
                  <a16:creationId xmlns:a16="http://schemas.microsoft.com/office/drawing/2014/main" id="{8FB8C93D-229C-4799-951D-2A4FDF2668DF}"/>
                </a:ext>
              </a:extLst>
            </p:cNvPr>
            <p:cNvSpPr>
              <a:spLocks noEditPoints="1"/>
            </p:cNvSpPr>
            <p:nvPr/>
          </p:nvSpPr>
          <p:spPr bwMode="auto">
            <a:xfrm>
              <a:off x="2391" y="3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0" name="Freeform 28">
              <a:extLst>
                <a:ext uri="{FF2B5EF4-FFF2-40B4-BE49-F238E27FC236}">
                  <a16:creationId xmlns:a16="http://schemas.microsoft.com/office/drawing/2014/main" id="{F66ED7C4-CCCE-401E-BBC1-69A4B7B35B58}"/>
                </a:ext>
              </a:extLst>
            </p:cNvPr>
            <p:cNvSpPr>
              <a:spLocks noEditPoints="1"/>
            </p:cNvSpPr>
            <p:nvPr/>
          </p:nvSpPr>
          <p:spPr bwMode="auto">
            <a:xfrm>
              <a:off x="2465" y="403"/>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91 h 320"/>
                <a:gd name="T14" fmla="*/ 187 w 265"/>
                <a:gd name="T15" fmla="*/ 170 h 320"/>
                <a:gd name="T16" fmla="*/ 177 w 265"/>
                <a:gd name="T17" fmla="*/ 192 h 320"/>
                <a:gd name="T18" fmla="*/ 155 w 265"/>
                <a:gd name="T19" fmla="*/ 192 h 320"/>
                <a:gd name="T20" fmla="*/ 145 w 265"/>
                <a:gd name="T21" fmla="*/ 74 h 320"/>
                <a:gd name="T22" fmla="*/ 134 w 265"/>
                <a:gd name="T23" fmla="*/ 106 h 320"/>
                <a:gd name="T24" fmla="*/ 123 w 265"/>
                <a:gd name="T25" fmla="*/ 202 h 320"/>
                <a:gd name="T26" fmla="*/ 113 w 265"/>
                <a:gd name="T27" fmla="*/ 106 h 320"/>
                <a:gd name="T28" fmla="*/ 91 w 265"/>
                <a:gd name="T29" fmla="*/ 106 h 320"/>
                <a:gd name="T30" fmla="*/ 85 w 265"/>
                <a:gd name="T31" fmla="*/ 244 h 320"/>
                <a:gd name="T32" fmla="*/ 41 w 265"/>
                <a:gd name="T33" fmla="*/ 185 h 320"/>
                <a:gd name="T34" fmla="*/ 27 w 265"/>
                <a:gd name="T35" fmla="*/ 181 h 320"/>
                <a:gd name="T36" fmla="*/ 27 w 265"/>
                <a:gd name="T37" fmla="*/ 199 h 320"/>
                <a:gd name="T38" fmla="*/ 100 w 265"/>
                <a:gd name="T39" fmla="*/ 315 h 320"/>
                <a:gd name="T40" fmla="*/ 86 w 265"/>
                <a:gd name="T41" fmla="*/ 318 h 320"/>
                <a:gd name="T42" fmla="*/ 18 w 265"/>
                <a:gd name="T43" fmla="*/ 162 h 320"/>
                <a:gd name="T44" fmla="*/ 61 w 265"/>
                <a:gd name="T45" fmla="*/ 176 h 320"/>
                <a:gd name="T46" fmla="*/ 70 w 265"/>
                <a:gd name="T47" fmla="*/ 106 h 320"/>
                <a:gd name="T48" fmla="*/ 114 w 265"/>
                <a:gd name="T49" fmla="*/ 77 h 320"/>
                <a:gd name="T50" fmla="*/ 177 w 265"/>
                <a:gd name="T51" fmla="*/ 85 h 320"/>
                <a:gd name="T52" fmla="*/ 187 w 265"/>
                <a:gd name="T53" fmla="*/ 149 h 320"/>
                <a:gd name="T54" fmla="*/ 230 w 265"/>
                <a:gd name="T55" fmla="*/ 160 h 320"/>
                <a:gd name="T56" fmla="*/ 262 w 265"/>
                <a:gd name="T57" fmla="*/ 234 h 320"/>
                <a:gd name="T58" fmla="*/ 49 w 265"/>
                <a:gd name="T59" fmla="*/ 64 h 320"/>
                <a:gd name="T60" fmla="*/ 91 w 265"/>
                <a:gd name="T61" fmla="*/ 53 h 320"/>
                <a:gd name="T62" fmla="*/ 78 w 265"/>
                <a:gd name="T63" fmla="*/ 42 h 320"/>
                <a:gd name="T64" fmla="*/ 233 w 265"/>
                <a:gd name="T65" fmla="*/ 60 h 320"/>
                <a:gd name="T66" fmla="*/ 248 w 265"/>
                <a:gd name="T67" fmla="*/ 61 h 320"/>
                <a:gd name="T68" fmla="*/ 145 w 265"/>
                <a:gd name="T69" fmla="*/ 0 h 320"/>
                <a:gd name="T70" fmla="*/ 59 w 265"/>
                <a:gd name="T71" fmla="*/ 21 h 320"/>
                <a:gd name="T72" fmla="*/ 38 w 265"/>
                <a:gd name="T73" fmla="*/ 21 h 320"/>
                <a:gd name="T74" fmla="*/ 49 w 265"/>
                <a:gd name="T75"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6"/>
                    <a:pt x="240" y="236"/>
                    <a:pt x="240" y="235"/>
                  </a:cubicBezTo>
                  <a:cubicBezTo>
                    <a:pt x="240" y="192"/>
                    <a:pt x="240" y="192"/>
                    <a:pt x="240" y="192"/>
                  </a:cubicBezTo>
                  <a:cubicBezTo>
                    <a:pt x="240" y="186"/>
                    <a:pt x="236"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91"/>
                    <a:pt x="198" y="191"/>
                    <a:pt x="198" y="191"/>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85"/>
                    <a:pt x="155" y="85"/>
                    <a:pt x="155" y="85"/>
                  </a:cubicBezTo>
                  <a:cubicBezTo>
                    <a:pt x="155" y="79"/>
                    <a:pt x="151" y="74"/>
                    <a:pt x="145" y="74"/>
                  </a:cubicBezTo>
                  <a:cubicBezTo>
                    <a:pt x="139" y="74"/>
                    <a:pt x="134" y="79"/>
                    <a:pt x="134" y="85"/>
                  </a:cubicBezTo>
                  <a:cubicBezTo>
                    <a:pt x="134" y="106"/>
                    <a:pt x="134" y="106"/>
                    <a:pt x="134" y="106"/>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3"/>
                    <a:pt x="85" y="244"/>
                  </a:cubicBezTo>
                  <a:cubicBezTo>
                    <a:pt x="81" y="246"/>
                    <a:pt x="76" y="245"/>
                    <a:pt x="73" y="242"/>
                  </a:cubicBezTo>
                  <a:cubicBezTo>
                    <a:pt x="61" y="230"/>
                    <a:pt x="43" y="190"/>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2"/>
                    <a:pt x="66" y="189"/>
                    <a:pt x="70" y="196"/>
                  </a:cubicBezTo>
                  <a:cubicBezTo>
                    <a:pt x="70" y="106"/>
                    <a:pt x="70" y="106"/>
                    <a:pt x="70" y="106"/>
                  </a:cubicBezTo>
                  <a:cubicBezTo>
                    <a:pt x="70" y="89"/>
                    <a:pt x="84" y="74"/>
                    <a:pt x="102" y="74"/>
                  </a:cubicBezTo>
                  <a:cubicBezTo>
                    <a:pt x="106" y="74"/>
                    <a:pt x="110" y="75"/>
                    <a:pt x="114" y="77"/>
                  </a:cubicBezTo>
                  <a:cubicBezTo>
                    <a:pt x="118" y="63"/>
                    <a:pt x="130" y="53"/>
                    <a:pt x="145" y="53"/>
                  </a:cubicBezTo>
                  <a:cubicBezTo>
                    <a:pt x="162" y="53"/>
                    <a:pt x="177" y="67"/>
                    <a:pt x="177" y="85"/>
                  </a:cubicBezTo>
                  <a:cubicBezTo>
                    <a:pt x="177" y="151"/>
                    <a:pt x="177" y="151"/>
                    <a:pt x="177" y="151"/>
                  </a:cubicBezTo>
                  <a:cubicBezTo>
                    <a:pt x="180" y="150"/>
                    <a:pt x="184"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49" y="64"/>
                  </a:moveTo>
                  <a:cubicBezTo>
                    <a:pt x="81" y="64"/>
                    <a:pt x="81" y="64"/>
                    <a:pt x="81" y="64"/>
                  </a:cubicBezTo>
                  <a:cubicBezTo>
                    <a:pt x="87" y="64"/>
                    <a:pt x="91" y="59"/>
                    <a:pt x="91" y="53"/>
                  </a:cubicBezTo>
                  <a:cubicBezTo>
                    <a:pt x="91" y="47"/>
                    <a:pt x="87" y="42"/>
                    <a:pt x="81" y="42"/>
                  </a:cubicBezTo>
                  <a:cubicBezTo>
                    <a:pt x="78" y="42"/>
                    <a:pt x="78" y="42"/>
                    <a:pt x="78" y="42"/>
                  </a:cubicBezTo>
                  <a:cubicBezTo>
                    <a:pt x="98" y="29"/>
                    <a:pt x="121" y="21"/>
                    <a:pt x="145" y="21"/>
                  </a:cubicBezTo>
                  <a:cubicBezTo>
                    <a:pt x="179" y="21"/>
                    <a:pt x="210" y="35"/>
                    <a:pt x="233" y="60"/>
                  </a:cubicBezTo>
                  <a:cubicBezTo>
                    <a:pt x="235" y="62"/>
                    <a:pt x="238" y="64"/>
                    <a:pt x="241" y="64"/>
                  </a:cubicBezTo>
                  <a:cubicBezTo>
                    <a:pt x="243" y="64"/>
                    <a:pt x="246" y="63"/>
                    <a:pt x="248" y="61"/>
                  </a:cubicBezTo>
                  <a:cubicBezTo>
                    <a:pt x="252" y="57"/>
                    <a:pt x="253" y="50"/>
                    <a:pt x="249" y="46"/>
                  </a:cubicBezTo>
                  <a:cubicBezTo>
                    <a:pt x="222" y="17"/>
                    <a:pt x="185" y="0"/>
                    <a:pt x="145" y="0"/>
                  </a:cubicBezTo>
                  <a:cubicBezTo>
                    <a:pt x="114" y="0"/>
                    <a:pt x="84" y="10"/>
                    <a:pt x="59" y="30"/>
                  </a:cubicBezTo>
                  <a:cubicBezTo>
                    <a:pt x="59" y="21"/>
                    <a:pt x="59" y="21"/>
                    <a:pt x="59" y="21"/>
                  </a:cubicBezTo>
                  <a:cubicBezTo>
                    <a:pt x="59" y="15"/>
                    <a:pt x="55" y="10"/>
                    <a:pt x="49" y="10"/>
                  </a:cubicBezTo>
                  <a:cubicBezTo>
                    <a:pt x="43" y="10"/>
                    <a:pt x="38" y="15"/>
                    <a:pt x="38" y="21"/>
                  </a:cubicBezTo>
                  <a:cubicBezTo>
                    <a:pt x="38" y="53"/>
                    <a:pt x="38" y="53"/>
                    <a:pt x="38" y="53"/>
                  </a:cubicBezTo>
                  <a:cubicBezTo>
                    <a:pt x="38" y="59"/>
                    <a:pt x="43" y="64"/>
                    <a:pt x="4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1" name="Freeform 32">
            <a:extLst>
              <a:ext uri="{FF2B5EF4-FFF2-40B4-BE49-F238E27FC236}">
                <a16:creationId xmlns:a16="http://schemas.microsoft.com/office/drawing/2014/main" id="{327281D7-5E7F-41BE-B9C1-49A46A533F8A}"/>
              </a:ext>
            </a:extLst>
          </p:cNvPr>
          <p:cNvSpPr>
            <a:spLocks noChangeAspect="1" noEditPoints="1"/>
          </p:cNvSpPr>
          <p:nvPr/>
        </p:nvSpPr>
        <p:spPr bwMode="auto">
          <a:xfrm>
            <a:off x="3094802" y="1696520"/>
            <a:ext cx="367041" cy="367041"/>
          </a:xfrm>
          <a:custGeom>
            <a:avLst/>
            <a:gdLst>
              <a:gd name="T0" fmla="*/ 0 w 512"/>
              <a:gd name="T1" fmla="*/ 256 h 512"/>
              <a:gd name="T2" fmla="*/ 512 w 512"/>
              <a:gd name="T3" fmla="*/ 256 h 512"/>
              <a:gd name="T4" fmla="*/ 152 w 512"/>
              <a:gd name="T5" fmla="*/ 142 h 512"/>
              <a:gd name="T6" fmla="*/ 341 w 512"/>
              <a:gd name="T7" fmla="*/ 125 h 512"/>
              <a:gd name="T8" fmla="*/ 352 w 512"/>
              <a:gd name="T9" fmla="*/ 106 h 512"/>
              <a:gd name="T10" fmla="*/ 362 w 512"/>
              <a:gd name="T11" fmla="*/ 149 h 512"/>
              <a:gd name="T12" fmla="*/ 320 w 512"/>
              <a:gd name="T13" fmla="*/ 160 h 512"/>
              <a:gd name="T14" fmla="*/ 320 w 512"/>
              <a:gd name="T15" fmla="*/ 138 h 512"/>
              <a:gd name="T16" fmla="*/ 256 w 512"/>
              <a:gd name="T17" fmla="*/ 117 h 512"/>
              <a:gd name="T18" fmla="*/ 160 w 512"/>
              <a:gd name="T19" fmla="*/ 160 h 512"/>
              <a:gd name="T20" fmla="*/ 152 w 512"/>
              <a:gd name="T21" fmla="*/ 142 h 512"/>
              <a:gd name="T22" fmla="*/ 341 w 512"/>
              <a:gd name="T23" fmla="*/ 416 h 512"/>
              <a:gd name="T24" fmla="*/ 333 w 512"/>
              <a:gd name="T25" fmla="*/ 398 h 512"/>
              <a:gd name="T26" fmla="*/ 352 w 512"/>
              <a:gd name="T27" fmla="*/ 288 h 512"/>
              <a:gd name="T28" fmla="*/ 330 w 512"/>
              <a:gd name="T29" fmla="*/ 287 h 512"/>
              <a:gd name="T30" fmla="*/ 320 w 512"/>
              <a:gd name="T31" fmla="*/ 298 h 512"/>
              <a:gd name="T32" fmla="*/ 320 w 512"/>
              <a:gd name="T33" fmla="*/ 298 h 512"/>
              <a:gd name="T34" fmla="*/ 309 w 512"/>
              <a:gd name="T35" fmla="*/ 277 h 512"/>
              <a:gd name="T36" fmla="*/ 288 w 512"/>
              <a:gd name="T37" fmla="*/ 277 h 512"/>
              <a:gd name="T38" fmla="*/ 277 w 512"/>
              <a:gd name="T39" fmla="*/ 298 h 512"/>
              <a:gd name="T40" fmla="*/ 266 w 512"/>
              <a:gd name="T41" fmla="*/ 181 h 512"/>
              <a:gd name="T42" fmla="*/ 245 w 512"/>
              <a:gd name="T43" fmla="*/ 181 h 512"/>
              <a:gd name="T44" fmla="*/ 245 w 512"/>
              <a:gd name="T45" fmla="*/ 288 h 512"/>
              <a:gd name="T46" fmla="*/ 224 w 512"/>
              <a:gd name="T47" fmla="*/ 288 h 512"/>
              <a:gd name="T48" fmla="*/ 213 w 512"/>
              <a:gd name="T49" fmla="*/ 192 h 512"/>
              <a:gd name="T50" fmla="*/ 202 w 512"/>
              <a:gd name="T51" fmla="*/ 330 h 512"/>
              <a:gd name="T52" fmla="*/ 185 w 512"/>
              <a:gd name="T53" fmla="*/ 338 h 512"/>
              <a:gd name="T54" fmla="*/ 146 w 512"/>
              <a:gd name="T55" fmla="*/ 276 h 512"/>
              <a:gd name="T56" fmla="*/ 137 w 512"/>
              <a:gd name="T57" fmla="*/ 294 h 512"/>
              <a:gd name="T58" fmla="*/ 208 w 512"/>
              <a:gd name="T59" fmla="*/ 396 h 512"/>
              <a:gd name="T60" fmla="*/ 202 w 512"/>
              <a:gd name="T61" fmla="*/ 416 h 512"/>
              <a:gd name="T62" fmla="*/ 118 w 512"/>
              <a:gd name="T63" fmla="*/ 303 h 512"/>
              <a:gd name="T64" fmla="*/ 153 w 512"/>
              <a:gd name="T65" fmla="*/ 256 h 512"/>
              <a:gd name="T66" fmla="*/ 181 w 512"/>
              <a:gd name="T67" fmla="*/ 293 h 512"/>
              <a:gd name="T68" fmla="*/ 213 w 512"/>
              <a:gd name="T69" fmla="*/ 170 h 512"/>
              <a:gd name="T70" fmla="*/ 256 w 512"/>
              <a:gd name="T71" fmla="*/ 149 h 512"/>
              <a:gd name="T72" fmla="*/ 288 w 512"/>
              <a:gd name="T73" fmla="*/ 247 h 512"/>
              <a:gd name="T74" fmla="*/ 325 w 512"/>
              <a:gd name="T75" fmla="*/ 260 h 512"/>
              <a:gd name="T76" fmla="*/ 373 w 512"/>
              <a:gd name="T77" fmla="*/ 288 h 512"/>
              <a:gd name="T78" fmla="*/ 349 w 512"/>
              <a:gd name="T79"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52" y="142"/>
                </a:moveTo>
                <a:cubicBezTo>
                  <a:pt x="179" y="113"/>
                  <a:pt x="216" y="96"/>
                  <a:pt x="256" y="96"/>
                </a:cubicBezTo>
                <a:cubicBezTo>
                  <a:pt x="287" y="96"/>
                  <a:pt x="317" y="106"/>
                  <a:pt x="341" y="125"/>
                </a:cubicBezTo>
                <a:cubicBezTo>
                  <a:pt x="341" y="117"/>
                  <a:pt x="341" y="117"/>
                  <a:pt x="341" y="117"/>
                </a:cubicBezTo>
                <a:cubicBezTo>
                  <a:pt x="341" y="111"/>
                  <a:pt x="346" y="106"/>
                  <a:pt x="352" y="106"/>
                </a:cubicBezTo>
                <a:cubicBezTo>
                  <a:pt x="358" y="106"/>
                  <a:pt x="362" y="111"/>
                  <a:pt x="362" y="117"/>
                </a:cubicBezTo>
                <a:cubicBezTo>
                  <a:pt x="362" y="149"/>
                  <a:pt x="362" y="149"/>
                  <a:pt x="362" y="149"/>
                </a:cubicBezTo>
                <a:cubicBezTo>
                  <a:pt x="362" y="155"/>
                  <a:pt x="358" y="160"/>
                  <a:pt x="352" y="160"/>
                </a:cubicBezTo>
                <a:cubicBezTo>
                  <a:pt x="320" y="160"/>
                  <a:pt x="320" y="160"/>
                  <a:pt x="320" y="160"/>
                </a:cubicBezTo>
                <a:cubicBezTo>
                  <a:pt x="314" y="160"/>
                  <a:pt x="309" y="155"/>
                  <a:pt x="309" y="149"/>
                </a:cubicBezTo>
                <a:cubicBezTo>
                  <a:pt x="309" y="143"/>
                  <a:pt x="314" y="138"/>
                  <a:pt x="320" y="138"/>
                </a:cubicBezTo>
                <a:cubicBezTo>
                  <a:pt x="323" y="138"/>
                  <a:pt x="323" y="138"/>
                  <a:pt x="323" y="138"/>
                </a:cubicBezTo>
                <a:cubicBezTo>
                  <a:pt x="303" y="125"/>
                  <a:pt x="280" y="117"/>
                  <a:pt x="256" y="117"/>
                </a:cubicBezTo>
                <a:cubicBezTo>
                  <a:pt x="222" y="117"/>
                  <a:pt x="190" y="131"/>
                  <a:pt x="168" y="156"/>
                </a:cubicBezTo>
                <a:cubicBezTo>
                  <a:pt x="166" y="158"/>
                  <a:pt x="163" y="160"/>
                  <a:pt x="160" y="160"/>
                </a:cubicBezTo>
                <a:cubicBezTo>
                  <a:pt x="158" y="160"/>
                  <a:pt x="155" y="159"/>
                  <a:pt x="153" y="157"/>
                </a:cubicBezTo>
                <a:cubicBezTo>
                  <a:pt x="149" y="153"/>
                  <a:pt x="148" y="146"/>
                  <a:pt x="152" y="142"/>
                </a:cubicBezTo>
                <a:close/>
                <a:moveTo>
                  <a:pt x="349" y="412"/>
                </a:moveTo>
                <a:cubicBezTo>
                  <a:pt x="347" y="414"/>
                  <a:pt x="344" y="416"/>
                  <a:pt x="341" y="416"/>
                </a:cubicBezTo>
                <a:cubicBezTo>
                  <a:pt x="338" y="416"/>
                  <a:pt x="336" y="415"/>
                  <a:pt x="334" y="413"/>
                </a:cubicBezTo>
                <a:cubicBezTo>
                  <a:pt x="330" y="409"/>
                  <a:pt x="329" y="403"/>
                  <a:pt x="333" y="398"/>
                </a:cubicBezTo>
                <a:cubicBezTo>
                  <a:pt x="354" y="373"/>
                  <a:pt x="352" y="332"/>
                  <a:pt x="352" y="331"/>
                </a:cubicBezTo>
                <a:cubicBezTo>
                  <a:pt x="352" y="288"/>
                  <a:pt x="352" y="288"/>
                  <a:pt x="352" y="288"/>
                </a:cubicBezTo>
                <a:cubicBezTo>
                  <a:pt x="352" y="282"/>
                  <a:pt x="347" y="277"/>
                  <a:pt x="341" y="277"/>
                </a:cubicBezTo>
                <a:cubicBezTo>
                  <a:pt x="335" y="277"/>
                  <a:pt x="331" y="282"/>
                  <a:pt x="330" y="287"/>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181"/>
                  <a:pt x="266" y="181"/>
                  <a:pt x="266" y="181"/>
                </a:cubicBezTo>
                <a:cubicBezTo>
                  <a:pt x="266" y="175"/>
                  <a:pt x="262" y="170"/>
                  <a:pt x="256" y="170"/>
                </a:cubicBezTo>
                <a:cubicBezTo>
                  <a:pt x="250" y="170"/>
                  <a:pt x="245" y="175"/>
                  <a:pt x="245" y="181"/>
                </a:cubicBezTo>
                <a:cubicBezTo>
                  <a:pt x="245" y="202"/>
                  <a:pt x="245" y="202"/>
                  <a:pt x="245" y="202"/>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17" y="170"/>
                  <a:pt x="221" y="171"/>
                  <a:pt x="225" y="173"/>
                </a:cubicBezTo>
                <a:cubicBezTo>
                  <a:pt x="229" y="159"/>
                  <a:pt x="241" y="149"/>
                  <a:pt x="256" y="149"/>
                </a:cubicBezTo>
                <a:cubicBezTo>
                  <a:pt x="273" y="149"/>
                  <a:pt x="288" y="163"/>
                  <a:pt x="288" y="181"/>
                </a:cubicBezTo>
                <a:cubicBezTo>
                  <a:pt x="288" y="247"/>
                  <a:pt x="288" y="247"/>
                  <a:pt x="288" y="247"/>
                </a:cubicBezTo>
                <a:cubicBezTo>
                  <a:pt x="291" y="246"/>
                  <a:pt x="295" y="245"/>
                  <a:pt x="298" y="245"/>
                </a:cubicBezTo>
                <a:cubicBezTo>
                  <a:pt x="310" y="245"/>
                  <a:pt x="320" y="251"/>
                  <a:pt x="325" y="260"/>
                </a:cubicBezTo>
                <a:cubicBezTo>
                  <a:pt x="330" y="257"/>
                  <a:pt x="335" y="256"/>
                  <a:pt x="341" y="256"/>
                </a:cubicBezTo>
                <a:cubicBezTo>
                  <a:pt x="359" y="256"/>
                  <a:pt x="373" y="270"/>
                  <a:pt x="373" y="288"/>
                </a:cubicBezTo>
                <a:cubicBezTo>
                  <a:pt x="373" y="330"/>
                  <a:pt x="373" y="330"/>
                  <a:pt x="373" y="330"/>
                </a:cubicBezTo>
                <a:cubicBezTo>
                  <a:pt x="373" y="332"/>
                  <a:pt x="376" y="380"/>
                  <a:pt x="349"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2" name="Group 35">
            <a:extLst>
              <a:ext uri="{FF2B5EF4-FFF2-40B4-BE49-F238E27FC236}">
                <a16:creationId xmlns:a16="http://schemas.microsoft.com/office/drawing/2014/main" id="{65FEC529-10AD-49FA-9623-F2D1C5DAA569}"/>
              </a:ext>
            </a:extLst>
          </p:cNvPr>
          <p:cNvGrpSpPr>
            <a:grpSpLocks noChangeAspect="1"/>
          </p:cNvGrpSpPr>
          <p:nvPr/>
        </p:nvGrpSpPr>
        <p:grpSpPr bwMode="auto">
          <a:xfrm>
            <a:off x="3529612" y="1696520"/>
            <a:ext cx="367041" cy="367041"/>
            <a:chOff x="3241" y="151"/>
            <a:chExt cx="340" cy="340"/>
          </a:xfrm>
          <a:solidFill>
            <a:schemeClr val="accent1"/>
          </a:solidFill>
        </p:grpSpPr>
        <p:sp>
          <p:nvSpPr>
            <p:cNvPr id="143" name="Freeform 36">
              <a:extLst>
                <a:ext uri="{FF2B5EF4-FFF2-40B4-BE49-F238E27FC236}">
                  <a16:creationId xmlns:a16="http://schemas.microsoft.com/office/drawing/2014/main" id="{C0BEA2FD-8954-4A1E-B3E3-CFBA0DD7BA08}"/>
                </a:ext>
              </a:extLst>
            </p:cNvPr>
            <p:cNvSpPr>
              <a:spLocks noEditPoints="1"/>
            </p:cNvSpPr>
            <p:nvPr/>
          </p:nvSpPr>
          <p:spPr bwMode="auto">
            <a:xfrm>
              <a:off x="3241" y="1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4" name="Freeform 37">
              <a:extLst>
                <a:ext uri="{FF2B5EF4-FFF2-40B4-BE49-F238E27FC236}">
                  <a16:creationId xmlns:a16="http://schemas.microsoft.com/office/drawing/2014/main" id="{9DFD4ED8-E2EE-46BA-823E-60AF0E84E3B9}"/>
                </a:ext>
              </a:extLst>
            </p:cNvPr>
            <p:cNvSpPr>
              <a:spLocks noEditPoints="1"/>
            </p:cNvSpPr>
            <p:nvPr/>
          </p:nvSpPr>
          <p:spPr bwMode="auto">
            <a:xfrm>
              <a:off x="3315" y="215"/>
              <a:ext cx="176" cy="212"/>
            </a:xfrm>
            <a:custGeom>
              <a:avLst/>
              <a:gdLst>
                <a:gd name="T0" fmla="*/ 230 w 265"/>
                <a:gd name="T1" fmla="*/ 320 h 320"/>
                <a:gd name="T2" fmla="*/ 222 w 265"/>
                <a:gd name="T3" fmla="*/ 302 h 320"/>
                <a:gd name="T4" fmla="*/ 241 w 265"/>
                <a:gd name="T5" fmla="*/ 192 h 320"/>
                <a:gd name="T6" fmla="*/ 219 w 265"/>
                <a:gd name="T7" fmla="*/ 191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85 h 320"/>
                <a:gd name="T20" fmla="*/ 134 w 265"/>
                <a:gd name="T21" fmla="*/ 85 h 320"/>
                <a:gd name="T22" fmla="*/ 134 w 265"/>
                <a:gd name="T23" fmla="*/ 192 h 320"/>
                <a:gd name="T24" fmla="*/ 113 w 265"/>
                <a:gd name="T25" fmla="*/ 192 h 320"/>
                <a:gd name="T26" fmla="*/ 102 w 265"/>
                <a:gd name="T27" fmla="*/ 96 h 320"/>
                <a:gd name="T28" fmla="*/ 91 w 265"/>
                <a:gd name="T29" fmla="*/ 234 h 320"/>
                <a:gd name="T30" fmla="*/ 74 w 265"/>
                <a:gd name="T31" fmla="*/ 242 h 320"/>
                <a:gd name="T32" fmla="*/ 35 w 265"/>
                <a:gd name="T33" fmla="*/ 180 h 320"/>
                <a:gd name="T34" fmla="*/ 26 w 265"/>
                <a:gd name="T35" fmla="*/ 198 h 320"/>
                <a:gd name="T36" fmla="*/ 97 w 265"/>
                <a:gd name="T37" fmla="*/ 300 h 320"/>
                <a:gd name="T38" fmla="*/ 91 w 265"/>
                <a:gd name="T39" fmla="*/ 320 h 320"/>
                <a:gd name="T40" fmla="*/ 7 w 265"/>
                <a:gd name="T41" fmla="*/ 207 h 320"/>
                <a:gd name="T42" fmla="*/ 42 w 265"/>
                <a:gd name="T43" fmla="*/ 160 h 320"/>
                <a:gd name="T44" fmla="*/ 70 w 265"/>
                <a:gd name="T45" fmla="*/ 197 h 320"/>
                <a:gd name="T46" fmla="*/ 102 w 265"/>
                <a:gd name="T47" fmla="*/ 74 h 320"/>
                <a:gd name="T48" fmla="*/ 145 w 265"/>
                <a:gd name="T49" fmla="*/ 53 h 320"/>
                <a:gd name="T50" fmla="*/ 177 w 265"/>
                <a:gd name="T51" fmla="*/ 151 h 320"/>
                <a:gd name="T52" fmla="*/ 214 w 265"/>
                <a:gd name="T53" fmla="*/ 164 h 320"/>
                <a:gd name="T54" fmla="*/ 262 w 265"/>
                <a:gd name="T55" fmla="*/ 192 h 320"/>
                <a:gd name="T56" fmla="*/ 238 w 265"/>
                <a:gd name="T57" fmla="*/ 316 h 320"/>
                <a:gd name="T58" fmla="*/ 57 w 265"/>
                <a:gd name="T59" fmla="*/ 60 h 320"/>
                <a:gd name="T60" fmla="*/ 212 w 265"/>
                <a:gd name="T61" fmla="*/ 42 h 320"/>
                <a:gd name="T62" fmla="*/ 198 w 265"/>
                <a:gd name="T63" fmla="*/ 53 h 320"/>
                <a:gd name="T64" fmla="*/ 241 w 265"/>
                <a:gd name="T65" fmla="*/ 64 h 320"/>
                <a:gd name="T66" fmla="*/ 251 w 265"/>
                <a:gd name="T67" fmla="*/ 21 h 320"/>
                <a:gd name="T68" fmla="*/ 230 w 265"/>
                <a:gd name="T69" fmla="*/ 21 h 320"/>
                <a:gd name="T70" fmla="*/ 145 w 265"/>
                <a:gd name="T71" fmla="*/ 0 h 320"/>
                <a:gd name="T72" fmla="*/ 42 w 265"/>
                <a:gd name="T73" fmla="*/ 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5" h="320">
                  <a:moveTo>
                    <a:pt x="238" y="316"/>
                  </a:moveTo>
                  <a:cubicBezTo>
                    <a:pt x="236" y="318"/>
                    <a:pt x="233" y="320"/>
                    <a:pt x="230" y="320"/>
                  </a:cubicBezTo>
                  <a:cubicBezTo>
                    <a:pt x="227" y="320"/>
                    <a:pt x="225" y="319"/>
                    <a:pt x="223" y="317"/>
                  </a:cubicBezTo>
                  <a:cubicBezTo>
                    <a:pt x="219" y="313"/>
                    <a:pt x="218" y="307"/>
                    <a:pt x="222" y="302"/>
                  </a:cubicBezTo>
                  <a:cubicBezTo>
                    <a:pt x="243" y="277"/>
                    <a:pt x="241" y="236"/>
                    <a:pt x="241" y="235"/>
                  </a:cubicBezTo>
                  <a:cubicBezTo>
                    <a:pt x="241" y="192"/>
                    <a:pt x="241" y="192"/>
                    <a:pt x="241" y="192"/>
                  </a:cubicBezTo>
                  <a:cubicBezTo>
                    <a:pt x="241" y="186"/>
                    <a:pt x="236" y="181"/>
                    <a:pt x="230" y="181"/>
                  </a:cubicBezTo>
                  <a:cubicBezTo>
                    <a:pt x="224" y="181"/>
                    <a:pt x="220" y="186"/>
                    <a:pt x="219" y="191"/>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85"/>
                    <a:pt x="155" y="85"/>
                    <a:pt x="155" y="85"/>
                  </a:cubicBezTo>
                  <a:cubicBezTo>
                    <a:pt x="155" y="79"/>
                    <a:pt x="151" y="74"/>
                    <a:pt x="145" y="74"/>
                  </a:cubicBezTo>
                  <a:cubicBezTo>
                    <a:pt x="139" y="74"/>
                    <a:pt x="134" y="79"/>
                    <a:pt x="134" y="85"/>
                  </a:cubicBezTo>
                  <a:cubicBezTo>
                    <a:pt x="134" y="106"/>
                    <a:pt x="134" y="106"/>
                    <a:pt x="134" y="106"/>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06" y="74"/>
                    <a:pt x="110" y="75"/>
                    <a:pt x="114" y="77"/>
                  </a:cubicBezTo>
                  <a:cubicBezTo>
                    <a:pt x="118" y="63"/>
                    <a:pt x="130" y="53"/>
                    <a:pt x="145" y="53"/>
                  </a:cubicBezTo>
                  <a:cubicBezTo>
                    <a:pt x="162" y="53"/>
                    <a:pt x="177" y="67"/>
                    <a:pt x="177" y="85"/>
                  </a:cubicBezTo>
                  <a:cubicBezTo>
                    <a:pt x="177" y="151"/>
                    <a:pt x="177" y="151"/>
                    <a:pt x="177" y="151"/>
                  </a:cubicBezTo>
                  <a:cubicBezTo>
                    <a:pt x="180" y="150"/>
                    <a:pt x="184" y="149"/>
                    <a:pt x="187" y="149"/>
                  </a:cubicBezTo>
                  <a:cubicBezTo>
                    <a:pt x="199" y="149"/>
                    <a:pt x="209" y="155"/>
                    <a:pt x="214" y="164"/>
                  </a:cubicBezTo>
                  <a:cubicBezTo>
                    <a:pt x="219" y="161"/>
                    <a:pt x="224" y="160"/>
                    <a:pt x="230" y="160"/>
                  </a:cubicBezTo>
                  <a:cubicBezTo>
                    <a:pt x="248" y="160"/>
                    <a:pt x="262" y="174"/>
                    <a:pt x="262" y="192"/>
                  </a:cubicBezTo>
                  <a:cubicBezTo>
                    <a:pt x="262" y="234"/>
                    <a:pt x="262" y="234"/>
                    <a:pt x="262" y="234"/>
                  </a:cubicBezTo>
                  <a:cubicBezTo>
                    <a:pt x="262" y="236"/>
                    <a:pt x="265" y="284"/>
                    <a:pt x="238" y="316"/>
                  </a:cubicBezTo>
                  <a:close/>
                  <a:moveTo>
                    <a:pt x="49" y="64"/>
                  </a:moveTo>
                  <a:cubicBezTo>
                    <a:pt x="52" y="64"/>
                    <a:pt x="55" y="62"/>
                    <a:pt x="57" y="60"/>
                  </a:cubicBezTo>
                  <a:cubicBezTo>
                    <a:pt x="79" y="35"/>
                    <a:pt x="111" y="21"/>
                    <a:pt x="145" y="21"/>
                  </a:cubicBezTo>
                  <a:cubicBezTo>
                    <a:pt x="169" y="21"/>
                    <a:pt x="192" y="29"/>
                    <a:pt x="212" y="42"/>
                  </a:cubicBezTo>
                  <a:cubicBezTo>
                    <a:pt x="209" y="42"/>
                    <a:pt x="209" y="42"/>
                    <a:pt x="209" y="42"/>
                  </a:cubicBezTo>
                  <a:cubicBezTo>
                    <a:pt x="203" y="42"/>
                    <a:pt x="198" y="47"/>
                    <a:pt x="198" y="53"/>
                  </a:cubicBezTo>
                  <a:cubicBezTo>
                    <a:pt x="198" y="59"/>
                    <a:pt x="203" y="64"/>
                    <a:pt x="209" y="64"/>
                  </a:cubicBezTo>
                  <a:cubicBezTo>
                    <a:pt x="241" y="64"/>
                    <a:pt x="241" y="64"/>
                    <a:pt x="241" y="64"/>
                  </a:cubicBezTo>
                  <a:cubicBezTo>
                    <a:pt x="247" y="64"/>
                    <a:pt x="251" y="59"/>
                    <a:pt x="251" y="53"/>
                  </a:cubicBezTo>
                  <a:cubicBezTo>
                    <a:pt x="251" y="21"/>
                    <a:pt x="251" y="21"/>
                    <a:pt x="251" y="21"/>
                  </a:cubicBezTo>
                  <a:cubicBezTo>
                    <a:pt x="251" y="15"/>
                    <a:pt x="247" y="10"/>
                    <a:pt x="241" y="10"/>
                  </a:cubicBezTo>
                  <a:cubicBezTo>
                    <a:pt x="235" y="10"/>
                    <a:pt x="230" y="15"/>
                    <a:pt x="230" y="21"/>
                  </a:cubicBezTo>
                  <a:cubicBezTo>
                    <a:pt x="230" y="29"/>
                    <a:pt x="230" y="29"/>
                    <a:pt x="230" y="29"/>
                  </a:cubicBezTo>
                  <a:cubicBezTo>
                    <a:pt x="206" y="10"/>
                    <a:pt x="176" y="0"/>
                    <a:pt x="145" y="0"/>
                  </a:cubicBezTo>
                  <a:cubicBezTo>
                    <a:pt x="105" y="0"/>
                    <a:pt x="68" y="17"/>
                    <a:pt x="41" y="46"/>
                  </a:cubicBezTo>
                  <a:cubicBezTo>
                    <a:pt x="37" y="50"/>
                    <a:pt x="38" y="57"/>
                    <a:pt x="42" y="61"/>
                  </a:cubicBezTo>
                  <a:cubicBezTo>
                    <a:pt x="44" y="63"/>
                    <a:pt x="47" y="64"/>
                    <a:pt x="4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5" name="Freeform 41">
            <a:extLst>
              <a:ext uri="{FF2B5EF4-FFF2-40B4-BE49-F238E27FC236}">
                <a16:creationId xmlns:a16="http://schemas.microsoft.com/office/drawing/2014/main" id="{28EC59BE-B997-46BE-B496-BCFDED22482C}"/>
              </a:ext>
            </a:extLst>
          </p:cNvPr>
          <p:cNvSpPr>
            <a:spLocks noChangeAspect="1" noEditPoints="1"/>
          </p:cNvSpPr>
          <p:nvPr/>
        </p:nvSpPr>
        <p:spPr bwMode="auto">
          <a:xfrm>
            <a:off x="3964422" y="1696520"/>
            <a:ext cx="367041" cy="367041"/>
          </a:xfrm>
          <a:custGeom>
            <a:avLst/>
            <a:gdLst>
              <a:gd name="T0" fmla="*/ 0 w 512"/>
              <a:gd name="T1" fmla="*/ 256 h 512"/>
              <a:gd name="T2" fmla="*/ 512 w 512"/>
              <a:gd name="T3" fmla="*/ 256 h 512"/>
              <a:gd name="T4" fmla="*/ 245 w 512"/>
              <a:gd name="T5" fmla="*/ 106 h 512"/>
              <a:gd name="T6" fmla="*/ 351 w 512"/>
              <a:gd name="T7" fmla="*/ 225 h 512"/>
              <a:gd name="T8" fmla="*/ 339 w 512"/>
              <a:gd name="T9" fmla="*/ 234 h 512"/>
              <a:gd name="T10" fmla="*/ 330 w 512"/>
              <a:gd name="T11" fmla="*/ 213 h 512"/>
              <a:gd name="T12" fmla="*/ 160 w 512"/>
              <a:gd name="T13" fmla="*/ 213 h 512"/>
              <a:gd name="T14" fmla="*/ 151 w 512"/>
              <a:gd name="T15" fmla="*/ 234 h 512"/>
              <a:gd name="T16" fmla="*/ 138 w 512"/>
              <a:gd name="T17" fmla="*/ 213 h 512"/>
              <a:gd name="T18" fmla="*/ 349 w 512"/>
              <a:gd name="T19" fmla="*/ 412 h 512"/>
              <a:gd name="T20" fmla="*/ 334 w 512"/>
              <a:gd name="T21" fmla="*/ 413 h 512"/>
              <a:gd name="T22" fmla="*/ 352 w 512"/>
              <a:gd name="T23" fmla="*/ 331 h 512"/>
              <a:gd name="T24" fmla="*/ 341 w 512"/>
              <a:gd name="T25" fmla="*/ 277 h 512"/>
              <a:gd name="T26" fmla="*/ 330 w 512"/>
              <a:gd name="T27" fmla="*/ 288 h 512"/>
              <a:gd name="T28" fmla="*/ 309 w 512"/>
              <a:gd name="T29" fmla="*/ 288 h 512"/>
              <a:gd name="T30" fmla="*/ 309 w 512"/>
              <a:gd name="T31" fmla="*/ 277 h 512"/>
              <a:gd name="T32" fmla="*/ 288 w 512"/>
              <a:gd name="T33" fmla="*/ 277 h 512"/>
              <a:gd name="T34" fmla="*/ 277 w 512"/>
              <a:gd name="T35" fmla="*/ 298 h 512"/>
              <a:gd name="T36" fmla="*/ 266 w 512"/>
              <a:gd name="T37" fmla="*/ 181 h 512"/>
              <a:gd name="T38" fmla="*/ 245 w 512"/>
              <a:gd name="T39" fmla="*/ 181 h 512"/>
              <a:gd name="T40" fmla="*/ 245 w 512"/>
              <a:gd name="T41" fmla="*/ 224 h 512"/>
              <a:gd name="T42" fmla="*/ 234 w 512"/>
              <a:gd name="T43" fmla="*/ 298 h 512"/>
              <a:gd name="T44" fmla="*/ 224 w 512"/>
              <a:gd name="T45" fmla="*/ 224 h 512"/>
              <a:gd name="T46" fmla="*/ 213 w 512"/>
              <a:gd name="T47" fmla="*/ 192 h 512"/>
              <a:gd name="T48" fmla="*/ 202 w 512"/>
              <a:gd name="T49" fmla="*/ 330 h 512"/>
              <a:gd name="T50" fmla="*/ 185 w 512"/>
              <a:gd name="T51" fmla="*/ 338 h 512"/>
              <a:gd name="T52" fmla="*/ 146 w 512"/>
              <a:gd name="T53" fmla="*/ 276 h 512"/>
              <a:gd name="T54" fmla="*/ 137 w 512"/>
              <a:gd name="T55" fmla="*/ 294 h 512"/>
              <a:gd name="T56" fmla="*/ 208 w 512"/>
              <a:gd name="T57" fmla="*/ 396 h 512"/>
              <a:gd name="T58" fmla="*/ 202 w 512"/>
              <a:gd name="T59" fmla="*/ 416 h 512"/>
              <a:gd name="T60" fmla="*/ 118 w 512"/>
              <a:gd name="T61" fmla="*/ 303 h 512"/>
              <a:gd name="T62" fmla="*/ 153 w 512"/>
              <a:gd name="T63" fmla="*/ 256 h 512"/>
              <a:gd name="T64" fmla="*/ 181 w 512"/>
              <a:gd name="T65" fmla="*/ 293 h 512"/>
              <a:gd name="T66" fmla="*/ 213 w 512"/>
              <a:gd name="T67" fmla="*/ 170 h 512"/>
              <a:gd name="T68" fmla="*/ 256 w 512"/>
              <a:gd name="T69" fmla="*/ 149 h 512"/>
              <a:gd name="T70" fmla="*/ 288 w 512"/>
              <a:gd name="T71" fmla="*/ 247 h 512"/>
              <a:gd name="T72" fmla="*/ 325 w 512"/>
              <a:gd name="T73" fmla="*/ 260 h 512"/>
              <a:gd name="T74" fmla="*/ 373 w 512"/>
              <a:gd name="T75" fmla="*/ 288 h 512"/>
              <a:gd name="T76" fmla="*/ 349 w 512"/>
              <a:gd name="T77"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106"/>
                </a:moveTo>
                <a:cubicBezTo>
                  <a:pt x="304" y="106"/>
                  <a:pt x="352" y="154"/>
                  <a:pt x="352" y="213"/>
                </a:cubicBezTo>
                <a:cubicBezTo>
                  <a:pt x="352" y="217"/>
                  <a:pt x="351" y="221"/>
                  <a:pt x="351" y="225"/>
                </a:cubicBezTo>
                <a:cubicBezTo>
                  <a:pt x="350" y="230"/>
                  <a:pt x="346" y="234"/>
                  <a:pt x="340" y="234"/>
                </a:cubicBezTo>
                <a:cubicBezTo>
                  <a:pt x="340" y="234"/>
                  <a:pt x="340" y="234"/>
                  <a:pt x="339" y="234"/>
                </a:cubicBezTo>
                <a:cubicBezTo>
                  <a:pt x="333" y="234"/>
                  <a:pt x="329" y="228"/>
                  <a:pt x="330" y="222"/>
                </a:cubicBezTo>
                <a:cubicBezTo>
                  <a:pt x="330" y="219"/>
                  <a:pt x="330" y="216"/>
                  <a:pt x="330" y="213"/>
                </a:cubicBezTo>
                <a:cubicBezTo>
                  <a:pt x="330" y="166"/>
                  <a:pt x="292" y="128"/>
                  <a:pt x="245" y="128"/>
                </a:cubicBezTo>
                <a:cubicBezTo>
                  <a:pt x="198" y="128"/>
                  <a:pt x="160" y="166"/>
                  <a:pt x="160" y="213"/>
                </a:cubicBezTo>
                <a:cubicBezTo>
                  <a:pt x="160" y="216"/>
                  <a:pt x="160" y="219"/>
                  <a:pt x="160" y="223"/>
                </a:cubicBezTo>
                <a:cubicBezTo>
                  <a:pt x="161" y="228"/>
                  <a:pt x="157" y="234"/>
                  <a:pt x="151" y="234"/>
                </a:cubicBezTo>
                <a:cubicBezTo>
                  <a:pt x="145" y="235"/>
                  <a:pt x="140" y="231"/>
                  <a:pt x="139" y="225"/>
                </a:cubicBezTo>
                <a:cubicBezTo>
                  <a:pt x="139" y="221"/>
                  <a:pt x="138" y="217"/>
                  <a:pt x="138" y="213"/>
                </a:cubicBezTo>
                <a:cubicBezTo>
                  <a:pt x="138" y="154"/>
                  <a:pt x="186" y="106"/>
                  <a:pt x="245" y="106"/>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2" y="331"/>
                  <a:pt x="352" y="331"/>
                </a:cubicBezTo>
                <a:cubicBezTo>
                  <a:pt x="352" y="288"/>
                  <a:pt x="352" y="288"/>
                  <a:pt x="352" y="288"/>
                </a:cubicBezTo>
                <a:cubicBezTo>
                  <a:pt x="352" y="282"/>
                  <a:pt x="347" y="277"/>
                  <a:pt x="341" y="277"/>
                </a:cubicBezTo>
                <a:cubicBezTo>
                  <a:pt x="336" y="277"/>
                  <a:pt x="331" y="281"/>
                  <a:pt x="330" y="286"/>
                </a:cubicBezTo>
                <a:cubicBezTo>
                  <a:pt x="330" y="288"/>
                  <a:pt x="330" y="288"/>
                  <a:pt x="330" y="288"/>
                </a:cubicBezTo>
                <a:cubicBezTo>
                  <a:pt x="330" y="294"/>
                  <a:pt x="326" y="298"/>
                  <a:pt x="320" y="298"/>
                </a:cubicBezTo>
                <a:cubicBezTo>
                  <a:pt x="314" y="298"/>
                  <a:pt x="309" y="294"/>
                  <a:pt x="309" y="288"/>
                </a:cubicBezTo>
                <a:cubicBezTo>
                  <a:pt x="309" y="287"/>
                  <a:pt x="309" y="285"/>
                  <a:pt x="309" y="284"/>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181"/>
                  <a:pt x="266" y="181"/>
                  <a:pt x="266" y="181"/>
                </a:cubicBezTo>
                <a:cubicBezTo>
                  <a:pt x="266" y="175"/>
                  <a:pt x="262" y="170"/>
                  <a:pt x="256" y="170"/>
                </a:cubicBezTo>
                <a:cubicBezTo>
                  <a:pt x="250" y="170"/>
                  <a:pt x="245" y="175"/>
                  <a:pt x="245" y="181"/>
                </a:cubicBezTo>
                <a:cubicBezTo>
                  <a:pt x="245" y="202"/>
                  <a:pt x="245" y="202"/>
                  <a:pt x="245" y="202"/>
                </a:cubicBezTo>
                <a:cubicBezTo>
                  <a:pt x="245" y="224"/>
                  <a:pt x="245" y="224"/>
                  <a:pt x="245" y="224"/>
                </a:cubicBezTo>
                <a:cubicBezTo>
                  <a:pt x="245" y="288"/>
                  <a:pt x="245" y="288"/>
                  <a:pt x="245" y="288"/>
                </a:cubicBezTo>
                <a:cubicBezTo>
                  <a:pt x="245" y="294"/>
                  <a:pt x="240" y="298"/>
                  <a:pt x="234" y="298"/>
                </a:cubicBezTo>
                <a:cubicBezTo>
                  <a:pt x="228" y="298"/>
                  <a:pt x="224" y="294"/>
                  <a:pt x="224" y="288"/>
                </a:cubicBezTo>
                <a:cubicBezTo>
                  <a:pt x="224" y="224"/>
                  <a:pt x="224" y="224"/>
                  <a:pt x="224" y="224"/>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17" y="170"/>
                  <a:pt x="221" y="171"/>
                  <a:pt x="225" y="173"/>
                </a:cubicBezTo>
                <a:cubicBezTo>
                  <a:pt x="229" y="159"/>
                  <a:pt x="241" y="149"/>
                  <a:pt x="256" y="149"/>
                </a:cubicBezTo>
                <a:cubicBezTo>
                  <a:pt x="273" y="149"/>
                  <a:pt x="288" y="163"/>
                  <a:pt x="288" y="181"/>
                </a:cubicBezTo>
                <a:cubicBezTo>
                  <a:pt x="288" y="247"/>
                  <a:pt x="288" y="247"/>
                  <a:pt x="288" y="247"/>
                </a:cubicBezTo>
                <a:cubicBezTo>
                  <a:pt x="291" y="246"/>
                  <a:pt x="295" y="245"/>
                  <a:pt x="298" y="245"/>
                </a:cubicBezTo>
                <a:cubicBezTo>
                  <a:pt x="310" y="245"/>
                  <a:pt x="320" y="251"/>
                  <a:pt x="325" y="260"/>
                </a:cubicBezTo>
                <a:cubicBezTo>
                  <a:pt x="330" y="257"/>
                  <a:pt x="335" y="256"/>
                  <a:pt x="341" y="256"/>
                </a:cubicBezTo>
                <a:cubicBezTo>
                  <a:pt x="359" y="256"/>
                  <a:pt x="373" y="270"/>
                  <a:pt x="373" y="288"/>
                </a:cubicBezTo>
                <a:cubicBezTo>
                  <a:pt x="373" y="330"/>
                  <a:pt x="373" y="330"/>
                  <a:pt x="373" y="330"/>
                </a:cubicBezTo>
                <a:cubicBezTo>
                  <a:pt x="373" y="332"/>
                  <a:pt x="376" y="380"/>
                  <a:pt x="349"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6" name="Group 44">
            <a:extLst>
              <a:ext uri="{FF2B5EF4-FFF2-40B4-BE49-F238E27FC236}">
                <a16:creationId xmlns:a16="http://schemas.microsoft.com/office/drawing/2014/main" id="{7503AEC7-8CCF-46D5-901C-ADDEC1B7A13A}"/>
              </a:ext>
            </a:extLst>
          </p:cNvPr>
          <p:cNvGrpSpPr>
            <a:grpSpLocks noChangeAspect="1"/>
          </p:cNvGrpSpPr>
          <p:nvPr/>
        </p:nvGrpSpPr>
        <p:grpSpPr bwMode="auto">
          <a:xfrm>
            <a:off x="4399232" y="1696520"/>
            <a:ext cx="367041" cy="367041"/>
            <a:chOff x="3670" y="730"/>
            <a:chExt cx="340" cy="340"/>
          </a:xfrm>
          <a:solidFill>
            <a:schemeClr val="accent1"/>
          </a:solidFill>
        </p:grpSpPr>
        <p:sp>
          <p:nvSpPr>
            <p:cNvPr id="147" name="Freeform 45">
              <a:extLst>
                <a:ext uri="{FF2B5EF4-FFF2-40B4-BE49-F238E27FC236}">
                  <a16:creationId xmlns:a16="http://schemas.microsoft.com/office/drawing/2014/main" id="{6D215B52-E7A8-4BC7-B40F-C8EB74201459}"/>
                </a:ext>
              </a:extLst>
            </p:cNvPr>
            <p:cNvSpPr>
              <a:spLocks noEditPoints="1"/>
            </p:cNvSpPr>
            <p:nvPr/>
          </p:nvSpPr>
          <p:spPr bwMode="auto">
            <a:xfrm>
              <a:off x="3670" y="73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8" name="Freeform 46">
              <a:extLst>
                <a:ext uri="{FF2B5EF4-FFF2-40B4-BE49-F238E27FC236}">
                  <a16:creationId xmlns:a16="http://schemas.microsoft.com/office/drawing/2014/main" id="{6C7935B4-95B6-4E50-98D2-9D42D3B7DB1B}"/>
                </a:ext>
              </a:extLst>
            </p:cNvPr>
            <p:cNvSpPr>
              <a:spLocks noEditPoints="1"/>
            </p:cNvSpPr>
            <p:nvPr/>
          </p:nvSpPr>
          <p:spPr bwMode="auto">
            <a:xfrm>
              <a:off x="3744" y="800"/>
              <a:ext cx="176" cy="206"/>
            </a:xfrm>
            <a:custGeom>
              <a:avLst/>
              <a:gdLst>
                <a:gd name="T0" fmla="*/ 27 w 265"/>
                <a:gd name="T1" fmla="*/ 107 h 310"/>
                <a:gd name="T2" fmla="*/ 241 w 265"/>
                <a:gd name="T3" fmla="*/ 107 h 310"/>
                <a:gd name="T4" fmla="*/ 229 w 265"/>
                <a:gd name="T5" fmla="*/ 128 h 310"/>
                <a:gd name="T6" fmla="*/ 219 w 265"/>
                <a:gd name="T7" fmla="*/ 116 h 310"/>
                <a:gd name="T8" fmla="*/ 134 w 265"/>
                <a:gd name="T9" fmla="*/ 22 h 310"/>
                <a:gd name="T10" fmla="*/ 49 w 265"/>
                <a:gd name="T11" fmla="*/ 117 h 310"/>
                <a:gd name="T12" fmla="*/ 28 w 265"/>
                <a:gd name="T13" fmla="*/ 119 h 310"/>
                <a:gd name="T14" fmla="*/ 262 w 265"/>
                <a:gd name="T15" fmla="*/ 182 h 310"/>
                <a:gd name="T16" fmla="*/ 214 w 265"/>
                <a:gd name="T17" fmla="*/ 154 h 310"/>
                <a:gd name="T18" fmla="*/ 177 w 265"/>
                <a:gd name="T19" fmla="*/ 141 h 310"/>
                <a:gd name="T20" fmla="*/ 145 w 265"/>
                <a:gd name="T21" fmla="*/ 43 h 310"/>
                <a:gd name="T22" fmla="*/ 102 w 265"/>
                <a:gd name="T23" fmla="*/ 64 h 310"/>
                <a:gd name="T24" fmla="*/ 70 w 265"/>
                <a:gd name="T25" fmla="*/ 187 h 310"/>
                <a:gd name="T26" fmla="*/ 42 w 265"/>
                <a:gd name="T27" fmla="*/ 150 h 310"/>
                <a:gd name="T28" fmla="*/ 7 w 265"/>
                <a:gd name="T29" fmla="*/ 197 h 310"/>
                <a:gd name="T30" fmla="*/ 91 w 265"/>
                <a:gd name="T31" fmla="*/ 310 h 310"/>
                <a:gd name="T32" fmla="*/ 97 w 265"/>
                <a:gd name="T33" fmla="*/ 290 h 310"/>
                <a:gd name="T34" fmla="*/ 26 w 265"/>
                <a:gd name="T35" fmla="*/ 188 h 310"/>
                <a:gd name="T36" fmla="*/ 35 w 265"/>
                <a:gd name="T37" fmla="*/ 170 h 310"/>
                <a:gd name="T38" fmla="*/ 74 w 265"/>
                <a:gd name="T39" fmla="*/ 232 h 310"/>
                <a:gd name="T40" fmla="*/ 91 w 265"/>
                <a:gd name="T41" fmla="*/ 224 h 310"/>
                <a:gd name="T42" fmla="*/ 102 w 265"/>
                <a:gd name="T43" fmla="*/ 86 h 310"/>
                <a:gd name="T44" fmla="*/ 113 w 265"/>
                <a:gd name="T45" fmla="*/ 118 h 310"/>
                <a:gd name="T46" fmla="*/ 123 w 265"/>
                <a:gd name="T47" fmla="*/ 192 h 310"/>
                <a:gd name="T48" fmla="*/ 134 w 265"/>
                <a:gd name="T49" fmla="*/ 118 h 310"/>
                <a:gd name="T50" fmla="*/ 134 w 265"/>
                <a:gd name="T51" fmla="*/ 75 h 310"/>
                <a:gd name="T52" fmla="*/ 155 w 265"/>
                <a:gd name="T53" fmla="*/ 75 h 310"/>
                <a:gd name="T54" fmla="*/ 166 w 265"/>
                <a:gd name="T55" fmla="*/ 192 h 310"/>
                <a:gd name="T56" fmla="*/ 177 w 265"/>
                <a:gd name="T57" fmla="*/ 171 h 310"/>
                <a:gd name="T58" fmla="*/ 198 w 265"/>
                <a:gd name="T59" fmla="*/ 171 h 310"/>
                <a:gd name="T60" fmla="*/ 198 w 265"/>
                <a:gd name="T61" fmla="*/ 182 h 310"/>
                <a:gd name="T62" fmla="*/ 219 w 265"/>
                <a:gd name="T63" fmla="*/ 182 h 310"/>
                <a:gd name="T64" fmla="*/ 230 w 265"/>
                <a:gd name="T65" fmla="*/ 171 h 310"/>
                <a:gd name="T66" fmla="*/ 241 w 265"/>
                <a:gd name="T67" fmla="*/ 225 h 310"/>
                <a:gd name="T68" fmla="*/ 223 w 265"/>
                <a:gd name="T69" fmla="*/ 307 h 310"/>
                <a:gd name="T70" fmla="*/ 238 w 265"/>
                <a:gd name="T71" fmla="*/ 30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5" h="310">
                  <a:moveTo>
                    <a:pt x="28" y="119"/>
                  </a:moveTo>
                  <a:cubicBezTo>
                    <a:pt x="28" y="115"/>
                    <a:pt x="27" y="111"/>
                    <a:pt x="27" y="107"/>
                  </a:cubicBezTo>
                  <a:cubicBezTo>
                    <a:pt x="27" y="48"/>
                    <a:pt x="75" y="0"/>
                    <a:pt x="134" y="0"/>
                  </a:cubicBezTo>
                  <a:cubicBezTo>
                    <a:pt x="193" y="0"/>
                    <a:pt x="241" y="48"/>
                    <a:pt x="241" y="107"/>
                  </a:cubicBezTo>
                  <a:cubicBezTo>
                    <a:pt x="241" y="111"/>
                    <a:pt x="240" y="115"/>
                    <a:pt x="240" y="119"/>
                  </a:cubicBezTo>
                  <a:cubicBezTo>
                    <a:pt x="239" y="124"/>
                    <a:pt x="235" y="128"/>
                    <a:pt x="229" y="128"/>
                  </a:cubicBezTo>
                  <a:cubicBezTo>
                    <a:pt x="229" y="128"/>
                    <a:pt x="229" y="128"/>
                    <a:pt x="228" y="128"/>
                  </a:cubicBezTo>
                  <a:cubicBezTo>
                    <a:pt x="222" y="128"/>
                    <a:pt x="218" y="122"/>
                    <a:pt x="219" y="116"/>
                  </a:cubicBezTo>
                  <a:cubicBezTo>
                    <a:pt x="219" y="113"/>
                    <a:pt x="219" y="110"/>
                    <a:pt x="219" y="107"/>
                  </a:cubicBezTo>
                  <a:cubicBezTo>
                    <a:pt x="219" y="60"/>
                    <a:pt x="181" y="22"/>
                    <a:pt x="134" y="22"/>
                  </a:cubicBezTo>
                  <a:cubicBezTo>
                    <a:pt x="87" y="22"/>
                    <a:pt x="49" y="60"/>
                    <a:pt x="49" y="107"/>
                  </a:cubicBezTo>
                  <a:cubicBezTo>
                    <a:pt x="49" y="110"/>
                    <a:pt x="49" y="113"/>
                    <a:pt x="49" y="117"/>
                  </a:cubicBezTo>
                  <a:cubicBezTo>
                    <a:pt x="50" y="122"/>
                    <a:pt x="46" y="128"/>
                    <a:pt x="40" y="128"/>
                  </a:cubicBezTo>
                  <a:cubicBezTo>
                    <a:pt x="34" y="129"/>
                    <a:pt x="29" y="125"/>
                    <a:pt x="28" y="119"/>
                  </a:cubicBezTo>
                  <a:close/>
                  <a:moveTo>
                    <a:pt x="262" y="224"/>
                  </a:moveTo>
                  <a:cubicBezTo>
                    <a:pt x="262" y="182"/>
                    <a:pt x="262" y="182"/>
                    <a:pt x="262" y="182"/>
                  </a:cubicBezTo>
                  <a:cubicBezTo>
                    <a:pt x="262" y="164"/>
                    <a:pt x="248" y="150"/>
                    <a:pt x="230" y="150"/>
                  </a:cubicBezTo>
                  <a:cubicBezTo>
                    <a:pt x="224" y="150"/>
                    <a:pt x="219" y="151"/>
                    <a:pt x="214" y="154"/>
                  </a:cubicBezTo>
                  <a:cubicBezTo>
                    <a:pt x="209" y="145"/>
                    <a:pt x="199" y="139"/>
                    <a:pt x="187" y="139"/>
                  </a:cubicBezTo>
                  <a:cubicBezTo>
                    <a:pt x="184" y="139"/>
                    <a:pt x="180" y="140"/>
                    <a:pt x="177" y="141"/>
                  </a:cubicBezTo>
                  <a:cubicBezTo>
                    <a:pt x="177" y="75"/>
                    <a:pt x="177" y="75"/>
                    <a:pt x="177" y="75"/>
                  </a:cubicBezTo>
                  <a:cubicBezTo>
                    <a:pt x="177" y="57"/>
                    <a:pt x="162" y="43"/>
                    <a:pt x="145" y="43"/>
                  </a:cubicBezTo>
                  <a:cubicBezTo>
                    <a:pt x="130" y="43"/>
                    <a:pt x="118" y="53"/>
                    <a:pt x="114" y="67"/>
                  </a:cubicBezTo>
                  <a:cubicBezTo>
                    <a:pt x="110" y="65"/>
                    <a:pt x="106" y="64"/>
                    <a:pt x="102" y="64"/>
                  </a:cubicBezTo>
                  <a:cubicBezTo>
                    <a:pt x="84" y="64"/>
                    <a:pt x="70" y="79"/>
                    <a:pt x="70" y="96"/>
                  </a:cubicBezTo>
                  <a:cubicBezTo>
                    <a:pt x="70" y="187"/>
                    <a:pt x="70" y="187"/>
                    <a:pt x="70" y="187"/>
                  </a:cubicBezTo>
                  <a:cubicBezTo>
                    <a:pt x="66" y="180"/>
                    <a:pt x="63" y="173"/>
                    <a:pt x="61" y="166"/>
                  </a:cubicBezTo>
                  <a:cubicBezTo>
                    <a:pt x="57" y="159"/>
                    <a:pt x="50" y="153"/>
                    <a:pt x="42" y="150"/>
                  </a:cubicBezTo>
                  <a:cubicBezTo>
                    <a:pt x="34" y="147"/>
                    <a:pt x="25" y="148"/>
                    <a:pt x="18" y="152"/>
                  </a:cubicBezTo>
                  <a:cubicBezTo>
                    <a:pt x="2" y="160"/>
                    <a:pt x="0" y="181"/>
                    <a:pt x="7" y="197"/>
                  </a:cubicBezTo>
                  <a:cubicBezTo>
                    <a:pt x="10" y="204"/>
                    <a:pt x="38" y="278"/>
                    <a:pt x="86" y="308"/>
                  </a:cubicBezTo>
                  <a:cubicBezTo>
                    <a:pt x="87" y="309"/>
                    <a:pt x="89" y="310"/>
                    <a:pt x="91" y="310"/>
                  </a:cubicBezTo>
                  <a:cubicBezTo>
                    <a:pt x="95" y="310"/>
                    <a:pt x="98" y="308"/>
                    <a:pt x="100" y="305"/>
                  </a:cubicBezTo>
                  <a:cubicBezTo>
                    <a:pt x="103" y="300"/>
                    <a:pt x="102" y="293"/>
                    <a:pt x="97" y="290"/>
                  </a:cubicBezTo>
                  <a:cubicBezTo>
                    <a:pt x="54" y="263"/>
                    <a:pt x="27" y="189"/>
                    <a:pt x="27" y="189"/>
                  </a:cubicBezTo>
                  <a:cubicBezTo>
                    <a:pt x="27" y="188"/>
                    <a:pt x="26" y="188"/>
                    <a:pt x="26" y="188"/>
                  </a:cubicBezTo>
                  <a:cubicBezTo>
                    <a:pt x="23" y="182"/>
                    <a:pt x="23" y="173"/>
                    <a:pt x="27" y="171"/>
                  </a:cubicBezTo>
                  <a:cubicBezTo>
                    <a:pt x="30" y="170"/>
                    <a:pt x="33" y="170"/>
                    <a:pt x="35" y="170"/>
                  </a:cubicBezTo>
                  <a:cubicBezTo>
                    <a:pt x="38" y="171"/>
                    <a:pt x="40" y="173"/>
                    <a:pt x="41" y="175"/>
                  </a:cubicBezTo>
                  <a:cubicBezTo>
                    <a:pt x="44" y="182"/>
                    <a:pt x="60" y="220"/>
                    <a:pt x="74" y="232"/>
                  </a:cubicBezTo>
                  <a:cubicBezTo>
                    <a:pt x="77" y="235"/>
                    <a:pt x="81" y="236"/>
                    <a:pt x="85" y="234"/>
                  </a:cubicBezTo>
                  <a:cubicBezTo>
                    <a:pt x="89" y="232"/>
                    <a:pt x="91" y="229"/>
                    <a:pt x="91" y="224"/>
                  </a:cubicBezTo>
                  <a:cubicBezTo>
                    <a:pt x="91" y="96"/>
                    <a:pt x="91" y="96"/>
                    <a:pt x="91" y="96"/>
                  </a:cubicBezTo>
                  <a:cubicBezTo>
                    <a:pt x="91" y="90"/>
                    <a:pt x="96" y="86"/>
                    <a:pt x="102" y="86"/>
                  </a:cubicBezTo>
                  <a:cubicBezTo>
                    <a:pt x="108" y="86"/>
                    <a:pt x="113" y="90"/>
                    <a:pt x="113" y="96"/>
                  </a:cubicBezTo>
                  <a:cubicBezTo>
                    <a:pt x="113" y="118"/>
                    <a:pt x="113" y="118"/>
                    <a:pt x="113" y="118"/>
                  </a:cubicBezTo>
                  <a:cubicBezTo>
                    <a:pt x="113" y="182"/>
                    <a:pt x="113" y="182"/>
                    <a:pt x="113" y="182"/>
                  </a:cubicBezTo>
                  <a:cubicBezTo>
                    <a:pt x="113" y="188"/>
                    <a:pt x="117" y="192"/>
                    <a:pt x="123" y="192"/>
                  </a:cubicBezTo>
                  <a:cubicBezTo>
                    <a:pt x="129" y="192"/>
                    <a:pt x="134" y="188"/>
                    <a:pt x="134" y="182"/>
                  </a:cubicBezTo>
                  <a:cubicBezTo>
                    <a:pt x="134" y="118"/>
                    <a:pt x="134" y="118"/>
                    <a:pt x="134" y="118"/>
                  </a:cubicBezTo>
                  <a:cubicBezTo>
                    <a:pt x="134" y="96"/>
                    <a:pt x="134" y="96"/>
                    <a:pt x="134" y="96"/>
                  </a:cubicBezTo>
                  <a:cubicBezTo>
                    <a:pt x="134" y="75"/>
                    <a:pt x="134" y="75"/>
                    <a:pt x="134" y="75"/>
                  </a:cubicBezTo>
                  <a:cubicBezTo>
                    <a:pt x="134" y="69"/>
                    <a:pt x="139" y="64"/>
                    <a:pt x="145" y="64"/>
                  </a:cubicBezTo>
                  <a:cubicBezTo>
                    <a:pt x="151" y="64"/>
                    <a:pt x="155" y="69"/>
                    <a:pt x="155" y="75"/>
                  </a:cubicBezTo>
                  <a:cubicBezTo>
                    <a:pt x="155" y="182"/>
                    <a:pt x="155" y="182"/>
                    <a:pt x="155" y="182"/>
                  </a:cubicBezTo>
                  <a:cubicBezTo>
                    <a:pt x="155" y="188"/>
                    <a:pt x="160" y="192"/>
                    <a:pt x="166" y="192"/>
                  </a:cubicBezTo>
                  <a:cubicBezTo>
                    <a:pt x="172" y="192"/>
                    <a:pt x="177" y="188"/>
                    <a:pt x="177" y="182"/>
                  </a:cubicBezTo>
                  <a:cubicBezTo>
                    <a:pt x="177" y="171"/>
                    <a:pt x="177" y="171"/>
                    <a:pt x="177" y="171"/>
                  </a:cubicBezTo>
                  <a:cubicBezTo>
                    <a:pt x="177" y="165"/>
                    <a:pt x="181" y="160"/>
                    <a:pt x="187" y="160"/>
                  </a:cubicBezTo>
                  <a:cubicBezTo>
                    <a:pt x="193" y="160"/>
                    <a:pt x="198" y="165"/>
                    <a:pt x="198" y="171"/>
                  </a:cubicBezTo>
                  <a:cubicBezTo>
                    <a:pt x="198" y="178"/>
                    <a:pt x="198" y="178"/>
                    <a:pt x="198" y="178"/>
                  </a:cubicBezTo>
                  <a:cubicBezTo>
                    <a:pt x="198" y="179"/>
                    <a:pt x="198" y="181"/>
                    <a:pt x="198" y="182"/>
                  </a:cubicBezTo>
                  <a:cubicBezTo>
                    <a:pt x="198" y="188"/>
                    <a:pt x="203" y="192"/>
                    <a:pt x="209" y="192"/>
                  </a:cubicBezTo>
                  <a:cubicBezTo>
                    <a:pt x="215" y="192"/>
                    <a:pt x="219" y="188"/>
                    <a:pt x="219" y="182"/>
                  </a:cubicBezTo>
                  <a:cubicBezTo>
                    <a:pt x="219" y="180"/>
                    <a:pt x="219" y="180"/>
                    <a:pt x="219" y="180"/>
                  </a:cubicBezTo>
                  <a:cubicBezTo>
                    <a:pt x="220" y="175"/>
                    <a:pt x="225" y="171"/>
                    <a:pt x="230" y="171"/>
                  </a:cubicBezTo>
                  <a:cubicBezTo>
                    <a:pt x="236" y="171"/>
                    <a:pt x="241" y="176"/>
                    <a:pt x="241" y="182"/>
                  </a:cubicBezTo>
                  <a:cubicBezTo>
                    <a:pt x="241" y="225"/>
                    <a:pt x="241" y="225"/>
                    <a:pt x="241" y="225"/>
                  </a:cubicBezTo>
                  <a:cubicBezTo>
                    <a:pt x="241" y="225"/>
                    <a:pt x="243" y="267"/>
                    <a:pt x="222" y="292"/>
                  </a:cubicBezTo>
                  <a:cubicBezTo>
                    <a:pt x="218" y="297"/>
                    <a:pt x="218" y="303"/>
                    <a:pt x="223" y="307"/>
                  </a:cubicBezTo>
                  <a:cubicBezTo>
                    <a:pt x="225" y="309"/>
                    <a:pt x="227" y="310"/>
                    <a:pt x="230" y="310"/>
                  </a:cubicBezTo>
                  <a:cubicBezTo>
                    <a:pt x="233" y="310"/>
                    <a:pt x="236" y="308"/>
                    <a:pt x="238" y="306"/>
                  </a:cubicBezTo>
                  <a:cubicBezTo>
                    <a:pt x="265" y="274"/>
                    <a:pt x="262" y="226"/>
                    <a:pt x="262"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9" name="Freeform 50">
            <a:extLst>
              <a:ext uri="{FF2B5EF4-FFF2-40B4-BE49-F238E27FC236}">
                <a16:creationId xmlns:a16="http://schemas.microsoft.com/office/drawing/2014/main" id="{25D46DF6-B90A-41A8-B871-FDB65580CA61}"/>
              </a:ext>
            </a:extLst>
          </p:cNvPr>
          <p:cNvSpPr>
            <a:spLocks noChangeAspect="1" noEditPoints="1"/>
          </p:cNvSpPr>
          <p:nvPr/>
        </p:nvSpPr>
        <p:spPr bwMode="auto">
          <a:xfrm>
            <a:off x="4834042" y="1696520"/>
            <a:ext cx="367041" cy="367041"/>
          </a:xfrm>
          <a:custGeom>
            <a:avLst/>
            <a:gdLst>
              <a:gd name="T0" fmla="*/ 0 w 512"/>
              <a:gd name="T1" fmla="*/ 256 h 512"/>
              <a:gd name="T2" fmla="*/ 512 w 512"/>
              <a:gd name="T3" fmla="*/ 256 h 512"/>
              <a:gd name="T4" fmla="*/ 166 w 512"/>
              <a:gd name="T5" fmla="*/ 113 h 512"/>
              <a:gd name="T6" fmla="*/ 208 w 512"/>
              <a:gd name="T7" fmla="*/ 116 h 512"/>
              <a:gd name="T8" fmla="*/ 206 w 512"/>
              <a:gd name="T9" fmla="*/ 158 h 512"/>
              <a:gd name="T10" fmla="*/ 194 w 512"/>
              <a:gd name="T11" fmla="*/ 150 h 512"/>
              <a:gd name="T12" fmla="*/ 183 w 512"/>
              <a:gd name="T13" fmla="*/ 159 h 512"/>
              <a:gd name="T14" fmla="*/ 169 w 512"/>
              <a:gd name="T15" fmla="*/ 162 h 512"/>
              <a:gd name="T16" fmla="*/ 175 w 512"/>
              <a:gd name="T17" fmla="*/ 133 h 512"/>
              <a:gd name="T18" fmla="*/ 158 w 512"/>
              <a:gd name="T19" fmla="*/ 126 h 512"/>
              <a:gd name="T20" fmla="*/ 121 w 512"/>
              <a:gd name="T21" fmla="*/ 244 h 512"/>
              <a:gd name="T22" fmla="*/ 105 w 512"/>
              <a:gd name="T23" fmla="*/ 206 h 512"/>
              <a:gd name="T24" fmla="*/ 126 w 512"/>
              <a:gd name="T25" fmla="*/ 202 h 512"/>
              <a:gd name="T26" fmla="*/ 136 w 512"/>
              <a:gd name="T27" fmla="*/ 192 h 512"/>
              <a:gd name="T28" fmla="*/ 154 w 512"/>
              <a:gd name="T29" fmla="*/ 204 h 512"/>
              <a:gd name="T30" fmla="*/ 149 w 512"/>
              <a:gd name="T31" fmla="*/ 217 h 512"/>
              <a:gd name="T32" fmla="*/ 153 w 512"/>
              <a:gd name="T33" fmla="*/ 238 h 512"/>
              <a:gd name="T34" fmla="*/ 121 w 512"/>
              <a:gd name="T35" fmla="*/ 244 h 512"/>
              <a:gd name="T36" fmla="*/ 362 w 512"/>
              <a:gd name="T37" fmla="*/ 416 h 512"/>
              <a:gd name="T38" fmla="*/ 354 w 512"/>
              <a:gd name="T39" fmla="*/ 398 h 512"/>
              <a:gd name="T40" fmla="*/ 373 w 512"/>
              <a:gd name="T41" fmla="*/ 288 h 512"/>
              <a:gd name="T42" fmla="*/ 352 w 512"/>
              <a:gd name="T43" fmla="*/ 288 h 512"/>
              <a:gd name="T44" fmla="*/ 341 w 512"/>
              <a:gd name="T45" fmla="*/ 298 h 512"/>
              <a:gd name="T46" fmla="*/ 330 w 512"/>
              <a:gd name="T47" fmla="*/ 288 h 512"/>
              <a:gd name="T48" fmla="*/ 320 w 512"/>
              <a:gd name="T49" fmla="*/ 266 h 512"/>
              <a:gd name="T50" fmla="*/ 309 w 512"/>
              <a:gd name="T51" fmla="*/ 288 h 512"/>
              <a:gd name="T52" fmla="*/ 288 w 512"/>
              <a:gd name="T53" fmla="*/ 288 h 512"/>
              <a:gd name="T54" fmla="*/ 277 w 512"/>
              <a:gd name="T55" fmla="*/ 245 h 512"/>
              <a:gd name="T56" fmla="*/ 266 w 512"/>
              <a:gd name="T57" fmla="*/ 288 h 512"/>
              <a:gd name="T58" fmla="*/ 245 w 512"/>
              <a:gd name="T59" fmla="*/ 288 h 512"/>
              <a:gd name="T60" fmla="*/ 234 w 512"/>
              <a:gd name="T61" fmla="*/ 192 h 512"/>
              <a:gd name="T62" fmla="*/ 224 w 512"/>
              <a:gd name="T63" fmla="*/ 330 h 512"/>
              <a:gd name="T64" fmla="*/ 205 w 512"/>
              <a:gd name="T65" fmla="*/ 338 h 512"/>
              <a:gd name="T66" fmla="*/ 167 w 512"/>
              <a:gd name="T67" fmla="*/ 276 h 512"/>
              <a:gd name="T68" fmla="*/ 157 w 512"/>
              <a:gd name="T69" fmla="*/ 294 h 512"/>
              <a:gd name="T70" fmla="*/ 229 w 512"/>
              <a:gd name="T71" fmla="*/ 396 h 512"/>
              <a:gd name="T72" fmla="*/ 223 w 512"/>
              <a:gd name="T73" fmla="*/ 416 h 512"/>
              <a:gd name="T74" fmla="*/ 138 w 512"/>
              <a:gd name="T75" fmla="*/ 303 h 512"/>
              <a:gd name="T76" fmla="*/ 174 w 512"/>
              <a:gd name="T77" fmla="*/ 256 h 512"/>
              <a:gd name="T78" fmla="*/ 202 w 512"/>
              <a:gd name="T79" fmla="*/ 293 h 512"/>
              <a:gd name="T80" fmla="*/ 234 w 512"/>
              <a:gd name="T81" fmla="*/ 170 h 512"/>
              <a:gd name="T82" fmla="*/ 266 w 512"/>
              <a:gd name="T83" fmla="*/ 226 h 512"/>
              <a:gd name="T84" fmla="*/ 308 w 512"/>
              <a:gd name="T85" fmla="*/ 247 h 512"/>
              <a:gd name="T86" fmla="*/ 347 w 512"/>
              <a:gd name="T87" fmla="*/ 260 h 512"/>
              <a:gd name="T88" fmla="*/ 394 w 512"/>
              <a:gd name="T89" fmla="*/ 288 h 512"/>
              <a:gd name="T90" fmla="*/ 371 w 512"/>
              <a:gd name="T91"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6" y="113"/>
                </a:moveTo>
                <a:cubicBezTo>
                  <a:pt x="196" y="107"/>
                  <a:pt x="196" y="107"/>
                  <a:pt x="196" y="107"/>
                </a:cubicBezTo>
                <a:cubicBezTo>
                  <a:pt x="202" y="106"/>
                  <a:pt x="207" y="110"/>
                  <a:pt x="208" y="116"/>
                </a:cubicBezTo>
                <a:cubicBezTo>
                  <a:pt x="214" y="145"/>
                  <a:pt x="214" y="145"/>
                  <a:pt x="214" y="145"/>
                </a:cubicBezTo>
                <a:cubicBezTo>
                  <a:pt x="216" y="151"/>
                  <a:pt x="212" y="157"/>
                  <a:pt x="206" y="158"/>
                </a:cubicBezTo>
                <a:cubicBezTo>
                  <a:pt x="205" y="158"/>
                  <a:pt x="205" y="158"/>
                  <a:pt x="204" y="158"/>
                </a:cubicBezTo>
                <a:cubicBezTo>
                  <a:pt x="199" y="158"/>
                  <a:pt x="195" y="155"/>
                  <a:pt x="194" y="150"/>
                </a:cubicBezTo>
                <a:cubicBezTo>
                  <a:pt x="193" y="145"/>
                  <a:pt x="193" y="145"/>
                  <a:pt x="193" y="145"/>
                </a:cubicBezTo>
                <a:cubicBezTo>
                  <a:pt x="183" y="159"/>
                  <a:pt x="183" y="159"/>
                  <a:pt x="183" y="159"/>
                </a:cubicBezTo>
                <a:cubicBezTo>
                  <a:pt x="181" y="162"/>
                  <a:pt x="178" y="164"/>
                  <a:pt x="174" y="164"/>
                </a:cubicBezTo>
                <a:cubicBezTo>
                  <a:pt x="172" y="164"/>
                  <a:pt x="170" y="164"/>
                  <a:pt x="169" y="162"/>
                </a:cubicBezTo>
                <a:cubicBezTo>
                  <a:pt x="164" y="159"/>
                  <a:pt x="162" y="152"/>
                  <a:pt x="166" y="148"/>
                </a:cubicBezTo>
                <a:cubicBezTo>
                  <a:pt x="175" y="133"/>
                  <a:pt x="175" y="133"/>
                  <a:pt x="175" y="133"/>
                </a:cubicBezTo>
                <a:cubicBezTo>
                  <a:pt x="171" y="134"/>
                  <a:pt x="171" y="134"/>
                  <a:pt x="171" y="134"/>
                </a:cubicBezTo>
                <a:cubicBezTo>
                  <a:pt x="165" y="135"/>
                  <a:pt x="159" y="132"/>
                  <a:pt x="158" y="126"/>
                </a:cubicBezTo>
                <a:cubicBezTo>
                  <a:pt x="157" y="120"/>
                  <a:pt x="161" y="115"/>
                  <a:pt x="166" y="113"/>
                </a:cubicBezTo>
                <a:close/>
                <a:moveTo>
                  <a:pt x="121" y="244"/>
                </a:moveTo>
                <a:cubicBezTo>
                  <a:pt x="116" y="244"/>
                  <a:pt x="112" y="241"/>
                  <a:pt x="111" y="236"/>
                </a:cubicBezTo>
                <a:cubicBezTo>
                  <a:pt x="105" y="206"/>
                  <a:pt x="105" y="206"/>
                  <a:pt x="105" y="206"/>
                </a:cubicBezTo>
                <a:cubicBezTo>
                  <a:pt x="104" y="200"/>
                  <a:pt x="107" y="195"/>
                  <a:pt x="113" y="193"/>
                </a:cubicBezTo>
                <a:cubicBezTo>
                  <a:pt x="119" y="192"/>
                  <a:pt x="125" y="196"/>
                  <a:pt x="126" y="202"/>
                </a:cubicBezTo>
                <a:cubicBezTo>
                  <a:pt x="127" y="206"/>
                  <a:pt x="127" y="206"/>
                  <a:pt x="127" y="206"/>
                </a:cubicBezTo>
                <a:cubicBezTo>
                  <a:pt x="136" y="192"/>
                  <a:pt x="136" y="192"/>
                  <a:pt x="136" y="192"/>
                </a:cubicBezTo>
                <a:cubicBezTo>
                  <a:pt x="139" y="187"/>
                  <a:pt x="146" y="186"/>
                  <a:pt x="151" y="189"/>
                </a:cubicBezTo>
                <a:cubicBezTo>
                  <a:pt x="156" y="192"/>
                  <a:pt x="157" y="199"/>
                  <a:pt x="154" y="204"/>
                </a:cubicBezTo>
                <a:cubicBezTo>
                  <a:pt x="144" y="218"/>
                  <a:pt x="144" y="218"/>
                  <a:pt x="144" y="218"/>
                </a:cubicBezTo>
                <a:cubicBezTo>
                  <a:pt x="149" y="217"/>
                  <a:pt x="149" y="217"/>
                  <a:pt x="149" y="217"/>
                </a:cubicBezTo>
                <a:cubicBezTo>
                  <a:pt x="155" y="216"/>
                  <a:pt x="160" y="220"/>
                  <a:pt x="161" y="225"/>
                </a:cubicBezTo>
                <a:cubicBezTo>
                  <a:pt x="163" y="231"/>
                  <a:pt x="159" y="237"/>
                  <a:pt x="153" y="238"/>
                </a:cubicBezTo>
                <a:cubicBezTo>
                  <a:pt x="123" y="244"/>
                  <a:pt x="123" y="244"/>
                  <a:pt x="123" y="244"/>
                </a:cubicBezTo>
                <a:cubicBezTo>
                  <a:pt x="123" y="244"/>
                  <a:pt x="122" y="244"/>
                  <a:pt x="121" y="244"/>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0" name="Group 81">
            <a:extLst>
              <a:ext uri="{FF2B5EF4-FFF2-40B4-BE49-F238E27FC236}">
                <a16:creationId xmlns:a16="http://schemas.microsoft.com/office/drawing/2014/main" id="{DA57350C-BE37-4790-9DB2-384EBFC7CA7A}"/>
              </a:ext>
            </a:extLst>
          </p:cNvPr>
          <p:cNvGrpSpPr>
            <a:grpSpLocks noChangeAspect="1"/>
          </p:cNvGrpSpPr>
          <p:nvPr/>
        </p:nvGrpSpPr>
        <p:grpSpPr bwMode="auto">
          <a:xfrm>
            <a:off x="6138472" y="1696520"/>
            <a:ext cx="367041" cy="367041"/>
            <a:chOff x="4452" y="1348"/>
            <a:chExt cx="340" cy="340"/>
          </a:xfrm>
          <a:solidFill>
            <a:schemeClr val="accent1"/>
          </a:solidFill>
        </p:grpSpPr>
        <p:sp>
          <p:nvSpPr>
            <p:cNvPr id="151" name="Freeform 82">
              <a:extLst>
                <a:ext uri="{FF2B5EF4-FFF2-40B4-BE49-F238E27FC236}">
                  <a16:creationId xmlns:a16="http://schemas.microsoft.com/office/drawing/2014/main" id="{17FA8825-77E7-4489-B6C2-CFFC580C9638}"/>
                </a:ext>
              </a:extLst>
            </p:cNvPr>
            <p:cNvSpPr>
              <a:spLocks noEditPoints="1"/>
            </p:cNvSpPr>
            <p:nvPr/>
          </p:nvSpPr>
          <p:spPr bwMode="auto">
            <a:xfrm>
              <a:off x="4452" y="13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83">
              <a:extLst>
                <a:ext uri="{FF2B5EF4-FFF2-40B4-BE49-F238E27FC236}">
                  <a16:creationId xmlns:a16="http://schemas.microsoft.com/office/drawing/2014/main" id="{C7D3C61D-A78C-4066-A972-3B4135598A47}"/>
                </a:ext>
              </a:extLst>
            </p:cNvPr>
            <p:cNvSpPr>
              <a:spLocks noEditPoints="1"/>
            </p:cNvSpPr>
            <p:nvPr/>
          </p:nvSpPr>
          <p:spPr bwMode="auto">
            <a:xfrm>
              <a:off x="4521" y="1418"/>
              <a:ext cx="195" cy="206"/>
            </a:xfrm>
            <a:custGeom>
              <a:avLst/>
              <a:gdLst>
                <a:gd name="T0" fmla="*/ 26 w 293"/>
                <a:gd name="T1" fmla="*/ 133 h 310"/>
                <a:gd name="T2" fmla="*/ 11 w 293"/>
                <a:gd name="T3" fmla="*/ 136 h 310"/>
                <a:gd name="T4" fmla="*/ 18 w 293"/>
                <a:gd name="T5" fmla="*/ 107 h 310"/>
                <a:gd name="T6" fmla="*/ 1 w 293"/>
                <a:gd name="T7" fmla="*/ 100 h 310"/>
                <a:gd name="T8" fmla="*/ 39 w 293"/>
                <a:gd name="T9" fmla="*/ 81 h 310"/>
                <a:gd name="T10" fmla="*/ 57 w 293"/>
                <a:gd name="T11" fmla="*/ 119 h 310"/>
                <a:gd name="T12" fmla="*/ 47 w 293"/>
                <a:gd name="T13" fmla="*/ 132 h 310"/>
                <a:gd name="T14" fmla="*/ 36 w 293"/>
                <a:gd name="T15" fmla="*/ 119 h 310"/>
                <a:gd name="T16" fmla="*/ 70 w 293"/>
                <a:gd name="T17" fmla="*/ 58 h 310"/>
                <a:gd name="T18" fmla="*/ 102 w 293"/>
                <a:gd name="T19" fmla="*/ 52 h 310"/>
                <a:gd name="T20" fmla="*/ 98 w 293"/>
                <a:gd name="T21" fmla="*/ 31 h 310"/>
                <a:gd name="T22" fmla="*/ 103 w 293"/>
                <a:gd name="T23" fmla="*/ 18 h 310"/>
                <a:gd name="T24" fmla="*/ 85 w 293"/>
                <a:gd name="T25" fmla="*/ 6 h 310"/>
                <a:gd name="T26" fmla="*/ 75 w 293"/>
                <a:gd name="T27" fmla="*/ 16 h 310"/>
                <a:gd name="T28" fmla="*/ 54 w 293"/>
                <a:gd name="T29" fmla="*/ 20 h 310"/>
                <a:gd name="T30" fmla="*/ 290 w 293"/>
                <a:gd name="T31" fmla="*/ 224 h 310"/>
                <a:gd name="T32" fmla="*/ 258 w 293"/>
                <a:gd name="T33" fmla="*/ 150 h 310"/>
                <a:gd name="T34" fmla="*/ 216 w 293"/>
                <a:gd name="T35" fmla="*/ 139 h 310"/>
                <a:gd name="T36" fmla="*/ 173 w 293"/>
                <a:gd name="T37" fmla="*/ 118 h 310"/>
                <a:gd name="T38" fmla="*/ 162 w 293"/>
                <a:gd name="T39" fmla="*/ 96 h 310"/>
                <a:gd name="T40" fmla="*/ 98 w 293"/>
                <a:gd name="T41" fmla="*/ 96 h 310"/>
                <a:gd name="T42" fmla="*/ 88 w 293"/>
                <a:gd name="T43" fmla="*/ 166 h 310"/>
                <a:gd name="T44" fmla="*/ 45 w 293"/>
                <a:gd name="T45" fmla="*/ 152 h 310"/>
                <a:gd name="T46" fmla="*/ 113 w 293"/>
                <a:gd name="T47" fmla="*/ 308 h 310"/>
                <a:gd name="T48" fmla="*/ 128 w 293"/>
                <a:gd name="T49" fmla="*/ 305 h 310"/>
                <a:gd name="T50" fmla="*/ 54 w 293"/>
                <a:gd name="T51" fmla="*/ 189 h 310"/>
                <a:gd name="T52" fmla="*/ 55 w 293"/>
                <a:gd name="T53" fmla="*/ 171 h 310"/>
                <a:gd name="T54" fmla="*/ 69 w 293"/>
                <a:gd name="T55" fmla="*/ 175 h 310"/>
                <a:gd name="T56" fmla="*/ 113 w 293"/>
                <a:gd name="T57" fmla="*/ 234 h 310"/>
                <a:gd name="T58" fmla="*/ 120 w 293"/>
                <a:gd name="T59" fmla="*/ 96 h 310"/>
                <a:gd name="T60" fmla="*/ 141 w 293"/>
                <a:gd name="T61" fmla="*/ 96 h 310"/>
                <a:gd name="T62" fmla="*/ 152 w 293"/>
                <a:gd name="T63" fmla="*/ 192 h 310"/>
                <a:gd name="T64" fmla="*/ 162 w 293"/>
                <a:gd name="T65" fmla="*/ 150 h 310"/>
                <a:gd name="T66" fmla="*/ 184 w 293"/>
                <a:gd name="T67" fmla="*/ 150 h 310"/>
                <a:gd name="T68" fmla="*/ 194 w 293"/>
                <a:gd name="T69" fmla="*/ 192 h 310"/>
                <a:gd name="T70" fmla="*/ 205 w 293"/>
                <a:gd name="T71" fmla="*/ 171 h 310"/>
                <a:gd name="T72" fmla="*/ 226 w 293"/>
                <a:gd name="T73" fmla="*/ 171 h 310"/>
                <a:gd name="T74" fmla="*/ 237 w 293"/>
                <a:gd name="T75" fmla="*/ 192 h 310"/>
                <a:gd name="T76" fmla="*/ 237 w 293"/>
                <a:gd name="T77" fmla="*/ 192 h 310"/>
                <a:gd name="T78" fmla="*/ 258 w 293"/>
                <a:gd name="T79" fmla="*/ 171 h 310"/>
                <a:gd name="T80" fmla="*/ 269 w 293"/>
                <a:gd name="T81" fmla="*/ 225 h 310"/>
                <a:gd name="T82" fmla="*/ 252 w 293"/>
                <a:gd name="T83" fmla="*/ 307 h 310"/>
                <a:gd name="T84" fmla="*/ 267 w 293"/>
                <a:gd name="T85" fmla="*/ 30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3" h="310">
                  <a:moveTo>
                    <a:pt x="36" y="119"/>
                  </a:moveTo>
                  <a:cubicBezTo>
                    <a:pt x="26" y="133"/>
                    <a:pt x="26" y="133"/>
                    <a:pt x="26" y="133"/>
                  </a:cubicBezTo>
                  <a:cubicBezTo>
                    <a:pt x="24" y="136"/>
                    <a:pt x="21" y="138"/>
                    <a:pt x="17" y="138"/>
                  </a:cubicBezTo>
                  <a:cubicBezTo>
                    <a:pt x="15" y="138"/>
                    <a:pt x="13" y="138"/>
                    <a:pt x="11" y="136"/>
                  </a:cubicBezTo>
                  <a:cubicBezTo>
                    <a:pt x="7" y="133"/>
                    <a:pt x="5" y="126"/>
                    <a:pt x="8" y="122"/>
                  </a:cubicBezTo>
                  <a:cubicBezTo>
                    <a:pt x="18" y="107"/>
                    <a:pt x="18" y="107"/>
                    <a:pt x="18" y="107"/>
                  </a:cubicBezTo>
                  <a:cubicBezTo>
                    <a:pt x="13" y="108"/>
                    <a:pt x="13" y="108"/>
                    <a:pt x="13" y="108"/>
                  </a:cubicBezTo>
                  <a:cubicBezTo>
                    <a:pt x="8" y="109"/>
                    <a:pt x="2" y="106"/>
                    <a:pt x="1" y="100"/>
                  </a:cubicBezTo>
                  <a:cubicBezTo>
                    <a:pt x="0" y="94"/>
                    <a:pt x="3" y="89"/>
                    <a:pt x="9" y="87"/>
                  </a:cubicBezTo>
                  <a:cubicBezTo>
                    <a:pt x="39" y="81"/>
                    <a:pt x="39" y="81"/>
                    <a:pt x="39" y="81"/>
                  </a:cubicBezTo>
                  <a:cubicBezTo>
                    <a:pt x="45" y="80"/>
                    <a:pt x="50" y="84"/>
                    <a:pt x="51" y="90"/>
                  </a:cubicBezTo>
                  <a:cubicBezTo>
                    <a:pt x="57" y="119"/>
                    <a:pt x="57" y="119"/>
                    <a:pt x="57" y="119"/>
                  </a:cubicBezTo>
                  <a:cubicBezTo>
                    <a:pt x="59" y="125"/>
                    <a:pt x="55" y="131"/>
                    <a:pt x="49" y="132"/>
                  </a:cubicBezTo>
                  <a:cubicBezTo>
                    <a:pt x="48" y="132"/>
                    <a:pt x="48" y="132"/>
                    <a:pt x="47" y="132"/>
                  </a:cubicBezTo>
                  <a:cubicBezTo>
                    <a:pt x="42" y="132"/>
                    <a:pt x="37" y="129"/>
                    <a:pt x="36" y="124"/>
                  </a:cubicBezTo>
                  <a:lnTo>
                    <a:pt x="36" y="119"/>
                  </a:lnTo>
                  <a:close/>
                  <a:moveTo>
                    <a:pt x="60" y="50"/>
                  </a:moveTo>
                  <a:cubicBezTo>
                    <a:pt x="61" y="55"/>
                    <a:pt x="65" y="58"/>
                    <a:pt x="70" y="58"/>
                  </a:cubicBezTo>
                  <a:cubicBezTo>
                    <a:pt x="71" y="58"/>
                    <a:pt x="72" y="58"/>
                    <a:pt x="73" y="58"/>
                  </a:cubicBezTo>
                  <a:cubicBezTo>
                    <a:pt x="102" y="52"/>
                    <a:pt x="102" y="52"/>
                    <a:pt x="102" y="52"/>
                  </a:cubicBezTo>
                  <a:cubicBezTo>
                    <a:pt x="108" y="51"/>
                    <a:pt x="112" y="45"/>
                    <a:pt x="110" y="39"/>
                  </a:cubicBezTo>
                  <a:cubicBezTo>
                    <a:pt x="109" y="34"/>
                    <a:pt x="104" y="30"/>
                    <a:pt x="98" y="31"/>
                  </a:cubicBezTo>
                  <a:cubicBezTo>
                    <a:pt x="94" y="32"/>
                    <a:pt x="94" y="32"/>
                    <a:pt x="94" y="32"/>
                  </a:cubicBezTo>
                  <a:cubicBezTo>
                    <a:pt x="103" y="18"/>
                    <a:pt x="103" y="18"/>
                    <a:pt x="103" y="18"/>
                  </a:cubicBezTo>
                  <a:cubicBezTo>
                    <a:pt x="106" y="13"/>
                    <a:pt x="105" y="6"/>
                    <a:pt x="100" y="3"/>
                  </a:cubicBezTo>
                  <a:cubicBezTo>
                    <a:pt x="95" y="0"/>
                    <a:pt x="88" y="1"/>
                    <a:pt x="85" y="6"/>
                  </a:cubicBezTo>
                  <a:cubicBezTo>
                    <a:pt x="76" y="20"/>
                    <a:pt x="76" y="20"/>
                    <a:pt x="76" y="20"/>
                  </a:cubicBezTo>
                  <a:cubicBezTo>
                    <a:pt x="75" y="16"/>
                    <a:pt x="75" y="16"/>
                    <a:pt x="75" y="16"/>
                  </a:cubicBezTo>
                  <a:cubicBezTo>
                    <a:pt x="74" y="10"/>
                    <a:pt x="68" y="6"/>
                    <a:pt x="62" y="7"/>
                  </a:cubicBezTo>
                  <a:cubicBezTo>
                    <a:pt x="57" y="9"/>
                    <a:pt x="53" y="14"/>
                    <a:pt x="54" y="20"/>
                  </a:cubicBezTo>
                  <a:lnTo>
                    <a:pt x="60" y="50"/>
                  </a:lnTo>
                  <a:close/>
                  <a:moveTo>
                    <a:pt x="290" y="224"/>
                  </a:moveTo>
                  <a:cubicBezTo>
                    <a:pt x="290" y="182"/>
                    <a:pt x="290" y="182"/>
                    <a:pt x="290" y="182"/>
                  </a:cubicBezTo>
                  <a:cubicBezTo>
                    <a:pt x="290" y="164"/>
                    <a:pt x="276" y="150"/>
                    <a:pt x="258" y="150"/>
                  </a:cubicBezTo>
                  <a:cubicBezTo>
                    <a:pt x="253" y="150"/>
                    <a:pt x="247" y="151"/>
                    <a:pt x="243" y="154"/>
                  </a:cubicBezTo>
                  <a:cubicBezTo>
                    <a:pt x="237" y="145"/>
                    <a:pt x="227" y="139"/>
                    <a:pt x="216" y="139"/>
                  </a:cubicBezTo>
                  <a:cubicBezTo>
                    <a:pt x="211" y="139"/>
                    <a:pt x="207" y="140"/>
                    <a:pt x="204" y="141"/>
                  </a:cubicBezTo>
                  <a:cubicBezTo>
                    <a:pt x="200" y="128"/>
                    <a:pt x="188" y="118"/>
                    <a:pt x="173" y="118"/>
                  </a:cubicBezTo>
                  <a:cubicBezTo>
                    <a:pt x="169" y="118"/>
                    <a:pt x="166" y="118"/>
                    <a:pt x="162" y="120"/>
                  </a:cubicBezTo>
                  <a:cubicBezTo>
                    <a:pt x="162" y="96"/>
                    <a:pt x="162" y="96"/>
                    <a:pt x="162" y="96"/>
                  </a:cubicBezTo>
                  <a:cubicBezTo>
                    <a:pt x="162" y="79"/>
                    <a:pt x="148" y="64"/>
                    <a:pt x="130" y="64"/>
                  </a:cubicBezTo>
                  <a:cubicBezTo>
                    <a:pt x="113" y="64"/>
                    <a:pt x="98" y="79"/>
                    <a:pt x="98" y="96"/>
                  </a:cubicBezTo>
                  <a:cubicBezTo>
                    <a:pt x="98" y="187"/>
                    <a:pt x="98" y="187"/>
                    <a:pt x="98" y="187"/>
                  </a:cubicBezTo>
                  <a:cubicBezTo>
                    <a:pt x="95" y="179"/>
                    <a:pt x="91" y="172"/>
                    <a:pt x="88" y="166"/>
                  </a:cubicBezTo>
                  <a:cubicBezTo>
                    <a:pt x="85" y="159"/>
                    <a:pt x="78" y="153"/>
                    <a:pt x="70" y="150"/>
                  </a:cubicBezTo>
                  <a:cubicBezTo>
                    <a:pt x="61" y="147"/>
                    <a:pt x="53" y="148"/>
                    <a:pt x="45" y="152"/>
                  </a:cubicBezTo>
                  <a:cubicBezTo>
                    <a:pt x="29" y="160"/>
                    <a:pt x="27" y="181"/>
                    <a:pt x="34" y="197"/>
                  </a:cubicBezTo>
                  <a:cubicBezTo>
                    <a:pt x="37" y="204"/>
                    <a:pt x="65" y="278"/>
                    <a:pt x="113" y="308"/>
                  </a:cubicBezTo>
                  <a:cubicBezTo>
                    <a:pt x="115" y="309"/>
                    <a:pt x="117" y="310"/>
                    <a:pt x="119" y="310"/>
                  </a:cubicBezTo>
                  <a:cubicBezTo>
                    <a:pt x="123" y="310"/>
                    <a:pt x="126" y="308"/>
                    <a:pt x="128" y="305"/>
                  </a:cubicBezTo>
                  <a:cubicBezTo>
                    <a:pt x="131" y="300"/>
                    <a:pt x="130" y="293"/>
                    <a:pt x="125" y="290"/>
                  </a:cubicBezTo>
                  <a:cubicBezTo>
                    <a:pt x="81" y="263"/>
                    <a:pt x="54" y="189"/>
                    <a:pt x="54" y="189"/>
                  </a:cubicBezTo>
                  <a:cubicBezTo>
                    <a:pt x="54" y="188"/>
                    <a:pt x="54" y="188"/>
                    <a:pt x="53" y="188"/>
                  </a:cubicBezTo>
                  <a:cubicBezTo>
                    <a:pt x="50" y="182"/>
                    <a:pt x="50" y="173"/>
                    <a:pt x="55" y="171"/>
                  </a:cubicBezTo>
                  <a:cubicBezTo>
                    <a:pt x="57" y="170"/>
                    <a:pt x="60" y="170"/>
                    <a:pt x="63" y="170"/>
                  </a:cubicBezTo>
                  <a:cubicBezTo>
                    <a:pt x="66" y="171"/>
                    <a:pt x="68" y="173"/>
                    <a:pt x="69" y="175"/>
                  </a:cubicBezTo>
                  <a:cubicBezTo>
                    <a:pt x="71" y="180"/>
                    <a:pt x="90" y="220"/>
                    <a:pt x="101" y="232"/>
                  </a:cubicBezTo>
                  <a:cubicBezTo>
                    <a:pt x="104" y="235"/>
                    <a:pt x="109" y="236"/>
                    <a:pt x="113" y="234"/>
                  </a:cubicBezTo>
                  <a:cubicBezTo>
                    <a:pt x="117" y="233"/>
                    <a:pt x="120" y="229"/>
                    <a:pt x="120" y="224"/>
                  </a:cubicBezTo>
                  <a:cubicBezTo>
                    <a:pt x="120" y="96"/>
                    <a:pt x="120" y="96"/>
                    <a:pt x="120" y="96"/>
                  </a:cubicBezTo>
                  <a:cubicBezTo>
                    <a:pt x="120" y="90"/>
                    <a:pt x="124" y="86"/>
                    <a:pt x="130" y="86"/>
                  </a:cubicBezTo>
                  <a:cubicBezTo>
                    <a:pt x="136" y="86"/>
                    <a:pt x="141" y="90"/>
                    <a:pt x="141" y="96"/>
                  </a:cubicBezTo>
                  <a:cubicBezTo>
                    <a:pt x="141" y="182"/>
                    <a:pt x="141" y="182"/>
                    <a:pt x="141" y="182"/>
                  </a:cubicBezTo>
                  <a:cubicBezTo>
                    <a:pt x="141" y="188"/>
                    <a:pt x="146" y="192"/>
                    <a:pt x="152" y="192"/>
                  </a:cubicBezTo>
                  <a:cubicBezTo>
                    <a:pt x="158" y="192"/>
                    <a:pt x="162" y="188"/>
                    <a:pt x="162" y="182"/>
                  </a:cubicBezTo>
                  <a:cubicBezTo>
                    <a:pt x="162" y="150"/>
                    <a:pt x="162" y="150"/>
                    <a:pt x="162" y="150"/>
                  </a:cubicBezTo>
                  <a:cubicBezTo>
                    <a:pt x="162" y="144"/>
                    <a:pt x="167" y="139"/>
                    <a:pt x="173" y="139"/>
                  </a:cubicBezTo>
                  <a:cubicBezTo>
                    <a:pt x="179" y="139"/>
                    <a:pt x="184" y="144"/>
                    <a:pt x="184" y="150"/>
                  </a:cubicBezTo>
                  <a:cubicBezTo>
                    <a:pt x="184" y="182"/>
                    <a:pt x="184" y="182"/>
                    <a:pt x="184" y="182"/>
                  </a:cubicBezTo>
                  <a:cubicBezTo>
                    <a:pt x="184" y="188"/>
                    <a:pt x="188" y="192"/>
                    <a:pt x="194" y="192"/>
                  </a:cubicBezTo>
                  <a:cubicBezTo>
                    <a:pt x="200" y="192"/>
                    <a:pt x="205" y="188"/>
                    <a:pt x="205" y="182"/>
                  </a:cubicBezTo>
                  <a:cubicBezTo>
                    <a:pt x="205" y="171"/>
                    <a:pt x="205" y="171"/>
                    <a:pt x="205" y="171"/>
                  </a:cubicBezTo>
                  <a:cubicBezTo>
                    <a:pt x="205" y="165"/>
                    <a:pt x="210" y="160"/>
                    <a:pt x="216" y="160"/>
                  </a:cubicBezTo>
                  <a:cubicBezTo>
                    <a:pt x="221" y="160"/>
                    <a:pt x="226" y="165"/>
                    <a:pt x="226" y="171"/>
                  </a:cubicBezTo>
                  <a:cubicBezTo>
                    <a:pt x="226" y="182"/>
                    <a:pt x="226" y="182"/>
                    <a:pt x="226" y="182"/>
                  </a:cubicBezTo>
                  <a:cubicBezTo>
                    <a:pt x="226" y="188"/>
                    <a:pt x="231" y="192"/>
                    <a:pt x="237" y="192"/>
                  </a:cubicBezTo>
                  <a:cubicBezTo>
                    <a:pt x="237" y="192"/>
                    <a:pt x="237" y="192"/>
                    <a:pt x="237" y="192"/>
                  </a:cubicBezTo>
                  <a:cubicBezTo>
                    <a:pt x="237" y="192"/>
                    <a:pt x="237" y="192"/>
                    <a:pt x="237" y="192"/>
                  </a:cubicBezTo>
                  <a:cubicBezTo>
                    <a:pt x="243" y="192"/>
                    <a:pt x="248" y="188"/>
                    <a:pt x="248" y="182"/>
                  </a:cubicBezTo>
                  <a:cubicBezTo>
                    <a:pt x="248" y="176"/>
                    <a:pt x="253" y="171"/>
                    <a:pt x="258" y="171"/>
                  </a:cubicBezTo>
                  <a:cubicBezTo>
                    <a:pt x="264" y="171"/>
                    <a:pt x="269" y="176"/>
                    <a:pt x="269" y="182"/>
                  </a:cubicBezTo>
                  <a:cubicBezTo>
                    <a:pt x="269" y="225"/>
                    <a:pt x="269" y="225"/>
                    <a:pt x="269" y="225"/>
                  </a:cubicBezTo>
                  <a:cubicBezTo>
                    <a:pt x="269" y="225"/>
                    <a:pt x="271" y="266"/>
                    <a:pt x="250" y="292"/>
                  </a:cubicBezTo>
                  <a:cubicBezTo>
                    <a:pt x="246" y="297"/>
                    <a:pt x="247" y="304"/>
                    <a:pt x="252" y="307"/>
                  </a:cubicBezTo>
                  <a:cubicBezTo>
                    <a:pt x="254" y="309"/>
                    <a:pt x="256" y="310"/>
                    <a:pt x="258" y="310"/>
                  </a:cubicBezTo>
                  <a:cubicBezTo>
                    <a:pt x="261" y="310"/>
                    <a:pt x="265" y="308"/>
                    <a:pt x="267" y="306"/>
                  </a:cubicBezTo>
                  <a:cubicBezTo>
                    <a:pt x="293" y="274"/>
                    <a:pt x="290" y="226"/>
                    <a:pt x="290"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3" name="Freeform 87">
            <a:extLst>
              <a:ext uri="{FF2B5EF4-FFF2-40B4-BE49-F238E27FC236}">
                <a16:creationId xmlns:a16="http://schemas.microsoft.com/office/drawing/2014/main" id="{52619F32-028F-42FE-A405-BA62A3C48D5C}"/>
              </a:ext>
            </a:extLst>
          </p:cNvPr>
          <p:cNvSpPr>
            <a:spLocks noChangeAspect="1" noEditPoints="1"/>
          </p:cNvSpPr>
          <p:nvPr/>
        </p:nvSpPr>
        <p:spPr bwMode="auto">
          <a:xfrm>
            <a:off x="5703662" y="1696520"/>
            <a:ext cx="367041" cy="367041"/>
          </a:xfrm>
          <a:custGeom>
            <a:avLst/>
            <a:gdLst>
              <a:gd name="T0" fmla="*/ 0 w 512"/>
              <a:gd name="T1" fmla="*/ 256 h 512"/>
              <a:gd name="T2" fmla="*/ 512 w 512"/>
              <a:gd name="T3" fmla="*/ 256 h 512"/>
              <a:gd name="T4" fmla="*/ 166 w 512"/>
              <a:gd name="T5" fmla="*/ 113 h 512"/>
              <a:gd name="T6" fmla="*/ 180 w 512"/>
              <a:gd name="T7" fmla="*/ 126 h 512"/>
              <a:gd name="T8" fmla="*/ 204 w 512"/>
              <a:gd name="T9" fmla="*/ 109 h 512"/>
              <a:gd name="T10" fmla="*/ 198 w 512"/>
              <a:gd name="T11" fmla="*/ 138 h 512"/>
              <a:gd name="T12" fmla="*/ 214 w 512"/>
              <a:gd name="T13" fmla="*/ 145 h 512"/>
              <a:gd name="T14" fmla="*/ 177 w 512"/>
              <a:gd name="T15" fmla="*/ 164 h 512"/>
              <a:gd name="T16" fmla="*/ 164 w 512"/>
              <a:gd name="T17" fmla="*/ 156 h 512"/>
              <a:gd name="T18" fmla="*/ 166 w 512"/>
              <a:gd name="T19" fmla="*/ 113 h 512"/>
              <a:gd name="T20" fmla="*/ 115 w 512"/>
              <a:gd name="T21" fmla="*/ 242 h 512"/>
              <a:gd name="T22" fmla="*/ 122 w 512"/>
              <a:gd name="T23" fmla="*/ 213 h 512"/>
              <a:gd name="T24" fmla="*/ 105 w 512"/>
              <a:gd name="T25" fmla="*/ 206 h 512"/>
              <a:gd name="T26" fmla="*/ 143 w 512"/>
              <a:gd name="T27" fmla="*/ 187 h 512"/>
              <a:gd name="T28" fmla="*/ 161 w 512"/>
              <a:gd name="T29" fmla="*/ 225 h 512"/>
              <a:gd name="T30" fmla="*/ 151 w 512"/>
              <a:gd name="T31" fmla="*/ 238 h 512"/>
              <a:gd name="T32" fmla="*/ 140 w 512"/>
              <a:gd name="T33" fmla="*/ 225 h 512"/>
              <a:gd name="T34" fmla="*/ 121 w 512"/>
              <a:gd name="T35" fmla="*/ 244 h 512"/>
              <a:gd name="T36" fmla="*/ 362 w 512"/>
              <a:gd name="T37" fmla="*/ 416 h 512"/>
              <a:gd name="T38" fmla="*/ 354 w 512"/>
              <a:gd name="T39" fmla="*/ 398 h 512"/>
              <a:gd name="T40" fmla="*/ 373 w 512"/>
              <a:gd name="T41" fmla="*/ 288 h 512"/>
              <a:gd name="T42" fmla="*/ 352 w 512"/>
              <a:gd name="T43" fmla="*/ 288 h 512"/>
              <a:gd name="T44" fmla="*/ 341 w 512"/>
              <a:gd name="T45" fmla="*/ 298 h 512"/>
              <a:gd name="T46" fmla="*/ 330 w 512"/>
              <a:gd name="T47" fmla="*/ 288 h 512"/>
              <a:gd name="T48" fmla="*/ 320 w 512"/>
              <a:gd name="T49" fmla="*/ 266 h 512"/>
              <a:gd name="T50" fmla="*/ 309 w 512"/>
              <a:gd name="T51" fmla="*/ 288 h 512"/>
              <a:gd name="T52" fmla="*/ 288 w 512"/>
              <a:gd name="T53" fmla="*/ 288 h 512"/>
              <a:gd name="T54" fmla="*/ 277 w 512"/>
              <a:gd name="T55" fmla="*/ 245 h 512"/>
              <a:gd name="T56" fmla="*/ 266 w 512"/>
              <a:gd name="T57" fmla="*/ 288 h 512"/>
              <a:gd name="T58" fmla="*/ 245 w 512"/>
              <a:gd name="T59" fmla="*/ 288 h 512"/>
              <a:gd name="T60" fmla="*/ 234 w 512"/>
              <a:gd name="T61" fmla="*/ 192 h 512"/>
              <a:gd name="T62" fmla="*/ 224 w 512"/>
              <a:gd name="T63" fmla="*/ 330 h 512"/>
              <a:gd name="T64" fmla="*/ 205 w 512"/>
              <a:gd name="T65" fmla="*/ 338 h 512"/>
              <a:gd name="T66" fmla="*/ 167 w 512"/>
              <a:gd name="T67" fmla="*/ 276 h 512"/>
              <a:gd name="T68" fmla="*/ 157 w 512"/>
              <a:gd name="T69" fmla="*/ 294 h 512"/>
              <a:gd name="T70" fmla="*/ 229 w 512"/>
              <a:gd name="T71" fmla="*/ 396 h 512"/>
              <a:gd name="T72" fmla="*/ 223 w 512"/>
              <a:gd name="T73" fmla="*/ 416 h 512"/>
              <a:gd name="T74" fmla="*/ 138 w 512"/>
              <a:gd name="T75" fmla="*/ 303 h 512"/>
              <a:gd name="T76" fmla="*/ 174 w 512"/>
              <a:gd name="T77" fmla="*/ 256 h 512"/>
              <a:gd name="T78" fmla="*/ 202 w 512"/>
              <a:gd name="T79" fmla="*/ 293 h 512"/>
              <a:gd name="T80" fmla="*/ 234 w 512"/>
              <a:gd name="T81" fmla="*/ 170 h 512"/>
              <a:gd name="T82" fmla="*/ 266 w 512"/>
              <a:gd name="T83" fmla="*/ 226 h 512"/>
              <a:gd name="T84" fmla="*/ 308 w 512"/>
              <a:gd name="T85" fmla="*/ 247 h 512"/>
              <a:gd name="T86" fmla="*/ 347 w 512"/>
              <a:gd name="T87" fmla="*/ 260 h 512"/>
              <a:gd name="T88" fmla="*/ 394 w 512"/>
              <a:gd name="T89" fmla="*/ 288 h 512"/>
              <a:gd name="T90" fmla="*/ 371 w 512"/>
              <a:gd name="T91"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6" y="113"/>
                </a:moveTo>
                <a:cubicBezTo>
                  <a:pt x="172" y="112"/>
                  <a:pt x="178" y="116"/>
                  <a:pt x="179" y="122"/>
                </a:cubicBezTo>
                <a:cubicBezTo>
                  <a:pt x="180" y="126"/>
                  <a:pt x="180" y="126"/>
                  <a:pt x="180" y="126"/>
                </a:cubicBezTo>
                <a:cubicBezTo>
                  <a:pt x="189" y="112"/>
                  <a:pt x="189" y="112"/>
                  <a:pt x="189" y="112"/>
                </a:cubicBezTo>
                <a:cubicBezTo>
                  <a:pt x="192" y="107"/>
                  <a:pt x="199" y="106"/>
                  <a:pt x="204" y="109"/>
                </a:cubicBezTo>
                <a:cubicBezTo>
                  <a:pt x="209" y="112"/>
                  <a:pt x="210" y="119"/>
                  <a:pt x="207" y="124"/>
                </a:cubicBezTo>
                <a:cubicBezTo>
                  <a:pt x="198" y="138"/>
                  <a:pt x="198" y="138"/>
                  <a:pt x="198" y="138"/>
                </a:cubicBezTo>
                <a:cubicBezTo>
                  <a:pt x="202" y="137"/>
                  <a:pt x="202" y="137"/>
                  <a:pt x="202" y="137"/>
                </a:cubicBezTo>
                <a:cubicBezTo>
                  <a:pt x="208" y="136"/>
                  <a:pt x="213" y="140"/>
                  <a:pt x="214" y="145"/>
                </a:cubicBezTo>
                <a:cubicBezTo>
                  <a:pt x="216" y="151"/>
                  <a:pt x="212" y="157"/>
                  <a:pt x="206" y="158"/>
                </a:cubicBezTo>
                <a:cubicBezTo>
                  <a:pt x="177" y="164"/>
                  <a:pt x="177" y="164"/>
                  <a:pt x="177" y="164"/>
                </a:cubicBezTo>
                <a:cubicBezTo>
                  <a:pt x="176" y="164"/>
                  <a:pt x="175" y="164"/>
                  <a:pt x="174" y="164"/>
                </a:cubicBezTo>
                <a:cubicBezTo>
                  <a:pt x="169" y="164"/>
                  <a:pt x="165" y="161"/>
                  <a:pt x="164" y="156"/>
                </a:cubicBezTo>
                <a:cubicBezTo>
                  <a:pt x="158" y="126"/>
                  <a:pt x="158" y="126"/>
                  <a:pt x="158" y="126"/>
                </a:cubicBezTo>
                <a:cubicBezTo>
                  <a:pt x="157" y="120"/>
                  <a:pt x="161" y="115"/>
                  <a:pt x="166" y="113"/>
                </a:cubicBezTo>
                <a:close/>
                <a:moveTo>
                  <a:pt x="121" y="244"/>
                </a:moveTo>
                <a:cubicBezTo>
                  <a:pt x="119" y="244"/>
                  <a:pt x="117" y="244"/>
                  <a:pt x="115" y="242"/>
                </a:cubicBezTo>
                <a:cubicBezTo>
                  <a:pt x="111" y="239"/>
                  <a:pt x="109" y="232"/>
                  <a:pt x="112" y="228"/>
                </a:cubicBezTo>
                <a:cubicBezTo>
                  <a:pt x="122" y="213"/>
                  <a:pt x="122" y="213"/>
                  <a:pt x="122" y="213"/>
                </a:cubicBezTo>
                <a:cubicBezTo>
                  <a:pt x="117" y="214"/>
                  <a:pt x="117" y="214"/>
                  <a:pt x="117" y="214"/>
                </a:cubicBezTo>
                <a:cubicBezTo>
                  <a:pt x="112" y="215"/>
                  <a:pt x="106" y="212"/>
                  <a:pt x="105" y="206"/>
                </a:cubicBezTo>
                <a:cubicBezTo>
                  <a:pt x="104" y="200"/>
                  <a:pt x="107" y="195"/>
                  <a:pt x="113" y="193"/>
                </a:cubicBezTo>
                <a:cubicBezTo>
                  <a:pt x="143" y="187"/>
                  <a:pt x="143" y="187"/>
                  <a:pt x="143" y="187"/>
                </a:cubicBezTo>
                <a:cubicBezTo>
                  <a:pt x="149" y="186"/>
                  <a:pt x="154" y="190"/>
                  <a:pt x="155" y="196"/>
                </a:cubicBezTo>
                <a:cubicBezTo>
                  <a:pt x="161" y="225"/>
                  <a:pt x="161" y="225"/>
                  <a:pt x="161" y="225"/>
                </a:cubicBezTo>
                <a:cubicBezTo>
                  <a:pt x="163" y="231"/>
                  <a:pt x="159" y="237"/>
                  <a:pt x="153" y="238"/>
                </a:cubicBezTo>
                <a:cubicBezTo>
                  <a:pt x="152" y="238"/>
                  <a:pt x="152" y="238"/>
                  <a:pt x="151" y="238"/>
                </a:cubicBezTo>
                <a:cubicBezTo>
                  <a:pt x="146" y="238"/>
                  <a:pt x="141" y="235"/>
                  <a:pt x="140" y="230"/>
                </a:cubicBezTo>
                <a:cubicBezTo>
                  <a:pt x="140" y="225"/>
                  <a:pt x="140" y="225"/>
                  <a:pt x="140" y="225"/>
                </a:cubicBezTo>
                <a:cubicBezTo>
                  <a:pt x="130" y="239"/>
                  <a:pt x="130" y="239"/>
                  <a:pt x="130" y="239"/>
                </a:cubicBezTo>
                <a:cubicBezTo>
                  <a:pt x="128" y="242"/>
                  <a:pt x="125" y="244"/>
                  <a:pt x="121" y="244"/>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4" name="Group 90">
            <a:extLst>
              <a:ext uri="{FF2B5EF4-FFF2-40B4-BE49-F238E27FC236}">
                <a16:creationId xmlns:a16="http://schemas.microsoft.com/office/drawing/2014/main" id="{CDC8D7D9-9162-4081-A546-A8AD77815BD4}"/>
              </a:ext>
            </a:extLst>
          </p:cNvPr>
          <p:cNvGrpSpPr>
            <a:grpSpLocks noChangeAspect="1"/>
          </p:cNvGrpSpPr>
          <p:nvPr/>
        </p:nvGrpSpPr>
        <p:grpSpPr bwMode="auto">
          <a:xfrm>
            <a:off x="5268852" y="1696520"/>
            <a:ext cx="367041" cy="367041"/>
            <a:chOff x="4381" y="1224"/>
            <a:chExt cx="340" cy="340"/>
          </a:xfrm>
          <a:solidFill>
            <a:schemeClr val="accent1"/>
          </a:solidFill>
        </p:grpSpPr>
        <p:sp>
          <p:nvSpPr>
            <p:cNvPr id="155" name="Freeform 281">
              <a:extLst>
                <a:ext uri="{FF2B5EF4-FFF2-40B4-BE49-F238E27FC236}">
                  <a16:creationId xmlns:a16="http://schemas.microsoft.com/office/drawing/2014/main" id="{5F15BFD6-6EC0-4F95-8BBC-DC170B9CDDE9}"/>
                </a:ext>
              </a:extLst>
            </p:cNvPr>
            <p:cNvSpPr>
              <a:spLocks noEditPoints="1"/>
            </p:cNvSpPr>
            <p:nvPr/>
          </p:nvSpPr>
          <p:spPr bwMode="auto">
            <a:xfrm>
              <a:off x="4381" y="12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6" name="Freeform 282">
              <a:extLst>
                <a:ext uri="{FF2B5EF4-FFF2-40B4-BE49-F238E27FC236}">
                  <a16:creationId xmlns:a16="http://schemas.microsoft.com/office/drawing/2014/main" id="{09682086-FBEE-4877-9BB0-A9955C0EC48B}"/>
                </a:ext>
              </a:extLst>
            </p:cNvPr>
            <p:cNvSpPr>
              <a:spLocks noEditPoints="1"/>
            </p:cNvSpPr>
            <p:nvPr/>
          </p:nvSpPr>
          <p:spPr bwMode="auto">
            <a:xfrm>
              <a:off x="4450" y="1294"/>
              <a:ext cx="195" cy="206"/>
            </a:xfrm>
            <a:custGeom>
              <a:avLst/>
              <a:gdLst>
                <a:gd name="T0" fmla="*/ 19 w 293"/>
                <a:gd name="T1" fmla="*/ 138 h 310"/>
                <a:gd name="T2" fmla="*/ 7 w 293"/>
                <a:gd name="T3" fmla="*/ 130 h 310"/>
                <a:gd name="T4" fmla="*/ 9 w 293"/>
                <a:gd name="T5" fmla="*/ 87 h 310"/>
                <a:gd name="T6" fmla="*/ 23 w 293"/>
                <a:gd name="T7" fmla="*/ 100 h 310"/>
                <a:gd name="T8" fmla="*/ 47 w 293"/>
                <a:gd name="T9" fmla="*/ 83 h 310"/>
                <a:gd name="T10" fmla="*/ 40 w 293"/>
                <a:gd name="T11" fmla="*/ 112 h 310"/>
                <a:gd name="T12" fmla="*/ 57 w 293"/>
                <a:gd name="T13" fmla="*/ 119 h 310"/>
                <a:gd name="T14" fmla="*/ 67 w 293"/>
                <a:gd name="T15" fmla="*/ 28 h 310"/>
                <a:gd name="T16" fmla="*/ 62 w 293"/>
                <a:gd name="T17" fmla="*/ 42 h 310"/>
                <a:gd name="T18" fmla="*/ 70 w 293"/>
                <a:gd name="T19" fmla="*/ 58 h 310"/>
                <a:gd name="T20" fmla="*/ 89 w 293"/>
                <a:gd name="T21" fmla="*/ 39 h 310"/>
                <a:gd name="T22" fmla="*/ 100 w 293"/>
                <a:gd name="T23" fmla="*/ 52 h 310"/>
                <a:gd name="T24" fmla="*/ 110 w 293"/>
                <a:gd name="T25" fmla="*/ 39 h 310"/>
                <a:gd name="T26" fmla="*/ 92 w 293"/>
                <a:gd name="T27" fmla="*/ 1 h 310"/>
                <a:gd name="T28" fmla="*/ 54 w 293"/>
                <a:gd name="T29" fmla="*/ 20 h 310"/>
                <a:gd name="T30" fmla="*/ 290 w 293"/>
                <a:gd name="T31" fmla="*/ 224 h 310"/>
                <a:gd name="T32" fmla="*/ 258 w 293"/>
                <a:gd name="T33" fmla="*/ 150 h 310"/>
                <a:gd name="T34" fmla="*/ 216 w 293"/>
                <a:gd name="T35" fmla="*/ 139 h 310"/>
                <a:gd name="T36" fmla="*/ 173 w 293"/>
                <a:gd name="T37" fmla="*/ 118 h 310"/>
                <a:gd name="T38" fmla="*/ 162 w 293"/>
                <a:gd name="T39" fmla="*/ 96 h 310"/>
                <a:gd name="T40" fmla="*/ 98 w 293"/>
                <a:gd name="T41" fmla="*/ 96 h 310"/>
                <a:gd name="T42" fmla="*/ 88 w 293"/>
                <a:gd name="T43" fmla="*/ 166 h 310"/>
                <a:gd name="T44" fmla="*/ 45 w 293"/>
                <a:gd name="T45" fmla="*/ 152 h 310"/>
                <a:gd name="T46" fmla="*/ 113 w 293"/>
                <a:gd name="T47" fmla="*/ 308 h 310"/>
                <a:gd name="T48" fmla="*/ 128 w 293"/>
                <a:gd name="T49" fmla="*/ 305 h 310"/>
                <a:gd name="T50" fmla="*/ 54 w 293"/>
                <a:gd name="T51" fmla="*/ 189 h 310"/>
                <a:gd name="T52" fmla="*/ 55 w 293"/>
                <a:gd name="T53" fmla="*/ 171 h 310"/>
                <a:gd name="T54" fmla="*/ 69 w 293"/>
                <a:gd name="T55" fmla="*/ 175 h 310"/>
                <a:gd name="T56" fmla="*/ 113 w 293"/>
                <a:gd name="T57" fmla="*/ 234 h 310"/>
                <a:gd name="T58" fmla="*/ 120 w 293"/>
                <a:gd name="T59" fmla="*/ 96 h 310"/>
                <a:gd name="T60" fmla="*/ 141 w 293"/>
                <a:gd name="T61" fmla="*/ 96 h 310"/>
                <a:gd name="T62" fmla="*/ 152 w 293"/>
                <a:gd name="T63" fmla="*/ 192 h 310"/>
                <a:gd name="T64" fmla="*/ 162 w 293"/>
                <a:gd name="T65" fmla="*/ 150 h 310"/>
                <a:gd name="T66" fmla="*/ 184 w 293"/>
                <a:gd name="T67" fmla="*/ 150 h 310"/>
                <a:gd name="T68" fmla="*/ 194 w 293"/>
                <a:gd name="T69" fmla="*/ 192 h 310"/>
                <a:gd name="T70" fmla="*/ 205 w 293"/>
                <a:gd name="T71" fmla="*/ 171 h 310"/>
                <a:gd name="T72" fmla="*/ 226 w 293"/>
                <a:gd name="T73" fmla="*/ 171 h 310"/>
                <a:gd name="T74" fmla="*/ 237 w 293"/>
                <a:gd name="T75" fmla="*/ 192 h 310"/>
                <a:gd name="T76" fmla="*/ 237 w 293"/>
                <a:gd name="T77" fmla="*/ 192 h 310"/>
                <a:gd name="T78" fmla="*/ 258 w 293"/>
                <a:gd name="T79" fmla="*/ 171 h 310"/>
                <a:gd name="T80" fmla="*/ 269 w 293"/>
                <a:gd name="T81" fmla="*/ 225 h 310"/>
                <a:gd name="T82" fmla="*/ 252 w 293"/>
                <a:gd name="T83" fmla="*/ 307 h 310"/>
                <a:gd name="T84" fmla="*/ 267 w 293"/>
                <a:gd name="T85" fmla="*/ 30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3" h="310">
                  <a:moveTo>
                    <a:pt x="49" y="132"/>
                  </a:moveTo>
                  <a:cubicBezTo>
                    <a:pt x="19" y="138"/>
                    <a:pt x="19" y="138"/>
                    <a:pt x="19" y="138"/>
                  </a:cubicBezTo>
                  <a:cubicBezTo>
                    <a:pt x="19" y="138"/>
                    <a:pt x="18" y="138"/>
                    <a:pt x="17" y="138"/>
                  </a:cubicBezTo>
                  <a:cubicBezTo>
                    <a:pt x="12" y="138"/>
                    <a:pt x="8" y="135"/>
                    <a:pt x="7" y="130"/>
                  </a:cubicBezTo>
                  <a:cubicBezTo>
                    <a:pt x="1" y="100"/>
                    <a:pt x="1" y="100"/>
                    <a:pt x="1" y="100"/>
                  </a:cubicBezTo>
                  <a:cubicBezTo>
                    <a:pt x="0" y="94"/>
                    <a:pt x="3" y="89"/>
                    <a:pt x="9" y="87"/>
                  </a:cubicBezTo>
                  <a:cubicBezTo>
                    <a:pt x="15" y="86"/>
                    <a:pt x="21" y="90"/>
                    <a:pt x="22" y="96"/>
                  </a:cubicBezTo>
                  <a:cubicBezTo>
                    <a:pt x="23" y="100"/>
                    <a:pt x="23" y="100"/>
                    <a:pt x="23" y="100"/>
                  </a:cubicBezTo>
                  <a:cubicBezTo>
                    <a:pt x="32" y="86"/>
                    <a:pt x="32" y="86"/>
                    <a:pt x="32" y="86"/>
                  </a:cubicBezTo>
                  <a:cubicBezTo>
                    <a:pt x="35" y="81"/>
                    <a:pt x="42" y="80"/>
                    <a:pt x="47" y="83"/>
                  </a:cubicBezTo>
                  <a:cubicBezTo>
                    <a:pt x="52" y="86"/>
                    <a:pt x="53" y="93"/>
                    <a:pt x="50" y="98"/>
                  </a:cubicBezTo>
                  <a:cubicBezTo>
                    <a:pt x="40" y="112"/>
                    <a:pt x="40" y="112"/>
                    <a:pt x="40" y="112"/>
                  </a:cubicBezTo>
                  <a:cubicBezTo>
                    <a:pt x="45" y="111"/>
                    <a:pt x="45" y="111"/>
                    <a:pt x="45" y="111"/>
                  </a:cubicBezTo>
                  <a:cubicBezTo>
                    <a:pt x="51" y="110"/>
                    <a:pt x="56" y="114"/>
                    <a:pt x="57" y="119"/>
                  </a:cubicBezTo>
                  <a:cubicBezTo>
                    <a:pt x="59" y="125"/>
                    <a:pt x="55" y="131"/>
                    <a:pt x="49" y="132"/>
                  </a:cubicBezTo>
                  <a:close/>
                  <a:moveTo>
                    <a:pt x="67" y="28"/>
                  </a:moveTo>
                  <a:cubicBezTo>
                    <a:pt x="71" y="27"/>
                    <a:pt x="71" y="27"/>
                    <a:pt x="71" y="27"/>
                  </a:cubicBezTo>
                  <a:cubicBezTo>
                    <a:pt x="62" y="42"/>
                    <a:pt x="62" y="42"/>
                    <a:pt x="62" y="42"/>
                  </a:cubicBezTo>
                  <a:cubicBezTo>
                    <a:pt x="58" y="46"/>
                    <a:pt x="60" y="53"/>
                    <a:pt x="65" y="56"/>
                  </a:cubicBezTo>
                  <a:cubicBezTo>
                    <a:pt x="66" y="58"/>
                    <a:pt x="68" y="58"/>
                    <a:pt x="70" y="58"/>
                  </a:cubicBezTo>
                  <a:cubicBezTo>
                    <a:pt x="74" y="58"/>
                    <a:pt x="77" y="56"/>
                    <a:pt x="79" y="53"/>
                  </a:cubicBezTo>
                  <a:cubicBezTo>
                    <a:pt x="89" y="39"/>
                    <a:pt x="89" y="39"/>
                    <a:pt x="89" y="39"/>
                  </a:cubicBezTo>
                  <a:cubicBezTo>
                    <a:pt x="90" y="44"/>
                    <a:pt x="90" y="44"/>
                    <a:pt x="90" y="44"/>
                  </a:cubicBezTo>
                  <a:cubicBezTo>
                    <a:pt x="91" y="49"/>
                    <a:pt x="95" y="52"/>
                    <a:pt x="100" y="52"/>
                  </a:cubicBezTo>
                  <a:cubicBezTo>
                    <a:pt x="101" y="52"/>
                    <a:pt x="101" y="52"/>
                    <a:pt x="102" y="52"/>
                  </a:cubicBezTo>
                  <a:cubicBezTo>
                    <a:pt x="108" y="51"/>
                    <a:pt x="112" y="45"/>
                    <a:pt x="110" y="39"/>
                  </a:cubicBezTo>
                  <a:cubicBezTo>
                    <a:pt x="104" y="10"/>
                    <a:pt x="104" y="10"/>
                    <a:pt x="104" y="10"/>
                  </a:cubicBezTo>
                  <a:cubicBezTo>
                    <a:pt x="103" y="4"/>
                    <a:pt x="98" y="0"/>
                    <a:pt x="92" y="1"/>
                  </a:cubicBezTo>
                  <a:cubicBezTo>
                    <a:pt x="62" y="7"/>
                    <a:pt x="62" y="7"/>
                    <a:pt x="62" y="7"/>
                  </a:cubicBezTo>
                  <a:cubicBezTo>
                    <a:pt x="57" y="9"/>
                    <a:pt x="53" y="14"/>
                    <a:pt x="54" y="20"/>
                  </a:cubicBezTo>
                  <a:cubicBezTo>
                    <a:pt x="55" y="26"/>
                    <a:pt x="61" y="29"/>
                    <a:pt x="67" y="28"/>
                  </a:cubicBezTo>
                  <a:close/>
                  <a:moveTo>
                    <a:pt x="290" y="224"/>
                  </a:moveTo>
                  <a:cubicBezTo>
                    <a:pt x="290" y="182"/>
                    <a:pt x="290" y="182"/>
                    <a:pt x="290" y="182"/>
                  </a:cubicBezTo>
                  <a:cubicBezTo>
                    <a:pt x="290" y="164"/>
                    <a:pt x="276" y="150"/>
                    <a:pt x="258" y="150"/>
                  </a:cubicBezTo>
                  <a:cubicBezTo>
                    <a:pt x="253" y="150"/>
                    <a:pt x="247" y="151"/>
                    <a:pt x="243" y="154"/>
                  </a:cubicBezTo>
                  <a:cubicBezTo>
                    <a:pt x="237" y="145"/>
                    <a:pt x="227" y="139"/>
                    <a:pt x="216" y="139"/>
                  </a:cubicBezTo>
                  <a:cubicBezTo>
                    <a:pt x="211" y="139"/>
                    <a:pt x="207" y="140"/>
                    <a:pt x="204" y="141"/>
                  </a:cubicBezTo>
                  <a:cubicBezTo>
                    <a:pt x="200" y="128"/>
                    <a:pt x="188" y="118"/>
                    <a:pt x="173" y="118"/>
                  </a:cubicBezTo>
                  <a:cubicBezTo>
                    <a:pt x="169" y="118"/>
                    <a:pt x="166" y="118"/>
                    <a:pt x="162" y="120"/>
                  </a:cubicBezTo>
                  <a:cubicBezTo>
                    <a:pt x="162" y="96"/>
                    <a:pt x="162" y="96"/>
                    <a:pt x="162" y="96"/>
                  </a:cubicBezTo>
                  <a:cubicBezTo>
                    <a:pt x="162" y="79"/>
                    <a:pt x="148" y="64"/>
                    <a:pt x="130" y="64"/>
                  </a:cubicBezTo>
                  <a:cubicBezTo>
                    <a:pt x="113" y="64"/>
                    <a:pt x="98" y="79"/>
                    <a:pt x="98" y="96"/>
                  </a:cubicBezTo>
                  <a:cubicBezTo>
                    <a:pt x="98" y="187"/>
                    <a:pt x="98" y="187"/>
                    <a:pt x="98" y="187"/>
                  </a:cubicBezTo>
                  <a:cubicBezTo>
                    <a:pt x="95" y="179"/>
                    <a:pt x="91" y="172"/>
                    <a:pt x="88" y="166"/>
                  </a:cubicBezTo>
                  <a:cubicBezTo>
                    <a:pt x="85" y="159"/>
                    <a:pt x="78" y="153"/>
                    <a:pt x="70" y="150"/>
                  </a:cubicBezTo>
                  <a:cubicBezTo>
                    <a:pt x="61" y="147"/>
                    <a:pt x="53" y="148"/>
                    <a:pt x="45" y="152"/>
                  </a:cubicBezTo>
                  <a:cubicBezTo>
                    <a:pt x="29" y="160"/>
                    <a:pt x="27" y="181"/>
                    <a:pt x="34" y="197"/>
                  </a:cubicBezTo>
                  <a:cubicBezTo>
                    <a:pt x="37" y="204"/>
                    <a:pt x="65" y="278"/>
                    <a:pt x="113" y="308"/>
                  </a:cubicBezTo>
                  <a:cubicBezTo>
                    <a:pt x="115" y="309"/>
                    <a:pt x="117" y="310"/>
                    <a:pt x="119" y="310"/>
                  </a:cubicBezTo>
                  <a:cubicBezTo>
                    <a:pt x="123" y="310"/>
                    <a:pt x="126" y="308"/>
                    <a:pt x="128" y="305"/>
                  </a:cubicBezTo>
                  <a:cubicBezTo>
                    <a:pt x="131" y="300"/>
                    <a:pt x="130" y="293"/>
                    <a:pt x="125" y="290"/>
                  </a:cubicBezTo>
                  <a:cubicBezTo>
                    <a:pt x="81" y="263"/>
                    <a:pt x="54" y="189"/>
                    <a:pt x="54" y="189"/>
                  </a:cubicBezTo>
                  <a:cubicBezTo>
                    <a:pt x="54" y="188"/>
                    <a:pt x="54" y="188"/>
                    <a:pt x="53" y="188"/>
                  </a:cubicBezTo>
                  <a:cubicBezTo>
                    <a:pt x="50" y="182"/>
                    <a:pt x="50" y="173"/>
                    <a:pt x="55" y="171"/>
                  </a:cubicBezTo>
                  <a:cubicBezTo>
                    <a:pt x="57" y="170"/>
                    <a:pt x="60" y="170"/>
                    <a:pt x="63" y="170"/>
                  </a:cubicBezTo>
                  <a:cubicBezTo>
                    <a:pt x="66" y="171"/>
                    <a:pt x="68" y="173"/>
                    <a:pt x="69" y="175"/>
                  </a:cubicBezTo>
                  <a:cubicBezTo>
                    <a:pt x="71" y="180"/>
                    <a:pt x="90" y="220"/>
                    <a:pt x="101" y="232"/>
                  </a:cubicBezTo>
                  <a:cubicBezTo>
                    <a:pt x="104" y="235"/>
                    <a:pt x="109" y="236"/>
                    <a:pt x="113" y="234"/>
                  </a:cubicBezTo>
                  <a:cubicBezTo>
                    <a:pt x="117" y="233"/>
                    <a:pt x="120" y="229"/>
                    <a:pt x="120" y="224"/>
                  </a:cubicBezTo>
                  <a:cubicBezTo>
                    <a:pt x="120" y="96"/>
                    <a:pt x="120" y="96"/>
                    <a:pt x="120" y="96"/>
                  </a:cubicBezTo>
                  <a:cubicBezTo>
                    <a:pt x="120" y="90"/>
                    <a:pt x="124" y="86"/>
                    <a:pt x="130" y="86"/>
                  </a:cubicBezTo>
                  <a:cubicBezTo>
                    <a:pt x="136" y="86"/>
                    <a:pt x="141" y="90"/>
                    <a:pt x="141" y="96"/>
                  </a:cubicBezTo>
                  <a:cubicBezTo>
                    <a:pt x="141" y="182"/>
                    <a:pt x="141" y="182"/>
                    <a:pt x="141" y="182"/>
                  </a:cubicBezTo>
                  <a:cubicBezTo>
                    <a:pt x="141" y="188"/>
                    <a:pt x="146" y="192"/>
                    <a:pt x="152" y="192"/>
                  </a:cubicBezTo>
                  <a:cubicBezTo>
                    <a:pt x="158" y="192"/>
                    <a:pt x="162" y="188"/>
                    <a:pt x="162" y="182"/>
                  </a:cubicBezTo>
                  <a:cubicBezTo>
                    <a:pt x="162" y="150"/>
                    <a:pt x="162" y="150"/>
                    <a:pt x="162" y="150"/>
                  </a:cubicBezTo>
                  <a:cubicBezTo>
                    <a:pt x="162" y="144"/>
                    <a:pt x="167" y="139"/>
                    <a:pt x="173" y="139"/>
                  </a:cubicBezTo>
                  <a:cubicBezTo>
                    <a:pt x="179" y="139"/>
                    <a:pt x="184" y="144"/>
                    <a:pt x="184" y="150"/>
                  </a:cubicBezTo>
                  <a:cubicBezTo>
                    <a:pt x="184" y="182"/>
                    <a:pt x="184" y="182"/>
                    <a:pt x="184" y="182"/>
                  </a:cubicBezTo>
                  <a:cubicBezTo>
                    <a:pt x="184" y="188"/>
                    <a:pt x="188" y="192"/>
                    <a:pt x="194" y="192"/>
                  </a:cubicBezTo>
                  <a:cubicBezTo>
                    <a:pt x="200" y="192"/>
                    <a:pt x="205" y="188"/>
                    <a:pt x="205" y="182"/>
                  </a:cubicBezTo>
                  <a:cubicBezTo>
                    <a:pt x="205" y="171"/>
                    <a:pt x="205" y="171"/>
                    <a:pt x="205" y="171"/>
                  </a:cubicBezTo>
                  <a:cubicBezTo>
                    <a:pt x="205" y="165"/>
                    <a:pt x="210" y="160"/>
                    <a:pt x="216" y="160"/>
                  </a:cubicBezTo>
                  <a:cubicBezTo>
                    <a:pt x="221" y="160"/>
                    <a:pt x="226" y="165"/>
                    <a:pt x="226" y="171"/>
                  </a:cubicBezTo>
                  <a:cubicBezTo>
                    <a:pt x="226" y="182"/>
                    <a:pt x="226" y="182"/>
                    <a:pt x="226" y="182"/>
                  </a:cubicBezTo>
                  <a:cubicBezTo>
                    <a:pt x="226" y="188"/>
                    <a:pt x="231" y="192"/>
                    <a:pt x="237" y="192"/>
                  </a:cubicBezTo>
                  <a:cubicBezTo>
                    <a:pt x="237" y="192"/>
                    <a:pt x="237" y="192"/>
                    <a:pt x="237" y="192"/>
                  </a:cubicBezTo>
                  <a:cubicBezTo>
                    <a:pt x="237" y="192"/>
                    <a:pt x="237" y="192"/>
                    <a:pt x="237" y="192"/>
                  </a:cubicBezTo>
                  <a:cubicBezTo>
                    <a:pt x="243" y="192"/>
                    <a:pt x="248" y="188"/>
                    <a:pt x="248" y="182"/>
                  </a:cubicBezTo>
                  <a:cubicBezTo>
                    <a:pt x="248" y="176"/>
                    <a:pt x="253" y="171"/>
                    <a:pt x="258" y="171"/>
                  </a:cubicBezTo>
                  <a:cubicBezTo>
                    <a:pt x="264" y="171"/>
                    <a:pt x="269" y="176"/>
                    <a:pt x="269" y="182"/>
                  </a:cubicBezTo>
                  <a:cubicBezTo>
                    <a:pt x="269" y="225"/>
                    <a:pt x="269" y="225"/>
                    <a:pt x="269" y="225"/>
                  </a:cubicBezTo>
                  <a:cubicBezTo>
                    <a:pt x="269" y="225"/>
                    <a:pt x="271" y="266"/>
                    <a:pt x="250" y="292"/>
                  </a:cubicBezTo>
                  <a:cubicBezTo>
                    <a:pt x="246" y="297"/>
                    <a:pt x="247" y="304"/>
                    <a:pt x="252" y="307"/>
                  </a:cubicBezTo>
                  <a:cubicBezTo>
                    <a:pt x="254" y="309"/>
                    <a:pt x="256" y="310"/>
                    <a:pt x="258" y="310"/>
                  </a:cubicBezTo>
                  <a:cubicBezTo>
                    <a:pt x="261" y="310"/>
                    <a:pt x="265" y="308"/>
                    <a:pt x="267" y="306"/>
                  </a:cubicBezTo>
                  <a:cubicBezTo>
                    <a:pt x="293" y="274"/>
                    <a:pt x="290" y="226"/>
                    <a:pt x="290"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7" name="Freeform 143">
            <a:extLst>
              <a:ext uri="{FF2B5EF4-FFF2-40B4-BE49-F238E27FC236}">
                <a16:creationId xmlns:a16="http://schemas.microsoft.com/office/drawing/2014/main" id="{550FA280-B672-4CCD-B948-E0674DC94AAC}"/>
              </a:ext>
            </a:extLst>
          </p:cNvPr>
          <p:cNvSpPr>
            <a:spLocks noChangeAspect="1" noEditPoints="1"/>
          </p:cNvSpPr>
          <p:nvPr/>
        </p:nvSpPr>
        <p:spPr bwMode="auto">
          <a:xfrm>
            <a:off x="6573282" y="1696520"/>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7 w 512"/>
              <a:gd name="T11" fmla="*/ 346 h 512"/>
              <a:gd name="T12" fmla="*/ 339 w 512"/>
              <a:gd name="T13" fmla="*/ 350 h 512"/>
              <a:gd name="T14" fmla="*/ 332 w 512"/>
              <a:gd name="T15" fmla="*/ 347 h 512"/>
              <a:gd name="T16" fmla="*/ 331 w 512"/>
              <a:gd name="T17" fmla="*/ 332 h 512"/>
              <a:gd name="T18" fmla="*/ 352 w 512"/>
              <a:gd name="T19" fmla="*/ 265 h 512"/>
              <a:gd name="T20" fmla="*/ 352 w 512"/>
              <a:gd name="T21" fmla="*/ 223 h 512"/>
              <a:gd name="T22" fmla="*/ 339 w 512"/>
              <a:gd name="T23" fmla="*/ 212 h 512"/>
              <a:gd name="T24" fmla="*/ 330 w 512"/>
              <a:gd name="T25" fmla="*/ 226 h 512"/>
              <a:gd name="T26" fmla="*/ 320 w 512"/>
              <a:gd name="T27" fmla="*/ 237 h 512"/>
              <a:gd name="T28" fmla="*/ 309 w 512"/>
              <a:gd name="T29" fmla="*/ 226 h 512"/>
              <a:gd name="T30" fmla="*/ 309 w 512"/>
              <a:gd name="T31" fmla="*/ 201 h 512"/>
              <a:gd name="T32" fmla="*/ 297 w 512"/>
              <a:gd name="T33" fmla="*/ 191 h 512"/>
              <a:gd name="T34" fmla="*/ 288 w 512"/>
              <a:gd name="T35" fmla="*/ 204 h 512"/>
              <a:gd name="T36" fmla="*/ 288 w 512"/>
              <a:gd name="T37" fmla="*/ 224 h 512"/>
              <a:gd name="T38" fmla="*/ 277 w 512"/>
              <a:gd name="T39" fmla="*/ 234 h 512"/>
              <a:gd name="T40" fmla="*/ 266 w 512"/>
              <a:gd name="T41" fmla="*/ 224 h 512"/>
              <a:gd name="T42" fmla="*/ 266 w 512"/>
              <a:gd name="T43" fmla="*/ 190 h 512"/>
              <a:gd name="T44" fmla="*/ 255 w 512"/>
              <a:gd name="T45" fmla="*/ 180 h 512"/>
              <a:gd name="T46" fmla="*/ 245 w 512"/>
              <a:gd name="T47" fmla="*/ 193 h 512"/>
              <a:gd name="T48" fmla="*/ 245 w 512"/>
              <a:gd name="T49" fmla="*/ 201 h 512"/>
              <a:gd name="T50" fmla="*/ 245 w 512"/>
              <a:gd name="T51" fmla="*/ 224 h 512"/>
              <a:gd name="T52" fmla="*/ 234 w 512"/>
              <a:gd name="T53" fmla="*/ 234 h 512"/>
              <a:gd name="T54" fmla="*/ 224 w 512"/>
              <a:gd name="T55" fmla="*/ 224 h 512"/>
              <a:gd name="T56" fmla="*/ 224 w 512"/>
              <a:gd name="T57" fmla="*/ 201 h 512"/>
              <a:gd name="T58" fmla="*/ 213 w 512"/>
              <a:gd name="T59" fmla="*/ 190 h 512"/>
              <a:gd name="T60" fmla="*/ 202 w 512"/>
              <a:gd name="T61" fmla="*/ 201 h 512"/>
              <a:gd name="T62" fmla="*/ 202 w 512"/>
              <a:gd name="T63" fmla="*/ 266 h 512"/>
              <a:gd name="T64" fmla="*/ 192 w 512"/>
              <a:gd name="T65" fmla="*/ 277 h 512"/>
              <a:gd name="T66" fmla="*/ 181 w 512"/>
              <a:gd name="T67" fmla="*/ 266 h 512"/>
              <a:gd name="T68" fmla="*/ 181 w 512"/>
              <a:gd name="T69" fmla="*/ 223 h 512"/>
              <a:gd name="T70" fmla="*/ 173 w 512"/>
              <a:gd name="T71" fmla="*/ 226 h 512"/>
              <a:gd name="T72" fmla="*/ 160 w 512"/>
              <a:gd name="T73" fmla="*/ 258 h 512"/>
              <a:gd name="T74" fmla="*/ 206 w 512"/>
              <a:gd name="T75" fmla="*/ 332 h 512"/>
              <a:gd name="T76" fmla="*/ 210 w 512"/>
              <a:gd name="T77" fmla="*/ 347 h 512"/>
              <a:gd name="T78" fmla="*/ 201 w 512"/>
              <a:gd name="T79" fmla="*/ 352 h 512"/>
              <a:gd name="T80" fmla="*/ 195 w 512"/>
              <a:gd name="T81" fmla="*/ 351 h 512"/>
              <a:gd name="T82" fmla="*/ 138 w 512"/>
              <a:gd name="T83" fmla="*/ 258 h 512"/>
              <a:gd name="T84" fmla="*/ 161 w 512"/>
              <a:gd name="T85" fmla="*/ 208 h 512"/>
              <a:gd name="T86" fmla="*/ 181 w 512"/>
              <a:gd name="T87" fmla="*/ 202 h 512"/>
              <a:gd name="T88" fmla="*/ 181 w 512"/>
              <a:gd name="T89" fmla="*/ 201 h 512"/>
              <a:gd name="T90" fmla="*/ 213 w 512"/>
              <a:gd name="T91" fmla="*/ 169 h 512"/>
              <a:gd name="T92" fmla="*/ 229 w 512"/>
              <a:gd name="T93" fmla="*/ 174 h 512"/>
              <a:gd name="T94" fmla="*/ 255 w 512"/>
              <a:gd name="T95" fmla="*/ 159 h 512"/>
              <a:gd name="T96" fmla="*/ 283 w 512"/>
              <a:gd name="T97" fmla="*/ 174 h 512"/>
              <a:gd name="T98" fmla="*/ 297 w 512"/>
              <a:gd name="T99" fmla="*/ 169 h 512"/>
              <a:gd name="T100" fmla="*/ 329 w 512"/>
              <a:gd name="T101" fmla="*/ 193 h 512"/>
              <a:gd name="T102" fmla="*/ 339 w 512"/>
              <a:gd name="T103" fmla="*/ 191 h 512"/>
              <a:gd name="T104" fmla="*/ 373 w 512"/>
              <a:gd name="T105" fmla="*/ 223 h 512"/>
              <a:gd name="T106" fmla="*/ 373 w 512"/>
              <a:gd name="T107" fmla="*/ 265 h 512"/>
              <a:gd name="T108" fmla="*/ 347 w 512"/>
              <a:gd name="T109" fmla="*/ 3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7" y="346"/>
                </a:moveTo>
                <a:cubicBezTo>
                  <a:pt x="345" y="348"/>
                  <a:pt x="342" y="350"/>
                  <a:pt x="339" y="350"/>
                </a:cubicBezTo>
                <a:cubicBezTo>
                  <a:pt x="337" y="350"/>
                  <a:pt x="334" y="349"/>
                  <a:pt x="332" y="347"/>
                </a:cubicBezTo>
                <a:cubicBezTo>
                  <a:pt x="328" y="343"/>
                  <a:pt x="327" y="337"/>
                  <a:pt x="331" y="332"/>
                </a:cubicBezTo>
                <a:cubicBezTo>
                  <a:pt x="353" y="307"/>
                  <a:pt x="352" y="266"/>
                  <a:pt x="352" y="265"/>
                </a:cubicBezTo>
                <a:cubicBezTo>
                  <a:pt x="352" y="223"/>
                  <a:pt x="352" y="223"/>
                  <a:pt x="352" y="223"/>
                </a:cubicBezTo>
                <a:cubicBezTo>
                  <a:pt x="352" y="217"/>
                  <a:pt x="345" y="212"/>
                  <a:pt x="339" y="212"/>
                </a:cubicBezTo>
                <a:cubicBezTo>
                  <a:pt x="334" y="212"/>
                  <a:pt x="330" y="220"/>
                  <a:pt x="330" y="226"/>
                </a:cubicBezTo>
                <a:cubicBezTo>
                  <a:pt x="330" y="232"/>
                  <a:pt x="326" y="237"/>
                  <a:pt x="320" y="237"/>
                </a:cubicBezTo>
                <a:cubicBezTo>
                  <a:pt x="314" y="237"/>
                  <a:pt x="309" y="232"/>
                  <a:pt x="309" y="226"/>
                </a:cubicBezTo>
                <a:cubicBezTo>
                  <a:pt x="309" y="222"/>
                  <a:pt x="309" y="201"/>
                  <a:pt x="309" y="201"/>
                </a:cubicBezTo>
                <a:cubicBezTo>
                  <a:pt x="309" y="195"/>
                  <a:pt x="304" y="191"/>
                  <a:pt x="297" y="191"/>
                </a:cubicBezTo>
                <a:cubicBezTo>
                  <a:pt x="292" y="191"/>
                  <a:pt x="288" y="198"/>
                  <a:pt x="288" y="204"/>
                </a:cubicBezTo>
                <a:cubicBezTo>
                  <a:pt x="288" y="224"/>
                  <a:pt x="288" y="224"/>
                  <a:pt x="288" y="224"/>
                </a:cubicBezTo>
                <a:cubicBezTo>
                  <a:pt x="288" y="230"/>
                  <a:pt x="283" y="234"/>
                  <a:pt x="277" y="234"/>
                </a:cubicBezTo>
                <a:cubicBezTo>
                  <a:pt x="271" y="234"/>
                  <a:pt x="266" y="230"/>
                  <a:pt x="266" y="224"/>
                </a:cubicBezTo>
                <a:cubicBezTo>
                  <a:pt x="266" y="190"/>
                  <a:pt x="266" y="190"/>
                  <a:pt x="266" y="190"/>
                </a:cubicBezTo>
                <a:cubicBezTo>
                  <a:pt x="266" y="185"/>
                  <a:pt x="261" y="180"/>
                  <a:pt x="255" y="180"/>
                </a:cubicBezTo>
                <a:cubicBezTo>
                  <a:pt x="249" y="180"/>
                  <a:pt x="245" y="187"/>
                  <a:pt x="245" y="193"/>
                </a:cubicBezTo>
                <a:cubicBezTo>
                  <a:pt x="245" y="194"/>
                  <a:pt x="245" y="199"/>
                  <a:pt x="245" y="201"/>
                </a:cubicBezTo>
                <a:cubicBezTo>
                  <a:pt x="245" y="224"/>
                  <a:pt x="245" y="224"/>
                  <a:pt x="245" y="224"/>
                </a:cubicBezTo>
                <a:cubicBezTo>
                  <a:pt x="245" y="230"/>
                  <a:pt x="240" y="234"/>
                  <a:pt x="234" y="234"/>
                </a:cubicBezTo>
                <a:cubicBezTo>
                  <a:pt x="228" y="234"/>
                  <a:pt x="224" y="230"/>
                  <a:pt x="224" y="224"/>
                </a:cubicBezTo>
                <a:cubicBezTo>
                  <a:pt x="224" y="201"/>
                  <a:pt x="224" y="201"/>
                  <a:pt x="224" y="201"/>
                </a:cubicBezTo>
                <a:cubicBezTo>
                  <a:pt x="224" y="195"/>
                  <a:pt x="219" y="190"/>
                  <a:pt x="213" y="190"/>
                </a:cubicBezTo>
                <a:cubicBezTo>
                  <a:pt x="207" y="190"/>
                  <a:pt x="202" y="195"/>
                  <a:pt x="202" y="201"/>
                </a:cubicBezTo>
                <a:cubicBezTo>
                  <a:pt x="202" y="266"/>
                  <a:pt x="202" y="266"/>
                  <a:pt x="202" y="266"/>
                </a:cubicBezTo>
                <a:cubicBezTo>
                  <a:pt x="202" y="272"/>
                  <a:pt x="198" y="277"/>
                  <a:pt x="192" y="277"/>
                </a:cubicBezTo>
                <a:cubicBezTo>
                  <a:pt x="186" y="277"/>
                  <a:pt x="181" y="272"/>
                  <a:pt x="181" y="266"/>
                </a:cubicBezTo>
                <a:cubicBezTo>
                  <a:pt x="181" y="223"/>
                  <a:pt x="181" y="223"/>
                  <a:pt x="181" y="223"/>
                </a:cubicBezTo>
                <a:cubicBezTo>
                  <a:pt x="178" y="223"/>
                  <a:pt x="175" y="224"/>
                  <a:pt x="173" y="226"/>
                </a:cubicBezTo>
                <a:cubicBezTo>
                  <a:pt x="165" y="231"/>
                  <a:pt x="159" y="245"/>
                  <a:pt x="160" y="258"/>
                </a:cubicBezTo>
                <a:cubicBezTo>
                  <a:pt x="160" y="280"/>
                  <a:pt x="161" y="304"/>
                  <a:pt x="206" y="332"/>
                </a:cubicBezTo>
                <a:cubicBezTo>
                  <a:pt x="211" y="336"/>
                  <a:pt x="213" y="342"/>
                  <a:pt x="210" y="347"/>
                </a:cubicBezTo>
                <a:cubicBezTo>
                  <a:pt x="208" y="350"/>
                  <a:pt x="204" y="352"/>
                  <a:pt x="201" y="352"/>
                </a:cubicBezTo>
                <a:cubicBezTo>
                  <a:pt x="199" y="352"/>
                  <a:pt x="197" y="352"/>
                  <a:pt x="195" y="351"/>
                </a:cubicBezTo>
                <a:cubicBezTo>
                  <a:pt x="145" y="319"/>
                  <a:pt x="139" y="289"/>
                  <a:pt x="138" y="258"/>
                </a:cubicBezTo>
                <a:cubicBezTo>
                  <a:pt x="138" y="238"/>
                  <a:pt x="147" y="217"/>
                  <a:pt x="161" y="208"/>
                </a:cubicBezTo>
                <a:cubicBezTo>
                  <a:pt x="167" y="204"/>
                  <a:pt x="174" y="202"/>
                  <a:pt x="181" y="202"/>
                </a:cubicBezTo>
                <a:cubicBezTo>
                  <a:pt x="181" y="201"/>
                  <a:pt x="181" y="201"/>
                  <a:pt x="181" y="201"/>
                </a:cubicBezTo>
                <a:cubicBezTo>
                  <a:pt x="181" y="183"/>
                  <a:pt x="195" y="169"/>
                  <a:pt x="213" y="169"/>
                </a:cubicBezTo>
                <a:cubicBezTo>
                  <a:pt x="219" y="169"/>
                  <a:pt x="225" y="171"/>
                  <a:pt x="229" y="174"/>
                </a:cubicBezTo>
                <a:cubicBezTo>
                  <a:pt x="235" y="165"/>
                  <a:pt x="244" y="159"/>
                  <a:pt x="255" y="159"/>
                </a:cubicBezTo>
                <a:cubicBezTo>
                  <a:pt x="267" y="159"/>
                  <a:pt x="277" y="165"/>
                  <a:pt x="283" y="174"/>
                </a:cubicBezTo>
                <a:cubicBezTo>
                  <a:pt x="287" y="171"/>
                  <a:pt x="292" y="169"/>
                  <a:pt x="297" y="169"/>
                </a:cubicBezTo>
                <a:cubicBezTo>
                  <a:pt x="313" y="169"/>
                  <a:pt x="325" y="179"/>
                  <a:pt x="329" y="193"/>
                </a:cubicBezTo>
                <a:cubicBezTo>
                  <a:pt x="332" y="192"/>
                  <a:pt x="335" y="191"/>
                  <a:pt x="339" y="191"/>
                </a:cubicBezTo>
                <a:cubicBezTo>
                  <a:pt x="357" y="191"/>
                  <a:pt x="373" y="205"/>
                  <a:pt x="373" y="223"/>
                </a:cubicBezTo>
                <a:cubicBezTo>
                  <a:pt x="373" y="265"/>
                  <a:pt x="373" y="265"/>
                  <a:pt x="373" y="265"/>
                </a:cubicBezTo>
                <a:cubicBezTo>
                  <a:pt x="373" y="267"/>
                  <a:pt x="374" y="314"/>
                  <a:pt x="347" y="34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8" name="Group 146">
            <a:extLst>
              <a:ext uri="{FF2B5EF4-FFF2-40B4-BE49-F238E27FC236}">
                <a16:creationId xmlns:a16="http://schemas.microsoft.com/office/drawing/2014/main" id="{EEBC97C6-728C-4BA7-ADEC-50C8183CAD6B}"/>
              </a:ext>
            </a:extLst>
          </p:cNvPr>
          <p:cNvGrpSpPr>
            <a:grpSpLocks noChangeAspect="1"/>
          </p:cNvGrpSpPr>
          <p:nvPr/>
        </p:nvGrpSpPr>
        <p:grpSpPr bwMode="auto">
          <a:xfrm>
            <a:off x="7009171" y="1696520"/>
            <a:ext cx="368121" cy="367041"/>
            <a:chOff x="4468" y="1187"/>
            <a:chExt cx="341" cy="340"/>
          </a:xfrm>
          <a:solidFill>
            <a:schemeClr val="accent2"/>
          </a:solidFill>
        </p:grpSpPr>
        <p:sp>
          <p:nvSpPr>
            <p:cNvPr id="159" name="Freeform 147">
              <a:extLst>
                <a:ext uri="{FF2B5EF4-FFF2-40B4-BE49-F238E27FC236}">
                  <a16:creationId xmlns:a16="http://schemas.microsoft.com/office/drawing/2014/main" id="{F8E021ED-2791-4581-969D-15C67596CE76}"/>
                </a:ext>
              </a:extLst>
            </p:cNvPr>
            <p:cNvSpPr>
              <a:spLocks noEditPoints="1"/>
            </p:cNvSpPr>
            <p:nvPr/>
          </p:nvSpPr>
          <p:spPr bwMode="auto">
            <a:xfrm>
              <a:off x="4468" y="118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0" name="Freeform 148">
              <a:extLst>
                <a:ext uri="{FF2B5EF4-FFF2-40B4-BE49-F238E27FC236}">
                  <a16:creationId xmlns:a16="http://schemas.microsoft.com/office/drawing/2014/main" id="{97EB43C5-18BA-4F03-9418-82C5924395DE}"/>
                </a:ext>
              </a:extLst>
            </p:cNvPr>
            <p:cNvSpPr>
              <a:spLocks/>
            </p:cNvSpPr>
            <p:nvPr/>
          </p:nvSpPr>
          <p:spPr bwMode="auto">
            <a:xfrm>
              <a:off x="4560" y="1293"/>
              <a:ext cx="157" cy="128"/>
            </a:xfrm>
            <a:custGeom>
              <a:avLst/>
              <a:gdLst>
                <a:gd name="T0" fmla="*/ 209 w 236"/>
                <a:gd name="T1" fmla="*/ 187 h 193"/>
                <a:gd name="T2" fmla="*/ 201 w 236"/>
                <a:gd name="T3" fmla="*/ 191 h 193"/>
                <a:gd name="T4" fmla="*/ 194 w 236"/>
                <a:gd name="T5" fmla="*/ 188 h 193"/>
                <a:gd name="T6" fmla="*/ 193 w 236"/>
                <a:gd name="T7" fmla="*/ 173 h 193"/>
                <a:gd name="T8" fmla="*/ 214 w 236"/>
                <a:gd name="T9" fmla="*/ 106 h 193"/>
                <a:gd name="T10" fmla="*/ 214 w 236"/>
                <a:gd name="T11" fmla="*/ 64 h 193"/>
                <a:gd name="T12" fmla="*/ 201 w 236"/>
                <a:gd name="T13" fmla="*/ 53 h 193"/>
                <a:gd name="T14" fmla="*/ 192 w 236"/>
                <a:gd name="T15" fmla="*/ 67 h 193"/>
                <a:gd name="T16" fmla="*/ 182 w 236"/>
                <a:gd name="T17" fmla="*/ 78 h 193"/>
                <a:gd name="T18" fmla="*/ 171 w 236"/>
                <a:gd name="T19" fmla="*/ 67 h 193"/>
                <a:gd name="T20" fmla="*/ 171 w 236"/>
                <a:gd name="T21" fmla="*/ 42 h 193"/>
                <a:gd name="T22" fmla="*/ 159 w 236"/>
                <a:gd name="T23" fmla="*/ 32 h 193"/>
                <a:gd name="T24" fmla="*/ 150 w 236"/>
                <a:gd name="T25" fmla="*/ 45 h 193"/>
                <a:gd name="T26" fmla="*/ 150 w 236"/>
                <a:gd name="T27" fmla="*/ 65 h 193"/>
                <a:gd name="T28" fmla="*/ 139 w 236"/>
                <a:gd name="T29" fmla="*/ 75 h 193"/>
                <a:gd name="T30" fmla="*/ 128 w 236"/>
                <a:gd name="T31" fmla="*/ 65 h 193"/>
                <a:gd name="T32" fmla="*/ 128 w 236"/>
                <a:gd name="T33" fmla="*/ 31 h 193"/>
                <a:gd name="T34" fmla="*/ 117 w 236"/>
                <a:gd name="T35" fmla="*/ 21 h 193"/>
                <a:gd name="T36" fmla="*/ 107 w 236"/>
                <a:gd name="T37" fmla="*/ 34 h 193"/>
                <a:gd name="T38" fmla="*/ 107 w 236"/>
                <a:gd name="T39" fmla="*/ 42 h 193"/>
                <a:gd name="T40" fmla="*/ 107 w 236"/>
                <a:gd name="T41" fmla="*/ 65 h 193"/>
                <a:gd name="T42" fmla="*/ 96 w 236"/>
                <a:gd name="T43" fmla="*/ 75 h 193"/>
                <a:gd name="T44" fmla="*/ 86 w 236"/>
                <a:gd name="T45" fmla="*/ 65 h 193"/>
                <a:gd name="T46" fmla="*/ 86 w 236"/>
                <a:gd name="T47" fmla="*/ 42 h 193"/>
                <a:gd name="T48" fmla="*/ 75 w 236"/>
                <a:gd name="T49" fmla="*/ 31 h 193"/>
                <a:gd name="T50" fmla="*/ 64 w 236"/>
                <a:gd name="T51" fmla="*/ 42 h 193"/>
                <a:gd name="T52" fmla="*/ 64 w 236"/>
                <a:gd name="T53" fmla="*/ 107 h 193"/>
                <a:gd name="T54" fmla="*/ 54 w 236"/>
                <a:gd name="T55" fmla="*/ 118 h 193"/>
                <a:gd name="T56" fmla="*/ 43 w 236"/>
                <a:gd name="T57" fmla="*/ 107 h 193"/>
                <a:gd name="T58" fmla="*/ 43 w 236"/>
                <a:gd name="T59" fmla="*/ 64 h 193"/>
                <a:gd name="T60" fmla="*/ 35 w 236"/>
                <a:gd name="T61" fmla="*/ 67 h 193"/>
                <a:gd name="T62" fmla="*/ 22 w 236"/>
                <a:gd name="T63" fmla="*/ 99 h 193"/>
                <a:gd name="T64" fmla="*/ 68 w 236"/>
                <a:gd name="T65" fmla="*/ 173 h 193"/>
                <a:gd name="T66" fmla="*/ 72 w 236"/>
                <a:gd name="T67" fmla="*/ 188 h 193"/>
                <a:gd name="T68" fmla="*/ 63 w 236"/>
                <a:gd name="T69" fmla="*/ 193 h 193"/>
                <a:gd name="T70" fmla="*/ 57 w 236"/>
                <a:gd name="T71" fmla="*/ 192 h 193"/>
                <a:gd name="T72" fmla="*/ 0 w 236"/>
                <a:gd name="T73" fmla="*/ 99 h 193"/>
                <a:gd name="T74" fmla="*/ 23 w 236"/>
                <a:gd name="T75" fmla="*/ 49 h 193"/>
                <a:gd name="T76" fmla="*/ 43 w 236"/>
                <a:gd name="T77" fmla="*/ 43 h 193"/>
                <a:gd name="T78" fmla="*/ 43 w 236"/>
                <a:gd name="T79" fmla="*/ 42 h 193"/>
                <a:gd name="T80" fmla="*/ 75 w 236"/>
                <a:gd name="T81" fmla="*/ 10 h 193"/>
                <a:gd name="T82" fmla="*/ 91 w 236"/>
                <a:gd name="T83" fmla="*/ 15 h 193"/>
                <a:gd name="T84" fmla="*/ 117 w 236"/>
                <a:gd name="T85" fmla="*/ 0 h 193"/>
                <a:gd name="T86" fmla="*/ 145 w 236"/>
                <a:gd name="T87" fmla="*/ 15 h 193"/>
                <a:gd name="T88" fmla="*/ 159 w 236"/>
                <a:gd name="T89" fmla="*/ 10 h 193"/>
                <a:gd name="T90" fmla="*/ 191 w 236"/>
                <a:gd name="T91" fmla="*/ 34 h 193"/>
                <a:gd name="T92" fmla="*/ 201 w 236"/>
                <a:gd name="T93" fmla="*/ 32 h 193"/>
                <a:gd name="T94" fmla="*/ 235 w 236"/>
                <a:gd name="T95" fmla="*/ 64 h 193"/>
                <a:gd name="T96" fmla="*/ 235 w 236"/>
                <a:gd name="T97" fmla="*/ 106 h 193"/>
                <a:gd name="T98" fmla="*/ 209 w 236"/>
                <a:gd name="T99" fmla="*/ 1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6" h="193">
                  <a:moveTo>
                    <a:pt x="209" y="187"/>
                  </a:moveTo>
                  <a:cubicBezTo>
                    <a:pt x="207" y="189"/>
                    <a:pt x="204" y="191"/>
                    <a:pt x="201" y="191"/>
                  </a:cubicBezTo>
                  <a:cubicBezTo>
                    <a:pt x="199" y="191"/>
                    <a:pt x="196" y="190"/>
                    <a:pt x="194" y="188"/>
                  </a:cubicBezTo>
                  <a:cubicBezTo>
                    <a:pt x="190" y="184"/>
                    <a:pt x="189" y="178"/>
                    <a:pt x="193" y="173"/>
                  </a:cubicBezTo>
                  <a:cubicBezTo>
                    <a:pt x="215" y="148"/>
                    <a:pt x="214" y="107"/>
                    <a:pt x="214" y="106"/>
                  </a:cubicBezTo>
                  <a:cubicBezTo>
                    <a:pt x="214" y="64"/>
                    <a:pt x="214" y="64"/>
                    <a:pt x="214" y="64"/>
                  </a:cubicBezTo>
                  <a:cubicBezTo>
                    <a:pt x="214" y="58"/>
                    <a:pt x="207" y="53"/>
                    <a:pt x="201" y="53"/>
                  </a:cubicBezTo>
                  <a:cubicBezTo>
                    <a:pt x="196" y="53"/>
                    <a:pt x="192" y="61"/>
                    <a:pt x="192" y="67"/>
                  </a:cubicBezTo>
                  <a:cubicBezTo>
                    <a:pt x="192" y="73"/>
                    <a:pt x="188" y="78"/>
                    <a:pt x="182" y="78"/>
                  </a:cubicBezTo>
                  <a:cubicBezTo>
                    <a:pt x="176" y="78"/>
                    <a:pt x="171" y="73"/>
                    <a:pt x="171" y="67"/>
                  </a:cubicBezTo>
                  <a:cubicBezTo>
                    <a:pt x="171" y="63"/>
                    <a:pt x="171" y="42"/>
                    <a:pt x="171" y="42"/>
                  </a:cubicBezTo>
                  <a:cubicBezTo>
                    <a:pt x="171" y="36"/>
                    <a:pt x="166" y="32"/>
                    <a:pt x="159" y="32"/>
                  </a:cubicBezTo>
                  <a:cubicBezTo>
                    <a:pt x="154" y="32"/>
                    <a:pt x="150" y="39"/>
                    <a:pt x="150" y="45"/>
                  </a:cubicBezTo>
                  <a:cubicBezTo>
                    <a:pt x="150" y="65"/>
                    <a:pt x="150" y="65"/>
                    <a:pt x="150" y="65"/>
                  </a:cubicBezTo>
                  <a:cubicBezTo>
                    <a:pt x="150" y="71"/>
                    <a:pt x="145" y="75"/>
                    <a:pt x="139" y="75"/>
                  </a:cubicBezTo>
                  <a:cubicBezTo>
                    <a:pt x="133" y="75"/>
                    <a:pt x="128" y="71"/>
                    <a:pt x="128" y="65"/>
                  </a:cubicBezTo>
                  <a:cubicBezTo>
                    <a:pt x="128" y="31"/>
                    <a:pt x="128" y="31"/>
                    <a:pt x="128" y="31"/>
                  </a:cubicBezTo>
                  <a:cubicBezTo>
                    <a:pt x="128" y="26"/>
                    <a:pt x="123" y="21"/>
                    <a:pt x="117" y="21"/>
                  </a:cubicBezTo>
                  <a:cubicBezTo>
                    <a:pt x="111" y="21"/>
                    <a:pt x="107" y="28"/>
                    <a:pt x="107" y="34"/>
                  </a:cubicBezTo>
                  <a:cubicBezTo>
                    <a:pt x="107" y="35"/>
                    <a:pt x="107" y="40"/>
                    <a:pt x="107" y="42"/>
                  </a:cubicBezTo>
                  <a:cubicBezTo>
                    <a:pt x="107" y="65"/>
                    <a:pt x="107" y="65"/>
                    <a:pt x="107" y="65"/>
                  </a:cubicBezTo>
                  <a:cubicBezTo>
                    <a:pt x="107" y="71"/>
                    <a:pt x="102" y="75"/>
                    <a:pt x="96" y="75"/>
                  </a:cubicBezTo>
                  <a:cubicBezTo>
                    <a:pt x="90" y="75"/>
                    <a:pt x="86" y="71"/>
                    <a:pt x="86" y="65"/>
                  </a:cubicBezTo>
                  <a:cubicBezTo>
                    <a:pt x="86" y="42"/>
                    <a:pt x="86" y="42"/>
                    <a:pt x="86" y="42"/>
                  </a:cubicBezTo>
                  <a:cubicBezTo>
                    <a:pt x="86" y="36"/>
                    <a:pt x="81" y="31"/>
                    <a:pt x="75" y="31"/>
                  </a:cubicBezTo>
                  <a:cubicBezTo>
                    <a:pt x="69" y="31"/>
                    <a:pt x="64" y="36"/>
                    <a:pt x="64" y="42"/>
                  </a:cubicBezTo>
                  <a:cubicBezTo>
                    <a:pt x="64" y="107"/>
                    <a:pt x="64" y="107"/>
                    <a:pt x="64" y="107"/>
                  </a:cubicBezTo>
                  <a:cubicBezTo>
                    <a:pt x="64" y="113"/>
                    <a:pt x="60" y="118"/>
                    <a:pt x="54" y="118"/>
                  </a:cubicBezTo>
                  <a:cubicBezTo>
                    <a:pt x="48" y="118"/>
                    <a:pt x="43" y="113"/>
                    <a:pt x="43" y="107"/>
                  </a:cubicBezTo>
                  <a:cubicBezTo>
                    <a:pt x="43" y="64"/>
                    <a:pt x="43" y="64"/>
                    <a:pt x="43" y="64"/>
                  </a:cubicBezTo>
                  <a:cubicBezTo>
                    <a:pt x="40" y="64"/>
                    <a:pt x="37" y="65"/>
                    <a:pt x="35" y="67"/>
                  </a:cubicBezTo>
                  <a:cubicBezTo>
                    <a:pt x="27" y="72"/>
                    <a:pt x="21" y="86"/>
                    <a:pt x="22" y="99"/>
                  </a:cubicBezTo>
                  <a:cubicBezTo>
                    <a:pt x="22" y="121"/>
                    <a:pt x="23" y="145"/>
                    <a:pt x="68" y="173"/>
                  </a:cubicBezTo>
                  <a:cubicBezTo>
                    <a:pt x="73" y="177"/>
                    <a:pt x="75" y="183"/>
                    <a:pt x="72" y="188"/>
                  </a:cubicBezTo>
                  <a:cubicBezTo>
                    <a:pt x="70" y="191"/>
                    <a:pt x="66" y="193"/>
                    <a:pt x="63" y="193"/>
                  </a:cubicBezTo>
                  <a:cubicBezTo>
                    <a:pt x="61" y="193"/>
                    <a:pt x="59" y="193"/>
                    <a:pt x="57" y="192"/>
                  </a:cubicBezTo>
                  <a:cubicBezTo>
                    <a:pt x="7" y="160"/>
                    <a:pt x="1" y="130"/>
                    <a:pt x="0" y="99"/>
                  </a:cubicBezTo>
                  <a:cubicBezTo>
                    <a:pt x="0" y="79"/>
                    <a:pt x="9" y="58"/>
                    <a:pt x="23" y="49"/>
                  </a:cubicBezTo>
                  <a:cubicBezTo>
                    <a:pt x="29" y="45"/>
                    <a:pt x="36" y="43"/>
                    <a:pt x="43" y="43"/>
                  </a:cubicBezTo>
                  <a:cubicBezTo>
                    <a:pt x="43" y="42"/>
                    <a:pt x="43" y="42"/>
                    <a:pt x="43" y="42"/>
                  </a:cubicBezTo>
                  <a:cubicBezTo>
                    <a:pt x="43" y="24"/>
                    <a:pt x="57" y="10"/>
                    <a:pt x="75" y="10"/>
                  </a:cubicBezTo>
                  <a:cubicBezTo>
                    <a:pt x="81" y="10"/>
                    <a:pt x="87" y="12"/>
                    <a:pt x="91" y="15"/>
                  </a:cubicBezTo>
                  <a:cubicBezTo>
                    <a:pt x="97" y="6"/>
                    <a:pt x="106" y="0"/>
                    <a:pt x="117" y="0"/>
                  </a:cubicBezTo>
                  <a:cubicBezTo>
                    <a:pt x="129" y="0"/>
                    <a:pt x="139" y="6"/>
                    <a:pt x="145" y="15"/>
                  </a:cubicBezTo>
                  <a:cubicBezTo>
                    <a:pt x="149" y="12"/>
                    <a:pt x="154" y="10"/>
                    <a:pt x="159" y="10"/>
                  </a:cubicBezTo>
                  <a:cubicBezTo>
                    <a:pt x="175" y="10"/>
                    <a:pt x="187" y="20"/>
                    <a:pt x="191" y="34"/>
                  </a:cubicBezTo>
                  <a:cubicBezTo>
                    <a:pt x="194" y="33"/>
                    <a:pt x="197" y="32"/>
                    <a:pt x="201" y="32"/>
                  </a:cubicBezTo>
                  <a:cubicBezTo>
                    <a:pt x="219" y="32"/>
                    <a:pt x="235" y="46"/>
                    <a:pt x="235" y="64"/>
                  </a:cubicBezTo>
                  <a:cubicBezTo>
                    <a:pt x="235" y="106"/>
                    <a:pt x="235" y="106"/>
                    <a:pt x="235" y="106"/>
                  </a:cubicBezTo>
                  <a:cubicBezTo>
                    <a:pt x="235" y="108"/>
                    <a:pt x="236" y="155"/>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1" name="Freeform 152">
            <a:extLst>
              <a:ext uri="{FF2B5EF4-FFF2-40B4-BE49-F238E27FC236}">
                <a16:creationId xmlns:a16="http://schemas.microsoft.com/office/drawing/2014/main" id="{A865D2A1-86C3-44DB-AD6C-A87E91780574}"/>
              </a:ext>
            </a:extLst>
          </p:cNvPr>
          <p:cNvSpPr>
            <a:spLocks noChangeAspect="1" noEditPoints="1"/>
          </p:cNvSpPr>
          <p:nvPr/>
        </p:nvSpPr>
        <p:spPr bwMode="auto">
          <a:xfrm>
            <a:off x="7445061" y="1696520"/>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239 h 512"/>
              <a:gd name="T12" fmla="*/ 373 w 512"/>
              <a:gd name="T13" fmla="*/ 281 h 512"/>
              <a:gd name="T14" fmla="*/ 339 w 512"/>
              <a:gd name="T15" fmla="*/ 313 h 512"/>
              <a:gd name="T16" fmla="*/ 325 w 512"/>
              <a:gd name="T17" fmla="*/ 309 h 512"/>
              <a:gd name="T18" fmla="*/ 297 w 512"/>
              <a:gd name="T19" fmla="*/ 323 h 512"/>
              <a:gd name="T20" fmla="*/ 287 w 512"/>
              <a:gd name="T21" fmla="*/ 321 h 512"/>
              <a:gd name="T22" fmla="*/ 255 w 512"/>
              <a:gd name="T23" fmla="*/ 344 h 512"/>
              <a:gd name="T24" fmla="*/ 245 w 512"/>
              <a:gd name="T25" fmla="*/ 342 h 512"/>
              <a:gd name="T26" fmla="*/ 245 w 512"/>
              <a:gd name="T27" fmla="*/ 367 h 512"/>
              <a:gd name="T28" fmla="*/ 213 w 512"/>
              <a:gd name="T29" fmla="*/ 399 h 512"/>
              <a:gd name="T30" fmla="*/ 181 w 512"/>
              <a:gd name="T31" fmla="*/ 367 h 512"/>
              <a:gd name="T32" fmla="*/ 181 w 512"/>
              <a:gd name="T33" fmla="*/ 268 h 512"/>
              <a:gd name="T34" fmla="*/ 172 w 512"/>
              <a:gd name="T35" fmla="*/ 294 h 512"/>
              <a:gd name="T36" fmla="*/ 171 w 512"/>
              <a:gd name="T37" fmla="*/ 297 h 512"/>
              <a:gd name="T38" fmla="*/ 152 w 512"/>
              <a:gd name="T39" fmla="*/ 313 h 512"/>
              <a:gd name="T40" fmla="*/ 127 w 512"/>
              <a:gd name="T41" fmla="*/ 311 h 512"/>
              <a:gd name="T42" fmla="*/ 116 w 512"/>
              <a:gd name="T43" fmla="*/ 267 h 512"/>
              <a:gd name="T44" fmla="*/ 196 w 512"/>
              <a:gd name="T45" fmla="*/ 153 h 512"/>
              <a:gd name="T46" fmla="*/ 211 w 512"/>
              <a:gd name="T47" fmla="*/ 156 h 512"/>
              <a:gd name="T48" fmla="*/ 207 w 512"/>
              <a:gd name="T49" fmla="*/ 171 h 512"/>
              <a:gd name="T50" fmla="*/ 136 w 512"/>
              <a:gd name="T51" fmla="*/ 274 h 512"/>
              <a:gd name="T52" fmla="*/ 136 w 512"/>
              <a:gd name="T53" fmla="*/ 275 h 512"/>
              <a:gd name="T54" fmla="*/ 137 w 512"/>
              <a:gd name="T55" fmla="*/ 292 h 512"/>
              <a:gd name="T56" fmla="*/ 151 w 512"/>
              <a:gd name="T57" fmla="*/ 288 h 512"/>
              <a:gd name="T58" fmla="*/ 187 w 512"/>
              <a:gd name="T59" fmla="*/ 229 h 512"/>
              <a:gd name="T60" fmla="*/ 197 w 512"/>
              <a:gd name="T61" fmla="*/ 230 h 512"/>
              <a:gd name="T62" fmla="*/ 202 w 512"/>
              <a:gd name="T63" fmla="*/ 239 h 512"/>
              <a:gd name="T64" fmla="*/ 202 w 512"/>
              <a:gd name="T65" fmla="*/ 367 h 512"/>
              <a:gd name="T66" fmla="*/ 213 w 512"/>
              <a:gd name="T67" fmla="*/ 377 h 512"/>
              <a:gd name="T68" fmla="*/ 224 w 512"/>
              <a:gd name="T69" fmla="*/ 367 h 512"/>
              <a:gd name="T70" fmla="*/ 224 w 512"/>
              <a:gd name="T71" fmla="*/ 277 h 512"/>
              <a:gd name="T72" fmla="*/ 234 w 512"/>
              <a:gd name="T73" fmla="*/ 266 h 512"/>
              <a:gd name="T74" fmla="*/ 245 w 512"/>
              <a:gd name="T75" fmla="*/ 277 h 512"/>
              <a:gd name="T76" fmla="*/ 245 w 512"/>
              <a:gd name="T77" fmla="*/ 309 h 512"/>
              <a:gd name="T78" fmla="*/ 255 w 512"/>
              <a:gd name="T79" fmla="*/ 323 h 512"/>
              <a:gd name="T80" fmla="*/ 266 w 512"/>
              <a:gd name="T81" fmla="*/ 313 h 512"/>
              <a:gd name="T82" fmla="*/ 266 w 512"/>
              <a:gd name="T83" fmla="*/ 277 h 512"/>
              <a:gd name="T84" fmla="*/ 277 w 512"/>
              <a:gd name="T85" fmla="*/ 266 h 512"/>
              <a:gd name="T86" fmla="*/ 288 w 512"/>
              <a:gd name="T87" fmla="*/ 277 h 512"/>
              <a:gd name="T88" fmla="*/ 288 w 512"/>
              <a:gd name="T89" fmla="*/ 290 h 512"/>
              <a:gd name="T90" fmla="*/ 297 w 512"/>
              <a:gd name="T91" fmla="*/ 302 h 512"/>
              <a:gd name="T92" fmla="*/ 309 w 512"/>
              <a:gd name="T93" fmla="*/ 292 h 512"/>
              <a:gd name="T94" fmla="*/ 309 w 512"/>
              <a:gd name="T95" fmla="*/ 277 h 512"/>
              <a:gd name="T96" fmla="*/ 320 w 512"/>
              <a:gd name="T97" fmla="*/ 266 h 512"/>
              <a:gd name="T98" fmla="*/ 327 w 512"/>
              <a:gd name="T99" fmla="*/ 270 h 512"/>
              <a:gd name="T100" fmla="*/ 331 w 512"/>
              <a:gd name="T101" fmla="*/ 278 h 512"/>
              <a:gd name="T102" fmla="*/ 339 w 512"/>
              <a:gd name="T103" fmla="*/ 292 h 512"/>
              <a:gd name="T104" fmla="*/ 352 w 512"/>
              <a:gd name="T105" fmla="*/ 281 h 512"/>
              <a:gd name="T106" fmla="*/ 352 w 512"/>
              <a:gd name="T107" fmla="*/ 239 h 512"/>
              <a:gd name="T108" fmla="*/ 331 w 512"/>
              <a:gd name="T109" fmla="*/ 171 h 512"/>
              <a:gd name="T110" fmla="*/ 332 w 512"/>
              <a:gd name="T111" fmla="*/ 156 h 512"/>
              <a:gd name="T112" fmla="*/ 347 w 512"/>
              <a:gd name="T113" fmla="*/ 157 h 512"/>
              <a:gd name="T114" fmla="*/ 373 w 512"/>
              <a:gd name="T115" fmla="*/ 2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39"/>
                </a:moveTo>
                <a:cubicBezTo>
                  <a:pt x="373" y="281"/>
                  <a:pt x="373" y="281"/>
                  <a:pt x="373" y="281"/>
                </a:cubicBezTo>
                <a:cubicBezTo>
                  <a:pt x="373" y="299"/>
                  <a:pt x="357" y="313"/>
                  <a:pt x="339" y="313"/>
                </a:cubicBezTo>
                <a:cubicBezTo>
                  <a:pt x="334" y="313"/>
                  <a:pt x="329" y="312"/>
                  <a:pt x="325" y="309"/>
                </a:cubicBezTo>
                <a:cubicBezTo>
                  <a:pt x="319" y="317"/>
                  <a:pt x="309" y="323"/>
                  <a:pt x="297" y="323"/>
                </a:cubicBezTo>
                <a:cubicBezTo>
                  <a:pt x="293" y="323"/>
                  <a:pt x="290" y="322"/>
                  <a:pt x="287" y="321"/>
                </a:cubicBezTo>
                <a:cubicBezTo>
                  <a:pt x="283" y="334"/>
                  <a:pt x="270" y="344"/>
                  <a:pt x="255" y="344"/>
                </a:cubicBezTo>
                <a:cubicBezTo>
                  <a:pt x="251" y="344"/>
                  <a:pt x="248" y="343"/>
                  <a:pt x="245" y="342"/>
                </a:cubicBezTo>
                <a:cubicBezTo>
                  <a:pt x="245" y="367"/>
                  <a:pt x="245" y="367"/>
                  <a:pt x="245" y="367"/>
                </a:cubicBezTo>
                <a:cubicBezTo>
                  <a:pt x="245" y="384"/>
                  <a:pt x="231" y="399"/>
                  <a:pt x="213" y="399"/>
                </a:cubicBezTo>
                <a:cubicBezTo>
                  <a:pt x="195" y="399"/>
                  <a:pt x="181" y="384"/>
                  <a:pt x="181" y="367"/>
                </a:cubicBezTo>
                <a:cubicBezTo>
                  <a:pt x="181" y="268"/>
                  <a:pt x="181" y="268"/>
                  <a:pt x="181" y="268"/>
                </a:cubicBezTo>
                <a:cubicBezTo>
                  <a:pt x="177" y="277"/>
                  <a:pt x="173" y="287"/>
                  <a:pt x="172" y="294"/>
                </a:cubicBezTo>
                <a:cubicBezTo>
                  <a:pt x="171" y="295"/>
                  <a:pt x="171" y="296"/>
                  <a:pt x="171" y="297"/>
                </a:cubicBezTo>
                <a:cubicBezTo>
                  <a:pt x="167" y="304"/>
                  <a:pt x="160" y="310"/>
                  <a:pt x="152" y="313"/>
                </a:cubicBezTo>
                <a:cubicBezTo>
                  <a:pt x="144" y="316"/>
                  <a:pt x="135" y="315"/>
                  <a:pt x="127" y="311"/>
                </a:cubicBezTo>
                <a:cubicBezTo>
                  <a:pt x="111" y="303"/>
                  <a:pt x="109" y="282"/>
                  <a:pt x="116" y="267"/>
                </a:cubicBezTo>
                <a:cubicBezTo>
                  <a:pt x="119" y="258"/>
                  <a:pt x="148" y="183"/>
                  <a:pt x="196" y="153"/>
                </a:cubicBezTo>
                <a:cubicBezTo>
                  <a:pt x="201" y="150"/>
                  <a:pt x="207" y="151"/>
                  <a:pt x="211" y="156"/>
                </a:cubicBezTo>
                <a:cubicBezTo>
                  <a:pt x="214" y="161"/>
                  <a:pt x="212" y="168"/>
                  <a:pt x="207" y="171"/>
                </a:cubicBezTo>
                <a:cubicBezTo>
                  <a:pt x="164" y="198"/>
                  <a:pt x="136" y="274"/>
                  <a:pt x="136" y="274"/>
                </a:cubicBezTo>
                <a:cubicBezTo>
                  <a:pt x="136" y="275"/>
                  <a:pt x="136" y="275"/>
                  <a:pt x="136" y="275"/>
                </a:cubicBezTo>
                <a:cubicBezTo>
                  <a:pt x="133" y="281"/>
                  <a:pt x="133" y="290"/>
                  <a:pt x="137" y="292"/>
                </a:cubicBezTo>
                <a:cubicBezTo>
                  <a:pt x="142" y="295"/>
                  <a:pt x="148" y="293"/>
                  <a:pt x="151" y="288"/>
                </a:cubicBezTo>
                <a:cubicBezTo>
                  <a:pt x="153" y="279"/>
                  <a:pt x="163" y="241"/>
                  <a:pt x="187" y="229"/>
                </a:cubicBezTo>
                <a:cubicBezTo>
                  <a:pt x="190" y="227"/>
                  <a:pt x="194" y="228"/>
                  <a:pt x="197" y="230"/>
                </a:cubicBezTo>
                <a:cubicBezTo>
                  <a:pt x="200" y="231"/>
                  <a:pt x="202" y="235"/>
                  <a:pt x="202" y="239"/>
                </a:cubicBezTo>
                <a:cubicBezTo>
                  <a:pt x="202" y="367"/>
                  <a:pt x="202" y="367"/>
                  <a:pt x="202" y="367"/>
                </a:cubicBezTo>
                <a:cubicBezTo>
                  <a:pt x="202" y="373"/>
                  <a:pt x="207" y="377"/>
                  <a:pt x="213" y="377"/>
                </a:cubicBezTo>
                <a:cubicBezTo>
                  <a:pt x="219" y="377"/>
                  <a:pt x="224" y="373"/>
                  <a:pt x="224" y="367"/>
                </a:cubicBezTo>
                <a:cubicBezTo>
                  <a:pt x="224" y="277"/>
                  <a:pt x="224" y="277"/>
                  <a:pt x="224" y="277"/>
                </a:cubicBezTo>
                <a:cubicBezTo>
                  <a:pt x="224" y="271"/>
                  <a:pt x="228" y="266"/>
                  <a:pt x="234" y="266"/>
                </a:cubicBezTo>
                <a:cubicBezTo>
                  <a:pt x="240" y="266"/>
                  <a:pt x="245" y="271"/>
                  <a:pt x="245" y="277"/>
                </a:cubicBezTo>
                <a:cubicBezTo>
                  <a:pt x="245" y="309"/>
                  <a:pt x="245" y="309"/>
                  <a:pt x="245" y="309"/>
                </a:cubicBezTo>
                <a:cubicBezTo>
                  <a:pt x="245" y="315"/>
                  <a:pt x="250" y="323"/>
                  <a:pt x="255" y="323"/>
                </a:cubicBezTo>
                <a:cubicBezTo>
                  <a:pt x="260" y="323"/>
                  <a:pt x="266" y="320"/>
                  <a:pt x="266" y="313"/>
                </a:cubicBezTo>
                <a:cubicBezTo>
                  <a:pt x="266" y="277"/>
                  <a:pt x="266" y="277"/>
                  <a:pt x="266" y="277"/>
                </a:cubicBezTo>
                <a:cubicBezTo>
                  <a:pt x="266" y="271"/>
                  <a:pt x="271" y="266"/>
                  <a:pt x="277" y="266"/>
                </a:cubicBezTo>
                <a:cubicBezTo>
                  <a:pt x="283" y="266"/>
                  <a:pt x="288" y="271"/>
                  <a:pt x="288" y="277"/>
                </a:cubicBezTo>
                <a:cubicBezTo>
                  <a:pt x="288" y="290"/>
                  <a:pt x="288" y="290"/>
                  <a:pt x="288" y="290"/>
                </a:cubicBezTo>
                <a:cubicBezTo>
                  <a:pt x="288" y="295"/>
                  <a:pt x="293" y="302"/>
                  <a:pt x="297" y="302"/>
                </a:cubicBezTo>
                <a:cubicBezTo>
                  <a:pt x="303" y="302"/>
                  <a:pt x="309" y="298"/>
                  <a:pt x="309" y="292"/>
                </a:cubicBezTo>
                <a:cubicBezTo>
                  <a:pt x="309" y="277"/>
                  <a:pt x="309" y="277"/>
                  <a:pt x="309" y="277"/>
                </a:cubicBezTo>
                <a:cubicBezTo>
                  <a:pt x="309" y="271"/>
                  <a:pt x="314" y="266"/>
                  <a:pt x="320" y="266"/>
                </a:cubicBezTo>
                <a:cubicBezTo>
                  <a:pt x="323" y="266"/>
                  <a:pt x="326" y="268"/>
                  <a:pt x="327" y="270"/>
                </a:cubicBezTo>
                <a:cubicBezTo>
                  <a:pt x="330" y="272"/>
                  <a:pt x="331" y="274"/>
                  <a:pt x="331" y="278"/>
                </a:cubicBezTo>
                <a:cubicBezTo>
                  <a:pt x="331" y="284"/>
                  <a:pt x="335" y="292"/>
                  <a:pt x="339" y="292"/>
                </a:cubicBezTo>
                <a:cubicBezTo>
                  <a:pt x="346" y="292"/>
                  <a:pt x="352" y="287"/>
                  <a:pt x="352" y="281"/>
                </a:cubicBezTo>
                <a:cubicBezTo>
                  <a:pt x="352" y="239"/>
                  <a:pt x="352" y="239"/>
                  <a:pt x="352" y="239"/>
                </a:cubicBezTo>
                <a:cubicBezTo>
                  <a:pt x="352" y="238"/>
                  <a:pt x="353" y="197"/>
                  <a:pt x="331" y="171"/>
                </a:cubicBezTo>
                <a:cubicBezTo>
                  <a:pt x="327" y="166"/>
                  <a:pt x="327" y="160"/>
                  <a:pt x="332" y="156"/>
                </a:cubicBezTo>
                <a:cubicBezTo>
                  <a:pt x="337" y="152"/>
                  <a:pt x="344" y="153"/>
                  <a:pt x="347" y="157"/>
                </a:cubicBezTo>
                <a:cubicBezTo>
                  <a:pt x="376" y="189"/>
                  <a:pt x="373" y="237"/>
                  <a:pt x="373" y="23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2" name="Group 155">
            <a:extLst>
              <a:ext uri="{FF2B5EF4-FFF2-40B4-BE49-F238E27FC236}">
                <a16:creationId xmlns:a16="http://schemas.microsoft.com/office/drawing/2014/main" id="{B6910063-2BEC-4C74-AF27-274F225DB040}"/>
              </a:ext>
            </a:extLst>
          </p:cNvPr>
          <p:cNvGrpSpPr>
            <a:grpSpLocks noChangeAspect="1"/>
          </p:cNvGrpSpPr>
          <p:nvPr/>
        </p:nvGrpSpPr>
        <p:grpSpPr bwMode="auto">
          <a:xfrm>
            <a:off x="7879871" y="1696520"/>
            <a:ext cx="367041" cy="368121"/>
            <a:chOff x="4854" y="1018"/>
            <a:chExt cx="340" cy="341"/>
          </a:xfrm>
          <a:solidFill>
            <a:schemeClr val="accent2"/>
          </a:solidFill>
        </p:grpSpPr>
        <p:sp>
          <p:nvSpPr>
            <p:cNvPr id="163" name="Line 156">
              <a:extLst>
                <a:ext uri="{FF2B5EF4-FFF2-40B4-BE49-F238E27FC236}">
                  <a16:creationId xmlns:a16="http://schemas.microsoft.com/office/drawing/2014/main" id="{15A75682-4BEE-4E95-940F-53AC34E143A0}"/>
                </a:ext>
              </a:extLst>
            </p:cNvPr>
            <p:cNvSpPr>
              <a:spLocks noChangeShapeType="1"/>
            </p:cNvSpPr>
            <p:nvPr/>
          </p:nvSpPr>
          <p:spPr bwMode="auto">
            <a:xfrm>
              <a:off x="5074" y="1161"/>
              <a:ext cx="0" cy="0"/>
            </a:xfrm>
            <a:prstGeom prst="line">
              <a:avLst/>
            </a:prstGeom>
            <a:grpFill/>
            <a:ln w="222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 name="Freeform 157">
              <a:extLst>
                <a:ext uri="{FF2B5EF4-FFF2-40B4-BE49-F238E27FC236}">
                  <a16:creationId xmlns:a16="http://schemas.microsoft.com/office/drawing/2014/main" id="{77574B1C-4F21-489D-B948-58B68D1D8B2D}"/>
                </a:ext>
              </a:extLst>
            </p:cNvPr>
            <p:cNvSpPr>
              <a:spLocks/>
            </p:cNvSpPr>
            <p:nvPr/>
          </p:nvSpPr>
          <p:spPr bwMode="auto">
            <a:xfrm>
              <a:off x="4926" y="1118"/>
              <a:ext cx="178" cy="166"/>
            </a:xfrm>
            <a:custGeom>
              <a:avLst/>
              <a:gdLst>
                <a:gd name="T0" fmla="*/ 238 w 267"/>
                <a:gd name="T1" fmla="*/ 7 h 249"/>
                <a:gd name="T2" fmla="*/ 223 w 267"/>
                <a:gd name="T3" fmla="*/ 6 h 249"/>
                <a:gd name="T4" fmla="*/ 222 w 267"/>
                <a:gd name="T5" fmla="*/ 21 h 249"/>
                <a:gd name="T6" fmla="*/ 243 w 267"/>
                <a:gd name="T7" fmla="*/ 89 h 249"/>
                <a:gd name="T8" fmla="*/ 243 w 267"/>
                <a:gd name="T9" fmla="*/ 131 h 249"/>
                <a:gd name="T10" fmla="*/ 230 w 267"/>
                <a:gd name="T11" fmla="*/ 142 h 249"/>
                <a:gd name="T12" fmla="*/ 222 w 267"/>
                <a:gd name="T13" fmla="*/ 128 h 249"/>
                <a:gd name="T14" fmla="*/ 218 w 267"/>
                <a:gd name="T15" fmla="*/ 120 h 249"/>
                <a:gd name="T16" fmla="*/ 211 w 267"/>
                <a:gd name="T17" fmla="*/ 116 h 249"/>
                <a:gd name="T18" fmla="*/ 200 w 267"/>
                <a:gd name="T19" fmla="*/ 127 h 249"/>
                <a:gd name="T20" fmla="*/ 200 w 267"/>
                <a:gd name="T21" fmla="*/ 142 h 249"/>
                <a:gd name="T22" fmla="*/ 188 w 267"/>
                <a:gd name="T23" fmla="*/ 152 h 249"/>
                <a:gd name="T24" fmla="*/ 179 w 267"/>
                <a:gd name="T25" fmla="*/ 140 h 249"/>
                <a:gd name="T26" fmla="*/ 179 w 267"/>
                <a:gd name="T27" fmla="*/ 127 h 249"/>
                <a:gd name="T28" fmla="*/ 168 w 267"/>
                <a:gd name="T29" fmla="*/ 116 h 249"/>
                <a:gd name="T30" fmla="*/ 157 w 267"/>
                <a:gd name="T31" fmla="*/ 127 h 249"/>
                <a:gd name="T32" fmla="*/ 157 w 267"/>
                <a:gd name="T33" fmla="*/ 163 h 249"/>
                <a:gd name="T34" fmla="*/ 146 w 267"/>
                <a:gd name="T35" fmla="*/ 173 h 249"/>
                <a:gd name="T36" fmla="*/ 136 w 267"/>
                <a:gd name="T37" fmla="*/ 159 h 249"/>
                <a:gd name="T38" fmla="*/ 136 w 267"/>
                <a:gd name="T39" fmla="*/ 159 h 249"/>
                <a:gd name="T40" fmla="*/ 136 w 267"/>
                <a:gd name="T41" fmla="*/ 127 h 249"/>
                <a:gd name="T42" fmla="*/ 125 w 267"/>
                <a:gd name="T43" fmla="*/ 116 h 249"/>
                <a:gd name="T44" fmla="*/ 115 w 267"/>
                <a:gd name="T45" fmla="*/ 127 h 249"/>
                <a:gd name="T46" fmla="*/ 115 w 267"/>
                <a:gd name="T47" fmla="*/ 217 h 249"/>
                <a:gd name="T48" fmla="*/ 104 w 267"/>
                <a:gd name="T49" fmla="*/ 227 h 249"/>
                <a:gd name="T50" fmla="*/ 93 w 267"/>
                <a:gd name="T51" fmla="*/ 217 h 249"/>
                <a:gd name="T52" fmla="*/ 93 w 267"/>
                <a:gd name="T53" fmla="*/ 89 h 249"/>
                <a:gd name="T54" fmla="*/ 88 w 267"/>
                <a:gd name="T55" fmla="*/ 80 h 249"/>
                <a:gd name="T56" fmla="*/ 78 w 267"/>
                <a:gd name="T57" fmla="*/ 79 h 249"/>
                <a:gd name="T58" fmla="*/ 42 w 267"/>
                <a:gd name="T59" fmla="*/ 138 h 249"/>
                <a:gd name="T60" fmla="*/ 28 w 267"/>
                <a:gd name="T61" fmla="*/ 142 h 249"/>
                <a:gd name="T62" fmla="*/ 27 w 267"/>
                <a:gd name="T63" fmla="*/ 125 h 249"/>
                <a:gd name="T64" fmla="*/ 27 w 267"/>
                <a:gd name="T65" fmla="*/ 124 h 249"/>
                <a:gd name="T66" fmla="*/ 98 w 267"/>
                <a:gd name="T67" fmla="*/ 21 h 249"/>
                <a:gd name="T68" fmla="*/ 102 w 267"/>
                <a:gd name="T69" fmla="*/ 6 h 249"/>
                <a:gd name="T70" fmla="*/ 87 w 267"/>
                <a:gd name="T71" fmla="*/ 3 h 249"/>
                <a:gd name="T72" fmla="*/ 7 w 267"/>
                <a:gd name="T73" fmla="*/ 117 h 249"/>
                <a:gd name="T74" fmla="*/ 18 w 267"/>
                <a:gd name="T75" fmla="*/ 161 h 249"/>
                <a:gd name="T76" fmla="*/ 43 w 267"/>
                <a:gd name="T77" fmla="*/ 163 h 249"/>
                <a:gd name="T78" fmla="*/ 62 w 267"/>
                <a:gd name="T79" fmla="*/ 147 h 249"/>
                <a:gd name="T80" fmla="*/ 63 w 267"/>
                <a:gd name="T81" fmla="*/ 144 h 249"/>
                <a:gd name="T82" fmla="*/ 72 w 267"/>
                <a:gd name="T83" fmla="*/ 118 h 249"/>
                <a:gd name="T84" fmla="*/ 72 w 267"/>
                <a:gd name="T85" fmla="*/ 217 h 249"/>
                <a:gd name="T86" fmla="*/ 104 w 267"/>
                <a:gd name="T87" fmla="*/ 249 h 249"/>
                <a:gd name="T88" fmla="*/ 136 w 267"/>
                <a:gd name="T89" fmla="*/ 217 h 249"/>
                <a:gd name="T90" fmla="*/ 136 w 267"/>
                <a:gd name="T91" fmla="*/ 192 h 249"/>
                <a:gd name="T92" fmla="*/ 146 w 267"/>
                <a:gd name="T93" fmla="*/ 194 h 249"/>
                <a:gd name="T94" fmla="*/ 178 w 267"/>
                <a:gd name="T95" fmla="*/ 171 h 249"/>
                <a:gd name="T96" fmla="*/ 188 w 267"/>
                <a:gd name="T97" fmla="*/ 173 h 249"/>
                <a:gd name="T98" fmla="*/ 216 w 267"/>
                <a:gd name="T99" fmla="*/ 159 h 249"/>
                <a:gd name="T100" fmla="*/ 230 w 267"/>
                <a:gd name="T101" fmla="*/ 163 h 249"/>
                <a:gd name="T102" fmla="*/ 264 w 267"/>
                <a:gd name="T103" fmla="*/ 131 h 249"/>
                <a:gd name="T104" fmla="*/ 264 w 267"/>
                <a:gd name="T105" fmla="*/ 89 h 249"/>
                <a:gd name="T106" fmla="*/ 238 w 267"/>
                <a:gd name="T107" fmla="*/ 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7" h="249">
                  <a:moveTo>
                    <a:pt x="238" y="7"/>
                  </a:moveTo>
                  <a:cubicBezTo>
                    <a:pt x="235" y="3"/>
                    <a:pt x="228" y="2"/>
                    <a:pt x="223" y="6"/>
                  </a:cubicBezTo>
                  <a:cubicBezTo>
                    <a:pt x="218" y="10"/>
                    <a:pt x="218" y="16"/>
                    <a:pt x="222" y="21"/>
                  </a:cubicBezTo>
                  <a:cubicBezTo>
                    <a:pt x="244" y="47"/>
                    <a:pt x="243" y="88"/>
                    <a:pt x="243" y="89"/>
                  </a:cubicBezTo>
                  <a:cubicBezTo>
                    <a:pt x="243" y="131"/>
                    <a:pt x="243" y="131"/>
                    <a:pt x="243" y="131"/>
                  </a:cubicBezTo>
                  <a:cubicBezTo>
                    <a:pt x="243" y="137"/>
                    <a:pt x="237" y="142"/>
                    <a:pt x="230" y="142"/>
                  </a:cubicBezTo>
                  <a:cubicBezTo>
                    <a:pt x="226" y="142"/>
                    <a:pt x="222" y="134"/>
                    <a:pt x="222" y="128"/>
                  </a:cubicBezTo>
                  <a:cubicBezTo>
                    <a:pt x="222" y="124"/>
                    <a:pt x="221" y="122"/>
                    <a:pt x="218" y="120"/>
                  </a:cubicBezTo>
                  <a:cubicBezTo>
                    <a:pt x="217" y="118"/>
                    <a:pt x="214" y="116"/>
                    <a:pt x="211" y="116"/>
                  </a:cubicBezTo>
                  <a:cubicBezTo>
                    <a:pt x="205" y="116"/>
                    <a:pt x="200" y="121"/>
                    <a:pt x="200" y="127"/>
                  </a:cubicBezTo>
                  <a:cubicBezTo>
                    <a:pt x="200" y="142"/>
                    <a:pt x="200" y="142"/>
                    <a:pt x="200" y="142"/>
                  </a:cubicBezTo>
                  <a:cubicBezTo>
                    <a:pt x="200" y="148"/>
                    <a:pt x="194" y="152"/>
                    <a:pt x="188" y="152"/>
                  </a:cubicBezTo>
                  <a:cubicBezTo>
                    <a:pt x="184" y="152"/>
                    <a:pt x="179" y="145"/>
                    <a:pt x="179" y="140"/>
                  </a:cubicBezTo>
                  <a:cubicBezTo>
                    <a:pt x="179" y="127"/>
                    <a:pt x="179" y="127"/>
                    <a:pt x="179" y="127"/>
                  </a:cubicBezTo>
                  <a:cubicBezTo>
                    <a:pt x="179" y="121"/>
                    <a:pt x="174" y="116"/>
                    <a:pt x="168" y="116"/>
                  </a:cubicBezTo>
                  <a:cubicBezTo>
                    <a:pt x="162" y="116"/>
                    <a:pt x="157" y="121"/>
                    <a:pt x="157" y="127"/>
                  </a:cubicBezTo>
                  <a:cubicBezTo>
                    <a:pt x="157" y="163"/>
                    <a:pt x="157" y="163"/>
                    <a:pt x="157" y="163"/>
                  </a:cubicBezTo>
                  <a:cubicBezTo>
                    <a:pt x="157" y="170"/>
                    <a:pt x="151" y="173"/>
                    <a:pt x="146" y="173"/>
                  </a:cubicBezTo>
                  <a:cubicBezTo>
                    <a:pt x="141" y="173"/>
                    <a:pt x="136" y="165"/>
                    <a:pt x="136" y="159"/>
                  </a:cubicBezTo>
                  <a:cubicBezTo>
                    <a:pt x="136" y="159"/>
                    <a:pt x="136" y="159"/>
                    <a:pt x="136" y="159"/>
                  </a:cubicBezTo>
                  <a:cubicBezTo>
                    <a:pt x="136" y="127"/>
                    <a:pt x="136" y="127"/>
                    <a:pt x="136" y="127"/>
                  </a:cubicBezTo>
                  <a:cubicBezTo>
                    <a:pt x="136" y="121"/>
                    <a:pt x="131" y="116"/>
                    <a:pt x="125" y="116"/>
                  </a:cubicBezTo>
                  <a:cubicBezTo>
                    <a:pt x="119" y="116"/>
                    <a:pt x="115" y="121"/>
                    <a:pt x="115" y="127"/>
                  </a:cubicBezTo>
                  <a:cubicBezTo>
                    <a:pt x="115" y="217"/>
                    <a:pt x="115" y="217"/>
                    <a:pt x="115" y="217"/>
                  </a:cubicBezTo>
                  <a:cubicBezTo>
                    <a:pt x="115" y="223"/>
                    <a:pt x="110" y="227"/>
                    <a:pt x="104" y="227"/>
                  </a:cubicBezTo>
                  <a:cubicBezTo>
                    <a:pt x="98" y="227"/>
                    <a:pt x="93" y="223"/>
                    <a:pt x="93" y="217"/>
                  </a:cubicBezTo>
                  <a:cubicBezTo>
                    <a:pt x="93" y="89"/>
                    <a:pt x="93" y="89"/>
                    <a:pt x="93" y="89"/>
                  </a:cubicBezTo>
                  <a:cubicBezTo>
                    <a:pt x="93" y="85"/>
                    <a:pt x="91" y="81"/>
                    <a:pt x="88" y="80"/>
                  </a:cubicBezTo>
                  <a:cubicBezTo>
                    <a:pt x="85" y="78"/>
                    <a:pt x="81" y="77"/>
                    <a:pt x="78" y="79"/>
                  </a:cubicBezTo>
                  <a:cubicBezTo>
                    <a:pt x="54" y="91"/>
                    <a:pt x="44" y="129"/>
                    <a:pt x="42" y="138"/>
                  </a:cubicBezTo>
                  <a:cubicBezTo>
                    <a:pt x="39" y="143"/>
                    <a:pt x="33" y="145"/>
                    <a:pt x="28" y="142"/>
                  </a:cubicBezTo>
                  <a:cubicBezTo>
                    <a:pt x="24" y="140"/>
                    <a:pt x="24" y="131"/>
                    <a:pt x="27" y="125"/>
                  </a:cubicBezTo>
                  <a:cubicBezTo>
                    <a:pt x="27" y="125"/>
                    <a:pt x="27" y="125"/>
                    <a:pt x="27" y="124"/>
                  </a:cubicBezTo>
                  <a:cubicBezTo>
                    <a:pt x="27" y="124"/>
                    <a:pt x="55" y="48"/>
                    <a:pt x="98" y="21"/>
                  </a:cubicBezTo>
                  <a:cubicBezTo>
                    <a:pt x="103" y="18"/>
                    <a:pt x="105" y="11"/>
                    <a:pt x="102" y="6"/>
                  </a:cubicBezTo>
                  <a:cubicBezTo>
                    <a:pt x="98" y="1"/>
                    <a:pt x="92" y="0"/>
                    <a:pt x="87" y="3"/>
                  </a:cubicBezTo>
                  <a:cubicBezTo>
                    <a:pt x="39" y="33"/>
                    <a:pt x="10" y="108"/>
                    <a:pt x="7" y="117"/>
                  </a:cubicBezTo>
                  <a:cubicBezTo>
                    <a:pt x="0" y="132"/>
                    <a:pt x="2" y="153"/>
                    <a:pt x="18" y="161"/>
                  </a:cubicBezTo>
                  <a:cubicBezTo>
                    <a:pt x="26" y="165"/>
                    <a:pt x="35" y="166"/>
                    <a:pt x="43" y="163"/>
                  </a:cubicBezTo>
                  <a:cubicBezTo>
                    <a:pt x="51" y="160"/>
                    <a:pt x="58" y="154"/>
                    <a:pt x="62" y="147"/>
                  </a:cubicBezTo>
                  <a:cubicBezTo>
                    <a:pt x="62" y="146"/>
                    <a:pt x="62" y="145"/>
                    <a:pt x="63" y="144"/>
                  </a:cubicBezTo>
                  <a:cubicBezTo>
                    <a:pt x="64" y="137"/>
                    <a:pt x="68" y="127"/>
                    <a:pt x="72" y="118"/>
                  </a:cubicBezTo>
                  <a:cubicBezTo>
                    <a:pt x="72" y="217"/>
                    <a:pt x="72" y="217"/>
                    <a:pt x="72" y="217"/>
                  </a:cubicBezTo>
                  <a:cubicBezTo>
                    <a:pt x="72" y="234"/>
                    <a:pt x="86" y="249"/>
                    <a:pt x="104" y="249"/>
                  </a:cubicBezTo>
                  <a:cubicBezTo>
                    <a:pt x="122" y="249"/>
                    <a:pt x="136" y="234"/>
                    <a:pt x="136" y="217"/>
                  </a:cubicBezTo>
                  <a:cubicBezTo>
                    <a:pt x="136" y="192"/>
                    <a:pt x="136" y="192"/>
                    <a:pt x="136" y="192"/>
                  </a:cubicBezTo>
                  <a:cubicBezTo>
                    <a:pt x="139" y="193"/>
                    <a:pt x="142" y="194"/>
                    <a:pt x="146" y="194"/>
                  </a:cubicBezTo>
                  <a:cubicBezTo>
                    <a:pt x="161" y="194"/>
                    <a:pt x="174" y="184"/>
                    <a:pt x="178" y="171"/>
                  </a:cubicBezTo>
                  <a:cubicBezTo>
                    <a:pt x="181" y="172"/>
                    <a:pt x="184" y="173"/>
                    <a:pt x="188" y="173"/>
                  </a:cubicBezTo>
                  <a:cubicBezTo>
                    <a:pt x="200" y="173"/>
                    <a:pt x="210" y="167"/>
                    <a:pt x="216" y="159"/>
                  </a:cubicBezTo>
                  <a:cubicBezTo>
                    <a:pt x="220" y="162"/>
                    <a:pt x="225" y="163"/>
                    <a:pt x="230" y="163"/>
                  </a:cubicBezTo>
                  <a:cubicBezTo>
                    <a:pt x="248" y="163"/>
                    <a:pt x="264" y="149"/>
                    <a:pt x="264" y="131"/>
                  </a:cubicBezTo>
                  <a:cubicBezTo>
                    <a:pt x="264" y="89"/>
                    <a:pt x="264" y="89"/>
                    <a:pt x="264" y="89"/>
                  </a:cubicBezTo>
                  <a:cubicBezTo>
                    <a:pt x="264" y="87"/>
                    <a:pt x="267" y="39"/>
                    <a:pt x="238"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5" name="Freeform 158">
              <a:extLst>
                <a:ext uri="{FF2B5EF4-FFF2-40B4-BE49-F238E27FC236}">
                  <a16:creationId xmlns:a16="http://schemas.microsoft.com/office/drawing/2014/main" id="{1108D748-B155-4F77-B274-80A7BD9CE4BE}"/>
                </a:ext>
              </a:extLst>
            </p:cNvPr>
            <p:cNvSpPr>
              <a:spLocks noEditPoints="1"/>
            </p:cNvSpPr>
            <p:nvPr/>
          </p:nvSpPr>
          <p:spPr bwMode="auto">
            <a:xfrm>
              <a:off x="4854" y="101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6" name="Freeform 162">
            <a:extLst>
              <a:ext uri="{FF2B5EF4-FFF2-40B4-BE49-F238E27FC236}">
                <a16:creationId xmlns:a16="http://schemas.microsoft.com/office/drawing/2014/main" id="{139FF1AC-1EAD-4BB2-A3D0-023E12A754FA}"/>
              </a:ext>
            </a:extLst>
          </p:cNvPr>
          <p:cNvSpPr>
            <a:spLocks noChangeAspect="1" noEditPoints="1"/>
          </p:cNvSpPr>
          <p:nvPr/>
        </p:nvSpPr>
        <p:spPr bwMode="auto">
          <a:xfrm>
            <a:off x="8314681" y="1696520"/>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5 w 512"/>
              <a:gd name="T11" fmla="*/ 210 h 512"/>
              <a:gd name="T12" fmla="*/ 370 w 512"/>
              <a:gd name="T13" fmla="*/ 206 h 512"/>
              <a:gd name="T14" fmla="*/ 265 w 512"/>
              <a:gd name="T15" fmla="*/ 134 h 512"/>
              <a:gd name="T16" fmla="*/ 263 w 512"/>
              <a:gd name="T17" fmla="*/ 134 h 512"/>
              <a:gd name="T18" fmla="*/ 247 w 512"/>
              <a:gd name="T19" fmla="*/ 135 h 512"/>
              <a:gd name="T20" fmla="*/ 251 w 512"/>
              <a:gd name="T21" fmla="*/ 150 h 512"/>
              <a:gd name="T22" fmla="*/ 310 w 512"/>
              <a:gd name="T23" fmla="*/ 187 h 512"/>
              <a:gd name="T24" fmla="*/ 309 w 512"/>
              <a:gd name="T25" fmla="*/ 197 h 512"/>
              <a:gd name="T26" fmla="*/ 300 w 512"/>
              <a:gd name="T27" fmla="*/ 202 h 512"/>
              <a:gd name="T28" fmla="*/ 172 w 512"/>
              <a:gd name="T29" fmla="*/ 202 h 512"/>
              <a:gd name="T30" fmla="*/ 162 w 512"/>
              <a:gd name="T31" fmla="*/ 213 h 512"/>
              <a:gd name="T32" fmla="*/ 172 w 512"/>
              <a:gd name="T33" fmla="*/ 224 h 512"/>
              <a:gd name="T34" fmla="*/ 266 w 512"/>
              <a:gd name="T35" fmla="*/ 224 h 512"/>
              <a:gd name="T36" fmla="*/ 277 w 512"/>
              <a:gd name="T37" fmla="*/ 234 h 512"/>
              <a:gd name="T38" fmla="*/ 266 w 512"/>
              <a:gd name="T39" fmla="*/ 245 h 512"/>
              <a:gd name="T40" fmla="*/ 232 w 512"/>
              <a:gd name="T41" fmla="*/ 245 h 512"/>
              <a:gd name="T42" fmla="*/ 217 w 512"/>
              <a:gd name="T43" fmla="*/ 255 h 512"/>
              <a:gd name="T44" fmla="*/ 226 w 512"/>
              <a:gd name="T45" fmla="*/ 266 h 512"/>
              <a:gd name="T46" fmla="*/ 266 w 512"/>
              <a:gd name="T47" fmla="*/ 266 h 512"/>
              <a:gd name="T48" fmla="*/ 277 w 512"/>
              <a:gd name="T49" fmla="*/ 277 h 512"/>
              <a:gd name="T50" fmla="*/ 266 w 512"/>
              <a:gd name="T51" fmla="*/ 288 h 512"/>
              <a:gd name="T52" fmla="*/ 253 w 512"/>
              <a:gd name="T53" fmla="*/ 288 h 512"/>
              <a:gd name="T54" fmla="*/ 238 w 512"/>
              <a:gd name="T55" fmla="*/ 297 h 512"/>
              <a:gd name="T56" fmla="*/ 247 w 512"/>
              <a:gd name="T57" fmla="*/ 309 h 512"/>
              <a:gd name="T58" fmla="*/ 266 w 512"/>
              <a:gd name="T59" fmla="*/ 309 h 512"/>
              <a:gd name="T60" fmla="*/ 277 w 512"/>
              <a:gd name="T61" fmla="*/ 320 h 512"/>
              <a:gd name="T62" fmla="*/ 266 w 512"/>
              <a:gd name="T63" fmla="*/ 330 h 512"/>
              <a:gd name="T64" fmla="*/ 261 w 512"/>
              <a:gd name="T65" fmla="*/ 330 h 512"/>
              <a:gd name="T66" fmla="*/ 247 w 512"/>
              <a:gd name="T67" fmla="*/ 339 h 512"/>
              <a:gd name="T68" fmla="*/ 258 w 512"/>
              <a:gd name="T69" fmla="*/ 352 h 512"/>
              <a:gd name="T70" fmla="*/ 300 w 512"/>
              <a:gd name="T71" fmla="*/ 352 h 512"/>
              <a:gd name="T72" fmla="*/ 368 w 512"/>
              <a:gd name="T73" fmla="*/ 331 h 512"/>
              <a:gd name="T74" fmla="*/ 383 w 512"/>
              <a:gd name="T75" fmla="*/ 332 h 512"/>
              <a:gd name="T76" fmla="*/ 382 w 512"/>
              <a:gd name="T77" fmla="*/ 347 h 512"/>
              <a:gd name="T78" fmla="*/ 302 w 512"/>
              <a:gd name="T79" fmla="*/ 373 h 512"/>
              <a:gd name="T80" fmla="*/ 300 w 512"/>
              <a:gd name="T81" fmla="*/ 373 h 512"/>
              <a:gd name="T82" fmla="*/ 258 w 512"/>
              <a:gd name="T83" fmla="*/ 373 h 512"/>
              <a:gd name="T84" fmla="*/ 226 w 512"/>
              <a:gd name="T85" fmla="*/ 339 h 512"/>
              <a:gd name="T86" fmla="*/ 230 w 512"/>
              <a:gd name="T87" fmla="*/ 325 h 512"/>
              <a:gd name="T88" fmla="*/ 217 w 512"/>
              <a:gd name="T89" fmla="*/ 297 h 512"/>
              <a:gd name="T90" fmla="*/ 219 w 512"/>
              <a:gd name="T91" fmla="*/ 287 h 512"/>
              <a:gd name="T92" fmla="*/ 196 w 512"/>
              <a:gd name="T93" fmla="*/ 255 h 512"/>
              <a:gd name="T94" fmla="*/ 198 w 512"/>
              <a:gd name="T95" fmla="*/ 245 h 512"/>
              <a:gd name="T96" fmla="*/ 172 w 512"/>
              <a:gd name="T97" fmla="*/ 245 h 512"/>
              <a:gd name="T98" fmla="*/ 140 w 512"/>
              <a:gd name="T99" fmla="*/ 213 h 512"/>
              <a:gd name="T100" fmla="*/ 172 w 512"/>
              <a:gd name="T101" fmla="*/ 181 h 512"/>
              <a:gd name="T102" fmla="*/ 272 w 512"/>
              <a:gd name="T103" fmla="*/ 181 h 512"/>
              <a:gd name="T104" fmla="*/ 244 w 512"/>
              <a:gd name="T105" fmla="*/ 171 h 512"/>
              <a:gd name="T106" fmla="*/ 242 w 512"/>
              <a:gd name="T107" fmla="*/ 170 h 512"/>
              <a:gd name="T108" fmla="*/ 228 w 512"/>
              <a:gd name="T109" fmla="*/ 126 h 512"/>
              <a:gd name="T110" fmla="*/ 272 w 512"/>
              <a:gd name="T111" fmla="*/ 115 h 512"/>
              <a:gd name="T112" fmla="*/ 388 w 512"/>
              <a:gd name="T113" fmla="*/ 195 h 512"/>
              <a:gd name="T114" fmla="*/ 385 w 512"/>
              <a:gd name="T11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5" y="210"/>
                </a:moveTo>
                <a:cubicBezTo>
                  <a:pt x="380" y="213"/>
                  <a:pt x="373" y="211"/>
                  <a:pt x="370" y="206"/>
                </a:cubicBezTo>
                <a:cubicBezTo>
                  <a:pt x="343" y="163"/>
                  <a:pt x="265" y="135"/>
                  <a:pt x="265" y="134"/>
                </a:cubicBezTo>
                <a:cubicBezTo>
                  <a:pt x="264" y="134"/>
                  <a:pt x="264" y="134"/>
                  <a:pt x="263" y="134"/>
                </a:cubicBezTo>
                <a:cubicBezTo>
                  <a:pt x="258" y="131"/>
                  <a:pt x="249" y="131"/>
                  <a:pt x="247" y="135"/>
                </a:cubicBezTo>
                <a:cubicBezTo>
                  <a:pt x="244" y="141"/>
                  <a:pt x="246" y="147"/>
                  <a:pt x="251" y="150"/>
                </a:cubicBezTo>
                <a:cubicBezTo>
                  <a:pt x="260" y="153"/>
                  <a:pt x="298" y="163"/>
                  <a:pt x="310" y="187"/>
                </a:cubicBezTo>
                <a:cubicBezTo>
                  <a:pt x="311" y="190"/>
                  <a:pt x="311" y="194"/>
                  <a:pt x="309" y="197"/>
                </a:cubicBezTo>
                <a:cubicBezTo>
                  <a:pt x="307" y="200"/>
                  <a:pt x="304" y="202"/>
                  <a:pt x="300" y="202"/>
                </a:cubicBezTo>
                <a:cubicBezTo>
                  <a:pt x="172" y="202"/>
                  <a:pt x="172" y="202"/>
                  <a:pt x="172" y="202"/>
                </a:cubicBezTo>
                <a:cubicBezTo>
                  <a:pt x="166" y="202"/>
                  <a:pt x="162" y="207"/>
                  <a:pt x="162" y="213"/>
                </a:cubicBezTo>
                <a:cubicBezTo>
                  <a:pt x="162" y="219"/>
                  <a:pt x="166" y="224"/>
                  <a:pt x="172" y="224"/>
                </a:cubicBezTo>
                <a:cubicBezTo>
                  <a:pt x="266" y="224"/>
                  <a:pt x="266" y="224"/>
                  <a:pt x="266" y="224"/>
                </a:cubicBezTo>
                <a:cubicBezTo>
                  <a:pt x="272" y="224"/>
                  <a:pt x="277" y="228"/>
                  <a:pt x="277" y="234"/>
                </a:cubicBezTo>
                <a:cubicBezTo>
                  <a:pt x="277" y="240"/>
                  <a:pt x="272" y="245"/>
                  <a:pt x="266" y="245"/>
                </a:cubicBezTo>
                <a:cubicBezTo>
                  <a:pt x="232" y="245"/>
                  <a:pt x="232" y="245"/>
                  <a:pt x="232" y="245"/>
                </a:cubicBezTo>
                <a:cubicBezTo>
                  <a:pt x="225" y="245"/>
                  <a:pt x="217" y="250"/>
                  <a:pt x="217" y="255"/>
                </a:cubicBezTo>
                <a:cubicBezTo>
                  <a:pt x="217" y="259"/>
                  <a:pt x="219" y="266"/>
                  <a:pt x="226" y="266"/>
                </a:cubicBezTo>
                <a:cubicBezTo>
                  <a:pt x="266" y="266"/>
                  <a:pt x="266" y="266"/>
                  <a:pt x="266" y="266"/>
                </a:cubicBezTo>
                <a:cubicBezTo>
                  <a:pt x="272" y="266"/>
                  <a:pt x="277" y="271"/>
                  <a:pt x="277" y="277"/>
                </a:cubicBezTo>
                <a:cubicBezTo>
                  <a:pt x="277" y="283"/>
                  <a:pt x="272" y="288"/>
                  <a:pt x="266" y="288"/>
                </a:cubicBezTo>
                <a:cubicBezTo>
                  <a:pt x="253" y="288"/>
                  <a:pt x="253" y="288"/>
                  <a:pt x="253" y="288"/>
                </a:cubicBezTo>
                <a:cubicBezTo>
                  <a:pt x="246" y="288"/>
                  <a:pt x="238" y="293"/>
                  <a:pt x="238" y="297"/>
                </a:cubicBezTo>
                <a:cubicBezTo>
                  <a:pt x="238" y="302"/>
                  <a:pt x="241" y="309"/>
                  <a:pt x="247" y="309"/>
                </a:cubicBezTo>
                <a:cubicBezTo>
                  <a:pt x="266" y="309"/>
                  <a:pt x="266" y="309"/>
                  <a:pt x="266" y="309"/>
                </a:cubicBezTo>
                <a:cubicBezTo>
                  <a:pt x="272" y="309"/>
                  <a:pt x="277" y="314"/>
                  <a:pt x="277" y="320"/>
                </a:cubicBezTo>
                <a:cubicBezTo>
                  <a:pt x="277" y="326"/>
                  <a:pt x="272" y="330"/>
                  <a:pt x="266" y="330"/>
                </a:cubicBezTo>
                <a:cubicBezTo>
                  <a:pt x="261" y="330"/>
                  <a:pt x="261" y="330"/>
                  <a:pt x="261" y="330"/>
                </a:cubicBezTo>
                <a:cubicBezTo>
                  <a:pt x="254" y="330"/>
                  <a:pt x="247" y="335"/>
                  <a:pt x="247" y="339"/>
                </a:cubicBezTo>
                <a:cubicBezTo>
                  <a:pt x="247" y="345"/>
                  <a:pt x="252" y="352"/>
                  <a:pt x="258" y="352"/>
                </a:cubicBezTo>
                <a:cubicBezTo>
                  <a:pt x="300" y="352"/>
                  <a:pt x="300" y="352"/>
                  <a:pt x="300" y="352"/>
                </a:cubicBezTo>
                <a:cubicBezTo>
                  <a:pt x="301" y="352"/>
                  <a:pt x="342" y="353"/>
                  <a:pt x="368" y="331"/>
                </a:cubicBezTo>
                <a:cubicBezTo>
                  <a:pt x="373" y="327"/>
                  <a:pt x="379" y="328"/>
                  <a:pt x="383" y="332"/>
                </a:cubicBezTo>
                <a:cubicBezTo>
                  <a:pt x="387" y="337"/>
                  <a:pt x="386" y="343"/>
                  <a:pt x="382" y="347"/>
                </a:cubicBezTo>
                <a:cubicBezTo>
                  <a:pt x="353" y="371"/>
                  <a:pt x="312" y="373"/>
                  <a:pt x="302" y="373"/>
                </a:cubicBezTo>
                <a:cubicBezTo>
                  <a:pt x="301" y="373"/>
                  <a:pt x="300" y="373"/>
                  <a:pt x="300" y="373"/>
                </a:cubicBezTo>
                <a:cubicBezTo>
                  <a:pt x="258" y="373"/>
                  <a:pt x="258" y="373"/>
                  <a:pt x="258" y="373"/>
                </a:cubicBezTo>
                <a:cubicBezTo>
                  <a:pt x="240" y="373"/>
                  <a:pt x="226" y="357"/>
                  <a:pt x="226" y="339"/>
                </a:cubicBezTo>
                <a:cubicBezTo>
                  <a:pt x="226" y="334"/>
                  <a:pt x="227" y="329"/>
                  <a:pt x="230" y="325"/>
                </a:cubicBezTo>
                <a:cubicBezTo>
                  <a:pt x="222" y="319"/>
                  <a:pt x="217" y="309"/>
                  <a:pt x="217" y="297"/>
                </a:cubicBezTo>
                <a:cubicBezTo>
                  <a:pt x="217" y="294"/>
                  <a:pt x="218" y="290"/>
                  <a:pt x="219" y="287"/>
                </a:cubicBezTo>
                <a:cubicBezTo>
                  <a:pt x="206" y="284"/>
                  <a:pt x="196" y="271"/>
                  <a:pt x="196" y="255"/>
                </a:cubicBezTo>
                <a:cubicBezTo>
                  <a:pt x="196" y="251"/>
                  <a:pt x="197" y="248"/>
                  <a:pt x="198" y="245"/>
                </a:cubicBezTo>
                <a:cubicBezTo>
                  <a:pt x="172" y="245"/>
                  <a:pt x="172" y="245"/>
                  <a:pt x="172" y="245"/>
                </a:cubicBezTo>
                <a:cubicBezTo>
                  <a:pt x="155" y="245"/>
                  <a:pt x="140" y="231"/>
                  <a:pt x="140" y="213"/>
                </a:cubicBezTo>
                <a:cubicBezTo>
                  <a:pt x="140" y="195"/>
                  <a:pt x="155" y="181"/>
                  <a:pt x="172" y="181"/>
                </a:cubicBezTo>
                <a:cubicBezTo>
                  <a:pt x="272" y="181"/>
                  <a:pt x="272" y="181"/>
                  <a:pt x="272" y="181"/>
                </a:cubicBezTo>
                <a:cubicBezTo>
                  <a:pt x="263" y="176"/>
                  <a:pt x="252" y="172"/>
                  <a:pt x="244" y="171"/>
                </a:cubicBezTo>
                <a:cubicBezTo>
                  <a:pt x="244" y="170"/>
                  <a:pt x="243" y="170"/>
                  <a:pt x="242" y="170"/>
                </a:cubicBezTo>
                <a:cubicBezTo>
                  <a:pt x="226" y="162"/>
                  <a:pt x="220" y="142"/>
                  <a:pt x="228" y="126"/>
                </a:cubicBezTo>
                <a:cubicBezTo>
                  <a:pt x="236" y="109"/>
                  <a:pt x="257" y="107"/>
                  <a:pt x="272" y="115"/>
                </a:cubicBezTo>
                <a:cubicBezTo>
                  <a:pt x="281" y="117"/>
                  <a:pt x="358" y="147"/>
                  <a:pt x="388" y="195"/>
                </a:cubicBezTo>
                <a:cubicBezTo>
                  <a:pt x="391" y="200"/>
                  <a:pt x="390" y="207"/>
                  <a:pt x="385" y="21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7" name="Group 165">
            <a:extLst>
              <a:ext uri="{FF2B5EF4-FFF2-40B4-BE49-F238E27FC236}">
                <a16:creationId xmlns:a16="http://schemas.microsoft.com/office/drawing/2014/main" id="{D8315F52-59EE-40F9-898A-F48367E2822F}"/>
              </a:ext>
            </a:extLst>
          </p:cNvPr>
          <p:cNvGrpSpPr>
            <a:grpSpLocks noChangeAspect="1"/>
          </p:cNvGrpSpPr>
          <p:nvPr/>
        </p:nvGrpSpPr>
        <p:grpSpPr bwMode="auto">
          <a:xfrm>
            <a:off x="8749491" y="1696520"/>
            <a:ext cx="367041" cy="367041"/>
            <a:chOff x="5180" y="1442"/>
            <a:chExt cx="340" cy="340"/>
          </a:xfrm>
          <a:solidFill>
            <a:schemeClr val="accent2"/>
          </a:solidFill>
        </p:grpSpPr>
        <p:sp>
          <p:nvSpPr>
            <p:cNvPr id="168" name="Freeform 166">
              <a:extLst>
                <a:ext uri="{FF2B5EF4-FFF2-40B4-BE49-F238E27FC236}">
                  <a16:creationId xmlns:a16="http://schemas.microsoft.com/office/drawing/2014/main" id="{E2D9A6E2-F5EA-419B-B863-9180A740F416}"/>
                </a:ext>
              </a:extLst>
            </p:cNvPr>
            <p:cNvSpPr>
              <a:spLocks noEditPoints="1"/>
            </p:cNvSpPr>
            <p:nvPr/>
          </p:nvSpPr>
          <p:spPr bwMode="auto">
            <a:xfrm>
              <a:off x="5180" y="14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9" name="Freeform 167">
              <a:extLst>
                <a:ext uri="{FF2B5EF4-FFF2-40B4-BE49-F238E27FC236}">
                  <a16:creationId xmlns:a16="http://schemas.microsoft.com/office/drawing/2014/main" id="{7A7162BA-D17E-4DCB-8955-B74910C3F6B8}"/>
                </a:ext>
              </a:extLst>
            </p:cNvPr>
            <p:cNvSpPr>
              <a:spLocks/>
            </p:cNvSpPr>
            <p:nvPr/>
          </p:nvSpPr>
          <p:spPr bwMode="auto">
            <a:xfrm>
              <a:off x="5273" y="1513"/>
              <a:ext cx="167" cy="177"/>
            </a:xfrm>
            <a:custGeom>
              <a:avLst/>
              <a:gdLst>
                <a:gd name="T0" fmla="*/ 107 w 251"/>
                <a:gd name="T1" fmla="*/ 28 h 266"/>
                <a:gd name="T2" fmla="*/ 111 w 251"/>
                <a:gd name="T3" fmla="*/ 43 h 266"/>
                <a:gd name="T4" fmla="*/ 170 w 251"/>
                <a:gd name="T5" fmla="*/ 80 h 266"/>
                <a:gd name="T6" fmla="*/ 169 w 251"/>
                <a:gd name="T7" fmla="*/ 90 h 266"/>
                <a:gd name="T8" fmla="*/ 160 w 251"/>
                <a:gd name="T9" fmla="*/ 95 h 266"/>
                <a:gd name="T10" fmla="*/ 32 w 251"/>
                <a:gd name="T11" fmla="*/ 95 h 266"/>
                <a:gd name="T12" fmla="*/ 22 w 251"/>
                <a:gd name="T13" fmla="*/ 106 h 266"/>
                <a:gd name="T14" fmla="*/ 32 w 251"/>
                <a:gd name="T15" fmla="*/ 117 h 266"/>
                <a:gd name="T16" fmla="*/ 126 w 251"/>
                <a:gd name="T17" fmla="*/ 117 h 266"/>
                <a:gd name="T18" fmla="*/ 137 w 251"/>
                <a:gd name="T19" fmla="*/ 127 h 266"/>
                <a:gd name="T20" fmla="*/ 126 w 251"/>
                <a:gd name="T21" fmla="*/ 138 h 266"/>
                <a:gd name="T22" fmla="*/ 92 w 251"/>
                <a:gd name="T23" fmla="*/ 138 h 266"/>
                <a:gd name="T24" fmla="*/ 77 w 251"/>
                <a:gd name="T25" fmla="*/ 148 h 266"/>
                <a:gd name="T26" fmla="*/ 86 w 251"/>
                <a:gd name="T27" fmla="*/ 159 h 266"/>
                <a:gd name="T28" fmla="*/ 126 w 251"/>
                <a:gd name="T29" fmla="*/ 159 h 266"/>
                <a:gd name="T30" fmla="*/ 137 w 251"/>
                <a:gd name="T31" fmla="*/ 170 h 266"/>
                <a:gd name="T32" fmla="*/ 126 w 251"/>
                <a:gd name="T33" fmla="*/ 181 h 266"/>
                <a:gd name="T34" fmla="*/ 113 w 251"/>
                <a:gd name="T35" fmla="*/ 181 h 266"/>
                <a:gd name="T36" fmla="*/ 98 w 251"/>
                <a:gd name="T37" fmla="*/ 190 h 266"/>
                <a:gd name="T38" fmla="*/ 107 w 251"/>
                <a:gd name="T39" fmla="*/ 202 h 266"/>
                <a:gd name="T40" fmla="*/ 126 w 251"/>
                <a:gd name="T41" fmla="*/ 202 h 266"/>
                <a:gd name="T42" fmla="*/ 137 w 251"/>
                <a:gd name="T43" fmla="*/ 213 h 266"/>
                <a:gd name="T44" fmla="*/ 126 w 251"/>
                <a:gd name="T45" fmla="*/ 223 h 266"/>
                <a:gd name="T46" fmla="*/ 121 w 251"/>
                <a:gd name="T47" fmla="*/ 223 h 266"/>
                <a:gd name="T48" fmla="*/ 107 w 251"/>
                <a:gd name="T49" fmla="*/ 232 h 266"/>
                <a:gd name="T50" fmla="*/ 118 w 251"/>
                <a:gd name="T51" fmla="*/ 245 h 266"/>
                <a:gd name="T52" fmla="*/ 160 w 251"/>
                <a:gd name="T53" fmla="*/ 245 h 266"/>
                <a:gd name="T54" fmla="*/ 228 w 251"/>
                <a:gd name="T55" fmla="*/ 224 h 266"/>
                <a:gd name="T56" fmla="*/ 243 w 251"/>
                <a:gd name="T57" fmla="*/ 225 h 266"/>
                <a:gd name="T58" fmla="*/ 242 w 251"/>
                <a:gd name="T59" fmla="*/ 240 h 266"/>
                <a:gd name="T60" fmla="*/ 162 w 251"/>
                <a:gd name="T61" fmla="*/ 266 h 266"/>
                <a:gd name="T62" fmla="*/ 160 w 251"/>
                <a:gd name="T63" fmla="*/ 266 h 266"/>
                <a:gd name="T64" fmla="*/ 118 w 251"/>
                <a:gd name="T65" fmla="*/ 266 h 266"/>
                <a:gd name="T66" fmla="*/ 86 w 251"/>
                <a:gd name="T67" fmla="*/ 232 h 266"/>
                <a:gd name="T68" fmla="*/ 90 w 251"/>
                <a:gd name="T69" fmla="*/ 218 h 266"/>
                <a:gd name="T70" fmla="*/ 77 w 251"/>
                <a:gd name="T71" fmla="*/ 190 h 266"/>
                <a:gd name="T72" fmla="*/ 79 w 251"/>
                <a:gd name="T73" fmla="*/ 180 h 266"/>
                <a:gd name="T74" fmla="*/ 56 w 251"/>
                <a:gd name="T75" fmla="*/ 148 h 266"/>
                <a:gd name="T76" fmla="*/ 58 w 251"/>
                <a:gd name="T77" fmla="*/ 138 h 266"/>
                <a:gd name="T78" fmla="*/ 32 w 251"/>
                <a:gd name="T79" fmla="*/ 138 h 266"/>
                <a:gd name="T80" fmla="*/ 0 w 251"/>
                <a:gd name="T81" fmla="*/ 106 h 266"/>
                <a:gd name="T82" fmla="*/ 32 w 251"/>
                <a:gd name="T83" fmla="*/ 74 h 266"/>
                <a:gd name="T84" fmla="*/ 132 w 251"/>
                <a:gd name="T85" fmla="*/ 74 h 266"/>
                <a:gd name="T86" fmla="*/ 104 w 251"/>
                <a:gd name="T87" fmla="*/ 64 h 266"/>
                <a:gd name="T88" fmla="*/ 102 w 251"/>
                <a:gd name="T89" fmla="*/ 63 h 266"/>
                <a:gd name="T90" fmla="*/ 88 w 251"/>
                <a:gd name="T91" fmla="*/ 19 h 266"/>
                <a:gd name="T92" fmla="*/ 132 w 251"/>
                <a:gd name="T93" fmla="*/ 8 h 266"/>
                <a:gd name="T94" fmla="*/ 248 w 251"/>
                <a:gd name="T95" fmla="*/ 88 h 266"/>
                <a:gd name="T96" fmla="*/ 245 w 251"/>
                <a:gd name="T97" fmla="*/ 103 h 266"/>
                <a:gd name="T98" fmla="*/ 230 w 251"/>
                <a:gd name="T99" fmla="*/ 99 h 266"/>
                <a:gd name="T100" fmla="*/ 125 w 251"/>
                <a:gd name="T101" fmla="*/ 27 h 266"/>
                <a:gd name="T102" fmla="*/ 123 w 251"/>
                <a:gd name="T103" fmla="*/ 27 h 266"/>
                <a:gd name="T104" fmla="*/ 107 w 251"/>
                <a:gd name="T105" fmla="*/ 2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1" h="266">
                  <a:moveTo>
                    <a:pt x="107" y="28"/>
                  </a:moveTo>
                  <a:cubicBezTo>
                    <a:pt x="104" y="34"/>
                    <a:pt x="106" y="40"/>
                    <a:pt x="111" y="43"/>
                  </a:cubicBezTo>
                  <a:cubicBezTo>
                    <a:pt x="120" y="46"/>
                    <a:pt x="158" y="56"/>
                    <a:pt x="170" y="80"/>
                  </a:cubicBezTo>
                  <a:cubicBezTo>
                    <a:pt x="171" y="83"/>
                    <a:pt x="171" y="87"/>
                    <a:pt x="169" y="90"/>
                  </a:cubicBezTo>
                  <a:cubicBezTo>
                    <a:pt x="167" y="93"/>
                    <a:pt x="164" y="95"/>
                    <a:pt x="160" y="95"/>
                  </a:cubicBezTo>
                  <a:cubicBezTo>
                    <a:pt x="32" y="95"/>
                    <a:pt x="32" y="95"/>
                    <a:pt x="32" y="95"/>
                  </a:cubicBezTo>
                  <a:cubicBezTo>
                    <a:pt x="26" y="95"/>
                    <a:pt x="22" y="100"/>
                    <a:pt x="22" y="106"/>
                  </a:cubicBezTo>
                  <a:cubicBezTo>
                    <a:pt x="22" y="112"/>
                    <a:pt x="26" y="117"/>
                    <a:pt x="32" y="117"/>
                  </a:cubicBezTo>
                  <a:cubicBezTo>
                    <a:pt x="126" y="117"/>
                    <a:pt x="126" y="117"/>
                    <a:pt x="126" y="117"/>
                  </a:cubicBezTo>
                  <a:cubicBezTo>
                    <a:pt x="132" y="117"/>
                    <a:pt x="137" y="121"/>
                    <a:pt x="137" y="127"/>
                  </a:cubicBezTo>
                  <a:cubicBezTo>
                    <a:pt x="137" y="133"/>
                    <a:pt x="132" y="138"/>
                    <a:pt x="126" y="138"/>
                  </a:cubicBezTo>
                  <a:cubicBezTo>
                    <a:pt x="92" y="138"/>
                    <a:pt x="92" y="138"/>
                    <a:pt x="92" y="138"/>
                  </a:cubicBezTo>
                  <a:cubicBezTo>
                    <a:pt x="85" y="138"/>
                    <a:pt x="77" y="143"/>
                    <a:pt x="77" y="148"/>
                  </a:cubicBezTo>
                  <a:cubicBezTo>
                    <a:pt x="77" y="152"/>
                    <a:pt x="79" y="159"/>
                    <a:pt x="86" y="159"/>
                  </a:cubicBezTo>
                  <a:cubicBezTo>
                    <a:pt x="126" y="159"/>
                    <a:pt x="126" y="159"/>
                    <a:pt x="126" y="159"/>
                  </a:cubicBezTo>
                  <a:cubicBezTo>
                    <a:pt x="132" y="159"/>
                    <a:pt x="137" y="164"/>
                    <a:pt x="137" y="170"/>
                  </a:cubicBezTo>
                  <a:cubicBezTo>
                    <a:pt x="137" y="176"/>
                    <a:pt x="132" y="181"/>
                    <a:pt x="126" y="181"/>
                  </a:cubicBezTo>
                  <a:cubicBezTo>
                    <a:pt x="113" y="181"/>
                    <a:pt x="113" y="181"/>
                    <a:pt x="113" y="181"/>
                  </a:cubicBezTo>
                  <a:cubicBezTo>
                    <a:pt x="106" y="181"/>
                    <a:pt x="98" y="186"/>
                    <a:pt x="98" y="190"/>
                  </a:cubicBezTo>
                  <a:cubicBezTo>
                    <a:pt x="98" y="195"/>
                    <a:pt x="101" y="202"/>
                    <a:pt x="107" y="202"/>
                  </a:cubicBezTo>
                  <a:cubicBezTo>
                    <a:pt x="126" y="202"/>
                    <a:pt x="126" y="202"/>
                    <a:pt x="126" y="202"/>
                  </a:cubicBezTo>
                  <a:cubicBezTo>
                    <a:pt x="132" y="202"/>
                    <a:pt x="137" y="207"/>
                    <a:pt x="137" y="213"/>
                  </a:cubicBezTo>
                  <a:cubicBezTo>
                    <a:pt x="137" y="219"/>
                    <a:pt x="132" y="223"/>
                    <a:pt x="126" y="223"/>
                  </a:cubicBezTo>
                  <a:cubicBezTo>
                    <a:pt x="121" y="223"/>
                    <a:pt x="121" y="223"/>
                    <a:pt x="121" y="223"/>
                  </a:cubicBezTo>
                  <a:cubicBezTo>
                    <a:pt x="114" y="223"/>
                    <a:pt x="107" y="228"/>
                    <a:pt x="107" y="232"/>
                  </a:cubicBezTo>
                  <a:cubicBezTo>
                    <a:pt x="107" y="238"/>
                    <a:pt x="112" y="245"/>
                    <a:pt x="118" y="245"/>
                  </a:cubicBezTo>
                  <a:cubicBezTo>
                    <a:pt x="160" y="245"/>
                    <a:pt x="160" y="245"/>
                    <a:pt x="160" y="245"/>
                  </a:cubicBezTo>
                  <a:cubicBezTo>
                    <a:pt x="161" y="245"/>
                    <a:pt x="202" y="246"/>
                    <a:pt x="228" y="224"/>
                  </a:cubicBezTo>
                  <a:cubicBezTo>
                    <a:pt x="233" y="220"/>
                    <a:pt x="239" y="221"/>
                    <a:pt x="243" y="225"/>
                  </a:cubicBezTo>
                  <a:cubicBezTo>
                    <a:pt x="247" y="230"/>
                    <a:pt x="246" y="236"/>
                    <a:pt x="242" y="240"/>
                  </a:cubicBezTo>
                  <a:cubicBezTo>
                    <a:pt x="213" y="264"/>
                    <a:pt x="172" y="266"/>
                    <a:pt x="162" y="266"/>
                  </a:cubicBezTo>
                  <a:cubicBezTo>
                    <a:pt x="161" y="266"/>
                    <a:pt x="160" y="266"/>
                    <a:pt x="160" y="266"/>
                  </a:cubicBezTo>
                  <a:cubicBezTo>
                    <a:pt x="118" y="266"/>
                    <a:pt x="118" y="266"/>
                    <a:pt x="118" y="266"/>
                  </a:cubicBezTo>
                  <a:cubicBezTo>
                    <a:pt x="100" y="266"/>
                    <a:pt x="86" y="250"/>
                    <a:pt x="86" y="232"/>
                  </a:cubicBezTo>
                  <a:cubicBezTo>
                    <a:pt x="86" y="227"/>
                    <a:pt x="87" y="222"/>
                    <a:pt x="90" y="218"/>
                  </a:cubicBezTo>
                  <a:cubicBezTo>
                    <a:pt x="82" y="212"/>
                    <a:pt x="77" y="202"/>
                    <a:pt x="77" y="190"/>
                  </a:cubicBezTo>
                  <a:cubicBezTo>
                    <a:pt x="77" y="187"/>
                    <a:pt x="78" y="183"/>
                    <a:pt x="79" y="180"/>
                  </a:cubicBezTo>
                  <a:cubicBezTo>
                    <a:pt x="66" y="177"/>
                    <a:pt x="56" y="164"/>
                    <a:pt x="56" y="148"/>
                  </a:cubicBezTo>
                  <a:cubicBezTo>
                    <a:pt x="56" y="144"/>
                    <a:pt x="57" y="141"/>
                    <a:pt x="58" y="138"/>
                  </a:cubicBezTo>
                  <a:cubicBezTo>
                    <a:pt x="32" y="138"/>
                    <a:pt x="32" y="138"/>
                    <a:pt x="32" y="138"/>
                  </a:cubicBezTo>
                  <a:cubicBezTo>
                    <a:pt x="15" y="138"/>
                    <a:pt x="0" y="124"/>
                    <a:pt x="0" y="106"/>
                  </a:cubicBezTo>
                  <a:cubicBezTo>
                    <a:pt x="0" y="88"/>
                    <a:pt x="15" y="74"/>
                    <a:pt x="32" y="74"/>
                  </a:cubicBezTo>
                  <a:cubicBezTo>
                    <a:pt x="132" y="74"/>
                    <a:pt x="132" y="74"/>
                    <a:pt x="132" y="74"/>
                  </a:cubicBezTo>
                  <a:cubicBezTo>
                    <a:pt x="123" y="69"/>
                    <a:pt x="112" y="65"/>
                    <a:pt x="104" y="64"/>
                  </a:cubicBezTo>
                  <a:cubicBezTo>
                    <a:pt x="104" y="63"/>
                    <a:pt x="103" y="63"/>
                    <a:pt x="102" y="63"/>
                  </a:cubicBezTo>
                  <a:cubicBezTo>
                    <a:pt x="86" y="55"/>
                    <a:pt x="80" y="35"/>
                    <a:pt x="88" y="19"/>
                  </a:cubicBezTo>
                  <a:cubicBezTo>
                    <a:pt x="96" y="2"/>
                    <a:pt x="117" y="0"/>
                    <a:pt x="132" y="8"/>
                  </a:cubicBezTo>
                  <a:cubicBezTo>
                    <a:pt x="141" y="10"/>
                    <a:pt x="218" y="40"/>
                    <a:pt x="248" y="88"/>
                  </a:cubicBezTo>
                  <a:cubicBezTo>
                    <a:pt x="251" y="93"/>
                    <a:pt x="250" y="100"/>
                    <a:pt x="245" y="103"/>
                  </a:cubicBezTo>
                  <a:cubicBezTo>
                    <a:pt x="240" y="106"/>
                    <a:pt x="233" y="104"/>
                    <a:pt x="230" y="99"/>
                  </a:cubicBezTo>
                  <a:cubicBezTo>
                    <a:pt x="203" y="56"/>
                    <a:pt x="125" y="28"/>
                    <a:pt x="125" y="27"/>
                  </a:cubicBezTo>
                  <a:cubicBezTo>
                    <a:pt x="124" y="27"/>
                    <a:pt x="124" y="27"/>
                    <a:pt x="123" y="27"/>
                  </a:cubicBezTo>
                  <a:cubicBezTo>
                    <a:pt x="118" y="24"/>
                    <a:pt x="109" y="24"/>
                    <a:pt x="107" y="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0" name="Freeform 171">
            <a:extLst>
              <a:ext uri="{FF2B5EF4-FFF2-40B4-BE49-F238E27FC236}">
                <a16:creationId xmlns:a16="http://schemas.microsoft.com/office/drawing/2014/main" id="{0255BB06-4E89-41DD-8E8D-FA1CDAEFFBF6}"/>
              </a:ext>
            </a:extLst>
          </p:cNvPr>
          <p:cNvSpPr>
            <a:spLocks noChangeAspect="1" noEditPoints="1"/>
          </p:cNvSpPr>
          <p:nvPr/>
        </p:nvSpPr>
        <p:spPr bwMode="auto">
          <a:xfrm>
            <a:off x="9184301" y="1696520"/>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6 w 512"/>
              <a:gd name="T11" fmla="*/ 246 h 512"/>
              <a:gd name="T12" fmla="*/ 332 w 512"/>
              <a:gd name="T13" fmla="*/ 246 h 512"/>
              <a:gd name="T14" fmla="*/ 334 w 512"/>
              <a:gd name="T15" fmla="*/ 255 h 512"/>
              <a:gd name="T16" fmla="*/ 310 w 512"/>
              <a:gd name="T17" fmla="*/ 287 h 512"/>
              <a:gd name="T18" fmla="*/ 312 w 512"/>
              <a:gd name="T19" fmla="*/ 298 h 512"/>
              <a:gd name="T20" fmla="*/ 298 w 512"/>
              <a:gd name="T21" fmla="*/ 326 h 512"/>
              <a:gd name="T22" fmla="*/ 302 w 512"/>
              <a:gd name="T23" fmla="*/ 340 h 512"/>
              <a:gd name="T24" fmla="*/ 270 w 512"/>
              <a:gd name="T25" fmla="*/ 374 h 512"/>
              <a:gd name="T26" fmla="*/ 228 w 512"/>
              <a:gd name="T27" fmla="*/ 374 h 512"/>
              <a:gd name="T28" fmla="*/ 226 w 512"/>
              <a:gd name="T29" fmla="*/ 374 h 512"/>
              <a:gd name="T30" fmla="*/ 146 w 512"/>
              <a:gd name="T31" fmla="*/ 348 h 512"/>
              <a:gd name="T32" fmla="*/ 145 w 512"/>
              <a:gd name="T33" fmla="*/ 333 h 512"/>
              <a:gd name="T34" fmla="*/ 160 w 512"/>
              <a:gd name="T35" fmla="*/ 332 h 512"/>
              <a:gd name="T36" fmla="*/ 227 w 512"/>
              <a:gd name="T37" fmla="*/ 352 h 512"/>
              <a:gd name="T38" fmla="*/ 270 w 512"/>
              <a:gd name="T39" fmla="*/ 352 h 512"/>
              <a:gd name="T40" fmla="*/ 281 w 512"/>
              <a:gd name="T41" fmla="*/ 340 h 512"/>
              <a:gd name="T42" fmla="*/ 267 w 512"/>
              <a:gd name="T43" fmla="*/ 331 h 512"/>
              <a:gd name="T44" fmla="*/ 256 w 512"/>
              <a:gd name="T45" fmla="*/ 320 h 512"/>
              <a:gd name="T46" fmla="*/ 267 w 512"/>
              <a:gd name="T47" fmla="*/ 310 h 512"/>
              <a:gd name="T48" fmla="*/ 281 w 512"/>
              <a:gd name="T49" fmla="*/ 310 h 512"/>
              <a:gd name="T50" fmla="*/ 291 w 512"/>
              <a:gd name="T51" fmla="*/ 298 h 512"/>
              <a:gd name="T52" fmla="*/ 277 w 512"/>
              <a:gd name="T53" fmla="*/ 288 h 512"/>
              <a:gd name="T54" fmla="*/ 267 w 512"/>
              <a:gd name="T55" fmla="*/ 288 h 512"/>
              <a:gd name="T56" fmla="*/ 256 w 512"/>
              <a:gd name="T57" fmla="*/ 278 h 512"/>
              <a:gd name="T58" fmla="*/ 267 w 512"/>
              <a:gd name="T59" fmla="*/ 267 h 512"/>
              <a:gd name="T60" fmla="*/ 302 w 512"/>
              <a:gd name="T61" fmla="*/ 267 h 512"/>
              <a:gd name="T62" fmla="*/ 312 w 512"/>
              <a:gd name="T63" fmla="*/ 255 h 512"/>
              <a:gd name="T64" fmla="*/ 299 w 512"/>
              <a:gd name="T65" fmla="*/ 246 h 512"/>
              <a:gd name="T66" fmla="*/ 267 w 512"/>
              <a:gd name="T67" fmla="*/ 246 h 512"/>
              <a:gd name="T68" fmla="*/ 256 w 512"/>
              <a:gd name="T69" fmla="*/ 235 h 512"/>
              <a:gd name="T70" fmla="*/ 267 w 512"/>
              <a:gd name="T71" fmla="*/ 224 h 512"/>
              <a:gd name="T72" fmla="*/ 356 w 512"/>
              <a:gd name="T73" fmla="*/ 224 h 512"/>
              <a:gd name="T74" fmla="*/ 366 w 512"/>
              <a:gd name="T75" fmla="*/ 214 h 512"/>
              <a:gd name="T76" fmla="*/ 356 w 512"/>
              <a:gd name="T77" fmla="*/ 203 h 512"/>
              <a:gd name="T78" fmla="*/ 228 w 512"/>
              <a:gd name="T79" fmla="*/ 203 h 512"/>
              <a:gd name="T80" fmla="*/ 219 w 512"/>
              <a:gd name="T81" fmla="*/ 198 h 512"/>
              <a:gd name="T82" fmla="*/ 218 w 512"/>
              <a:gd name="T83" fmla="*/ 187 h 512"/>
              <a:gd name="T84" fmla="*/ 277 w 512"/>
              <a:gd name="T85" fmla="*/ 151 h 512"/>
              <a:gd name="T86" fmla="*/ 281 w 512"/>
              <a:gd name="T87" fmla="*/ 136 h 512"/>
              <a:gd name="T88" fmla="*/ 265 w 512"/>
              <a:gd name="T89" fmla="*/ 135 h 512"/>
              <a:gd name="T90" fmla="*/ 263 w 512"/>
              <a:gd name="T91" fmla="*/ 135 h 512"/>
              <a:gd name="T92" fmla="*/ 160 w 512"/>
              <a:gd name="T93" fmla="*/ 207 h 512"/>
              <a:gd name="T94" fmla="*/ 146 w 512"/>
              <a:gd name="T95" fmla="*/ 210 h 512"/>
              <a:gd name="T96" fmla="*/ 142 w 512"/>
              <a:gd name="T97" fmla="*/ 196 h 512"/>
              <a:gd name="T98" fmla="*/ 256 w 512"/>
              <a:gd name="T99" fmla="*/ 115 h 512"/>
              <a:gd name="T100" fmla="*/ 300 w 512"/>
              <a:gd name="T101" fmla="*/ 127 h 512"/>
              <a:gd name="T102" fmla="*/ 286 w 512"/>
              <a:gd name="T103" fmla="*/ 170 h 512"/>
              <a:gd name="T104" fmla="*/ 284 w 512"/>
              <a:gd name="T105" fmla="*/ 171 h 512"/>
              <a:gd name="T106" fmla="*/ 256 w 512"/>
              <a:gd name="T107" fmla="*/ 182 h 512"/>
              <a:gd name="T108" fmla="*/ 356 w 512"/>
              <a:gd name="T109" fmla="*/ 182 h 512"/>
              <a:gd name="T110" fmla="*/ 388 w 512"/>
              <a:gd name="T111" fmla="*/ 214 h 512"/>
              <a:gd name="T112" fmla="*/ 356 w 512"/>
              <a:gd name="T113"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6" y="246"/>
                </a:moveTo>
                <a:cubicBezTo>
                  <a:pt x="332" y="246"/>
                  <a:pt x="332" y="246"/>
                  <a:pt x="332" y="246"/>
                </a:cubicBezTo>
                <a:cubicBezTo>
                  <a:pt x="333" y="249"/>
                  <a:pt x="334" y="252"/>
                  <a:pt x="334" y="255"/>
                </a:cubicBezTo>
                <a:cubicBezTo>
                  <a:pt x="334" y="271"/>
                  <a:pt x="323" y="284"/>
                  <a:pt x="310" y="287"/>
                </a:cubicBezTo>
                <a:cubicBezTo>
                  <a:pt x="311" y="291"/>
                  <a:pt x="312" y="294"/>
                  <a:pt x="312" y="298"/>
                </a:cubicBezTo>
                <a:cubicBezTo>
                  <a:pt x="312" y="310"/>
                  <a:pt x="307" y="320"/>
                  <a:pt x="298" y="326"/>
                </a:cubicBezTo>
                <a:cubicBezTo>
                  <a:pt x="301" y="330"/>
                  <a:pt x="302" y="334"/>
                  <a:pt x="302" y="340"/>
                </a:cubicBezTo>
                <a:cubicBezTo>
                  <a:pt x="302" y="358"/>
                  <a:pt x="288" y="374"/>
                  <a:pt x="270" y="374"/>
                </a:cubicBezTo>
                <a:cubicBezTo>
                  <a:pt x="228" y="374"/>
                  <a:pt x="228" y="374"/>
                  <a:pt x="228" y="374"/>
                </a:cubicBezTo>
                <a:cubicBezTo>
                  <a:pt x="228" y="374"/>
                  <a:pt x="227" y="374"/>
                  <a:pt x="226" y="374"/>
                </a:cubicBezTo>
                <a:cubicBezTo>
                  <a:pt x="216" y="374"/>
                  <a:pt x="175" y="372"/>
                  <a:pt x="146" y="348"/>
                </a:cubicBezTo>
                <a:cubicBezTo>
                  <a:pt x="142" y="344"/>
                  <a:pt x="141" y="337"/>
                  <a:pt x="145" y="333"/>
                </a:cubicBezTo>
                <a:cubicBezTo>
                  <a:pt x="149" y="328"/>
                  <a:pt x="156" y="328"/>
                  <a:pt x="160" y="332"/>
                </a:cubicBezTo>
                <a:cubicBezTo>
                  <a:pt x="186" y="353"/>
                  <a:pt x="227" y="352"/>
                  <a:pt x="227" y="352"/>
                </a:cubicBezTo>
                <a:cubicBezTo>
                  <a:pt x="270" y="352"/>
                  <a:pt x="270" y="352"/>
                  <a:pt x="270" y="352"/>
                </a:cubicBezTo>
                <a:cubicBezTo>
                  <a:pt x="276" y="352"/>
                  <a:pt x="281" y="346"/>
                  <a:pt x="281" y="340"/>
                </a:cubicBezTo>
                <a:cubicBezTo>
                  <a:pt x="281" y="335"/>
                  <a:pt x="274" y="331"/>
                  <a:pt x="267" y="331"/>
                </a:cubicBezTo>
                <a:cubicBezTo>
                  <a:pt x="261" y="331"/>
                  <a:pt x="256" y="326"/>
                  <a:pt x="256" y="320"/>
                </a:cubicBezTo>
                <a:cubicBezTo>
                  <a:pt x="256" y="314"/>
                  <a:pt x="261" y="310"/>
                  <a:pt x="267" y="310"/>
                </a:cubicBezTo>
                <a:cubicBezTo>
                  <a:pt x="281" y="310"/>
                  <a:pt x="281" y="310"/>
                  <a:pt x="281" y="310"/>
                </a:cubicBezTo>
                <a:cubicBezTo>
                  <a:pt x="287" y="310"/>
                  <a:pt x="291" y="304"/>
                  <a:pt x="291" y="298"/>
                </a:cubicBezTo>
                <a:cubicBezTo>
                  <a:pt x="291" y="293"/>
                  <a:pt x="284" y="288"/>
                  <a:pt x="277" y="288"/>
                </a:cubicBezTo>
                <a:cubicBezTo>
                  <a:pt x="267" y="288"/>
                  <a:pt x="267" y="288"/>
                  <a:pt x="267" y="288"/>
                </a:cubicBezTo>
                <a:cubicBezTo>
                  <a:pt x="261" y="288"/>
                  <a:pt x="256" y="284"/>
                  <a:pt x="256" y="278"/>
                </a:cubicBezTo>
                <a:cubicBezTo>
                  <a:pt x="256" y="272"/>
                  <a:pt x="261" y="267"/>
                  <a:pt x="267" y="267"/>
                </a:cubicBezTo>
                <a:cubicBezTo>
                  <a:pt x="302" y="267"/>
                  <a:pt x="302" y="267"/>
                  <a:pt x="302" y="267"/>
                </a:cubicBezTo>
                <a:cubicBezTo>
                  <a:pt x="308" y="267"/>
                  <a:pt x="312" y="261"/>
                  <a:pt x="312" y="255"/>
                </a:cubicBezTo>
                <a:cubicBezTo>
                  <a:pt x="312" y="250"/>
                  <a:pt x="305" y="246"/>
                  <a:pt x="299" y="246"/>
                </a:cubicBezTo>
                <a:cubicBezTo>
                  <a:pt x="267" y="246"/>
                  <a:pt x="267" y="246"/>
                  <a:pt x="267" y="246"/>
                </a:cubicBezTo>
                <a:cubicBezTo>
                  <a:pt x="261" y="246"/>
                  <a:pt x="256" y="241"/>
                  <a:pt x="256" y="235"/>
                </a:cubicBezTo>
                <a:cubicBezTo>
                  <a:pt x="256" y="229"/>
                  <a:pt x="261" y="224"/>
                  <a:pt x="267" y="224"/>
                </a:cubicBezTo>
                <a:cubicBezTo>
                  <a:pt x="356" y="224"/>
                  <a:pt x="356" y="224"/>
                  <a:pt x="356" y="224"/>
                </a:cubicBezTo>
                <a:cubicBezTo>
                  <a:pt x="362" y="224"/>
                  <a:pt x="366" y="220"/>
                  <a:pt x="366" y="214"/>
                </a:cubicBezTo>
                <a:cubicBezTo>
                  <a:pt x="366" y="208"/>
                  <a:pt x="362" y="203"/>
                  <a:pt x="356" y="203"/>
                </a:cubicBezTo>
                <a:cubicBezTo>
                  <a:pt x="228" y="203"/>
                  <a:pt x="228" y="203"/>
                  <a:pt x="228" y="203"/>
                </a:cubicBezTo>
                <a:cubicBezTo>
                  <a:pt x="224" y="203"/>
                  <a:pt x="221" y="201"/>
                  <a:pt x="219" y="198"/>
                </a:cubicBezTo>
                <a:cubicBezTo>
                  <a:pt x="217" y="195"/>
                  <a:pt x="217" y="191"/>
                  <a:pt x="218" y="187"/>
                </a:cubicBezTo>
                <a:cubicBezTo>
                  <a:pt x="230" y="164"/>
                  <a:pt x="268" y="153"/>
                  <a:pt x="277" y="151"/>
                </a:cubicBezTo>
                <a:cubicBezTo>
                  <a:pt x="282" y="148"/>
                  <a:pt x="284" y="141"/>
                  <a:pt x="281" y="136"/>
                </a:cubicBezTo>
                <a:cubicBezTo>
                  <a:pt x="279" y="132"/>
                  <a:pt x="270" y="132"/>
                  <a:pt x="265" y="135"/>
                </a:cubicBezTo>
                <a:cubicBezTo>
                  <a:pt x="264" y="135"/>
                  <a:pt x="264" y="135"/>
                  <a:pt x="263" y="135"/>
                </a:cubicBezTo>
                <a:cubicBezTo>
                  <a:pt x="263" y="135"/>
                  <a:pt x="187" y="164"/>
                  <a:pt x="160" y="207"/>
                </a:cubicBezTo>
                <a:cubicBezTo>
                  <a:pt x="157" y="212"/>
                  <a:pt x="151" y="214"/>
                  <a:pt x="146" y="210"/>
                </a:cubicBezTo>
                <a:cubicBezTo>
                  <a:pt x="141" y="207"/>
                  <a:pt x="139" y="201"/>
                  <a:pt x="142" y="196"/>
                </a:cubicBezTo>
                <a:cubicBezTo>
                  <a:pt x="172" y="148"/>
                  <a:pt x="248" y="118"/>
                  <a:pt x="256" y="115"/>
                </a:cubicBezTo>
                <a:cubicBezTo>
                  <a:pt x="271" y="108"/>
                  <a:pt x="292" y="110"/>
                  <a:pt x="300" y="127"/>
                </a:cubicBezTo>
                <a:cubicBezTo>
                  <a:pt x="308" y="143"/>
                  <a:pt x="302" y="163"/>
                  <a:pt x="286" y="170"/>
                </a:cubicBezTo>
                <a:cubicBezTo>
                  <a:pt x="285" y="171"/>
                  <a:pt x="284" y="171"/>
                  <a:pt x="284" y="171"/>
                </a:cubicBezTo>
                <a:cubicBezTo>
                  <a:pt x="276" y="173"/>
                  <a:pt x="265" y="177"/>
                  <a:pt x="256" y="182"/>
                </a:cubicBezTo>
                <a:cubicBezTo>
                  <a:pt x="356" y="182"/>
                  <a:pt x="356" y="182"/>
                  <a:pt x="356" y="182"/>
                </a:cubicBezTo>
                <a:cubicBezTo>
                  <a:pt x="373" y="182"/>
                  <a:pt x="388" y="196"/>
                  <a:pt x="388" y="214"/>
                </a:cubicBezTo>
                <a:cubicBezTo>
                  <a:pt x="388" y="231"/>
                  <a:pt x="373" y="246"/>
                  <a:pt x="356" y="24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1" name="Group 174">
            <a:extLst>
              <a:ext uri="{FF2B5EF4-FFF2-40B4-BE49-F238E27FC236}">
                <a16:creationId xmlns:a16="http://schemas.microsoft.com/office/drawing/2014/main" id="{7939BED4-522A-4E41-8068-197BFDFE5840}"/>
              </a:ext>
            </a:extLst>
          </p:cNvPr>
          <p:cNvGrpSpPr>
            <a:grpSpLocks noChangeAspect="1"/>
          </p:cNvGrpSpPr>
          <p:nvPr/>
        </p:nvGrpSpPr>
        <p:grpSpPr bwMode="auto">
          <a:xfrm>
            <a:off x="9619111" y="1696520"/>
            <a:ext cx="367041" cy="367041"/>
            <a:chOff x="5265" y="1631"/>
            <a:chExt cx="340" cy="340"/>
          </a:xfrm>
          <a:solidFill>
            <a:schemeClr val="accent2"/>
          </a:solidFill>
        </p:grpSpPr>
        <p:sp>
          <p:nvSpPr>
            <p:cNvPr id="172" name="Freeform 175">
              <a:extLst>
                <a:ext uri="{FF2B5EF4-FFF2-40B4-BE49-F238E27FC236}">
                  <a16:creationId xmlns:a16="http://schemas.microsoft.com/office/drawing/2014/main" id="{1FA62E50-DDEA-4303-8432-1FC6269FC645}"/>
                </a:ext>
              </a:extLst>
            </p:cNvPr>
            <p:cNvSpPr>
              <a:spLocks noEditPoints="1"/>
            </p:cNvSpPr>
            <p:nvPr/>
          </p:nvSpPr>
          <p:spPr bwMode="auto">
            <a:xfrm>
              <a:off x="5265" y="1631"/>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3" name="Freeform 176">
              <a:extLst>
                <a:ext uri="{FF2B5EF4-FFF2-40B4-BE49-F238E27FC236}">
                  <a16:creationId xmlns:a16="http://schemas.microsoft.com/office/drawing/2014/main" id="{B4DE4EC4-AC55-4598-805B-8F0634442512}"/>
                </a:ext>
              </a:extLst>
            </p:cNvPr>
            <p:cNvSpPr>
              <a:spLocks/>
            </p:cNvSpPr>
            <p:nvPr/>
          </p:nvSpPr>
          <p:spPr bwMode="auto">
            <a:xfrm>
              <a:off x="5357" y="1703"/>
              <a:ext cx="166" cy="176"/>
            </a:xfrm>
            <a:custGeom>
              <a:avLst/>
              <a:gdLst>
                <a:gd name="T0" fmla="*/ 249 w 249"/>
                <a:gd name="T1" fmla="*/ 106 h 266"/>
                <a:gd name="T2" fmla="*/ 217 w 249"/>
                <a:gd name="T3" fmla="*/ 138 h 266"/>
                <a:gd name="T4" fmla="*/ 193 w 249"/>
                <a:gd name="T5" fmla="*/ 138 h 266"/>
                <a:gd name="T6" fmla="*/ 195 w 249"/>
                <a:gd name="T7" fmla="*/ 147 h 266"/>
                <a:gd name="T8" fmla="*/ 171 w 249"/>
                <a:gd name="T9" fmla="*/ 179 h 266"/>
                <a:gd name="T10" fmla="*/ 173 w 249"/>
                <a:gd name="T11" fmla="*/ 190 h 266"/>
                <a:gd name="T12" fmla="*/ 159 w 249"/>
                <a:gd name="T13" fmla="*/ 218 h 266"/>
                <a:gd name="T14" fmla="*/ 163 w 249"/>
                <a:gd name="T15" fmla="*/ 232 h 266"/>
                <a:gd name="T16" fmla="*/ 131 w 249"/>
                <a:gd name="T17" fmla="*/ 266 h 266"/>
                <a:gd name="T18" fmla="*/ 89 w 249"/>
                <a:gd name="T19" fmla="*/ 266 h 266"/>
                <a:gd name="T20" fmla="*/ 87 w 249"/>
                <a:gd name="T21" fmla="*/ 266 h 266"/>
                <a:gd name="T22" fmla="*/ 7 w 249"/>
                <a:gd name="T23" fmla="*/ 240 h 266"/>
                <a:gd name="T24" fmla="*/ 6 w 249"/>
                <a:gd name="T25" fmla="*/ 225 h 266"/>
                <a:gd name="T26" fmla="*/ 21 w 249"/>
                <a:gd name="T27" fmla="*/ 224 h 266"/>
                <a:gd name="T28" fmla="*/ 88 w 249"/>
                <a:gd name="T29" fmla="*/ 244 h 266"/>
                <a:gd name="T30" fmla="*/ 131 w 249"/>
                <a:gd name="T31" fmla="*/ 244 h 266"/>
                <a:gd name="T32" fmla="*/ 142 w 249"/>
                <a:gd name="T33" fmla="*/ 232 h 266"/>
                <a:gd name="T34" fmla="*/ 128 w 249"/>
                <a:gd name="T35" fmla="*/ 223 h 266"/>
                <a:gd name="T36" fmla="*/ 117 w 249"/>
                <a:gd name="T37" fmla="*/ 212 h 266"/>
                <a:gd name="T38" fmla="*/ 128 w 249"/>
                <a:gd name="T39" fmla="*/ 202 h 266"/>
                <a:gd name="T40" fmla="*/ 142 w 249"/>
                <a:gd name="T41" fmla="*/ 202 h 266"/>
                <a:gd name="T42" fmla="*/ 152 w 249"/>
                <a:gd name="T43" fmla="*/ 190 h 266"/>
                <a:gd name="T44" fmla="*/ 138 w 249"/>
                <a:gd name="T45" fmla="*/ 180 h 266"/>
                <a:gd name="T46" fmla="*/ 128 w 249"/>
                <a:gd name="T47" fmla="*/ 180 h 266"/>
                <a:gd name="T48" fmla="*/ 117 w 249"/>
                <a:gd name="T49" fmla="*/ 170 h 266"/>
                <a:gd name="T50" fmla="*/ 128 w 249"/>
                <a:gd name="T51" fmla="*/ 159 h 266"/>
                <a:gd name="T52" fmla="*/ 163 w 249"/>
                <a:gd name="T53" fmla="*/ 159 h 266"/>
                <a:gd name="T54" fmla="*/ 173 w 249"/>
                <a:gd name="T55" fmla="*/ 147 h 266"/>
                <a:gd name="T56" fmla="*/ 160 w 249"/>
                <a:gd name="T57" fmla="*/ 138 h 266"/>
                <a:gd name="T58" fmla="*/ 128 w 249"/>
                <a:gd name="T59" fmla="*/ 138 h 266"/>
                <a:gd name="T60" fmla="*/ 117 w 249"/>
                <a:gd name="T61" fmla="*/ 127 h 266"/>
                <a:gd name="T62" fmla="*/ 128 w 249"/>
                <a:gd name="T63" fmla="*/ 116 h 266"/>
                <a:gd name="T64" fmla="*/ 217 w 249"/>
                <a:gd name="T65" fmla="*/ 116 h 266"/>
                <a:gd name="T66" fmla="*/ 227 w 249"/>
                <a:gd name="T67" fmla="*/ 106 h 266"/>
                <a:gd name="T68" fmla="*/ 217 w 249"/>
                <a:gd name="T69" fmla="*/ 95 h 266"/>
                <a:gd name="T70" fmla="*/ 89 w 249"/>
                <a:gd name="T71" fmla="*/ 95 h 266"/>
                <a:gd name="T72" fmla="*/ 80 w 249"/>
                <a:gd name="T73" fmla="*/ 90 h 266"/>
                <a:gd name="T74" fmla="*/ 79 w 249"/>
                <a:gd name="T75" fmla="*/ 79 h 266"/>
                <a:gd name="T76" fmla="*/ 138 w 249"/>
                <a:gd name="T77" fmla="*/ 43 h 266"/>
                <a:gd name="T78" fmla="*/ 142 w 249"/>
                <a:gd name="T79" fmla="*/ 28 h 266"/>
                <a:gd name="T80" fmla="*/ 126 w 249"/>
                <a:gd name="T81" fmla="*/ 27 h 266"/>
                <a:gd name="T82" fmla="*/ 124 w 249"/>
                <a:gd name="T83" fmla="*/ 27 h 266"/>
                <a:gd name="T84" fmla="*/ 21 w 249"/>
                <a:gd name="T85" fmla="*/ 99 h 266"/>
                <a:gd name="T86" fmla="*/ 7 w 249"/>
                <a:gd name="T87" fmla="*/ 102 h 266"/>
                <a:gd name="T88" fmla="*/ 3 w 249"/>
                <a:gd name="T89" fmla="*/ 88 h 266"/>
                <a:gd name="T90" fmla="*/ 117 w 249"/>
                <a:gd name="T91" fmla="*/ 7 h 266"/>
                <a:gd name="T92" fmla="*/ 161 w 249"/>
                <a:gd name="T93" fmla="*/ 19 h 266"/>
                <a:gd name="T94" fmla="*/ 147 w 249"/>
                <a:gd name="T95" fmla="*/ 62 h 266"/>
                <a:gd name="T96" fmla="*/ 145 w 249"/>
                <a:gd name="T97" fmla="*/ 63 h 266"/>
                <a:gd name="T98" fmla="*/ 117 w 249"/>
                <a:gd name="T99" fmla="*/ 74 h 266"/>
                <a:gd name="T100" fmla="*/ 217 w 249"/>
                <a:gd name="T101" fmla="*/ 74 h 266"/>
                <a:gd name="T102" fmla="*/ 249 w 249"/>
                <a:gd name="T103" fmla="*/ 10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9" h="266">
                  <a:moveTo>
                    <a:pt x="249" y="106"/>
                  </a:moveTo>
                  <a:cubicBezTo>
                    <a:pt x="249" y="123"/>
                    <a:pt x="234" y="138"/>
                    <a:pt x="217" y="138"/>
                  </a:cubicBezTo>
                  <a:cubicBezTo>
                    <a:pt x="193" y="138"/>
                    <a:pt x="193" y="138"/>
                    <a:pt x="193" y="138"/>
                  </a:cubicBezTo>
                  <a:cubicBezTo>
                    <a:pt x="194" y="141"/>
                    <a:pt x="195" y="144"/>
                    <a:pt x="195" y="147"/>
                  </a:cubicBezTo>
                  <a:cubicBezTo>
                    <a:pt x="195" y="163"/>
                    <a:pt x="184" y="176"/>
                    <a:pt x="171" y="179"/>
                  </a:cubicBezTo>
                  <a:cubicBezTo>
                    <a:pt x="172" y="183"/>
                    <a:pt x="173" y="186"/>
                    <a:pt x="173" y="190"/>
                  </a:cubicBezTo>
                  <a:cubicBezTo>
                    <a:pt x="173" y="202"/>
                    <a:pt x="168" y="212"/>
                    <a:pt x="159" y="218"/>
                  </a:cubicBezTo>
                  <a:cubicBezTo>
                    <a:pt x="162" y="222"/>
                    <a:pt x="163" y="226"/>
                    <a:pt x="163" y="232"/>
                  </a:cubicBezTo>
                  <a:cubicBezTo>
                    <a:pt x="163" y="250"/>
                    <a:pt x="149" y="266"/>
                    <a:pt x="131" y="266"/>
                  </a:cubicBezTo>
                  <a:cubicBezTo>
                    <a:pt x="89" y="266"/>
                    <a:pt x="89" y="266"/>
                    <a:pt x="89" y="266"/>
                  </a:cubicBezTo>
                  <a:cubicBezTo>
                    <a:pt x="89" y="266"/>
                    <a:pt x="88" y="266"/>
                    <a:pt x="87" y="266"/>
                  </a:cubicBezTo>
                  <a:cubicBezTo>
                    <a:pt x="77" y="266"/>
                    <a:pt x="36" y="264"/>
                    <a:pt x="7" y="240"/>
                  </a:cubicBezTo>
                  <a:cubicBezTo>
                    <a:pt x="3" y="236"/>
                    <a:pt x="2" y="229"/>
                    <a:pt x="6" y="225"/>
                  </a:cubicBezTo>
                  <a:cubicBezTo>
                    <a:pt x="10" y="220"/>
                    <a:pt x="17" y="220"/>
                    <a:pt x="21" y="224"/>
                  </a:cubicBezTo>
                  <a:cubicBezTo>
                    <a:pt x="47" y="245"/>
                    <a:pt x="88" y="244"/>
                    <a:pt x="88" y="244"/>
                  </a:cubicBezTo>
                  <a:cubicBezTo>
                    <a:pt x="131" y="244"/>
                    <a:pt x="131" y="244"/>
                    <a:pt x="131" y="244"/>
                  </a:cubicBezTo>
                  <a:cubicBezTo>
                    <a:pt x="137" y="244"/>
                    <a:pt x="142" y="238"/>
                    <a:pt x="142" y="232"/>
                  </a:cubicBezTo>
                  <a:cubicBezTo>
                    <a:pt x="142" y="227"/>
                    <a:pt x="135" y="223"/>
                    <a:pt x="128" y="223"/>
                  </a:cubicBezTo>
                  <a:cubicBezTo>
                    <a:pt x="122" y="223"/>
                    <a:pt x="117" y="218"/>
                    <a:pt x="117" y="212"/>
                  </a:cubicBezTo>
                  <a:cubicBezTo>
                    <a:pt x="117" y="206"/>
                    <a:pt x="122" y="202"/>
                    <a:pt x="128" y="202"/>
                  </a:cubicBezTo>
                  <a:cubicBezTo>
                    <a:pt x="142" y="202"/>
                    <a:pt x="142" y="202"/>
                    <a:pt x="142" y="202"/>
                  </a:cubicBezTo>
                  <a:cubicBezTo>
                    <a:pt x="148" y="202"/>
                    <a:pt x="152" y="196"/>
                    <a:pt x="152" y="190"/>
                  </a:cubicBezTo>
                  <a:cubicBezTo>
                    <a:pt x="152" y="185"/>
                    <a:pt x="145" y="180"/>
                    <a:pt x="138" y="180"/>
                  </a:cubicBezTo>
                  <a:cubicBezTo>
                    <a:pt x="128" y="180"/>
                    <a:pt x="128" y="180"/>
                    <a:pt x="128" y="180"/>
                  </a:cubicBezTo>
                  <a:cubicBezTo>
                    <a:pt x="122" y="180"/>
                    <a:pt x="117" y="176"/>
                    <a:pt x="117" y="170"/>
                  </a:cubicBezTo>
                  <a:cubicBezTo>
                    <a:pt x="117" y="164"/>
                    <a:pt x="122" y="159"/>
                    <a:pt x="128" y="159"/>
                  </a:cubicBezTo>
                  <a:cubicBezTo>
                    <a:pt x="163" y="159"/>
                    <a:pt x="163" y="159"/>
                    <a:pt x="163" y="159"/>
                  </a:cubicBezTo>
                  <a:cubicBezTo>
                    <a:pt x="169" y="159"/>
                    <a:pt x="173" y="153"/>
                    <a:pt x="173" y="147"/>
                  </a:cubicBezTo>
                  <a:cubicBezTo>
                    <a:pt x="173" y="142"/>
                    <a:pt x="166" y="138"/>
                    <a:pt x="160" y="138"/>
                  </a:cubicBezTo>
                  <a:cubicBezTo>
                    <a:pt x="128" y="138"/>
                    <a:pt x="128" y="138"/>
                    <a:pt x="128" y="138"/>
                  </a:cubicBezTo>
                  <a:cubicBezTo>
                    <a:pt x="122" y="138"/>
                    <a:pt x="117" y="133"/>
                    <a:pt x="117" y="127"/>
                  </a:cubicBezTo>
                  <a:cubicBezTo>
                    <a:pt x="117" y="121"/>
                    <a:pt x="122" y="116"/>
                    <a:pt x="128" y="116"/>
                  </a:cubicBezTo>
                  <a:cubicBezTo>
                    <a:pt x="217" y="116"/>
                    <a:pt x="217" y="116"/>
                    <a:pt x="217" y="116"/>
                  </a:cubicBezTo>
                  <a:cubicBezTo>
                    <a:pt x="223" y="116"/>
                    <a:pt x="227" y="112"/>
                    <a:pt x="227" y="106"/>
                  </a:cubicBezTo>
                  <a:cubicBezTo>
                    <a:pt x="227" y="100"/>
                    <a:pt x="223" y="95"/>
                    <a:pt x="217" y="95"/>
                  </a:cubicBezTo>
                  <a:cubicBezTo>
                    <a:pt x="89" y="95"/>
                    <a:pt x="89" y="95"/>
                    <a:pt x="89" y="95"/>
                  </a:cubicBezTo>
                  <a:cubicBezTo>
                    <a:pt x="85" y="95"/>
                    <a:pt x="82" y="93"/>
                    <a:pt x="80" y="90"/>
                  </a:cubicBezTo>
                  <a:cubicBezTo>
                    <a:pt x="78" y="87"/>
                    <a:pt x="78" y="83"/>
                    <a:pt x="79" y="79"/>
                  </a:cubicBezTo>
                  <a:cubicBezTo>
                    <a:pt x="91" y="56"/>
                    <a:pt x="129" y="45"/>
                    <a:pt x="138" y="43"/>
                  </a:cubicBezTo>
                  <a:cubicBezTo>
                    <a:pt x="143" y="40"/>
                    <a:pt x="145" y="33"/>
                    <a:pt x="142" y="28"/>
                  </a:cubicBezTo>
                  <a:cubicBezTo>
                    <a:pt x="140" y="24"/>
                    <a:pt x="131" y="24"/>
                    <a:pt x="126" y="27"/>
                  </a:cubicBezTo>
                  <a:cubicBezTo>
                    <a:pt x="125" y="27"/>
                    <a:pt x="125" y="27"/>
                    <a:pt x="124" y="27"/>
                  </a:cubicBezTo>
                  <a:cubicBezTo>
                    <a:pt x="124" y="27"/>
                    <a:pt x="48" y="56"/>
                    <a:pt x="21" y="99"/>
                  </a:cubicBezTo>
                  <a:cubicBezTo>
                    <a:pt x="18" y="104"/>
                    <a:pt x="12" y="106"/>
                    <a:pt x="7" y="102"/>
                  </a:cubicBezTo>
                  <a:cubicBezTo>
                    <a:pt x="2" y="99"/>
                    <a:pt x="0" y="93"/>
                    <a:pt x="3" y="88"/>
                  </a:cubicBezTo>
                  <a:cubicBezTo>
                    <a:pt x="33" y="40"/>
                    <a:pt x="109" y="10"/>
                    <a:pt x="117" y="7"/>
                  </a:cubicBezTo>
                  <a:cubicBezTo>
                    <a:pt x="132" y="0"/>
                    <a:pt x="153" y="2"/>
                    <a:pt x="161" y="19"/>
                  </a:cubicBezTo>
                  <a:cubicBezTo>
                    <a:pt x="169" y="35"/>
                    <a:pt x="163" y="55"/>
                    <a:pt x="147" y="62"/>
                  </a:cubicBezTo>
                  <a:cubicBezTo>
                    <a:pt x="146" y="63"/>
                    <a:pt x="145" y="63"/>
                    <a:pt x="145" y="63"/>
                  </a:cubicBezTo>
                  <a:cubicBezTo>
                    <a:pt x="137" y="65"/>
                    <a:pt x="126" y="69"/>
                    <a:pt x="117" y="74"/>
                  </a:cubicBezTo>
                  <a:cubicBezTo>
                    <a:pt x="217" y="74"/>
                    <a:pt x="217" y="74"/>
                    <a:pt x="217" y="74"/>
                  </a:cubicBezTo>
                  <a:cubicBezTo>
                    <a:pt x="234" y="74"/>
                    <a:pt x="249" y="88"/>
                    <a:pt x="249"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4" name="Freeform 180">
            <a:extLst>
              <a:ext uri="{FF2B5EF4-FFF2-40B4-BE49-F238E27FC236}">
                <a16:creationId xmlns:a16="http://schemas.microsoft.com/office/drawing/2014/main" id="{6FD6933E-1798-46BB-9B7B-AC4228294694}"/>
              </a:ext>
            </a:extLst>
          </p:cNvPr>
          <p:cNvSpPr>
            <a:spLocks noChangeAspect="1" noEditPoints="1"/>
          </p:cNvSpPr>
          <p:nvPr/>
        </p:nvSpPr>
        <p:spPr bwMode="auto">
          <a:xfrm>
            <a:off x="10053921" y="1696520"/>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7 w 512"/>
              <a:gd name="T11" fmla="*/ 365 h 512"/>
              <a:gd name="T12" fmla="*/ 339 w 512"/>
              <a:gd name="T13" fmla="*/ 369 h 512"/>
              <a:gd name="T14" fmla="*/ 332 w 512"/>
              <a:gd name="T15" fmla="*/ 366 h 512"/>
              <a:gd name="T16" fmla="*/ 331 w 512"/>
              <a:gd name="T17" fmla="*/ 351 h 512"/>
              <a:gd name="T18" fmla="*/ 352 w 512"/>
              <a:gd name="T19" fmla="*/ 284 h 512"/>
              <a:gd name="T20" fmla="*/ 352 w 512"/>
              <a:gd name="T21" fmla="*/ 242 h 512"/>
              <a:gd name="T22" fmla="*/ 339 w 512"/>
              <a:gd name="T23" fmla="*/ 231 h 512"/>
              <a:gd name="T24" fmla="*/ 330 w 512"/>
              <a:gd name="T25" fmla="*/ 245 h 512"/>
              <a:gd name="T26" fmla="*/ 320 w 512"/>
              <a:gd name="T27" fmla="*/ 256 h 512"/>
              <a:gd name="T28" fmla="*/ 309 w 512"/>
              <a:gd name="T29" fmla="*/ 245 h 512"/>
              <a:gd name="T30" fmla="*/ 309 w 512"/>
              <a:gd name="T31" fmla="*/ 245 h 512"/>
              <a:gd name="T32" fmla="*/ 309 w 512"/>
              <a:gd name="T33" fmla="*/ 245 h 512"/>
              <a:gd name="T34" fmla="*/ 309 w 512"/>
              <a:gd name="T35" fmla="*/ 231 h 512"/>
              <a:gd name="T36" fmla="*/ 297 w 512"/>
              <a:gd name="T37" fmla="*/ 221 h 512"/>
              <a:gd name="T38" fmla="*/ 288 w 512"/>
              <a:gd name="T39" fmla="*/ 234 h 512"/>
              <a:gd name="T40" fmla="*/ 288 w 512"/>
              <a:gd name="T41" fmla="*/ 245 h 512"/>
              <a:gd name="T42" fmla="*/ 277 w 512"/>
              <a:gd name="T43" fmla="*/ 256 h 512"/>
              <a:gd name="T44" fmla="*/ 266 w 512"/>
              <a:gd name="T45" fmla="*/ 245 h 512"/>
              <a:gd name="T46" fmla="*/ 266 w 512"/>
              <a:gd name="T47" fmla="*/ 209 h 512"/>
              <a:gd name="T48" fmla="*/ 255 w 512"/>
              <a:gd name="T49" fmla="*/ 199 h 512"/>
              <a:gd name="T50" fmla="*/ 245 w 512"/>
              <a:gd name="T51" fmla="*/ 213 h 512"/>
              <a:gd name="T52" fmla="*/ 245 w 512"/>
              <a:gd name="T53" fmla="*/ 245 h 512"/>
              <a:gd name="T54" fmla="*/ 234 w 512"/>
              <a:gd name="T55" fmla="*/ 256 h 512"/>
              <a:gd name="T56" fmla="*/ 224 w 512"/>
              <a:gd name="T57" fmla="*/ 245 h 512"/>
              <a:gd name="T58" fmla="*/ 224 w 512"/>
              <a:gd name="T59" fmla="*/ 156 h 512"/>
              <a:gd name="T60" fmla="*/ 213 w 512"/>
              <a:gd name="T61" fmla="*/ 145 h 512"/>
              <a:gd name="T62" fmla="*/ 202 w 512"/>
              <a:gd name="T63" fmla="*/ 156 h 512"/>
              <a:gd name="T64" fmla="*/ 202 w 512"/>
              <a:gd name="T65" fmla="*/ 284 h 512"/>
              <a:gd name="T66" fmla="*/ 197 w 512"/>
              <a:gd name="T67" fmla="*/ 293 h 512"/>
              <a:gd name="T68" fmla="*/ 187 w 512"/>
              <a:gd name="T69" fmla="*/ 293 h 512"/>
              <a:gd name="T70" fmla="*/ 150 w 512"/>
              <a:gd name="T71" fmla="*/ 234 h 512"/>
              <a:gd name="T72" fmla="*/ 144 w 512"/>
              <a:gd name="T73" fmla="*/ 230 h 512"/>
              <a:gd name="T74" fmla="*/ 135 w 512"/>
              <a:gd name="T75" fmla="*/ 231 h 512"/>
              <a:gd name="T76" fmla="*/ 134 w 512"/>
              <a:gd name="T77" fmla="*/ 247 h 512"/>
              <a:gd name="T78" fmla="*/ 134 w 512"/>
              <a:gd name="T79" fmla="*/ 248 h 512"/>
              <a:gd name="T80" fmla="*/ 206 w 512"/>
              <a:gd name="T81" fmla="*/ 351 h 512"/>
              <a:gd name="T82" fmla="*/ 210 w 512"/>
              <a:gd name="T83" fmla="*/ 366 h 512"/>
              <a:gd name="T84" fmla="*/ 201 w 512"/>
              <a:gd name="T85" fmla="*/ 371 h 512"/>
              <a:gd name="T86" fmla="*/ 195 w 512"/>
              <a:gd name="T87" fmla="*/ 369 h 512"/>
              <a:gd name="T88" fmla="*/ 115 w 512"/>
              <a:gd name="T89" fmla="*/ 256 h 512"/>
              <a:gd name="T90" fmla="*/ 126 w 512"/>
              <a:gd name="T91" fmla="*/ 211 h 512"/>
              <a:gd name="T92" fmla="*/ 151 w 512"/>
              <a:gd name="T93" fmla="*/ 210 h 512"/>
              <a:gd name="T94" fmla="*/ 170 w 512"/>
              <a:gd name="T95" fmla="*/ 226 h 512"/>
              <a:gd name="T96" fmla="*/ 171 w 512"/>
              <a:gd name="T97" fmla="*/ 228 h 512"/>
              <a:gd name="T98" fmla="*/ 181 w 512"/>
              <a:gd name="T99" fmla="*/ 256 h 512"/>
              <a:gd name="T100" fmla="*/ 181 w 512"/>
              <a:gd name="T101" fmla="*/ 156 h 512"/>
              <a:gd name="T102" fmla="*/ 213 w 512"/>
              <a:gd name="T103" fmla="*/ 124 h 512"/>
              <a:gd name="T104" fmla="*/ 245 w 512"/>
              <a:gd name="T105" fmla="*/ 156 h 512"/>
              <a:gd name="T106" fmla="*/ 245 w 512"/>
              <a:gd name="T107" fmla="*/ 180 h 512"/>
              <a:gd name="T108" fmla="*/ 255 w 512"/>
              <a:gd name="T109" fmla="*/ 178 h 512"/>
              <a:gd name="T110" fmla="*/ 287 w 512"/>
              <a:gd name="T111" fmla="*/ 202 h 512"/>
              <a:gd name="T112" fmla="*/ 297 w 512"/>
              <a:gd name="T113" fmla="*/ 199 h 512"/>
              <a:gd name="T114" fmla="*/ 325 w 512"/>
              <a:gd name="T115" fmla="*/ 214 h 512"/>
              <a:gd name="T116" fmla="*/ 339 w 512"/>
              <a:gd name="T117" fmla="*/ 210 h 512"/>
              <a:gd name="T118" fmla="*/ 373 w 512"/>
              <a:gd name="T119" fmla="*/ 242 h 512"/>
              <a:gd name="T120" fmla="*/ 373 w 512"/>
              <a:gd name="T121" fmla="*/ 284 h 512"/>
              <a:gd name="T122" fmla="*/ 347 w 512"/>
              <a:gd name="T123"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7" y="365"/>
                </a:moveTo>
                <a:cubicBezTo>
                  <a:pt x="345" y="367"/>
                  <a:pt x="342" y="369"/>
                  <a:pt x="339" y="369"/>
                </a:cubicBezTo>
                <a:cubicBezTo>
                  <a:pt x="337" y="369"/>
                  <a:pt x="334" y="368"/>
                  <a:pt x="332" y="366"/>
                </a:cubicBezTo>
                <a:cubicBezTo>
                  <a:pt x="328" y="362"/>
                  <a:pt x="327" y="356"/>
                  <a:pt x="331" y="351"/>
                </a:cubicBezTo>
                <a:cubicBezTo>
                  <a:pt x="353" y="325"/>
                  <a:pt x="352" y="285"/>
                  <a:pt x="352" y="284"/>
                </a:cubicBezTo>
                <a:cubicBezTo>
                  <a:pt x="352" y="242"/>
                  <a:pt x="352" y="242"/>
                  <a:pt x="352" y="242"/>
                </a:cubicBezTo>
                <a:cubicBezTo>
                  <a:pt x="352" y="236"/>
                  <a:pt x="345" y="231"/>
                  <a:pt x="339" y="231"/>
                </a:cubicBezTo>
                <a:cubicBezTo>
                  <a:pt x="334" y="231"/>
                  <a:pt x="330" y="239"/>
                  <a:pt x="330" y="245"/>
                </a:cubicBezTo>
                <a:cubicBezTo>
                  <a:pt x="330" y="251"/>
                  <a:pt x="326" y="256"/>
                  <a:pt x="320" y="256"/>
                </a:cubicBezTo>
                <a:cubicBezTo>
                  <a:pt x="314" y="256"/>
                  <a:pt x="309" y="251"/>
                  <a:pt x="309" y="245"/>
                </a:cubicBezTo>
                <a:cubicBezTo>
                  <a:pt x="309" y="245"/>
                  <a:pt x="309" y="245"/>
                  <a:pt x="309" y="245"/>
                </a:cubicBezTo>
                <a:cubicBezTo>
                  <a:pt x="309" y="245"/>
                  <a:pt x="309" y="245"/>
                  <a:pt x="309" y="245"/>
                </a:cubicBezTo>
                <a:cubicBezTo>
                  <a:pt x="309" y="231"/>
                  <a:pt x="309" y="231"/>
                  <a:pt x="309" y="231"/>
                </a:cubicBezTo>
                <a:cubicBezTo>
                  <a:pt x="309" y="225"/>
                  <a:pt x="303" y="221"/>
                  <a:pt x="297" y="221"/>
                </a:cubicBezTo>
                <a:cubicBezTo>
                  <a:pt x="292" y="221"/>
                  <a:pt x="288" y="228"/>
                  <a:pt x="288" y="234"/>
                </a:cubicBezTo>
                <a:cubicBezTo>
                  <a:pt x="288" y="245"/>
                  <a:pt x="288" y="245"/>
                  <a:pt x="288" y="245"/>
                </a:cubicBezTo>
                <a:cubicBezTo>
                  <a:pt x="288" y="251"/>
                  <a:pt x="283" y="256"/>
                  <a:pt x="277" y="256"/>
                </a:cubicBezTo>
                <a:cubicBezTo>
                  <a:pt x="271" y="256"/>
                  <a:pt x="266" y="251"/>
                  <a:pt x="266" y="245"/>
                </a:cubicBezTo>
                <a:cubicBezTo>
                  <a:pt x="266" y="209"/>
                  <a:pt x="266" y="209"/>
                  <a:pt x="266" y="209"/>
                </a:cubicBezTo>
                <a:cubicBezTo>
                  <a:pt x="266" y="203"/>
                  <a:pt x="260" y="199"/>
                  <a:pt x="255" y="199"/>
                </a:cubicBezTo>
                <a:cubicBezTo>
                  <a:pt x="250" y="199"/>
                  <a:pt x="245" y="206"/>
                  <a:pt x="245" y="213"/>
                </a:cubicBezTo>
                <a:cubicBezTo>
                  <a:pt x="245" y="245"/>
                  <a:pt x="245" y="245"/>
                  <a:pt x="245" y="245"/>
                </a:cubicBezTo>
                <a:cubicBezTo>
                  <a:pt x="245" y="251"/>
                  <a:pt x="240" y="256"/>
                  <a:pt x="234" y="256"/>
                </a:cubicBezTo>
                <a:cubicBezTo>
                  <a:pt x="228" y="256"/>
                  <a:pt x="224" y="251"/>
                  <a:pt x="224" y="245"/>
                </a:cubicBezTo>
                <a:cubicBezTo>
                  <a:pt x="224" y="156"/>
                  <a:pt x="224" y="156"/>
                  <a:pt x="224" y="156"/>
                </a:cubicBezTo>
                <a:cubicBezTo>
                  <a:pt x="224" y="150"/>
                  <a:pt x="219" y="145"/>
                  <a:pt x="213" y="145"/>
                </a:cubicBezTo>
                <a:cubicBezTo>
                  <a:pt x="207" y="145"/>
                  <a:pt x="202" y="150"/>
                  <a:pt x="202" y="156"/>
                </a:cubicBezTo>
                <a:cubicBezTo>
                  <a:pt x="202" y="284"/>
                  <a:pt x="202" y="284"/>
                  <a:pt x="202" y="284"/>
                </a:cubicBezTo>
                <a:cubicBezTo>
                  <a:pt x="202" y="288"/>
                  <a:pt x="200" y="291"/>
                  <a:pt x="197" y="293"/>
                </a:cubicBezTo>
                <a:cubicBezTo>
                  <a:pt x="194" y="295"/>
                  <a:pt x="190" y="295"/>
                  <a:pt x="187" y="293"/>
                </a:cubicBezTo>
                <a:cubicBezTo>
                  <a:pt x="163" y="281"/>
                  <a:pt x="153" y="243"/>
                  <a:pt x="150" y="234"/>
                </a:cubicBezTo>
                <a:cubicBezTo>
                  <a:pt x="149" y="232"/>
                  <a:pt x="147" y="231"/>
                  <a:pt x="144" y="230"/>
                </a:cubicBezTo>
                <a:cubicBezTo>
                  <a:pt x="141" y="229"/>
                  <a:pt x="138" y="229"/>
                  <a:pt x="135" y="231"/>
                </a:cubicBezTo>
                <a:cubicBezTo>
                  <a:pt x="131" y="233"/>
                  <a:pt x="131" y="241"/>
                  <a:pt x="134" y="247"/>
                </a:cubicBezTo>
                <a:cubicBezTo>
                  <a:pt x="134" y="247"/>
                  <a:pt x="134" y="248"/>
                  <a:pt x="134" y="248"/>
                </a:cubicBezTo>
                <a:cubicBezTo>
                  <a:pt x="135" y="249"/>
                  <a:pt x="163" y="324"/>
                  <a:pt x="206" y="351"/>
                </a:cubicBezTo>
                <a:cubicBezTo>
                  <a:pt x="211" y="354"/>
                  <a:pt x="213" y="361"/>
                  <a:pt x="210" y="366"/>
                </a:cubicBezTo>
                <a:cubicBezTo>
                  <a:pt x="208" y="369"/>
                  <a:pt x="204" y="371"/>
                  <a:pt x="201" y="371"/>
                </a:cubicBezTo>
                <a:cubicBezTo>
                  <a:pt x="199" y="371"/>
                  <a:pt x="197" y="371"/>
                  <a:pt x="195" y="369"/>
                </a:cubicBezTo>
                <a:cubicBezTo>
                  <a:pt x="147" y="340"/>
                  <a:pt x="117" y="264"/>
                  <a:pt x="115" y="256"/>
                </a:cubicBezTo>
                <a:cubicBezTo>
                  <a:pt x="107" y="241"/>
                  <a:pt x="109" y="220"/>
                  <a:pt x="126" y="211"/>
                </a:cubicBezTo>
                <a:cubicBezTo>
                  <a:pt x="133" y="208"/>
                  <a:pt x="142" y="207"/>
                  <a:pt x="151" y="210"/>
                </a:cubicBezTo>
                <a:cubicBezTo>
                  <a:pt x="159" y="212"/>
                  <a:pt x="166" y="218"/>
                  <a:pt x="170" y="226"/>
                </a:cubicBezTo>
                <a:cubicBezTo>
                  <a:pt x="170" y="226"/>
                  <a:pt x="170" y="227"/>
                  <a:pt x="171" y="228"/>
                </a:cubicBezTo>
                <a:cubicBezTo>
                  <a:pt x="172" y="236"/>
                  <a:pt x="176" y="246"/>
                  <a:pt x="181" y="256"/>
                </a:cubicBezTo>
                <a:cubicBezTo>
                  <a:pt x="181" y="156"/>
                  <a:pt x="181" y="156"/>
                  <a:pt x="181" y="156"/>
                </a:cubicBezTo>
                <a:cubicBezTo>
                  <a:pt x="181" y="138"/>
                  <a:pt x="195" y="124"/>
                  <a:pt x="213" y="124"/>
                </a:cubicBezTo>
                <a:cubicBezTo>
                  <a:pt x="231" y="124"/>
                  <a:pt x="245" y="138"/>
                  <a:pt x="245" y="156"/>
                </a:cubicBezTo>
                <a:cubicBezTo>
                  <a:pt x="245" y="180"/>
                  <a:pt x="245" y="180"/>
                  <a:pt x="245" y="180"/>
                </a:cubicBezTo>
                <a:cubicBezTo>
                  <a:pt x="248" y="179"/>
                  <a:pt x="251" y="178"/>
                  <a:pt x="255" y="178"/>
                </a:cubicBezTo>
                <a:cubicBezTo>
                  <a:pt x="270" y="178"/>
                  <a:pt x="283" y="188"/>
                  <a:pt x="287" y="202"/>
                </a:cubicBezTo>
                <a:cubicBezTo>
                  <a:pt x="290" y="200"/>
                  <a:pt x="293" y="199"/>
                  <a:pt x="297" y="199"/>
                </a:cubicBezTo>
                <a:cubicBezTo>
                  <a:pt x="309" y="199"/>
                  <a:pt x="319" y="205"/>
                  <a:pt x="325" y="214"/>
                </a:cubicBezTo>
                <a:cubicBezTo>
                  <a:pt x="329" y="211"/>
                  <a:pt x="334" y="210"/>
                  <a:pt x="339" y="210"/>
                </a:cubicBezTo>
                <a:cubicBezTo>
                  <a:pt x="357" y="210"/>
                  <a:pt x="373" y="224"/>
                  <a:pt x="373" y="242"/>
                </a:cubicBezTo>
                <a:cubicBezTo>
                  <a:pt x="373" y="284"/>
                  <a:pt x="373" y="284"/>
                  <a:pt x="373" y="284"/>
                </a:cubicBezTo>
                <a:cubicBezTo>
                  <a:pt x="373" y="286"/>
                  <a:pt x="374" y="333"/>
                  <a:pt x="347" y="36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5" name="Group 183">
            <a:extLst>
              <a:ext uri="{FF2B5EF4-FFF2-40B4-BE49-F238E27FC236}">
                <a16:creationId xmlns:a16="http://schemas.microsoft.com/office/drawing/2014/main" id="{EF1BEC5E-391E-4F7F-904C-2825839EB45F}"/>
              </a:ext>
            </a:extLst>
          </p:cNvPr>
          <p:cNvGrpSpPr>
            <a:grpSpLocks noChangeAspect="1"/>
          </p:cNvGrpSpPr>
          <p:nvPr/>
        </p:nvGrpSpPr>
        <p:grpSpPr bwMode="auto">
          <a:xfrm>
            <a:off x="10488731" y="1696520"/>
            <a:ext cx="367041" cy="367041"/>
            <a:chOff x="5593" y="1515"/>
            <a:chExt cx="340" cy="340"/>
          </a:xfrm>
          <a:solidFill>
            <a:schemeClr val="accent2"/>
          </a:solidFill>
        </p:grpSpPr>
        <p:sp>
          <p:nvSpPr>
            <p:cNvPr id="176" name="Freeform 302">
              <a:extLst>
                <a:ext uri="{FF2B5EF4-FFF2-40B4-BE49-F238E27FC236}">
                  <a16:creationId xmlns:a16="http://schemas.microsoft.com/office/drawing/2014/main" id="{DCF4872B-0F2A-455F-871E-E1305F32209A}"/>
                </a:ext>
              </a:extLst>
            </p:cNvPr>
            <p:cNvSpPr>
              <a:spLocks noEditPoints="1"/>
            </p:cNvSpPr>
            <p:nvPr/>
          </p:nvSpPr>
          <p:spPr bwMode="auto">
            <a:xfrm>
              <a:off x="5593" y="15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7" name="Freeform 303">
              <a:extLst>
                <a:ext uri="{FF2B5EF4-FFF2-40B4-BE49-F238E27FC236}">
                  <a16:creationId xmlns:a16="http://schemas.microsoft.com/office/drawing/2014/main" id="{F5841EB2-574F-448F-BD83-554B6B607B45}"/>
                </a:ext>
              </a:extLst>
            </p:cNvPr>
            <p:cNvSpPr>
              <a:spLocks/>
            </p:cNvSpPr>
            <p:nvPr/>
          </p:nvSpPr>
          <p:spPr bwMode="auto">
            <a:xfrm>
              <a:off x="5664" y="1597"/>
              <a:ext cx="177" cy="164"/>
            </a:xfrm>
            <a:custGeom>
              <a:avLst/>
              <a:gdLst>
                <a:gd name="T0" fmla="*/ 240 w 267"/>
                <a:gd name="T1" fmla="*/ 241 h 247"/>
                <a:gd name="T2" fmla="*/ 232 w 267"/>
                <a:gd name="T3" fmla="*/ 245 h 247"/>
                <a:gd name="T4" fmla="*/ 225 w 267"/>
                <a:gd name="T5" fmla="*/ 242 h 247"/>
                <a:gd name="T6" fmla="*/ 224 w 267"/>
                <a:gd name="T7" fmla="*/ 227 h 247"/>
                <a:gd name="T8" fmla="*/ 245 w 267"/>
                <a:gd name="T9" fmla="*/ 160 h 247"/>
                <a:gd name="T10" fmla="*/ 245 w 267"/>
                <a:gd name="T11" fmla="*/ 118 h 247"/>
                <a:gd name="T12" fmla="*/ 232 w 267"/>
                <a:gd name="T13" fmla="*/ 107 h 247"/>
                <a:gd name="T14" fmla="*/ 223 w 267"/>
                <a:gd name="T15" fmla="*/ 121 h 247"/>
                <a:gd name="T16" fmla="*/ 213 w 267"/>
                <a:gd name="T17" fmla="*/ 132 h 247"/>
                <a:gd name="T18" fmla="*/ 202 w 267"/>
                <a:gd name="T19" fmla="*/ 121 h 247"/>
                <a:gd name="T20" fmla="*/ 202 w 267"/>
                <a:gd name="T21" fmla="*/ 121 h 247"/>
                <a:gd name="T22" fmla="*/ 202 w 267"/>
                <a:gd name="T23" fmla="*/ 121 h 247"/>
                <a:gd name="T24" fmla="*/ 202 w 267"/>
                <a:gd name="T25" fmla="*/ 107 h 247"/>
                <a:gd name="T26" fmla="*/ 190 w 267"/>
                <a:gd name="T27" fmla="*/ 97 h 247"/>
                <a:gd name="T28" fmla="*/ 181 w 267"/>
                <a:gd name="T29" fmla="*/ 110 h 247"/>
                <a:gd name="T30" fmla="*/ 181 w 267"/>
                <a:gd name="T31" fmla="*/ 121 h 247"/>
                <a:gd name="T32" fmla="*/ 170 w 267"/>
                <a:gd name="T33" fmla="*/ 132 h 247"/>
                <a:gd name="T34" fmla="*/ 159 w 267"/>
                <a:gd name="T35" fmla="*/ 121 h 247"/>
                <a:gd name="T36" fmla="*/ 159 w 267"/>
                <a:gd name="T37" fmla="*/ 85 h 247"/>
                <a:gd name="T38" fmla="*/ 148 w 267"/>
                <a:gd name="T39" fmla="*/ 75 h 247"/>
                <a:gd name="T40" fmla="*/ 138 w 267"/>
                <a:gd name="T41" fmla="*/ 89 h 247"/>
                <a:gd name="T42" fmla="*/ 138 w 267"/>
                <a:gd name="T43" fmla="*/ 121 h 247"/>
                <a:gd name="T44" fmla="*/ 127 w 267"/>
                <a:gd name="T45" fmla="*/ 132 h 247"/>
                <a:gd name="T46" fmla="*/ 117 w 267"/>
                <a:gd name="T47" fmla="*/ 121 h 247"/>
                <a:gd name="T48" fmla="*/ 117 w 267"/>
                <a:gd name="T49" fmla="*/ 32 h 247"/>
                <a:gd name="T50" fmla="*/ 106 w 267"/>
                <a:gd name="T51" fmla="*/ 21 h 247"/>
                <a:gd name="T52" fmla="*/ 95 w 267"/>
                <a:gd name="T53" fmla="*/ 32 h 247"/>
                <a:gd name="T54" fmla="*/ 95 w 267"/>
                <a:gd name="T55" fmla="*/ 160 h 247"/>
                <a:gd name="T56" fmla="*/ 90 w 267"/>
                <a:gd name="T57" fmla="*/ 169 h 247"/>
                <a:gd name="T58" fmla="*/ 80 w 267"/>
                <a:gd name="T59" fmla="*/ 169 h 247"/>
                <a:gd name="T60" fmla="*/ 43 w 267"/>
                <a:gd name="T61" fmla="*/ 110 h 247"/>
                <a:gd name="T62" fmla="*/ 37 w 267"/>
                <a:gd name="T63" fmla="*/ 106 h 247"/>
                <a:gd name="T64" fmla="*/ 28 w 267"/>
                <a:gd name="T65" fmla="*/ 107 h 247"/>
                <a:gd name="T66" fmla="*/ 27 w 267"/>
                <a:gd name="T67" fmla="*/ 123 h 247"/>
                <a:gd name="T68" fmla="*/ 27 w 267"/>
                <a:gd name="T69" fmla="*/ 124 h 247"/>
                <a:gd name="T70" fmla="*/ 99 w 267"/>
                <a:gd name="T71" fmla="*/ 227 h 247"/>
                <a:gd name="T72" fmla="*/ 103 w 267"/>
                <a:gd name="T73" fmla="*/ 242 h 247"/>
                <a:gd name="T74" fmla="*/ 94 w 267"/>
                <a:gd name="T75" fmla="*/ 247 h 247"/>
                <a:gd name="T76" fmla="*/ 88 w 267"/>
                <a:gd name="T77" fmla="*/ 245 h 247"/>
                <a:gd name="T78" fmla="*/ 8 w 267"/>
                <a:gd name="T79" fmla="*/ 132 h 247"/>
                <a:gd name="T80" fmla="*/ 19 w 267"/>
                <a:gd name="T81" fmla="*/ 87 h 247"/>
                <a:gd name="T82" fmla="*/ 44 w 267"/>
                <a:gd name="T83" fmla="*/ 86 h 247"/>
                <a:gd name="T84" fmla="*/ 63 w 267"/>
                <a:gd name="T85" fmla="*/ 102 h 247"/>
                <a:gd name="T86" fmla="*/ 64 w 267"/>
                <a:gd name="T87" fmla="*/ 104 h 247"/>
                <a:gd name="T88" fmla="*/ 74 w 267"/>
                <a:gd name="T89" fmla="*/ 132 h 247"/>
                <a:gd name="T90" fmla="*/ 74 w 267"/>
                <a:gd name="T91" fmla="*/ 32 h 247"/>
                <a:gd name="T92" fmla="*/ 106 w 267"/>
                <a:gd name="T93" fmla="*/ 0 h 247"/>
                <a:gd name="T94" fmla="*/ 138 w 267"/>
                <a:gd name="T95" fmla="*/ 32 h 247"/>
                <a:gd name="T96" fmla="*/ 138 w 267"/>
                <a:gd name="T97" fmla="*/ 56 h 247"/>
                <a:gd name="T98" fmla="*/ 148 w 267"/>
                <a:gd name="T99" fmla="*/ 54 h 247"/>
                <a:gd name="T100" fmla="*/ 180 w 267"/>
                <a:gd name="T101" fmla="*/ 78 h 247"/>
                <a:gd name="T102" fmla="*/ 190 w 267"/>
                <a:gd name="T103" fmla="*/ 75 h 247"/>
                <a:gd name="T104" fmla="*/ 218 w 267"/>
                <a:gd name="T105" fmla="*/ 90 h 247"/>
                <a:gd name="T106" fmla="*/ 232 w 267"/>
                <a:gd name="T107" fmla="*/ 86 h 247"/>
                <a:gd name="T108" fmla="*/ 266 w 267"/>
                <a:gd name="T109" fmla="*/ 118 h 247"/>
                <a:gd name="T110" fmla="*/ 266 w 267"/>
                <a:gd name="T111" fmla="*/ 160 h 247"/>
                <a:gd name="T112" fmla="*/ 240 w 267"/>
                <a:gd name="T113" fmla="*/ 24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247">
                  <a:moveTo>
                    <a:pt x="240" y="241"/>
                  </a:moveTo>
                  <a:cubicBezTo>
                    <a:pt x="238" y="243"/>
                    <a:pt x="235" y="245"/>
                    <a:pt x="232" y="245"/>
                  </a:cubicBezTo>
                  <a:cubicBezTo>
                    <a:pt x="230" y="245"/>
                    <a:pt x="227" y="244"/>
                    <a:pt x="225" y="242"/>
                  </a:cubicBezTo>
                  <a:cubicBezTo>
                    <a:pt x="221" y="238"/>
                    <a:pt x="220" y="232"/>
                    <a:pt x="224" y="227"/>
                  </a:cubicBezTo>
                  <a:cubicBezTo>
                    <a:pt x="246" y="201"/>
                    <a:pt x="245" y="161"/>
                    <a:pt x="245" y="160"/>
                  </a:cubicBezTo>
                  <a:cubicBezTo>
                    <a:pt x="245" y="118"/>
                    <a:pt x="245" y="118"/>
                    <a:pt x="245" y="118"/>
                  </a:cubicBezTo>
                  <a:cubicBezTo>
                    <a:pt x="245" y="112"/>
                    <a:pt x="238" y="107"/>
                    <a:pt x="232" y="107"/>
                  </a:cubicBezTo>
                  <a:cubicBezTo>
                    <a:pt x="227" y="107"/>
                    <a:pt x="223" y="115"/>
                    <a:pt x="223" y="121"/>
                  </a:cubicBezTo>
                  <a:cubicBezTo>
                    <a:pt x="223" y="127"/>
                    <a:pt x="219" y="132"/>
                    <a:pt x="213" y="132"/>
                  </a:cubicBezTo>
                  <a:cubicBezTo>
                    <a:pt x="207" y="132"/>
                    <a:pt x="202" y="127"/>
                    <a:pt x="202" y="121"/>
                  </a:cubicBezTo>
                  <a:cubicBezTo>
                    <a:pt x="202" y="121"/>
                    <a:pt x="202" y="121"/>
                    <a:pt x="202" y="121"/>
                  </a:cubicBezTo>
                  <a:cubicBezTo>
                    <a:pt x="202" y="121"/>
                    <a:pt x="202" y="121"/>
                    <a:pt x="202" y="121"/>
                  </a:cubicBezTo>
                  <a:cubicBezTo>
                    <a:pt x="202" y="107"/>
                    <a:pt x="202" y="107"/>
                    <a:pt x="202" y="107"/>
                  </a:cubicBezTo>
                  <a:cubicBezTo>
                    <a:pt x="202" y="101"/>
                    <a:pt x="196" y="97"/>
                    <a:pt x="190" y="97"/>
                  </a:cubicBezTo>
                  <a:cubicBezTo>
                    <a:pt x="185" y="97"/>
                    <a:pt x="181" y="104"/>
                    <a:pt x="181" y="110"/>
                  </a:cubicBezTo>
                  <a:cubicBezTo>
                    <a:pt x="181" y="121"/>
                    <a:pt x="181" y="121"/>
                    <a:pt x="181" y="121"/>
                  </a:cubicBezTo>
                  <a:cubicBezTo>
                    <a:pt x="181" y="127"/>
                    <a:pt x="176" y="132"/>
                    <a:pt x="170" y="132"/>
                  </a:cubicBezTo>
                  <a:cubicBezTo>
                    <a:pt x="164" y="132"/>
                    <a:pt x="159" y="127"/>
                    <a:pt x="159" y="121"/>
                  </a:cubicBezTo>
                  <a:cubicBezTo>
                    <a:pt x="159" y="85"/>
                    <a:pt x="159" y="85"/>
                    <a:pt x="159" y="85"/>
                  </a:cubicBezTo>
                  <a:cubicBezTo>
                    <a:pt x="159" y="79"/>
                    <a:pt x="153" y="75"/>
                    <a:pt x="148" y="75"/>
                  </a:cubicBezTo>
                  <a:cubicBezTo>
                    <a:pt x="143" y="75"/>
                    <a:pt x="138" y="82"/>
                    <a:pt x="138" y="89"/>
                  </a:cubicBezTo>
                  <a:cubicBezTo>
                    <a:pt x="138" y="121"/>
                    <a:pt x="138" y="121"/>
                    <a:pt x="138" y="121"/>
                  </a:cubicBezTo>
                  <a:cubicBezTo>
                    <a:pt x="138" y="127"/>
                    <a:pt x="133" y="132"/>
                    <a:pt x="127" y="132"/>
                  </a:cubicBezTo>
                  <a:cubicBezTo>
                    <a:pt x="121" y="132"/>
                    <a:pt x="117" y="127"/>
                    <a:pt x="117" y="121"/>
                  </a:cubicBezTo>
                  <a:cubicBezTo>
                    <a:pt x="117" y="32"/>
                    <a:pt x="117" y="32"/>
                    <a:pt x="117" y="32"/>
                  </a:cubicBezTo>
                  <a:cubicBezTo>
                    <a:pt x="117" y="26"/>
                    <a:pt x="112" y="21"/>
                    <a:pt x="106" y="21"/>
                  </a:cubicBezTo>
                  <a:cubicBezTo>
                    <a:pt x="100" y="21"/>
                    <a:pt x="95" y="26"/>
                    <a:pt x="95" y="32"/>
                  </a:cubicBezTo>
                  <a:cubicBezTo>
                    <a:pt x="95" y="160"/>
                    <a:pt x="95" y="160"/>
                    <a:pt x="95" y="160"/>
                  </a:cubicBezTo>
                  <a:cubicBezTo>
                    <a:pt x="95" y="164"/>
                    <a:pt x="93" y="167"/>
                    <a:pt x="90" y="169"/>
                  </a:cubicBezTo>
                  <a:cubicBezTo>
                    <a:pt x="87" y="171"/>
                    <a:pt x="83" y="171"/>
                    <a:pt x="80" y="169"/>
                  </a:cubicBezTo>
                  <a:cubicBezTo>
                    <a:pt x="56" y="157"/>
                    <a:pt x="46" y="119"/>
                    <a:pt x="43" y="110"/>
                  </a:cubicBezTo>
                  <a:cubicBezTo>
                    <a:pt x="42" y="108"/>
                    <a:pt x="40" y="107"/>
                    <a:pt x="37" y="106"/>
                  </a:cubicBezTo>
                  <a:cubicBezTo>
                    <a:pt x="34" y="105"/>
                    <a:pt x="31" y="105"/>
                    <a:pt x="28" y="107"/>
                  </a:cubicBezTo>
                  <a:cubicBezTo>
                    <a:pt x="24" y="109"/>
                    <a:pt x="24" y="117"/>
                    <a:pt x="27" y="123"/>
                  </a:cubicBezTo>
                  <a:cubicBezTo>
                    <a:pt x="27" y="123"/>
                    <a:pt x="27" y="124"/>
                    <a:pt x="27" y="124"/>
                  </a:cubicBezTo>
                  <a:cubicBezTo>
                    <a:pt x="28" y="125"/>
                    <a:pt x="56" y="200"/>
                    <a:pt x="99" y="227"/>
                  </a:cubicBezTo>
                  <a:cubicBezTo>
                    <a:pt x="104" y="230"/>
                    <a:pt x="106" y="237"/>
                    <a:pt x="103" y="242"/>
                  </a:cubicBezTo>
                  <a:cubicBezTo>
                    <a:pt x="101" y="245"/>
                    <a:pt x="97" y="247"/>
                    <a:pt x="94" y="247"/>
                  </a:cubicBezTo>
                  <a:cubicBezTo>
                    <a:pt x="92" y="247"/>
                    <a:pt x="90" y="247"/>
                    <a:pt x="88" y="245"/>
                  </a:cubicBezTo>
                  <a:cubicBezTo>
                    <a:pt x="40" y="216"/>
                    <a:pt x="10" y="140"/>
                    <a:pt x="8" y="132"/>
                  </a:cubicBezTo>
                  <a:cubicBezTo>
                    <a:pt x="0" y="117"/>
                    <a:pt x="2" y="96"/>
                    <a:pt x="19" y="87"/>
                  </a:cubicBezTo>
                  <a:cubicBezTo>
                    <a:pt x="26" y="84"/>
                    <a:pt x="35" y="83"/>
                    <a:pt x="44" y="86"/>
                  </a:cubicBezTo>
                  <a:cubicBezTo>
                    <a:pt x="52" y="88"/>
                    <a:pt x="59" y="94"/>
                    <a:pt x="63" y="102"/>
                  </a:cubicBezTo>
                  <a:cubicBezTo>
                    <a:pt x="63" y="102"/>
                    <a:pt x="63" y="103"/>
                    <a:pt x="64" y="104"/>
                  </a:cubicBezTo>
                  <a:cubicBezTo>
                    <a:pt x="65" y="112"/>
                    <a:pt x="69" y="122"/>
                    <a:pt x="74" y="132"/>
                  </a:cubicBezTo>
                  <a:cubicBezTo>
                    <a:pt x="74" y="32"/>
                    <a:pt x="74" y="32"/>
                    <a:pt x="74" y="32"/>
                  </a:cubicBezTo>
                  <a:cubicBezTo>
                    <a:pt x="74" y="14"/>
                    <a:pt x="88" y="0"/>
                    <a:pt x="106" y="0"/>
                  </a:cubicBezTo>
                  <a:cubicBezTo>
                    <a:pt x="124" y="0"/>
                    <a:pt x="138" y="14"/>
                    <a:pt x="138" y="32"/>
                  </a:cubicBezTo>
                  <a:cubicBezTo>
                    <a:pt x="138" y="56"/>
                    <a:pt x="138" y="56"/>
                    <a:pt x="138" y="56"/>
                  </a:cubicBezTo>
                  <a:cubicBezTo>
                    <a:pt x="141" y="55"/>
                    <a:pt x="144" y="54"/>
                    <a:pt x="148" y="54"/>
                  </a:cubicBezTo>
                  <a:cubicBezTo>
                    <a:pt x="163" y="54"/>
                    <a:pt x="176" y="64"/>
                    <a:pt x="180" y="78"/>
                  </a:cubicBezTo>
                  <a:cubicBezTo>
                    <a:pt x="183" y="76"/>
                    <a:pt x="186" y="75"/>
                    <a:pt x="190" y="75"/>
                  </a:cubicBezTo>
                  <a:cubicBezTo>
                    <a:pt x="202" y="75"/>
                    <a:pt x="212" y="81"/>
                    <a:pt x="218" y="90"/>
                  </a:cubicBezTo>
                  <a:cubicBezTo>
                    <a:pt x="222" y="87"/>
                    <a:pt x="227" y="86"/>
                    <a:pt x="232" y="86"/>
                  </a:cubicBezTo>
                  <a:cubicBezTo>
                    <a:pt x="250" y="86"/>
                    <a:pt x="266" y="100"/>
                    <a:pt x="266" y="118"/>
                  </a:cubicBezTo>
                  <a:cubicBezTo>
                    <a:pt x="266" y="160"/>
                    <a:pt x="266" y="160"/>
                    <a:pt x="266" y="160"/>
                  </a:cubicBezTo>
                  <a:cubicBezTo>
                    <a:pt x="266" y="162"/>
                    <a:pt x="267" y="209"/>
                    <a:pt x="240" y="2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8" name="Freeform 986">
            <a:extLst>
              <a:ext uri="{FF2B5EF4-FFF2-40B4-BE49-F238E27FC236}">
                <a16:creationId xmlns:a16="http://schemas.microsoft.com/office/drawing/2014/main" id="{CBC0898C-24A1-4C22-AA8A-5A9F97A14612}"/>
              </a:ext>
            </a:extLst>
          </p:cNvPr>
          <p:cNvSpPr>
            <a:spLocks noChangeAspect="1" noEditPoints="1"/>
          </p:cNvSpPr>
          <p:nvPr/>
        </p:nvSpPr>
        <p:spPr bwMode="auto">
          <a:xfrm>
            <a:off x="10923541" y="1696520"/>
            <a:ext cx="367631" cy="367631"/>
          </a:xfrm>
          <a:custGeom>
            <a:avLst/>
            <a:gdLst>
              <a:gd name="T0" fmla="*/ 0 w 512"/>
              <a:gd name="T1" fmla="*/ 256 h 512"/>
              <a:gd name="T2" fmla="*/ 512 w 512"/>
              <a:gd name="T3" fmla="*/ 256 h 512"/>
              <a:gd name="T4" fmla="*/ 118 w 512"/>
              <a:gd name="T5" fmla="*/ 241 h 512"/>
              <a:gd name="T6" fmla="*/ 106 w 512"/>
              <a:gd name="T7" fmla="*/ 213 h 512"/>
              <a:gd name="T8" fmla="*/ 341 w 512"/>
              <a:gd name="T9" fmla="*/ 213 h 512"/>
              <a:gd name="T10" fmla="*/ 329 w 512"/>
              <a:gd name="T11" fmla="*/ 231 h 512"/>
              <a:gd name="T12" fmla="*/ 320 w 512"/>
              <a:gd name="T13" fmla="*/ 213 h 512"/>
              <a:gd name="T14" fmla="*/ 128 w 512"/>
              <a:gd name="T15" fmla="*/ 213 h 512"/>
              <a:gd name="T16" fmla="*/ 120 w 512"/>
              <a:gd name="T17" fmla="*/ 241 h 512"/>
              <a:gd name="T18" fmla="*/ 172 w 512"/>
              <a:gd name="T19" fmla="*/ 222 h 512"/>
              <a:gd name="T20" fmla="*/ 161 w 512"/>
              <a:gd name="T21" fmla="*/ 234 h 512"/>
              <a:gd name="T22" fmla="*/ 149 w 512"/>
              <a:gd name="T23" fmla="*/ 213 h 512"/>
              <a:gd name="T24" fmla="*/ 298 w 512"/>
              <a:gd name="T25" fmla="*/ 201 h 512"/>
              <a:gd name="T26" fmla="*/ 277 w 512"/>
              <a:gd name="T27" fmla="*/ 204 h 512"/>
              <a:gd name="T28" fmla="*/ 171 w 512"/>
              <a:gd name="T29" fmla="*/ 213 h 512"/>
              <a:gd name="T30" fmla="*/ 368 w 512"/>
              <a:gd name="T31" fmla="*/ 410 h 512"/>
              <a:gd name="T32" fmla="*/ 353 w 512"/>
              <a:gd name="T33" fmla="*/ 414 h 512"/>
              <a:gd name="T34" fmla="*/ 362 w 512"/>
              <a:gd name="T35" fmla="*/ 342 h 512"/>
              <a:gd name="T36" fmla="*/ 351 w 512"/>
              <a:gd name="T37" fmla="*/ 288 h 512"/>
              <a:gd name="T38" fmla="*/ 341 w 512"/>
              <a:gd name="T39" fmla="*/ 298 h 512"/>
              <a:gd name="T40" fmla="*/ 330 w 512"/>
              <a:gd name="T41" fmla="*/ 309 h 512"/>
              <a:gd name="T42" fmla="*/ 320 w 512"/>
              <a:gd name="T43" fmla="*/ 298 h 512"/>
              <a:gd name="T44" fmla="*/ 309 w 512"/>
              <a:gd name="T45" fmla="*/ 277 h 512"/>
              <a:gd name="T46" fmla="*/ 298 w 512"/>
              <a:gd name="T47" fmla="*/ 298 h 512"/>
              <a:gd name="T48" fmla="*/ 277 w 512"/>
              <a:gd name="T49" fmla="*/ 298 h 512"/>
              <a:gd name="T50" fmla="*/ 266 w 512"/>
              <a:gd name="T51" fmla="*/ 256 h 512"/>
              <a:gd name="T52" fmla="*/ 256 w 512"/>
              <a:gd name="T53" fmla="*/ 298 h 512"/>
              <a:gd name="T54" fmla="*/ 234 w 512"/>
              <a:gd name="T55" fmla="*/ 298 h 512"/>
              <a:gd name="T56" fmla="*/ 224 w 512"/>
              <a:gd name="T57" fmla="*/ 202 h 512"/>
              <a:gd name="T58" fmla="*/ 213 w 512"/>
              <a:gd name="T59" fmla="*/ 341 h 512"/>
              <a:gd name="T60" fmla="*/ 195 w 512"/>
              <a:gd name="T61" fmla="*/ 349 h 512"/>
              <a:gd name="T62" fmla="*/ 157 w 512"/>
              <a:gd name="T63" fmla="*/ 287 h 512"/>
              <a:gd name="T64" fmla="*/ 148 w 512"/>
              <a:gd name="T65" fmla="*/ 304 h 512"/>
              <a:gd name="T66" fmla="*/ 206 w 512"/>
              <a:gd name="T67" fmla="*/ 397 h 512"/>
              <a:gd name="T68" fmla="*/ 199 w 512"/>
              <a:gd name="T69" fmla="*/ 416 h 512"/>
              <a:gd name="T70" fmla="*/ 128 w 512"/>
              <a:gd name="T71" fmla="*/ 313 h 512"/>
              <a:gd name="T72" fmla="*/ 164 w 512"/>
              <a:gd name="T73" fmla="*/ 267 h 512"/>
              <a:gd name="T74" fmla="*/ 192 w 512"/>
              <a:gd name="T75" fmla="*/ 304 h 512"/>
              <a:gd name="T76" fmla="*/ 224 w 512"/>
              <a:gd name="T77" fmla="*/ 181 h 512"/>
              <a:gd name="T78" fmla="*/ 256 w 512"/>
              <a:gd name="T79" fmla="*/ 236 h 512"/>
              <a:gd name="T80" fmla="*/ 297 w 512"/>
              <a:gd name="T81" fmla="*/ 258 h 512"/>
              <a:gd name="T82" fmla="*/ 336 w 512"/>
              <a:gd name="T83" fmla="*/ 271 h 512"/>
              <a:gd name="T84" fmla="*/ 384 w 512"/>
              <a:gd name="T85" fmla="*/ 298 h 512"/>
              <a:gd name="T86" fmla="*/ 368 w 512"/>
              <a:gd name="T87" fmla="*/ 4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8" y="241"/>
                </a:moveTo>
                <a:cubicBezTo>
                  <a:pt x="113" y="241"/>
                  <a:pt x="109" y="238"/>
                  <a:pt x="108" y="233"/>
                </a:cubicBezTo>
                <a:cubicBezTo>
                  <a:pt x="107" y="226"/>
                  <a:pt x="106" y="220"/>
                  <a:pt x="106" y="213"/>
                </a:cubicBezTo>
                <a:cubicBezTo>
                  <a:pt x="106" y="148"/>
                  <a:pt x="159" y="96"/>
                  <a:pt x="224" y="96"/>
                </a:cubicBezTo>
                <a:cubicBezTo>
                  <a:pt x="288" y="96"/>
                  <a:pt x="341" y="148"/>
                  <a:pt x="341" y="213"/>
                </a:cubicBezTo>
                <a:cubicBezTo>
                  <a:pt x="341" y="216"/>
                  <a:pt x="341" y="218"/>
                  <a:pt x="341" y="221"/>
                </a:cubicBezTo>
                <a:cubicBezTo>
                  <a:pt x="340" y="227"/>
                  <a:pt x="335" y="231"/>
                  <a:pt x="329" y="231"/>
                </a:cubicBezTo>
                <a:cubicBezTo>
                  <a:pt x="324" y="230"/>
                  <a:pt x="319" y="225"/>
                  <a:pt x="319" y="219"/>
                </a:cubicBezTo>
                <a:cubicBezTo>
                  <a:pt x="320" y="217"/>
                  <a:pt x="320" y="215"/>
                  <a:pt x="320" y="213"/>
                </a:cubicBezTo>
                <a:cubicBezTo>
                  <a:pt x="320" y="160"/>
                  <a:pt x="277" y="117"/>
                  <a:pt x="224" y="117"/>
                </a:cubicBezTo>
                <a:cubicBezTo>
                  <a:pt x="171" y="117"/>
                  <a:pt x="128" y="160"/>
                  <a:pt x="128" y="213"/>
                </a:cubicBezTo>
                <a:cubicBezTo>
                  <a:pt x="128" y="218"/>
                  <a:pt x="128" y="224"/>
                  <a:pt x="129" y="229"/>
                </a:cubicBezTo>
                <a:cubicBezTo>
                  <a:pt x="130" y="235"/>
                  <a:pt x="126" y="240"/>
                  <a:pt x="120" y="241"/>
                </a:cubicBezTo>
                <a:cubicBezTo>
                  <a:pt x="120" y="241"/>
                  <a:pt x="119" y="241"/>
                  <a:pt x="118" y="241"/>
                </a:cubicBezTo>
                <a:close/>
                <a:moveTo>
                  <a:pt x="172" y="222"/>
                </a:moveTo>
                <a:cubicBezTo>
                  <a:pt x="173" y="228"/>
                  <a:pt x="169" y="233"/>
                  <a:pt x="163" y="234"/>
                </a:cubicBezTo>
                <a:cubicBezTo>
                  <a:pt x="162" y="234"/>
                  <a:pt x="162" y="234"/>
                  <a:pt x="161" y="234"/>
                </a:cubicBezTo>
                <a:cubicBezTo>
                  <a:pt x="156" y="234"/>
                  <a:pt x="151" y="231"/>
                  <a:pt x="150" y="225"/>
                </a:cubicBezTo>
                <a:cubicBezTo>
                  <a:pt x="150" y="221"/>
                  <a:pt x="149" y="217"/>
                  <a:pt x="149" y="213"/>
                </a:cubicBezTo>
                <a:cubicBezTo>
                  <a:pt x="149" y="172"/>
                  <a:pt x="183" y="138"/>
                  <a:pt x="224" y="138"/>
                </a:cubicBezTo>
                <a:cubicBezTo>
                  <a:pt x="261" y="138"/>
                  <a:pt x="292" y="164"/>
                  <a:pt x="298" y="201"/>
                </a:cubicBezTo>
                <a:cubicBezTo>
                  <a:pt x="299" y="206"/>
                  <a:pt x="295" y="212"/>
                  <a:pt x="289" y="213"/>
                </a:cubicBezTo>
                <a:cubicBezTo>
                  <a:pt x="283" y="214"/>
                  <a:pt x="278" y="210"/>
                  <a:pt x="277" y="204"/>
                </a:cubicBezTo>
                <a:cubicBezTo>
                  <a:pt x="272" y="178"/>
                  <a:pt x="250" y="160"/>
                  <a:pt x="224" y="160"/>
                </a:cubicBezTo>
                <a:cubicBezTo>
                  <a:pt x="195" y="160"/>
                  <a:pt x="171" y="184"/>
                  <a:pt x="171" y="213"/>
                </a:cubicBezTo>
                <a:cubicBezTo>
                  <a:pt x="171" y="216"/>
                  <a:pt x="171" y="219"/>
                  <a:pt x="172" y="222"/>
                </a:cubicBezTo>
                <a:close/>
                <a:moveTo>
                  <a:pt x="368" y="410"/>
                </a:moveTo>
                <a:cubicBezTo>
                  <a:pt x="366" y="414"/>
                  <a:pt x="362" y="416"/>
                  <a:pt x="359" y="416"/>
                </a:cubicBezTo>
                <a:cubicBezTo>
                  <a:pt x="357" y="416"/>
                  <a:pt x="355" y="415"/>
                  <a:pt x="353" y="414"/>
                </a:cubicBezTo>
                <a:cubicBezTo>
                  <a:pt x="348" y="411"/>
                  <a:pt x="347" y="405"/>
                  <a:pt x="350" y="400"/>
                </a:cubicBezTo>
                <a:cubicBezTo>
                  <a:pt x="364" y="374"/>
                  <a:pt x="362" y="342"/>
                  <a:pt x="362" y="342"/>
                </a:cubicBezTo>
                <a:cubicBezTo>
                  <a:pt x="362" y="298"/>
                  <a:pt x="362" y="298"/>
                  <a:pt x="362" y="298"/>
                </a:cubicBezTo>
                <a:cubicBezTo>
                  <a:pt x="362" y="292"/>
                  <a:pt x="357" y="288"/>
                  <a:pt x="351" y="288"/>
                </a:cubicBezTo>
                <a:cubicBezTo>
                  <a:pt x="346" y="288"/>
                  <a:pt x="342" y="292"/>
                  <a:pt x="341" y="297"/>
                </a:cubicBezTo>
                <a:cubicBezTo>
                  <a:pt x="341" y="298"/>
                  <a:pt x="341" y="298"/>
                  <a:pt x="341" y="298"/>
                </a:cubicBezTo>
                <a:cubicBezTo>
                  <a:pt x="341" y="304"/>
                  <a:pt x="336" y="309"/>
                  <a:pt x="330" y="309"/>
                </a:cubicBezTo>
                <a:cubicBezTo>
                  <a:pt x="330" y="309"/>
                  <a:pt x="330" y="309"/>
                  <a:pt x="330" y="309"/>
                </a:cubicBezTo>
                <a:cubicBezTo>
                  <a:pt x="330" y="309"/>
                  <a:pt x="330" y="309"/>
                  <a:pt x="330" y="309"/>
                </a:cubicBezTo>
                <a:cubicBezTo>
                  <a:pt x="324" y="309"/>
                  <a:pt x="320" y="304"/>
                  <a:pt x="320" y="298"/>
                </a:cubicBezTo>
                <a:cubicBezTo>
                  <a:pt x="320" y="288"/>
                  <a:pt x="320" y="288"/>
                  <a:pt x="320" y="288"/>
                </a:cubicBezTo>
                <a:cubicBezTo>
                  <a:pt x="320" y="282"/>
                  <a:pt x="315" y="277"/>
                  <a:pt x="309" y="277"/>
                </a:cubicBezTo>
                <a:cubicBezTo>
                  <a:pt x="303" y="277"/>
                  <a:pt x="298" y="282"/>
                  <a:pt x="298" y="288"/>
                </a:cubicBezTo>
                <a:cubicBezTo>
                  <a:pt x="298" y="298"/>
                  <a:pt x="298" y="298"/>
                  <a:pt x="298" y="298"/>
                </a:cubicBezTo>
                <a:cubicBezTo>
                  <a:pt x="298" y="304"/>
                  <a:pt x="294" y="309"/>
                  <a:pt x="288" y="309"/>
                </a:cubicBezTo>
                <a:cubicBezTo>
                  <a:pt x="282" y="309"/>
                  <a:pt x="277" y="304"/>
                  <a:pt x="277" y="298"/>
                </a:cubicBezTo>
                <a:cubicBezTo>
                  <a:pt x="277" y="266"/>
                  <a:pt x="277" y="266"/>
                  <a:pt x="277" y="266"/>
                </a:cubicBezTo>
                <a:cubicBezTo>
                  <a:pt x="277" y="260"/>
                  <a:pt x="272" y="256"/>
                  <a:pt x="266" y="256"/>
                </a:cubicBezTo>
                <a:cubicBezTo>
                  <a:pt x="260" y="256"/>
                  <a:pt x="256" y="260"/>
                  <a:pt x="256" y="266"/>
                </a:cubicBezTo>
                <a:cubicBezTo>
                  <a:pt x="256" y="298"/>
                  <a:pt x="256" y="298"/>
                  <a:pt x="256" y="298"/>
                </a:cubicBezTo>
                <a:cubicBezTo>
                  <a:pt x="256" y="304"/>
                  <a:pt x="251" y="309"/>
                  <a:pt x="245" y="309"/>
                </a:cubicBezTo>
                <a:cubicBezTo>
                  <a:pt x="239" y="309"/>
                  <a:pt x="234" y="304"/>
                  <a:pt x="234" y="298"/>
                </a:cubicBezTo>
                <a:cubicBezTo>
                  <a:pt x="234" y="213"/>
                  <a:pt x="234" y="213"/>
                  <a:pt x="234" y="213"/>
                </a:cubicBezTo>
                <a:cubicBezTo>
                  <a:pt x="234" y="207"/>
                  <a:pt x="230" y="202"/>
                  <a:pt x="224" y="202"/>
                </a:cubicBezTo>
                <a:cubicBezTo>
                  <a:pt x="218" y="202"/>
                  <a:pt x="213" y="207"/>
                  <a:pt x="213" y="213"/>
                </a:cubicBezTo>
                <a:cubicBezTo>
                  <a:pt x="213" y="341"/>
                  <a:pt x="213" y="341"/>
                  <a:pt x="213" y="341"/>
                </a:cubicBezTo>
                <a:cubicBezTo>
                  <a:pt x="213" y="345"/>
                  <a:pt x="211" y="349"/>
                  <a:pt x="207" y="351"/>
                </a:cubicBezTo>
                <a:cubicBezTo>
                  <a:pt x="203" y="352"/>
                  <a:pt x="199" y="352"/>
                  <a:pt x="195" y="349"/>
                </a:cubicBezTo>
                <a:cubicBezTo>
                  <a:pt x="181" y="337"/>
                  <a:pt x="166" y="299"/>
                  <a:pt x="163" y="292"/>
                </a:cubicBezTo>
                <a:cubicBezTo>
                  <a:pt x="162" y="290"/>
                  <a:pt x="160" y="288"/>
                  <a:pt x="157" y="287"/>
                </a:cubicBezTo>
                <a:cubicBezTo>
                  <a:pt x="154" y="286"/>
                  <a:pt x="152" y="286"/>
                  <a:pt x="149" y="288"/>
                </a:cubicBezTo>
                <a:cubicBezTo>
                  <a:pt x="145" y="290"/>
                  <a:pt x="145" y="298"/>
                  <a:pt x="148" y="304"/>
                </a:cubicBezTo>
                <a:cubicBezTo>
                  <a:pt x="148" y="305"/>
                  <a:pt x="148" y="305"/>
                  <a:pt x="148" y="305"/>
                </a:cubicBezTo>
                <a:cubicBezTo>
                  <a:pt x="149" y="306"/>
                  <a:pt x="170" y="365"/>
                  <a:pt x="206" y="397"/>
                </a:cubicBezTo>
                <a:cubicBezTo>
                  <a:pt x="210" y="401"/>
                  <a:pt x="211" y="408"/>
                  <a:pt x="207" y="412"/>
                </a:cubicBezTo>
                <a:cubicBezTo>
                  <a:pt x="205" y="414"/>
                  <a:pt x="202" y="416"/>
                  <a:pt x="199" y="416"/>
                </a:cubicBezTo>
                <a:cubicBezTo>
                  <a:pt x="196" y="416"/>
                  <a:pt x="194" y="415"/>
                  <a:pt x="192" y="413"/>
                </a:cubicBezTo>
                <a:cubicBezTo>
                  <a:pt x="153" y="379"/>
                  <a:pt x="131" y="320"/>
                  <a:pt x="128" y="313"/>
                </a:cubicBezTo>
                <a:cubicBezTo>
                  <a:pt x="121" y="298"/>
                  <a:pt x="123" y="277"/>
                  <a:pt x="139" y="269"/>
                </a:cubicBezTo>
                <a:cubicBezTo>
                  <a:pt x="147" y="265"/>
                  <a:pt x="156" y="264"/>
                  <a:pt x="164" y="267"/>
                </a:cubicBezTo>
                <a:cubicBezTo>
                  <a:pt x="172" y="270"/>
                  <a:pt x="179" y="275"/>
                  <a:pt x="182" y="283"/>
                </a:cubicBezTo>
                <a:cubicBezTo>
                  <a:pt x="185" y="289"/>
                  <a:pt x="188" y="297"/>
                  <a:pt x="192" y="304"/>
                </a:cubicBezTo>
                <a:cubicBezTo>
                  <a:pt x="192" y="213"/>
                  <a:pt x="192" y="213"/>
                  <a:pt x="192" y="213"/>
                </a:cubicBezTo>
                <a:cubicBezTo>
                  <a:pt x="192" y="195"/>
                  <a:pt x="206" y="181"/>
                  <a:pt x="224" y="181"/>
                </a:cubicBezTo>
                <a:cubicBezTo>
                  <a:pt x="241" y="181"/>
                  <a:pt x="256" y="195"/>
                  <a:pt x="256" y="213"/>
                </a:cubicBezTo>
                <a:cubicBezTo>
                  <a:pt x="256" y="236"/>
                  <a:pt x="256" y="236"/>
                  <a:pt x="256" y="236"/>
                </a:cubicBezTo>
                <a:cubicBezTo>
                  <a:pt x="259" y="235"/>
                  <a:pt x="263" y="234"/>
                  <a:pt x="266" y="234"/>
                </a:cubicBezTo>
                <a:cubicBezTo>
                  <a:pt x="281" y="234"/>
                  <a:pt x="293" y="244"/>
                  <a:pt x="297" y="258"/>
                </a:cubicBezTo>
                <a:cubicBezTo>
                  <a:pt x="301" y="257"/>
                  <a:pt x="305" y="256"/>
                  <a:pt x="309" y="256"/>
                </a:cubicBezTo>
                <a:cubicBezTo>
                  <a:pt x="320" y="256"/>
                  <a:pt x="330" y="262"/>
                  <a:pt x="336" y="271"/>
                </a:cubicBezTo>
                <a:cubicBezTo>
                  <a:pt x="341" y="268"/>
                  <a:pt x="346" y="266"/>
                  <a:pt x="352" y="266"/>
                </a:cubicBezTo>
                <a:cubicBezTo>
                  <a:pt x="369" y="266"/>
                  <a:pt x="384" y="281"/>
                  <a:pt x="384" y="298"/>
                </a:cubicBezTo>
                <a:cubicBezTo>
                  <a:pt x="384" y="341"/>
                  <a:pt x="384" y="341"/>
                  <a:pt x="384" y="341"/>
                </a:cubicBezTo>
                <a:cubicBezTo>
                  <a:pt x="384" y="342"/>
                  <a:pt x="386" y="379"/>
                  <a:pt x="368" y="41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9" name="Group 989">
            <a:extLst>
              <a:ext uri="{FF2B5EF4-FFF2-40B4-BE49-F238E27FC236}">
                <a16:creationId xmlns:a16="http://schemas.microsoft.com/office/drawing/2014/main" id="{AA7FDAD1-14A4-4DA9-93CC-9D65716BD8BA}"/>
              </a:ext>
            </a:extLst>
          </p:cNvPr>
          <p:cNvGrpSpPr>
            <a:grpSpLocks noChangeAspect="1"/>
          </p:cNvGrpSpPr>
          <p:nvPr/>
        </p:nvGrpSpPr>
        <p:grpSpPr bwMode="auto">
          <a:xfrm>
            <a:off x="11358953" y="1696520"/>
            <a:ext cx="367631" cy="367631"/>
            <a:chOff x="2394" y="4156"/>
            <a:chExt cx="340" cy="340"/>
          </a:xfrm>
          <a:solidFill>
            <a:schemeClr val="accent5"/>
          </a:solidFill>
        </p:grpSpPr>
        <p:sp>
          <p:nvSpPr>
            <p:cNvPr id="180" name="Line 990">
              <a:extLst>
                <a:ext uri="{FF2B5EF4-FFF2-40B4-BE49-F238E27FC236}">
                  <a16:creationId xmlns:a16="http://schemas.microsoft.com/office/drawing/2014/main" id="{86792C6B-F415-4A96-BE90-3044D2D12EED}"/>
                </a:ext>
              </a:extLst>
            </p:cNvPr>
            <p:cNvSpPr>
              <a:spLocks noChangeShapeType="1"/>
            </p:cNvSpPr>
            <p:nvPr/>
          </p:nvSpPr>
          <p:spPr bwMode="auto">
            <a:xfrm>
              <a:off x="2528" y="4418"/>
              <a:ext cx="0" cy="0"/>
            </a:xfrm>
            <a:prstGeom prst="line">
              <a:avLst/>
            </a:prstGeom>
            <a:grpFill/>
            <a:ln w="222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1" name="Freeform 991">
              <a:extLst>
                <a:ext uri="{FF2B5EF4-FFF2-40B4-BE49-F238E27FC236}">
                  <a16:creationId xmlns:a16="http://schemas.microsoft.com/office/drawing/2014/main" id="{5A56E9AE-6007-4E1D-909A-C17D933D7D63}"/>
                </a:ext>
              </a:extLst>
            </p:cNvPr>
            <p:cNvSpPr>
              <a:spLocks noEditPoints="1"/>
            </p:cNvSpPr>
            <p:nvPr/>
          </p:nvSpPr>
          <p:spPr bwMode="auto">
            <a:xfrm>
              <a:off x="2394" y="415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2" name="Freeform 992">
              <a:extLst>
                <a:ext uri="{FF2B5EF4-FFF2-40B4-BE49-F238E27FC236}">
                  <a16:creationId xmlns:a16="http://schemas.microsoft.com/office/drawing/2014/main" id="{2792724A-14EA-4A34-B647-582DE077C663}"/>
                </a:ext>
              </a:extLst>
            </p:cNvPr>
            <p:cNvSpPr>
              <a:spLocks noEditPoints="1"/>
            </p:cNvSpPr>
            <p:nvPr/>
          </p:nvSpPr>
          <p:spPr bwMode="auto">
            <a:xfrm>
              <a:off x="2464" y="4220"/>
              <a:ext cx="186" cy="212"/>
            </a:xfrm>
            <a:custGeom>
              <a:avLst/>
              <a:gdLst>
                <a:gd name="T0" fmla="*/ 253 w 280"/>
                <a:gd name="T1" fmla="*/ 320 h 320"/>
                <a:gd name="T2" fmla="*/ 244 w 280"/>
                <a:gd name="T3" fmla="*/ 304 h 320"/>
                <a:gd name="T4" fmla="*/ 256 w 280"/>
                <a:gd name="T5" fmla="*/ 202 h 320"/>
                <a:gd name="T6" fmla="*/ 235 w 280"/>
                <a:gd name="T7" fmla="*/ 201 h 320"/>
                <a:gd name="T8" fmla="*/ 224 w 280"/>
                <a:gd name="T9" fmla="*/ 213 h 320"/>
                <a:gd name="T10" fmla="*/ 224 w 280"/>
                <a:gd name="T11" fmla="*/ 213 h 320"/>
                <a:gd name="T12" fmla="*/ 214 w 280"/>
                <a:gd name="T13" fmla="*/ 192 h 320"/>
                <a:gd name="T14" fmla="*/ 192 w 280"/>
                <a:gd name="T15" fmla="*/ 192 h 320"/>
                <a:gd name="T16" fmla="*/ 182 w 280"/>
                <a:gd name="T17" fmla="*/ 213 h 320"/>
                <a:gd name="T18" fmla="*/ 171 w 280"/>
                <a:gd name="T19" fmla="*/ 170 h 320"/>
                <a:gd name="T20" fmla="*/ 150 w 280"/>
                <a:gd name="T21" fmla="*/ 170 h 320"/>
                <a:gd name="T22" fmla="*/ 139 w 280"/>
                <a:gd name="T23" fmla="*/ 213 h 320"/>
                <a:gd name="T24" fmla="*/ 128 w 280"/>
                <a:gd name="T25" fmla="*/ 117 h 320"/>
                <a:gd name="T26" fmla="*/ 107 w 280"/>
                <a:gd name="T27" fmla="*/ 117 h 320"/>
                <a:gd name="T28" fmla="*/ 101 w 280"/>
                <a:gd name="T29" fmla="*/ 255 h 320"/>
                <a:gd name="T30" fmla="*/ 57 w 280"/>
                <a:gd name="T31" fmla="*/ 196 h 320"/>
                <a:gd name="T32" fmla="*/ 43 w 280"/>
                <a:gd name="T33" fmla="*/ 192 h 320"/>
                <a:gd name="T34" fmla="*/ 42 w 280"/>
                <a:gd name="T35" fmla="*/ 209 h 320"/>
                <a:gd name="T36" fmla="*/ 101 w 280"/>
                <a:gd name="T37" fmla="*/ 316 h 320"/>
                <a:gd name="T38" fmla="*/ 86 w 280"/>
                <a:gd name="T39" fmla="*/ 317 h 320"/>
                <a:gd name="T40" fmla="*/ 33 w 280"/>
                <a:gd name="T41" fmla="*/ 173 h 320"/>
                <a:gd name="T42" fmla="*/ 76 w 280"/>
                <a:gd name="T43" fmla="*/ 187 h 320"/>
                <a:gd name="T44" fmla="*/ 86 w 280"/>
                <a:gd name="T45" fmla="*/ 117 h 320"/>
                <a:gd name="T46" fmla="*/ 150 w 280"/>
                <a:gd name="T47" fmla="*/ 117 h 320"/>
                <a:gd name="T48" fmla="*/ 160 w 280"/>
                <a:gd name="T49" fmla="*/ 138 h 320"/>
                <a:gd name="T50" fmla="*/ 203 w 280"/>
                <a:gd name="T51" fmla="*/ 160 h 320"/>
                <a:gd name="T52" fmla="*/ 246 w 280"/>
                <a:gd name="T53" fmla="*/ 170 h 320"/>
                <a:gd name="T54" fmla="*/ 278 w 280"/>
                <a:gd name="T55" fmla="*/ 245 h 320"/>
                <a:gd name="T56" fmla="*/ 118 w 280"/>
                <a:gd name="T57" fmla="*/ 64 h 320"/>
                <a:gd name="T58" fmla="*/ 183 w 280"/>
                <a:gd name="T59" fmla="*/ 117 h 320"/>
                <a:gd name="T60" fmla="*/ 118 w 280"/>
                <a:gd name="T61" fmla="*/ 42 h 320"/>
                <a:gd name="T62" fmla="*/ 44 w 280"/>
                <a:gd name="T63" fmla="*/ 129 h 320"/>
                <a:gd name="T64" fmla="*/ 57 w 280"/>
                <a:gd name="T65" fmla="*/ 138 h 320"/>
                <a:gd name="T66" fmla="*/ 65 w 280"/>
                <a:gd name="T67" fmla="*/ 117 h 320"/>
                <a:gd name="T68" fmla="*/ 23 w 280"/>
                <a:gd name="T69" fmla="*/ 133 h 320"/>
                <a:gd name="T70" fmla="*/ 118 w 280"/>
                <a:gd name="T71" fmla="*/ 21 h 320"/>
                <a:gd name="T72" fmla="*/ 213 w 280"/>
                <a:gd name="T73" fmla="*/ 123 h 320"/>
                <a:gd name="T74" fmla="*/ 235 w 280"/>
                <a:gd name="T75" fmla="*/ 125 h 320"/>
                <a:gd name="T76" fmla="*/ 118 w 280"/>
                <a:gd name="T77" fmla="*/ 0 h 320"/>
                <a:gd name="T78" fmla="*/ 2 w 280"/>
                <a:gd name="T79" fmla="*/ 137 h 320"/>
                <a:gd name="T80" fmla="*/ 14 w 280"/>
                <a:gd name="T81" fmla="*/ 1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0" h="320">
                  <a:moveTo>
                    <a:pt x="262" y="314"/>
                  </a:moveTo>
                  <a:cubicBezTo>
                    <a:pt x="260" y="318"/>
                    <a:pt x="256" y="320"/>
                    <a:pt x="253" y="320"/>
                  </a:cubicBezTo>
                  <a:cubicBezTo>
                    <a:pt x="251" y="320"/>
                    <a:pt x="249" y="319"/>
                    <a:pt x="247" y="318"/>
                  </a:cubicBezTo>
                  <a:cubicBezTo>
                    <a:pt x="242" y="315"/>
                    <a:pt x="241" y="309"/>
                    <a:pt x="244" y="304"/>
                  </a:cubicBezTo>
                  <a:cubicBezTo>
                    <a:pt x="258" y="278"/>
                    <a:pt x="256" y="246"/>
                    <a:pt x="256" y="246"/>
                  </a:cubicBezTo>
                  <a:cubicBezTo>
                    <a:pt x="256" y="202"/>
                    <a:pt x="256" y="202"/>
                    <a:pt x="256" y="202"/>
                  </a:cubicBezTo>
                  <a:cubicBezTo>
                    <a:pt x="256" y="196"/>
                    <a:pt x="251" y="192"/>
                    <a:pt x="245" y="192"/>
                  </a:cubicBezTo>
                  <a:cubicBezTo>
                    <a:pt x="240" y="192"/>
                    <a:pt x="236" y="196"/>
                    <a:pt x="235" y="201"/>
                  </a:cubicBezTo>
                  <a:cubicBezTo>
                    <a:pt x="235" y="202"/>
                    <a:pt x="235" y="202"/>
                    <a:pt x="235" y="202"/>
                  </a:cubicBezTo>
                  <a:cubicBezTo>
                    <a:pt x="235" y="208"/>
                    <a:pt x="230" y="213"/>
                    <a:pt x="224" y="213"/>
                  </a:cubicBezTo>
                  <a:cubicBezTo>
                    <a:pt x="224" y="213"/>
                    <a:pt x="224" y="213"/>
                    <a:pt x="224" y="213"/>
                  </a:cubicBezTo>
                  <a:cubicBezTo>
                    <a:pt x="224" y="213"/>
                    <a:pt x="224" y="213"/>
                    <a:pt x="224" y="213"/>
                  </a:cubicBezTo>
                  <a:cubicBezTo>
                    <a:pt x="218" y="213"/>
                    <a:pt x="214" y="208"/>
                    <a:pt x="214" y="202"/>
                  </a:cubicBezTo>
                  <a:cubicBezTo>
                    <a:pt x="214" y="192"/>
                    <a:pt x="214" y="192"/>
                    <a:pt x="214" y="192"/>
                  </a:cubicBezTo>
                  <a:cubicBezTo>
                    <a:pt x="214" y="186"/>
                    <a:pt x="209" y="181"/>
                    <a:pt x="203" y="181"/>
                  </a:cubicBezTo>
                  <a:cubicBezTo>
                    <a:pt x="197" y="181"/>
                    <a:pt x="192" y="186"/>
                    <a:pt x="192" y="192"/>
                  </a:cubicBezTo>
                  <a:cubicBezTo>
                    <a:pt x="192" y="202"/>
                    <a:pt x="192" y="202"/>
                    <a:pt x="192" y="202"/>
                  </a:cubicBezTo>
                  <a:cubicBezTo>
                    <a:pt x="192" y="208"/>
                    <a:pt x="188" y="213"/>
                    <a:pt x="182" y="213"/>
                  </a:cubicBezTo>
                  <a:cubicBezTo>
                    <a:pt x="176" y="213"/>
                    <a:pt x="171" y="208"/>
                    <a:pt x="171" y="202"/>
                  </a:cubicBezTo>
                  <a:cubicBezTo>
                    <a:pt x="171" y="170"/>
                    <a:pt x="171" y="170"/>
                    <a:pt x="171" y="170"/>
                  </a:cubicBezTo>
                  <a:cubicBezTo>
                    <a:pt x="171" y="164"/>
                    <a:pt x="166" y="160"/>
                    <a:pt x="160" y="160"/>
                  </a:cubicBezTo>
                  <a:cubicBezTo>
                    <a:pt x="154" y="160"/>
                    <a:pt x="150" y="164"/>
                    <a:pt x="150" y="170"/>
                  </a:cubicBezTo>
                  <a:cubicBezTo>
                    <a:pt x="150" y="202"/>
                    <a:pt x="150" y="202"/>
                    <a:pt x="150" y="202"/>
                  </a:cubicBezTo>
                  <a:cubicBezTo>
                    <a:pt x="150" y="208"/>
                    <a:pt x="145" y="213"/>
                    <a:pt x="139" y="213"/>
                  </a:cubicBezTo>
                  <a:cubicBezTo>
                    <a:pt x="133" y="213"/>
                    <a:pt x="128" y="208"/>
                    <a:pt x="128" y="202"/>
                  </a:cubicBezTo>
                  <a:cubicBezTo>
                    <a:pt x="128" y="117"/>
                    <a:pt x="128" y="117"/>
                    <a:pt x="128" y="117"/>
                  </a:cubicBezTo>
                  <a:cubicBezTo>
                    <a:pt x="128" y="111"/>
                    <a:pt x="124" y="106"/>
                    <a:pt x="118" y="106"/>
                  </a:cubicBezTo>
                  <a:cubicBezTo>
                    <a:pt x="112" y="106"/>
                    <a:pt x="107" y="111"/>
                    <a:pt x="107" y="117"/>
                  </a:cubicBezTo>
                  <a:cubicBezTo>
                    <a:pt x="107" y="245"/>
                    <a:pt x="107" y="245"/>
                    <a:pt x="107" y="245"/>
                  </a:cubicBezTo>
                  <a:cubicBezTo>
                    <a:pt x="107" y="249"/>
                    <a:pt x="105" y="253"/>
                    <a:pt x="101" y="255"/>
                  </a:cubicBezTo>
                  <a:cubicBezTo>
                    <a:pt x="97" y="256"/>
                    <a:pt x="93" y="256"/>
                    <a:pt x="89" y="253"/>
                  </a:cubicBezTo>
                  <a:cubicBezTo>
                    <a:pt x="75" y="241"/>
                    <a:pt x="60" y="203"/>
                    <a:pt x="57" y="196"/>
                  </a:cubicBezTo>
                  <a:cubicBezTo>
                    <a:pt x="56" y="194"/>
                    <a:pt x="54" y="192"/>
                    <a:pt x="51" y="191"/>
                  </a:cubicBezTo>
                  <a:cubicBezTo>
                    <a:pt x="48" y="190"/>
                    <a:pt x="46" y="190"/>
                    <a:pt x="43" y="192"/>
                  </a:cubicBezTo>
                  <a:cubicBezTo>
                    <a:pt x="39" y="194"/>
                    <a:pt x="39" y="202"/>
                    <a:pt x="42" y="208"/>
                  </a:cubicBezTo>
                  <a:cubicBezTo>
                    <a:pt x="42" y="209"/>
                    <a:pt x="42" y="209"/>
                    <a:pt x="42" y="209"/>
                  </a:cubicBezTo>
                  <a:cubicBezTo>
                    <a:pt x="43" y="210"/>
                    <a:pt x="64" y="269"/>
                    <a:pt x="100" y="301"/>
                  </a:cubicBezTo>
                  <a:cubicBezTo>
                    <a:pt x="104" y="305"/>
                    <a:pt x="105" y="312"/>
                    <a:pt x="101" y="316"/>
                  </a:cubicBezTo>
                  <a:cubicBezTo>
                    <a:pt x="99" y="318"/>
                    <a:pt x="96" y="320"/>
                    <a:pt x="93" y="320"/>
                  </a:cubicBezTo>
                  <a:cubicBezTo>
                    <a:pt x="90" y="320"/>
                    <a:pt x="88" y="319"/>
                    <a:pt x="86" y="317"/>
                  </a:cubicBezTo>
                  <a:cubicBezTo>
                    <a:pt x="47" y="283"/>
                    <a:pt x="25" y="224"/>
                    <a:pt x="22" y="217"/>
                  </a:cubicBezTo>
                  <a:cubicBezTo>
                    <a:pt x="15" y="202"/>
                    <a:pt x="17" y="181"/>
                    <a:pt x="33" y="173"/>
                  </a:cubicBezTo>
                  <a:cubicBezTo>
                    <a:pt x="41" y="169"/>
                    <a:pt x="50" y="168"/>
                    <a:pt x="58" y="171"/>
                  </a:cubicBezTo>
                  <a:cubicBezTo>
                    <a:pt x="66" y="174"/>
                    <a:pt x="73" y="179"/>
                    <a:pt x="76" y="187"/>
                  </a:cubicBezTo>
                  <a:cubicBezTo>
                    <a:pt x="79" y="193"/>
                    <a:pt x="82" y="201"/>
                    <a:pt x="86" y="208"/>
                  </a:cubicBezTo>
                  <a:cubicBezTo>
                    <a:pt x="86" y="117"/>
                    <a:pt x="86" y="117"/>
                    <a:pt x="86" y="117"/>
                  </a:cubicBezTo>
                  <a:cubicBezTo>
                    <a:pt x="86" y="99"/>
                    <a:pt x="100" y="85"/>
                    <a:pt x="118" y="85"/>
                  </a:cubicBezTo>
                  <a:cubicBezTo>
                    <a:pt x="135" y="85"/>
                    <a:pt x="150" y="99"/>
                    <a:pt x="150" y="117"/>
                  </a:cubicBezTo>
                  <a:cubicBezTo>
                    <a:pt x="150" y="140"/>
                    <a:pt x="150" y="140"/>
                    <a:pt x="150" y="140"/>
                  </a:cubicBezTo>
                  <a:cubicBezTo>
                    <a:pt x="153" y="139"/>
                    <a:pt x="157" y="138"/>
                    <a:pt x="160" y="138"/>
                  </a:cubicBezTo>
                  <a:cubicBezTo>
                    <a:pt x="175" y="138"/>
                    <a:pt x="187" y="148"/>
                    <a:pt x="191" y="162"/>
                  </a:cubicBezTo>
                  <a:cubicBezTo>
                    <a:pt x="195" y="161"/>
                    <a:pt x="199" y="160"/>
                    <a:pt x="203" y="160"/>
                  </a:cubicBezTo>
                  <a:cubicBezTo>
                    <a:pt x="214" y="160"/>
                    <a:pt x="224" y="166"/>
                    <a:pt x="230" y="175"/>
                  </a:cubicBezTo>
                  <a:cubicBezTo>
                    <a:pt x="235" y="172"/>
                    <a:pt x="240" y="170"/>
                    <a:pt x="246" y="170"/>
                  </a:cubicBezTo>
                  <a:cubicBezTo>
                    <a:pt x="263" y="170"/>
                    <a:pt x="278" y="185"/>
                    <a:pt x="278" y="202"/>
                  </a:cubicBezTo>
                  <a:cubicBezTo>
                    <a:pt x="278" y="245"/>
                    <a:pt x="278" y="245"/>
                    <a:pt x="278" y="245"/>
                  </a:cubicBezTo>
                  <a:cubicBezTo>
                    <a:pt x="278" y="246"/>
                    <a:pt x="280" y="283"/>
                    <a:pt x="262" y="314"/>
                  </a:cubicBezTo>
                  <a:close/>
                  <a:moveTo>
                    <a:pt x="118" y="64"/>
                  </a:moveTo>
                  <a:cubicBezTo>
                    <a:pt x="144" y="64"/>
                    <a:pt x="166" y="82"/>
                    <a:pt x="171" y="108"/>
                  </a:cubicBezTo>
                  <a:cubicBezTo>
                    <a:pt x="172" y="114"/>
                    <a:pt x="177" y="118"/>
                    <a:pt x="183" y="117"/>
                  </a:cubicBezTo>
                  <a:cubicBezTo>
                    <a:pt x="189" y="116"/>
                    <a:pt x="193" y="110"/>
                    <a:pt x="192" y="105"/>
                  </a:cubicBezTo>
                  <a:cubicBezTo>
                    <a:pt x="186" y="68"/>
                    <a:pt x="155" y="42"/>
                    <a:pt x="118" y="42"/>
                  </a:cubicBezTo>
                  <a:cubicBezTo>
                    <a:pt x="77" y="42"/>
                    <a:pt x="43" y="76"/>
                    <a:pt x="43" y="117"/>
                  </a:cubicBezTo>
                  <a:cubicBezTo>
                    <a:pt x="43" y="121"/>
                    <a:pt x="44" y="125"/>
                    <a:pt x="44" y="129"/>
                  </a:cubicBezTo>
                  <a:cubicBezTo>
                    <a:pt x="45" y="135"/>
                    <a:pt x="50" y="138"/>
                    <a:pt x="55" y="138"/>
                  </a:cubicBezTo>
                  <a:cubicBezTo>
                    <a:pt x="56" y="138"/>
                    <a:pt x="56" y="138"/>
                    <a:pt x="57" y="138"/>
                  </a:cubicBezTo>
                  <a:cubicBezTo>
                    <a:pt x="63" y="137"/>
                    <a:pt x="67" y="132"/>
                    <a:pt x="66" y="126"/>
                  </a:cubicBezTo>
                  <a:cubicBezTo>
                    <a:pt x="65" y="123"/>
                    <a:pt x="65" y="120"/>
                    <a:pt x="65" y="117"/>
                  </a:cubicBezTo>
                  <a:cubicBezTo>
                    <a:pt x="65" y="88"/>
                    <a:pt x="89" y="64"/>
                    <a:pt x="118" y="64"/>
                  </a:cubicBezTo>
                  <a:close/>
                  <a:moveTo>
                    <a:pt x="23" y="133"/>
                  </a:moveTo>
                  <a:cubicBezTo>
                    <a:pt x="22" y="128"/>
                    <a:pt x="22" y="122"/>
                    <a:pt x="22" y="117"/>
                  </a:cubicBezTo>
                  <a:cubicBezTo>
                    <a:pt x="22" y="64"/>
                    <a:pt x="65" y="21"/>
                    <a:pt x="118" y="21"/>
                  </a:cubicBezTo>
                  <a:cubicBezTo>
                    <a:pt x="171" y="21"/>
                    <a:pt x="214" y="64"/>
                    <a:pt x="214" y="117"/>
                  </a:cubicBezTo>
                  <a:cubicBezTo>
                    <a:pt x="214" y="119"/>
                    <a:pt x="214" y="121"/>
                    <a:pt x="213" y="123"/>
                  </a:cubicBezTo>
                  <a:cubicBezTo>
                    <a:pt x="213" y="129"/>
                    <a:pt x="218" y="134"/>
                    <a:pt x="223" y="135"/>
                  </a:cubicBezTo>
                  <a:cubicBezTo>
                    <a:pt x="229" y="135"/>
                    <a:pt x="234" y="131"/>
                    <a:pt x="235" y="125"/>
                  </a:cubicBezTo>
                  <a:cubicBezTo>
                    <a:pt x="235" y="122"/>
                    <a:pt x="235" y="120"/>
                    <a:pt x="235" y="117"/>
                  </a:cubicBezTo>
                  <a:cubicBezTo>
                    <a:pt x="235" y="52"/>
                    <a:pt x="182" y="0"/>
                    <a:pt x="118" y="0"/>
                  </a:cubicBezTo>
                  <a:cubicBezTo>
                    <a:pt x="53" y="0"/>
                    <a:pt x="0" y="52"/>
                    <a:pt x="0" y="117"/>
                  </a:cubicBezTo>
                  <a:cubicBezTo>
                    <a:pt x="0" y="124"/>
                    <a:pt x="1" y="130"/>
                    <a:pt x="2" y="137"/>
                  </a:cubicBezTo>
                  <a:cubicBezTo>
                    <a:pt x="3" y="142"/>
                    <a:pt x="7" y="145"/>
                    <a:pt x="12" y="145"/>
                  </a:cubicBezTo>
                  <a:cubicBezTo>
                    <a:pt x="13" y="145"/>
                    <a:pt x="14" y="145"/>
                    <a:pt x="14" y="145"/>
                  </a:cubicBezTo>
                  <a:cubicBezTo>
                    <a:pt x="20" y="144"/>
                    <a:pt x="24" y="139"/>
                    <a:pt x="23" y="1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3" name="Freeform 996">
            <a:extLst>
              <a:ext uri="{FF2B5EF4-FFF2-40B4-BE49-F238E27FC236}">
                <a16:creationId xmlns:a16="http://schemas.microsoft.com/office/drawing/2014/main" id="{2423D662-9A62-4DFF-9C6B-B96C48C48584}"/>
              </a:ext>
            </a:extLst>
          </p:cNvPr>
          <p:cNvSpPr>
            <a:spLocks noChangeAspect="1" noEditPoints="1"/>
          </p:cNvSpPr>
          <p:nvPr/>
        </p:nvSpPr>
        <p:spPr bwMode="auto">
          <a:xfrm>
            <a:off x="469900" y="2536258"/>
            <a:ext cx="367631" cy="367631"/>
          </a:xfrm>
          <a:custGeom>
            <a:avLst/>
            <a:gdLst>
              <a:gd name="T0" fmla="*/ 277 w 512"/>
              <a:gd name="T1" fmla="*/ 165 h 512"/>
              <a:gd name="T2" fmla="*/ 373 w 512"/>
              <a:gd name="T3" fmla="*/ 165 h 512"/>
              <a:gd name="T4" fmla="*/ 341 w 512"/>
              <a:gd name="T5" fmla="*/ 181 h 512"/>
              <a:gd name="T6" fmla="*/ 309 w 512"/>
              <a:gd name="T7" fmla="*/ 170 h 512"/>
              <a:gd name="T8" fmla="*/ 320 w 512"/>
              <a:gd name="T9" fmla="*/ 138 h 512"/>
              <a:gd name="T10" fmla="*/ 330 w 512"/>
              <a:gd name="T11" fmla="*/ 160 h 512"/>
              <a:gd name="T12" fmla="*/ 352 w 512"/>
              <a:gd name="T13" fmla="*/ 170 h 512"/>
              <a:gd name="T14" fmla="*/ 256 w 512"/>
              <a:gd name="T15" fmla="*/ 0 h 512"/>
              <a:gd name="T16" fmla="*/ 256 w 512"/>
              <a:gd name="T17" fmla="*/ 512 h 512"/>
              <a:gd name="T18" fmla="*/ 256 w 512"/>
              <a:gd name="T19" fmla="*/ 0 h 512"/>
              <a:gd name="T20" fmla="*/ 330 w 512"/>
              <a:gd name="T21" fmla="*/ 416 h 512"/>
              <a:gd name="T22" fmla="*/ 322 w 512"/>
              <a:gd name="T23" fmla="*/ 398 h 512"/>
              <a:gd name="T24" fmla="*/ 340 w 512"/>
              <a:gd name="T25" fmla="*/ 288 h 512"/>
              <a:gd name="T26" fmla="*/ 320 w 512"/>
              <a:gd name="T27" fmla="*/ 286 h 512"/>
              <a:gd name="T28" fmla="*/ 309 w 512"/>
              <a:gd name="T29" fmla="*/ 298 h 512"/>
              <a:gd name="T30" fmla="*/ 309 w 512"/>
              <a:gd name="T31" fmla="*/ 298 h 512"/>
              <a:gd name="T32" fmla="*/ 298 w 512"/>
              <a:gd name="T33" fmla="*/ 277 h 512"/>
              <a:gd name="T34" fmla="*/ 277 w 512"/>
              <a:gd name="T35" fmla="*/ 277 h 512"/>
              <a:gd name="T36" fmla="*/ 266 w 512"/>
              <a:gd name="T37" fmla="*/ 298 h 512"/>
              <a:gd name="T38" fmla="*/ 256 w 512"/>
              <a:gd name="T39" fmla="*/ 256 h 512"/>
              <a:gd name="T40" fmla="*/ 234 w 512"/>
              <a:gd name="T41" fmla="*/ 256 h 512"/>
              <a:gd name="T42" fmla="*/ 224 w 512"/>
              <a:gd name="T43" fmla="*/ 298 h 512"/>
              <a:gd name="T44" fmla="*/ 213 w 512"/>
              <a:gd name="T45" fmla="*/ 202 h 512"/>
              <a:gd name="T46" fmla="*/ 192 w 512"/>
              <a:gd name="T47" fmla="*/ 202 h 512"/>
              <a:gd name="T48" fmla="*/ 185 w 512"/>
              <a:gd name="T49" fmla="*/ 340 h 512"/>
              <a:gd name="T50" fmla="*/ 142 w 512"/>
              <a:gd name="T51" fmla="*/ 281 h 512"/>
              <a:gd name="T52" fmla="*/ 128 w 512"/>
              <a:gd name="T53" fmla="*/ 277 h 512"/>
              <a:gd name="T54" fmla="*/ 127 w 512"/>
              <a:gd name="T55" fmla="*/ 295 h 512"/>
              <a:gd name="T56" fmla="*/ 201 w 512"/>
              <a:gd name="T57" fmla="*/ 411 h 512"/>
              <a:gd name="T58" fmla="*/ 186 w 512"/>
              <a:gd name="T59" fmla="*/ 414 h 512"/>
              <a:gd name="T60" fmla="*/ 118 w 512"/>
              <a:gd name="T61" fmla="*/ 258 h 512"/>
              <a:gd name="T62" fmla="*/ 161 w 512"/>
              <a:gd name="T63" fmla="*/ 272 h 512"/>
              <a:gd name="T64" fmla="*/ 170 w 512"/>
              <a:gd name="T65" fmla="*/ 202 h 512"/>
              <a:gd name="T66" fmla="*/ 234 w 512"/>
              <a:gd name="T67" fmla="*/ 202 h 512"/>
              <a:gd name="T68" fmla="*/ 245 w 512"/>
              <a:gd name="T69" fmla="*/ 224 h 512"/>
              <a:gd name="T70" fmla="*/ 288 w 512"/>
              <a:gd name="T71" fmla="*/ 245 h 512"/>
              <a:gd name="T72" fmla="*/ 330 w 512"/>
              <a:gd name="T73" fmla="*/ 256 h 512"/>
              <a:gd name="T74" fmla="*/ 362 w 512"/>
              <a:gd name="T75" fmla="*/ 330 h 512"/>
              <a:gd name="T76" fmla="*/ 325 w 512"/>
              <a:gd name="T77" fmla="*/ 234 h 512"/>
              <a:gd name="T78" fmla="*/ 325 w 512"/>
              <a:gd name="T79" fmla="*/ 96 h 512"/>
              <a:gd name="T80" fmla="*/ 325 w 512"/>
              <a:gd name="T8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25" y="117"/>
                </a:moveTo>
                <a:cubicBezTo>
                  <a:pt x="299" y="117"/>
                  <a:pt x="277" y="139"/>
                  <a:pt x="277" y="165"/>
                </a:cubicBezTo>
                <a:cubicBezTo>
                  <a:pt x="277" y="191"/>
                  <a:pt x="299" y="213"/>
                  <a:pt x="325" y="213"/>
                </a:cubicBezTo>
                <a:cubicBezTo>
                  <a:pt x="351" y="213"/>
                  <a:pt x="373" y="191"/>
                  <a:pt x="373" y="165"/>
                </a:cubicBezTo>
                <a:cubicBezTo>
                  <a:pt x="373" y="139"/>
                  <a:pt x="351" y="117"/>
                  <a:pt x="325" y="117"/>
                </a:cubicBezTo>
                <a:close/>
                <a:moveTo>
                  <a:pt x="341" y="181"/>
                </a:moveTo>
                <a:cubicBezTo>
                  <a:pt x="320" y="181"/>
                  <a:pt x="320" y="181"/>
                  <a:pt x="320" y="181"/>
                </a:cubicBezTo>
                <a:cubicBezTo>
                  <a:pt x="314" y="181"/>
                  <a:pt x="309" y="176"/>
                  <a:pt x="309" y="170"/>
                </a:cubicBezTo>
                <a:cubicBezTo>
                  <a:pt x="309" y="149"/>
                  <a:pt x="309" y="149"/>
                  <a:pt x="309" y="149"/>
                </a:cubicBezTo>
                <a:cubicBezTo>
                  <a:pt x="309" y="143"/>
                  <a:pt x="314" y="138"/>
                  <a:pt x="320" y="138"/>
                </a:cubicBezTo>
                <a:cubicBezTo>
                  <a:pt x="326" y="138"/>
                  <a:pt x="330" y="143"/>
                  <a:pt x="330" y="149"/>
                </a:cubicBezTo>
                <a:cubicBezTo>
                  <a:pt x="330" y="160"/>
                  <a:pt x="330" y="160"/>
                  <a:pt x="330" y="160"/>
                </a:cubicBezTo>
                <a:cubicBezTo>
                  <a:pt x="341" y="160"/>
                  <a:pt x="341" y="160"/>
                  <a:pt x="341" y="160"/>
                </a:cubicBezTo>
                <a:cubicBezTo>
                  <a:pt x="347" y="160"/>
                  <a:pt x="352" y="164"/>
                  <a:pt x="352" y="170"/>
                </a:cubicBezTo>
                <a:cubicBezTo>
                  <a:pt x="352" y="176"/>
                  <a:pt x="347" y="181"/>
                  <a:pt x="341" y="181"/>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8" y="412"/>
                </a:moveTo>
                <a:cubicBezTo>
                  <a:pt x="336" y="414"/>
                  <a:pt x="333" y="416"/>
                  <a:pt x="330" y="416"/>
                </a:cubicBezTo>
                <a:cubicBezTo>
                  <a:pt x="327" y="416"/>
                  <a:pt x="325" y="415"/>
                  <a:pt x="323" y="413"/>
                </a:cubicBezTo>
                <a:cubicBezTo>
                  <a:pt x="319" y="409"/>
                  <a:pt x="318" y="403"/>
                  <a:pt x="322" y="398"/>
                </a:cubicBezTo>
                <a:cubicBezTo>
                  <a:pt x="343" y="373"/>
                  <a:pt x="340" y="332"/>
                  <a:pt x="340" y="331"/>
                </a:cubicBezTo>
                <a:cubicBezTo>
                  <a:pt x="340" y="288"/>
                  <a:pt x="340" y="288"/>
                  <a:pt x="340" y="288"/>
                </a:cubicBezTo>
                <a:cubicBezTo>
                  <a:pt x="340" y="282"/>
                  <a:pt x="336" y="277"/>
                  <a:pt x="330" y="277"/>
                </a:cubicBezTo>
                <a:cubicBezTo>
                  <a:pt x="325" y="277"/>
                  <a:pt x="320" y="281"/>
                  <a:pt x="320" y="286"/>
                </a:cubicBezTo>
                <a:cubicBezTo>
                  <a:pt x="320" y="288"/>
                  <a:pt x="320" y="288"/>
                  <a:pt x="320" y="288"/>
                </a:cubicBezTo>
                <a:cubicBezTo>
                  <a:pt x="320" y="294"/>
                  <a:pt x="315" y="298"/>
                  <a:pt x="309" y="298"/>
                </a:cubicBezTo>
                <a:cubicBezTo>
                  <a:pt x="309" y="298"/>
                  <a:pt x="309" y="298"/>
                  <a:pt x="309" y="298"/>
                </a:cubicBezTo>
                <a:cubicBezTo>
                  <a:pt x="309" y="298"/>
                  <a:pt x="309" y="298"/>
                  <a:pt x="309" y="298"/>
                </a:cubicBezTo>
                <a:cubicBezTo>
                  <a:pt x="303" y="298"/>
                  <a:pt x="298" y="294"/>
                  <a:pt x="298" y="288"/>
                </a:cubicBezTo>
                <a:cubicBezTo>
                  <a:pt x="298" y="277"/>
                  <a:pt x="298" y="277"/>
                  <a:pt x="298" y="277"/>
                </a:cubicBezTo>
                <a:cubicBezTo>
                  <a:pt x="298" y="271"/>
                  <a:pt x="294" y="266"/>
                  <a:pt x="288" y="266"/>
                </a:cubicBezTo>
                <a:cubicBezTo>
                  <a:pt x="282" y="266"/>
                  <a:pt x="277" y="271"/>
                  <a:pt x="277" y="277"/>
                </a:cubicBezTo>
                <a:cubicBezTo>
                  <a:pt x="277" y="288"/>
                  <a:pt x="277" y="288"/>
                  <a:pt x="277" y="288"/>
                </a:cubicBezTo>
                <a:cubicBezTo>
                  <a:pt x="277" y="294"/>
                  <a:pt x="272" y="298"/>
                  <a:pt x="266" y="298"/>
                </a:cubicBezTo>
                <a:cubicBezTo>
                  <a:pt x="260" y="298"/>
                  <a:pt x="256" y="294"/>
                  <a:pt x="256" y="288"/>
                </a:cubicBezTo>
                <a:cubicBezTo>
                  <a:pt x="256" y="256"/>
                  <a:pt x="256" y="256"/>
                  <a:pt x="256" y="256"/>
                </a:cubicBezTo>
                <a:cubicBezTo>
                  <a:pt x="256" y="250"/>
                  <a:pt x="251" y="245"/>
                  <a:pt x="245" y="245"/>
                </a:cubicBezTo>
                <a:cubicBezTo>
                  <a:pt x="239" y="245"/>
                  <a:pt x="234" y="250"/>
                  <a:pt x="234" y="256"/>
                </a:cubicBezTo>
                <a:cubicBezTo>
                  <a:pt x="234" y="288"/>
                  <a:pt x="234" y="288"/>
                  <a:pt x="234" y="288"/>
                </a:cubicBezTo>
                <a:cubicBezTo>
                  <a:pt x="234" y="294"/>
                  <a:pt x="230" y="298"/>
                  <a:pt x="224" y="298"/>
                </a:cubicBezTo>
                <a:cubicBezTo>
                  <a:pt x="218" y="298"/>
                  <a:pt x="213" y="294"/>
                  <a:pt x="213" y="288"/>
                </a:cubicBezTo>
                <a:cubicBezTo>
                  <a:pt x="213" y="202"/>
                  <a:pt x="213" y="202"/>
                  <a:pt x="213" y="202"/>
                </a:cubicBezTo>
                <a:cubicBezTo>
                  <a:pt x="213" y="196"/>
                  <a:pt x="208" y="192"/>
                  <a:pt x="202" y="192"/>
                </a:cubicBezTo>
                <a:cubicBezTo>
                  <a:pt x="196" y="192"/>
                  <a:pt x="192" y="196"/>
                  <a:pt x="192" y="202"/>
                </a:cubicBezTo>
                <a:cubicBezTo>
                  <a:pt x="192" y="330"/>
                  <a:pt x="192" y="330"/>
                  <a:pt x="192" y="330"/>
                </a:cubicBezTo>
                <a:cubicBezTo>
                  <a:pt x="192" y="335"/>
                  <a:pt x="189" y="338"/>
                  <a:pt x="185" y="340"/>
                </a:cubicBezTo>
                <a:cubicBezTo>
                  <a:pt x="182" y="342"/>
                  <a:pt x="177" y="341"/>
                  <a:pt x="174" y="338"/>
                </a:cubicBezTo>
                <a:cubicBezTo>
                  <a:pt x="160" y="326"/>
                  <a:pt x="145" y="288"/>
                  <a:pt x="142" y="281"/>
                </a:cubicBezTo>
                <a:cubicBezTo>
                  <a:pt x="141" y="279"/>
                  <a:pt x="139" y="277"/>
                  <a:pt x="136" y="276"/>
                </a:cubicBezTo>
                <a:cubicBezTo>
                  <a:pt x="133" y="276"/>
                  <a:pt x="130" y="276"/>
                  <a:pt x="128" y="277"/>
                </a:cubicBezTo>
                <a:cubicBezTo>
                  <a:pt x="123" y="279"/>
                  <a:pt x="124" y="288"/>
                  <a:pt x="127" y="294"/>
                </a:cubicBezTo>
                <a:cubicBezTo>
                  <a:pt x="127" y="294"/>
                  <a:pt x="127" y="294"/>
                  <a:pt x="127" y="295"/>
                </a:cubicBezTo>
                <a:cubicBezTo>
                  <a:pt x="127" y="295"/>
                  <a:pt x="154" y="369"/>
                  <a:pt x="197" y="396"/>
                </a:cubicBezTo>
                <a:cubicBezTo>
                  <a:pt x="202" y="399"/>
                  <a:pt x="204" y="406"/>
                  <a:pt x="201" y="411"/>
                </a:cubicBezTo>
                <a:cubicBezTo>
                  <a:pt x="199" y="414"/>
                  <a:pt x="195" y="416"/>
                  <a:pt x="192" y="416"/>
                </a:cubicBezTo>
                <a:cubicBezTo>
                  <a:pt x="190" y="416"/>
                  <a:pt x="188" y="415"/>
                  <a:pt x="186" y="414"/>
                </a:cubicBezTo>
                <a:cubicBezTo>
                  <a:pt x="138" y="384"/>
                  <a:pt x="110" y="310"/>
                  <a:pt x="107" y="303"/>
                </a:cubicBezTo>
                <a:cubicBezTo>
                  <a:pt x="100" y="287"/>
                  <a:pt x="102" y="266"/>
                  <a:pt x="118" y="258"/>
                </a:cubicBezTo>
                <a:cubicBezTo>
                  <a:pt x="126" y="254"/>
                  <a:pt x="134" y="253"/>
                  <a:pt x="143" y="256"/>
                </a:cubicBezTo>
                <a:cubicBezTo>
                  <a:pt x="151" y="259"/>
                  <a:pt x="157" y="265"/>
                  <a:pt x="161" y="272"/>
                </a:cubicBezTo>
                <a:cubicBezTo>
                  <a:pt x="164" y="279"/>
                  <a:pt x="167" y="286"/>
                  <a:pt x="170" y="293"/>
                </a:cubicBezTo>
                <a:cubicBezTo>
                  <a:pt x="170" y="202"/>
                  <a:pt x="170" y="202"/>
                  <a:pt x="170" y="202"/>
                </a:cubicBezTo>
                <a:cubicBezTo>
                  <a:pt x="170" y="185"/>
                  <a:pt x="185" y="170"/>
                  <a:pt x="202" y="170"/>
                </a:cubicBezTo>
                <a:cubicBezTo>
                  <a:pt x="220" y="170"/>
                  <a:pt x="234" y="185"/>
                  <a:pt x="234" y="202"/>
                </a:cubicBezTo>
                <a:cubicBezTo>
                  <a:pt x="234" y="226"/>
                  <a:pt x="234" y="226"/>
                  <a:pt x="234" y="226"/>
                </a:cubicBezTo>
                <a:cubicBezTo>
                  <a:pt x="238" y="224"/>
                  <a:pt x="241" y="224"/>
                  <a:pt x="245" y="224"/>
                </a:cubicBezTo>
                <a:cubicBezTo>
                  <a:pt x="260" y="224"/>
                  <a:pt x="272" y="234"/>
                  <a:pt x="276" y="247"/>
                </a:cubicBezTo>
                <a:cubicBezTo>
                  <a:pt x="279" y="246"/>
                  <a:pt x="283" y="245"/>
                  <a:pt x="288" y="245"/>
                </a:cubicBezTo>
                <a:cubicBezTo>
                  <a:pt x="299" y="245"/>
                  <a:pt x="309" y="251"/>
                  <a:pt x="315" y="260"/>
                </a:cubicBezTo>
                <a:cubicBezTo>
                  <a:pt x="319" y="257"/>
                  <a:pt x="325" y="256"/>
                  <a:pt x="330" y="256"/>
                </a:cubicBezTo>
                <a:cubicBezTo>
                  <a:pt x="348" y="256"/>
                  <a:pt x="362" y="270"/>
                  <a:pt x="362" y="288"/>
                </a:cubicBezTo>
                <a:cubicBezTo>
                  <a:pt x="362" y="330"/>
                  <a:pt x="362" y="330"/>
                  <a:pt x="362" y="330"/>
                </a:cubicBezTo>
                <a:cubicBezTo>
                  <a:pt x="362" y="332"/>
                  <a:pt x="365" y="380"/>
                  <a:pt x="338" y="412"/>
                </a:cubicBezTo>
                <a:close/>
                <a:moveTo>
                  <a:pt x="325" y="234"/>
                </a:moveTo>
                <a:cubicBezTo>
                  <a:pt x="287" y="234"/>
                  <a:pt x="256" y="203"/>
                  <a:pt x="256" y="165"/>
                </a:cubicBezTo>
                <a:cubicBezTo>
                  <a:pt x="256" y="127"/>
                  <a:pt x="287" y="96"/>
                  <a:pt x="325" y="96"/>
                </a:cubicBezTo>
                <a:cubicBezTo>
                  <a:pt x="363" y="96"/>
                  <a:pt x="394" y="127"/>
                  <a:pt x="394" y="165"/>
                </a:cubicBezTo>
                <a:cubicBezTo>
                  <a:pt x="394" y="203"/>
                  <a:pt x="363" y="234"/>
                  <a:pt x="325" y="23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4" name="Group 999">
            <a:extLst>
              <a:ext uri="{FF2B5EF4-FFF2-40B4-BE49-F238E27FC236}">
                <a16:creationId xmlns:a16="http://schemas.microsoft.com/office/drawing/2014/main" id="{2A8497E7-31B7-4CB5-A097-0191C8F9A371}"/>
              </a:ext>
            </a:extLst>
          </p:cNvPr>
          <p:cNvGrpSpPr>
            <a:grpSpLocks noChangeAspect="1"/>
          </p:cNvGrpSpPr>
          <p:nvPr/>
        </p:nvGrpSpPr>
        <p:grpSpPr bwMode="auto">
          <a:xfrm>
            <a:off x="905760" y="2536258"/>
            <a:ext cx="367631" cy="367631"/>
            <a:chOff x="2613" y="4204"/>
            <a:chExt cx="340" cy="340"/>
          </a:xfrm>
          <a:solidFill>
            <a:schemeClr val="accent5"/>
          </a:solidFill>
        </p:grpSpPr>
        <p:sp>
          <p:nvSpPr>
            <p:cNvPr id="185" name="Line 1000">
              <a:extLst>
                <a:ext uri="{FF2B5EF4-FFF2-40B4-BE49-F238E27FC236}">
                  <a16:creationId xmlns:a16="http://schemas.microsoft.com/office/drawing/2014/main" id="{51B73117-5098-4130-822E-F494B746EC2D}"/>
                </a:ext>
              </a:extLst>
            </p:cNvPr>
            <p:cNvSpPr>
              <a:spLocks noChangeShapeType="1"/>
            </p:cNvSpPr>
            <p:nvPr/>
          </p:nvSpPr>
          <p:spPr bwMode="auto">
            <a:xfrm>
              <a:off x="2733" y="4459"/>
              <a:ext cx="0" cy="0"/>
            </a:xfrm>
            <a:prstGeom prst="line">
              <a:avLst/>
            </a:prstGeom>
            <a:grpFill/>
            <a:ln w="222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6" name="Freeform 1001">
              <a:extLst>
                <a:ext uri="{FF2B5EF4-FFF2-40B4-BE49-F238E27FC236}">
                  <a16:creationId xmlns:a16="http://schemas.microsoft.com/office/drawing/2014/main" id="{DEB61A8D-2D83-46C2-AAF2-7898C1D3C791}"/>
                </a:ext>
              </a:extLst>
            </p:cNvPr>
            <p:cNvSpPr>
              <a:spLocks noEditPoints="1"/>
            </p:cNvSpPr>
            <p:nvPr/>
          </p:nvSpPr>
          <p:spPr bwMode="auto">
            <a:xfrm>
              <a:off x="2613" y="42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7" name="Freeform 1002">
              <a:extLst>
                <a:ext uri="{FF2B5EF4-FFF2-40B4-BE49-F238E27FC236}">
                  <a16:creationId xmlns:a16="http://schemas.microsoft.com/office/drawing/2014/main" id="{22CD7844-A6D6-4BB3-BC7F-C02E78BE9143}"/>
                </a:ext>
              </a:extLst>
            </p:cNvPr>
            <p:cNvSpPr>
              <a:spLocks noEditPoints="1"/>
            </p:cNvSpPr>
            <p:nvPr/>
          </p:nvSpPr>
          <p:spPr bwMode="auto">
            <a:xfrm>
              <a:off x="2679" y="4268"/>
              <a:ext cx="196" cy="212"/>
            </a:xfrm>
            <a:custGeom>
              <a:avLst/>
              <a:gdLst>
                <a:gd name="T0" fmla="*/ 238 w 294"/>
                <a:gd name="T1" fmla="*/ 316 h 320"/>
                <a:gd name="T2" fmla="*/ 223 w 294"/>
                <a:gd name="T3" fmla="*/ 317 h 320"/>
                <a:gd name="T4" fmla="*/ 240 w 294"/>
                <a:gd name="T5" fmla="*/ 235 h 320"/>
                <a:gd name="T6" fmla="*/ 230 w 294"/>
                <a:gd name="T7" fmla="*/ 181 h 320"/>
                <a:gd name="T8" fmla="*/ 220 w 294"/>
                <a:gd name="T9" fmla="*/ 192 h 320"/>
                <a:gd name="T10" fmla="*/ 209 w 294"/>
                <a:gd name="T11" fmla="*/ 202 h 320"/>
                <a:gd name="T12" fmla="*/ 198 w 294"/>
                <a:gd name="T13" fmla="*/ 192 h 320"/>
                <a:gd name="T14" fmla="*/ 188 w 294"/>
                <a:gd name="T15" fmla="*/ 170 h 320"/>
                <a:gd name="T16" fmla="*/ 177 w 294"/>
                <a:gd name="T17" fmla="*/ 192 h 320"/>
                <a:gd name="T18" fmla="*/ 156 w 294"/>
                <a:gd name="T19" fmla="*/ 192 h 320"/>
                <a:gd name="T20" fmla="*/ 145 w 294"/>
                <a:gd name="T21" fmla="*/ 149 h 320"/>
                <a:gd name="T22" fmla="*/ 134 w 294"/>
                <a:gd name="T23" fmla="*/ 192 h 320"/>
                <a:gd name="T24" fmla="*/ 113 w 294"/>
                <a:gd name="T25" fmla="*/ 192 h 320"/>
                <a:gd name="T26" fmla="*/ 102 w 294"/>
                <a:gd name="T27" fmla="*/ 96 h 320"/>
                <a:gd name="T28" fmla="*/ 92 w 294"/>
                <a:gd name="T29" fmla="*/ 234 h 320"/>
                <a:gd name="T30" fmla="*/ 74 w 294"/>
                <a:gd name="T31" fmla="*/ 242 h 320"/>
                <a:gd name="T32" fmla="*/ 36 w 294"/>
                <a:gd name="T33" fmla="*/ 180 h 320"/>
                <a:gd name="T34" fmla="*/ 27 w 294"/>
                <a:gd name="T35" fmla="*/ 198 h 320"/>
                <a:gd name="T36" fmla="*/ 97 w 294"/>
                <a:gd name="T37" fmla="*/ 300 h 320"/>
                <a:gd name="T38" fmla="*/ 92 w 294"/>
                <a:gd name="T39" fmla="*/ 320 h 320"/>
                <a:gd name="T40" fmla="*/ 7 w 294"/>
                <a:gd name="T41" fmla="*/ 207 h 320"/>
                <a:gd name="T42" fmla="*/ 43 w 294"/>
                <a:gd name="T43" fmla="*/ 160 h 320"/>
                <a:gd name="T44" fmla="*/ 70 w 294"/>
                <a:gd name="T45" fmla="*/ 197 h 320"/>
                <a:gd name="T46" fmla="*/ 102 w 294"/>
                <a:gd name="T47" fmla="*/ 74 h 320"/>
                <a:gd name="T48" fmla="*/ 134 w 294"/>
                <a:gd name="T49" fmla="*/ 130 h 320"/>
                <a:gd name="T50" fmla="*/ 176 w 294"/>
                <a:gd name="T51" fmla="*/ 151 h 320"/>
                <a:gd name="T52" fmla="*/ 215 w 294"/>
                <a:gd name="T53" fmla="*/ 164 h 320"/>
                <a:gd name="T54" fmla="*/ 262 w 294"/>
                <a:gd name="T55" fmla="*/ 192 h 320"/>
                <a:gd name="T56" fmla="*/ 294 w 294"/>
                <a:gd name="T57" fmla="*/ 69 h 320"/>
                <a:gd name="T58" fmla="*/ 156 w 294"/>
                <a:gd name="T59" fmla="*/ 69 h 320"/>
                <a:gd name="T60" fmla="*/ 294 w 294"/>
                <a:gd name="T61" fmla="*/ 69 h 320"/>
                <a:gd name="T62" fmla="*/ 225 w 294"/>
                <a:gd name="T63" fmla="*/ 21 h 320"/>
                <a:gd name="T64" fmla="*/ 225 w 294"/>
                <a:gd name="T65" fmla="*/ 117 h 320"/>
                <a:gd name="T66" fmla="*/ 241 w 294"/>
                <a:gd name="T67" fmla="*/ 64 h 320"/>
                <a:gd name="T68" fmla="*/ 230 w 294"/>
                <a:gd name="T69" fmla="*/ 53 h 320"/>
                <a:gd name="T70" fmla="*/ 209 w 294"/>
                <a:gd name="T71" fmla="*/ 53 h 320"/>
                <a:gd name="T72" fmla="*/ 220 w 294"/>
                <a:gd name="T73" fmla="*/ 85 h 320"/>
                <a:gd name="T74" fmla="*/ 252 w 294"/>
                <a:gd name="T75" fmla="*/ 7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4" h="320">
                  <a:moveTo>
                    <a:pt x="262" y="234"/>
                  </a:moveTo>
                  <a:cubicBezTo>
                    <a:pt x="262" y="236"/>
                    <a:pt x="265" y="284"/>
                    <a:pt x="238" y="316"/>
                  </a:cubicBezTo>
                  <a:cubicBezTo>
                    <a:pt x="236" y="318"/>
                    <a:pt x="233" y="320"/>
                    <a:pt x="230" y="320"/>
                  </a:cubicBezTo>
                  <a:cubicBezTo>
                    <a:pt x="227" y="320"/>
                    <a:pt x="225" y="319"/>
                    <a:pt x="223" y="317"/>
                  </a:cubicBezTo>
                  <a:cubicBezTo>
                    <a:pt x="219" y="313"/>
                    <a:pt x="218" y="307"/>
                    <a:pt x="222" y="302"/>
                  </a:cubicBezTo>
                  <a:cubicBezTo>
                    <a:pt x="243" y="277"/>
                    <a:pt x="240" y="236"/>
                    <a:pt x="240" y="235"/>
                  </a:cubicBezTo>
                  <a:cubicBezTo>
                    <a:pt x="240" y="192"/>
                    <a:pt x="240" y="192"/>
                    <a:pt x="240" y="192"/>
                  </a:cubicBezTo>
                  <a:cubicBezTo>
                    <a:pt x="240" y="186"/>
                    <a:pt x="236" y="181"/>
                    <a:pt x="230" y="181"/>
                  </a:cubicBezTo>
                  <a:cubicBezTo>
                    <a:pt x="225" y="181"/>
                    <a:pt x="220" y="185"/>
                    <a:pt x="220" y="190"/>
                  </a:cubicBezTo>
                  <a:cubicBezTo>
                    <a:pt x="220" y="192"/>
                    <a:pt x="220" y="192"/>
                    <a:pt x="220" y="192"/>
                  </a:cubicBezTo>
                  <a:cubicBezTo>
                    <a:pt x="220"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4" y="170"/>
                    <a:pt x="188" y="170"/>
                  </a:cubicBezTo>
                  <a:cubicBezTo>
                    <a:pt x="182" y="170"/>
                    <a:pt x="177" y="175"/>
                    <a:pt x="177" y="181"/>
                  </a:cubicBezTo>
                  <a:cubicBezTo>
                    <a:pt x="177" y="192"/>
                    <a:pt x="177" y="192"/>
                    <a:pt x="177" y="192"/>
                  </a:cubicBezTo>
                  <a:cubicBezTo>
                    <a:pt x="177" y="198"/>
                    <a:pt x="172" y="202"/>
                    <a:pt x="166" y="202"/>
                  </a:cubicBezTo>
                  <a:cubicBezTo>
                    <a:pt x="160" y="202"/>
                    <a:pt x="156" y="198"/>
                    <a:pt x="156" y="192"/>
                  </a:cubicBezTo>
                  <a:cubicBezTo>
                    <a:pt x="156" y="160"/>
                    <a:pt x="156" y="160"/>
                    <a:pt x="156" y="160"/>
                  </a:cubicBezTo>
                  <a:cubicBezTo>
                    <a:pt x="156" y="154"/>
                    <a:pt x="151" y="149"/>
                    <a:pt x="145" y="149"/>
                  </a:cubicBezTo>
                  <a:cubicBezTo>
                    <a:pt x="139" y="149"/>
                    <a:pt x="134" y="154"/>
                    <a:pt x="134" y="160"/>
                  </a:cubicBezTo>
                  <a:cubicBezTo>
                    <a:pt x="134" y="192"/>
                    <a:pt x="134" y="192"/>
                    <a:pt x="134" y="192"/>
                  </a:cubicBezTo>
                  <a:cubicBezTo>
                    <a:pt x="134" y="198"/>
                    <a:pt x="130" y="202"/>
                    <a:pt x="124" y="202"/>
                  </a:cubicBezTo>
                  <a:cubicBezTo>
                    <a:pt x="118" y="202"/>
                    <a:pt x="113" y="198"/>
                    <a:pt x="113" y="192"/>
                  </a:cubicBezTo>
                  <a:cubicBezTo>
                    <a:pt x="113" y="106"/>
                    <a:pt x="113" y="106"/>
                    <a:pt x="113" y="106"/>
                  </a:cubicBezTo>
                  <a:cubicBezTo>
                    <a:pt x="113" y="100"/>
                    <a:pt x="108" y="96"/>
                    <a:pt x="102" y="96"/>
                  </a:cubicBezTo>
                  <a:cubicBezTo>
                    <a:pt x="96" y="96"/>
                    <a:pt x="92" y="100"/>
                    <a:pt x="92" y="106"/>
                  </a:cubicBezTo>
                  <a:cubicBezTo>
                    <a:pt x="92" y="234"/>
                    <a:pt x="92" y="234"/>
                    <a:pt x="92" y="234"/>
                  </a:cubicBezTo>
                  <a:cubicBezTo>
                    <a:pt x="92" y="239"/>
                    <a:pt x="89" y="242"/>
                    <a:pt x="85" y="244"/>
                  </a:cubicBezTo>
                  <a:cubicBezTo>
                    <a:pt x="82" y="246"/>
                    <a:pt x="77" y="245"/>
                    <a:pt x="74" y="242"/>
                  </a:cubicBezTo>
                  <a:cubicBezTo>
                    <a:pt x="60" y="230"/>
                    <a:pt x="45" y="192"/>
                    <a:pt x="42" y="185"/>
                  </a:cubicBezTo>
                  <a:cubicBezTo>
                    <a:pt x="41" y="183"/>
                    <a:pt x="39" y="181"/>
                    <a:pt x="36" y="180"/>
                  </a:cubicBezTo>
                  <a:cubicBezTo>
                    <a:pt x="33" y="180"/>
                    <a:pt x="30" y="180"/>
                    <a:pt x="28" y="181"/>
                  </a:cubicBezTo>
                  <a:cubicBezTo>
                    <a:pt x="23" y="183"/>
                    <a:pt x="24" y="192"/>
                    <a:pt x="27" y="198"/>
                  </a:cubicBezTo>
                  <a:cubicBezTo>
                    <a:pt x="27" y="198"/>
                    <a:pt x="27" y="198"/>
                    <a:pt x="27" y="199"/>
                  </a:cubicBezTo>
                  <a:cubicBezTo>
                    <a:pt x="27" y="199"/>
                    <a:pt x="54" y="273"/>
                    <a:pt x="97" y="300"/>
                  </a:cubicBezTo>
                  <a:cubicBezTo>
                    <a:pt x="102" y="303"/>
                    <a:pt x="104" y="310"/>
                    <a:pt x="101" y="315"/>
                  </a:cubicBezTo>
                  <a:cubicBezTo>
                    <a:pt x="99" y="318"/>
                    <a:pt x="95" y="320"/>
                    <a:pt x="92" y="320"/>
                  </a:cubicBezTo>
                  <a:cubicBezTo>
                    <a:pt x="90" y="320"/>
                    <a:pt x="88" y="319"/>
                    <a:pt x="86" y="318"/>
                  </a:cubicBezTo>
                  <a:cubicBezTo>
                    <a:pt x="38" y="288"/>
                    <a:pt x="10" y="214"/>
                    <a:pt x="7" y="207"/>
                  </a:cubicBezTo>
                  <a:cubicBezTo>
                    <a:pt x="0" y="191"/>
                    <a:pt x="2" y="170"/>
                    <a:pt x="18" y="162"/>
                  </a:cubicBezTo>
                  <a:cubicBezTo>
                    <a:pt x="26" y="158"/>
                    <a:pt x="34" y="157"/>
                    <a:pt x="43" y="160"/>
                  </a:cubicBezTo>
                  <a:cubicBezTo>
                    <a:pt x="51" y="163"/>
                    <a:pt x="57" y="169"/>
                    <a:pt x="61" y="176"/>
                  </a:cubicBezTo>
                  <a:cubicBezTo>
                    <a:pt x="64" y="183"/>
                    <a:pt x="67" y="190"/>
                    <a:pt x="70" y="197"/>
                  </a:cubicBezTo>
                  <a:cubicBezTo>
                    <a:pt x="70" y="106"/>
                    <a:pt x="70" y="106"/>
                    <a:pt x="70" y="106"/>
                  </a:cubicBezTo>
                  <a:cubicBezTo>
                    <a:pt x="70" y="89"/>
                    <a:pt x="85" y="74"/>
                    <a:pt x="102" y="74"/>
                  </a:cubicBezTo>
                  <a:cubicBezTo>
                    <a:pt x="120" y="74"/>
                    <a:pt x="134" y="89"/>
                    <a:pt x="134" y="106"/>
                  </a:cubicBezTo>
                  <a:cubicBezTo>
                    <a:pt x="134" y="130"/>
                    <a:pt x="134" y="130"/>
                    <a:pt x="134" y="130"/>
                  </a:cubicBezTo>
                  <a:cubicBezTo>
                    <a:pt x="138" y="128"/>
                    <a:pt x="141" y="128"/>
                    <a:pt x="145" y="128"/>
                  </a:cubicBezTo>
                  <a:cubicBezTo>
                    <a:pt x="160" y="128"/>
                    <a:pt x="172" y="138"/>
                    <a:pt x="176" y="151"/>
                  </a:cubicBezTo>
                  <a:cubicBezTo>
                    <a:pt x="179" y="150"/>
                    <a:pt x="183" y="149"/>
                    <a:pt x="188" y="149"/>
                  </a:cubicBezTo>
                  <a:cubicBezTo>
                    <a:pt x="199" y="149"/>
                    <a:pt x="209" y="155"/>
                    <a:pt x="215" y="164"/>
                  </a:cubicBezTo>
                  <a:cubicBezTo>
                    <a:pt x="219" y="161"/>
                    <a:pt x="225" y="160"/>
                    <a:pt x="230" y="160"/>
                  </a:cubicBezTo>
                  <a:cubicBezTo>
                    <a:pt x="248" y="160"/>
                    <a:pt x="262" y="174"/>
                    <a:pt x="262" y="192"/>
                  </a:cubicBezTo>
                  <a:lnTo>
                    <a:pt x="262" y="234"/>
                  </a:lnTo>
                  <a:close/>
                  <a:moveTo>
                    <a:pt x="294" y="69"/>
                  </a:moveTo>
                  <a:cubicBezTo>
                    <a:pt x="294" y="107"/>
                    <a:pt x="263" y="138"/>
                    <a:pt x="225" y="138"/>
                  </a:cubicBezTo>
                  <a:cubicBezTo>
                    <a:pt x="187" y="138"/>
                    <a:pt x="156" y="107"/>
                    <a:pt x="156" y="69"/>
                  </a:cubicBezTo>
                  <a:cubicBezTo>
                    <a:pt x="156" y="31"/>
                    <a:pt x="187" y="0"/>
                    <a:pt x="225" y="0"/>
                  </a:cubicBezTo>
                  <a:cubicBezTo>
                    <a:pt x="263" y="0"/>
                    <a:pt x="294" y="31"/>
                    <a:pt x="294" y="69"/>
                  </a:cubicBezTo>
                  <a:close/>
                  <a:moveTo>
                    <a:pt x="273" y="69"/>
                  </a:moveTo>
                  <a:cubicBezTo>
                    <a:pt x="273" y="43"/>
                    <a:pt x="251" y="21"/>
                    <a:pt x="225" y="21"/>
                  </a:cubicBezTo>
                  <a:cubicBezTo>
                    <a:pt x="199" y="21"/>
                    <a:pt x="177" y="43"/>
                    <a:pt x="177" y="69"/>
                  </a:cubicBezTo>
                  <a:cubicBezTo>
                    <a:pt x="177" y="95"/>
                    <a:pt x="199" y="117"/>
                    <a:pt x="225" y="117"/>
                  </a:cubicBezTo>
                  <a:cubicBezTo>
                    <a:pt x="251" y="117"/>
                    <a:pt x="273" y="95"/>
                    <a:pt x="273" y="69"/>
                  </a:cubicBezTo>
                  <a:close/>
                  <a:moveTo>
                    <a:pt x="241" y="64"/>
                  </a:moveTo>
                  <a:cubicBezTo>
                    <a:pt x="230" y="64"/>
                    <a:pt x="230" y="64"/>
                    <a:pt x="230" y="64"/>
                  </a:cubicBezTo>
                  <a:cubicBezTo>
                    <a:pt x="230" y="53"/>
                    <a:pt x="230" y="53"/>
                    <a:pt x="230" y="53"/>
                  </a:cubicBezTo>
                  <a:cubicBezTo>
                    <a:pt x="230" y="47"/>
                    <a:pt x="226" y="42"/>
                    <a:pt x="220" y="42"/>
                  </a:cubicBezTo>
                  <a:cubicBezTo>
                    <a:pt x="214" y="42"/>
                    <a:pt x="209" y="47"/>
                    <a:pt x="209" y="53"/>
                  </a:cubicBezTo>
                  <a:cubicBezTo>
                    <a:pt x="209" y="74"/>
                    <a:pt x="209" y="74"/>
                    <a:pt x="209" y="74"/>
                  </a:cubicBezTo>
                  <a:cubicBezTo>
                    <a:pt x="209" y="80"/>
                    <a:pt x="214" y="85"/>
                    <a:pt x="220" y="85"/>
                  </a:cubicBezTo>
                  <a:cubicBezTo>
                    <a:pt x="241" y="85"/>
                    <a:pt x="241" y="85"/>
                    <a:pt x="241" y="85"/>
                  </a:cubicBezTo>
                  <a:cubicBezTo>
                    <a:pt x="247" y="85"/>
                    <a:pt x="252" y="80"/>
                    <a:pt x="252" y="74"/>
                  </a:cubicBezTo>
                  <a:cubicBezTo>
                    <a:pt x="252" y="68"/>
                    <a:pt x="247" y="64"/>
                    <a:pt x="2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8" name="Freeform 1006">
            <a:extLst>
              <a:ext uri="{FF2B5EF4-FFF2-40B4-BE49-F238E27FC236}">
                <a16:creationId xmlns:a16="http://schemas.microsoft.com/office/drawing/2014/main" id="{FB660865-7FE3-4CB1-B0AA-1A6DED44C609}"/>
              </a:ext>
            </a:extLst>
          </p:cNvPr>
          <p:cNvSpPr>
            <a:spLocks noChangeAspect="1" noEditPoints="1"/>
          </p:cNvSpPr>
          <p:nvPr/>
        </p:nvSpPr>
        <p:spPr bwMode="auto">
          <a:xfrm>
            <a:off x="1341620" y="2536258"/>
            <a:ext cx="367631" cy="367631"/>
          </a:xfrm>
          <a:custGeom>
            <a:avLst/>
            <a:gdLst>
              <a:gd name="T0" fmla="*/ 0 w 512"/>
              <a:gd name="T1" fmla="*/ 256 h 512"/>
              <a:gd name="T2" fmla="*/ 512 w 512"/>
              <a:gd name="T3" fmla="*/ 256 h 512"/>
              <a:gd name="T4" fmla="*/ 328 w 512"/>
              <a:gd name="T5" fmla="*/ 412 h 512"/>
              <a:gd name="T6" fmla="*/ 312 w 512"/>
              <a:gd name="T7" fmla="*/ 413 h 512"/>
              <a:gd name="T8" fmla="*/ 330 w 512"/>
              <a:gd name="T9" fmla="*/ 331 h 512"/>
              <a:gd name="T10" fmla="*/ 319 w 512"/>
              <a:gd name="T11" fmla="*/ 277 h 512"/>
              <a:gd name="T12" fmla="*/ 309 w 512"/>
              <a:gd name="T13" fmla="*/ 288 h 512"/>
              <a:gd name="T14" fmla="*/ 298 w 512"/>
              <a:gd name="T15" fmla="*/ 298 h 512"/>
              <a:gd name="T16" fmla="*/ 288 w 512"/>
              <a:gd name="T17" fmla="*/ 288 h 512"/>
              <a:gd name="T18" fmla="*/ 277 w 512"/>
              <a:gd name="T19" fmla="*/ 266 h 512"/>
              <a:gd name="T20" fmla="*/ 266 w 512"/>
              <a:gd name="T21" fmla="*/ 288 h 512"/>
              <a:gd name="T22" fmla="*/ 245 w 512"/>
              <a:gd name="T23" fmla="*/ 288 h 512"/>
              <a:gd name="T24" fmla="*/ 234 w 512"/>
              <a:gd name="T25" fmla="*/ 245 h 512"/>
              <a:gd name="T26" fmla="*/ 224 w 512"/>
              <a:gd name="T27" fmla="*/ 288 h 512"/>
              <a:gd name="T28" fmla="*/ 202 w 512"/>
              <a:gd name="T29" fmla="*/ 288 h 512"/>
              <a:gd name="T30" fmla="*/ 192 w 512"/>
              <a:gd name="T31" fmla="*/ 192 h 512"/>
              <a:gd name="T32" fmla="*/ 181 w 512"/>
              <a:gd name="T33" fmla="*/ 330 h 512"/>
              <a:gd name="T34" fmla="*/ 163 w 512"/>
              <a:gd name="T35" fmla="*/ 338 h 512"/>
              <a:gd name="T36" fmla="*/ 125 w 512"/>
              <a:gd name="T37" fmla="*/ 276 h 512"/>
              <a:gd name="T38" fmla="*/ 116 w 512"/>
              <a:gd name="T39" fmla="*/ 294 h 512"/>
              <a:gd name="T40" fmla="*/ 187 w 512"/>
              <a:gd name="T41" fmla="*/ 396 h 512"/>
              <a:gd name="T42" fmla="*/ 181 w 512"/>
              <a:gd name="T43" fmla="*/ 416 h 512"/>
              <a:gd name="T44" fmla="*/ 96 w 512"/>
              <a:gd name="T45" fmla="*/ 303 h 512"/>
              <a:gd name="T46" fmla="*/ 132 w 512"/>
              <a:gd name="T47" fmla="*/ 256 h 512"/>
              <a:gd name="T48" fmla="*/ 160 w 512"/>
              <a:gd name="T49" fmla="*/ 293 h 512"/>
              <a:gd name="T50" fmla="*/ 192 w 512"/>
              <a:gd name="T51" fmla="*/ 170 h 512"/>
              <a:gd name="T52" fmla="*/ 224 w 512"/>
              <a:gd name="T53" fmla="*/ 226 h 512"/>
              <a:gd name="T54" fmla="*/ 265 w 512"/>
              <a:gd name="T55" fmla="*/ 247 h 512"/>
              <a:gd name="T56" fmla="*/ 304 w 512"/>
              <a:gd name="T57" fmla="*/ 260 h 512"/>
              <a:gd name="T58" fmla="*/ 352 w 512"/>
              <a:gd name="T59" fmla="*/ 288 h 512"/>
              <a:gd name="T60" fmla="*/ 328 w 512"/>
              <a:gd name="T61" fmla="*/ 412 h 512"/>
              <a:gd name="T62" fmla="*/ 391 w 512"/>
              <a:gd name="T63" fmla="*/ 199 h 512"/>
              <a:gd name="T64" fmla="*/ 376 w 512"/>
              <a:gd name="T65" fmla="*/ 199 h 512"/>
              <a:gd name="T66" fmla="*/ 379 w 512"/>
              <a:gd name="T67" fmla="*/ 181 h 512"/>
              <a:gd name="T68" fmla="*/ 352 w 512"/>
              <a:gd name="T69" fmla="*/ 209 h 512"/>
              <a:gd name="T70" fmla="*/ 370 w 512"/>
              <a:gd name="T71" fmla="*/ 205 h 512"/>
              <a:gd name="T72" fmla="*/ 349 w 512"/>
              <a:gd name="T73" fmla="*/ 242 h 512"/>
              <a:gd name="T74" fmla="*/ 333 w 512"/>
              <a:gd name="T75" fmla="*/ 242 h 512"/>
              <a:gd name="T76" fmla="*/ 312 w 512"/>
              <a:gd name="T77" fmla="*/ 205 h 512"/>
              <a:gd name="T78" fmla="*/ 330 w 512"/>
              <a:gd name="T79" fmla="*/ 209 h 512"/>
              <a:gd name="T80" fmla="*/ 303 w 512"/>
              <a:gd name="T81" fmla="*/ 181 h 512"/>
              <a:gd name="T82" fmla="*/ 306 w 512"/>
              <a:gd name="T83" fmla="*/ 199 h 512"/>
              <a:gd name="T84" fmla="*/ 291 w 512"/>
              <a:gd name="T85" fmla="*/ 199 h 512"/>
              <a:gd name="T86" fmla="*/ 269 w 512"/>
              <a:gd name="T87" fmla="*/ 163 h 512"/>
              <a:gd name="T88" fmla="*/ 306 w 512"/>
              <a:gd name="T89" fmla="*/ 141 h 512"/>
              <a:gd name="T90" fmla="*/ 303 w 512"/>
              <a:gd name="T91" fmla="*/ 160 h 512"/>
              <a:gd name="T92" fmla="*/ 330 w 512"/>
              <a:gd name="T93" fmla="*/ 132 h 512"/>
              <a:gd name="T94" fmla="*/ 320 w 512"/>
              <a:gd name="T95" fmla="*/ 138 h 512"/>
              <a:gd name="T96" fmla="*/ 312 w 512"/>
              <a:gd name="T97" fmla="*/ 120 h 512"/>
              <a:gd name="T98" fmla="*/ 349 w 512"/>
              <a:gd name="T99" fmla="*/ 99 h 512"/>
              <a:gd name="T100" fmla="*/ 370 w 512"/>
              <a:gd name="T101" fmla="*/ 135 h 512"/>
              <a:gd name="T102" fmla="*/ 355 w 512"/>
              <a:gd name="T103" fmla="*/ 135 h 512"/>
              <a:gd name="T104" fmla="*/ 352 w 512"/>
              <a:gd name="T105" fmla="*/ 160 h 512"/>
              <a:gd name="T106" fmla="*/ 376 w 512"/>
              <a:gd name="T107" fmla="*/ 157 h 512"/>
              <a:gd name="T108" fmla="*/ 391 w 512"/>
              <a:gd name="T109" fmla="*/ 141 h 512"/>
              <a:gd name="T110" fmla="*/ 413 w 512"/>
              <a:gd name="T111"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8" y="412"/>
                </a:moveTo>
                <a:cubicBezTo>
                  <a:pt x="326" y="414"/>
                  <a:pt x="322" y="416"/>
                  <a:pt x="319" y="416"/>
                </a:cubicBezTo>
                <a:cubicBezTo>
                  <a:pt x="317" y="416"/>
                  <a:pt x="314" y="415"/>
                  <a:pt x="312" y="413"/>
                </a:cubicBezTo>
                <a:cubicBezTo>
                  <a:pt x="308" y="409"/>
                  <a:pt x="307" y="403"/>
                  <a:pt x="311" y="398"/>
                </a:cubicBezTo>
                <a:cubicBezTo>
                  <a:pt x="333" y="373"/>
                  <a:pt x="330" y="332"/>
                  <a:pt x="330" y="331"/>
                </a:cubicBezTo>
                <a:cubicBezTo>
                  <a:pt x="330" y="288"/>
                  <a:pt x="330" y="288"/>
                  <a:pt x="330" y="288"/>
                </a:cubicBezTo>
                <a:cubicBezTo>
                  <a:pt x="330" y="282"/>
                  <a:pt x="325" y="277"/>
                  <a:pt x="319" y="277"/>
                </a:cubicBezTo>
                <a:cubicBezTo>
                  <a:pt x="314" y="277"/>
                  <a:pt x="310" y="281"/>
                  <a:pt x="309" y="286"/>
                </a:cubicBezTo>
                <a:cubicBezTo>
                  <a:pt x="309" y="288"/>
                  <a:pt x="309" y="288"/>
                  <a:pt x="309" y="288"/>
                </a:cubicBezTo>
                <a:cubicBezTo>
                  <a:pt x="309" y="294"/>
                  <a:pt x="304" y="298"/>
                  <a:pt x="298" y="298"/>
                </a:cubicBezTo>
                <a:cubicBezTo>
                  <a:pt x="298" y="298"/>
                  <a:pt x="298" y="298"/>
                  <a:pt x="298" y="298"/>
                </a:cubicBezTo>
                <a:cubicBezTo>
                  <a:pt x="298" y="298"/>
                  <a:pt x="298" y="298"/>
                  <a:pt x="298" y="298"/>
                </a:cubicBezTo>
                <a:cubicBezTo>
                  <a:pt x="292" y="298"/>
                  <a:pt x="288" y="294"/>
                  <a:pt x="288" y="288"/>
                </a:cubicBezTo>
                <a:cubicBezTo>
                  <a:pt x="288" y="277"/>
                  <a:pt x="288" y="277"/>
                  <a:pt x="288" y="277"/>
                </a:cubicBezTo>
                <a:cubicBezTo>
                  <a:pt x="288" y="271"/>
                  <a:pt x="283" y="266"/>
                  <a:pt x="277" y="266"/>
                </a:cubicBezTo>
                <a:cubicBezTo>
                  <a:pt x="271" y="266"/>
                  <a:pt x="266" y="271"/>
                  <a:pt x="266" y="277"/>
                </a:cubicBezTo>
                <a:cubicBezTo>
                  <a:pt x="266" y="288"/>
                  <a:pt x="266" y="288"/>
                  <a:pt x="266" y="288"/>
                </a:cubicBezTo>
                <a:cubicBezTo>
                  <a:pt x="266" y="294"/>
                  <a:pt x="262" y="298"/>
                  <a:pt x="256" y="298"/>
                </a:cubicBezTo>
                <a:cubicBezTo>
                  <a:pt x="250" y="298"/>
                  <a:pt x="245" y="294"/>
                  <a:pt x="245" y="288"/>
                </a:cubicBezTo>
                <a:cubicBezTo>
                  <a:pt x="245" y="256"/>
                  <a:pt x="245" y="256"/>
                  <a:pt x="245" y="256"/>
                </a:cubicBezTo>
                <a:cubicBezTo>
                  <a:pt x="245" y="250"/>
                  <a:pt x="240" y="245"/>
                  <a:pt x="234" y="245"/>
                </a:cubicBezTo>
                <a:cubicBezTo>
                  <a:pt x="228" y="245"/>
                  <a:pt x="224" y="250"/>
                  <a:pt x="224" y="256"/>
                </a:cubicBezTo>
                <a:cubicBezTo>
                  <a:pt x="224" y="288"/>
                  <a:pt x="224" y="288"/>
                  <a:pt x="224" y="288"/>
                </a:cubicBezTo>
                <a:cubicBezTo>
                  <a:pt x="224" y="294"/>
                  <a:pt x="219" y="298"/>
                  <a:pt x="213" y="298"/>
                </a:cubicBezTo>
                <a:cubicBezTo>
                  <a:pt x="207" y="298"/>
                  <a:pt x="202" y="294"/>
                  <a:pt x="202" y="288"/>
                </a:cubicBezTo>
                <a:cubicBezTo>
                  <a:pt x="202" y="202"/>
                  <a:pt x="202" y="202"/>
                  <a:pt x="202" y="202"/>
                </a:cubicBezTo>
                <a:cubicBezTo>
                  <a:pt x="202" y="196"/>
                  <a:pt x="198" y="192"/>
                  <a:pt x="192" y="192"/>
                </a:cubicBezTo>
                <a:cubicBezTo>
                  <a:pt x="186" y="192"/>
                  <a:pt x="181" y="196"/>
                  <a:pt x="181" y="202"/>
                </a:cubicBezTo>
                <a:cubicBezTo>
                  <a:pt x="181" y="330"/>
                  <a:pt x="181" y="330"/>
                  <a:pt x="181" y="330"/>
                </a:cubicBezTo>
                <a:cubicBezTo>
                  <a:pt x="181" y="335"/>
                  <a:pt x="179" y="338"/>
                  <a:pt x="175" y="340"/>
                </a:cubicBezTo>
                <a:cubicBezTo>
                  <a:pt x="171" y="342"/>
                  <a:pt x="167" y="341"/>
                  <a:pt x="163" y="338"/>
                </a:cubicBezTo>
                <a:cubicBezTo>
                  <a:pt x="149" y="326"/>
                  <a:pt x="134" y="288"/>
                  <a:pt x="131" y="281"/>
                </a:cubicBezTo>
                <a:cubicBezTo>
                  <a:pt x="130" y="279"/>
                  <a:pt x="128" y="277"/>
                  <a:pt x="125" y="276"/>
                </a:cubicBezTo>
                <a:cubicBezTo>
                  <a:pt x="122" y="276"/>
                  <a:pt x="120" y="276"/>
                  <a:pt x="117" y="277"/>
                </a:cubicBezTo>
                <a:cubicBezTo>
                  <a:pt x="113" y="279"/>
                  <a:pt x="113" y="288"/>
                  <a:pt x="116" y="294"/>
                </a:cubicBezTo>
                <a:cubicBezTo>
                  <a:pt x="116" y="294"/>
                  <a:pt x="116" y="294"/>
                  <a:pt x="116" y="295"/>
                </a:cubicBezTo>
                <a:cubicBezTo>
                  <a:pt x="117" y="295"/>
                  <a:pt x="143" y="369"/>
                  <a:pt x="187" y="396"/>
                </a:cubicBezTo>
                <a:cubicBezTo>
                  <a:pt x="192" y="399"/>
                  <a:pt x="193" y="406"/>
                  <a:pt x="190" y="411"/>
                </a:cubicBezTo>
                <a:cubicBezTo>
                  <a:pt x="188" y="414"/>
                  <a:pt x="185" y="416"/>
                  <a:pt x="181" y="416"/>
                </a:cubicBezTo>
                <a:cubicBezTo>
                  <a:pt x="179" y="416"/>
                  <a:pt x="177" y="415"/>
                  <a:pt x="175" y="414"/>
                </a:cubicBezTo>
                <a:cubicBezTo>
                  <a:pt x="127" y="384"/>
                  <a:pt x="99" y="310"/>
                  <a:pt x="96" y="303"/>
                </a:cubicBezTo>
                <a:cubicBezTo>
                  <a:pt x="89" y="287"/>
                  <a:pt x="91" y="266"/>
                  <a:pt x="107" y="258"/>
                </a:cubicBezTo>
                <a:cubicBezTo>
                  <a:pt x="115" y="254"/>
                  <a:pt x="124" y="253"/>
                  <a:pt x="132" y="256"/>
                </a:cubicBezTo>
                <a:cubicBezTo>
                  <a:pt x="140" y="259"/>
                  <a:pt x="147" y="265"/>
                  <a:pt x="150" y="272"/>
                </a:cubicBezTo>
                <a:cubicBezTo>
                  <a:pt x="153" y="279"/>
                  <a:pt x="156" y="286"/>
                  <a:pt x="160" y="293"/>
                </a:cubicBezTo>
                <a:cubicBezTo>
                  <a:pt x="160" y="202"/>
                  <a:pt x="160" y="202"/>
                  <a:pt x="160" y="202"/>
                </a:cubicBezTo>
                <a:cubicBezTo>
                  <a:pt x="160" y="185"/>
                  <a:pt x="174" y="170"/>
                  <a:pt x="192" y="170"/>
                </a:cubicBezTo>
                <a:cubicBezTo>
                  <a:pt x="209" y="170"/>
                  <a:pt x="224" y="185"/>
                  <a:pt x="224" y="202"/>
                </a:cubicBezTo>
                <a:cubicBezTo>
                  <a:pt x="224" y="226"/>
                  <a:pt x="224" y="226"/>
                  <a:pt x="224" y="226"/>
                </a:cubicBezTo>
                <a:cubicBezTo>
                  <a:pt x="227" y="224"/>
                  <a:pt x="231" y="224"/>
                  <a:pt x="234" y="224"/>
                </a:cubicBezTo>
                <a:cubicBezTo>
                  <a:pt x="249" y="224"/>
                  <a:pt x="261" y="234"/>
                  <a:pt x="265" y="247"/>
                </a:cubicBezTo>
                <a:cubicBezTo>
                  <a:pt x="269" y="246"/>
                  <a:pt x="273" y="245"/>
                  <a:pt x="277" y="245"/>
                </a:cubicBezTo>
                <a:cubicBezTo>
                  <a:pt x="288" y="245"/>
                  <a:pt x="298" y="251"/>
                  <a:pt x="304" y="260"/>
                </a:cubicBezTo>
                <a:cubicBezTo>
                  <a:pt x="309" y="257"/>
                  <a:pt x="314" y="256"/>
                  <a:pt x="320" y="256"/>
                </a:cubicBezTo>
                <a:cubicBezTo>
                  <a:pt x="337" y="256"/>
                  <a:pt x="352" y="270"/>
                  <a:pt x="352" y="288"/>
                </a:cubicBezTo>
                <a:cubicBezTo>
                  <a:pt x="352" y="330"/>
                  <a:pt x="352" y="330"/>
                  <a:pt x="352" y="330"/>
                </a:cubicBezTo>
                <a:cubicBezTo>
                  <a:pt x="352" y="332"/>
                  <a:pt x="355" y="380"/>
                  <a:pt x="328" y="412"/>
                </a:cubicBezTo>
                <a:close/>
                <a:moveTo>
                  <a:pt x="413" y="178"/>
                </a:moveTo>
                <a:cubicBezTo>
                  <a:pt x="391" y="199"/>
                  <a:pt x="391" y="199"/>
                  <a:pt x="391" y="199"/>
                </a:cubicBezTo>
                <a:cubicBezTo>
                  <a:pt x="389" y="201"/>
                  <a:pt x="386" y="202"/>
                  <a:pt x="384" y="202"/>
                </a:cubicBezTo>
                <a:cubicBezTo>
                  <a:pt x="381" y="202"/>
                  <a:pt x="378" y="201"/>
                  <a:pt x="376" y="199"/>
                </a:cubicBezTo>
                <a:cubicBezTo>
                  <a:pt x="372" y="195"/>
                  <a:pt x="372" y="188"/>
                  <a:pt x="376" y="184"/>
                </a:cubicBezTo>
                <a:cubicBezTo>
                  <a:pt x="379" y="181"/>
                  <a:pt x="379" y="181"/>
                  <a:pt x="379" y="181"/>
                </a:cubicBezTo>
                <a:cubicBezTo>
                  <a:pt x="352" y="181"/>
                  <a:pt x="352" y="181"/>
                  <a:pt x="352" y="181"/>
                </a:cubicBezTo>
                <a:cubicBezTo>
                  <a:pt x="352" y="209"/>
                  <a:pt x="352" y="209"/>
                  <a:pt x="352" y="209"/>
                </a:cubicBezTo>
                <a:cubicBezTo>
                  <a:pt x="355" y="205"/>
                  <a:pt x="355" y="205"/>
                  <a:pt x="355" y="205"/>
                </a:cubicBezTo>
                <a:cubicBezTo>
                  <a:pt x="359" y="201"/>
                  <a:pt x="366" y="201"/>
                  <a:pt x="370" y="205"/>
                </a:cubicBezTo>
                <a:cubicBezTo>
                  <a:pt x="374" y="210"/>
                  <a:pt x="374" y="216"/>
                  <a:pt x="370" y="221"/>
                </a:cubicBezTo>
                <a:cubicBezTo>
                  <a:pt x="349" y="242"/>
                  <a:pt x="349" y="242"/>
                  <a:pt x="349" y="242"/>
                </a:cubicBezTo>
                <a:cubicBezTo>
                  <a:pt x="346" y="244"/>
                  <a:pt x="344" y="245"/>
                  <a:pt x="341" y="245"/>
                </a:cubicBezTo>
                <a:cubicBezTo>
                  <a:pt x="338" y="245"/>
                  <a:pt x="336" y="244"/>
                  <a:pt x="333" y="242"/>
                </a:cubicBezTo>
                <a:cubicBezTo>
                  <a:pt x="312" y="221"/>
                  <a:pt x="312" y="221"/>
                  <a:pt x="312" y="221"/>
                </a:cubicBezTo>
                <a:cubicBezTo>
                  <a:pt x="308" y="216"/>
                  <a:pt x="308" y="210"/>
                  <a:pt x="312" y="205"/>
                </a:cubicBezTo>
                <a:cubicBezTo>
                  <a:pt x="316" y="201"/>
                  <a:pt x="323" y="201"/>
                  <a:pt x="327" y="205"/>
                </a:cubicBezTo>
                <a:cubicBezTo>
                  <a:pt x="330" y="209"/>
                  <a:pt x="330" y="209"/>
                  <a:pt x="330" y="209"/>
                </a:cubicBezTo>
                <a:cubicBezTo>
                  <a:pt x="330" y="181"/>
                  <a:pt x="330" y="181"/>
                  <a:pt x="330" y="181"/>
                </a:cubicBezTo>
                <a:cubicBezTo>
                  <a:pt x="303" y="181"/>
                  <a:pt x="303" y="181"/>
                  <a:pt x="303" y="181"/>
                </a:cubicBezTo>
                <a:cubicBezTo>
                  <a:pt x="306" y="184"/>
                  <a:pt x="306" y="184"/>
                  <a:pt x="306" y="184"/>
                </a:cubicBezTo>
                <a:cubicBezTo>
                  <a:pt x="310" y="188"/>
                  <a:pt x="310" y="195"/>
                  <a:pt x="306" y="199"/>
                </a:cubicBezTo>
                <a:cubicBezTo>
                  <a:pt x="304" y="201"/>
                  <a:pt x="301" y="202"/>
                  <a:pt x="298" y="202"/>
                </a:cubicBezTo>
                <a:cubicBezTo>
                  <a:pt x="296" y="202"/>
                  <a:pt x="293" y="201"/>
                  <a:pt x="291" y="199"/>
                </a:cubicBezTo>
                <a:cubicBezTo>
                  <a:pt x="269" y="178"/>
                  <a:pt x="269" y="178"/>
                  <a:pt x="269" y="178"/>
                </a:cubicBezTo>
                <a:cubicBezTo>
                  <a:pt x="265" y="174"/>
                  <a:pt x="265" y="167"/>
                  <a:pt x="269" y="163"/>
                </a:cubicBezTo>
                <a:cubicBezTo>
                  <a:pt x="291" y="141"/>
                  <a:pt x="291" y="141"/>
                  <a:pt x="291" y="141"/>
                </a:cubicBezTo>
                <a:cubicBezTo>
                  <a:pt x="295" y="137"/>
                  <a:pt x="302" y="137"/>
                  <a:pt x="306" y="141"/>
                </a:cubicBezTo>
                <a:cubicBezTo>
                  <a:pt x="310" y="146"/>
                  <a:pt x="310" y="152"/>
                  <a:pt x="306" y="157"/>
                </a:cubicBezTo>
                <a:cubicBezTo>
                  <a:pt x="303" y="160"/>
                  <a:pt x="303" y="160"/>
                  <a:pt x="303" y="160"/>
                </a:cubicBezTo>
                <a:cubicBezTo>
                  <a:pt x="330" y="160"/>
                  <a:pt x="330" y="160"/>
                  <a:pt x="330" y="160"/>
                </a:cubicBezTo>
                <a:cubicBezTo>
                  <a:pt x="330" y="132"/>
                  <a:pt x="330" y="132"/>
                  <a:pt x="330" y="132"/>
                </a:cubicBezTo>
                <a:cubicBezTo>
                  <a:pt x="327" y="135"/>
                  <a:pt x="327" y="135"/>
                  <a:pt x="327" y="135"/>
                </a:cubicBezTo>
                <a:cubicBezTo>
                  <a:pt x="325" y="137"/>
                  <a:pt x="322" y="138"/>
                  <a:pt x="320" y="138"/>
                </a:cubicBezTo>
                <a:cubicBezTo>
                  <a:pt x="317" y="138"/>
                  <a:pt x="314" y="137"/>
                  <a:pt x="312" y="135"/>
                </a:cubicBezTo>
                <a:cubicBezTo>
                  <a:pt x="308" y="131"/>
                  <a:pt x="308" y="124"/>
                  <a:pt x="312" y="120"/>
                </a:cubicBezTo>
                <a:cubicBezTo>
                  <a:pt x="333" y="99"/>
                  <a:pt x="333" y="99"/>
                  <a:pt x="333" y="99"/>
                </a:cubicBezTo>
                <a:cubicBezTo>
                  <a:pt x="338" y="95"/>
                  <a:pt x="344" y="95"/>
                  <a:pt x="349" y="99"/>
                </a:cubicBezTo>
                <a:cubicBezTo>
                  <a:pt x="370" y="120"/>
                  <a:pt x="370" y="120"/>
                  <a:pt x="370" y="120"/>
                </a:cubicBezTo>
                <a:cubicBezTo>
                  <a:pt x="374" y="124"/>
                  <a:pt x="374" y="131"/>
                  <a:pt x="370" y="135"/>
                </a:cubicBezTo>
                <a:cubicBezTo>
                  <a:pt x="368" y="137"/>
                  <a:pt x="365" y="138"/>
                  <a:pt x="362" y="138"/>
                </a:cubicBezTo>
                <a:cubicBezTo>
                  <a:pt x="360" y="138"/>
                  <a:pt x="357" y="137"/>
                  <a:pt x="355" y="135"/>
                </a:cubicBezTo>
                <a:cubicBezTo>
                  <a:pt x="352" y="132"/>
                  <a:pt x="352" y="132"/>
                  <a:pt x="352" y="132"/>
                </a:cubicBezTo>
                <a:cubicBezTo>
                  <a:pt x="352" y="160"/>
                  <a:pt x="352" y="160"/>
                  <a:pt x="352" y="160"/>
                </a:cubicBezTo>
                <a:cubicBezTo>
                  <a:pt x="379" y="160"/>
                  <a:pt x="379" y="160"/>
                  <a:pt x="379" y="160"/>
                </a:cubicBezTo>
                <a:cubicBezTo>
                  <a:pt x="376" y="157"/>
                  <a:pt x="376" y="157"/>
                  <a:pt x="376" y="157"/>
                </a:cubicBezTo>
                <a:cubicBezTo>
                  <a:pt x="372" y="152"/>
                  <a:pt x="372" y="146"/>
                  <a:pt x="376" y="141"/>
                </a:cubicBezTo>
                <a:cubicBezTo>
                  <a:pt x="380" y="137"/>
                  <a:pt x="387" y="137"/>
                  <a:pt x="391" y="141"/>
                </a:cubicBezTo>
                <a:cubicBezTo>
                  <a:pt x="413" y="163"/>
                  <a:pt x="413" y="163"/>
                  <a:pt x="413" y="163"/>
                </a:cubicBezTo>
                <a:cubicBezTo>
                  <a:pt x="417" y="167"/>
                  <a:pt x="417" y="174"/>
                  <a:pt x="413" y="17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9" name="Group 1009">
            <a:extLst>
              <a:ext uri="{FF2B5EF4-FFF2-40B4-BE49-F238E27FC236}">
                <a16:creationId xmlns:a16="http://schemas.microsoft.com/office/drawing/2014/main" id="{72EFE505-DAC3-472F-89C2-9B349A99C5A1}"/>
              </a:ext>
            </a:extLst>
          </p:cNvPr>
          <p:cNvGrpSpPr>
            <a:grpSpLocks noChangeAspect="1"/>
          </p:cNvGrpSpPr>
          <p:nvPr/>
        </p:nvGrpSpPr>
        <p:grpSpPr bwMode="auto">
          <a:xfrm>
            <a:off x="1777480" y="2536258"/>
            <a:ext cx="367631" cy="368713"/>
            <a:chOff x="3277" y="4342"/>
            <a:chExt cx="340" cy="341"/>
          </a:xfrm>
          <a:solidFill>
            <a:schemeClr val="accent5"/>
          </a:solidFill>
        </p:grpSpPr>
        <p:sp>
          <p:nvSpPr>
            <p:cNvPr id="190" name="Line 1010">
              <a:extLst>
                <a:ext uri="{FF2B5EF4-FFF2-40B4-BE49-F238E27FC236}">
                  <a16:creationId xmlns:a16="http://schemas.microsoft.com/office/drawing/2014/main" id="{D040AC09-C88B-4347-8F4B-221E958473BE}"/>
                </a:ext>
              </a:extLst>
            </p:cNvPr>
            <p:cNvSpPr>
              <a:spLocks noChangeShapeType="1"/>
            </p:cNvSpPr>
            <p:nvPr/>
          </p:nvSpPr>
          <p:spPr bwMode="auto">
            <a:xfrm>
              <a:off x="3432" y="4399"/>
              <a:ext cx="0" cy="0"/>
            </a:xfrm>
            <a:prstGeom prst="line">
              <a:avLst/>
            </a:prstGeom>
            <a:grpFill/>
            <a:ln w="222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1" name="Line 1011">
              <a:extLst>
                <a:ext uri="{FF2B5EF4-FFF2-40B4-BE49-F238E27FC236}">
                  <a16:creationId xmlns:a16="http://schemas.microsoft.com/office/drawing/2014/main" id="{777E9809-499E-4F1B-BFE6-884D50614CA4}"/>
                </a:ext>
              </a:extLst>
            </p:cNvPr>
            <p:cNvSpPr>
              <a:spLocks noChangeShapeType="1"/>
            </p:cNvSpPr>
            <p:nvPr/>
          </p:nvSpPr>
          <p:spPr bwMode="auto">
            <a:xfrm>
              <a:off x="3397" y="4598"/>
              <a:ext cx="0" cy="0"/>
            </a:xfrm>
            <a:prstGeom prst="line">
              <a:avLst/>
            </a:prstGeom>
            <a:grpFill/>
            <a:ln w="222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2" name="Freeform 1012">
              <a:extLst>
                <a:ext uri="{FF2B5EF4-FFF2-40B4-BE49-F238E27FC236}">
                  <a16:creationId xmlns:a16="http://schemas.microsoft.com/office/drawing/2014/main" id="{1914F914-7C15-4651-AF91-E3EE0BB7AADE}"/>
                </a:ext>
              </a:extLst>
            </p:cNvPr>
            <p:cNvSpPr>
              <a:spLocks noEditPoints="1"/>
            </p:cNvSpPr>
            <p:nvPr/>
          </p:nvSpPr>
          <p:spPr bwMode="auto">
            <a:xfrm>
              <a:off x="3336" y="4405"/>
              <a:ext cx="218" cy="214"/>
            </a:xfrm>
            <a:custGeom>
              <a:avLst/>
              <a:gdLst>
                <a:gd name="T0" fmla="*/ 302 w 328"/>
                <a:gd name="T1" fmla="*/ 104 h 321"/>
                <a:gd name="T2" fmla="*/ 287 w 328"/>
                <a:gd name="T3" fmla="*/ 104 h 321"/>
                <a:gd name="T4" fmla="*/ 290 w 328"/>
                <a:gd name="T5" fmla="*/ 86 h 321"/>
                <a:gd name="T6" fmla="*/ 263 w 328"/>
                <a:gd name="T7" fmla="*/ 114 h 321"/>
                <a:gd name="T8" fmla="*/ 281 w 328"/>
                <a:gd name="T9" fmla="*/ 110 h 321"/>
                <a:gd name="T10" fmla="*/ 260 w 328"/>
                <a:gd name="T11" fmla="*/ 147 h 321"/>
                <a:gd name="T12" fmla="*/ 244 w 328"/>
                <a:gd name="T13" fmla="*/ 147 h 321"/>
                <a:gd name="T14" fmla="*/ 223 w 328"/>
                <a:gd name="T15" fmla="*/ 110 h 321"/>
                <a:gd name="T16" fmla="*/ 241 w 328"/>
                <a:gd name="T17" fmla="*/ 114 h 321"/>
                <a:gd name="T18" fmla="*/ 214 w 328"/>
                <a:gd name="T19" fmla="*/ 86 h 321"/>
                <a:gd name="T20" fmla="*/ 217 w 328"/>
                <a:gd name="T21" fmla="*/ 104 h 321"/>
                <a:gd name="T22" fmla="*/ 202 w 328"/>
                <a:gd name="T23" fmla="*/ 104 h 321"/>
                <a:gd name="T24" fmla="*/ 180 w 328"/>
                <a:gd name="T25" fmla="*/ 68 h 321"/>
                <a:gd name="T26" fmla="*/ 217 w 328"/>
                <a:gd name="T27" fmla="*/ 46 h 321"/>
                <a:gd name="T28" fmla="*/ 214 w 328"/>
                <a:gd name="T29" fmla="*/ 65 h 321"/>
                <a:gd name="T30" fmla="*/ 241 w 328"/>
                <a:gd name="T31" fmla="*/ 37 h 321"/>
                <a:gd name="T32" fmla="*/ 231 w 328"/>
                <a:gd name="T33" fmla="*/ 43 h 321"/>
                <a:gd name="T34" fmla="*/ 223 w 328"/>
                <a:gd name="T35" fmla="*/ 25 h 321"/>
                <a:gd name="T36" fmla="*/ 260 w 328"/>
                <a:gd name="T37" fmla="*/ 4 h 321"/>
                <a:gd name="T38" fmla="*/ 281 w 328"/>
                <a:gd name="T39" fmla="*/ 40 h 321"/>
                <a:gd name="T40" fmla="*/ 266 w 328"/>
                <a:gd name="T41" fmla="*/ 40 h 321"/>
                <a:gd name="T42" fmla="*/ 263 w 328"/>
                <a:gd name="T43" fmla="*/ 65 h 321"/>
                <a:gd name="T44" fmla="*/ 287 w 328"/>
                <a:gd name="T45" fmla="*/ 62 h 321"/>
                <a:gd name="T46" fmla="*/ 302 w 328"/>
                <a:gd name="T47" fmla="*/ 46 h 321"/>
                <a:gd name="T48" fmla="*/ 324 w 328"/>
                <a:gd name="T49" fmla="*/ 83 h 321"/>
                <a:gd name="T50" fmla="*/ 231 w 328"/>
                <a:gd name="T51" fmla="*/ 161 h 321"/>
                <a:gd name="T52" fmla="*/ 188 w 328"/>
                <a:gd name="T53" fmla="*/ 150 h 321"/>
                <a:gd name="T54" fmla="*/ 145 w 328"/>
                <a:gd name="T55" fmla="*/ 129 h 321"/>
                <a:gd name="T56" fmla="*/ 135 w 328"/>
                <a:gd name="T57" fmla="*/ 107 h 321"/>
                <a:gd name="T58" fmla="*/ 71 w 328"/>
                <a:gd name="T59" fmla="*/ 107 h 321"/>
                <a:gd name="T60" fmla="*/ 61 w 328"/>
                <a:gd name="T61" fmla="*/ 177 h 321"/>
                <a:gd name="T62" fmla="*/ 18 w 328"/>
                <a:gd name="T63" fmla="*/ 163 h 321"/>
                <a:gd name="T64" fmla="*/ 86 w 328"/>
                <a:gd name="T65" fmla="*/ 319 h 321"/>
                <a:gd name="T66" fmla="*/ 101 w 328"/>
                <a:gd name="T67" fmla="*/ 316 h 321"/>
                <a:gd name="T68" fmla="*/ 27 w 328"/>
                <a:gd name="T69" fmla="*/ 200 h 321"/>
                <a:gd name="T70" fmla="*/ 28 w 328"/>
                <a:gd name="T71" fmla="*/ 182 h 321"/>
                <a:gd name="T72" fmla="*/ 42 w 328"/>
                <a:gd name="T73" fmla="*/ 186 h 321"/>
                <a:gd name="T74" fmla="*/ 86 w 328"/>
                <a:gd name="T75" fmla="*/ 245 h 321"/>
                <a:gd name="T76" fmla="*/ 92 w 328"/>
                <a:gd name="T77" fmla="*/ 107 h 321"/>
                <a:gd name="T78" fmla="*/ 113 w 328"/>
                <a:gd name="T79" fmla="*/ 107 h 321"/>
                <a:gd name="T80" fmla="*/ 124 w 328"/>
                <a:gd name="T81" fmla="*/ 203 h 321"/>
                <a:gd name="T82" fmla="*/ 135 w 328"/>
                <a:gd name="T83" fmla="*/ 161 h 321"/>
                <a:gd name="T84" fmla="*/ 156 w 328"/>
                <a:gd name="T85" fmla="*/ 161 h 321"/>
                <a:gd name="T86" fmla="*/ 167 w 328"/>
                <a:gd name="T87" fmla="*/ 203 h 321"/>
                <a:gd name="T88" fmla="*/ 177 w 328"/>
                <a:gd name="T89" fmla="*/ 182 h 321"/>
                <a:gd name="T90" fmla="*/ 199 w 328"/>
                <a:gd name="T91" fmla="*/ 182 h 321"/>
                <a:gd name="T92" fmla="*/ 209 w 328"/>
                <a:gd name="T93" fmla="*/ 203 h 321"/>
                <a:gd name="T94" fmla="*/ 209 w 328"/>
                <a:gd name="T95" fmla="*/ 203 h 321"/>
                <a:gd name="T96" fmla="*/ 220 w 328"/>
                <a:gd name="T97" fmla="*/ 191 h 321"/>
                <a:gd name="T98" fmla="*/ 241 w 328"/>
                <a:gd name="T99" fmla="*/ 193 h 321"/>
                <a:gd name="T100" fmla="*/ 222 w 328"/>
                <a:gd name="T101" fmla="*/ 303 h 321"/>
                <a:gd name="T102" fmla="*/ 230 w 328"/>
                <a:gd name="T103" fmla="*/ 321 h 321"/>
                <a:gd name="T104" fmla="*/ 263 w 328"/>
                <a:gd name="T10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8" h="321">
                  <a:moveTo>
                    <a:pt x="324" y="83"/>
                  </a:moveTo>
                  <a:cubicBezTo>
                    <a:pt x="302" y="104"/>
                    <a:pt x="302" y="104"/>
                    <a:pt x="302" y="104"/>
                  </a:cubicBezTo>
                  <a:cubicBezTo>
                    <a:pt x="300" y="106"/>
                    <a:pt x="297" y="107"/>
                    <a:pt x="295" y="107"/>
                  </a:cubicBezTo>
                  <a:cubicBezTo>
                    <a:pt x="292" y="107"/>
                    <a:pt x="289" y="106"/>
                    <a:pt x="287" y="104"/>
                  </a:cubicBezTo>
                  <a:cubicBezTo>
                    <a:pt x="283" y="100"/>
                    <a:pt x="283" y="93"/>
                    <a:pt x="287" y="89"/>
                  </a:cubicBezTo>
                  <a:cubicBezTo>
                    <a:pt x="290" y="86"/>
                    <a:pt x="290" y="86"/>
                    <a:pt x="290" y="86"/>
                  </a:cubicBezTo>
                  <a:cubicBezTo>
                    <a:pt x="263" y="86"/>
                    <a:pt x="263" y="86"/>
                    <a:pt x="263" y="86"/>
                  </a:cubicBezTo>
                  <a:cubicBezTo>
                    <a:pt x="263" y="114"/>
                    <a:pt x="263" y="114"/>
                    <a:pt x="263" y="114"/>
                  </a:cubicBezTo>
                  <a:cubicBezTo>
                    <a:pt x="266" y="110"/>
                    <a:pt x="266" y="110"/>
                    <a:pt x="266" y="110"/>
                  </a:cubicBezTo>
                  <a:cubicBezTo>
                    <a:pt x="270" y="106"/>
                    <a:pt x="277" y="106"/>
                    <a:pt x="281" y="110"/>
                  </a:cubicBezTo>
                  <a:cubicBezTo>
                    <a:pt x="285" y="115"/>
                    <a:pt x="285" y="121"/>
                    <a:pt x="281" y="126"/>
                  </a:cubicBezTo>
                  <a:cubicBezTo>
                    <a:pt x="260" y="147"/>
                    <a:pt x="260" y="147"/>
                    <a:pt x="260" y="147"/>
                  </a:cubicBezTo>
                  <a:cubicBezTo>
                    <a:pt x="257" y="149"/>
                    <a:pt x="255" y="150"/>
                    <a:pt x="252" y="150"/>
                  </a:cubicBezTo>
                  <a:cubicBezTo>
                    <a:pt x="249" y="150"/>
                    <a:pt x="247" y="149"/>
                    <a:pt x="244" y="147"/>
                  </a:cubicBezTo>
                  <a:cubicBezTo>
                    <a:pt x="223" y="126"/>
                    <a:pt x="223" y="126"/>
                    <a:pt x="223" y="126"/>
                  </a:cubicBezTo>
                  <a:cubicBezTo>
                    <a:pt x="219" y="121"/>
                    <a:pt x="219" y="115"/>
                    <a:pt x="223" y="110"/>
                  </a:cubicBezTo>
                  <a:cubicBezTo>
                    <a:pt x="227" y="106"/>
                    <a:pt x="234" y="106"/>
                    <a:pt x="238" y="110"/>
                  </a:cubicBezTo>
                  <a:cubicBezTo>
                    <a:pt x="241" y="114"/>
                    <a:pt x="241" y="114"/>
                    <a:pt x="241" y="114"/>
                  </a:cubicBezTo>
                  <a:cubicBezTo>
                    <a:pt x="241" y="86"/>
                    <a:pt x="241" y="86"/>
                    <a:pt x="241" y="86"/>
                  </a:cubicBezTo>
                  <a:cubicBezTo>
                    <a:pt x="214" y="86"/>
                    <a:pt x="214" y="86"/>
                    <a:pt x="214" y="86"/>
                  </a:cubicBezTo>
                  <a:cubicBezTo>
                    <a:pt x="217" y="89"/>
                    <a:pt x="217" y="89"/>
                    <a:pt x="217" y="89"/>
                  </a:cubicBezTo>
                  <a:cubicBezTo>
                    <a:pt x="221" y="93"/>
                    <a:pt x="221" y="100"/>
                    <a:pt x="217" y="104"/>
                  </a:cubicBezTo>
                  <a:cubicBezTo>
                    <a:pt x="215" y="106"/>
                    <a:pt x="212" y="107"/>
                    <a:pt x="209" y="107"/>
                  </a:cubicBezTo>
                  <a:cubicBezTo>
                    <a:pt x="207" y="107"/>
                    <a:pt x="204" y="106"/>
                    <a:pt x="202" y="104"/>
                  </a:cubicBezTo>
                  <a:cubicBezTo>
                    <a:pt x="180" y="83"/>
                    <a:pt x="180" y="83"/>
                    <a:pt x="180" y="83"/>
                  </a:cubicBezTo>
                  <a:cubicBezTo>
                    <a:pt x="176" y="79"/>
                    <a:pt x="176" y="72"/>
                    <a:pt x="180" y="68"/>
                  </a:cubicBezTo>
                  <a:cubicBezTo>
                    <a:pt x="202" y="46"/>
                    <a:pt x="202" y="46"/>
                    <a:pt x="202" y="46"/>
                  </a:cubicBezTo>
                  <a:cubicBezTo>
                    <a:pt x="206" y="42"/>
                    <a:pt x="213" y="42"/>
                    <a:pt x="217" y="46"/>
                  </a:cubicBezTo>
                  <a:cubicBezTo>
                    <a:pt x="221" y="51"/>
                    <a:pt x="221" y="57"/>
                    <a:pt x="217" y="62"/>
                  </a:cubicBezTo>
                  <a:cubicBezTo>
                    <a:pt x="214" y="65"/>
                    <a:pt x="214" y="65"/>
                    <a:pt x="214" y="65"/>
                  </a:cubicBezTo>
                  <a:cubicBezTo>
                    <a:pt x="241" y="65"/>
                    <a:pt x="241" y="65"/>
                    <a:pt x="241" y="65"/>
                  </a:cubicBezTo>
                  <a:cubicBezTo>
                    <a:pt x="241" y="37"/>
                    <a:pt x="241" y="37"/>
                    <a:pt x="241" y="37"/>
                  </a:cubicBezTo>
                  <a:cubicBezTo>
                    <a:pt x="238" y="40"/>
                    <a:pt x="238" y="40"/>
                    <a:pt x="238" y="40"/>
                  </a:cubicBezTo>
                  <a:cubicBezTo>
                    <a:pt x="236" y="42"/>
                    <a:pt x="233" y="43"/>
                    <a:pt x="231" y="43"/>
                  </a:cubicBezTo>
                  <a:cubicBezTo>
                    <a:pt x="228" y="43"/>
                    <a:pt x="225" y="42"/>
                    <a:pt x="223" y="40"/>
                  </a:cubicBezTo>
                  <a:cubicBezTo>
                    <a:pt x="219" y="36"/>
                    <a:pt x="219" y="29"/>
                    <a:pt x="223" y="25"/>
                  </a:cubicBezTo>
                  <a:cubicBezTo>
                    <a:pt x="244" y="4"/>
                    <a:pt x="244" y="4"/>
                    <a:pt x="244" y="4"/>
                  </a:cubicBezTo>
                  <a:cubicBezTo>
                    <a:pt x="249" y="0"/>
                    <a:pt x="255" y="0"/>
                    <a:pt x="260" y="4"/>
                  </a:cubicBezTo>
                  <a:cubicBezTo>
                    <a:pt x="281" y="25"/>
                    <a:pt x="281" y="25"/>
                    <a:pt x="281" y="25"/>
                  </a:cubicBezTo>
                  <a:cubicBezTo>
                    <a:pt x="285" y="29"/>
                    <a:pt x="285" y="36"/>
                    <a:pt x="281" y="40"/>
                  </a:cubicBezTo>
                  <a:cubicBezTo>
                    <a:pt x="279" y="42"/>
                    <a:pt x="276" y="43"/>
                    <a:pt x="273" y="43"/>
                  </a:cubicBezTo>
                  <a:cubicBezTo>
                    <a:pt x="271" y="43"/>
                    <a:pt x="268" y="42"/>
                    <a:pt x="266" y="40"/>
                  </a:cubicBezTo>
                  <a:cubicBezTo>
                    <a:pt x="263" y="37"/>
                    <a:pt x="263" y="37"/>
                    <a:pt x="263" y="37"/>
                  </a:cubicBezTo>
                  <a:cubicBezTo>
                    <a:pt x="263" y="65"/>
                    <a:pt x="263" y="65"/>
                    <a:pt x="263" y="65"/>
                  </a:cubicBezTo>
                  <a:cubicBezTo>
                    <a:pt x="290" y="65"/>
                    <a:pt x="290" y="65"/>
                    <a:pt x="290" y="65"/>
                  </a:cubicBezTo>
                  <a:cubicBezTo>
                    <a:pt x="287" y="62"/>
                    <a:pt x="287" y="62"/>
                    <a:pt x="287" y="62"/>
                  </a:cubicBezTo>
                  <a:cubicBezTo>
                    <a:pt x="283" y="57"/>
                    <a:pt x="283" y="51"/>
                    <a:pt x="287" y="46"/>
                  </a:cubicBezTo>
                  <a:cubicBezTo>
                    <a:pt x="291" y="42"/>
                    <a:pt x="298" y="42"/>
                    <a:pt x="302" y="46"/>
                  </a:cubicBezTo>
                  <a:cubicBezTo>
                    <a:pt x="324" y="68"/>
                    <a:pt x="324" y="68"/>
                    <a:pt x="324" y="68"/>
                  </a:cubicBezTo>
                  <a:cubicBezTo>
                    <a:pt x="328" y="72"/>
                    <a:pt x="328" y="79"/>
                    <a:pt x="324" y="83"/>
                  </a:cubicBezTo>
                  <a:close/>
                  <a:moveTo>
                    <a:pt x="263" y="193"/>
                  </a:moveTo>
                  <a:cubicBezTo>
                    <a:pt x="263" y="175"/>
                    <a:pt x="248" y="161"/>
                    <a:pt x="231" y="161"/>
                  </a:cubicBezTo>
                  <a:cubicBezTo>
                    <a:pt x="225" y="161"/>
                    <a:pt x="220" y="162"/>
                    <a:pt x="215" y="165"/>
                  </a:cubicBezTo>
                  <a:cubicBezTo>
                    <a:pt x="209" y="156"/>
                    <a:pt x="199" y="150"/>
                    <a:pt x="188" y="150"/>
                  </a:cubicBezTo>
                  <a:cubicBezTo>
                    <a:pt x="184" y="150"/>
                    <a:pt x="180" y="151"/>
                    <a:pt x="176" y="152"/>
                  </a:cubicBezTo>
                  <a:cubicBezTo>
                    <a:pt x="172" y="139"/>
                    <a:pt x="160" y="129"/>
                    <a:pt x="145" y="129"/>
                  </a:cubicBezTo>
                  <a:cubicBezTo>
                    <a:pt x="142" y="129"/>
                    <a:pt x="138" y="129"/>
                    <a:pt x="135" y="131"/>
                  </a:cubicBezTo>
                  <a:cubicBezTo>
                    <a:pt x="135" y="107"/>
                    <a:pt x="135" y="107"/>
                    <a:pt x="135" y="107"/>
                  </a:cubicBezTo>
                  <a:cubicBezTo>
                    <a:pt x="135" y="90"/>
                    <a:pt x="120" y="75"/>
                    <a:pt x="103" y="75"/>
                  </a:cubicBezTo>
                  <a:cubicBezTo>
                    <a:pt x="85" y="75"/>
                    <a:pt x="71" y="90"/>
                    <a:pt x="71" y="107"/>
                  </a:cubicBezTo>
                  <a:cubicBezTo>
                    <a:pt x="71" y="198"/>
                    <a:pt x="71" y="198"/>
                    <a:pt x="71" y="198"/>
                  </a:cubicBezTo>
                  <a:cubicBezTo>
                    <a:pt x="67" y="191"/>
                    <a:pt x="64" y="184"/>
                    <a:pt x="61" y="177"/>
                  </a:cubicBezTo>
                  <a:cubicBezTo>
                    <a:pt x="58" y="170"/>
                    <a:pt x="51" y="164"/>
                    <a:pt x="43" y="161"/>
                  </a:cubicBezTo>
                  <a:cubicBezTo>
                    <a:pt x="35" y="158"/>
                    <a:pt x="26" y="159"/>
                    <a:pt x="18" y="163"/>
                  </a:cubicBezTo>
                  <a:cubicBezTo>
                    <a:pt x="2" y="171"/>
                    <a:pt x="0" y="192"/>
                    <a:pt x="7" y="208"/>
                  </a:cubicBezTo>
                  <a:cubicBezTo>
                    <a:pt x="10" y="215"/>
                    <a:pt x="38" y="289"/>
                    <a:pt x="86" y="319"/>
                  </a:cubicBezTo>
                  <a:cubicBezTo>
                    <a:pt x="88" y="320"/>
                    <a:pt x="90" y="321"/>
                    <a:pt x="92" y="321"/>
                  </a:cubicBezTo>
                  <a:cubicBezTo>
                    <a:pt x="96" y="321"/>
                    <a:pt x="99" y="319"/>
                    <a:pt x="101" y="316"/>
                  </a:cubicBezTo>
                  <a:cubicBezTo>
                    <a:pt x="104" y="311"/>
                    <a:pt x="103" y="304"/>
                    <a:pt x="98" y="301"/>
                  </a:cubicBezTo>
                  <a:cubicBezTo>
                    <a:pt x="54" y="274"/>
                    <a:pt x="28" y="200"/>
                    <a:pt x="27" y="200"/>
                  </a:cubicBezTo>
                  <a:cubicBezTo>
                    <a:pt x="27" y="199"/>
                    <a:pt x="27" y="199"/>
                    <a:pt x="27" y="199"/>
                  </a:cubicBezTo>
                  <a:cubicBezTo>
                    <a:pt x="24" y="193"/>
                    <a:pt x="24" y="184"/>
                    <a:pt x="28" y="182"/>
                  </a:cubicBezTo>
                  <a:cubicBezTo>
                    <a:pt x="31" y="181"/>
                    <a:pt x="33" y="181"/>
                    <a:pt x="36" y="181"/>
                  </a:cubicBezTo>
                  <a:cubicBezTo>
                    <a:pt x="39" y="182"/>
                    <a:pt x="41" y="184"/>
                    <a:pt x="42" y="186"/>
                  </a:cubicBezTo>
                  <a:cubicBezTo>
                    <a:pt x="45" y="193"/>
                    <a:pt x="60" y="231"/>
                    <a:pt x="74" y="243"/>
                  </a:cubicBezTo>
                  <a:cubicBezTo>
                    <a:pt x="78" y="246"/>
                    <a:pt x="82" y="247"/>
                    <a:pt x="86" y="245"/>
                  </a:cubicBezTo>
                  <a:cubicBezTo>
                    <a:pt x="90" y="243"/>
                    <a:pt x="92" y="240"/>
                    <a:pt x="92" y="235"/>
                  </a:cubicBezTo>
                  <a:cubicBezTo>
                    <a:pt x="92" y="107"/>
                    <a:pt x="92" y="107"/>
                    <a:pt x="92" y="107"/>
                  </a:cubicBezTo>
                  <a:cubicBezTo>
                    <a:pt x="92" y="101"/>
                    <a:pt x="97" y="97"/>
                    <a:pt x="103" y="97"/>
                  </a:cubicBezTo>
                  <a:cubicBezTo>
                    <a:pt x="109" y="97"/>
                    <a:pt x="113" y="101"/>
                    <a:pt x="113" y="107"/>
                  </a:cubicBezTo>
                  <a:cubicBezTo>
                    <a:pt x="113" y="193"/>
                    <a:pt x="113" y="193"/>
                    <a:pt x="113" y="193"/>
                  </a:cubicBezTo>
                  <a:cubicBezTo>
                    <a:pt x="113" y="199"/>
                    <a:pt x="118" y="203"/>
                    <a:pt x="124" y="203"/>
                  </a:cubicBezTo>
                  <a:cubicBezTo>
                    <a:pt x="130" y="203"/>
                    <a:pt x="135" y="199"/>
                    <a:pt x="135" y="193"/>
                  </a:cubicBezTo>
                  <a:cubicBezTo>
                    <a:pt x="135" y="161"/>
                    <a:pt x="135" y="161"/>
                    <a:pt x="135" y="161"/>
                  </a:cubicBezTo>
                  <a:cubicBezTo>
                    <a:pt x="135" y="155"/>
                    <a:pt x="139" y="150"/>
                    <a:pt x="145" y="150"/>
                  </a:cubicBezTo>
                  <a:cubicBezTo>
                    <a:pt x="151" y="150"/>
                    <a:pt x="156" y="155"/>
                    <a:pt x="156" y="161"/>
                  </a:cubicBezTo>
                  <a:cubicBezTo>
                    <a:pt x="156" y="193"/>
                    <a:pt x="156" y="193"/>
                    <a:pt x="156" y="193"/>
                  </a:cubicBezTo>
                  <a:cubicBezTo>
                    <a:pt x="156" y="199"/>
                    <a:pt x="161" y="203"/>
                    <a:pt x="167" y="203"/>
                  </a:cubicBezTo>
                  <a:cubicBezTo>
                    <a:pt x="173" y="203"/>
                    <a:pt x="177" y="199"/>
                    <a:pt x="177" y="193"/>
                  </a:cubicBezTo>
                  <a:cubicBezTo>
                    <a:pt x="177" y="182"/>
                    <a:pt x="177" y="182"/>
                    <a:pt x="177" y="182"/>
                  </a:cubicBezTo>
                  <a:cubicBezTo>
                    <a:pt x="177" y="176"/>
                    <a:pt x="182" y="171"/>
                    <a:pt x="188" y="171"/>
                  </a:cubicBezTo>
                  <a:cubicBezTo>
                    <a:pt x="194" y="171"/>
                    <a:pt x="199" y="176"/>
                    <a:pt x="199" y="182"/>
                  </a:cubicBezTo>
                  <a:cubicBezTo>
                    <a:pt x="199" y="193"/>
                    <a:pt x="199" y="193"/>
                    <a:pt x="199" y="193"/>
                  </a:cubicBezTo>
                  <a:cubicBezTo>
                    <a:pt x="199" y="199"/>
                    <a:pt x="203" y="203"/>
                    <a:pt x="209" y="203"/>
                  </a:cubicBezTo>
                  <a:cubicBezTo>
                    <a:pt x="209" y="203"/>
                    <a:pt x="209" y="203"/>
                    <a:pt x="209" y="203"/>
                  </a:cubicBezTo>
                  <a:cubicBezTo>
                    <a:pt x="209" y="203"/>
                    <a:pt x="209" y="203"/>
                    <a:pt x="209" y="203"/>
                  </a:cubicBezTo>
                  <a:cubicBezTo>
                    <a:pt x="215" y="203"/>
                    <a:pt x="220" y="199"/>
                    <a:pt x="220" y="193"/>
                  </a:cubicBezTo>
                  <a:cubicBezTo>
                    <a:pt x="220" y="191"/>
                    <a:pt x="220" y="191"/>
                    <a:pt x="220" y="191"/>
                  </a:cubicBezTo>
                  <a:cubicBezTo>
                    <a:pt x="221" y="186"/>
                    <a:pt x="225" y="182"/>
                    <a:pt x="230" y="182"/>
                  </a:cubicBezTo>
                  <a:cubicBezTo>
                    <a:pt x="236" y="182"/>
                    <a:pt x="241" y="187"/>
                    <a:pt x="241" y="193"/>
                  </a:cubicBezTo>
                  <a:cubicBezTo>
                    <a:pt x="241" y="236"/>
                    <a:pt x="241" y="236"/>
                    <a:pt x="241" y="236"/>
                  </a:cubicBezTo>
                  <a:cubicBezTo>
                    <a:pt x="241" y="237"/>
                    <a:pt x="244" y="278"/>
                    <a:pt x="222" y="303"/>
                  </a:cubicBezTo>
                  <a:cubicBezTo>
                    <a:pt x="218" y="308"/>
                    <a:pt x="219" y="314"/>
                    <a:pt x="223" y="318"/>
                  </a:cubicBezTo>
                  <a:cubicBezTo>
                    <a:pt x="225" y="320"/>
                    <a:pt x="228" y="321"/>
                    <a:pt x="230" y="321"/>
                  </a:cubicBezTo>
                  <a:cubicBezTo>
                    <a:pt x="233" y="321"/>
                    <a:pt x="237" y="319"/>
                    <a:pt x="239" y="317"/>
                  </a:cubicBezTo>
                  <a:cubicBezTo>
                    <a:pt x="266" y="285"/>
                    <a:pt x="263" y="237"/>
                    <a:pt x="263" y="235"/>
                  </a:cubicBezTo>
                  <a:lnTo>
                    <a:pt x="263"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3" name="Freeform 1013">
              <a:extLst>
                <a:ext uri="{FF2B5EF4-FFF2-40B4-BE49-F238E27FC236}">
                  <a16:creationId xmlns:a16="http://schemas.microsoft.com/office/drawing/2014/main" id="{CB26ABAF-8F88-4379-AC31-8B63A8F10D55}"/>
                </a:ext>
              </a:extLst>
            </p:cNvPr>
            <p:cNvSpPr>
              <a:spLocks noEditPoints="1"/>
            </p:cNvSpPr>
            <p:nvPr/>
          </p:nvSpPr>
          <p:spPr bwMode="auto">
            <a:xfrm>
              <a:off x="3277" y="434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4" name="Freeform 1017">
            <a:extLst>
              <a:ext uri="{FF2B5EF4-FFF2-40B4-BE49-F238E27FC236}">
                <a16:creationId xmlns:a16="http://schemas.microsoft.com/office/drawing/2014/main" id="{EC582E08-F5AC-44D6-A48A-09C5CD159F64}"/>
              </a:ext>
            </a:extLst>
          </p:cNvPr>
          <p:cNvSpPr>
            <a:spLocks noChangeAspect="1" noEditPoints="1"/>
          </p:cNvSpPr>
          <p:nvPr/>
        </p:nvSpPr>
        <p:spPr bwMode="auto">
          <a:xfrm>
            <a:off x="2213340" y="2536258"/>
            <a:ext cx="367631" cy="367631"/>
          </a:xfrm>
          <a:custGeom>
            <a:avLst/>
            <a:gdLst>
              <a:gd name="T0" fmla="*/ 0 w 512"/>
              <a:gd name="T1" fmla="*/ 256 h 512"/>
              <a:gd name="T2" fmla="*/ 512 w 512"/>
              <a:gd name="T3" fmla="*/ 256 h 512"/>
              <a:gd name="T4" fmla="*/ 124 w 512"/>
              <a:gd name="T5" fmla="*/ 246 h 512"/>
              <a:gd name="T6" fmla="*/ 115 w 512"/>
              <a:gd name="T7" fmla="*/ 240 h 512"/>
              <a:gd name="T8" fmla="*/ 104 w 512"/>
              <a:gd name="T9" fmla="*/ 199 h 512"/>
              <a:gd name="T10" fmla="*/ 121 w 512"/>
              <a:gd name="T11" fmla="*/ 208 h 512"/>
              <a:gd name="T12" fmla="*/ 169 w 512"/>
              <a:gd name="T13" fmla="*/ 135 h 512"/>
              <a:gd name="T14" fmla="*/ 175 w 512"/>
              <a:gd name="T15" fmla="*/ 114 h 512"/>
              <a:gd name="T16" fmla="*/ 212 w 512"/>
              <a:gd name="T17" fmla="*/ 135 h 512"/>
              <a:gd name="T18" fmla="*/ 194 w 512"/>
              <a:gd name="T19" fmla="*/ 172 h 512"/>
              <a:gd name="T20" fmla="*/ 183 w 512"/>
              <a:gd name="T21" fmla="*/ 159 h 512"/>
              <a:gd name="T22" fmla="*/ 142 w 512"/>
              <a:gd name="T23" fmla="*/ 213 h 512"/>
              <a:gd name="T24" fmla="*/ 160 w 512"/>
              <a:gd name="T25" fmla="*/ 215 h 512"/>
              <a:gd name="T26" fmla="*/ 130 w 512"/>
              <a:gd name="T27" fmla="*/ 244 h 512"/>
              <a:gd name="T28" fmla="*/ 371 w 512"/>
              <a:gd name="T29" fmla="*/ 412 h 512"/>
              <a:gd name="T30" fmla="*/ 356 w 512"/>
              <a:gd name="T31" fmla="*/ 413 h 512"/>
              <a:gd name="T32" fmla="*/ 373 w 512"/>
              <a:gd name="T33" fmla="*/ 331 h 512"/>
              <a:gd name="T34" fmla="*/ 362 w 512"/>
              <a:gd name="T35" fmla="*/ 277 h 512"/>
              <a:gd name="T36" fmla="*/ 341 w 512"/>
              <a:gd name="T37" fmla="*/ 298 h 512"/>
              <a:gd name="T38" fmla="*/ 341 w 512"/>
              <a:gd name="T39" fmla="*/ 298 h 512"/>
              <a:gd name="T40" fmla="*/ 330 w 512"/>
              <a:gd name="T41" fmla="*/ 277 h 512"/>
              <a:gd name="T42" fmla="*/ 309 w 512"/>
              <a:gd name="T43" fmla="*/ 277 h 512"/>
              <a:gd name="T44" fmla="*/ 298 w 512"/>
              <a:gd name="T45" fmla="*/ 298 h 512"/>
              <a:gd name="T46" fmla="*/ 288 w 512"/>
              <a:gd name="T47" fmla="*/ 256 h 512"/>
              <a:gd name="T48" fmla="*/ 266 w 512"/>
              <a:gd name="T49" fmla="*/ 256 h 512"/>
              <a:gd name="T50" fmla="*/ 256 w 512"/>
              <a:gd name="T51" fmla="*/ 298 h 512"/>
              <a:gd name="T52" fmla="*/ 245 w 512"/>
              <a:gd name="T53" fmla="*/ 202 h 512"/>
              <a:gd name="T54" fmla="*/ 224 w 512"/>
              <a:gd name="T55" fmla="*/ 202 h 512"/>
              <a:gd name="T56" fmla="*/ 217 w 512"/>
              <a:gd name="T57" fmla="*/ 340 h 512"/>
              <a:gd name="T58" fmla="*/ 173 w 512"/>
              <a:gd name="T59" fmla="*/ 281 h 512"/>
              <a:gd name="T60" fmla="*/ 159 w 512"/>
              <a:gd name="T61" fmla="*/ 277 h 512"/>
              <a:gd name="T62" fmla="*/ 158 w 512"/>
              <a:gd name="T63" fmla="*/ 295 h 512"/>
              <a:gd name="T64" fmla="*/ 232 w 512"/>
              <a:gd name="T65" fmla="*/ 411 h 512"/>
              <a:gd name="T66" fmla="*/ 217 w 512"/>
              <a:gd name="T67" fmla="*/ 414 h 512"/>
              <a:gd name="T68" fmla="*/ 149 w 512"/>
              <a:gd name="T69" fmla="*/ 258 h 512"/>
              <a:gd name="T70" fmla="*/ 192 w 512"/>
              <a:gd name="T71" fmla="*/ 272 h 512"/>
              <a:gd name="T72" fmla="*/ 202 w 512"/>
              <a:gd name="T73" fmla="*/ 202 h 512"/>
              <a:gd name="T74" fmla="*/ 266 w 512"/>
              <a:gd name="T75" fmla="*/ 202 h 512"/>
              <a:gd name="T76" fmla="*/ 277 w 512"/>
              <a:gd name="T77" fmla="*/ 224 h 512"/>
              <a:gd name="T78" fmla="*/ 320 w 512"/>
              <a:gd name="T79" fmla="*/ 245 h 512"/>
              <a:gd name="T80" fmla="*/ 362 w 512"/>
              <a:gd name="T81" fmla="*/ 256 h 512"/>
              <a:gd name="T82" fmla="*/ 394 w 512"/>
              <a:gd name="T83"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4" y="246"/>
                </a:moveTo>
                <a:cubicBezTo>
                  <a:pt x="123" y="246"/>
                  <a:pt x="122" y="245"/>
                  <a:pt x="122" y="245"/>
                </a:cubicBezTo>
                <a:cubicBezTo>
                  <a:pt x="119" y="244"/>
                  <a:pt x="116" y="243"/>
                  <a:pt x="115" y="240"/>
                </a:cubicBezTo>
                <a:cubicBezTo>
                  <a:pt x="100" y="214"/>
                  <a:pt x="100" y="214"/>
                  <a:pt x="100" y="214"/>
                </a:cubicBezTo>
                <a:cubicBezTo>
                  <a:pt x="97" y="209"/>
                  <a:pt x="99" y="202"/>
                  <a:pt x="104" y="199"/>
                </a:cubicBezTo>
                <a:cubicBezTo>
                  <a:pt x="109" y="196"/>
                  <a:pt x="116" y="198"/>
                  <a:pt x="119" y="203"/>
                </a:cubicBezTo>
                <a:cubicBezTo>
                  <a:pt x="121" y="208"/>
                  <a:pt x="121" y="208"/>
                  <a:pt x="121" y="208"/>
                </a:cubicBezTo>
                <a:cubicBezTo>
                  <a:pt x="129" y="177"/>
                  <a:pt x="148" y="152"/>
                  <a:pt x="175" y="136"/>
                </a:cubicBezTo>
                <a:cubicBezTo>
                  <a:pt x="169" y="135"/>
                  <a:pt x="169" y="135"/>
                  <a:pt x="169" y="135"/>
                </a:cubicBezTo>
                <a:cubicBezTo>
                  <a:pt x="164" y="133"/>
                  <a:pt x="160" y="127"/>
                  <a:pt x="162" y="122"/>
                </a:cubicBezTo>
                <a:cubicBezTo>
                  <a:pt x="163" y="116"/>
                  <a:pt x="169" y="113"/>
                  <a:pt x="175" y="114"/>
                </a:cubicBezTo>
                <a:cubicBezTo>
                  <a:pt x="204" y="122"/>
                  <a:pt x="204" y="122"/>
                  <a:pt x="204" y="122"/>
                </a:cubicBezTo>
                <a:cubicBezTo>
                  <a:pt x="210" y="123"/>
                  <a:pt x="213" y="129"/>
                  <a:pt x="212" y="135"/>
                </a:cubicBezTo>
                <a:cubicBezTo>
                  <a:pt x="204" y="164"/>
                  <a:pt x="204" y="164"/>
                  <a:pt x="204" y="164"/>
                </a:cubicBezTo>
                <a:cubicBezTo>
                  <a:pt x="203" y="169"/>
                  <a:pt x="198" y="172"/>
                  <a:pt x="194" y="172"/>
                </a:cubicBezTo>
                <a:cubicBezTo>
                  <a:pt x="193" y="172"/>
                  <a:pt x="192" y="172"/>
                  <a:pt x="191" y="172"/>
                </a:cubicBezTo>
                <a:cubicBezTo>
                  <a:pt x="185" y="170"/>
                  <a:pt x="182" y="164"/>
                  <a:pt x="183" y="159"/>
                </a:cubicBezTo>
                <a:cubicBezTo>
                  <a:pt x="184" y="156"/>
                  <a:pt x="184" y="156"/>
                  <a:pt x="184" y="156"/>
                </a:cubicBezTo>
                <a:cubicBezTo>
                  <a:pt x="163" y="169"/>
                  <a:pt x="148" y="189"/>
                  <a:pt x="142" y="213"/>
                </a:cubicBezTo>
                <a:cubicBezTo>
                  <a:pt x="145" y="211"/>
                  <a:pt x="145" y="211"/>
                  <a:pt x="145" y="211"/>
                </a:cubicBezTo>
                <a:cubicBezTo>
                  <a:pt x="151" y="208"/>
                  <a:pt x="157" y="210"/>
                  <a:pt x="160" y="215"/>
                </a:cubicBezTo>
                <a:cubicBezTo>
                  <a:pt x="163" y="220"/>
                  <a:pt x="161" y="226"/>
                  <a:pt x="156" y="229"/>
                </a:cubicBezTo>
                <a:cubicBezTo>
                  <a:pt x="130" y="244"/>
                  <a:pt x="130" y="244"/>
                  <a:pt x="130" y="244"/>
                </a:cubicBezTo>
                <a:cubicBezTo>
                  <a:pt x="128" y="245"/>
                  <a:pt x="126" y="246"/>
                  <a:pt x="124" y="246"/>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95" name="Group 1020">
            <a:extLst>
              <a:ext uri="{FF2B5EF4-FFF2-40B4-BE49-F238E27FC236}">
                <a16:creationId xmlns:a16="http://schemas.microsoft.com/office/drawing/2014/main" id="{7CE27ECD-8147-4F50-A71C-CD29811D172F}"/>
              </a:ext>
            </a:extLst>
          </p:cNvPr>
          <p:cNvGrpSpPr>
            <a:grpSpLocks noChangeAspect="1"/>
          </p:cNvGrpSpPr>
          <p:nvPr/>
        </p:nvGrpSpPr>
        <p:grpSpPr bwMode="auto">
          <a:xfrm>
            <a:off x="2649200" y="2536258"/>
            <a:ext cx="367631" cy="367631"/>
            <a:chOff x="3497" y="3995"/>
            <a:chExt cx="340" cy="340"/>
          </a:xfrm>
          <a:solidFill>
            <a:schemeClr val="accent5"/>
          </a:solidFill>
        </p:grpSpPr>
        <p:sp>
          <p:nvSpPr>
            <p:cNvPr id="196" name="Freeform 1021">
              <a:extLst>
                <a:ext uri="{FF2B5EF4-FFF2-40B4-BE49-F238E27FC236}">
                  <a16:creationId xmlns:a16="http://schemas.microsoft.com/office/drawing/2014/main" id="{267F7AB8-8432-41C6-95D2-AB1620515210}"/>
                </a:ext>
              </a:extLst>
            </p:cNvPr>
            <p:cNvSpPr>
              <a:spLocks noEditPoints="1"/>
            </p:cNvSpPr>
            <p:nvPr/>
          </p:nvSpPr>
          <p:spPr bwMode="auto">
            <a:xfrm>
              <a:off x="3497" y="3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7" name="Freeform 1022">
              <a:extLst>
                <a:ext uri="{FF2B5EF4-FFF2-40B4-BE49-F238E27FC236}">
                  <a16:creationId xmlns:a16="http://schemas.microsoft.com/office/drawing/2014/main" id="{6291B971-C957-4A5B-AC1D-A27FB0BA3C71}"/>
                </a:ext>
              </a:extLst>
            </p:cNvPr>
            <p:cNvSpPr>
              <a:spLocks noEditPoints="1"/>
            </p:cNvSpPr>
            <p:nvPr/>
          </p:nvSpPr>
          <p:spPr bwMode="auto">
            <a:xfrm>
              <a:off x="3561" y="4070"/>
              <a:ext cx="200" cy="201"/>
            </a:xfrm>
            <a:custGeom>
              <a:avLst/>
              <a:gdLst>
                <a:gd name="T0" fmla="*/ 48 w 300"/>
                <a:gd name="T1" fmla="*/ 98 h 303"/>
                <a:gd name="T2" fmla="*/ 87 w 300"/>
                <a:gd name="T3" fmla="*/ 43 h 303"/>
                <a:gd name="T4" fmla="*/ 94 w 300"/>
                <a:gd name="T5" fmla="*/ 59 h 303"/>
                <a:gd name="T6" fmla="*/ 107 w 300"/>
                <a:gd name="T7" fmla="*/ 51 h 303"/>
                <a:gd name="T8" fmla="*/ 107 w 300"/>
                <a:gd name="T9" fmla="*/ 9 h 303"/>
                <a:gd name="T10" fmla="*/ 65 w 300"/>
                <a:gd name="T11" fmla="*/ 9 h 303"/>
                <a:gd name="T12" fmla="*/ 78 w 300"/>
                <a:gd name="T13" fmla="*/ 23 h 303"/>
                <a:gd name="T14" fmla="*/ 22 w 300"/>
                <a:gd name="T15" fmla="*/ 90 h 303"/>
                <a:gd name="T16" fmla="*/ 3 w 300"/>
                <a:gd name="T17" fmla="*/ 101 h 303"/>
                <a:gd name="T18" fmla="*/ 25 w 300"/>
                <a:gd name="T19" fmla="*/ 132 h 303"/>
                <a:gd name="T20" fmla="*/ 33 w 300"/>
                <a:gd name="T21" fmla="*/ 131 h 303"/>
                <a:gd name="T22" fmla="*/ 63 w 300"/>
                <a:gd name="T23" fmla="*/ 102 h 303"/>
                <a:gd name="T24" fmla="*/ 297 w 300"/>
                <a:gd name="T25" fmla="*/ 175 h 303"/>
                <a:gd name="T26" fmla="*/ 250 w 300"/>
                <a:gd name="T27" fmla="*/ 147 h 303"/>
                <a:gd name="T28" fmla="*/ 211 w 300"/>
                <a:gd name="T29" fmla="*/ 134 h 303"/>
                <a:gd name="T30" fmla="*/ 169 w 300"/>
                <a:gd name="T31" fmla="*/ 113 h 303"/>
                <a:gd name="T32" fmla="*/ 137 w 300"/>
                <a:gd name="T33" fmla="*/ 57 h 303"/>
                <a:gd name="T34" fmla="*/ 105 w 300"/>
                <a:gd name="T35" fmla="*/ 180 h 303"/>
                <a:gd name="T36" fmla="*/ 77 w 300"/>
                <a:gd name="T37" fmla="*/ 143 h 303"/>
                <a:gd name="T38" fmla="*/ 41 w 300"/>
                <a:gd name="T39" fmla="*/ 190 h 303"/>
                <a:gd name="T40" fmla="*/ 126 w 300"/>
                <a:gd name="T41" fmla="*/ 303 h 303"/>
                <a:gd name="T42" fmla="*/ 132 w 300"/>
                <a:gd name="T43" fmla="*/ 283 h 303"/>
                <a:gd name="T44" fmla="*/ 60 w 300"/>
                <a:gd name="T45" fmla="*/ 181 h 303"/>
                <a:gd name="T46" fmla="*/ 70 w 300"/>
                <a:gd name="T47" fmla="*/ 163 h 303"/>
                <a:gd name="T48" fmla="*/ 108 w 300"/>
                <a:gd name="T49" fmla="*/ 225 h 303"/>
                <a:gd name="T50" fmla="*/ 127 w 300"/>
                <a:gd name="T51" fmla="*/ 217 h 303"/>
                <a:gd name="T52" fmla="*/ 137 w 300"/>
                <a:gd name="T53" fmla="*/ 79 h 303"/>
                <a:gd name="T54" fmla="*/ 148 w 300"/>
                <a:gd name="T55" fmla="*/ 175 h 303"/>
                <a:gd name="T56" fmla="*/ 169 w 300"/>
                <a:gd name="T57" fmla="*/ 175 h 303"/>
                <a:gd name="T58" fmla="*/ 180 w 300"/>
                <a:gd name="T59" fmla="*/ 132 h 303"/>
                <a:gd name="T60" fmla="*/ 191 w 300"/>
                <a:gd name="T61" fmla="*/ 175 h 303"/>
                <a:gd name="T62" fmla="*/ 212 w 300"/>
                <a:gd name="T63" fmla="*/ 175 h 303"/>
                <a:gd name="T64" fmla="*/ 223 w 300"/>
                <a:gd name="T65" fmla="*/ 153 h 303"/>
                <a:gd name="T66" fmla="*/ 233 w 300"/>
                <a:gd name="T67" fmla="*/ 175 h 303"/>
                <a:gd name="T68" fmla="*/ 244 w 300"/>
                <a:gd name="T69" fmla="*/ 185 h 303"/>
                <a:gd name="T70" fmla="*/ 255 w 300"/>
                <a:gd name="T71" fmla="*/ 175 h 303"/>
                <a:gd name="T72" fmla="*/ 276 w 300"/>
                <a:gd name="T73" fmla="*/ 175 h 303"/>
                <a:gd name="T74" fmla="*/ 257 w 300"/>
                <a:gd name="T75" fmla="*/ 285 h 303"/>
                <a:gd name="T76" fmla="*/ 265 w 300"/>
                <a:gd name="T77" fmla="*/ 303 h 303"/>
                <a:gd name="T78" fmla="*/ 297 w 300"/>
                <a:gd name="T79" fmla="*/ 21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0" h="303">
                  <a:moveTo>
                    <a:pt x="63" y="102"/>
                  </a:moveTo>
                  <a:cubicBezTo>
                    <a:pt x="60" y="97"/>
                    <a:pt x="54" y="95"/>
                    <a:pt x="48" y="98"/>
                  </a:cubicBezTo>
                  <a:cubicBezTo>
                    <a:pt x="45" y="100"/>
                    <a:pt x="45" y="100"/>
                    <a:pt x="45" y="100"/>
                  </a:cubicBezTo>
                  <a:cubicBezTo>
                    <a:pt x="51" y="76"/>
                    <a:pt x="66" y="56"/>
                    <a:pt x="87" y="43"/>
                  </a:cubicBezTo>
                  <a:cubicBezTo>
                    <a:pt x="86" y="46"/>
                    <a:pt x="86" y="46"/>
                    <a:pt x="86" y="46"/>
                  </a:cubicBezTo>
                  <a:cubicBezTo>
                    <a:pt x="85" y="51"/>
                    <a:pt x="88" y="57"/>
                    <a:pt x="94" y="59"/>
                  </a:cubicBezTo>
                  <a:cubicBezTo>
                    <a:pt x="95" y="59"/>
                    <a:pt x="96" y="59"/>
                    <a:pt x="97" y="59"/>
                  </a:cubicBezTo>
                  <a:cubicBezTo>
                    <a:pt x="101" y="59"/>
                    <a:pt x="106" y="56"/>
                    <a:pt x="107" y="51"/>
                  </a:cubicBezTo>
                  <a:cubicBezTo>
                    <a:pt x="115" y="22"/>
                    <a:pt x="115" y="22"/>
                    <a:pt x="115" y="22"/>
                  </a:cubicBezTo>
                  <a:cubicBezTo>
                    <a:pt x="116" y="16"/>
                    <a:pt x="113" y="10"/>
                    <a:pt x="107" y="9"/>
                  </a:cubicBezTo>
                  <a:cubicBezTo>
                    <a:pt x="78" y="1"/>
                    <a:pt x="78" y="1"/>
                    <a:pt x="78" y="1"/>
                  </a:cubicBezTo>
                  <a:cubicBezTo>
                    <a:pt x="72" y="0"/>
                    <a:pt x="66" y="3"/>
                    <a:pt x="65" y="9"/>
                  </a:cubicBezTo>
                  <a:cubicBezTo>
                    <a:pt x="63" y="14"/>
                    <a:pt x="67" y="20"/>
                    <a:pt x="72" y="22"/>
                  </a:cubicBezTo>
                  <a:cubicBezTo>
                    <a:pt x="78" y="23"/>
                    <a:pt x="78" y="23"/>
                    <a:pt x="78" y="23"/>
                  </a:cubicBezTo>
                  <a:cubicBezTo>
                    <a:pt x="51" y="39"/>
                    <a:pt x="32" y="64"/>
                    <a:pt x="24" y="95"/>
                  </a:cubicBezTo>
                  <a:cubicBezTo>
                    <a:pt x="22" y="90"/>
                    <a:pt x="22" y="90"/>
                    <a:pt x="22" y="90"/>
                  </a:cubicBezTo>
                  <a:cubicBezTo>
                    <a:pt x="19" y="85"/>
                    <a:pt x="12" y="83"/>
                    <a:pt x="7" y="86"/>
                  </a:cubicBezTo>
                  <a:cubicBezTo>
                    <a:pt x="2" y="89"/>
                    <a:pt x="0" y="96"/>
                    <a:pt x="3" y="101"/>
                  </a:cubicBezTo>
                  <a:cubicBezTo>
                    <a:pt x="18" y="127"/>
                    <a:pt x="18" y="127"/>
                    <a:pt x="18" y="127"/>
                  </a:cubicBezTo>
                  <a:cubicBezTo>
                    <a:pt x="19" y="130"/>
                    <a:pt x="22" y="131"/>
                    <a:pt x="25" y="132"/>
                  </a:cubicBezTo>
                  <a:cubicBezTo>
                    <a:pt x="25" y="132"/>
                    <a:pt x="26" y="133"/>
                    <a:pt x="27" y="133"/>
                  </a:cubicBezTo>
                  <a:cubicBezTo>
                    <a:pt x="29" y="133"/>
                    <a:pt x="31" y="132"/>
                    <a:pt x="33" y="131"/>
                  </a:cubicBezTo>
                  <a:cubicBezTo>
                    <a:pt x="59" y="116"/>
                    <a:pt x="59" y="116"/>
                    <a:pt x="59" y="116"/>
                  </a:cubicBezTo>
                  <a:cubicBezTo>
                    <a:pt x="64" y="113"/>
                    <a:pt x="66" y="107"/>
                    <a:pt x="63" y="102"/>
                  </a:cubicBezTo>
                  <a:close/>
                  <a:moveTo>
                    <a:pt x="297" y="217"/>
                  </a:moveTo>
                  <a:cubicBezTo>
                    <a:pt x="297" y="175"/>
                    <a:pt x="297" y="175"/>
                    <a:pt x="297" y="175"/>
                  </a:cubicBezTo>
                  <a:cubicBezTo>
                    <a:pt x="297" y="157"/>
                    <a:pt x="283" y="143"/>
                    <a:pt x="265" y="143"/>
                  </a:cubicBezTo>
                  <a:cubicBezTo>
                    <a:pt x="260" y="143"/>
                    <a:pt x="254" y="144"/>
                    <a:pt x="250" y="147"/>
                  </a:cubicBezTo>
                  <a:cubicBezTo>
                    <a:pt x="244" y="138"/>
                    <a:pt x="234" y="132"/>
                    <a:pt x="223" y="132"/>
                  </a:cubicBezTo>
                  <a:cubicBezTo>
                    <a:pt x="218" y="132"/>
                    <a:pt x="214" y="133"/>
                    <a:pt x="211" y="134"/>
                  </a:cubicBezTo>
                  <a:cubicBezTo>
                    <a:pt x="207" y="121"/>
                    <a:pt x="195" y="111"/>
                    <a:pt x="180" y="111"/>
                  </a:cubicBezTo>
                  <a:cubicBezTo>
                    <a:pt x="176" y="111"/>
                    <a:pt x="173" y="111"/>
                    <a:pt x="169" y="113"/>
                  </a:cubicBezTo>
                  <a:cubicBezTo>
                    <a:pt x="169" y="89"/>
                    <a:pt x="169" y="89"/>
                    <a:pt x="169" y="89"/>
                  </a:cubicBezTo>
                  <a:cubicBezTo>
                    <a:pt x="169" y="72"/>
                    <a:pt x="155" y="57"/>
                    <a:pt x="137" y="57"/>
                  </a:cubicBezTo>
                  <a:cubicBezTo>
                    <a:pt x="120" y="57"/>
                    <a:pt x="105" y="72"/>
                    <a:pt x="105" y="89"/>
                  </a:cubicBezTo>
                  <a:cubicBezTo>
                    <a:pt x="105" y="180"/>
                    <a:pt x="105" y="180"/>
                    <a:pt x="105" y="180"/>
                  </a:cubicBezTo>
                  <a:cubicBezTo>
                    <a:pt x="102" y="172"/>
                    <a:pt x="98" y="165"/>
                    <a:pt x="95" y="159"/>
                  </a:cubicBezTo>
                  <a:cubicBezTo>
                    <a:pt x="92" y="152"/>
                    <a:pt x="85" y="146"/>
                    <a:pt x="77" y="143"/>
                  </a:cubicBezTo>
                  <a:cubicBezTo>
                    <a:pt x="68" y="140"/>
                    <a:pt x="60" y="141"/>
                    <a:pt x="52" y="145"/>
                  </a:cubicBezTo>
                  <a:cubicBezTo>
                    <a:pt x="36" y="153"/>
                    <a:pt x="34" y="174"/>
                    <a:pt x="41" y="190"/>
                  </a:cubicBezTo>
                  <a:cubicBezTo>
                    <a:pt x="44" y="197"/>
                    <a:pt x="72" y="271"/>
                    <a:pt x="120" y="301"/>
                  </a:cubicBezTo>
                  <a:cubicBezTo>
                    <a:pt x="122" y="302"/>
                    <a:pt x="124" y="303"/>
                    <a:pt x="126" y="303"/>
                  </a:cubicBezTo>
                  <a:cubicBezTo>
                    <a:pt x="130" y="303"/>
                    <a:pt x="133" y="301"/>
                    <a:pt x="135" y="298"/>
                  </a:cubicBezTo>
                  <a:cubicBezTo>
                    <a:pt x="138" y="293"/>
                    <a:pt x="137" y="286"/>
                    <a:pt x="132" y="283"/>
                  </a:cubicBezTo>
                  <a:cubicBezTo>
                    <a:pt x="88" y="256"/>
                    <a:pt x="61" y="182"/>
                    <a:pt x="61" y="182"/>
                  </a:cubicBezTo>
                  <a:cubicBezTo>
                    <a:pt x="61" y="181"/>
                    <a:pt x="61" y="181"/>
                    <a:pt x="60" y="181"/>
                  </a:cubicBezTo>
                  <a:cubicBezTo>
                    <a:pt x="57" y="175"/>
                    <a:pt x="57" y="166"/>
                    <a:pt x="62" y="164"/>
                  </a:cubicBezTo>
                  <a:cubicBezTo>
                    <a:pt x="64" y="163"/>
                    <a:pt x="67" y="163"/>
                    <a:pt x="70" y="163"/>
                  </a:cubicBezTo>
                  <a:cubicBezTo>
                    <a:pt x="73" y="164"/>
                    <a:pt x="75" y="166"/>
                    <a:pt x="76" y="168"/>
                  </a:cubicBezTo>
                  <a:cubicBezTo>
                    <a:pt x="78" y="173"/>
                    <a:pt x="97" y="213"/>
                    <a:pt x="108" y="225"/>
                  </a:cubicBezTo>
                  <a:cubicBezTo>
                    <a:pt x="111" y="228"/>
                    <a:pt x="116" y="229"/>
                    <a:pt x="120" y="227"/>
                  </a:cubicBezTo>
                  <a:cubicBezTo>
                    <a:pt x="124" y="226"/>
                    <a:pt x="127" y="222"/>
                    <a:pt x="127" y="217"/>
                  </a:cubicBezTo>
                  <a:cubicBezTo>
                    <a:pt x="127" y="89"/>
                    <a:pt x="127" y="89"/>
                    <a:pt x="127" y="89"/>
                  </a:cubicBezTo>
                  <a:cubicBezTo>
                    <a:pt x="127" y="83"/>
                    <a:pt x="131" y="79"/>
                    <a:pt x="137" y="79"/>
                  </a:cubicBezTo>
                  <a:cubicBezTo>
                    <a:pt x="143" y="79"/>
                    <a:pt x="148" y="83"/>
                    <a:pt x="148" y="89"/>
                  </a:cubicBezTo>
                  <a:cubicBezTo>
                    <a:pt x="148" y="175"/>
                    <a:pt x="148" y="175"/>
                    <a:pt x="148" y="175"/>
                  </a:cubicBezTo>
                  <a:cubicBezTo>
                    <a:pt x="148" y="181"/>
                    <a:pt x="153" y="185"/>
                    <a:pt x="159" y="185"/>
                  </a:cubicBezTo>
                  <a:cubicBezTo>
                    <a:pt x="165" y="185"/>
                    <a:pt x="169" y="181"/>
                    <a:pt x="169" y="175"/>
                  </a:cubicBezTo>
                  <a:cubicBezTo>
                    <a:pt x="169" y="143"/>
                    <a:pt x="169" y="143"/>
                    <a:pt x="169" y="143"/>
                  </a:cubicBezTo>
                  <a:cubicBezTo>
                    <a:pt x="169" y="137"/>
                    <a:pt x="174" y="132"/>
                    <a:pt x="180" y="132"/>
                  </a:cubicBezTo>
                  <a:cubicBezTo>
                    <a:pt x="186" y="132"/>
                    <a:pt x="191" y="137"/>
                    <a:pt x="191" y="143"/>
                  </a:cubicBezTo>
                  <a:cubicBezTo>
                    <a:pt x="191" y="175"/>
                    <a:pt x="191" y="175"/>
                    <a:pt x="191" y="175"/>
                  </a:cubicBezTo>
                  <a:cubicBezTo>
                    <a:pt x="191" y="181"/>
                    <a:pt x="195" y="185"/>
                    <a:pt x="201" y="185"/>
                  </a:cubicBezTo>
                  <a:cubicBezTo>
                    <a:pt x="207" y="185"/>
                    <a:pt x="212" y="181"/>
                    <a:pt x="212" y="175"/>
                  </a:cubicBezTo>
                  <a:cubicBezTo>
                    <a:pt x="212" y="164"/>
                    <a:pt x="212" y="164"/>
                    <a:pt x="212" y="164"/>
                  </a:cubicBezTo>
                  <a:cubicBezTo>
                    <a:pt x="212" y="158"/>
                    <a:pt x="217" y="153"/>
                    <a:pt x="223" y="153"/>
                  </a:cubicBezTo>
                  <a:cubicBezTo>
                    <a:pt x="228" y="153"/>
                    <a:pt x="233" y="158"/>
                    <a:pt x="233" y="164"/>
                  </a:cubicBezTo>
                  <a:cubicBezTo>
                    <a:pt x="233" y="175"/>
                    <a:pt x="233" y="175"/>
                    <a:pt x="233" y="175"/>
                  </a:cubicBezTo>
                  <a:cubicBezTo>
                    <a:pt x="233" y="181"/>
                    <a:pt x="238" y="185"/>
                    <a:pt x="244" y="185"/>
                  </a:cubicBezTo>
                  <a:cubicBezTo>
                    <a:pt x="244" y="185"/>
                    <a:pt x="244" y="185"/>
                    <a:pt x="244" y="185"/>
                  </a:cubicBezTo>
                  <a:cubicBezTo>
                    <a:pt x="244" y="185"/>
                    <a:pt x="244" y="185"/>
                    <a:pt x="244" y="185"/>
                  </a:cubicBezTo>
                  <a:cubicBezTo>
                    <a:pt x="250" y="185"/>
                    <a:pt x="255" y="181"/>
                    <a:pt x="255" y="175"/>
                  </a:cubicBezTo>
                  <a:cubicBezTo>
                    <a:pt x="255" y="169"/>
                    <a:pt x="260" y="164"/>
                    <a:pt x="265" y="164"/>
                  </a:cubicBezTo>
                  <a:cubicBezTo>
                    <a:pt x="271" y="164"/>
                    <a:pt x="276" y="169"/>
                    <a:pt x="276" y="175"/>
                  </a:cubicBezTo>
                  <a:cubicBezTo>
                    <a:pt x="276" y="218"/>
                    <a:pt x="276" y="218"/>
                    <a:pt x="276" y="218"/>
                  </a:cubicBezTo>
                  <a:cubicBezTo>
                    <a:pt x="276" y="218"/>
                    <a:pt x="278" y="259"/>
                    <a:pt x="257" y="285"/>
                  </a:cubicBezTo>
                  <a:cubicBezTo>
                    <a:pt x="253" y="290"/>
                    <a:pt x="254" y="297"/>
                    <a:pt x="259" y="300"/>
                  </a:cubicBezTo>
                  <a:cubicBezTo>
                    <a:pt x="261" y="302"/>
                    <a:pt x="263" y="303"/>
                    <a:pt x="265" y="303"/>
                  </a:cubicBezTo>
                  <a:cubicBezTo>
                    <a:pt x="268" y="303"/>
                    <a:pt x="272" y="301"/>
                    <a:pt x="274" y="299"/>
                  </a:cubicBezTo>
                  <a:cubicBezTo>
                    <a:pt x="300" y="267"/>
                    <a:pt x="297" y="219"/>
                    <a:pt x="297" y="2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8" name="Freeform 1026">
            <a:extLst>
              <a:ext uri="{FF2B5EF4-FFF2-40B4-BE49-F238E27FC236}">
                <a16:creationId xmlns:a16="http://schemas.microsoft.com/office/drawing/2014/main" id="{6BDC8C7C-1480-4E84-A237-489635E6DEAF}"/>
              </a:ext>
            </a:extLst>
          </p:cNvPr>
          <p:cNvSpPr>
            <a:spLocks noChangeAspect="1" noEditPoints="1"/>
          </p:cNvSpPr>
          <p:nvPr/>
        </p:nvSpPr>
        <p:spPr bwMode="auto">
          <a:xfrm>
            <a:off x="3085060" y="2536258"/>
            <a:ext cx="367631" cy="367631"/>
          </a:xfrm>
          <a:custGeom>
            <a:avLst/>
            <a:gdLst>
              <a:gd name="T0" fmla="*/ 0 w 512"/>
              <a:gd name="T1" fmla="*/ 256 h 512"/>
              <a:gd name="T2" fmla="*/ 512 w 512"/>
              <a:gd name="T3" fmla="*/ 256 h 512"/>
              <a:gd name="T4" fmla="*/ 213 w 512"/>
              <a:gd name="T5" fmla="*/ 96 h 512"/>
              <a:gd name="T6" fmla="*/ 256 w 512"/>
              <a:gd name="T7" fmla="*/ 106 h 512"/>
              <a:gd name="T8" fmla="*/ 245 w 512"/>
              <a:gd name="T9" fmla="*/ 149 h 512"/>
              <a:gd name="T10" fmla="*/ 234 w 512"/>
              <a:gd name="T11" fmla="*/ 131 h 512"/>
              <a:gd name="T12" fmla="*/ 226 w 512"/>
              <a:gd name="T13" fmla="*/ 154 h 512"/>
              <a:gd name="T14" fmla="*/ 267 w 512"/>
              <a:gd name="T15" fmla="*/ 144 h 512"/>
              <a:gd name="T16" fmla="*/ 288 w 512"/>
              <a:gd name="T17" fmla="*/ 139 h 512"/>
              <a:gd name="T18" fmla="*/ 246 w 512"/>
              <a:gd name="T19" fmla="*/ 192 h 512"/>
              <a:gd name="T20" fmla="*/ 210 w 512"/>
              <a:gd name="T21" fmla="*/ 127 h 512"/>
              <a:gd name="T22" fmla="*/ 213 w 512"/>
              <a:gd name="T23" fmla="*/ 117 h 512"/>
              <a:gd name="T24" fmla="*/ 213 w 512"/>
              <a:gd name="T25" fmla="*/ 96 h 512"/>
              <a:gd name="T26" fmla="*/ 372 w 512"/>
              <a:gd name="T27" fmla="*/ 350 h 512"/>
              <a:gd name="T28" fmla="*/ 361 w 512"/>
              <a:gd name="T29" fmla="*/ 337 h 512"/>
              <a:gd name="T30" fmla="*/ 326 w 512"/>
              <a:gd name="T31" fmla="*/ 231 h 512"/>
              <a:gd name="T32" fmla="*/ 311 w 512"/>
              <a:gd name="T33" fmla="*/ 227 h 512"/>
              <a:gd name="T34" fmla="*/ 307 w 512"/>
              <a:gd name="T35" fmla="*/ 241 h 512"/>
              <a:gd name="T36" fmla="*/ 303 w 512"/>
              <a:gd name="T37" fmla="*/ 256 h 512"/>
              <a:gd name="T38" fmla="*/ 288 w 512"/>
              <a:gd name="T39" fmla="*/ 251 h 512"/>
              <a:gd name="T40" fmla="*/ 277 w 512"/>
              <a:gd name="T41" fmla="*/ 237 h 512"/>
              <a:gd name="T42" fmla="*/ 264 w 512"/>
              <a:gd name="T43" fmla="*/ 252 h 512"/>
              <a:gd name="T44" fmla="*/ 269 w 512"/>
              <a:gd name="T45" fmla="*/ 261 h 512"/>
              <a:gd name="T46" fmla="*/ 260 w 512"/>
              <a:gd name="T47" fmla="*/ 277 h 512"/>
              <a:gd name="T48" fmla="*/ 235 w 512"/>
              <a:gd name="T49" fmla="*/ 243 h 512"/>
              <a:gd name="T50" fmla="*/ 221 w 512"/>
              <a:gd name="T51" fmla="*/ 239 h 512"/>
              <a:gd name="T52" fmla="*/ 217 w 512"/>
              <a:gd name="T53" fmla="*/ 253 h 512"/>
              <a:gd name="T54" fmla="*/ 227 w 512"/>
              <a:gd name="T55" fmla="*/ 296 h 512"/>
              <a:gd name="T56" fmla="*/ 173 w 512"/>
              <a:gd name="T57" fmla="*/ 216 h 512"/>
              <a:gd name="T58" fmla="*/ 158 w 512"/>
              <a:gd name="T59" fmla="*/ 212 h 512"/>
              <a:gd name="T60" fmla="*/ 154 w 512"/>
              <a:gd name="T61" fmla="*/ 226 h 512"/>
              <a:gd name="T62" fmla="*/ 213 w 512"/>
              <a:gd name="T63" fmla="*/ 351 h 512"/>
              <a:gd name="T64" fmla="*/ 147 w 512"/>
              <a:gd name="T65" fmla="*/ 319 h 512"/>
              <a:gd name="T66" fmla="*/ 133 w 512"/>
              <a:gd name="T67" fmla="*/ 322 h 512"/>
              <a:gd name="T68" fmla="*/ 140 w 512"/>
              <a:gd name="T69" fmla="*/ 338 h 512"/>
              <a:gd name="T70" fmla="*/ 260 w 512"/>
              <a:gd name="T71" fmla="*/ 406 h 512"/>
              <a:gd name="T72" fmla="*/ 249 w 512"/>
              <a:gd name="T73" fmla="*/ 416 h 512"/>
              <a:gd name="T74" fmla="*/ 115 w 512"/>
              <a:gd name="T75" fmla="*/ 310 h 512"/>
              <a:gd name="T76" fmla="*/ 160 w 512"/>
              <a:gd name="T77" fmla="*/ 302 h 512"/>
              <a:gd name="T78" fmla="*/ 135 w 512"/>
              <a:gd name="T79" fmla="*/ 236 h 512"/>
              <a:gd name="T80" fmla="*/ 148 w 512"/>
              <a:gd name="T81" fmla="*/ 193 h 512"/>
              <a:gd name="T82" fmla="*/ 191 w 512"/>
              <a:gd name="T83" fmla="*/ 206 h 512"/>
              <a:gd name="T84" fmla="*/ 211 w 512"/>
              <a:gd name="T85" fmla="*/ 220 h 512"/>
              <a:gd name="T86" fmla="*/ 249 w 512"/>
              <a:gd name="T87" fmla="*/ 226 h 512"/>
              <a:gd name="T88" fmla="*/ 283 w 512"/>
              <a:gd name="T89" fmla="*/ 216 h 512"/>
              <a:gd name="T90" fmla="*/ 301 w 512"/>
              <a:gd name="T91" fmla="*/ 208 h 512"/>
              <a:gd name="T92" fmla="*/ 345 w 512"/>
              <a:gd name="T93" fmla="*/ 221 h 512"/>
              <a:gd name="T94" fmla="*/ 382 w 512"/>
              <a:gd name="T9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96"/>
                </a:moveTo>
                <a:cubicBezTo>
                  <a:pt x="245" y="96"/>
                  <a:pt x="245" y="96"/>
                  <a:pt x="245" y="96"/>
                </a:cubicBezTo>
                <a:cubicBezTo>
                  <a:pt x="251" y="96"/>
                  <a:pt x="256" y="100"/>
                  <a:pt x="256" y="106"/>
                </a:cubicBezTo>
                <a:cubicBezTo>
                  <a:pt x="256" y="138"/>
                  <a:pt x="256" y="138"/>
                  <a:pt x="256" y="138"/>
                </a:cubicBezTo>
                <a:cubicBezTo>
                  <a:pt x="256" y="144"/>
                  <a:pt x="251" y="149"/>
                  <a:pt x="245" y="149"/>
                </a:cubicBezTo>
                <a:cubicBezTo>
                  <a:pt x="239" y="149"/>
                  <a:pt x="234" y="144"/>
                  <a:pt x="234" y="138"/>
                </a:cubicBezTo>
                <a:cubicBezTo>
                  <a:pt x="234" y="131"/>
                  <a:pt x="234" y="131"/>
                  <a:pt x="234" y="131"/>
                </a:cubicBezTo>
                <a:cubicBezTo>
                  <a:pt x="232" y="133"/>
                  <a:pt x="230" y="135"/>
                  <a:pt x="228" y="138"/>
                </a:cubicBezTo>
                <a:cubicBezTo>
                  <a:pt x="225" y="143"/>
                  <a:pt x="224" y="148"/>
                  <a:pt x="226" y="154"/>
                </a:cubicBezTo>
                <a:cubicBezTo>
                  <a:pt x="228" y="165"/>
                  <a:pt x="240" y="172"/>
                  <a:pt x="251" y="170"/>
                </a:cubicBezTo>
                <a:cubicBezTo>
                  <a:pt x="263" y="167"/>
                  <a:pt x="270" y="155"/>
                  <a:pt x="267" y="144"/>
                </a:cubicBezTo>
                <a:cubicBezTo>
                  <a:pt x="266" y="138"/>
                  <a:pt x="269" y="132"/>
                  <a:pt x="275" y="131"/>
                </a:cubicBezTo>
                <a:cubicBezTo>
                  <a:pt x="281" y="129"/>
                  <a:pt x="286" y="133"/>
                  <a:pt x="288" y="139"/>
                </a:cubicBezTo>
                <a:cubicBezTo>
                  <a:pt x="293" y="162"/>
                  <a:pt x="279" y="185"/>
                  <a:pt x="257" y="190"/>
                </a:cubicBezTo>
                <a:cubicBezTo>
                  <a:pt x="253" y="191"/>
                  <a:pt x="250" y="192"/>
                  <a:pt x="246" y="192"/>
                </a:cubicBezTo>
                <a:cubicBezTo>
                  <a:pt x="227" y="192"/>
                  <a:pt x="210" y="178"/>
                  <a:pt x="205" y="159"/>
                </a:cubicBezTo>
                <a:cubicBezTo>
                  <a:pt x="202" y="148"/>
                  <a:pt x="204" y="136"/>
                  <a:pt x="210" y="127"/>
                </a:cubicBezTo>
                <a:cubicBezTo>
                  <a:pt x="212" y="123"/>
                  <a:pt x="215" y="120"/>
                  <a:pt x="218" y="117"/>
                </a:cubicBezTo>
                <a:cubicBezTo>
                  <a:pt x="213" y="117"/>
                  <a:pt x="213" y="117"/>
                  <a:pt x="213" y="117"/>
                </a:cubicBezTo>
                <a:cubicBezTo>
                  <a:pt x="207" y="117"/>
                  <a:pt x="202" y="112"/>
                  <a:pt x="202" y="106"/>
                </a:cubicBezTo>
                <a:cubicBezTo>
                  <a:pt x="202" y="100"/>
                  <a:pt x="207" y="96"/>
                  <a:pt x="213" y="96"/>
                </a:cubicBezTo>
                <a:close/>
                <a:moveTo>
                  <a:pt x="382" y="342"/>
                </a:moveTo>
                <a:cubicBezTo>
                  <a:pt x="381" y="347"/>
                  <a:pt x="377" y="350"/>
                  <a:pt x="372" y="350"/>
                </a:cubicBezTo>
                <a:cubicBezTo>
                  <a:pt x="371" y="350"/>
                  <a:pt x="370" y="350"/>
                  <a:pt x="369" y="350"/>
                </a:cubicBezTo>
                <a:cubicBezTo>
                  <a:pt x="364" y="349"/>
                  <a:pt x="360" y="343"/>
                  <a:pt x="361" y="337"/>
                </a:cubicBezTo>
                <a:cubicBezTo>
                  <a:pt x="368" y="305"/>
                  <a:pt x="346" y="270"/>
                  <a:pt x="346" y="269"/>
                </a:cubicBezTo>
                <a:cubicBezTo>
                  <a:pt x="326" y="231"/>
                  <a:pt x="326" y="231"/>
                  <a:pt x="326" y="231"/>
                </a:cubicBezTo>
                <a:cubicBezTo>
                  <a:pt x="324" y="229"/>
                  <a:pt x="322" y="227"/>
                  <a:pt x="319" y="226"/>
                </a:cubicBezTo>
                <a:cubicBezTo>
                  <a:pt x="317" y="225"/>
                  <a:pt x="314" y="225"/>
                  <a:pt x="311" y="227"/>
                </a:cubicBezTo>
                <a:cubicBezTo>
                  <a:pt x="309" y="228"/>
                  <a:pt x="307" y="230"/>
                  <a:pt x="306" y="233"/>
                </a:cubicBezTo>
                <a:cubicBezTo>
                  <a:pt x="305" y="236"/>
                  <a:pt x="306" y="239"/>
                  <a:pt x="307" y="241"/>
                </a:cubicBezTo>
                <a:cubicBezTo>
                  <a:pt x="309" y="245"/>
                  <a:pt x="308" y="250"/>
                  <a:pt x="306" y="253"/>
                </a:cubicBezTo>
                <a:cubicBezTo>
                  <a:pt x="305" y="254"/>
                  <a:pt x="304" y="255"/>
                  <a:pt x="303" y="256"/>
                </a:cubicBezTo>
                <a:cubicBezTo>
                  <a:pt x="298" y="258"/>
                  <a:pt x="292" y="257"/>
                  <a:pt x="289" y="252"/>
                </a:cubicBezTo>
                <a:cubicBezTo>
                  <a:pt x="289" y="252"/>
                  <a:pt x="288" y="252"/>
                  <a:pt x="288" y="251"/>
                </a:cubicBezTo>
                <a:cubicBezTo>
                  <a:pt x="283" y="242"/>
                  <a:pt x="283" y="242"/>
                  <a:pt x="283" y="242"/>
                </a:cubicBezTo>
                <a:cubicBezTo>
                  <a:pt x="282" y="239"/>
                  <a:pt x="279" y="237"/>
                  <a:pt x="277" y="237"/>
                </a:cubicBezTo>
                <a:cubicBezTo>
                  <a:pt x="274" y="236"/>
                  <a:pt x="271" y="236"/>
                  <a:pt x="268" y="237"/>
                </a:cubicBezTo>
                <a:cubicBezTo>
                  <a:pt x="263" y="240"/>
                  <a:pt x="261" y="247"/>
                  <a:pt x="264" y="252"/>
                </a:cubicBezTo>
                <a:cubicBezTo>
                  <a:pt x="264" y="252"/>
                  <a:pt x="264" y="252"/>
                  <a:pt x="264" y="252"/>
                </a:cubicBezTo>
                <a:cubicBezTo>
                  <a:pt x="269" y="261"/>
                  <a:pt x="269" y="261"/>
                  <a:pt x="269" y="261"/>
                </a:cubicBezTo>
                <a:cubicBezTo>
                  <a:pt x="272" y="266"/>
                  <a:pt x="270" y="273"/>
                  <a:pt x="265" y="276"/>
                </a:cubicBezTo>
                <a:cubicBezTo>
                  <a:pt x="263" y="277"/>
                  <a:pt x="261" y="277"/>
                  <a:pt x="260" y="277"/>
                </a:cubicBezTo>
                <a:cubicBezTo>
                  <a:pt x="256" y="277"/>
                  <a:pt x="252" y="275"/>
                  <a:pt x="250" y="271"/>
                </a:cubicBezTo>
                <a:cubicBezTo>
                  <a:pt x="235" y="243"/>
                  <a:pt x="235" y="243"/>
                  <a:pt x="235" y="243"/>
                </a:cubicBezTo>
                <a:cubicBezTo>
                  <a:pt x="234" y="241"/>
                  <a:pt x="232" y="239"/>
                  <a:pt x="229" y="238"/>
                </a:cubicBezTo>
                <a:cubicBezTo>
                  <a:pt x="226" y="237"/>
                  <a:pt x="223" y="237"/>
                  <a:pt x="221" y="239"/>
                </a:cubicBezTo>
                <a:cubicBezTo>
                  <a:pt x="218" y="240"/>
                  <a:pt x="217" y="242"/>
                  <a:pt x="216" y="245"/>
                </a:cubicBezTo>
                <a:cubicBezTo>
                  <a:pt x="215" y="248"/>
                  <a:pt x="215" y="251"/>
                  <a:pt x="217" y="253"/>
                </a:cubicBezTo>
                <a:cubicBezTo>
                  <a:pt x="232" y="281"/>
                  <a:pt x="232" y="281"/>
                  <a:pt x="232" y="281"/>
                </a:cubicBezTo>
                <a:cubicBezTo>
                  <a:pt x="234" y="287"/>
                  <a:pt x="232" y="293"/>
                  <a:pt x="227" y="296"/>
                </a:cubicBezTo>
                <a:cubicBezTo>
                  <a:pt x="222" y="299"/>
                  <a:pt x="216" y="297"/>
                  <a:pt x="213" y="291"/>
                </a:cubicBezTo>
                <a:cubicBezTo>
                  <a:pt x="173" y="216"/>
                  <a:pt x="173" y="216"/>
                  <a:pt x="173" y="216"/>
                </a:cubicBezTo>
                <a:cubicBezTo>
                  <a:pt x="171" y="214"/>
                  <a:pt x="169" y="212"/>
                  <a:pt x="166" y="211"/>
                </a:cubicBezTo>
                <a:cubicBezTo>
                  <a:pt x="164" y="210"/>
                  <a:pt x="161" y="210"/>
                  <a:pt x="158" y="212"/>
                </a:cubicBezTo>
                <a:cubicBezTo>
                  <a:pt x="156" y="213"/>
                  <a:pt x="154" y="215"/>
                  <a:pt x="153" y="218"/>
                </a:cubicBezTo>
                <a:cubicBezTo>
                  <a:pt x="152" y="221"/>
                  <a:pt x="152" y="224"/>
                  <a:pt x="154" y="226"/>
                </a:cubicBezTo>
                <a:cubicBezTo>
                  <a:pt x="214" y="339"/>
                  <a:pt x="214" y="339"/>
                  <a:pt x="214" y="339"/>
                </a:cubicBezTo>
                <a:cubicBezTo>
                  <a:pt x="216" y="343"/>
                  <a:pt x="216" y="347"/>
                  <a:pt x="213" y="351"/>
                </a:cubicBezTo>
                <a:cubicBezTo>
                  <a:pt x="211" y="354"/>
                  <a:pt x="206" y="355"/>
                  <a:pt x="202" y="355"/>
                </a:cubicBezTo>
                <a:cubicBezTo>
                  <a:pt x="184" y="350"/>
                  <a:pt x="153" y="324"/>
                  <a:pt x="147" y="319"/>
                </a:cubicBezTo>
                <a:cubicBezTo>
                  <a:pt x="145" y="318"/>
                  <a:pt x="142" y="317"/>
                  <a:pt x="139" y="318"/>
                </a:cubicBezTo>
                <a:cubicBezTo>
                  <a:pt x="137" y="318"/>
                  <a:pt x="134" y="320"/>
                  <a:pt x="133" y="322"/>
                </a:cubicBezTo>
                <a:cubicBezTo>
                  <a:pt x="130" y="326"/>
                  <a:pt x="134" y="334"/>
                  <a:pt x="139" y="337"/>
                </a:cubicBezTo>
                <a:cubicBezTo>
                  <a:pt x="140" y="338"/>
                  <a:pt x="140" y="338"/>
                  <a:pt x="140" y="338"/>
                </a:cubicBezTo>
                <a:cubicBezTo>
                  <a:pt x="141" y="339"/>
                  <a:pt x="199" y="391"/>
                  <a:pt x="250" y="394"/>
                </a:cubicBezTo>
                <a:cubicBezTo>
                  <a:pt x="256" y="395"/>
                  <a:pt x="260" y="400"/>
                  <a:pt x="260" y="406"/>
                </a:cubicBezTo>
                <a:cubicBezTo>
                  <a:pt x="260" y="411"/>
                  <a:pt x="255" y="416"/>
                  <a:pt x="249" y="416"/>
                </a:cubicBezTo>
                <a:cubicBezTo>
                  <a:pt x="249" y="416"/>
                  <a:pt x="249" y="416"/>
                  <a:pt x="249" y="416"/>
                </a:cubicBezTo>
                <a:cubicBezTo>
                  <a:pt x="192" y="412"/>
                  <a:pt x="133" y="360"/>
                  <a:pt x="126" y="354"/>
                </a:cubicBezTo>
                <a:cubicBezTo>
                  <a:pt x="113" y="344"/>
                  <a:pt x="105" y="325"/>
                  <a:pt x="115" y="310"/>
                </a:cubicBezTo>
                <a:cubicBezTo>
                  <a:pt x="120" y="303"/>
                  <a:pt x="127" y="298"/>
                  <a:pt x="136" y="297"/>
                </a:cubicBezTo>
                <a:cubicBezTo>
                  <a:pt x="144" y="295"/>
                  <a:pt x="153" y="297"/>
                  <a:pt x="160" y="302"/>
                </a:cubicBezTo>
                <a:cubicBezTo>
                  <a:pt x="165" y="307"/>
                  <a:pt x="171" y="312"/>
                  <a:pt x="178" y="317"/>
                </a:cubicBezTo>
                <a:cubicBezTo>
                  <a:pt x="135" y="236"/>
                  <a:pt x="135" y="236"/>
                  <a:pt x="135" y="236"/>
                </a:cubicBezTo>
                <a:cubicBezTo>
                  <a:pt x="131" y="229"/>
                  <a:pt x="130" y="220"/>
                  <a:pt x="133" y="212"/>
                </a:cubicBezTo>
                <a:cubicBezTo>
                  <a:pt x="135" y="204"/>
                  <a:pt x="141" y="197"/>
                  <a:pt x="148" y="193"/>
                </a:cubicBezTo>
                <a:cubicBezTo>
                  <a:pt x="156" y="189"/>
                  <a:pt x="164" y="188"/>
                  <a:pt x="172" y="191"/>
                </a:cubicBezTo>
                <a:cubicBezTo>
                  <a:pt x="181" y="193"/>
                  <a:pt x="187" y="199"/>
                  <a:pt x="191" y="206"/>
                </a:cubicBezTo>
                <a:cubicBezTo>
                  <a:pt x="202" y="227"/>
                  <a:pt x="202" y="227"/>
                  <a:pt x="202" y="227"/>
                </a:cubicBezTo>
                <a:cubicBezTo>
                  <a:pt x="205" y="224"/>
                  <a:pt x="208" y="222"/>
                  <a:pt x="211" y="220"/>
                </a:cubicBezTo>
                <a:cubicBezTo>
                  <a:pt x="218" y="216"/>
                  <a:pt x="227" y="215"/>
                  <a:pt x="235" y="218"/>
                </a:cubicBezTo>
                <a:cubicBezTo>
                  <a:pt x="241" y="219"/>
                  <a:pt x="245" y="222"/>
                  <a:pt x="249" y="226"/>
                </a:cubicBezTo>
                <a:cubicBezTo>
                  <a:pt x="252" y="223"/>
                  <a:pt x="255" y="221"/>
                  <a:pt x="259" y="219"/>
                </a:cubicBezTo>
                <a:cubicBezTo>
                  <a:pt x="266" y="215"/>
                  <a:pt x="275" y="214"/>
                  <a:pt x="283" y="216"/>
                </a:cubicBezTo>
                <a:cubicBezTo>
                  <a:pt x="285" y="217"/>
                  <a:pt x="287" y="218"/>
                  <a:pt x="289" y="219"/>
                </a:cubicBezTo>
                <a:cubicBezTo>
                  <a:pt x="292" y="214"/>
                  <a:pt x="296" y="211"/>
                  <a:pt x="301" y="208"/>
                </a:cubicBezTo>
                <a:cubicBezTo>
                  <a:pt x="309" y="204"/>
                  <a:pt x="317" y="203"/>
                  <a:pt x="326" y="206"/>
                </a:cubicBezTo>
                <a:cubicBezTo>
                  <a:pt x="334" y="208"/>
                  <a:pt x="341" y="214"/>
                  <a:pt x="345" y="221"/>
                </a:cubicBezTo>
                <a:cubicBezTo>
                  <a:pt x="365" y="259"/>
                  <a:pt x="365" y="259"/>
                  <a:pt x="365" y="259"/>
                </a:cubicBezTo>
                <a:cubicBezTo>
                  <a:pt x="365" y="260"/>
                  <a:pt x="391" y="300"/>
                  <a:pt x="382" y="34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99" name="Group 1029">
            <a:extLst>
              <a:ext uri="{FF2B5EF4-FFF2-40B4-BE49-F238E27FC236}">
                <a16:creationId xmlns:a16="http://schemas.microsoft.com/office/drawing/2014/main" id="{9A11CC71-1EEA-4145-811B-CDF6084790BF}"/>
              </a:ext>
            </a:extLst>
          </p:cNvPr>
          <p:cNvGrpSpPr>
            <a:grpSpLocks noChangeAspect="1"/>
          </p:cNvGrpSpPr>
          <p:nvPr/>
        </p:nvGrpSpPr>
        <p:grpSpPr bwMode="auto">
          <a:xfrm>
            <a:off x="3520920" y="2536258"/>
            <a:ext cx="367631" cy="367631"/>
            <a:chOff x="4294" y="3991"/>
            <a:chExt cx="340" cy="340"/>
          </a:xfrm>
          <a:solidFill>
            <a:schemeClr val="accent5"/>
          </a:solidFill>
        </p:grpSpPr>
        <p:sp>
          <p:nvSpPr>
            <p:cNvPr id="200" name="Freeform 1030">
              <a:extLst>
                <a:ext uri="{FF2B5EF4-FFF2-40B4-BE49-F238E27FC236}">
                  <a16:creationId xmlns:a16="http://schemas.microsoft.com/office/drawing/2014/main" id="{03212716-35DA-44C3-B67D-DA05AE6CAA8A}"/>
                </a:ext>
              </a:extLst>
            </p:cNvPr>
            <p:cNvSpPr>
              <a:spLocks noEditPoints="1"/>
            </p:cNvSpPr>
            <p:nvPr/>
          </p:nvSpPr>
          <p:spPr bwMode="auto">
            <a:xfrm>
              <a:off x="4294" y="39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1" name="Freeform 1031">
              <a:extLst>
                <a:ext uri="{FF2B5EF4-FFF2-40B4-BE49-F238E27FC236}">
                  <a16:creationId xmlns:a16="http://schemas.microsoft.com/office/drawing/2014/main" id="{CD322054-37C9-49AA-B075-FE79328138E2}"/>
                </a:ext>
              </a:extLst>
            </p:cNvPr>
            <p:cNvSpPr>
              <a:spLocks noEditPoints="1"/>
            </p:cNvSpPr>
            <p:nvPr/>
          </p:nvSpPr>
          <p:spPr bwMode="auto">
            <a:xfrm>
              <a:off x="4364" y="4055"/>
              <a:ext cx="190" cy="212"/>
            </a:xfrm>
            <a:custGeom>
              <a:avLst/>
              <a:gdLst>
                <a:gd name="T0" fmla="*/ 267 w 286"/>
                <a:gd name="T1" fmla="*/ 254 h 320"/>
                <a:gd name="T2" fmla="*/ 256 w 286"/>
                <a:gd name="T3" fmla="*/ 241 h 320"/>
                <a:gd name="T4" fmla="*/ 221 w 286"/>
                <a:gd name="T5" fmla="*/ 135 h 320"/>
                <a:gd name="T6" fmla="*/ 206 w 286"/>
                <a:gd name="T7" fmla="*/ 131 h 320"/>
                <a:gd name="T8" fmla="*/ 202 w 286"/>
                <a:gd name="T9" fmla="*/ 145 h 320"/>
                <a:gd name="T10" fmla="*/ 198 w 286"/>
                <a:gd name="T11" fmla="*/ 160 h 320"/>
                <a:gd name="T12" fmla="*/ 183 w 286"/>
                <a:gd name="T13" fmla="*/ 155 h 320"/>
                <a:gd name="T14" fmla="*/ 172 w 286"/>
                <a:gd name="T15" fmla="*/ 141 h 320"/>
                <a:gd name="T16" fmla="*/ 159 w 286"/>
                <a:gd name="T17" fmla="*/ 156 h 320"/>
                <a:gd name="T18" fmla="*/ 164 w 286"/>
                <a:gd name="T19" fmla="*/ 165 h 320"/>
                <a:gd name="T20" fmla="*/ 155 w 286"/>
                <a:gd name="T21" fmla="*/ 181 h 320"/>
                <a:gd name="T22" fmla="*/ 130 w 286"/>
                <a:gd name="T23" fmla="*/ 147 h 320"/>
                <a:gd name="T24" fmla="*/ 116 w 286"/>
                <a:gd name="T25" fmla="*/ 143 h 320"/>
                <a:gd name="T26" fmla="*/ 112 w 286"/>
                <a:gd name="T27" fmla="*/ 157 h 320"/>
                <a:gd name="T28" fmla="*/ 122 w 286"/>
                <a:gd name="T29" fmla="*/ 200 h 320"/>
                <a:gd name="T30" fmla="*/ 68 w 286"/>
                <a:gd name="T31" fmla="*/ 120 h 320"/>
                <a:gd name="T32" fmla="*/ 53 w 286"/>
                <a:gd name="T33" fmla="*/ 116 h 320"/>
                <a:gd name="T34" fmla="*/ 49 w 286"/>
                <a:gd name="T35" fmla="*/ 130 h 320"/>
                <a:gd name="T36" fmla="*/ 108 w 286"/>
                <a:gd name="T37" fmla="*/ 255 h 320"/>
                <a:gd name="T38" fmla="*/ 42 w 286"/>
                <a:gd name="T39" fmla="*/ 223 h 320"/>
                <a:gd name="T40" fmla="*/ 28 w 286"/>
                <a:gd name="T41" fmla="*/ 226 h 320"/>
                <a:gd name="T42" fmla="*/ 35 w 286"/>
                <a:gd name="T43" fmla="*/ 242 h 320"/>
                <a:gd name="T44" fmla="*/ 155 w 286"/>
                <a:gd name="T45" fmla="*/ 310 h 320"/>
                <a:gd name="T46" fmla="*/ 144 w 286"/>
                <a:gd name="T47" fmla="*/ 320 h 320"/>
                <a:gd name="T48" fmla="*/ 10 w 286"/>
                <a:gd name="T49" fmla="*/ 214 h 320"/>
                <a:gd name="T50" fmla="*/ 55 w 286"/>
                <a:gd name="T51" fmla="*/ 206 h 320"/>
                <a:gd name="T52" fmla="*/ 30 w 286"/>
                <a:gd name="T53" fmla="*/ 140 h 320"/>
                <a:gd name="T54" fmla="*/ 43 w 286"/>
                <a:gd name="T55" fmla="*/ 97 h 320"/>
                <a:gd name="T56" fmla="*/ 86 w 286"/>
                <a:gd name="T57" fmla="*/ 110 h 320"/>
                <a:gd name="T58" fmla="*/ 106 w 286"/>
                <a:gd name="T59" fmla="*/ 124 h 320"/>
                <a:gd name="T60" fmla="*/ 144 w 286"/>
                <a:gd name="T61" fmla="*/ 130 h 320"/>
                <a:gd name="T62" fmla="*/ 178 w 286"/>
                <a:gd name="T63" fmla="*/ 120 h 320"/>
                <a:gd name="T64" fmla="*/ 196 w 286"/>
                <a:gd name="T65" fmla="*/ 112 h 320"/>
                <a:gd name="T66" fmla="*/ 240 w 286"/>
                <a:gd name="T67" fmla="*/ 125 h 320"/>
                <a:gd name="T68" fmla="*/ 277 w 286"/>
                <a:gd name="T69" fmla="*/ 246 h 320"/>
                <a:gd name="T70" fmla="*/ 108 w 286"/>
                <a:gd name="T71" fmla="*/ 0 h 320"/>
                <a:gd name="T72" fmla="*/ 151 w 286"/>
                <a:gd name="T73" fmla="*/ 10 h 320"/>
                <a:gd name="T74" fmla="*/ 140 w 286"/>
                <a:gd name="T75" fmla="*/ 53 h 320"/>
                <a:gd name="T76" fmla="*/ 129 w 286"/>
                <a:gd name="T77" fmla="*/ 35 h 320"/>
                <a:gd name="T78" fmla="*/ 121 w 286"/>
                <a:gd name="T79" fmla="*/ 58 h 320"/>
                <a:gd name="T80" fmla="*/ 162 w 286"/>
                <a:gd name="T81" fmla="*/ 48 h 320"/>
                <a:gd name="T82" fmla="*/ 183 w 286"/>
                <a:gd name="T83" fmla="*/ 43 h 320"/>
                <a:gd name="T84" fmla="*/ 141 w 286"/>
                <a:gd name="T85" fmla="*/ 96 h 320"/>
                <a:gd name="T86" fmla="*/ 105 w 286"/>
                <a:gd name="T87" fmla="*/ 31 h 320"/>
                <a:gd name="T88" fmla="*/ 108 w 286"/>
                <a:gd name="T8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6" h="320">
                  <a:moveTo>
                    <a:pt x="277" y="246"/>
                  </a:moveTo>
                  <a:cubicBezTo>
                    <a:pt x="276" y="251"/>
                    <a:pt x="272" y="254"/>
                    <a:pt x="267" y="254"/>
                  </a:cubicBezTo>
                  <a:cubicBezTo>
                    <a:pt x="266" y="254"/>
                    <a:pt x="265" y="254"/>
                    <a:pt x="264" y="254"/>
                  </a:cubicBezTo>
                  <a:cubicBezTo>
                    <a:pt x="259" y="253"/>
                    <a:pt x="255" y="247"/>
                    <a:pt x="256" y="241"/>
                  </a:cubicBezTo>
                  <a:cubicBezTo>
                    <a:pt x="263" y="209"/>
                    <a:pt x="241" y="174"/>
                    <a:pt x="241" y="173"/>
                  </a:cubicBezTo>
                  <a:cubicBezTo>
                    <a:pt x="221" y="135"/>
                    <a:pt x="221" y="135"/>
                    <a:pt x="221" y="135"/>
                  </a:cubicBezTo>
                  <a:cubicBezTo>
                    <a:pt x="219" y="133"/>
                    <a:pt x="217" y="131"/>
                    <a:pt x="214" y="130"/>
                  </a:cubicBezTo>
                  <a:cubicBezTo>
                    <a:pt x="212" y="129"/>
                    <a:pt x="209" y="129"/>
                    <a:pt x="206" y="131"/>
                  </a:cubicBezTo>
                  <a:cubicBezTo>
                    <a:pt x="204" y="132"/>
                    <a:pt x="202" y="134"/>
                    <a:pt x="201" y="137"/>
                  </a:cubicBezTo>
                  <a:cubicBezTo>
                    <a:pt x="200" y="140"/>
                    <a:pt x="201" y="143"/>
                    <a:pt x="202" y="145"/>
                  </a:cubicBezTo>
                  <a:cubicBezTo>
                    <a:pt x="204" y="149"/>
                    <a:pt x="203" y="154"/>
                    <a:pt x="201" y="157"/>
                  </a:cubicBezTo>
                  <a:cubicBezTo>
                    <a:pt x="200" y="158"/>
                    <a:pt x="199" y="159"/>
                    <a:pt x="198" y="160"/>
                  </a:cubicBezTo>
                  <a:cubicBezTo>
                    <a:pt x="193" y="162"/>
                    <a:pt x="187" y="161"/>
                    <a:pt x="184" y="156"/>
                  </a:cubicBezTo>
                  <a:cubicBezTo>
                    <a:pt x="184" y="156"/>
                    <a:pt x="183" y="156"/>
                    <a:pt x="183" y="155"/>
                  </a:cubicBezTo>
                  <a:cubicBezTo>
                    <a:pt x="178" y="146"/>
                    <a:pt x="178" y="146"/>
                    <a:pt x="178" y="146"/>
                  </a:cubicBezTo>
                  <a:cubicBezTo>
                    <a:pt x="177" y="143"/>
                    <a:pt x="174" y="141"/>
                    <a:pt x="172" y="141"/>
                  </a:cubicBezTo>
                  <a:cubicBezTo>
                    <a:pt x="169" y="140"/>
                    <a:pt x="166" y="140"/>
                    <a:pt x="163" y="141"/>
                  </a:cubicBezTo>
                  <a:cubicBezTo>
                    <a:pt x="158" y="144"/>
                    <a:pt x="156" y="151"/>
                    <a:pt x="159" y="156"/>
                  </a:cubicBezTo>
                  <a:cubicBezTo>
                    <a:pt x="159" y="156"/>
                    <a:pt x="159" y="156"/>
                    <a:pt x="159" y="156"/>
                  </a:cubicBezTo>
                  <a:cubicBezTo>
                    <a:pt x="164" y="165"/>
                    <a:pt x="164" y="165"/>
                    <a:pt x="164" y="165"/>
                  </a:cubicBezTo>
                  <a:cubicBezTo>
                    <a:pt x="167" y="170"/>
                    <a:pt x="165" y="177"/>
                    <a:pt x="160" y="180"/>
                  </a:cubicBezTo>
                  <a:cubicBezTo>
                    <a:pt x="158" y="181"/>
                    <a:pt x="156" y="181"/>
                    <a:pt x="155" y="181"/>
                  </a:cubicBezTo>
                  <a:cubicBezTo>
                    <a:pt x="151" y="181"/>
                    <a:pt x="147" y="179"/>
                    <a:pt x="145" y="175"/>
                  </a:cubicBezTo>
                  <a:cubicBezTo>
                    <a:pt x="130" y="147"/>
                    <a:pt x="130" y="147"/>
                    <a:pt x="130" y="147"/>
                  </a:cubicBezTo>
                  <a:cubicBezTo>
                    <a:pt x="129" y="145"/>
                    <a:pt x="127" y="143"/>
                    <a:pt x="124" y="142"/>
                  </a:cubicBezTo>
                  <a:cubicBezTo>
                    <a:pt x="121" y="141"/>
                    <a:pt x="118" y="141"/>
                    <a:pt x="116" y="143"/>
                  </a:cubicBezTo>
                  <a:cubicBezTo>
                    <a:pt x="113" y="144"/>
                    <a:pt x="112" y="146"/>
                    <a:pt x="111" y="149"/>
                  </a:cubicBezTo>
                  <a:cubicBezTo>
                    <a:pt x="110" y="152"/>
                    <a:pt x="110" y="155"/>
                    <a:pt x="112" y="157"/>
                  </a:cubicBezTo>
                  <a:cubicBezTo>
                    <a:pt x="127" y="185"/>
                    <a:pt x="127" y="185"/>
                    <a:pt x="127" y="185"/>
                  </a:cubicBezTo>
                  <a:cubicBezTo>
                    <a:pt x="129" y="191"/>
                    <a:pt x="127" y="197"/>
                    <a:pt x="122" y="200"/>
                  </a:cubicBezTo>
                  <a:cubicBezTo>
                    <a:pt x="117" y="203"/>
                    <a:pt x="111" y="201"/>
                    <a:pt x="108" y="195"/>
                  </a:cubicBezTo>
                  <a:cubicBezTo>
                    <a:pt x="68" y="120"/>
                    <a:pt x="68" y="120"/>
                    <a:pt x="68" y="120"/>
                  </a:cubicBezTo>
                  <a:cubicBezTo>
                    <a:pt x="66" y="118"/>
                    <a:pt x="64" y="116"/>
                    <a:pt x="61" y="115"/>
                  </a:cubicBezTo>
                  <a:cubicBezTo>
                    <a:pt x="59" y="114"/>
                    <a:pt x="56" y="114"/>
                    <a:pt x="53" y="116"/>
                  </a:cubicBezTo>
                  <a:cubicBezTo>
                    <a:pt x="51" y="117"/>
                    <a:pt x="49" y="119"/>
                    <a:pt x="48" y="122"/>
                  </a:cubicBezTo>
                  <a:cubicBezTo>
                    <a:pt x="47" y="125"/>
                    <a:pt x="47" y="128"/>
                    <a:pt x="49" y="130"/>
                  </a:cubicBezTo>
                  <a:cubicBezTo>
                    <a:pt x="109" y="243"/>
                    <a:pt x="109" y="243"/>
                    <a:pt x="109" y="243"/>
                  </a:cubicBezTo>
                  <a:cubicBezTo>
                    <a:pt x="111" y="247"/>
                    <a:pt x="111" y="251"/>
                    <a:pt x="108" y="255"/>
                  </a:cubicBezTo>
                  <a:cubicBezTo>
                    <a:pt x="106" y="258"/>
                    <a:pt x="101" y="259"/>
                    <a:pt x="97" y="259"/>
                  </a:cubicBezTo>
                  <a:cubicBezTo>
                    <a:pt x="79" y="254"/>
                    <a:pt x="48" y="228"/>
                    <a:pt x="42" y="223"/>
                  </a:cubicBezTo>
                  <a:cubicBezTo>
                    <a:pt x="40" y="222"/>
                    <a:pt x="37" y="221"/>
                    <a:pt x="34" y="222"/>
                  </a:cubicBezTo>
                  <a:cubicBezTo>
                    <a:pt x="32" y="222"/>
                    <a:pt x="29" y="224"/>
                    <a:pt x="28" y="226"/>
                  </a:cubicBezTo>
                  <a:cubicBezTo>
                    <a:pt x="25" y="230"/>
                    <a:pt x="29" y="238"/>
                    <a:pt x="34" y="241"/>
                  </a:cubicBezTo>
                  <a:cubicBezTo>
                    <a:pt x="35" y="242"/>
                    <a:pt x="35" y="242"/>
                    <a:pt x="35" y="242"/>
                  </a:cubicBezTo>
                  <a:cubicBezTo>
                    <a:pt x="36" y="243"/>
                    <a:pt x="94" y="295"/>
                    <a:pt x="145" y="298"/>
                  </a:cubicBezTo>
                  <a:cubicBezTo>
                    <a:pt x="151" y="299"/>
                    <a:pt x="155" y="304"/>
                    <a:pt x="155" y="310"/>
                  </a:cubicBezTo>
                  <a:cubicBezTo>
                    <a:pt x="155" y="315"/>
                    <a:pt x="150" y="320"/>
                    <a:pt x="144" y="320"/>
                  </a:cubicBezTo>
                  <a:cubicBezTo>
                    <a:pt x="144" y="320"/>
                    <a:pt x="144" y="320"/>
                    <a:pt x="144" y="320"/>
                  </a:cubicBezTo>
                  <a:cubicBezTo>
                    <a:pt x="87" y="316"/>
                    <a:pt x="28" y="264"/>
                    <a:pt x="21" y="258"/>
                  </a:cubicBezTo>
                  <a:cubicBezTo>
                    <a:pt x="8" y="248"/>
                    <a:pt x="0" y="229"/>
                    <a:pt x="10" y="214"/>
                  </a:cubicBezTo>
                  <a:cubicBezTo>
                    <a:pt x="15" y="207"/>
                    <a:pt x="22" y="202"/>
                    <a:pt x="31" y="201"/>
                  </a:cubicBezTo>
                  <a:cubicBezTo>
                    <a:pt x="39" y="199"/>
                    <a:pt x="48" y="201"/>
                    <a:pt x="55" y="206"/>
                  </a:cubicBezTo>
                  <a:cubicBezTo>
                    <a:pt x="60" y="211"/>
                    <a:pt x="66" y="216"/>
                    <a:pt x="73" y="221"/>
                  </a:cubicBezTo>
                  <a:cubicBezTo>
                    <a:pt x="30" y="140"/>
                    <a:pt x="30" y="140"/>
                    <a:pt x="30" y="140"/>
                  </a:cubicBezTo>
                  <a:cubicBezTo>
                    <a:pt x="26" y="133"/>
                    <a:pt x="25" y="124"/>
                    <a:pt x="28" y="116"/>
                  </a:cubicBezTo>
                  <a:cubicBezTo>
                    <a:pt x="30" y="108"/>
                    <a:pt x="36" y="101"/>
                    <a:pt x="43" y="97"/>
                  </a:cubicBezTo>
                  <a:cubicBezTo>
                    <a:pt x="51" y="93"/>
                    <a:pt x="59" y="92"/>
                    <a:pt x="67" y="95"/>
                  </a:cubicBezTo>
                  <a:cubicBezTo>
                    <a:pt x="76" y="97"/>
                    <a:pt x="82" y="103"/>
                    <a:pt x="86" y="110"/>
                  </a:cubicBezTo>
                  <a:cubicBezTo>
                    <a:pt x="97" y="131"/>
                    <a:pt x="97" y="131"/>
                    <a:pt x="97" y="131"/>
                  </a:cubicBezTo>
                  <a:cubicBezTo>
                    <a:pt x="100" y="128"/>
                    <a:pt x="103" y="126"/>
                    <a:pt x="106" y="124"/>
                  </a:cubicBezTo>
                  <a:cubicBezTo>
                    <a:pt x="113" y="120"/>
                    <a:pt x="122" y="119"/>
                    <a:pt x="130" y="122"/>
                  </a:cubicBezTo>
                  <a:cubicBezTo>
                    <a:pt x="136" y="123"/>
                    <a:pt x="140" y="126"/>
                    <a:pt x="144" y="130"/>
                  </a:cubicBezTo>
                  <a:cubicBezTo>
                    <a:pt x="147" y="127"/>
                    <a:pt x="150" y="125"/>
                    <a:pt x="154" y="123"/>
                  </a:cubicBezTo>
                  <a:cubicBezTo>
                    <a:pt x="161" y="119"/>
                    <a:pt x="170" y="118"/>
                    <a:pt x="178" y="120"/>
                  </a:cubicBezTo>
                  <a:cubicBezTo>
                    <a:pt x="180" y="121"/>
                    <a:pt x="182" y="122"/>
                    <a:pt x="184" y="123"/>
                  </a:cubicBezTo>
                  <a:cubicBezTo>
                    <a:pt x="187" y="118"/>
                    <a:pt x="191" y="115"/>
                    <a:pt x="196" y="112"/>
                  </a:cubicBezTo>
                  <a:cubicBezTo>
                    <a:pt x="204" y="108"/>
                    <a:pt x="212" y="107"/>
                    <a:pt x="221" y="110"/>
                  </a:cubicBezTo>
                  <a:cubicBezTo>
                    <a:pt x="229" y="112"/>
                    <a:pt x="236" y="118"/>
                    <a:pt x="240" y="125"/>
                  </a:cubicBezTo>
                  <a:cubicBezTo>
                    <a:pt x="260" y="163"/>
                    <a:pt x="260" y="163"/>
                    <a:pt x="260" y="163"/>
                  </a:cubicBezTo>
                  <a:cubicBezTo>
                    <a:pt x="260" y="164"/>
                    <a:pt x="286" y="204"/>
                    <a:pt x="277" y="246"/>
                  </a:cubicBezTo>
                  <a:close/>
                  <a:moveTo>
                    <a:pt x="97" y="10"/>
                  </a:moveTo>
                  <a:cubicBezTo>
                    <a:pt x="97" y="4"/>
                    <a:pt x="102" y="0"/>
                    <a:pt x="108" y="0"/>
                  </a:cubicBezTo>
                  <a:cubicBezTo>
                    <a:pt x="140" y="0"/>
                    <a:pt x="140" y="0"/>
                    <a:pt x="140" y="0"/>
                  </a:cubicBezTo>
                  <a:cubicBezTo>
                    <a:pt x="146" y="0"/>
                    <a:pt x="151" y="4"/>
                    <a:pt x="151" y="10"/>
                  </a:cubicBezTo>
                  <a:cubicBezTo>
                    <a:pt x="151" y="42"/>
                    <a:pt x="151" y="42"/>
                    <a:pt x="151" y="42"/>
                  </a:cubicBezTo>
                  <a:cubicBezTo>
                    <a:pt x="151" y="48"/>
                    <a:pt x="146" y="53"/>
                    <a:pt x="140" y="53"/>
                  </a:cubicBezTo>
                  <a:cubicBezTo>
                    <a:pt x="134" y="53"/>
                    <a:pt x="129" y="48"/>
                    <a:pt x="129" y="42"/>
                  </a:cubicBezTo>
                  <a:cubicBezTo>
                    <a:pt x="129" y="35"/>
                    <a:pt x="129" y="35"/>
                    <a:pt x="129" y="35"/>
                  </a:cubicBezTo>
                  <a:cubicBezTo>
                    <a:pt x="127" y="37"/>
                    <a:pt x="125" y="39"/>
                    <a:pt x="123" y="42"/>
                  </a:cubicBezTo>
                  <a:cubicBezTo>
                    <a:pt x="120" y="47"/>
                    <a:pt x="119" y="52"/>
                    <a:pt x="121" y="58"/>
                  </a:cubicBezTo>
                  <a:cubicBezTo>
                    <a:pt x="123" y="69"/>
                    <a:pt x="135" y="76"/>
                    <a:pt x="146" y="74"/>
                  </a:cubicBezTo>
                  <a:cubicBezTo>
                    <a:pt x="158" y="71"/>
                    <a:pt x="165" y="59"/>
                    <a:pt x="162" y="48"/>
                  </a:cubicBezTo>
                  <a:cubicBezTo>
                    <a:pt x="161" y="42"/>
                    <a:pt x="164" y="36"/>
                    <a:pt x="170" y="35"/>
                  </a:cubicBezTo>
                  <a:cubicBezTo>
                    <a:pt x="176" y="33"/>
                    <a:pt x="181" y="37"/>
                    <a:pt x="183" y="43"/>
                  </a:cubicBezTo>
                  <a:cubicBezTo>
                    <a:pt x="188" y="66"/>
                    <a:pt x="174" y="89"/>
                    <a:pt x="152" y="94"/>
                  </a:cubicBezTo>
                  <a:cubicBezTo>
                    <a:pt x="148" y="95"/>
                    <a:pt x="145" y="96"/>
                    <a:pt x="141" y="96"/>
                  </a:cubicBezTo>
                  <a:cubicBezTo>
                    <a:pt x="122" y="96"/>
                    <a:pt x="105" y="82"/>
                    <a:pt x="100" y="63"/>
                  </a:cubicBezTo>
                  <a:cubicBezTo>
                    <a:pt x="97" y="52"/>
                    <a:pt x="99" y="40"/>
                    <a:pt x="105" y="31"/>
                  </a:cubicBezTo>
                  <a:cubicBezTo>
                    <a:pt x="107" y="27"/>
                    <a:pt x="110" y="24"/>
                    <a:pt x="113" y="21"/>
                  </a:cubicBezTo>
                  <a:cubicBezTo>
                    <a:pt x="108" y="21"/>
                    <a:pt x="108" y="21"/>
                    <a:pt x="108" y="21"/>
                  </a:cubicBezTo>
                  <a:cubicBezTo>
                    <a:pt x="102" y="21"/>
                    <a:pt x="97" y="16"/>
                    <a:pt x="97"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2" name="Freeform 1035">
            <a:extLst>
              <a:ext uri="{FF2B5EF4-FFF2-40B4-BE49-F238E27FC236}">
                <a16:creationId xmlns:a16="http://schemas.microsoft.com/office/drawing/2014/main" id="{F6DD32F2-8BAD-4382-A452-4EE3FBCF1211}"/>
              </a:ext>
            </a:extLst>
          </p:cNvPr>
          <p:cNvSpPr>
            <a:spLocks noChangeAspect="1" noEditPoints="1"/>
          </p:cNvSpPr>
          <p:nvPr/>
        </p:nvSpPr>
        <p:spPr bwMode="auto">
          <a:xfrm>
            <a:off x="3956780" y="2536258"/>
            <a:ext cx="368713" cy="367631"/>
          </a:xfrm>
          <a:custGeom>
            <a:avLst/>
            <a:gdLst>
              <a:gd name="T0" fmla="*/ 0 w 512"/>
              <a:gd name="T1" fmla="*/ 256 h 512"/>
              <a:gd name="T2" fmla="*/ 512 w 512"/>
              <a:gd name="T3" fmla="*/ 256 h 512"/>
              <a:gd name="T4" fmla="*/ 149 w 512"/>
              <a:gd name="T5" fmla="*/ 117 h 512"/>
              <a:gd name="T6" fmla="*/ 170 w 512"/>
              <a:gd name="T7" fmla="*/ 117 h 512"/>
              <a:gd name="T8" fmla="*/ 256 w 512"/>
              <a:gd name="T9" fmla="*/ 96 h 512"/>
              <a:gd name="T10" fmla="*/ 359 w 512"/>
              <a:gd name="T11" fmla="*/ 157 h 512"/>
              <a:gd name="T12" fmla="*/ 344 w 512"/>
              <a:gd name="T13" fmla="*/ 156 h 512"/>
              <a:gd name="T14" fmla="*/ 189 w 512"/>
              <a:gd name="T15" fmla="*/ 138 h 512"/>
              <a:gd name="T16" fmla="*/ 202 w 512"/>
              <a:gd name="T17" fmla="*/ 149 h 512"/>
              <a:gd name="T18" fmla="*/ 160 w 512"/>
              <a:gd name="T19" fmla="*/ 160 h 512"/>
              <a:gd name="T20" fmla="*/ 149 w 512"/>
              <a:gd name="T21" fmla="*/ 117 h 512"/>
              <a:gd name="T22" fmla="*/ 341 w 512"/>
              <a:gd name="T23" fmla="*/ 416 h 512"/>
              <a:gd name="T24" fmla="*/ 333 w 512"/>
              <a:gd name="T25" fmla="*/ 398 h 512"/>
              <a:gd name="T26" fmla="*/ 351 w 512"/>
              <a:gd name="T27" fmla="*/ 288 h 512"/>
              <a:gd name="T28" fmla="*/ 330 w 512"/>
              <a:gd name="T29" fmla="*/ 286 h 512"/>
              <a:gd name="T30" fmla="*/ 320 w 512"/>
              <a:gd name="T31" fmla="*/ 298 h 512"/>
              <a:gd name="T32" fmla="*/ 320 w 512"/>
              <a:gd name="T33" fmla="*/ 298 h 512"/>
              <a:gd name="T34" fmla="*/ 309 w 512"/>
              <a:gd name="T35" fmla="*/ 277 h 512"/>
              <a:gd name="T36" fmla="*/ 288 w 512"/>
              <a:gd name="T37" fmla="*/ 277 h 512"/>
              <a:gd name="T38" fmla="*/ 277 w 512"/>
              <a:gd name="T39" fmla="*/ 298 h 512"/>
              <a:gd name="T40" fmla="*/ 266 w 512"/>
              <a:gd name="T41" fmla="*/ 256 h 512"/>
              <a:gd name="T42" fmla="*/ 245 w 512"/>
              <a:gd name="T43" fmla="*/ 256 h 512"/>
              <a:gd name="T44" fmla="*/ 234 w 512"/>
              <a:gd name="T45" fmla="*/ 298 h 512"/>
              <a:gd name="T46" fmla="*/ 224 w 512"/>
              <a:gd name="T47" fmla="*/ 202 h 512"/>
              <a:gd name="T48" fmla="*/ 202 w 512"/>
              <a:gd name="T49" fmla="*/ 202 h 512"/>
              <a:gd name="T50" fmla="*/ 196 w 512"/>
              <a:gd name="T51" fmla="*/ 340 h 512"/>
              <a:gd name="T52" fmla="*/ 152 w 512"/>
              <a:gd name="T53" fmla="*/ 281 h 512"/>
              <a:gd name="T54" fmla="*/ 138 w 512"/>
              <a:gd name="T55" fmla="*/ 277 h 512"/>
              <a:gd name="T56" fmla="*/ 138 w 512"/>
              <a:gd name="T57" fmla="*/ 295 h 512"/>
              <a:gd name="T58" fmla="*/ 211 w 512"/>
              <a:gd name="T59" fmla="*/ 411 h 512"/>
              <a:gd name="T60" fmla="*/ 197 w 512"/>
              <a:gd name="T61" fmla="*/ 414 h 512"/>
              <a:gd name="T62" fmla="*/ 129 w 512"/>
              <a:gd name="T63" fmla="*/ 258 h 512"/>
              <a:gd name="T64" fmla="*/ 172 w 512"/>
              <a:gd name="T65" fmla="*/ 272 h 512"/>
              <a:gd name="T66" fmla="*/ 181 w 512"/>
              <a:gd name="T67" fmla="*/ 202 h 512"/>
              <a:gd name="T68" fmla="*/ 245 w 512"/>
              <a:gd name="T69" fmla="*/ 202 h 512"/>
              <a:gd name="T70" fmla="*/ 256 w 512"/>
              <a:gd name="T71" fmla="*/ 224 h 512"/>
              <a:gd name="T72" fmla="*/ 298 w 512"/>
              <a:gd name="T73" fmla="*/ 245 h 512"/>
              <a:gd name="T74" fmla="*/ 341 w 512"/>
              <a:gd name="T75" fmla="*/ 256 h 512"/>
              <a:gd name="T76" fmla="*/ 373 w 512"/>
              <a:gd name="T7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117"/>
                </a:moveTo>
                <a:cubicBezTo>
                  <a:pt x="149" y="111"/>
                  <a:pt x="154" y="106"/>
                  <a:pt x="160" y="106"/>
                </a:cubicBezTo>
                <a:cubicBezTo>
                  <a:pt x="166" y="106"/>
                  <a:pt x="170" y="111"/>
                  <a:pt x="170" y="117"/>
                </a:cubicBezTo>
                <a:cubicBezTo>
                  <a:pt x="170" y="126"/>
                  <a:pt x="170" y="126"/>
                  <a:pt x="170" y="126"/>
                </a:cubicBezTo>
                <a:cubicBezTo>
                  <a:pt x="195" y="106"/>
                  <a:pt x="225" y="96"/>
                  <a:pt x="256" y="96"/>
                </a:cubicBezTo>
                <a:cubicBezTo>
                  <a:pt x="296" y="96"/>
                  <a:pt x="333" y="113"/>
                  <a:pt x="360" y="142"/>
                </a:cubicBezTo>
                <a:cubicBezTo>
                  <a:pt x="364" y="146"/>
                  <a:pt x="363" y="153"/>
                  <a:pt x="359" y="157"/>
                </a:cubicBezTo>
                <a:cubicBezTo>
                  <a:pt x="357" y="159"/>
                  <a:pt x="354" y="160"/>
                  <a:pt x="352" y="160"/>
                </a:cubicBezTo>
                <a:cubicBezTo>
                  <a:pt x="349" y="160"/>
                  <a:pt x="346" y="158"/>
                  <a:pt x="344" y="156"/>
                </a:cubicBezTo>
                <a:cubicBezTo>
                  <a:pt x="321" y="131"/>
                  <a:pt x="290" y="117"/>
                  <a:pt x="256" y="117"/>
                </a:cubicBezTo>
                <a:cubicBezTo>
                  <a:pt x="232" y="117"/>
                  <a:pt x="209" y="125"/>
                  <a:pt x="189" y="138"/>
                </a:cubicBezTo>
                <a:cubicBezTo>
                  <a:pt x="192" y="138"/>
                  <a:pt x="192" y="138"/>
                  <a:pt x="192" y="138"/>
                </a:cubicBezTo>
                <a:cubicBezTo>
                  <a:pt x="198" y="138"/>
                  <a:pt x="202" y="143"/>
                  <a:pt x="202" y="149"/>
                </a:cubicBezTo>
                <a:cubicBezTo>
                  <a:pt x="202" y="155"/>
                  <a:pt x="198" y="160"/>
                  <a:pt x="192" y="160"/>
                </a:cubicBezTo>
                <a:cubicBezTo>
                  <a:pt x="160" y="160"/>
                  <a:pt x="160" y="160"/>
                  <a:pt x="160" y="160"/>
                </a:cubicBezTo>
                <a:cubicBezTo>
                  <a:pt x="154" y="160"/>
                  <a:pt x="149" y="155"/>
                  <a:pt x="149" y="149"/>
                </a:cubicBezTo>
                <a:lnTo>
                  <a:pt x="149" y="117"/>
                </a:ln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3" name="Group 1038">
            <a:extLst>
              <a:ext uri="{FF2B5EF4-FFF2-40B4-BE49-F238E27FC236}">
                <a16:creationId xmlns:a16="http://schemas.microsoft.com/office/drawing/2014/main" id="{B278EC0E-41D2-4838-A33B-71649D2F3E5A}"/>
              </a:ext>
            </a:extLst>
          </p:cNvPr>
          <p:cNvGrpSpPr>
            <a:grpSpLocks noChangeAspect="1"/>
          </p:cNvGrpSpPr>
          <p:nvPr/>
        </p:nvGrpSpPr>
        <p:grpSpPr bwMode="auto">
          <a:xfrm>
            <a:off x="4393722" y="2536258"/>
            <a:ext cx="367631" cy="367631"/>
            <a:chOff x="4995" y="3988"/>
            <a:chExt cx="340" cy="340"/>
          </a:xfrm>
          <a:solidFill>
            <a:schemeClr val="accent5"/>
          </a:solidFill>
        </p:grpSpPr>
        <p:sp>
          <p:nvSpPr>
            <p:cNvPr id="204" name="Freeform 1039">
              <a:extLst>
                <a:ext uri="{FF2B5EF4-FFF2-40B4-BE49-F238E27FC236}">
                  <a16:creationId xmlns:a16="http://schemas.microsoft.com/office/drawing/2014/main" id="{6C9F9B99-3885-4D47-A31D-543CD7F84721}"/>
                </a:ext>
              </a:extLst>
            </p:cNvPr>
            <p:cNvSpPr>
              <a:spLocks noEditPoints="1"/>
            </p:cNvSpPr>
            <p:nvPr/>
          </p:nvSpPr>
          <p:spPr bwMode="auto">
            <a:xfrm>
              <a:off x="4995" y="39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5" name="Freeform 1040">
              <a:extLst>
                <a:ext uri="{FF2B5EF4-FFF2-40B4-BE49-F238E27FC236}">
                  <a16:creationId xmlns:a16="http://schemas.microsoft.com/office/drawing/2014/main" id="{6B38D6F2-69EB-4F25-8AF3-A49A38A9D82E}"/>
                </a:ext>
              </a:extLst>
            </p:cNvPr>
            <p:cNvSpPr>
              <a:spLocks noEditPoints="1"/>
            </p:cNvSpPr>
            <p:nvPr/>
          </p:nvSpPr>
          <p:spPr bwMode="auto">
            <a:xfrm>
              <a:off x="5069" y="4052"/>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49 w 265"/>
                <a:gd name="T57" fmla="*/ 64 h 320"/>
                <a:gd name="T58" fmla="*/ 91 w 265"/>
                <a:gd name="T59" fmla="*/ 53 h 320"/>
                <a:gd name="T60" fmla="*/ 78 w 265"/>
                <a:gd name="T61" fmla="*/ 42 h 320"/>
                <a:gd name="T62" fmla="*/ 233 w 265"/>
                <a:gd name="T63" fmla="*/ 60 h 320"/>
                <a:gd name="T64" fmla="*/ 248 w 265"/>
                <a:gd name="T65" fmla="*/ 61 h 320"/>
                <a:gd name="T66" fmla="*/ 145 w 265"/>
                <a:gd name="T67" fmla="*/ 0 h 320"/>
                <a:gd name="T68" fmla="*/ 59 w 265"/>
                <a:gd name="T69" fmla="*/ 21 h 320"/>
                <a:gd name="T70" fmla="*/ 38 w 265"/>
                <a:gd name="T71" fmla="*/ 21 h 320"/>
                <a:gd name="T72" fmla="*/ 49 w 265"/>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49" y="64"/>
                  </a:moveTo>
                  <a:cubicBezTo>
                    <a:pt x="81" y="64"/>
                    <a:pt x="81" y="64"/>
                    <a:pt x="81" y="64"/>
                  </a:cubicBezTo>
                  <a:cubicBezTo>
                    <a:pt x="87" y="64"/>
                    <a:pt x="91" y="59"/>
                    <a:pt x="91" y="53"/>
                  </a:cubicBezTo>
                  <a:cubicBezTo>
                    <a:pt x="91" y="47"/>
                    <a:pt x="87" y="42"/>
                    <a:pt x="81" y="42"/>
                  </a:cubicBezTo>
                  <a:cubicBezTo>
                    <a:pt x="78" y="42"/>
                    <a:pt x="78" y="42"/>
                    <a:pt x="78" y="42"/>
                  </a:cubicBezTo>
                  <a:cubicBezTo>
                    <a:pt x="98" y="29"/>
                    <a:pt x="121" y="21"/>
                    <a:pt x="145" y="21"/>
                  </a:cubicBezTo>
                  <a:cubicBezTo>
                    <a:pt x="179" y="21"/>
                    <a:pt x="210" y="35"/>
                    <a:pt x="233" y="60"/>
                  </a:cubicBezTo>
                  <a:cubicBezTo>
                    <a:pt x="235" y="62"/>
                    <a:pt x="238" y="64"/>
                    <a:pt x="241" y="64"/>
                  </a:cubicBezTo>
                  <a:cubicBezTo>
                    <a:pt x="243" y="64"/>
                    <a:pt x="246" y="63"/>
                    <a:pt x="248" y="61"/>
                  </a:cubicBezTo>
                  <a:cubicBezTo>
                    <a:pt x="252" y="57"/>
                    <a:pt x="253" y="50"/>
                    <a:pt x="249" y="46"/>
                  </a:cubicBezTo>
                  <a:cubicBezTo>
                    <a:pt x="222" y="17"/>
                    <a:pt x="185" y="0"/>
                    <a:pt x="145" y="0"/>
                  </a:cubicBezTo>
                  <a:cubicBezTo>
                    <a:pt x="114" y="0"/>
                    <a:pt x="84" y="10"/>
                    <a:pt x="59" y="30"/>
                  </a:cubicBezTo>
                  <a:cubicBezTo>
                    <a:pt x="59" y="21"/>
                    <a:pt x="59" y="21"/>
                    <a:pt x="59" y="21"/>
                  </a:cubicBezTo>
                  <a:cubicBezTo>
                    <a:pt x="59" y="15"/>
                    <a:pt x="55" y="10"/>
                    <a:pt x="49" y="10"/>
                  </a:cubicBezTo>
                  <a:cubicBezTo>
                    <a:pt x="43" y="10"/>
                    <a:pt x="38" y="15"/>
                    <a:pt x="38" y="21"/>
                  </a:cubicBezTo>
                  <a:cubicBezTo>
                    <a:pt x="38" y="53"/>
                    <a:pt x="38" y="53"/>
                    <a:pt x="38" y="53"/>
                  </a:cubicBezTo>
                  <a:cubicBezTo>
                    <a:pt x="38" y="59"/>
                    <a:pt x="43" y="64"/>
                    <a:pt x="4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6" name="Freeform 1044">
            <a:extLst>
              <a:ext uri="{FF2B5EF4-FFF2-40B4-BE49-F238E27FC236}">
                <a16:creationId xmlns:a16="http://schemas.microsoft.com/office/drawing/2014/main" id="{0CF0269B-437F-4B1F-AF2D-76B359AA07BB}"/>
              </a:ext>
            </a:extLst>
          </p:cNvPr>
          <p:cNvSpPr>
            <a:spLocks noChangeAspect="1" noEditPoints="1"/>
          </p:cNvSpPr>
          <p:nvPr/>
        </p:nvSpPr>
        <p:spPr bwMode="auto">
          <a:xfrm>
            <a:off x="4829582" y="2536258"/>
            <a:ext cx="367631" cy="367631"/>
          </a:xfrm>
          <a:custGeom>
            <a:avLst/>
            <a:gdLst>
              <a:gd name="T0" fmla="*/ 0 w 512"/>
              <a:gd name="T1" fmla="*/ 256 h 512"/>
              <a:gd name="T2" fmla="*/ 512 w 512"/>
              <a:gd name="T3" fmla="*/ 256 h 512"/>
              <a:gd name="T4" fmla="*/ 138 w 512"/>
              <a:gd name="T5" fmla="*/ 117 h 512"/>
              <a:gd name="T6" fmla="*/ 160 w 512"/>
              <a:gd name="T7" fmla="*/ 117 h 512"/>
              <a:gd name="T8" fmla="*/ 256 w 512"/>
              <a:gd name="T9" fmla="*/ 96 h 512"/>
              <a:gd name="T10" fmla="*/ 341 w 512"/>
              <a:gd name="T11" fmla="*/ 117 h 512"/>
              <a:gd name="T12" fmla="*/ 362 w 512"/>
              <a:gd name="T13" fmla="*/ 117 h 512"/>
              <a:gd name="T14" fmla="*/ 352 w 512"/>
              <a:gd name="T15" fmla="*/ 160 h 512"/>
              <a:gd name="T16" fmla="*/ 309 w 512"/>
              <a:gd name="T17" fmla="*/ 149 h 512"/>
              <a:gd name="T18" fmla="*/ 323 w 512"/>
              <a:gd name="T19" fmla="*/ 138 h 512"/>
              <a:gd name="T20" fmla="*/ 175 w 512"/>
              <a:gd name="T21" fmla="*/ 138 h 512"/>
              <a:gd name="T22" fmla="*/ 192 w 512"/>
              <a:gd name="T23" fmla="*/ 149 h 512"/>
              <a:gd name="T24" fmla="*/ 149 w 512"/>
              <a:gd name="T25" fmla="*/ 160 h 512"/>
              <a:gd name="T26" fmla="*/ 138 w 512"/>
              <a:gd name="T27" fmla="*/ 117 h 512"/>
              <a:gd name="T28" fmla="*/ 341 w 512"/>
              <a:gd name="T29" fmla="*/ 416 h 512"/>
              <a:gd name="T30" fmla="*/ 333 w 512"/>
              <a:gd name="T31" fmla="*/ 398 h 512"/>
              <a:gd name="T32" fmla="*/ 352 w 512"/>
              <a:gd name="T33" fmla="*/ 288 h 512"/>
              <a:gd name="T34" fmla="*/ 330 w 512"/>
              <a:gd name="T35" fmla="*/ 288 h 512"/>
              <a:gd name="T36" fmla="*/ 309 w 512"/>
              <a:gd name="T37" fmla="*/ 288 h 512"/>
              <a:gd name="T38" fmla="*/ 298 w 512"/>
              <a:gd name="T39" fmla="*/ 266 h 512"/>
              <a:gd name="T40" fmla="*/ 288 w 512"/>
              <a:gd name="T41" fmla="*/ 288 h 512"/>
              <a:gd name="T42" fmla="*/ 266 w 512"/>
              <a:gd name="T43" fmla="*/ 288 h 512"/>
              <a:gd name="T44" fmla="*/ 256 w 512"/>
              <a:gd name="T45" fmla="*/ 245 h 512"/>
              <a:gd name="T46" fmla="*/ 245 w 512"/>
              <a:gd name="T47" fmla="*/ 288 h 512"/>
              <a:gd name="T48" fmla="*/ 224 w 512"/>
              <a:gd name="T49" fmla="*/ 288 h 512"/>
              <a:gd name="T50" fmla="*/ 213 w 512"/>
              <a:gd name="T51" fmla="*/ 192 h 512"/>
              <a:gd name="T52" fmla="*/ 202 w 512"/>
              <a:gd name="T53" fmla="*/ 330 h 512"/>
              <a:gd name="T54" fmla="*/ 185 w 512"/>
              <a:gd name="T55" fmla="*/ 338 h 512"/>
              <a:gd name="T56" fmla="*/ 146 w 512"/>
              <a:gd name="T57" fmla="*/ 276 h 512"/>
              <a:gd name="T58" fmla="*/ 137 w 512"/>
              <a:gd name="T59" fmla="*/ 294 h 512"/>
              <a:gd name="T60" fmla="*/ 208 w 512"/>
              <a:gd name="T61" fmla="*/ 396 h 512"/>
              <a:gd name="T62" fmla="*/ 202 w 512"/>
              <a:gd name="T63" fmla="*/ 416 h 512"/>
              <a:gd name="T64" fmla="*/ 118 w 512"/>
              <a:gd name="T65" fmla="*/ 303 h 512"/>
              <a:gd name="T66" fmla="*/ 153 w 512"/>
              <a:gd name="T67" fmla="*/ 256 h 512"/>
              <a:gd name="T68" fmla="*/ 181 w 512"/>
              <a:gd name="T69" fmla="*/ 293 h 512"/>
              <a:gd name="T70" fmla="*/ 213 w 512"/>
              <a:gd name="T71" fmla="*/ 170 h 512"/>
              <a:gd name="T72" fmla="*/ 245 w 512"/>
              <a:gd name="T73" fmla="*/ 226 h 512"/>
              <a:gd name="T74" fmla="*/ 286 w 512"/>
              <a:gd name="T75" fmla="*/ 247 h 512"/>
              <a:gd name="T76" fmla="*/ 325 w 512"/>
              <a:gd name="T77" fmla="*/ 260 h 512"/>
              <a:gd name="T78" fmla="*/ 373 w 512"/>
              <a:gd name="T79" fmla="*/ 288 h 512"/>
              <a:gd name="T80" fmla="*/ 349 w 512"/>
              <a:gd name="T81"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38" y="117"/>
                </a:moveTo>
                <a:cubicBezTo>
                  <a:pt x="138" y="111"/>
                  <a:pt x="143" y="106"/>
                  <a:pt x="149" y="106"/>
                </a:cubicBezTo>
                <a:cubicBezTo>
                  <a:pt x="155" y="106"/>
                  <a:pt x="160" y="111"/>
                  <a:pt x="160" y="117"/>
                </a:cubicBezTo>
                <a:cubicBezTo>
                  <a:pt x="160" y="123"/>
                  <a:pt x="160" y="123"/>
                  <a:pt x="160" y="123"/>
                </a:cubicBezTo>
                <a:cubicBezTo>
                  <a:pt x="187" y="99"/>
                  <a:pt x="225" y="96"/>
                  <a:pt x="256" y="96"/>
                </a:cubicBezTo>
                <a:cubicBezTo>
                  <a:pt x="287" y="96"/>
                  <a:pt x="317" y="106"/>
                  <a:pt x="341" y="125"/>
                </a:cubicBezTo>
                <a:cubicBezTo>
                  <a:pt x="341" y="117"/>
                  <a:pt x="341" y="117"/>
                  <a:pt x="341" y="117"/>
                </a:cubicBezTo>
                <a:cubicBezTo>
                  <a:pt x="341" y="111"/>
                  <a:pt x="346" y="106"/>
                  <a:pt x="352" y="106"/>
                </a:cubicBezTo>
                <a:cubicBezTo>
                  <a:pt x="358" y="106"/>
                  <a:pt x="362" y="111"/>
                  <a:pt x="362" y="117"/>
                </a:cubicBezTo>
                <a:cubicBezTo>
                  <a:pt x="362" y="149"/>
                  <a:pt x="362" y="149"/>
                  <a:pt x="362" y="149"/>
                </a:cubicBezTo>
                <a:cubicBezTo>
                  <a:pt x="362" y="155"/>
                  <a:pt x="358" y="160"/>
                  <a:pt x="352" y="160"/>
                </a:cubicBezTo>
                <a:cubicBezTo>
                  <a:pt x="320" y="160"/>
                  <a:pt x="320" y="160"/>
                  <a:pt x="320" y="160"/>
                </a:cubicBezTo>
                <a:cubicBezTo>
                  <a:pt x="314" y="160"/>
                  <a:pt x="309" y="155"/>
                  <a:pt x="309" y="149"/>
                </a:cubicBezTo>
                <a:cubicBezTo>
                  <a:pt x="309" y="143"/>
                  <a:pt x="314" y="138"/>
                  <a:pt x="320" y="138"/>
                </a:cubicBezTo>
                <a:cubicBezTo>
                  <a:pt x="323" y="138"/>
                  <a:pt x="323" y="138"/>
                  <a:pt x="323" y="138"/>
                </a:cubicBezTo>
                <a:cubicBezTo>
                  <a:pt x="303" y="125"/>
                  <a:pt x="280" y="117"/>
                  <a:pt x="256" y="117"/>
                </a:cubicBezTo>
                <a:cubicBezTo>
                  <a:pt x="217" y="117"/>
                  <a:pt x="193" y="123"/>
                  <a:pt x="175" y="138"/>
                </a:cubicBezTo>
                <a:cubicBezTo>
                  <a:pt x="181" y="138"/>
                  <a:pt x="181" y="138"/>
                  <a:pt x="181" y="138"/>
                </a:cubicBezTo>
                <a:cubicBezTo>
                  <a:pt x="187" y="138"/>
                  <a:pt x="192" y="143"/>
                  <a:pt x="192" y="149"/>
                </a:cubicBezTo>
                <a:cubicBezTo>
                  <a:pt x="192" y="155"/>
                  <a:pt x="187" y="160"/>
                  <a:pt x="181" y="160"/>
                </a:cubicBezTo>
                <a:cubicBezTo>
                  <a:pt x="149" y="160"/>
                  <a:pt x="149" y="160"/>
                  <a:pt x="149" y="160"/>
                </a:cubicBezTo>
                <a:cubicBezTo>
                  <a:pt x="143" y="160"/>
                  <a:pt x="138" y="155"/>
                  <a:pt x="138" y="149"/>
                </a:cubicBezTo>
                <a:lnTo>
                  <a:pt x="138" y="117"/>
                </a:lnTo>
                <a:close/>
                <a:moveTo>
                  <a:pt x="349" y="412"/>
                </a:moveTo>
                <a:cubicBezTo>
                  <a:pt x="347" y="414"/>
                  <a:pt x="344" y="416"/>
                  <a:pt x="341" y="416"/>
                </a:cubicBezTo>
                <a:cubicBezTo>
                  <a:pt x="339" y="416"/>
                  <a:pt x="336" y="415"/>
                  <a:pt x="334" y="413"/>
                </a:cubicBezTo>
                <a:cubicBezTo>
                  <a:pt x="330" y="409"/>
                  <a:pt x="329" y="403"/>
                  <a:pt x="333" y="398"/>
                </a:cubicBezTo>
                <a:cubicBezTo>
                  <a:pt x="355" y="373"/>
                  <a:pt x="352" y="332"/>
                  <a:pt x="352" y="331"/>
                </a:cubicBezTo>
                <a:cubicBezTo>
                  <a:pt x="352" y="288"/>
                  <a:pt x="352" y="288"/>
                  <a:pt x="352" y="288"/>
                </a:cubicBezTo>
                <a:cubicBezTo>
                  <a:pt x="352" y="282"/>
                  <a:pt x="347" y="277"/>
                  <a:pt x="341" y="277"/>
                </a:cubicBezTo>
                <a:cubicBezTo>
                  <a:pt x="335" y="277"/>
                  <a:pt x="330" y="282"/>
                  <a:pt x="330" y="288"/>
                </a:cubicBezTo>
                <a:cubicBezTo>
                  <a:pt x="330" y="294"/>
                  <a:pt x="326"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9" y="256"/>
                  <a:pt x="373" y="270"/>
                  <a:pt x="373" y="288"/>
                </a:cubicBezTo>
                <a:cubicBezTo>
                  <a:pt x="373" y="330"/>
                  <a:pt x="373" y="330"/>
                  <a:pt x="373" y="330"/>
                </a:cubicBezTo>
                <a:cubicBezTo>
                  <a:pt x="373" y="332"/>
                  <a:pt x="377" y="380"/>
                  <a:pt x="349" y="4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7" name="Group 1047">
            <a:extLst>
              <a:ext uri="{FF2B5EF4-FFF2-40B4-BE49-F238E27FC236}">
                <a16:creationId xmlns:a16="http://schemas.microsoft.com/office/drawing/2014/main" id="{57C76546-B001-4A4A-86C6-89B8F7F6D307}"/>
              </a:ext>
            </a:extLst>
          </p:cNvPr>
          <p:cNvGrpSpPr>
            <a:grpSpLocks noChangeAspect="1"/>
          </p:cNvGrpSpPr>
          <p:nvPr/>
        </p:nvGrpSpPr>
        <p:grpSpPr bwMode="auto">
          <a:xfrm>
            <a:off x="5265442" y="2536258"/>
            <a:ext cx="367631" cy="367631"/>
            <a:chOff x="5824" y="3955"/>
            <a:chExt cx="340" cy="340"/>
          </a:xfrm>
          <a:solidFill>
            <a:schemeClr val="accent5"/>
          </a:solidFill>
        </p:grpSpPr>
        <p:sp>
          <p:nvSpPr>
            <p:cNvPr id="208" name="Freeform 1048">
              <a:extLst>
                <a:ext uri="{FF2B5EF4-FFF2-40B4-BE49-F238E27FC236}">
                  <a16:creationId xmlns:a16="http://schemas.microsoft.com/office/drawing/2014/main" id="{7932BE28-963C-45B4-A3E7-987C9873F2FE}"/>
                </a:ext>
              </a:extLst>
            </p:cNvPr>
            <p:cNvSpPr>
              <a:spLocks noEditPoints="1"/>
            </p:cNvSpPr>
            <p:nvPr/>
          </p:nvSpPr>
          <p:spPr bwMode="auto">
            <a:xfrm>
              <a:off x="5824" y="3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9" name="Freeform 1049">
              <a:extLst>
                <a:ext uri="{FF2B5EF4-FFF2-40B4-BE49-F238E27FC236}">
                  <a16:creationId xmlns:a16="http://schemas.microsoft.com/office/drawing/2014/main" id="{4633A52E-FDD9-4F57-B611-1EA74C3A56AE}"/>
                </a:ext>
              </a:extLst>
            </p:cNvPr>
            <p:cNvSpPr>
              <a:spLocks noEditPoints="1"/>
            </p:cNvSpPr>
            <p:nvPr/>
          </p:nvSpPr>
          <p:spPr bwMode="auto">
            <a:xfrm>
              <a:off x="5898" y="4019"/>
              <a:ext cx="176" cy="212"/>
            </a:xfrm>
            <a:custGeom>
              <a:avLst/>
              <a:gdLst>
                <a:gd name="T0" fmla="*/ 230 w 266"/>
                <a:gd name="T1" fmla="*/ 320 h 320"/>
                <a:gd name="T2" fmla="*/ 222 w 266"/>
                <a:gd name="T3" fmla="*/ 302 h 320"/>
                <a:gd name="T4" fmla="*/ 241 w 266"/>
                <a:gd name="T5" fmla="*/ 192 h 320"/>
                <a:gd name="T6" fmla="*/ 219 w 266"/>
                <a:gd name="T7" fmla="*/ 192 h 320"/>
                <a:gd name="T8" fmla="*/ 198 w 266"/>
                <a:gd name="T9" fmla="*/ 192 h 320"/>
                <a:gd name="T10" fmla="*/ 187 w 266"/>
                <a:gd name="T11" fmla="*/ 170 h 320"/>
                <a:gd name="T12" fmla="*/ 177 w 266"/>
                <a:gd name="T13" fmla="*/ 192 h 320"/>
                <a:gd name="T14" fmla="*/ 155 w 266"/>
                <a:gd name="T15" fmla="*/ 192 h 320"/>
                <a:gd name="T16" fmla="*/ 145 w 266"/>
                <a:gd name="T17" fmla="*/ 149 h 320"/>
                <a:gd name="T18" fmla="*/ 134 w 266"/>
                <a:gd name="T19" fmla="*/ 192 h 320"/>
                <a:gd name="T20" fmla="*/ 113 w 266"/>
                <a:gd name="T21" fmla="*/ 192 h 320"/>
                <a:gd name="T22" fmla="*/ 102 w 266"/>
                <a:gd name="T23" fmla="*/ 96 h 320"/>
                <a:gd name="T24" fmla="*/ 91 w 266"/>
                <a:gd name="T25" fmla="*/ 234 h 320"/>
                <a:gd name="T26" fmla="*/ 74 w 266"/>
                <a:gd name="T27" fmla="*/ 242 h 320"/>
                <a:gd name="T28" fmla="*/ 35 w 266"/>
                <a:gd name="T29" fmla="*/ 180 h 320"/>
                <a:gd name="T30" fmla="*/ 26 w 266"/>
                <a:gd name="T31" fmla="*/ 198 h 320"/>
                <a:gd name="T32" fmla="*/ 97 w 266"/>
                <a:gd name="T33" fmla="*/ 300 h 320"/>
                <a:gd name="T34" fmla="*/ 91 w 266"/>
                <a:gd name="T35" fmla="*/ 320 h 320"/>
                <a:gd name="T36" fmla="*/ 7 w 266"/>
                <a:gd name="T37" fmla="*/ 207 h 320"/>
                <a:gd name="T38" fmla="*/ 42 w 266"/>
                <a:gd name="T39" fmla="*/ 160 h 320"/>
                <a:gd name="T40" fmla="*/ 70 w 266"/>
                <a:gd name="T41" fmla="*/ 197 h 320"/>
                <a:gd name="T42" fmla="*/ 102 w 266"/>
                <a:gd name="T43" fmla="*/ 74 h 320"/>
                <a:gd name="T44" fmla="*/ 134 w 266"/>
                <a:gd name="T45" fmla="*/ 130 h 320"/>
                <a:gd name="T46" fmla="*/ 175 w 266"/>
                <a:gd name="T47" fmla="*/ 151 h 320"/>
                <a:gd name="T48" fmla="*/ 214 w 266"/>
                <a:gd name="T49" fmla="*/ 164 h 320"/>
                <a:gd name="T50" fmla="*/ 262 w 266"/>
                <a:gd name="T51" fmla="*/ 192 h 320"/>
                <a:gd name="T52" fmla="*/ 238 w 266"/>
                <a:gd name="T53" fmla="*/ 316 h 320"/>
                <a:gd name="T54" fmla="*/ 70 w 266"/>
                <a:gd name="T55" fmla="*/ 64 h 320"/>
                <a:gd name="T56" fmla="*/ 70 w 266"/>
                <a:gd name="T57" fmla="*/ 42 h 320"/>
                <a:gd name="T58" fmla="*/ 145 w 266"/>
                <a:gd name="T59" fmla="*/ 21 h 320"/>
                <a:gd name="T60" fmla="*/ 209 w 266"/>
                <a:gd name="T61" fmla="*/ 42 h 320"/>
                <a:gd name="T62" fmla="*/ 209 w 266"/>
                <a:gd name="T63" fmla="*/ 64 h 320"/>
                <a:gd name="T64" fmla="*/ 251 w 266"/>
                <a:gd name="T65" fmla="*/ 53 h 320"/>
                <a:gd name="T66" fmla="*/ 241 w 266"/>
                <a:gd name="T67" fmla="*/ 10 h 320"/>
                <a:gd name="T68" fmla="*/ 230 w 266"/>
                <a:gd name="T69" fmla="*/ 29 h 320"/>
                <a:gd name="T70" fmla="*/ 49 w 266"/>
                <a:gd name="T71" fmla="*/ 27 h 320"/>
                <a:gd name="T72" fmla="*/ 38 w 266"/>
                <a:gd name="T73" fmla="*/ 10 h 320"/>
                <a:gd name="T74" fmla="*/ 27 w 266"/>
                <a:gd name="T75" fmla="*/ 5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6" h="320">
                  <a:moveTo>
                    <a:pt x="238" y="316"/>
                  </a:moveTo>
                  <a:cubicBezTo>
                    <a:pt x="236" y="318"/>
                    <a:pt x="233" y="320"/>
                    <a:pt x="230" y="320"/>
                  </a:cubicBezTo>
                  <a:cubicBezTo>
                    <a:pt x="228" y="320"/>
                    <a:pt x="225" y="319"/>
                    <a:pt x="223" y="317"/>
                  </a:cubicBezTo>
                  <a:cubicBezTo>
                    <a:pt x="219" y="313"/>
                    <a:pt x="218" y="307"/>
                    <a:pt x="222" y="302"/>
                  </a:cubicBezTo>
                  <a:cubicBezTo>
                    <a:pt x="244" y="277"/>
                    <a:pt x="241" y="236"/>
                    <a:pt x="241" y="235"/>
                  </a:cubicBezTo>
                  <a:cubicBezTo>
                    <a:pt x="241" y="192"/>
                    <a:pt x="241" y="192"/>
                    <a:pt x="241" y="192"/>
                  </a:cubicBezTo>
                  <a:cubicBezTo>
                    <a:pt x="241" y="186"/>
                    <a:pt x="236" y="181"/>
                    <a:pt x="230" y="181"/>
                  </a:cubicBezTo>
                  <a:cubicBezTo>
                    <a:pt x="224" y="181"/>
                    <a:pt x="219" y="186"/>
                    <a:pt x="219" y="192"/>
                  </a:cubicBezTo>
                  <a:cubicBezTo>
                    <a:pt x="219" y="198"/>
                    <a:pt x="215"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8" y="160"/>
                    <a:pt x="262" y="174"/>
                    <a:pt x="262" y="192"/>
                  </a:cubicBezTo>
                  <a:cubicBezTo>
                    <a:pt x="262" y="234"/>
                    <a:pt x="262" y="234"/>
                    <a:pt x="262" y="234"/>
                  </a:cubicBezTo>
                  <a:cubicBezTo>
                    <a:pt x="262" y="236"/>
                    <a:pt x="266" y="284"/>
                    <a:pt x="238" y="316"/>
                  </a:cubicBezTo>
                  <a:close/>
                  <a:moveTo>
                    <a:pt x="38" y="64"/>
                  </a:moveTo>
                  <a:cubicBezTo>
                    <a:pt x="70" y="64"/>
                    <a:pt x="70" y="64"/>
                    <a:pt x="70" y="64"/>
                  </a:cubicBezTo>
                  <a:cubicBezTo>
                    <a:pt x="76" y="64"/>
                    <a:pt x="81" y="59"/>
                    <a:pt x="81" y="53"/>
                  </a:cubicBezTo>
                  <a:cubicBezTo>
                    <a:pt x="81" y="47"/>
                    <a:pt x="76" y="42"/>
                    <a:pt x="70" y="42"/>
                  </a:cubicBezTo>
                  <a:cubicBezTo>
                    <a:pt x="64" y="42"/>
                    <a:pt x="64" y="42"/>
                    <a:pt x="64" y="42"/>
                  </a:cubicBezTo>
                  <a:cubicBezTo>
                    <a:pt x="82" y="27"/>
                    <a:pt x="106" y="21"/>
                    <a:pt x="145" y="21"/>
                  </a:cubicBezTo>
                  <a:cubicBezTo>
                    <a:pt x="169" y="21"/>
                    <a:pt x="192" y="29"/>
                    <a:pt x="212" y="42"/>
                  </a:cubicBezTo>
                  <a:cubicBezTo>
                    <a:pt x="209" y="42"/>
                    <a:pt x="209" y="42"/>
                    <a:pt x="209" y="42"/>
                  </a:cubicBezTo>
                  <a:cubicBezTo>
                    <a:pt x="203" y="42"/>
                    <a:pt x="198" y="47"/>
                    <a:pt x="198" y="53"/>
                  </a:cubicBezTo>
                  <a:cubicBezTo>
                    <a:pt x="198" y="59"/>
                    <a:pt x="203" y="64"/>
                    <a:pt x="209" y="64"/>
                  </a:cubicBezTo>
                  <a:cubicBezTo>
                    <a:pt x="241" y="64"/>
                    <a:pt x="241" y="64"/>
                    <a:pt x="241" y="64"/>
                  </a:cubicBezTo>
                  <a:cubicBezTo>
                    <a:pt x="247" y="64"/>
                    <a:pt x="251" y="59"/>
                    <a:pt x="251" y="53"/>
                  </a:cubicBezTo>
                  <a:cubicBezTo>
                    <a:pt x="251" y="21"/>
                    <a:pt x="251" y="21"/>
                    <a:pt x="251" y="21"/>
                  </a:cubicBezTo>
                  <a:cubicBezTo>
                    <a:pt x="251" y="15"/>
                    <a:pt x="247" y="10"/>
                    <a:pt x="241" y="10"/>
                  </a:cubicBezTo>
                  <a:cubicBezTo>
                    <a:pt x="235" y="10"/>
                    <a:pt x="230" y="15"/>
                    <a:pt x="230" y="21"/>
                  </a:cubicBezTo>
                  <a:cubicBezTo>
                    <a:pt x="230" y="29"/>
                    <a:pt x="230" y="29"/>
                    <a:pt x="230" y="29"/>
                  </a:cubicBezTo>
                  <a:cubicBezTo>
                    <a:pt x="206" y="10"/>
                    <a:pt x="176" y="0"/>
                    <a:pt x="145" y="0"/>
                  </a:cubicBezTo>
                  <a:cubicBezTo>
                    <a:pt x="114" y="0"/>
                    <a:pt x="76" y="3"/>
                    <a:pt x="49" y="27"/>
                  </a:cubicBezTo>
                  <a:cubicBezTo>
                    <a:pt x="49" y="21"/>
                    <a:pt x="49" y="21"/>
                    <a:pt x="49" y="21"/>
                  </a:cubicBezTo>
                  <a:cubicBezTo>
                    <a:pt x="49" y="15"/>
                    <a:pt x="44" y="10"/>
                    <a:pt x="38" y="10"/>
                  </a:cubicBezTo>
                  <a:cubicBezTo>
                    <a:pt x="32" y="10"/>
                    <a:pt x="27" y="15"/>
                    <a:pt x="27" y="21"/>
                  </a:cubicBezTo>
                  <a:cubicBezTo>
                    <a:pt x="27" y="53"/>
                    <a:pt x="27" y="53"/>
                    <a:pt x="27" y="53"/>
                  </a:cubicBezTo>
                  <a:cubicBezTo>
                    <a:pt x="27" y="59"/>
                    <a:pt x="32" y="64"/>
                    <a:pt x="38"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0" name="Freeform 1063">
            <a:extLst>
              <a:ext uri="{FF2B5EF4-FFF2-40B4-BE49-F238E27FC236}">
                <a16:creationId xmlns:a16="http://schemas.microsoft.com/office/drawing/2014/main" id="{1D869CC8-5A96-4EAE-8F01-38088EF2F3EF}"/>
              </a:ext>
            </a:extLst>
          </p:cNvPr>
          <p:cNvSpPr>
            <a:spLocks noChangeAspect="1" noEditPoints="1"/>
          </p:cNvSpPr>
          <p:nvPr/>
        </p:nvSpPr>
        <p:spPr bwMode="auto">
          <a:xfrm>
            <a:off x="5701302" y="2536258"/>
            <a:ext cx="367631" cy="367631"/>
          </a:xfrm>
          <a:custGeom>
            <a:avLst/>
            <a:gdLst>
              <a:gd name="T0" fmla="*/ 0 w 512"/>
              <a:gd name="T1" fmla="*/ 256 h 512"/>
              <a:gd name="T2" fmla="*/ 512 w 512"/>
              <a:gd name="T3" fmla="*/ 256 h 512"/>
              <a:gd name="T4" fmla="*/ 213 w 512"/>
              <a:gd name="T5" fmla="*/ 128 h 512"/>
              <a:gd name="T6" fmla="*/ 277 w 512"/>
              <a:gd name="T7" fmla="*/ 213 h 512"/>
              <a:gd name="T8" fmla="*/ 213 w 512"/>
              <a:gd name="T9" fmla="*/ 149 h 512"/>
              <a:gd name="T10" fmla="*/ 167 w 512"/>
              <a:gd name="T11" fmla="*/ 229 h 512"/>
              <a:gd name="T12" fmla="*/ 158 w 512"/>
              <a:gd name="T13" fmla="*/ 245 h 512"/>
              <a:gd name="T14" fmla="*/ 138 w 512"/>
              <a:gd name="T15" fmla="*/ 202 h 512"/>
              <a:gd name="T16" fmla="*/ 349 w 512"/>
              <a:gd name="T17" fmla="*/ 412 h 512"/>
              <a:gd name="T18" fmla="*/ 334 w 512"/>
              <a:gd name="T19" fmla="*/ 413 h 512"/>
              <a:gd name="T20" fmla="*/ 351 w 512"/>
              <a:gd name="T21" fmla="*/ 331 h 512"/>
              <a:gd name="T22" fmla="*/ 341 w 512"/>
              <a:gd name="T23" fmla="*/ 277 h 512"/>
              <a:gd name="T24" fmla="*/ 330 w 512"/>
              <a:gd name="T25" fmla="*/ 288 h 512"/>
              <a:gd name="T26" fmla="*/ 320 w 512"/>
              <a:gd name="T27" fmla="*/ 298 h 512"/>
              <a:gd name="T28" fmla="*/ 309 w 512"/>
              <a:gd name="T29" fmla="*/ 288 h 512"/>
              <a:gd name="T30" fmla="*/ 298 w 512"/>
              <a:gd name="T31" fmla="*/ 266 h 512"/>
              <a:gd name="T32" fmla="*/ 288 w 512"/>
              <a:gd name="T33" fmla="*/ 288 h 512"/>
              <a:gd name="T34" fmla="*/ 266 w 512"/>
              <a:gd name="T35" fmla="*/ 288 h 512"/>
              <a:gd name="T36" fmla="*/ 256 w 512"/>
              <a:gd name="T37" fmla="*/ 245 h 512"/>
              <a:gd name="T38" fmla="*/ 245 w 512"/>
              <a:gd name="T39" fmla="*/ 288 h 512"/>
              <a:gd name="T40" fmla="*/ 224 w 512"/>
              <a:gd name="T41" fmla="*/ 288 h 512"/>
              <a:gd name="T42" fmla="*/ 213 w 512"/>
              <a:gd name="T43" fmla="*/ 192 h 512"/>
              <a:gd name="T44" fmla="*/ 202 w 512"/>
              <a:gd name="T45" fmla="*/ 330 h 512"/>
              <a:gd name="T46" fmla="*/ 185 w 512"/>
              <a:gd name="T47" fmla="*/ 338 h 512"/>
              <a:gd name="T48" fmla="*/ 146 w 512"/>
              <a:gd name="T49" fmla="*/ 276 h 512"/>
              <a:gd name="T50" fmla="*/ 137 w 512"/>
              <a:gd name="T51" fmla="*/ 294 h 512"/>
              <a:gd name="T52" fmla="*/ 208 w 512"/>
              <a:gd name="T53" fmla="*/ 396 h 512"/>
              <a:gd name="T54" fmla="*/ 202 w 512"/>
              <a:gd name="T55" fmla="*/ 416 h 512"/>
              <a:gd name="T56" fmla="*/ 118 w 512"/>
              <a:gd name="T57" fmla="*/ 303 h 512"/>
              <a:gd name="T58" fmla="*/ 153 w 512"/>
              <a:gd name="T59" fmla="*/ 256 h 512"/>
              <a:gd name="T60" fmla="*/ 181 w 512"/>
              <a:gd name="T61" fmla="*/ 293 h 512"/>
              <a:gd name="T62" fmla="*/ 213 w 512"/>
              <a:gd name="T63" fmla="*/ 170 h 512"/>
              <a:gd name="T64" fmla="*/ 245 w 512"/>
              <a:gd name="T65" fmla="*/ 226 h 512"/>
              <a:gd name="T66" fmla="*/ 286 w 512"/>
              <a:gd name="T67" fmla="*/ 247 h 512"/>
              <a:gd name="T68" fmla="*/ 325 w 512"/>
              <a:gd name="T69" fmla="*/ 260 h 512"/>
              <a:gd name="T70" fmla="*/ 373 w 512"/>
              <a:gd name="T71" fmla="*/ 288 h 512"/>
              <a:gd name="T72" fmla="*/ 349 w 512"/>
              <a:gd name="T73"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128"/>
                </a:moveTo>
                <a:cubicBezTo>
                  <a:pt x="254" y="128"/>
                  <a:pt x="288" y="161"/>
                  <a:pt x="288" y="202"/>
                </a:cubicBezTo>
                <a:cubicBezTo>
                  <a:pt x="288" y="208"/>
                  <a:pt x="283" y="213"/>
                  <a:pt x="277" y="213"/>
                </a:cubicBezTo>
                <a:cubicBezTo>
                  <a:pt x="271" y="213"/>
                  <a:pt x="266" y="208"/>
                  <a:pt x="266" y="202"/>
                </a:cubicBezTo>
                <a:cubicBezTo>
                  <a:pt x="266" y="173"/>
                  <a:pt x="242" y="149"/>
                  <a:pt x="213" y="149"/>
                </a:cubicBezTo>
                <a:cubicBezTo>
                  <a:pt x="184" y="149"/>
                  <a:pt x="160" y="173"/>
                  <a:pt x="160" y="202"/>
                </a:cubicBezTo>
                <a:cubicBezTo>
                  <a:pt x="160" y="212"/>
                  <a:pt x="162" y="221"/>
                  <a:pt x="167" y="229"/>
                </a:cubicBezTo>
                <a:cubicBezTo>
                  <a:pt x="170" y="234"/>
                  <a:pt x="168" y="241"/>
                  <a:pt x="163" y="244"/>
                </a:cubicBezTo>
                <a:cubicBezTo>
                  <a:pt x="161" y="245"/>
                  <a:pt x="159" y="245"/>
                  <a:pt x="158" y="245"/>
                </a:cubicBezTo>
                <a:cubicBezTo>
                  <a:pt x="154" y="245"/>
                  <a:pt x="150" y="243"/>
                  <a:pt x="148" y="240"/>
                </a:cubicBezTo>
                <a:cubicBezTo>
                  <a:pt x="142" y="228"/>
                  <a:pt x="138" y="215"/>
                  <a:pt x="138" y="202"/>
                </a:cubicBezTo>
                <a:cubicBezTo>
                  <a:pt x="138" y="161"/>
                  <a:pt x="172" y="128"/>
                  <a:pt x="213" y="128"/>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11" name="Group 1066">
            <a:extLst>
              <a:ext uri="{FF2B5EF4-FFF2-40B4-BE49-F238E27FC236}">
                <a16:creationId xmlns:a16="http://schemas.microsoft.com/office/drawing/2014/main" id="{91269B0A-F6DD-4D84-98B0-66AD5912C0BB}"/>
              </a:ext>
            </a:extLst>
          </p:cNvPr>
          <p:cNvGrpSpPr>
            <a:grpSpLocks noChangeAspect="1"/>
          </p:cNvGrpSpPr>
          <p:nvPr/>
        </p:nvGrpSpPr>
        <p:grpSpPr bwMode="auto">
          <a:xfrm>
            <a:off x="6137165" y="2536258"/>
            <a:ext cx="367631" cy="367631"/>
            <a:chOff x="5614" y="6060"/>
            <a:chExt cx="340" cy="340"/>
          </a:xfrm>
          <a:solidFill>
            <a:schemeClr val="accent5"/>
          </a:solidFill>
        </p:grpSpPr>
        <p:sp>
          <p:nvSpPr>
            <p:cNvPr id="212" name="Freeform 1067">
              <a:extLst>
                <a:ext uri="{FF2B5EF4-FFF2-40B4-BE49-F238E27FC236}">
                  <a16:creationId xmlns:a16="http://schemas.microsoft.com/office/drawing/2014/main" id="{D555D6FA-CFD1-49C7-A958-06107A12B29C}"/>
                </a:ext>
              </a:extLst>
            </p:cNvPr>
            <p:cNvSpPr>
              <a:spLocks noEditPoints="1"/>
            </p:cNvSpPr>
            <p:nvPr/>
          </p:nvSpPr>
          <p:spPr bwMode="auto">
            <a:xfrm>
              <a:off x="5614" y="60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3" name="Freeform 1068">
              <a:extLst>
                <a:ext uri="{FF2B5EF4-FFF2-40B4-BE49-F238E27FC236}">
                  <a16:creationId xmlns:a16="http://schemas.microsoft.com/office/drawing/2014/main" id="{BF16FC57-94FD-4F58-9B25-FBE2CD49FF56}"/>
                </a:ext>
              </a:extLst>
            </p:cNvPr>
            <p:cNvSpPr>
              <a:spLocks noEditPoints="1"/>
            </p:cNvSpPr>
            <p:nvPr/>
          </p:nvSpPr>
          <p:spPr bwMode="auto">
            <a:xfrm>
              <a:off x="5688" y="6145"/>
              <a:ext cx="176" cy="191"/>
            </a:xfrm>
            <a:custGeom>
              <a:avLst/>
              <a:gdLst>
                <a:gd name="T0" fmla="*/ 230 w 265"/>
                <a:gd name="T1" fmla="*/ 288 h 288"/>
                <a:gd name="T2" fmla="*/ 222 w 265"/>
                <a:gd name="T3" fmla="*/ 270 h 288"/>
                <a:gd name="T4" fmla="*/ 240 w 265"/>
                <a:gd name="T5" fmla="*/ 160 h 288"/>
                <a:gd name="T6" fmla="*/ 219 w 265"/>
                <a:gd name="T7" fmla="*/ 158 h 288"/>
                <a:gd name="T8" fmla="*/ 209 w 265"/>
                <a:gd name="T9" fmla="*/ 170 h 288"/>
                <a:gd name="T10" fmla="*/ 209 w 265"/>
                <a:gd name="T11" fmla="*/ 170 h 288"/>
                <a:gd name="T12" fmla="*/ 198 w 265"/>
                <a:gd name="T13" fmla="*/ 149 h 288"/>
                <a:gd name="T14" fmla="*/ 177 w 265"/>
                <a:gd name="T15" fmla="*/ 149 h 288"/>
                <a:gd name="T16" fmla="*/ 166 w 265"/>
                <a:gd name="T17" fmla="*/ 170 h 288"/>
                <a:gd name="T18" fmla="*/ 155 w 265"/>
                <a:gd name="T19" fmla="*/ 128 h 288"/>
                <a:gd name="T20" fmla="*/ 134 w 265"/>
                <a:gd name="T21" fmla="*/ 128 h 288"/>
                <a:gd name="T22" fmla="*/ 123 w 265"/>
                <a:gd name="T23" fmla="*/ 170 h 288"/>
                <a:gd name="T24" fmla="*/ 113 w 265"/>
                <a:gd name="T25" fmla="*/ 74 h 288"/>
                <a:gd name="T26" fmla="*/ 91 w 265"/>
                <a:gd name="T27" fmla="*/ 74 h 288"/>
                <a:gd name="T28" fmla="*/ 85 w 265"/>
                <a:gd name="T29" fmla="*/ 212 h 288"/>
                <a:gd name="T30" fmla="*/ 41 w 265"/>
                <a:gd name="T31" fmla="*/ 153 h 288"/>
                <a:gd name="T32" fmla="*/ 27 w 265"/>
                <a:gd name="T33" fmla="*/ 149 h 288"/>
                <a:gd name="T34" fmla="*/ 27 w 265"/>
                <a:gd name="T35" fmla="*/ 167 h 288"/>
                <a:gd name="T36" fmla="*/ 100 w 265"/>
                <a:gd name="T37" fmla="*/ 283 h 288"/>
                <a:gd name="T38" fmla="*/ 86 w 265"/>
                <a:gd name="T39" fmla="*/ 286 h 288"/>
                <a:gd name="T40" fmla="*/ 18 w 265"/>
                <a:gd name="T41" fmla="*/ 130 h 288"/>
                <a:gd name="T42" fmla="*/ 61 w 265"/>
                <a:gd name="T43" fmla="*/ 144 h 288"/>
                <a:gd name="T44" fmla="*/ 70 w 265"/>
                <a:gd name="T45" fmla="*/ 74 h 288"/>
                <a:gd name="T46" fmla="*/ 134 w 265"/>
                <a:gd name="T47" fmla="*/ 74 h 288"/>
                <a:gd name="T48" fmla="*/ 145 w 265"/>
                <a:gd name="T49" fmla="*/ 96 h 288"/>
                <a:gd name="T50" fmla="*/ 187 w 265"/>
                <a:gd name="T51" fmla="*/ 117 h 288"/>
                <a:gd name="T52" fmla="*/ 230 w 265"/>
                <a:gd name="T53" fmla="*/ 128 h 288"/>
                <a:gd name="T54" fmla="*/ 262 w 265"/>
                <a:gd name="T55" fmla="*/ 202 h 288"/>
                <a:gd name="T56" fmla="*/ 47 w 265"/>
                <a:gd name="T57" fmla="*/ 117 h 288"/>
                <a:gd name="T58" fmla="*/ 56 w 265"/>
                <a:gd name="T59" fmla="*/ 101 h 288"/>
                <a:gd name="T60" fmla="*/ 102 w 265"/>
                <a:gd name="T61" fmla="*/ 21 h 288"/>
                <a:gd name="T62" fmla="*/ 166 w 265"/>
                <a:gd name="T63" fmla="*/ 85 h 288"/>
                <a:gd name="T64" fmla="*/ 102 w 265"/>
                <a:gd name="T65" fmla="*/ 0 h 288"/>
                <a:gd name="T66" fmla="*/ 37 w 265"/>
                <a:gd name="T67" fmla="*/ 1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5" h="288">
                  <a:moveTo>
                    <a:pt x="238" y="284"/>
                  </a:moveTo>
                  <a:cubicBezTo>
                    <a:pt x="236" y="286"/>
                    <a:pt x="233" y="288"/>
                    <a:pt x="230" y="288"/>
                  </a:cubicBezTo>
                  <a:cubicBezTo>
                    <a:pt x="227" y="288"/>
                    <a:pt x="225" y="287"/>
                    <a:pt x="223" y="285"/>
                  </a:cubicBezTo>
                  <a:cubicBezTo>
                    <a:pt x="218" y="281"/>
                    <a:pt x="218" y="275"/>
                    <a:pt x="222" y="270"/>
                  </a:cubicBezTo>
                  <a:cubicBezTo>
                    <a:pt x="243" y="245"/>
                    <a:pt x="240" y="204"/>
                    <a:pt x="240" y="203"/>
                  </a:cubicBezTo>
                  <a:cubicBezTo>
                    <a:pt x="240" y="160"/>
                    <a:pt x="240" y="160"/>
                    <a:pt x="240" y="160"/>
                  </a:cubicBezTo>
                  <a:cubicBezTo>
                    <a:pt x="240" y="154"/>
                    <a:pt x="235" y="149"/>
                    <a:pt x="230" y="149"/>
                  </a:cubicBezTo>
                  <a:cubicBezTo>
                    <a:pt x="224" y="149"/>
                    <a:pt x="220" y="153"/>
                    <a:pt x="219" y="158"/>
                  </a:cubicBezTo>
                  <a:cubicBezTo>
                    <a:pt x="219" y="160"/>
                    <a:pt x="219" y="160"/>
                    <a:pt x="219" y="160"/>
                  </a:cubicBezTo>
                  <a:cubicBezTo>
                    <a:pt x="219" y="166"/>
                    <a:pt x="215" y="170"/>
                    <a:pt x="209" y="170"/>
                  </a:cubicBezTo>
                  <a:cubicBezTo>
                    <a:pt x="209" y="170"/>
                    <a:pt x="209" y="170"/>
                    <a:pt x="209" y="170"/>
                  </a:cubicBezTo>
                  <a:cubicBezTo>
                    <a:pt x="209" y="170"/>
                    <a:pt x="209" y="170"/>
                    <a:pt x="209" y="170"/>
                  </a:cubicBezTo>
                  <a:cubicBezTo>
                    <a:pt x="203" y="170"/>
                    <a:pt x="198" y="166"/>
                    <a:pt x="198" y="160"/>
                  </a:cubicBezTo>
                  <a:cubicBezTo>
                    <a:pt x="198" y="149"/>
                    <a:pt x="198" y="149"/>
                    <a:pt x="198" y="149"/>
                  </a:cubicBezTo>
                  <a:cubicBezTo>
                    <a:pt x="198" y="143"/>
                    <a:pt x="193" y="138"/>
                    <a:pt x="187" y="138"/>
                  </a:cubicBezTo>
                  <a:cubicBezTo>
                    <a:pt x="181" y="138"/>
                    <a:pt x="177" y="143"/>
                    <a:pt x="177" y="149"/>
                  </a:cubicBezTo>
                  <a:cubicBezTo>
                    <a:pt x="177" y="160"/>
                    <a:pt x="177" y="160"/>
                    <a:pt x="177" y="160"/>
                  </a:cubicBezTo>
                  <a:cubicBezTo>
                    <a:pt x="177" y="166"/>
                    <a:pt x="172" y="170"/>
                    <a:pt x="166" y="170"/>
                  </a:cubicBezTo>
                  <a:cubicBezTo>
                    <a:pt x="160" y="170"/>
                    <a:pt x="155" y="166"/>
                    <a:pt x="155" y="160"/>
                  </a:cubicBezTo>
                  <a:cubicBezTo>
                    <a:pt x="155" y="128"/>
                    <a:pt x="155" y="128"/>
                    <a:pt x="155" y="128"/>
                  </a:cubicBezTo>
                  <a:cubicBezTo>
                    <a:pt x="155" y="122"/>
                    <a:pt x="151" y="117"/>
                    <a:pt x="145" y="117"/>
                  </a:cubicBezTo>
                  <a:cubicBezTo>
                    <a:pt x="139" y="117"/>
                    <a:pt x="134" y="122"/>
                    <a:pt x="134" y="128"/>
                  </a:cubicBezTo>
                  <a:cubicBezTo>
                    <a:pt x="134" y="160"/>
                    <a:pt x="134" y="160"/>
                    <a:pt x="134" y="160"/>
                  </a:cubicBezTo>
                  <a:cubicBezTo>
                    <a:pt x="134" y="166"/>
                    <a:pt x="129" y="170"/>
                    <a:pt x="123" y="170"/>
                  </a:cubicBezTo>
                  <a:cubicBezTo>
                    <a:pt x="117" y="170"/>
                    <a:pt x="113" y="166"/>
                    <a:pt x="113" y="160"/>
                  </a:cubicBezTo>
                  <a:cubicBezTo>
                    <a:pt x="113" y="74"/>
                    <a:pt x="113" y="74"/>
                    <a:pt x="113" y="74"/>
                  </a:cubicBezTo>
                  <a:cubicBezTo>
                    <a:pt x="113" y="68"/>
                    <a:pt x="108" y="64"/>
                    <a:pt x="102" y="64"/>
                  </a:cubicBezTo>
                  <a:cubicBezTo>
                    <a:pt x="96" y="64"/>
                    <a:pt x="91" y="68"/>
                    <a:pt x="91" y="74"/>
                  </a:cubicBezTo>
                  <a:cubicBezTo>
                    <a:pt x="91" y="202"/>
                    <a:pt x="91" y="202"/>
                    <a:pt x="91" y="202"/>
                  </a:cubicBezTo>
                  <a:cubicBezTo>
                    <a:pt x="91" y="207"/>
                    <a:pt x="89" y="210"/>
                    <a:pt x="85" y="212"/>
                  </a:cubicBezTo>
                  <a:cubicBezTo>
                    <a:pt x="81" y="214"/>
                    <a:pt x="77" y="213"/>
                    <a:pt x="74" y="210"/>
                  </a:cubicBezTo>
                  <a:cubicBezTo>
                    <a:pt x="60" y="198"/>
                    <a:pt x="44" y="160"/>
                    <a:pt x="41" y="153"/>
                  </a:cubicBezTo>
                  <a:cubicBezTo>
                    <a:pt x="40" y="151"/>
                    <a:pt x="38" y="149"/>
                    <a:pt x="35" y="148"/>
                  </a:cubicBezTo>
                  <a:cubicBezTo>
                    <a:pt x="33" y="148"/>
                    <a:pt x="30" y="148"/>
                    <a:pt x="27" y="149"/>
                  </a:cubicBezTo>
                  <a:cubicBezTo>
                    <a:pt x="23" y="151"/>
                    <a:pt x="23" y="160"/>
                    <a:pt x="26" y="166"/>
                  </a:cubicBezTo>
                  <a:cubicBezTo>
                    <a:pt x="26" y="166"/>
                    <a:pt x="27" y="166"/>
                    <a:pt x="27" y="167"/>
                  </a:cubicBezTo>
                  <a:cubicBezTo>
                    <a:pt x="27" y="167"/>
                    <a:pt x="54" y="241"/>
                    <a:pt x="97" y="268"/>
                  </a:cubicBezTo>
                  <a:cubicBezTo>
                    <a:pt x="102" y="271"/>
                    <a:pt x="103" y="278"/>
                    <a:pt x="100" y="283"/>
                  </a:cubicBezTo>
                  <a:cubicBezTo>
                    <a:pt x="98" y="286"/>
                    <a:pt x="95" y="288"/>
                    <a:pt x="91" y="288"/>
                  </a:cubicBezTo>
                  <a:cubicBezTo>
                    <a:pt x="89" y="288"/>
                    <a:pt x="87" y="287"/>
                    <a:pt x="86" y="286"/>
                  </a:cubicBezTo>
                  <a:cubicBezTo>
                    <a:pt x="38" y="256"/>
                    <a:pt x="10" y="182"/>
                    <a:pt x="7" y="175"/>
                  </a:cubicBezTo>
                  <a:cubicBezTo>
                    <a:pt x="0" y="159"/>
                    <a:pt x="2" y="138"/>
                    <a:pt x="18" y="130"/>
                  </a:cubicBezTo>
                  <a:cubicBezTo>
                    <a:pt x="25" y="126"/>
                    <a:pt x="34" y="125"/>
                    <a:pt x="42" y="128"/>
                  </a:cubicBezTo>
                  <a:cubicBezTo>
                    <a:pt x="50" y="131"/>
                    <a:pt x="57" y="137"/>
                    <a:pt x="61" y="144"/>
                  </a:cubicBezTo>
                  <a:cubicBezTo>
                    <a:pt x="63" y="151"/>
                    <a:pt x="66" y="158"/>
                    <a:pt x="70" y="165"/>
                  </a:cubicBezTo>
                  <a:cubicBezTo>
                    <a:pt x="70" y="74"/>
                    <a:pt x="70" y="74"/>
                    <a:pt x="70" y="74"/>
                  </a:cubicBezTo>
                  <a:cubicBezTo>
                    <a:pt x="70" y="57"/>
                    <a:pt x="84" y="42"/>
                    <a:pt x="102" y="42"/>
                  </a:cubicBezTo>
                  <a:cubicBezTo>
                    <a:pt x="120" y="42"/>
                    <a:pt x="134" y="57"/>
                    <a:pt x="134" y="74"/>
                  </a:cubicBezTo>
                  <a:cubicBezTo>
                    <a:pt x="134" y="98"/>
                    <a:pt x="134" y="98"/>
                    <a:pt x="134" y="98"/>
                  </a:cubicBezTo>
                  <a:cubicBezTo>
                    <a:pt x="137" y="96"/>
                    <a:pt x="141" y="96"/>
                    <a:pt x="145" y="96"/>
                  </a:cubicBezTo>
                  <a:cubicBezTo>
                    <a:pt x="159" y="96"/>
                    <a:pt x="172" y="106"/>
                    <a:pt x="175" y="119"/>
                  </a:cubicBezTo>
                  <a:cubicBezTo>
                    <a:pt x="179" y="118"/>
                    <a:pt x="183" y="117"/>
                    <a:pt x="187" y="117"/>
                  </a:cubicBezTo>
                  <a:cubicBezTo>
                    <a:pt x="199" y="117"/>
                    <a:pt x="209" y="123"/>
                    <a:pt x="214" y="132"/>
                  </a:cubicBezTo>
                  <a:cubicBezTo>
                    <a:pt x="219" y="129"/>
                    <a:pt x="224" y="128"/>
                    <a:pt x="230" y="128"/>
                  </a:cubicBezTo>
                  <a:cubicBezTo>
                    <a:pt x="247" y="128"/>
                    <a:pt x="262" y="142"/>
                    <a:pt x="262" y="160"/>
                  </a:cubicBezTo>
                  <a:cubicBezTo>
                    <a:pt x="262" y="202"/>
                    <a:pt x="262" y="202"/>
                    <a:pt x="262" y="202"/>
                  </a:cubicBezTo>
                  <a:cubicBezTo>
                    <a:pt x="262" y="204"/>
                    <a:pt x="265" y="252"/>
                    <a:pt x="238" y="284"/>
                  </a:cubicBezTo>
                  <a:close/>
                  <a:moveTo>
                    <a:pt x="47" y="117"/>
                  </a:moveTo>
                  <a:cubicBezTo>
                    <a:pt x="48" y="117"/>
                    <a:pt x="50" y="117"/>
                    <a:pt x="52" y="116"/>
                  </a:cubicBezTo>
                  <a:cubicBezTo>
                    <a:pt x="57" y="113"/>
                    <a:pt x="59" y="106"/>
                    <a:pt x="56" y="101"/>
                  </a:cubicBezTo>
                  <a:cubicBezTo>
                    <a:pt x="51" y="93"/>
                    <a:pt x="49" y="84"/>
                    <a:pt x="49" y="74"/>
                  </a:cubicBezTo>
                  <a:cubicBezTo>
                    <a:pt x="49" y="45"/>
                    <a:pt x="73" y="21"/>
                    <a:pt x="102" y="21"/>
                  </a:cubicBezTo>
                  <a:cubicBezTo>
                    <a:pt x="131" y="21"/>
                    <a:pt x="155" y="45"/>
                    <a:pt x="155" y="74"/>
                  </a:cubicBezTo>
                  <a:cubicBezTo>
                    <a:pt x="155" y="80"/>
                    <a:pt x="160" y="85"/>
                    <a:pt x="166" y="85"/>
                  </a:cubicBezTo>
                  <a:cubicBezTo>
                    <a:pt x="172" y="85"/>
                    <a:pt x="177" y="80"/>
                    <a:pt x="177" y="74"/>
                  </a:cubicBezTo>
                  <a:cubicBezTo>
                    <a:pt x="177" y="33"/>
                    <a:pt x="143" y="0"/>
                    <a:pt x="102" y="0"/>
                  </a:cubicBezTo>
                  <a:cubicBezTo>
                    <a:pt x="61" y="0"/>
                    <a:pt x="27" y="33"/>
                    <a:pt x="27" y="74"/>
                  </a:cubicBezTo>
                  <a:cubicBezTo>
                    <a:pt x="27" y="87"/>
                    <a:pt x="31" y="100"/>
                    <a:pt x="37" y="112"/>
                  </a:cubicBezTo>
                  <a:cubicBezTo>
                    <a:pt x="39" y="115"/>
                    <a:pt x="43" y="117"/>
                    <a:pt x="47"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867653882"/>
      </p:ext>
    </p:extLst>
  </p:cSld>
  <p:clrMapOvr>
    <a:masterClrMapping/>
  </p:clrMapOvr>
  <p:transition>
    <p:fade/>
  </p:transition>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Education/talent</a:t>
            </a:r>
          </a:p>
        </p:txBody>
      </p:sp>
      <p:sp>
        <p:nvSpPr>
          <p:cNvPr id="4" name="Title 3"/>
          <p:cNvSpPr>
            <a:spLocks noGrp="1"/>
          </p:cNvSpPr>
          <p:nvPr>
            <p:ph type="title"/>
          </p:nvPr>
        </p:nvSpPr>
        <p:spPr/>
        <p:txBody>
          <a:bodyPr/>
          <a:lstStyle/>
          <a:p>
            <a:r>
              <a:rPr lang="en-GB" dirty="0"/>
              <a:t>Iconography</a:t>
            </a:r>
          </a:p>
        </p:txBody>
      </p:sp>
      <p:sp>
        <p:nvSpPr>
          <p:cNvPr id="107" name="TextBox 106">
            <a:extLst>
              <a:ext uri="{FF2B5EF4-FFF2-40B4-BE49-F238E27FC236}">
                <a16:creationId xmlns:a16="http://schemas.microsoft.com/office/drawing/2014/main" id="{19084D03-C7EC-4D0B-8596-296AC07B9703}"/>
              </a:ext>
            </a:extLst>
          </p:cNvPr>
          <p:cNvSpPr txBox="1"/>
          <p:nvPr/>
        </p:nvSpPr>
        <p:spPr>
          <a:xfrm>
            <a:off x="454721" y="2108101"/>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n</a:t>
            </a:r>
          </a:p>
        </p:txBody>
      </p:sp>
      <p:sp>
        <p:nvSpPr>
          <p:cNvPr id="108" name="TextBox 107">
            <a:extLst>
              <a:ext uri="{FF2B5EF4-FFF2-40B4-BE49-F238E27FC236}">
                <a16:creationId xmlns:a16="http://schemas.microsoft.com/office/drawing/2014/main" id="{3088239D-9C34-4C51-B881-1D705FA18D49}"/>
              </a:ext>
            </a:extLst>
          </p:cNvPr>
          <p:cNvSpPr txBox="1"/>
          <p:nvPr/>
        </p:nvSpPr>
        <p:spPr>
          <a:xfrm>
            <a:off x="1314982" y="2108101"/>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ncil</a:t>
            </a:r>
          </a:p>
        </p:txBody>
      </p:sp>
      <p:sp>
        <p:nvSpPr>
          <p:cNvPr id="109" name="TextBox 108">
            <a:extLst>
              <a:ext uri="{FF2B5EF4-FFF2-40B4-BE49-F238E27FC236}">
                <a16:creationId xmlns:a16="http://schemas.microsoft.com/office/drawing/2014/main" id="{2C8AFB4C-D5B6-41C6-8906-7395B2C6BB01}"/>
              </a:ext>
            </a:extLst>
          </p:cNvPr>
          <p:cNvSpPr txBox="1"/>
          <p:nvPr/>
        </p:nvSpPr>
        <p:spPr>
          <a:xfrm>
            <a:off x="2190060"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ofile</a:t>
            </a:r>
          </a:p>
        </p:txBody>
      </p:sp>
      <p:sp>
        <p:nvSpPr>
          <p:cNvPr id="110" name="TextBox 109">
            <a:extLst>
              <a:ext uri="{FF2B5EF4-FFF2-40B4-BE49-F238E27FC236}">
                <a16:creationId xmlns:a16="http://schemas.microsoft.com/office/drawing/2014/main" id="{75B7F9B8-CB3F-496D-92EA-38A76D05047C}"/>
              </a:ext>
            </a:extLst>
          </p:cNvPr>
          <p:cNvSpPr txBox="1"/>
          <p:nvPr/>
        </p:nvSpPr>
        <p:spPr>
          <a:xfrm>
            <a:off x="3933866"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intbrush</a:t>
            </a:r>
          </a:p>
        </p:txBody>
      </p:sp>
      <p:sp>
        <p:nvSpPr>
          <p:cNvPr id="111" name="TextBox 110">
            <a:extLst>
              <a:ext uri="{FF2B5EF4-FFF2-40B4-BE49-F238E27FC236}">
                <a16:creationId xmlns:a16="http://schemas.microsoft.com/office/drawing/2014/main" id="{AF0D191F-DBB9-4772-BC4F-1DB6D3EEB04F}"/>
              </a:ext>
            </a:extLst>
          </p:cNvPr>
          <p:cNvSpPr txBox="1"/>
          <p:nvPr/>
        </p:nvSpPr>
        <p:spPr>
          <a:xfrm>
            <a:off x="4805769"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ths</a:t>
            </a:r>
          </a:p>
        </p:txBody>
      </p:sp>
      <p:sp>
        <p:nvSpPr>
          <p:cNvPr id="112" name="TextBox 111">
            <a:extLst>
              <a:ext uri="{FF2B5EF4-FFF2-40B4-BE49-F238E27FC236}">
                <a16:creationId xmlns:a16="http://schemas.microsoft.com/office/drawing/2014/main" id="{948932A8-EFCE-471B-8038-295AB5DCA973}"/>
              </a:ext>
            </a:extLst>
          </p:cNvPr>
          <p:cNvSpPr txBox="1"/>
          <p:nvPr/>
        </p:nvSpPr>
        <p:spPr>
          <a:xfrm>
            <a:off x="3061963"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ofile 2</a:t>
            </a:r>
          </a:p>
        </p:txBody>
      </p:sp>
      <p:sp>
        <p:nvSpPr>
          <p:cNvPr id="113" name="TextBox 112">
            <a:extLst>
              <a:ext uri="{FF2B5EF4-FFF2-40B4-BE49-F238E27FC236}">
                <a16:creationId xmlns:a16="http://schemas.microsoft.com/office/drawing/2014/main" id="{17E31D12-0757-4131-9C28-2C89A547FB15}"/>
              </a:ext>
            </a:extLst>
          </p:cNvPr>
          <p:cNvSpPr txBox="1"/>
          <p:nvPr/>
        </p:nvSpPr>
        <p:spPr>
          <a:xfrm>
            <a:off x="5677672"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rtarboard</a:t>
            </a:r>
          </a:p>
        </p:txBody>
      </p:sp>
      <p:sp>
        <p:nvSpPr>
          <p:cNvPr id="114" name="TextBox 113">
            <a:extLst>
              <a:ext uri="{FF2B5EF4-FFF2-40B4-BE49-F238E27FC236}">
                <a16:creationId xmlns:a16="http://schemas.microsoft.com/office/drawing/2014/main" id="{63CC55E4-FFB9-4DD2-8A42-E0481F04F406}"/>
              </a:ext>
            </a:extLst>
          </p:cNvPr>
          <p:cNvSpPr txBox="1"/>
          <p:nvPr/>
        </p:nvSpPr>
        <p:spPr>
          <a:xfrm>
            <a:off x="7421478"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ploma</a:t>
            </a:r>
          </a:p>
        </p:txBody>
      </p:sp>
      <p:sp>
        <p:nvSpPr>
          <p:cNvPr id="115" name="TextBox 114">
            <a:extLst>
              <a:ext uri="{FF2B5EF4-FFF2-40B4-BE49-F238E27FC236}">
                <a16:creationId xmlns:a16="http://schemas.microsoft.com/office/drawing/2014/main" id="{9BBA20D6-8707-4D43-AFE8-AA3442C67BEC}"/>
              </a:ext>
            </a:extLst>
          </p:cNvPr>
          <p:cNvSpPr txBox="1"/>
          <p:nvPr/>
        </p:nvSpPr>
        <p:spPr>
          <a:xfrm>
            <a:off x="6549575" y="2108101"/>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ading (glasses)</a:t>
            </a:r>
          </a:p>
        </p:txBody>
      </p:sp>
      <p:sp>
        <p:nvSpPr>
          <p:cNvPr id="116" name="TextBox 115">
            <a:extLst>
              <a:ext uri="{FF2B5EF4-FFF2-40B4-BE49-F238E27FC236}">
                <a16:creationId xmlns:a16="http://schemas.microsoft.com/office/drawing/2014/main" id="{8B74D367-3D6C-40B5-A49E-A66B8C83555C}"/>
              </a:ext>
            </a:extLst>
          </p:cNvPr>
          <p:cNvSpPr txBox="1"/>
          <p:nvPr/>
        </p:nvSpPr>
        <p:spPr>
          <a:xfrm>
            <a:off x="8293381" y="2108101"/>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uzzle</a:t>
            </a:r>
          </a:p>
        </p:txBody>
      </p:sp>
      <p:sp>
        <p:nvSpPr>
          <p:cNvPr id="117" name="TextBox 116">
            <a:extLst>
              <a:ext uri="{FF2B5EF4-FFF2-40B4-BE49-F238E27FC236}">
                <a16:creationId xmlns:a16="http://schemas.microsoft.com/office/drawing/2014/main" id="{FB7DE26D-7C25-4C72-943C-92CF645C4CAD}"/>
              </a:ext>
            </a:extLst>
          </p:cNvPr>
          <p:cNvSpPr txBox="1"/>
          <p:nvPr/>
        </p:nvSpPr>
        <p:spPr>
          <a:xfrm>
            <a:off x="9153642" y="2108101"/>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ophy</a:t>
            </a:r>
          </a:p>
        </p:txBody>
      </p:sp>
      <p:sp>
        <p:nvSpPr>
          <p:cNvPr id="118" name="TextBox 117">
            <a:extLst>
              <a:ext uri="{FF2B5EF4-FFF2-40B4-BE49-F238E27FC236}">
                <a16:creationId xmlns:a16="http://schemas.microsoft.com/office/drawing/2014/main" id="{C66F077C-D39F-48F7-8382-65706BD98860}"/>
              </a:ext>
            </a:extLst>
          </p:cNvPr>
          <p:cNvSpPr txBox="1"/>
          <p:nvPr/>
        </p:nvSpPr>
        <p:spPr>
          <a:xfrm>
            <a:off x="10028720"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D badge</a:t>
            </a:r>
          </a:p>
        </p:txBody>
      </p:sp>
      <p:sp>
        <p:nvSpPr>
          <p:cNvPr id="119" name="TextBox 118">
            <a:extLst>
              <a:ext uri="{FF2B5EF4-FFF2-40B4-BE49-F238E27FC236}">
                <a16:creationId xmlns:a16="http://schemas.microsoft.com/office/drawing/2014/main" id="{06D00C73-078A-4C1F-9720-8E4EEA05DCD9}"/>
              </a:ext>
            </a:extLst>
          </p:cNvPr>
          <p:cNvSpPr txBox="1"/>
          <p:nvPr/>
        </p:nvSpPr>
        <p:spPr>
          <a:xfrm>
            <a:off x="484190" y="297072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sette</a:t>
            </a:r>
          </a:p>
        </p:txBody>
      </p:sp>
      <p:sp>
        <p:nvSpPr>
          <p:cNvPr id="120" name="TextBox 119">
            <a:extLst>
              <a:ext uri="{FF2B5EF4-FFF2-40B4-BE49-F238E27FC236}">
                <a16:creationId xmlns:a16="http://schemas.microsoft.com/office/drawing/2014/main" id="{DCCD709A-F5A1-4978-A338-5F8E3E879D16}"/>
              </a:ext>
            </a:extLst>
          </p:cNvPr>
          <p:cNvSpPr txBox="1"/>
          <p:nvPr/>
        </p:nvSpPr>
        <p:spPr>
          <a:xfrm>
            <a:off x="10900622" y="210810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ok closed</a:t>
            </a:r>
          </a:p>
        </p:txBody>
      </p:sp>
      <p:sp>
        <p:nvSpPr>
          <p:cNvPr id="121" name="Freeform 240">
            <a:extLst>
              <a:ext uri="{FF2B5EF4-FFF2-40B4-BE49-F238E27FC236}">
                <a16:creationId xmlns:a16="http://schemas.microsoft.com/office/drawing/2014/main" id="{D0F47CDE-0C58-4A93-A624-EEC551D4045C}"/>
              </a:ext>
            </a:extLst>
          </p:cNvPr>
          <p:cNvSpPr>
            <a:spLocks noChangeAspect="1" noEditPoints="1"/>
          </p:cNvSpPr>
          <p:nvPr/>
        </p:nvSpPr>
        <p:spPr bwMode="auto">
          <a:xfrm>
            <a:off x="486621" y="169703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2" name="Group 243">
            <a:extLst>
              <a:ext uri="{FF2B5EF4-FFF2-40B4-BE49-F238E27FC236}">
                <a16:creationId xmlns:a16="http://schemas.microsoft.com/office/drawing/2014/main" id="{8D63C1BE-D96B-408C-9ED3-C31F1CCACC7A}"/>
              </a:ext>
            </a:extLst>
          </p:cNvPr>
          <p:cNvGrpSpPr>
            <a:grpSpLocks noChangeAspect="1"/>
          </p:cNvGrpSpPr>
          <p:nvPr/>
        </p:nvGrpSpPr>
        <p:grpSpPr bwMode="auto">
          <a:xfrm>
            <a:off x="921925" y="1697038"/>
            <a:ext cx="369021" cy="370106"/>
            <a:chOff x="3476" y="785"/>
            <a:chExt cx="340" cy="341"/>
          </a:xfrm>
          <a:solidFill>
            <a:schemeClr val="accent3"/>
          </a:solidFill>
        </p:grpSpPr>
        <p:sp>
          <p:nvSpPr>
            <p:cNvPr id="123" name="Freeform 244">
              <a:extLst>
                <a:ext uri="{FF2B5EF4-FFF2-40B4-BE49-F238E27FC236}">
                  <a16:creationId xmlns:a16="http://schemas.microsoft.com/office/drawing/2014/main" id="{92A9928D-61F1-4AFB-803F-0A4213BB6453}"/>
                </a:ext>
              </a:extLst>
            </p:cNvPr>
            <p:cNvSpPr>
              <a:spLocks noEditPoints="1"/>
            </p:cNvSpPr>
            <p:nvPr/>
          </p:nvSpPr>
          <p:spPr bwMode="auto">
            <a:xfrm>
              <a:off x="3539" y="888"/>
              <a:ext cx="214" cy="146"/>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4" name="Freeform 245">
              <a:extLst>
                <a:ext uri="{FF2B5EF4-FFF2-40B4-BE49-F238E27FC236}">
                  <a16:creationId xmlns:a16="http://schemas.microsoft.com/office/drawing/2014/main" id="{8C435D77-9626-435B-9074-C6339539F8C0}"/>
                </a:ext>
              </a:extLst>
            </p:cNvPr>
            <p:cNvSpPr>
              <a:spLocks noEditPoints="1"/>
            </p:cNvSpPr>
            <p:nvPr/>
          </p:nvSpPr>
          <p:spPr bwMode="auto">
            <a:xfrm>
              <a:off x="3476" y="78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5" name="Freeform 249">
            <a:extLst>
              <a:ext uri="{FF2B5EF4-FFF2-40B4-BE49-F238E27FC236}">
                <a16:creationId xmlns:a16="http://schemas.microsoft.com/office/drawing/2014/main" id="{9B32A4F2-2413-470A-B578-CDBA764B40C5}"/>
              </a:ext>
            </a:extLst>
          </p:cNvPr>
          <p:cNvSpPr>
            <a:spLocks noChangeAspect="1" noEditPoints="1"/>
          </p:cNvSpPr>
          <p:nvPr/>
        </p:nvSpPr>
        <p:spPr bwMode="auto">
          <a:xfrm>
            <a:off x="1357229" y="169703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6" name="Group 252">
            <a:extLst>
              <a:ext uri="{FF2B5EF4-FFF2-40B4-BE49-F238E27FC236}">
                <a16:creationId xmlns:a16="http://schemas.microsoft.com/office/drawing/2014/main" id="{E725FEB4-DCF7-4C80-BB4E-D5E63406F282}"/>
              </a:ext>
            </a:extLst>
          </p:cNvPr>
          <p:cNvGrpSpPr>
            <a:grpSpLocks noChangeAspect="1"/>
          </p:cNvGrpSpPr>
          <p:nvPr/>
        </p:nvGrpSpPr>
        <p:grpSpPr bwMode="auto">
          <a:xfrm>
            <a:off x="1792533" y="1697038"/>
            <a:ext cx="369021" cy="369021"/>
            <a:chOff x="4251" y="799"/>
            <a:chExt cx="340" cy="340"/>
          </a:xfrm>
          <a:solidFill>
            <a:schemeClr val="accent3"/>
          </a:solidFill>
        </p:grpSpPr>
        <p:sp>
          <p:nvSpPr>
            <p:cNvPr id="127" name="Freeform 253">
              <a:extLst>
                <a:ext uri="{FF2B5EF4-FFF2-40B4-BE49-F238E27FC236}">
                  <a16:creationId xmlns:a16="http://schemas.microsoft.com/office/drawing/2014/main" id="{15D2F1AC-E2AC-4549-AE3E-F123E8EA7A0D}"/>
                </a:ext>
              </a:extLst>
            </p:cNvPr>
            <p:cNvSpPr>
              <a:spLocks/>
            </p:cNvSpPr>
            <p:nvPr/>
          </p:nvSpPr>
          <p:spPr bwMode="auto">
            <a:xfrm>
              <a:off x="4314" y="950"/>
              <a:ext cx="70" cy="89"/>
            </a:xfrm>
            <a:custGeom>
              <a:avLst/>
              <a:gdLst>
                <a:gd name="T0" fmla="*/ 58 w 105"/>
                <a:gd name="T1" fmla="*/ 91 h 134"/>
                <a:gd name="T2" fmla="*/ 99 w 105"/>
                <a:gd name="T3" fmla="*/ 35 h 134"/>
                <a:gd name="T4" fmla="*/ 10 w 105"/>
                <a:gd name="T5" fmla="*/ 6 h 134"/>
                <a:gd name="T6" fmla="*/ 1 w 105"/>
                <a:gd name="T7" fmla="*/ 18 h 134"/>
                <a:gd name="T8" fmla="*/ 12 w 105"/>
                <a:gd name="T9" fmla="*/ 28 h 134"/>
                <a:gd name="T10" fmla="*/ 79 w 105"/>
                <a:gd name="T11" fmla="*/ 41 h 134"/>
                <a:gd name="T12" fmla="*/ 50 w 105"/>
                <a:gd name="T13" fmla="*/ 71 h 134"/>
                <a:gd name="T14" fmla="*/ 27 w 105"/>
                <a:gd name="T15" fmla="*/ 98 h 134"/>
                <a:gd name="T16" fmla="*/ 48 w 105"/>
                <a:gd name="T17" fmla="*/ 132 h 134"/>
                <a:gd name="T18" fmla="*/ 54 w 105"/>
                <a:gd name="T19" fmla="*/ 134 h 134"/>
                <a:gd name="T20" fmla="*/ 63 w 105"/>
                <a:gd name="T21" fmla="*/ 130 h 134"/>
                <a:gd name="T22" fmla="*/ 60 w 105"/>
                <a:gd name="T23" fmla="*/ 115 h 134"/>
                <a:gd name="T24" fmla="*/ 48 w 105"/>
                <a:gd name="T25" fmla="*/ 99 h 134"/>
                <a:gd name="T26" fmla="*/ 58 w 105"/>
                <a:gd name="T27" fmla="*/ 9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8" y="91"/>
                  </a:move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ubicBezTo>
                    <a:pt x="57" y="134"/>
                    <a:pt x="61" y="133"/>
                    <a:pt x="63" y="130"/>
                  </a:cubicBezTo>
                  <a:cubicBezTo>
                    <a:pt x="66" y="125"/>
                    <a:pt x="65" y="118"/>
                    <a:pt x="60" y="115"/>
                  </a:cubicBezTo>
                  <a:cubicBezTo>
                    <a:pt x="56" y="112"/>
                    <a:pt x="48" y="104"/>
                    <a:pt x="48" y="99"/>
                  </a:cubicBezTo>
                  <a:cubicBezTo>
                    <a:pt x="48" y="97"/>
                    <a:pt x="52" y="94"/>
                    <a:pt x="58" y="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8" name="Freeform 254">
              <a:extLst>
                <a:ext uri="{FF2B5EF4-FFF2-40B4-BE49-F238E27FC236}">
                  <a16:creationId xmlns:a16="http://schemas.microsoft.com/office/drawing/2014/main" id="{44B198E0-D323-4364-9715-88881E20FE26}"/>
                </a:ext>
              </a:extLst>
            </p:cNvPr>
            <p:cNvSpPr>
              <a:spLocks noEditPoints="1"/>
            </p:cNvSpPr>
            <p:nvPr/>
          </p:nvSpPr>
          <p:spPr bwMode="auto">
            <a:xfrm>
              <a:off x="4371" y="902"/>
              <a:ext cx="146" cy="145"/>
            </a:xfrm>
            <a:custGeom>
              <a:avLst/>
              <a:gdLst>
                <a:gd name="T0" fmla="*/ 215 w 219"/>
                <a:gd name="T1" fmla="*/ 35 h 219"/>
                <a:gd name="T2" fmla="*/ 185 w 219"/>
                <a:gd name="T3" fmla="*/ 4 h 219"/>
                <a:gd name="T4" fmla="*/ 170 w 219"/>
                <a:gd name="T5" fmla="*/ 4 h 219"/>
                <a:gd name="T6" fmla="*/ 110 w 219"/>
                <a:gd name="T7" fmla="*/ 65 h 219"/>
                <a:gd name="T8" fmla="*/ 19 w 219"/>
                <a:gd name="T9" fmla="*/ 155 h 219"/>
                <a:gd name="T10" fmla="*/ 17 w 219"/>
                <a:gd name="T11" fmla="*/ 159 h 219"/>
                <a:gd name="T12" fmla="*/ 2 w 219"/>
                <a:gd name="T13" fmla="*/ 205 h 219"/>
                <a:gd name="T14" fmla="*/ 4 w 219"/>
                <a:gd name="T15" fmla="*/ 216 h 219"/>
                <a:gd name="T16" fmla="*/ 12 w 219"/>
                <a:gd name="T17" fmla="*/ 219 h 219"/>
                <a:gd name="T18" fmla="*/ 15 w 219"/>
                <a:gd name="T19" fmla="*/ 218 h 219"/>
                <a:gd name="T20" fmla="*/ 60 w 219"/>
                <a:gd name="T21" fmla="*/ 203 h 219"/>
                <a:gd name="T22" fmla="*/ 65 w 219"/>
                <a:gd name="T23" fmla="*/ 201 h 219"/>
                <a:gd name="T24" fmla="*/ 155 w 219"/>
                <a:gd name="T25" fmla="*/ 110 h 219"/>
                <a:gd name="T26" fmla="*/ 215 w 219"/>
                <a:gd name="T27" fmla="*/ 50 h 219"/>
                <a:gd name="T28" fmla="*/ 219 w 219"/>
                <a:gd name="T29" fmla="*/ 42 h 219"/>
                <a:gd name="T30" fmla="*/ 215 w 219"/>
                <a:gd name="T31" fmla="*/ 35 h 219"/>
                <a:gd name="T32" fmla="*/ 51 w 219"/>
                <a:gd name="T33" fmla="*/ 184 h 219"/>
                <a:gd name="T34" fmla="*/ 29 w 219"/>
                <a:gd name="T35" fmla="*/ 191 h 219"/>
                <a:gd name="T36" fmla="*/ 36 w 219"/>
                <a:gd name="T37" fmla="*/ 169 h 219"/>
                <a:gd name="T38" fmla="*/ 117 w 219"/>
                <a:gd name="T39" fmla="*/ 87 h 219"/>
                <a:gd name="T40" fmla="*/ 132 w 219"/>
                <a:gd name="T41" fmla="*/ 102 h 219"/>
                <a:gd name="T42" fmla="*/ 51 w 219"/>
                <a:gd name="T43" fmla="*/ 184 h 219"/>
                <a:gd name="T44" fmla="*/ 148 w 219"/>
                <a:gd name="T45" fmla="*/ 87 h 219"/>
                <a:gd name="T46" fmla="*/ 132 w 219"/>
                <a:gd name="T47" fmla="*/ 72 h 219"/>
                <a:gd name="T48" fmla="*/ 178 w 219"/>
                <a:gd name="T49" fmla="*/ 27 h 219"/>
                <a:gd name="T50" fmla="*/ 193 w 219"/>
                <a:gd name="T51" fmla="*/ 42 h 219"/>
                <a:gd name="T52" fmla="*/ 148 w 219"/>
                <a:gd name="T53" fmla="*/ 8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9" h="219">
                  <a:moveTo>
                    <a:pt x="215" y="35"/>
                  </a:moveTo>
                  <a:cubicBezTo>
                    <a:pt x="185" y="4"/>
                    <a:pt x="185" y="4"/>
                    <a:pt x="185" y="4"/>
                  </a:cubicBezTo>
                  <a:cubicBezTo>
                    <a:pt x="181" y="0"/>
                    <a:pt x="174" y="0"/>
                    <a:pt x="170" y="4"/>
                  </a:cubicBezTo>
                  <a:cubicBezTo>
                    <a:pt x="110" y="65"/>
                    <a:pt x="110" y="65"/>
                    <a:pt x="110" y="65"/>
                  </a:cubicBezTo>
                  <a:cubicBezTo>
                    <a:pt x="19" y="155"/>
                    <a:pt x="19" y="155"/>
                    <a:pt x="19" y="155"/>
                  </a:cubicBezTo>
                  <a:cubicBezTo>
                    <a:pt x="18" y="156"/>
                    <a:pt x="17" y="158"/>
                    <a:pt x="17" y="159"/>
                  </a:cubicBezTo>
                  <a:cubicBezTo>
                    <a:pt x="2" y="205"/>
                    <a:pt x="2" y="205"/>
                    <a:pt x="2" y="205"/>
                  </a:cubicBezTo>
                  <a:cubicBezTo>
                    <a:pt x="0" y="209"/>
                    <a:pt x="1" y="213"/>
                    <a:pt x="4" y="216"/>
                  </a:cubicBezTo>
                  <a:cubicBezTo>
                    <a:pt x="6" y="218"/>
                    <a:pt x="9" y="219"/>
                    <a:pt x="12" y="219"/>
                  </a:cubicBezTo>
                  <a:cubicBezTo>
                    <a:pt x="13" y="219"/>
                    <a:pt x="14" y="219"/>
                    <a:pt x="15" y="218"/>
                  </a:cubicBezTo>
                  <a:cubicBezTo>
                    <a:pt x="60" y="203"/>
                    <a:pt x="60" y="203"/>
                    <a:pt x="60" y="203"/>
                  </a:cubicBezTo>
                  <a:cubicBezTo>
                    <a:pt x="62" y="203"/>
                    <a:pt x="63" y="202"/>
                    <a:pt x="65" y="201"/>
                  </a:cubicBezTo>
                  <a:cubicBezTo>
                    <a:pt x="155" y="110"/>
                    <a:pt x="155" y="110"/>
                    <a:pt x="155" y="110"/>
                  </a:cubicBezTo>
                  <a:cubicBezTo>
                    <a:pt x="215" y="50"/>
                    <a:pt x="215" y="50"/>
                    <a:pt x="215" y="50"/>
                  </a:cubicBezTo>
                  <a:cubicBezTo>
                    <a:pt x="217" y="48"/>
                    <a:pt x="219" y="45"/>
                    <a:pt x="219" y="42"/>
                  </a:cubicBezTo>
                  <a:cubicBezTo>
                    <a:pt x="219" y="39"/>
                    <a:pt x="217" y="37"/>
                    <a:pt x="215" y="35"/>
                  </a:cubicBezTo>
                  <a:close/>
                  <a:moveTo>
                    <a:pt x="51" y="184"/>
                  </a:moveTo>
                  <a:cubicBezTo>
                    <a:pt x="29" y="191"/>
                    <a:pt x="29" y="191"/>
                    <a:pt x="29" y="191"/>
                  </a:cubicBezTo>
                  <a:cubicBezTo>
                    <a:pt x="36" y="169"/>
                    <a:pt x="36" y="169"/>
                    <a:pt x="36" y="169"/>
                  </a:cubicBezTo>
                  <a:cubicBezTo>
                    <a:pt x="117" y="87"/>
                    <a:pt x="117" y="87"/>
                    <a:pt x="117" y="87"/>
                  </a:cubicBezTo>
                  <a:cubicBezTo>
                    <a:pt x="132" y="102"/>
                    <a:pt x="132" y="102"/>
                    <a:pt x="132" y="102"/>
                  </a:cubicBezTo>
                  <a:lnTo>
                    <a:pt x="51" y="184"/>
                  </a:lnTo>
                  <a:close/>
                  <a:moveTo>
                    <a:pt x="148" y="87"/>
                  </a:moveTo>
                  <a:cubicBezTo>
                    <a:pt x="132" y="72"/>
                    <a:pt x="132" y="72"/>
                    <a:pt x="132" y="72"/>
                  </a:cubicBezTo>
                  <a:cubicBezTo>
                    <a:pt x="178" y="27"/>
                    <a:pt x="178" y="27"/>
                    <a:pt x="178" y="27"/>
                  </a:cubicBezTo>
                  <a:cubicBezTo>
                    <a:pt x="193" y="42"/>
                    <a:pt x="193" y="42"/>
                    <a:pt x="193" y="42"/>
                  </a:cubicBezTo>
                  <a:lnTo>
                    <a:pt x="148" y="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9" name="Freeform 255">
              <a:extLst>
                <a:ext uri="{FF2B5EF4-FFF2-40B4-BE49-F238E27FC236}">
                  <a16:creationId xmlns:a16="http://schemas.microsoft.com/office/drawing/2014/main" id="{B03994B8-13B6-49AA-B7CB-2D98570376F3}"/>
                </a:ext>
              </a:extLst>
            </p:cNvPr>
            <p:cNvSpPr>
              <a:spLocks noEditPoints="1"/>
            </p:cNvSpPr>
            <p:nvPr/>
          </p:nvSpPr>
          <p:spPr bwMode="auto">
            <a:xfrm>
              <a:off x="4251" y="7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0" name="Group 545">
            <a:extLst>
              <a:ext uri="{FF2B5EF4-FFF2-40B4-BE49-F238E27FC236}">
                <a16:creationId xmlns:a16="http://schemas.microsoft.com/office/drawing/2014/main" id="{BC7DF814-527E-46D3-BDB0-1E38431FBB38}"/>
              </a:ext>
            </a:extLst>
          </p:cNvPr>
          <p:cNvGrpSpPr>
            <a:grpSpLocks noChangeAspect="1"/>
          </p:cNvGrpSpPr>
          <p:nvPr/>
        </p:nvGrpSpPr>
        <p:grpSpPr bwMode="auto">
          <a:xfrm>
            <a:off x="2663141" y="1697038"/>
            <a:ext cx="369021" cy="369021"/>
            <a:chOff x="1885" y="1944"/>
            <a:chExt cx="340" cy="340"/>
          </a:xfrm>
          <a:solidFill>
            <a:schemeClr val="accent6"/>
          </a:solidFill>
        </p:grpSpPr>
        <p:sp>
          <p:nvSpPr>
            <p:cNvPr id="131" name="Freeform 546">
              <a:extLst>
                <a:ext uri="{FF2B5EF4-FFF2-40B4-BE49-F238E27FC236}">
                  <a16:creationId xmlns:a16="http://schemas.microsoft.com/office/drawing/2014/main" id="{10694C5D-6A13-4BFE-A12D-4D040C391A58}"/>
                </a:ext>
              </a:extLst>
            </p:cNvPr>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547">
              <a:extLst>
                <a:ext uri="{FF2B5EF4-FFF2-40B4-BE49-F238E27FC236}">
                  <a16:creationId xmlns:a16="http://schemas.microsoft.com/office/drawing/2014/main" id="{2D673CDF-A082-4C2D-9335-711ACE860105}"/>
                </a:ext>
              </a:extLst>
            </p:cNvPr>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3" name="Group 550">
            <a:extLst>
              <a:ext uri="{FF2B5EF4-FFF2-40B4-BE49-F238E27FC236}">
                <a16:creationId xmlns:a16="http://schemas.microsoft.com/office/drawing/2014/main" id="{E0E74318-4CA7-4F77-AEA7-96BA1BD097AE}"/>
              </a:ext>
            </a:extLst>
          </p:cNvPr>
          <p:cNvGrpSpPr>
            <a:grpSpLocks noChangeAspect="1"/>
          </p:cNvGrpSpPr>
          <p:nvPr/>
        </p:nvGrpSpPr>
        <p:grpSpPr bwMode="auto">
          <a:xfrm>
            <a:off x="2227837" y="1697038"/>
            <a:ext cx="369021" cy="369021"/>
            <a:chOff x="1520" y="1938"/>
            <a:chExt cx="340" cy="340"/>
          </a:xfrm>
          <a:solidFill>
            <a:schemeClr val="accent6"/>
          </a:solidFill>
        </p:grpSpPr>
        <p:sp>
          <p:nvSpPr>
            <p:cNvPr id="134" name="Freeform 551">
              <a:extLst>
                <a:ext uri="{FF2B5EF4-FFF2-40B4-BE49-F238E27FC236}">
                  <a16:creationId xmlns:a16="http://schemas.microsoft.com/office/drawing/2014/main" id="{44EBC471-60D4-4E7D-80BE-AE829DBC7496}"/>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5" name="Freeform 552">
              <a:extLst>
                <a:ext uri="{FF2B5EF4-FFF2-40B4-BE49-F238E27FC236}">
                  <a16:creationId xmlns:a16="http://schemas.microsoft.com/office/drawing/2014/main" id="{2A22BC6F-F244-4A29-B8B9-085DB108FF2F}"/>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6" name="Group 555">
            <a:extLst>
              <a:ext uri="{FF2B5EF4-FFF2-40B4-BE49-F238E27FC236}">
                <a16:creationId xmlns:a16="http://schemas.microsoft.com/office/drawing/2014/main" id="{A49A2EB3-C77F-4921-96F6-1264E90E280E}"/>
              </a:ext>
            </a:extLst>
          </p:cNvPr>
          <p:cNvGrpSpPr>
            <a:grpSpLocks noChangeAspect="1"/>
          </p:cNvGrpSpPr>
          <p:nvPr/>
        </p:nvGrpSpPr>
        <p:grpSpPr bwMode="auto">
          <a:xfrm>
            <a:off x="3534834" y="1697038"/>
            <a:ext cx="370106" cy="369021"/>
            <a:chOff x="1130" y="1948"/>
            <a:chExt cx="341" cy="340"/>
          </a:xfrm>
          <a:solidFill>
            <a:schemeClr val="accent6"/>
          </a:solidFill>
        </p:grpSpPr>
        <p:sp>
          <p:nvSpPr>
            <p:cNvPr id="137" name="Freeform 556">
              <a:extLst>
                <a:ext uri="{FF2B5EF4-FFF2-40B4-BE49-F238E27FC236}">
                  <a16:creationId xmlns:a16="http://schemas.microsoft.com/office/drawing/2014/main" id="{158A6353-EF67-4AA1-8D6C-B038D8118BD1}"/>
                </a:ext>
              </a:extLst>
            </p:cNvPr>
            <p:cNvSpPr>
              <a:spLocks noEditPoints="1"/>
            </p:cNvSpPr>
            <p:nvPr/>
          </p:nvSpPr>
          <p:spPr bwMode="auto">
            <a:xfrm>
              <a:off x="1130" y="194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8" name="Freeform 557">
              <a:extLst>
                <a:ext uri="{FF2B5EF4-FFF2-40B4-BE49-F238E27FC236}">
                  <a16:creationId xmlns:a16="http://schemas.microsoft.com/office/drawing/2014/main" id="{42FAEC83-DE7C-4DCB-B89F-8F784E2F70A3}"/>
                </a:ext>
              </a:extLst>
            </p:cNvPr>
            <p:cNvSpPr>
              <a:spLocks/>
            </p:cNvSpPr>
            <p:nvPr/>
          </p:nvSpPr>
          <p:spPr bwMode="auto">
            <a:xfrm>
              <a:off x="1322" y="2068"/>
              <a:ext cx="85" cy="1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9" name="Freeform 558">
              <a:extLst>
                <a:ext uri="{FF2B5EF4-FFF2-40B4-BE49-F238E27FC236}">
                  <a16:creationId xmlns:a16="http://schemas.microsoft.com/office/drawing/2014/main" id="{FE3A13C6-7418-4343-9725-221B29B4B3CB}"/>
                </a:ext>
              </a:extLst>
            </p:cNvPr>
            <p:cNvSpPr>
              <a:spLocks/>
            </p:cNvSpPr>
            <p:nvPr/>
          </p:nvSpPr>
          <p:spPr bwMode="auto">
            <a:xfrm>
              <a:off x="1322" y="2097"/>
              <a:ext cx="85" cy="14"/>
            </a:xfrm>
            <a:custGeom>
              <a:avLst/>
              <a:gdLst>
                <a:gd name="T0" fmla="*/ 117 w 128"/>
                <a:gd name="T1" fmla="*/ 0 h 21"/>
                <a:gd name="T2" fmla="*/ 10 w 128"/>
                <a:gd name="T3" fmla="*/ 0 h 21"/>
                <a:gd name="T4" fmla="*/ 0 w 128"/>
                <a:gd name="T5" fmla="*/ 10 h 21"/>
                <a:gd name="T6" fmla="*/ 10 w 128"/>
                <a:gd name="T7" fmla="*/ 21 h 21"/>
                <a:gd name="T8" fmla="*/ 117 w 128"/>
                <a:gd name="T9" fmla="*/ 21 h 21"/>
                <a:gd name="T10" fmla="*/ 128 w 128"/>
                <a:gd name="T11" fmla="*/ 10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4"/>
                    <a:pt x="0" y="10"/>
                  </a:cubicBezTo>
                  <a:cubicBezTo>
                    <a:pt x="0" y="16"/>
                    <a:pt x="4" y="21"/>
                    <a:pt x="10" y="21"/>
                  </a:cubicBezTo>
                  <a:cubicBezTo>
                    <a:pt x="117" y="21"/>
                    <a:pt x="117" y="21"/>
                    <a:pt x="117" y="21"/>
                  </a:cubicBezTo>
                  <a:cubicBezTo>
                    <a:pt x="123" y="21"/>
                    <a:pt x="128" y="16"/>
                    <a:pt x="128" y="10"/>
                  </a:cubicBezTo>
                  <a:cubicBezTo>
                    <a:pt x="128" y="4"/>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0" name="Freeform 559">
              <a:extLst>
                <a:ext uri="{FF2B5EF4-FFF2-40B4-BE49-F238E27FC236}">
                  <a16:creationId xmlns:a16="http://schemas.microsoft.com/office/drawing/2014/main" id="{3BB606C8-84D3-4397-90AF-BB5E5B18EBD3}"/>
                </a:ext>
              </a:extLst>
            </p:cNvPr>
            <p:cNvSpPr>
              <a:spLocks/>
            </p:cNvSpPr>
            <p:nvPr/>
          </p:nvSpPr>
          <p:spPr bwMode="auto">
            <a:xfrm>
              <a:off x="1322" y="2125"/>
              <a:ext cx="85" cy="14"/>
            </a:xfrm>
            <a:custGeom>
              <a:avLst/>
              <a:gdLst>
                <a:gd name="T0" fmla="*/ 117 w 128"/>
                <a:gd name="T1" fmla="*/ 0 h 22"/>
                <a:gd name="T2" fmla="*/ 10 w 128"/>
                <a:gd name="T3" fmla="*/ 0 h 22"/>
                <a:gd name="T4" fmla="*/ 0 w 128"/>
                <a:gd name="T5" fmla="*/ 11 h 22"/>
                <a:gd name="T6" fmla="*/ 10 w 128"/>
                <a:gd name="T7" fmla="*/ 22 h 22"/>
                <a:gd name="T8" fmla="*/ 117 w 128"/>
                <a:gd name="T9" fmla="*/ 22 h 22"/>
                <a:gd name="T10" fmla="*/ 128 w 128"/>
                <a:gd name="T11" fmla="*/ 11 h 22"/>
                <a:gd name="T12" fmla="*/ 117 w 12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8" h="22">
                  <a:moveTo>
                    <a:pt x="117" y="0"/>
                  </a:moveTo>
                  <a:cubicBezTo>
                    <a:pt x="10" y="0"/>
                    <a:pt x="10" y="0"/>
                    <a:pt x="10" y="0"/>
                  </a:cubicBezTo>
                  <a:cubicBezTo>
                    <a:pt x="4" y="0"/>
                    <a:pt x="0" y="5"/>
                    <a:pt x="0" y="11"/>
                  </a:cubicBezTo>
                  <a:cubicBezTo>
                    <a:pt x="0" y="17"/>
                    <a:pt x="4" y="22"/>
                    <a:pt x="10" y="22"/>
                  </a:cubicBezTo>
                  <a:cubicBezTo>
                    <a:pt x="117" y="22"/>
                    <a:pt x="117" y="22"/>
                    <a:pt x="117" y="22"/>
                  </a:cubicBezTo>
                  <a:cubicBezTo>
                    <a:pt x="123" y="22"/>
                    <a:pt x="128" y="17"/>
                    <a:pt x="128" y="11"/>
                  </a:cubicBezTo>
                  <a:cubicBezTo>
                    <a:pt x="128" y="5"/>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1" name="Freeform 560">
              <a:extLst>
                <a:ext uri="{FF2B5EF4-FFF2-40B4-BE49-F238E27FC236}">
                  <a16:creationId xmlns:a16="http://schemas.microsoft.com/office/drawing/2014/main" id="{89D88BEA-A4AD-4F70-B41D-B90DF08A60D0}"/>
                </a:ext>
              </a:extLst>
            </p:cNvPr>
            <p:cNvSpPr>
              <a:spLocks/>
            </p:cNvSpPr>
            <p:nvPr/>
          </p:nvSpPr>
          <p:spPr bwMode="auto">
            <a:xfrm>
              <a:off x="1193" y="2051"/>
              <a:ext cx="143"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2" name="Freeform 564">
            <a:extLst>
              <a:ext uri="{FF2B5EF4-FFF2-40B4-BE49-F238E27FC236}">
                <a16:creationId xmlns:a16="http://schemas.microsoft.com/office/drawing/2014/main" id="{37F4BF69-E5F9-49A7-BF1D-7B2E92E12DD3}"/>
              </a:ext>
            </a:extLst>
          </p:cNvPr>
          <p:cNvSpPr>
            <a:spLocks noChangeAspect="1" noEditPoints="1"/>
          </p:cNvSpPr>
          <p:nvPr/>
        </p:nvSpPr>
        <p:spPr bwMode="auto">
          <a:xfrm>
            <a:off x="3098445" y="1697038"/>
            <a:ext cx="370106"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8 w 512"/>
              <a:gd name="T11" fmla="*/ 357 h 512"/>
              <a:gd name="T12" fmla="*/ 298 w 512"/>
              <a:gd name="T13" fmla="*/ 362 h 512"/>
              <a:gd name="T14" fmla="*/ 293 w 512"/>
              <a:gd name="T15" fmla="*/ 361 h 512"/>
              <a:gd name="T16" fmla="*/ 265 w 512"/>
              <a:gd name="T17" fmla="*/ 356 h 512"/>
              <a:gd name="T18" fmla="*/ 240 w 512"/>
              <a:gd name="T19" fmla="*/ 351 h 512"/>
              <a:gd name="T20" fmla="*/ 219 w 512"/>
              <a:gd name="T21" fmla="*/ 318 h 512"/>
              <a:gd name="T22" fmla="*/ 221 w 512"/>
              <a:gd name="T23" fmla="*/ 290 h 512"/>
              <a:gd name="T24" fmla="*/ 240 w 512"/>
              <a:gd name="T25" fmla="*/ 246 h 512"/>
              <a:gd name="T26" fmla="*/ 235 w 512"/>
              <a:gd name="T27" fmla="*/ 191 h 512"/>
              <a:gd name="T28" fmla="*/ 203 w 512"/>
              <a:gd name="T29" fmla="*/ 177 h 512"/>
              <a:gd name="T30" fmla="*/ 170 w 512"/>
              <a:gd name="T31" fmla="*/ 191 h 512"/>
              <a:gd name="T32" fmla="*/ 165 w 512"/>
              <a:gd name="T33" fmla="*/ 246 h 512"/>
              <a:gd name="T34" fmla="*/ 184 w 512"/>
              <a:gd name="T35" fmla="*/ 290 h 512"/>
              <a:gd name="T36" fmla="*/ 185 w 512"/>
              <a:gd name="T37" fmla="*/ 318 h 512"/>
              <a:gd name="T38" fmla="*/ 164 w 512"/>
              <a:gd name="T39" fmla="*/ 351 h 512"/>
              <a:gd name="T40" fmla="*/ 139 w 512"/>
              <a:gd name="T41" fmla="*/ 356 h 512"/>
              <a:gd name="T42" fmla="*/ 111 w 512"/>
              <a:gd name="T43" fmla="*/ 361 h 512"/>
              <a:gd name="T44" fmla="*/ 97 w 512"/>
              <a:gd name="T45" fmla="*/ 357 h 512"/>
              <a:gd name="T46" fmla="*/ 101 w 512"/>
              <a:gd name="T47" fmla="*/ 342 h 512"/>
              <a:gd name="T48" fmla="*/ 137 w 512"/>
              <a:gd name="T49" fmla="*/ 334 h 512"/>
              <a:gd name="T50" fmla="*/ 155 w 512"/>
              <a:gd name="T51" fmla="*/ 331 h 512"/>
              <a:gd name="T52" fmla="*/ 166 w 512"/>
              <a:gd name="T53" fmla="*/ 302 h 512"/>
              <a:gd name="T54" fmla="*/ 144 w 512"/>
              <a:gd name="T55" fmla="*/ 251 h 512"/>
              <a:gd name="T56" fmla="*/ 153 w 512"/>
              <a:gd name="T57" fmla="*/ 177 h 512"/>
              <a:gd name="T58" fmla="*/ 203 w 512"/>
              <a:gd name="T59" fmla="*/ 155 h 512"/>
              <a:gd name="T60" fmla="*/ 251 w 512"/>
              <a:gd name="T61" fmla="*/ 177 h 512"/>
              <a:gd name="T62" fmla="*/ 261 w 512"/>
              <a:gd name="T63" fmla="*/ 251 h 512"/>
              <a:gd name="T64" fmla="*/ 239 w 512"/>
              <a:gd name="T65" fmla="*/ 302 h 512"/>
              <a:gd name="T66" fmla="*/ 250 w 512"/>
              <a:gd name="T67" fmla="*/ 331 h 512"/>
              <a:gd name="T68" fmla="*/ 267 w 512"/>
              <a:gd name="T69" fmla="*/ 334 h 512"/>
              <a:gd name="T70" fmla="*/ 303 w 512"/>
              <a:gd name="T71" fmla="*/ 342 h 512"/>
              <a:gd name="T72" fmla="*/ 308 w 512"/>
              <a:gd name="T73" fmla="*/ 357 h 512"/>
              <a:gd name="T74" fmla="*/ 405 w 512"/>
              <a:gd name="T75" fmla="*/ 288 h 512"/>
              <a:gd name="T76" fmla="*/ 298 w 512"/>
              <a:gd name="T77" fmla="*/ 288 h 512"/>
              <a:gd name="T78" fmla="*/ 288 w 512"/>
              <a:gd name="T79" fmla="*/ 277 h 512"/>
              <a:gd name="T80" fmla="*/ 298 w 512"/>
              <a:gd name="T81" fmla="*/ 266 h 512"/>
              <a:gd name="T82" fmla="*/ 405 w 512"/>
              <a:gd name="T83" fmla="*/ 266 h 512"/>
              <a:gd name="T84" fmla="*/ 416 w 512"/>
              <a:gd name="T85" fmla="*/ 277 h 512"/>
              <a:gd name="T86" fmla="*/ 405 w 512"/>
              <a:gd name="T87" fmla="*/ 288 h 512"/>
              <a:gd name="T88" fmla="*/ 405 w 512"/>
              <a:gd name="T89" fmla="*/ 245 h 512"/>
              <a:gd name="T90" fmla="*/ 298 w 512"/>
              <a:gd name="T91" fmla="*/ 245 h 512"/>
              <a:gd name="T92" fmla="*/ 288 w 512"/>
              <a:gd name="T93" fmla="*/ 234 h 512"/>
              <a:gd name="T94" fmla="*/ 298 w 512"/>
              <a:gd name="T95" fmla="*/ 224 h 512"/>
              <a:gd name="T96" fmla="*/ 405 w 512"/>
              <a:gd name="T97" fmla="*/ 224 h 512"/>
              <a:gd name="T98" fmla="*/ 416 w 512"/>
              <a:gd name="T99" fmla="*/ 234 h 512"/>
              <a:gd name="T100" fmla="*/ 405 w 512"/>
              <a:gd name="T101" fmla="*/ 245 h 512"/>
              <a:gd name="T102" fmla="*/ 405 w 512"/>
              <a:gd name="T103" fmla="*/ 202 h 512"/>
              <a:gd name="T104" fmla="*/ 298 w 512"/>
              <a:gd name="T105" fmla="*/ 202 h 512"/>
              <a:gd name="T106" fmla="*/ 288 w 512"/>
              <a:gd name="T107" fmla="*/ 192 h 512"/>
              <a:gd name="T108" fmla="*/ 298 w 512"/>
              <a:gd name="T109" fmla="*/ 181 h 512"/>
              <a:gd name="T110" fmla="*/ 405 w 512"/>
              <a:gd name="T111" fmla="*/ 181 h 512"/>
              <a:gd name="T112" fmla="*/ 416 w 512"/>
              <a:gd name="T113" fmla="*/ 192 h 512"/>
              <a:gd name="T114" fmla="*/ 405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7"/>
                </a:moveTo>
                <a:cubicBezTo>
                  <a:pt x="306" y="360"/>
                  <a:pt x="302" y="362"/>
                  <a:pt x="298" y="362"/>
                </a:cubicBezTo>
                <a:cubicBezTo>
                  <a:pt x="296" y="362"/>
                  <a:pt x="295" y="362"/>
                  <a:pt x="293" y="361"/>
                </a:cubicBezTo>
                <a:cubicBezTo>
                  <a:pt x="286" y="357"/>
                  <a:pt x="275" y="356"/>
                  <a:pt x="265" y="356"/>
                </a:cubicBezTo>
                <a:cubicBezTo>
                  <a:pt x="255" y="355"/>
                  <a:pt x="247" y="354"/>
                  <a:pt x="240" y="351"/>
                </a:cubicBezTo>
                <a:cubicBezTo>
                  <a:pt x="227" y="344"/>
                  <a:pt x="221" y="324"/>
                  <a:pt x="219" y="318"/>
                </a:cubicBezTo>
                <a:cubicBezTo>
                  <a:pt x="217" y="309"/>
                  <a:pt x="216" y="297"/>
                  <a:pt x="221" y="290"/>
                </a:cubicBezTo>
                <a:cubicBezTo>
                  <a:pt x="228" y="280"/>
                  <a:pt x="236" y="261"/>
                  <a:pt x="240" y="246"/>
                </a:cubicBezTo>
                <a:cubicBezTo>
                  <a:pt x="246" y="221"/>
                  <a:pt x="244" y="202"/>
                  <a:pt x="235" y="191"/>
                </a:cubicBezTo>
                <a:cubicBezTo>
                  <a:pt x="223" y="176"/>
                  <a:pt x="203" y="176"/>
                  <a:pt x="203" y="177"/>
                </a:cubicBezTo>
                <a:cubicBezTo>
                  <a:pt x="202" y="176"/>
                  <a:pt x="181" y="176"/>
                  <a:pt x="170" y="191"/>
                </a:cubicBezTo>
                <a:cubicBezTo>
                  <a:pt x="160" y="202"/>
                  <a:pt x="159" y="221"/>
                  <a:pt x="165" y="246"/>
                </a:cubicBezTo>
                <a:cubicBezTo>
                  <a:pt x="168" y="261"/>
                  <a:pt x="176" y="280"/>
                  <a:pt x="184" y="290"/>
                </a:cubicBezTo>
                <a:cubicBezTo>
                  <a:pt x="189" y="297"/>
                  <a:pt x="187" y="309"/>
                  <a:pt x="185" y="318"/>
                </a:cubicBezTo>
                <a:cubicBezTo>
                  <a:pt x="184" y="324"/>
                  <a:pt x="178" y="344"/>
                  <a:pt x="164" y="351"/>
                </a:cubicBezTo>
                <a:cubicBezTo>
                  <a:pt x="158" y="354"/>
                  <a:pt x="149" y="355"/>
                  <a:pt x="139" y="356"/>
                </a:cubicBezTo>
                <a:cubicBezTo>
                  <a:pt x="129" y="356"/>
                  <a:pt x="118" y="357"/>
                  <a:pt x="111" y="361"/>
                </a:cubicBezTo>
                <a:cubicBezTo>
                  <a:pt x="106" y="364"/>
                  <a:pt x="100" y="362"/>
                  <a:pt x="97" y="357"/>
                </a:cubicBezTo>
                <a:cubicBezTo>
                  <a:pt x="94" y="351"/>
                  <a:pt x="96" y="345"/>
                  <a:pt x="101" y="342"/>
                </a:cubicBezTo>
                <a:cubicBezTo>
                  <a:pt x="112" y="337"/>
                  <a:pt x="125" y="335"/>
                  <a:pt x="137" y="334"/>
                </a:cubicBezTo>
                <a:cubicBezTo>
                  <a:pt x="144" y="334"/>
                  <a:pt x="152" y="333"/>
                  <a:pt x="155" y="331"/>
                </a:cubicBezTo>
                <a:cubicBezTo>
                  <a:pt x="161" y="328"/>
                  <a:pt x="167" y="308"/>
                  <a:pt x="166" y="302"/>
                </a:cubicBezTo>
                <a:cubicBezTo>
                  <a:pt x="157" y="289"/>
                  <a:pt x="148" y="269"/>
                  <a:pt x="144" y="251"/>
                </a:cubicBezTo>
                <a:cubicBezTo>
                  <a:pt x="136" y="219"/>
                  <a:pt x="139" y="194"/>
                  <a:pt x="153" y="177"/>
                </a:cubicBezTo>
                <a:cubicBezTo>
                  <a:pt x="172" y="155"/>
                  <a:pt x="201" y="155"/>
                  <a:pt x="203" y="155"/>
                </a:cubicBezTo>
                <a:cubicBezTo>
                  <a:pt x="203" y="155"/>
                  <a:pt x="233" y="155"/>
                  <a:pt x="251" y="177"/>
                </a:cubicBezTo>
                <a:cubicBezTo>
                  <a:pt x="265" y="194"/>
                  <a:pt x="268" y="219"/>
                  <a:pt x="261" y="251"/>
                </a:cubicBezTo>
                <a:cubicBezTo>
                  <a:pt x="256" y="269"/>
                  <a:pt x="247" y="289"/>
                  <a:pt x="239" y="302"/>
                </a:cubicBezTo>
                <a:cubicBezTo>
                  <a:pt x="237" y="308"/>
                  <a:pt x="243" y="328"/>
                  <a:pt x="250" y="331"/>
                </a:cubicBezTo>
                <a:cubicBezTo>
                  <a:pt x="252" y="333"/>
                  <a:pt x="260" y="334"/>
                  <a:pt x="267" y="334"/>
                </a:cubicBezTo>
                <a:cubicBezTo>
                  <a:pt x="279" y="335"/>
                  <a:pt x="293" y="337"/>
                  <a:pt x="303" y="342"/>
                </a:cubicBezTo>
                <a:cubicBezTo>
                  <a:pt x="308" y="345"/>
                  <a:pt x="310" y="351"/>
                  <a:pt x="308" y="357"/>
                </a:cubicBezTo>
                <a:close/>
                <a:moveTo>
                  <a:pt x="405" y="288"/>
                </a:moveTo>
                <a:cubicBezTo>
                  <a:pt x="298" y="288"/>
                  <a:pt x="298" y="288"/>
                  <a:pt x="298" y="288"/>
                </a:cubicBezTo>
                <a:cubicBezTo>
                  <a:pt x="292" y="288"/>
                  <a:pt x="288" y="283"/>
                  <a:pt x="288" y="277"/>
                </a:cubicBezTo>
                <a:cubicBezTo>
                  <a:pt x="288" y="271"/>
                  <a:pt x="292" y="266"/>
                  <a:pt x="298" y="266"/>
                </a:cubicBezTo>
                <a:cubicBezTo>
                  <a:pt x="405" y="266"/>
                  <a:pt x="405" y="266"/>
                  <a:pt x="405" y="266"/>
                </a:cubicBezTo>
                <a:cubicBezTo>
                  <a:pt x="411" y="266"/>
                  <a:pt x="416" y="271"/>
                  <a:pt x="416" y="277"/>
                </a:cubicBezTo>
                <a:cubicBezTo>
                  <a:pt x="416" y="283"/>
                  <a:pt x="411" y="288"/>
                  <a:pt x="405" y="288"/>
                </a:cubicBezTo>
                <a:close/>
                <a:moveTo>
                  <a:pt x="405" y="245"/>
                </a:moveTo>
                <a:cubicBezTo>
                  <a:pt x="298" y="245"/>
                  <a:pt x="298" y="245"/>
                  <a:pt x="298" y="245"/>
                </a:cubicBezTo>
                <a:cubicBezTo>
                  <a:pt x="292" y="245"/>
                  <a:pt x="288" y="240"/>
                  <a:pt x="288" y="234"/>
                </a:cubicBezTo>
                <a:cubicBezTo>
                  <a:pt x="288" y="228"/>
                  <a:pt x="292" y="224"/>
                  <a:pt x="298" y="224"/>
                </a:cubicBezTo>
                <a:cubicBezTo>
                  <a:pt x="405" y="224"/>
                  <a:pt x="405" y="224"/>
                  <a:pt x="405" y="224"/>
                </a:cubicBezTo>
                <a:cubicBezTo>
                  <a:pt x="411" y="224"/>
                  <a:pt x="416" y="228"/>
                  <a:pt x="416" y="234"/>
                </a:cubicBezTo>
                <a:cubicBezTo>
                  <a:pt x="416" y="240"/>
                  <a:pt x="411" y="245"/>
                  <a:pt x="405" y="245"/>
                </a:cubicBezTo>
                <a:close/>
                <a:moveTo>
                  <a:pt x="405" y="202"/>
                </a:moveTo>
                <a:cubicBezTo>
                  <a:pt x="298" y="202"/>
                  <a:pt x="298" y="202"/>
                  <a:pt x="298" y="202"/>
                </a:cubicBezTo>
                <a:cubicBezTo>
                  <a:pt x="292" y="202"/>
                  <a:pt x="288" y="198"/>
                  <a:pt x="288" y="192"/>
                </a:cubicBezTo>
                <a:cubicBezTo>
                  <a:pt x="288" y="186"/>
                  <a:pt x="292" y="181"/>
                  <a:pt x="298" y="181"/>
                </a:cubicBezTo>
                <a:cubicBezTo>
                  <a:pt x="405" y="181"/>
                  <a:pt x="405" y="181"/>
                  <a:pt x="405" y="181"/>
                </a:cubicBezTo>
                <a:cubicBezTo>
                  <a:pt x="411" y="181"/>
                  <a:pt x="416" y="186"/>
                  <a:pt x="416" y="192"/>
                </a:cubicBezTo>
                <a:cubicBezTo>
                  <a:pt x="416" y="198"/>
                  <a:pt x="411" y="202"/>
                  <a:pt x="405" y="20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3" name="Freeform 173">
            <a:extLst>
              <a:ext uri="{FF2B5EF4-FFF2-40B4-BE49-F238E27FC236}">
                <a16:creationId xmlns:a16="http://schemas.microsoft.com/office/drawing/2014/main" id="{5ECF75F3-BB52-4FC5-AA83-55AD08DD05B1}"/>
              </a:ext>
            </a:extLst>
          </p:cNvPr>
          <p:cNvSpPr>
            <a:spLocks noChangeAspect="1" noEditPoints="1"/>
          </p:cNvSpPr>
          <p:nvPr/>
        </p:nvSpPr>
        <p:spPr bwMode="auto">
          <a:xfrm>
            <a:off x="3971223" y="1697038"/>
            <a:ext cx="369021" cy="369021"/>
          </a:xfrm>
          <a:custGeom>
            <a:avLst/>
            <a:gdLst>
              <a:gd name="T0" fmla="*/ 392 w 512"/>
              <a:gd name="T1" fmla="*/ 188 h 512"/>
              <a:gd name="T2" fmla="*/ 394 w 512"/>
              <a:gd name="T3" fmla="*/ 193 h 512"/>
              <a:gd name="T4" fmla="*/ 393 w 512"/>
              <a:gd name="T5" fmla="*/ 196 h 512"/>
              <a:gd name="T6" fmla="*/ 267 w 512"/>
              <a:gd name="T7" fmla="*/ 325 h 512"/>
              <a:gd name="T8" fmla="*/ 266 w 512"/>
              <a:gd name="T9" fmla="*/ 323 h 512"/>
              <a:gd name="T10" fmla="*/ 254 w 512"/>
              <a:gd name="T11" fmla="*/ 315 h 512"/>
              <a:gd name="T12" fmla="*/ 383 w 512"/>
              <a:gd name="T13" fmla="*/ 186 h 512"/>
              <a:gd name="T14" fmla="*/ 392 w 512"/>
              <a:gd name="T15" fmla="*/ 18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143 w 512"/>
              <a:gd name="T27" fmla="*/ 360 h 512"/>
              <a:gd name="T28" fmla="*/ 149 w 512"/>
              <a:gd name="T29" fmla="*/ 362 h 512"/>
              <a:gd name="T30" fmla="*/ 158 w 512"/>
              <a:gd name="T31" fmla="*/ 358 h 512"/>
              <a:gd name="T32" fmla="*/ 155 w 512"/>
              <a:gd name="T33" fmla="*/ 343 h 512"/>
              <a:gd name="T34" fmla="*/ 143 w 512"/>
              <a:gd name="T35" fmla="*/ 327 h 512"/>
              <a:gd name="T36" fmla="*/ 153 w 512"/>
              <a:gd name="T37" fmla="*/ 319 h 512"/>
              <a:gd name="T38" fmla="*/ 194 w 512"/>
              <a:gd name="T39" fmla="*/ 263 h 512"/>
              <a:gd name="T40" fmla="*/ 105 w 512"/>
              <a:gd name="T41" fmla="*/ 234 h 512"/>
              <a:gd name="T42" fmla="*/ 96 w 512"/>
              <a:gd name="T43" fmla="*/ 246 h 512"/>
              <a:gd name="T44" fmla="*/ 107 w 512"/>
              <a:gd name="T45" fmla="*/ 256 h 512"/>
              <a:gd name="T46" fmla="*/ 174 w 512"/>
              <a:gd name="T47" fmla="*/ 269 h 512"/>
              <a:gd name="T48" fmla="*/ 145 w 512"/>
              <a:gd name="T49" fmla="*/ 299 h 512"/>
              <a:gd name="T50" fmla="*/ 122 w 512"/>
              <a:gd name="T51" fmla="*/ 326 h 512"/>
              <a:gd name="T52" fmla="*/ 143 w 512"/>
              <a:gd name="T53" fmla="*/ 360 h 512"/>
              <a:gd name="T54" fmla="*/ 416 w 512"/>
              <a:gd name="T55" fmla="*/ 191 h 512"/>
              <a:gd name="T56" fmla="*/ 407 w 512"/>
              <a:gd name="T57" fmla="*/ 173 h 512"/>
              <a:gd name="T58" fmla="*/ 368 w 512"/>
              <a:gd name="T59" fmla="*/ 171 h 512"/>
              <a:gd name="T60" fmla="*/ 230 w 512"/>
              <a:gd name="T61" fmla="*/ 309 h 512"/>
              <a:gd name="T62" fmla="*/ 182 w 512"/>
              <a:gd name="T63" fmla="*/ 348 h 512"/>
              <a:gd name="T64" fmla="*/ 150 w 512"/>
              <a:gd name="T65" fmla="*/ 373 h 512"/>
              <a:gd name="T66" fmla="*/ 139 w 512"/>
              <a:gd name="T67" fmla="*/ 381 h 512"/>
              <a:gd name="T68" fmla="*/ 145 w 512"/>
              <a:gd name="T69" fmla="*/ 394 h 512"/>
              <a:gd name="T70" fmla="*/ 212 w 512"/>
              <a:gd name="T71" fmla="*/ 406 h 512"/>
              <a:gd name="T72" fmla="*/ 255 w 512"/>
              <a:gd name="T73" fmla="*/ 395 h 512"/>
              <a:gd name="T74" fmla="*/ 277 w 512"/>
              <a:gd name="T75" fmla="*/ 352 h 512"/>
              <a:gd name="T76" fmla="*/ 277 w 512"/>
              <a:gd name="T77" fmla="*/ 346 h 512"/>
              <a:gd name="T78" fmla="*/ 409 w 512"/>
              <a:gd name="T79" fmla="*/ 211 h 512"/>
              <a:gd name="T80" fmla="*/ 416 w 512"/>
              <a:gd name="T81" fmla="*/ 191 h 512"/>
              <a:gd name="T82" fmla="*/ 234 w 512"/>
              <a:gd name="T83" fmla="*/ 330 h 512"/>
              <a:gd name="T84" fmla="*/ 202 w 512"/>
              <a:gd name="T85" fmla="*/ 355 h 512"/>
              <a:gd name="T86" fmla="*/ 185 w 512"/>
              <a:gd name="T87" fmla="*/ 382 h 512"/>
              <a:gd name="T88" fmla="*/ 243 w 512"/>
              <a:gd name="T89" fmla="*/ 377 h 512"/>
              <a:gd name="T90" fmla="*/ 256 w 512"/>
              <a:gd name="T91" fmla="*/ 351 h 512"/>
              <a:gd name="T92" fmla="*/ 250 w 512"/>
              <a:gd name="T93" fmla="*/ 338 h 512"/>
              <a:gd name="T94" fmla="*/ 234 w 512"/>
              <a:gd name="T9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92" y="188"/>
                </a:moveTo>
                <a:cubicBezTo>
                  <a:pt x="393" y="189"/>
                  <a:pt x="394" y="191"/>
                  <a:pt x="394" y="193"/>
                </a:cubicBezTo>
                <a:cubicBezTo>
                  <a:pt x="394" y="194"/>
                  <a:pt x="394" y="195"/>
                  <a:pt x="393" y="196"/>
                </a:cubicBezTo>
                <a:cubicBezTo>
                  <a:pt x="267" y="325"/>
                  <a:pt x="267" y="325"/>
                  <a:pt x="267" y="325"/>
                </a:cubicBezTo>
                <a:cubicBezTo>
                  <a:pt x="267" y="324"/>
                  <a:pt x="266" y="324"/>
                  <a:pt x="266" y="323"/>
                </a:cubicBezTo>
                <a:cubicBezTo>
                  <a:pt x="263" y="320"/>
                  <a:pt x="259" y="317"/>
                  <a:pt x="254" y="315"/>
                </a:cubicBezTo>
                <a:cubicBezTo>
                  <a:pt x="383" y="186"/>
                  <a:pt x="383" y="186"/>
                  <a:pt x="383" y="186"/>
                </a:cubicBezTo>
                <a:cubicBezTo>
                  <a:pt x="385" y="184"/>
                  <a:pt x="389" y="185"/>
                  <a:pt x="392" y="1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60"/>
                </a:moveTo>
                <a:cubicBezTo>
                  <a:pt x="145" y="362"/>
                  <a:pt x="147" y="362"/>
                  <a:pt x="149" y="362"/>
                </a:cubicBezTo>
                <a:cubicBezTo>
                  <a:pt x="152" y="362"/>
                  <a:pt x="156" y="361"/>
                  <a:pt x="158" y="358"/>
                </a:cubicBezTo>
                <a:cubicBezTo>
                  <a:pt x="161" y="353"/>
                  <a:pt x="160" y="346"/>
                  <a:pt x="155" y="343"/>
                </a:cubicBezTo>
                <a:cubicBezTo>
                  <a:pt x="151" y="340"/>
                  <a:pt x="143" y="332"/>
                  <a:pt x="143" y="327"/>
                </a:cubicBez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lose/>
                <a:moveTo>
                  <a:pt x="416" y="191"/>
                </a:moveTo>
                <a:cubicBezTo>
                  <a:pt x="415" y="185"/>
                  <a:pt x="412" y="178"/>
                  <a:pt x="407" y="173"/>
                </a:cubicBezTo>
                <a:cubicBezTo>
                  <a:pt x="396" y="162"/>
                  <a:pt x="378" y="161"/>
                  <a:pt x="368" y="171"/>
                </a:cubicBezTo>
                <a:cubicBezTo>
                  <a:pt x="230" y="309"/>
                  <a:pt x="230" y="309"/>
                  <a:pt x="230" y="309"/>
                </a:cubicBezTo>
                <a:cubicBezTo>
                  <a:pt x="217" y="310"/>
                  <a:pt x="193" y="314"/>
                  <a:pt x="182" y="348"/>
                </a:cubicBezTo>
                <a:cubicBezTo>
                  <a:pt x="173" y="374"/>
                  <a:pt x="152" y="373"/>
                  <a:pt x="150" y="373"/>
                </a:cubicBezTo>
                <a:cubicBezTo>
                  <a:pt x="145" y="372"/>
                  <a:pt x="140" y="376"/>
                  <a:pt x="139" y="381"/>
                </a:cubicBezTo>
                <a:cubicBezTo>
                  <a:pt x="137" y="386"/>
                  <a:pt x="140" y="392"/>
                  <a:pt x="145" y="394"/>
                </a:cubicBezTo>
                <a:cubicBezTo>
                  <a:pt x="147" y="394"/>
                  <a:pt x="179" y="406"/>
                  <a:pt x="212" y="406"/>
                </a:cubicBezTo>
                <a:cubicBezTo>
                  <a:pt x="227" y="406"/>
                  <a:pt x="243" y="403"/>
                  <a:pt x="255" y="395"/>
                </a:cubicBezTo>
                <a:cubicBezTo>
                  <a:pt x="269" y="386"/>
                  <a:pt x="276" y="372"/>
                  <a:pt x="277" y="352"/>
                </a:cubicBezTo>
                <a:cubicBezTo>
                  <a:pt x="277" y="350"/>
                  <a:pt x="277" y="348"/>
                  <a:pt x="277" y="346"/>
                </a:cubicBezTo>
                <a:cubicBezTo>
                  <a:pt x="409" y="211"/>
                  <a:pt x="409" y="211"/>
                  <a:pt x="409" y="211"/>
                </a:cubicBezTo>
                <a:cubicBezTo>
                  <a:pt x="414" y="206"/>
                  <a:pt x="416" y="199"/>
                  <a:pt x="416" y="191"/>
                </a:cubicBezTo>
                <a:close/>
                <a:moveTo>
                  <a:pt x="234" y="330"/>
                </a:moveTo>
                <a:cubicBezTo>
                  <a:pt x="222" y="331"/>
                  <a:pt x="209" y="334"/>
                  <a:pt x="202" y="355"/>
                </a:cubicBezTo>
                <a:cubicBezTo>
                  <a:pt x="198" y="367"/>
                  <a:pt x="192" y="376"/>
                  <a:pt x="185" y="382"/>
                </a:cubicBezTo>
                <a:cubicBezTo>
                  <a:pt x="205" y="386"/>
                  <a:pt x="229" y="387"/>
                  <a:pt x="243" y="377"/>
                </a:cubicBezTo>
                <a:cubicBezTo>
                  <a:pt x="251" y="372"/>
                  <a:pt x="255" y="364"/>
                  <a:pt x="256" y="351"/>
                </a:cubicBezTo>
                <a:cubicBezTo>
                  <a:pt x="256" y="346"/>
                  <a:pt x="254" y="342"/>
                  <a:pt x="250" y="338"/>
                </a:cubicBezTo>
                <a:cubicBezTo>
                  <a:pt x="246" y="333"/>
                  <a:pt x="239" y="330"/>
                  <a:pt x="234" y="3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4" name="Group 176">
            <a:extLst>
              <a:ext uri="{FF2B5EF4-FFF2-40B4-BE49-F238E27FC236}">
                <a16:creationId xmlns:a16="http://schemas.microsoft.com/office/drawing/2014/main" id="{D2220694-FF28-4DAF-89B3-7887ED14CD7A}"/>
              </a:ext>
            </a:extLst>
          </p:cNvPr>
          <p:cNvGrpSpPr>
            <a:grpSpLocks noChangeAspect="1"/>
          </p:cNvGrpSpPr>
          <p:nvPr/>
        </p:nvGrpSpPr>
        <p:grpSpPr bwMode="auto">
          <a:xfrm>
            <a:off x="4406527" y="1697038"/>
            <a:ext cx="369021" cy="370106"/>
            <a:chOff x="5821" y="411"/>
            <a:chExt cx="340" cy="341"/>
          </a:xfrm>
          <a:solidFill>
            <a:schemeClr val="accent2"/>
          </a:solidFill>
        </p:grpSpPr>
        <p:sp>
          <p:nvSpPr>
            <p:cNvPr id="145" name="Freeform 177">
              <a:extLst>
                <a:ext uri="{FF2B5EF4-FFF2-40B4-BE49-F238E27FC236}">
                  <a16:creationId xmlns:a16="http://schemas.microsoft.com/office/drawing/2014/main" id="{CC2E20B1-7525-4CF2-893F-F1341859E90B}"/>
                </a:ext>
              </a:extLst>
            </p:cNvPr>
            <p:cNvSpPr>
              <a:spLocks noEditPoints="1"/>
            </p:cNvSpPr>
            <p:nvPr/>
          </p:nvSpPr>
          <p:spPr bwMode="auto">
            <a:xfrm>
              <a:off x="5821" y="41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6" name="Freeform 178">
              <a:extLst>
                <a:ext uri="{FF2B5EF4-FFF2-40B4-BE49-F238E27FC236}">
                  <a16:creationId xmlns:a16="http://schemas.microsoft.com/office/drawing/2014/main" id="{04671D14-0AB6-4E82-9723-106E746A754F}"/>
                </a:ext>
              </a:extLst>
            </p:cNvPr>
            <p:cNvSpPr>
              <a:spLocks/>
            </p:cNvSpPr>
            <p:nvPr/>
          </p:nvSpPr>
          <p:spPr bwMode="auto">
            <a:xfrm>
              <a:off x="5884" y="563"/>
              <a:ext cx="70" cy="89"/>
            </a:xfrm>
            <a:custGeom>
              <a:avLst/>
              <a:gdLst>
                <a:gd name="T0" fmla="*/ 54 w 105"/>
                <a:gd name="T1" fmla="*/ 134 h 134"/>
                <a:gd name="T2" fmla="*/ 63 w 105"/>
                <a:gd name="T3" fmla="*/ 130 h 134"/>
                <a:gd name="T4" fmla="*/ 60 w 105"/>
                <a:gd name="T5" fmla="*/ 115 h 134"/>
                <a:gd name="T6" fmla="*/ 48 w 105"/>
                <a:gd name="T7" fmla="*/ 99 h 134"/>
                <a:gd name="T8" fmla="*/ 58 w 105"/>
                <a:gd name="T9" fmla="*/ 91 h 134"/>
                <a:gd name="T10" fmla="*/ 99 w 105"/>
                <a:gd name="T11" fmla="*/ 35 h 134"/>
                <a:gd name="T12" fmla="*/ 10 w 105"/>
                <a:gd name="T13" fmla="*/ 6 h 134"/>
                <a:gd name="T14" fmla="*/ 1 w 105"/>
                <a:gd name="T15" fmla="*/ 18 h 134"/>
                <a:gd name="T16" fmla="*/ 12 w 105"/>
                <a:gd name="T17" fmla="*/ 28 h 134"/>
                <a:gd name="T18" fmla="*/ 79 w 105"/>
                <a:gd name="T19" fmla="*/ 41 h 134"/>
                <a:gd name="T20" fmla="*/ 50 w 105"/>
                <a:gd name="T21" fmla="*/ 71 h 134"/>
                <a:gd name="T22" fmla="*/ 27 w 105"/>
                <a:gd name="T23" fmla="*/ 98 h 134"/>
                <a:gd name="T24" fmla="*/ 48 w 105"/>
                <a:gd name="T25" fmla="*/ 132 h 134"/>
                <a:gd name="T26" fmla="*/ 54 w 105"/>
                <a:gd name="T2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4" y="134"/>
                  </a:moveTo>
                  <a:cubicBezTo>
                    <a:pt x="57" y="134"/>
                    <a:pt x="61" y="133"/>
                    <a:pt x="63" y="130"/>
                  </a:cubicBezTo>
                  <a:cubicBezTo>
                    <a:pt x="66" y="125"/>
                    <a:pt x="65" y="118"/>
                    <a:pt x="60" y="115"/>
                  </a:cubicBezTo>
                  <a:cubicBezTo>
                    <a:pt x="56" y="112"/>
                    <a:pt x="48" y="104"/>
                    <a:pt x="48" y="99"/>
                  </a:cubicBezTo>
                  <a:cubicBezTo>
                    <a:pt x="48" y="97"/>
                    <a:pt x="52" y="94"/>
                    <a:pt x="58" y="91"/>
                  </a:cubicBez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7" name="Freeform 179">
              <a:extLst>
                <a:ext uri="{FF2B5EF4-FFF2-40B4-BE49-F238E27FC236}">
                  <a16:creationId xmlns:a16="http://schemas.microsoft.com/office/drawing/2014/main" id="{7335719C-0E2B-4D54-9312-557AC5FFE97C}"/>
                </a:ext>
              </a:extLst>
            </p:cNvPr>
            <p:cNvSpPr>
              <a:spLocks noEditPoints="1"/>
            </p:cNvSpPr>
            <p:nvPr/>
          </p:nvSpPr>
          <p:spPr bwMode="auto">
            <a:xfrm>
              <a:off x="5912" y="518"/>
              <a:ext cx="185" cy="163"/>
            </a:xfrm>
            <a:custGeom>
              <a:avLst/>
              <a:gdLst>
                <a:gd name="T0" fmla="*/ 279 w 279"/>
                <a:gd name="T1" fmla="*/ 30 h 245"/>
                <a:gd name="T2" fmla="*/ 270 w 279"/>
                <a:gd name="T3" fmla="*/ 12 h 245"/>
                <a:gd name="T4" fmla="*/ 231 w 279"/>
                <a:gd name="T5" fmla="*/ 10 h 245"/>
                <a:gd name="T6" fmla="*/ 93 w 279"/>
                <a:gd name="T7" fmla="*/ 148 h 245"/>
                <a:gd name="T8" fmla="*/ 45 w 279"/>
                <a:gd name="T9" fmla="*/ 187 h 245"/>
                <a:gd name="T10" fmla="*/ 13 w 279"/>
                <a:gd name="T11" fmla="*/ 212 h 245"/>
                <a:gd name="T12" fmla="*/ 2 w 279"/>
                <a:gd name="T13" fmla="*/ 220 h 245"/>
                <a:gd name="T14" fmla="*/ 8 w 279"/>
                <a:gd name="T15" fmla="*/ 233 h 245"/>
                <a:gd name="T16" fmla="*/ 75 w 279"/>
                <a:gd name="T17" fmla="*/ 245 h 245"/>
                <a:gd name="T18" fmla="*/ 118 w 279"/>
                <a:gd name="T19" fmla="*/ 234 h 245"/>
                <a:gd name="T20" fmla="*/ 140 w 279"/>
                <a:gd name="T21" fmla="*/ 191 h 245"/>
                <a:gd name="T22" fmla="*/ 140 w 279"/>
                <a:gd name="T23" fmla="*/ 185 h 245"/>
                <a:gd name="T24" fmla="*/ 272 w 279"/>
                <a:gd name="T25" fmla="*/ 50 h 245"/>
                <a:gd name="T26" fmla="*/ 279 w 279"/>
                <a:gd name="T27" fmla="*/ 30 h 245"/>
                <a:gd name="T28" fmla="*/ 106 w 279"/>
                <a:gd name="T29" fmla="*/ 216 h 245"/>
                <a:gd name="T30" fmla="*/ 48 w 279"/>
                <a:gd name="T31" fmla="*/ 221 h 245"/>
                <a:gd name="T32" fmla="*/ 65 w 279"/>
                <a:gd name="T33" fmla="*/ 194 h 245"/>
                <a:gd name="T34" fmla="*/ 97 w 279"/>
                <a:gd name="T35" fmla="*/ 169 h 245"/>
                <a:gd name="T36" fmla="*/ 113 w 279"/>
                <a:gd name="T37" fmla="*/ 177 h 245"/>
                <a:gd name="T38" fmla="*/ 119 w 279"/>
                <a:gd name="T39" fmla="*/ 190 h 245"/>
                <a:gd name="T40" fmla="*/ 106 w 279"/>
                <a:gd name="T41" fmla="*/ 216 h 245"/>
                <a:gd name="T42" fmla="*/ 256 w 279"/>
                <a:gd name="T43" fmla="*/ 35 h 245"/>
                <a:gd name="T44" fmla="*/ 130 w 279"/>
                <a:gd name="T45" fmla="*/ 164 h 245"/>
                <a:gd name="T46" fmla="*/ 129 w 279"/>
                <a:gd name="T47" fmla="*/ 162 h 245"/>
                <a:gd name="T48" fmla="*/ 117 w 279"/>
                <a:gd name="T49" fmla="*/ 154 h 245"/>
                <a:gd name="T50" fmla="*/ 246 w 279"/>
                <a:gd name="T51" fmla="*/ 25 h 245"/>
                <a:gd name="T52" fmla="*/ 255 w 279"/>
                <a:gd name="T53" fmla="*/ 27 h 245"/>
                <a:gd name="T54" fmla="*/ 257 w 279"/>
                <a:gd name="T55" fmla="*/ 32 h 245"/>
                <a:gd name="T56" fmla="*/ 256 w 279"/>
                <a:gd name="T57" fmla="*/ 3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9" h="245">
                  <a:moveTo>
                    <a:pt x="279" y="30"/>
                  </a:moveTo>
                  <a:cubicBezTo>
                    <a:pt x="278" y="24"/>
                    <a:pt x="275" y="17"/>
                    <a:pt x="270" y="12"/>
                  </a:cubicBezTo>
                  <a:cubicBezTo>
                    <a:pt x="259" y="1"/>
                    <a:pt x="241" y="0"/>
                    <a:pt x="231" y="10"/>
                  </a:cubicBezTo>
                  <a:cubicBezTo>
                    <a:pt x="93" y="148"/>
                    <a:pt x="93" y="148"/>
                    <a:pt x="93" y="148"/>
                  </a:cubicBezTo>
                  <a:cubicBezTo>
                    <a:pt x="80" y="149"/>
                    <a:pt x="56" y="153"/>
                    <a:pt x="45" y="187"/>
                  </a:cubicBezTo>
                  <a:cubicBezTo>
                    <a:pt x="36" y="213"/>
                    <a:pt x="15" y="212"/>
                    <a:pt x="13" y="212"/>
                  </a:cubicBezTo>
                  <a:cubicBezTo>
                    <a:pt x="8" y="211"/>
                    <a:pt x="3" y="215"/>
                    <a:pt x="2" y="220"/>
                  </a:cubicBezTo>
                  <a:cubicBezTo>
                    <a:pt x="0" y="225"/>
                    <a:pt x="3" y="231"/>
                    <a:pt x="8" y="233"/>
                  </a:cubicBezTo>
                  <a:cubicBezTo>
                    <a:pt x="10" y="233"/>
                    <a:pt x="42" y="245"/>
                    <a:pt x="75" y="245"/>
                  </a:cubicBezTo>
                  <a:cubicBezTo>
                    <a:pt x="90" y="245"/>
                    <a:pt x="106" y="242"/>
                    <a:pt x="118" y="234"/>
                  </a:cubicBezTo>
                  <a:cubicBezTo>
                    <a:pt x="132" y="225"/>
                    <a:pt x="139" y="211"/>
                    <a:pt x="140" y="191"/>
                  </a:cubicBezTo>
                  <a:cubicBezTo>
                    <a:pt x="140" y="189"/>
                    <a:pt x="140" y="187"/>
                    <a:pt x="140" y="185"/>
                  </a:cubicBezTo>
                  <a:cubicBezTo>
                    <a:pt x="272" y="50"/>
                    <a:pt x="272" y="50"/>
                    <a:pt x="272" y="50"/>
                  </a:cubicBezTo>
                  <a:cubicBezTo>
                    <a:pt x="277" y="45"/>
                    <a:pt x="279" y="38"/>
                    <a:pt x="279" y="30"/>
                  </a:cubicBezTo>
                  <a:close/>
                  <a:moveTo>
                    <a:pt x="106" y="216"/>
                  </a:moveTo>
                  <a:cubicBezTo>
                    <a:pt x="92" y="226"/>
                    <a:pt x="68" y="225"/>
                    <a:pt x="48" y="221"/>
                  </a:cubicBezTo>
                  <a:cubicBezTo>
                    <a:pt x="55" y="215"/>
                    <a:pt x="61" y="206"/>
                    <a:pt x="65" y="194"/>
                  </a:cubicBezTo>
                  <a:cubicBezTo>
                    <a:pt x="72" y="173"/>
                    <a:pt x="85" y="170"/>
                    <a:pt x="97" y="169"/>
                  </a:cubicBezTo>
                  <a:cubicBezTo>
                    <a:pt x="102" y="169"/>
                    <a:pt x="109" y="172"/>
                    <a:pt x="113" y="177"/>
                  </a:cubicBezTo>
                  <a:cubicBezTo>
                    <a:pt x="117" y="181"/>
                    <a:pt x="119" y="185"/>
                    <a:pt x="119" y="190"/>
                  </a:cubicBezTo>
                  <a:cubicBezTo>
                    <a:pt x="118" y="203"/>
                    <a:pt x="114" y="211"/>
                    <a:pt x="106" y="216"/>
                  </a:cubicBezTo>
                  <a:close/>
                  <a:moveTo>
                    <a:pt x="256" y="35"/>
                  </a:moveTo>
                  <a:cubicBezTo>
                    <a:pt x="130" y="164"/>
                    <a:pt x="130" y="164"/>
                    <a:pt x="130" y="164"/>
                  </a:cubicBezTo>
                  <a:cubicBezTo>
                    <a:pt x="130" y="163"/>
                    <a:pt x="129" y="163"/>
                    <a:pt x="129" y="162"/>
                  </a:cubicBezTo>
                  <a:cubicBezTo>
                    <a:pt x="126" y="159"/>
                    <a:pt x="122" y="156"/>
                    <a:pt x="117" y="154"/>
                  </a:cubicBezTo>
                  <a:cubicBezTo>
                    <a:pt x="246" y="25"/>
                    <a:pt x="246" y="25"/>
                    <a:pt x="246" y="25"/>
                  </a:cubicBezTo>
                  <a:cubicBezTo>
                    <a:pt x="248" y="23"/>
                    <a:pt x="252" y="24"/>
                    <a:pt x="255" y="27"/>
                  </a:cubicBezTo>
                  <a:cubicBezTo>
                    <a:pt x="256" y="28"/>
                    <a:pt x="257" y="30"/>
                    <a:pt x="257" y="32"/>
                  </a:cubicBezTo>
                  <a:cubicBezTo>
                    <a:pt x="257" y="33"/>
                    <a:pt x="257" y="34"/>
                    <a:pt x="256" y="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8" name="Freeform 795">
            <a:extLst>
              <a:ext uri="{FF2B5EF4-FFF2-40B4-BE49-F238E27FC236}">
                <a16:creationId xmlns:a16="http://schemas.microsoft.com/office/drawing/2014/main" id="{0730B9B0-3F0A-49E0-B6C6-36F455076C5A}"/>
              </a:ext>
            </a:extLst>
          </p:cNvPr>
          <p:cNvSpPr>
            <a:spLocks noChangeAspect="1" noEditPoints="1"/>
          </p:cNvSpPr>
          <p:nvPr/>
        </p:nvSpPr>
        <p:spPr bwMode="auto">
          <a:xfrm>
            <a:off x="4841831" y="1697038"/>
            <a:ext cx="367041" cy="367041"/>
          </a:xfrm>
          <a:custGeom>
            <a:avLst/>
            <a:gdLst>
              <a:gd name="T0" fmla="*/ 0 w 512"/>
              <a:gd name="T1" fmla="*/ 256 h 512"/>
              <a:gd name="T2" fmla="*/ 512 w 512"/>
              <a:gd name="T3" fmla="*/ 256 h 512"/>
              <a:gd name="T4" fmla="*/ 221 w 512"/>
              <a:gd name="T5" fmla="*/ 392 h 512"/>
              <a:gd name="T6" fmla="*/ 206 w 512"/>
              <a:gd name="T7" fmla="*/ 392 h 512"/>
              <a:gd name="T8" fmla="*/ 135 w 512"/>
              <a:gd name="T9" fmla="*/ 391 h 512"/>
              <a:gd name="T10" fmla="*/ 120 w 512"/>
              <a:gd name="T11" fmla="*/ 391 h 512"/>
              <a:gd name="T12" fmla="*/ 155 w 512"/>
              <a:gd name="T13" fmla="*/ 341 h 512"/>
              <a:gd name="T14" fmla="*/ 120 w 512"/>
              <a:gd name="T15" fmla="*/ 290 h 512"/>
              <a:gd name="T16" fmla="*/ 170 w 512"/>
              <a:gd name="T17" fmla="*/ 326 h 512"/>
              <a:gd name="T18" fmla="*/ 221 w 512"/>
              <a:gd name="T19" fmla="*/ 291 h 512"/>
              <a:gd name="T20" fmla="*/ 185 w 512"/>
              <a:gd name="T21" fmla="*/ 341 h 512"/>
              <a:gd name="T22" fmla="*/ 221 w 512"/>
              <a:gd name="T23" fmla="*/ 392 h 512"/>
              <a:gd name="T24" fmla="*/ 181 w 512"/>
              <a:gd name="T25" fmla="*/ 181 h 512"/>
              <a:gd name="T26" fmla="*/ 170 w 512"/>
              <a:gd name="T27" fmla="*/ 234 h 512"/>
              <a:gd name="T28" fmla="*/ 160 w 512"/>
              <a:gd name="T29" fmla="*/ 181 h 512"/>
              <a:gd name="T30" fmla="*/ 106 w 512"/>
              <a:gd name="T31" fmla="*/ 170 h 512"/>
              <a:gd name="T32" fmla="*/ 160 w 512"/>
              <a:gd name="T33" fmla="*/ 160 h 512"/>
              <a:gd name="T34" fmla="*/ 170 w 512"/>
              <a:gd name="T35" fmla="*/ 106 h 512"/>
              <a:gd name="T36" fmla="*/ 181 w 512"/>
              <a:gd name="T37" fmla="*/ 160 h 512"/>
              <a:gd name="T38" fmla="*/ 234 w 512"/>
              <a:gd name="T39" fmla="*/ 170 h 512"/>
              <a:gd name="T40" fmla="*/ 344 w 512"/>
              <a:gd name="T41" fmla="*/ 120 h 512"/>
              <a:gd name="T42" fmla="*/ 362 w 512"/>
              <a:gd name="T43" fmla="*/ 128 h 512"/>
              <a:gd name="T44" fmla="*/ 352 w 512"/>
              <a:gd name="T45" fmla="*/ 138 h 512"/>
              <a:gd name="T46" fmla="*/ 341 w 512"/>
              <a:gd name="T47" fmla="*/ 128 h 512"/>
              <a:gd name="T48" fmla="*/ 405 w 512"/>
              <a:gd name="T49" fmla="*/ 352 h 512"/>
              <a:gd name="T50" fmla="*/ 288 w 512"/>
              <a:gd name="T51" fmla="*/ 341 h 512"/>
              <a:gd name="T52" fmla="*/ 405 w 512"/>
              <a:gd name="T53" fmla="*/ 330 h 512"/>
              <a:gd name="T54" fmla="*/ 405 w 512"/>
              <a:gd name="T55" fmla="*/ 352 h 512"/>
              <a:gd name="T56" fmla="*/ 344 w 512"/>
              <a:gd name="T57" fmla="*/ 205 h 512"/>
              <a:gd name="T58" fmla="*/ 362 w 512"/>
              <a:gd name="T59" fmla="*/ 213 h 512"/>
              <a:gd name="T60" fmla="*/ 352 w 512"/>
              <a:gd name="T61" fmla="*/ 224 h 512"/>
              <a:gd name="T62" fmla="*/ 341 w 512"/>
              <a:gd name="T63" fmla="*/ 213 h 512"/>
              <a:gd name="T64" fmla="*/ 298 w 512"/>
              <a:gd name="T65" fmla="*/ 181 h 512"/>
              <a:gd name="T66" fmla="*/ 298 w 512"/>
              <a:gd name="T67" fmla="*/ 160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1" y="392"/>
                </a:moveTo>
                <a:cubicBezTo>
                  <a:pt x="219" y="394"/>
                  <a:pt x="216" y="395"/>
                  <a:pt x="213" y="395"/>
                </a:cubicBezTo>
                <a:cubicBezTo>
                  <a:pt x="211" y="395"/>
                  <a:pt x="208" y="394"/>
                  <a:pt x="206" y="392"/>
                </a:cubicBezTo>
                <a:cubicBezTo>
                  <a:pt x="170" y="356"/>
                  <a:pt x="170" y="356"/>
                  <a:pt x="170" y="356"/>
                </a:cubicBezTo>
                <a:cubicBezTo>
                  <a:pt x="135" y="391"/>
                  <a:pt x="135" y="391"/>
                  <a:pt x="135" y="391"/>
                </a:cubicBezTo>
                <a:cubicBezTo>
                  <a:pt x="133" y="393"/>
                  <a:pt x="130" y="394"/>
                  <a:pt x="128" y="394"/>
                </a:cubicBezTo>
                <a:cubicBezTo>
                  <a:pt x="125" y="394"/>
                  <a:pt x="122" y="393"/>
                  <a:pt x="120" y="391"/>
                </a:cubicBezTo>
                <a:cubicBezTo>
                  <a:pt x="116" y="387"/>
                  <a:pt x="116" y="380"/>
                  <a:pt x="120" y="376"/>
                </a:cubicBezTo>
                <a:cubicBezTo>
                  <a:pt x="155" y="341"/>
                  <a:pt x="155" y="341"/>
                  <a:pt x="155" y="341"/>
                </a:cubicBezTo>
                <a:cubicBezTo>
                  <a:pt x="120" y="306"/>
                  <a:pt x="120" y="306"/>
                  <a:pt x="120" y="306"/>
                </a:cubicBezTo>
                <a:cubicBezTo>
                  <a:pt x="116" y="301"/>
                  <a:pt x="116" y="295"/>
                  <a:pt x="120" y="290"/>
                </a:cubicBezTo>
                <a:cubicBezTo>
                  <a:pt x="124" y="286"/>
                  <a:pt x="131" y="286"/>
                  <a:pt x="135" y="290"/>
                </a:cubicBezTo>
                <a:cubicBezTo>
                  <a:pt x="170" y="326"/>
                  <a:pt x="170" y="326"/>
                  <a:pt x="170" y="326"/>
                </a:cubicBezTo>
                <a:cubicBezTo>
                  <a:pt x="205" y="291"/>
                  <a:pt x="205" y="291"/>
                  <a:pt x="205" y="291"/>
                </a:cubicBezTo>
                <a:cubicBezTo>
                  <a:pt x="210" y="287"/>
                  <a:pt x="216" y="287"/>
                  <a:pt x="221" y="291"/>
                </a:cubicBezTo>
                <a:cubicBezTo>
                  <a:pt x="225" y="295"/>
                  <a:pt x="225" y="302"/>
                  <a:pt x="221" y="306"/>
                </a:cubicBezTo>
                <a:cubicBezTo>
                  <a:pt x="185" y="341"/>
                  <a:pt x="185" y="341"/>
                  <a:pt x="185" y="341"/>
                </a:cubicBezTo>
                <a:cubicBezTo>
                  <a:pt x="221" y="377"/>
                  <a:pt x="221" y="377"/>
                  <a:pt x="221" y="377"/>
                </a:cubicBezTo>
                <a:cubicBezTo>
                  <a:pt x="225" y="381"/>
                  <a:pt x="225" y="387"/>
                  <a:pt x="221" y="392"/>
                </a:cubicBezTo>
                <a:close/>
                <a:moveTo>
                  <a:pt x="224" y="181"/>
                </a:moveTo>
                <a:cubicBezTo>
                  <a:pt x="181" y="181"/>
                  <a:pt x="181" y="181"/>
                  <a:pt x="181" y="181"/>
                </a:cubicBezTo>
                <a:cubicBezTo>
                  <a:pt x="181" y="224"/>
                  <a:pt x="181" y="224"/>
                  <a:pt x="181" y="224"/>
                </a:cubicBezTo>
                <a:cubicBezTo>
                  <a:pt x="181" y="230"/>
                  <a:pt x="176" y="234"/>
                  <a:pt x="170" y="234"/>
                </a:cubicBezTo>
                <a:cubicBezTo>
                  <a:pt x="164" y="234"/>
                  <a:pt x="160" y="230"/>
                  <a:pt x="160" y="224"/>
                </a:cubicBezTo>
                <a:cubicBezTo>
                  <a:pt x="160" y="181"/>
                  <a:pt x="160" y="181"/>
                  <a:pt x="160" y="181"/>
                </a:cubicBezTo>
                <a:cubicBezTo>
                  <a:pt x="117" y="181"/>
                  <a:pt x="117" y="181"/>
                  <a:pt x="117" y="181"/>
                </a:cubicBezTo>
                <a:cubicBezTo>
                  <a:pt x="111" y="181"/>
                  <a:pt x="106" y="176"/>
                  <a:pt x="106" y="170"/>
                </a:cubicBezTo>
                <a:cubicBezTo>
                  <a:pt x="106" y="164"/>
                  <a:pt x="111" y="160"/>
                  <a:pt x="117" y="160"/>
                </a:cubicBezTo>
                <a:cubicBezTo>
                  <a:pt x="160" y="160"/>
                  <a:pt x="160" y="160"/>
                  <a:pt x="160" y="160"/>
                </a:cubicBezTo>
                <a:cubicBezTo>
                  <a:pt x="160" y="117"/>
                  <a:pt x="160" y="117"/>
                  <a:pt x="160" y="117"/>
                </a:cubicBezTo>
                <a:cubicBezTo>
                  <a:pt x="160" y="111"/>
                  <a:pt x="164" y="106"/>
                  <a:pt x="170" y="106"/>
                </a:cubicBezTo>
                <a:cubicBezTo>
                  <a:pt x="176" y="106"/>
                  <a:pt x="181" y="111"/>
                  <a:pt x="181" y="117"/>
                </a:cubicBezTo>
                <a:cubicBezTo>
                  <a:pt x="181" y="160"/>
                  <a:pt x="181" y="160"/>
                  <a:pt x="181" y="160"/>
                </a:cubicBezTo>
                <a:cubicBezTo>
                  <a:pt x="224" y="160"/>
                  <a:pt x="224" y="160"/>
                  <a:pt x="224" y="160"/>
                </a:cubicBezTo>
                <a:cubicBezTo>
                  <a:pt x="230" y="160"/>
                  <a:pt x="234" y="164"/>
                  <a:pt x="234" y="170"/>
                </a:cubicBezTo>
                <a:cubicBezTo>
                  <a:pt x="234" y="176"/>
                  <a:pt x="230" y="181"/>
                  <a:pt x="224" y="181"/>
                </a:cubicBezTo>
                <a:close/>
                <a:moveTo>
                  <a:pt x="344" y="120"/>
                </a:moveTo>
                <a:cubicBezTo>
                  <a:pt x="348" y="116"/>
                  <a:pt x="355" y="116"/>
                  <a:pt x="359" y="120"/>
                </a:cubicBezTo>
                <a:cubicBezTo>
                  <a:pt x="361" y="122"/>
                  <a:pt x="362" y="125"/>
                  <a:pt x="362" y="128"/>
                </a:cubicBezTo>
                <a:cubicBezTo>
                  <a:pt x="362" y="130"/>
                  <a:pt x="361" y="133"/>
                  <a:pt x="359" y="135"/>
                </a:cubicBezTo>
                <a:cubicBezTo>
                  <a:pt x="357" y="137"/>
                  <a:pt x="354" y="138"/>
                  <a:pt x="352" y="138"/>
                </a:cubicBezTo>
                <a:cubicBezTo>
                  <a:pt x="349" y="138"/>
                  <a:pt x="346" y="137"/>
                  <a:pt x="344" y="135"/>
                </a:cubicBezTo>
                <a:cubicBezTo>
                  <a:pt x="342" y="133"/>
                  <a:pt x="341" y="130"/>
                  <a:pt x="341" y="128"/>
                </a:cubicBezTo>
                <a:cubicBezTo>
                  <a:pt x="341" y="125"/>
                  <a:pt x="342" y="122"/>
                  <a:pt x="344" y="120"/>
                </a:cubicBezTo>
                <a:close/>
                <a:moveTo>
                  <a:pt x="405" y="352"/>
                </a:moveTo>
                <a:cubicBezTo>
                  <a:pt x="298" y="352"/>
                  <a:pt x="298" y="352"/>
                  <a:pt x="298" y="352"/>
                </a:cubicBezTo>
                <a:cubicBezTo>
                  <a:pt x="292" y="352"/>
                  <a:pt x="288" y="347"/>
                  <a:pt x="288" y="341"/>
                </a:cubicBezTo>
                <a:cubicBezTo>
                  <a:pt x="288" y="335"/>
                  <a:pt x="292" y="330"/>
                  <a:pt x="298" y="330"/>
                </a:cubicBezTo>
                <a:cubicBezTo>
                  <a:pt x="405" y="330"/>
                  <a:pt x="405" y="330"/>
                  <a:pt x="405" y="330"/>
                </a:cubicBezTo>
                <a:cubicBezTo>
                  <a:pt x="411" y="330"/>
                  <a:pt x="416" y="335"/>
                  <a:pt x="416" y="341"/>
                </a:cubicBezTo>
                <a:cubicBezTo>
                  <a:pt x="416" y="347"/>
                  <a:pt x="411" y="352"/>
                  <a:pt x="405" y="352"/>
                </a:cubicBezTo>
                <a:close/>
                <a:moveTo>
                  <a:pt x="341" y="213"/>
                </a:moveTo>
                <a:cubicBezTo>
                  <a:pt x="341" y="210"/>
                  <a:pt x="342" y="207"/>
                  <a:pt x="344" y="205"/>
                </a:cubicBezTo>
                <a:cubicBezTo>
                  <a:pt x="348" y="201"/>
                  <a:pt x="355" y="201"/>
                  <a:pt x="359" y="205"/>
                </a:cubicBezTo>
                <a:cubicBezTo>
                  <a:pt x="361" y="207"/>
                  <a:pt x="362" y="210"/>
                  <a:pt x="362" y="213"/>
                </a:cubicBezTo>
                <a:cubicBezTo>
                  <a:pt x="362" y="216"/>
                  <a:pt x="361" y="219"/>
                  <a:pt x="359" y="221"/>
                </a:cubicBezTo>
                <a:cubicBezTo>
                  <a:pt x="357" y="222"/>
                  <a:pt x="354" y="224"/>
                  <a:pt x="352" y="224"/>
                </a:cubicBezTo>
                <a:cubicBezTo>
                  <a:pt x="349" y="224"/>
                  <a:pt x="346" y="222"/>
                  <a:pt x="344" y="221"/>
                </a:cubicBezTo>
                <a:cubicBezTo>
                  <a:pt x="342" y="219"/>
                  <a:pt x="341" y="216"/>
                  <a:pt x="341" y="213"/>
                </a:cubicBezTo>
                <a:close/>
                <a:moveTo>
                  <a:pt x="405" y="181"/>
                </a:moveTo>
                <a:cubicBezTo>
                  <a:pt x="298" y="181"/>
                  <a:pt x="298" y="181"/>
                  <a:pt x="298" y="181"/>
                </a:cubicBezTo>
                <a:cubicBezTo>
                  <a:pt x="292" y="181"/>
                  <a:pt x="288" y="176"/>
                  <a:pt x="288" y="170"/>
                </a:cubicBezTo>
                <a:cubicBezTo>
                  <a:pt x="288" y="164"/>
                  <a:pt x="292" y="160"/>
                  <a:pt x="298" y="160"/>
                </a:cubicBezTo>
                <a:cubicBezTo>
                  <a:pt x="405" y="160"/>
                  <a:pt x="405" y="160"/>
                  <a:pt x="405" y="160"/>
                </a:cubicBezTo>
                <a:cubicBezTo>
                  <a:pt x="411" y="160"/>
                  <a:pt x="416" y="164"/>
                  <a:pt x="416" y="170"/>
                </a:cubicBezTo>
                <a:cubicBezTo>
                  <a:pt x="416" y="176"/>
                  <a:pt x="411" y="181"/>
                  <a:pt x="405" y="18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9"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5275155" y="1697038"/>
            <a:ext cx="367041" cy="36704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0" name="Group 927">
            <a:extLst>
              <a:ext uri="{FF2B5EF4-FFF2-40B4-BE49-F238E27FC236}">
                <a16:creationId xmlns:a16="http://schemas.microsoft.com/office/drawing/2014/main" id="{36FD8244-527D-434B-9CE3-AB6B75B1205E}"/>
              </a:ext>
            </a:extLst>
          </p:cNvPr>
          <p:cNvGrpSpPr>
            <a:grpSpLocks noChangeAspect="1"/>
          </p:cNvGrpSpPr>
          <p:nvPr/>
        </p:nvGrpSpPr>
        <p:grpSpPr bwMode="auto">
          <a:xfrm>
            <a:off x="5708479" y="1697038"/>
            <a:ext cx="367041" cy="367041"/>
            <a:chOff x="5432" y="3568"/>
            <a:chExt cx="340" cy="340"/>
          </a:xfrm>
          <a:solidFill>
            <a:schemeClr val="accent4"/>
          </a:solidFill>
        </p:grpSpPr>
        <p:sp>
          <p:nvSpPr>
            <p:cNvPr id="151" name="Freeform 928">
              <a:extLst>
                <a:ext uri="{FF2B5EF4-FFF2-40B4-BE49-F238E27FC236}">
                  <a16:creationId xmlns:a16="http://schemas.microsoft.com/office/drawing/2014/main" id="{7885526D-A1B9-45A5-9804-63B9B75BE369}"/>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929">
              <a:extLst>
                <a:ext uri="{FF2B5EF4-FFF2-40B4-BE49-F238E27FC236}">
                  <a16:creationId xmlns:a16="http://schemas.microsoft.com/office/drawing/2014/main" id="{F3E4111E-1933-4D27-BB02-B8C7F81A620D}"/>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3" name="Group 932">
            <a:extLst>
              <a:ext uri="{FF2B5EF4-FFF2-40B4-BE49-F238E27FC236}">
                <a16:creationId xmlns:a16="http://schemas.microsoft.com/office/drawing/2014/main" id="{563E1200-BE29-421F-90C4-D19BA3AE55BF}"/>
              </a:ext>
            </a:extLst>
          </p:cNvPr>
          <p:cNvGrpSpPr>
            <a:grpSpLocks noChangeAspect="1"/>
          </p:cNvGrpSpPr>
          <p:nvPr/>
        </p:nvGrpSpPr>
        <p:grpSpPr bwMode="auto">
          <a:xfrm>
            <a:off x="6141803" y="1697038"/>
            <a:ext cx="367041" cy="367041"/>
            <a:chOff x="5795" y="3560"/>
            <a:chExt cx="340" cy="340"/>
          </a:xfrm>
          <a:solidFill>
            <a:schemeClr val="accent4"/>
          </a:solidFill>
        </p:grpSpPr>
        <p:sp>
          <p:nvSpPr>
            <p:cNvPr id="154" name="Freeform 933">
              <a:extLst>
                <a:ext uri="{FF2B5EF4-FFF2-40B4-BE49-F238E27FC236}">
                  <a16:creationId xmlns:a16="http://schemas.microsoft.com/office/drawing/2014/main" id="{94D8CA42-7959-4756-ACEC-F6DF3F06EA15}"/>
                </a:ext>
              </a:extLst>
            </p:cNvPr>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934">
              <a:extLst>
                <a:ext uri="{FF2B5EF4-FFF2-40B4-BE49-F238E27FC236}">
                  <a16:creationId xmlns:a16="http://schemas.microsoft.com/office/drawing/2014/main" id="{32F8F384-C88F-4C86-B3EA-FB8B104BE574}"/>
                </a:ext>
              </a:extLst>
            </p:cNvPr>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6" name="Group 62">
            <a:extLst>
              <a:ext uri="{FF2B5EF4-FFF2-40B4-BE49-F238E27FC236}">
                <a16:creationId xmlns:a16="http://schemas.microsoft.com/office/drawing/2014/main" id="{9972D1B1-5813-417A-8D2F-4C9040813C6C}"/>
              </a:ext>
            </a:extLst>
          </p:cNvPr>
          <p:cNvGrpSpPr>
            <a:grpSpLocks noChangeAspect="1"/>
          </p:cNvGrpSpPr>
          <p:nvPr/>
        </p:nvGrpSpPr>
        <p:grpSpPr bwMode="auto">
          <a:xfrm>
            <a:off x="7008451" y="1697038"/>
            <a:ext cx="368121" cy="367041"/>
            <a:chOff x="5096" y="917"/>
            <a:chExt cx="341" cy="340"/>
          </a:xfrm>
          <a:solidFill>
            <a:schemeClr val="accent1"/>
          </a:solidFill>
        </p:grpSpPr>
        <p:sp>
          <p:nvSpPr>
            <p:cNvPr id="157" name="Freeform 63">
              <a:extLst>
                <a:ext uri="{FF2B5EF4-FFF2-40B4-BE49-F238E27FC236}">
                  <a16:creationId xmlns:a16="http://schemas.microsoft.com/office/drawing/2014/main" id="{7FFA4C7B-DE6D-4BC9-B78C-E9F1BB056CBA}"/>
                </a:ext>
              </a:extLst>
            </p:cNvPr>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8" name="Freeform 64">
              <a:extLst>
                <a:ext uri="{FF2B5EF4-FFF2-40B4-BE49-F238E27FC236}">
                  <a16:creationId xmlns:a16="http://schemas.microsoft.com/office/drawing/2014/main" id="{4FF94350-1879-49DC-A2F8-899732B0BC37}"/>
                </a:ext>
              </a:extLst>
            </p:cNvPr>
            <p:cNvSpPr>
              <a:spLocks noEditPoints="1"/>
            </p:cNvSpPr>
            <p:nvPr/>
          </p:nvSpPr>
          <p:spPr bwMode="auto">
            <a:xfrm>
              <a:off x="5160" y="1044"/>
              <a:ext cx="213" cy="85"/>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9" name="Freeform 65">
              <a:extLst>
                <a:ext uri="{FF2B5EF4-FFF2-40B4-BE49-F238E27FC236}">
                  <a16:creationId xmlns:a16="http://schemas.microsoft.com/office/drawing/2014/main" id="{37139D3E-ED6C-4BAB-9F97-373D5ED942D4}"/>
                </a:ext>
              </a:extLst>
            </p:cNvPr>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0" name="Freeform 69">
            <a:extLst>
              <a:ext uri="{FF2B5EF4-FFF2-40B4-BE49-F238E27FC236}">
                <a16:creationId xmlns:a16="http://schemas.microsoft.com/office/drawing/2014/main" id="{9ED91F57-E013-47F1-A63F-E111EFB4AC73}"/>
              </a:ext>
            </a:extLst>
          </p:cNvPr>
          <p:cNvSpPr>
            <a:spLocks noChangeAspect="1" noEditPoints="1"/>
          </p:cNvSpPr>
          <p:nvPr/>
        </p:nvSpPr>
        <p:spPr bwMode="auto">
          <a:xfrm>
            <a:off x="6575127" y="1697038"/>
            <a:ext cx="367041" cy="367041"/>
          </a:xfrm>
          <a:custGeom>
            <a:avLst/>
            <a:gdLst>
              <a:gd name="T0" fmla="*/ 213 w 512"/>
              <a:gd name="T1" fmla="*/ 256 h 512"/>
              <a:gd name="T2" fmla="*/ 170 w 512"/>
              <a:gd name="T3" fmla="*/ 298 h 512"/>
              <a:gd name="T4" fmla="*/ 128 w 512"/>
              <a:gd name="T5" fmla="*/ 256 h 512"/>
              <a:gd name="T6" fmla="*/ 170 w 512"/>
              <a:gd name="T7" fmla="*/ 213 h 512"/>
              <a:gd name="T8" fmla="*/ 213 w 512"/>
              <a:gd name="T9" fmla="*/ 25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256 h 512"/>
              <a:gd name="T22" fmla="*/ 405 w 512"/>
              <a:gd name="T23" fmla="*/ 245 h 512"/>
              <a:gd name="T24" fmla="*/ 404 w 512"/>
              <a:gd name="T25" fmla="*/ 245 h 512"/>
              <a:gd name="T26" fmla="*/ 341 w 512"/>
              <a:gd name="T27" fmla="*/ 192 h 512"/>
              <a:gd name="T28" fmla="*/ 279 w 512"/>
              <a:gd name="T29" fmla="*/ 240 h 512"/>
              <a:gd name="T30" fmla="*/ 256 w 512"/>
              <a:gd name="T31" fmla="*/ 234 h 512"/>
              <a:gd name="T32" fmla="*/ 232 w 512"/>
              <a:gd name="T33" fmla="*/ 240 h 512"/>
              <a:gd name="T34" fmla="*/ 170 w 512"/>
              <a:gd name="T35" fmla="*/ 192 h 512"/>
              <a:gd name="T36" fmla="*/ 107 w 512"/>
              <a:gd name="T37" fmla="*/ 245 h 512"/>
              <a:gd name="T38" fmla="*/ 106 w 512"/>
              <a:gd name="T39" fmla="*/ 245 h 512"/>
              <a:gd name="T40" fmla="*/ 96 w 512"/>
              <a:gd name="T41" fmla="*/ 256 h 512"/>
              <a:gd name="T42" fmla="*/ 106 w 512"/>
              <a:gd name="T43" fmla="*/ 266 h 512"/>
              <a:gd name="T44" fmla="*/ 107 w 512"/>
              <a:gd name="T45" fmla="*/ 266 h 512"/>
              <a:gd name="T46" fmla="*/ 170 w 512"/>
              <a:gd name="T47" fmla="*/ 320 h 512"/>
              <a:gd name="T48" fmla="*/ 234 w 512"/>
              <a:gd name="T49" fmla="*/ 265 h 512"/>
              <a:gd name="T50" fmla="*/ 256 w 512"/>
              <a:gd name="T51" fmla="*/ 256 h 512"/>
              <a:gd name="T52" fmla="*/ 278 w 512"/>
              <a:gd name="T53" fmla="*/ 265 h 512"/>
              <a:gd name="T54" fmla="*/ 341 w 512"/>
              <a:gd name="T55" fmla="*/ 320 h 512"/>
              <a:gd name="T56" fmla="*/ 404 w 512"/>
              <a:gd name="T57" fmla="*/ 266 h 512"/>
              <a:gd name="T58" fmla="*/ 405 w 512"/>
              <a:gd name="T59" fmla="*/ 266 h 512"/>
              <a:gd name="T60" fmla="*/ 416 w 512"/>
              <a:gd name="T61" fmla="*/ 256 h 512"/>
              <a:gd name="T62" fmla="*/ 341 w 512"/>
              <a:gd name="T63" fmla="*/ 213 h 512"/>
              <a:gd name="T64" fmla="*/ 298 w 512"/>
              <a:gd name="T65" fmla="*/ 256 h 512"/>
              <a:gd name="T66" fmla="*/ 341 w 512"/>
              <a:gd name="T67" fmla="*/ 298 h 512"/>
              <a:gd name="T68" fmla="*/ 384 w 512"/>
              <a:gd name="T69" fmla="*/ 256 h 512"/>
              <a:gd name="T70" fmla="*/ 341 w 512"/>
              <a:gd name="T7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13" y="256"/>
                </a:moveTo>
                <a:cubicBezTo>
                  <a:pt x="213" y="279"/>
                  <a:pt x="194" y="298"/>
                  <a:pt x="170" y="298"/>
                </a:cubicBezTo>
                <a:cubicBezTo>
                  <a:pt x="147" y="298"/>
                  <a:pt x="128" y="279"/>
                  <a:pt x="128" y="256"/>
                </a:cubicBezTo>
                <a:cubicBezTo>
                  <a:pt x="128" y="232"/>
                  <a:pt x="147" y="213"/>
                  <a:pt x="170" y="213"/>
                </a:cubicBezTo>
                <a:cubicBezTo>
                  <a:pt x="194" y="213"/>
                  <a:pt x="213" y="232"/>
                  <a:pt x="213"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0"/>
                  <a:pt x="411" y="245"/>
                  <a:pt x="405" y="245"/>
                </a:cubicBezTo>
                <a:cubicBezTo>
                  <a:pt x="404" y="245"/>
                  <a:pt x="404" y="245"/>
                  <a:pt x="404" y="245"/>
                </a:cubicBezTo>
                <a:cubicBezTo>
                  <a:pt x="399" y="215"/>
                  <a:pt x="373" y="192"/>
                  <a:pt x="341" y="192"/>
                </a:cubicBezTo>
                <a:cubicBezTo>
                  <a:pt x="311" y="192"/>
                  <a:pt x="286" y="212"/>
                  <a:pt x="279" y="240"/>
                </a:cubicBezTo>
                <a:cubicBezTo>
                  <a:pt x="272" y="236"/>
                  <a:pt x="264" y="234"/>
                  <a:pt x="256" y="234"/>
                </a:cubicBezTo>
                <a:cubicBezTo>
                  <a:pt x="247" y="234"/>
                  <a:pt x="239" y="236"/>
                  <a:pt x="232" y="240"/>
                </a:cubicBezTo>
                <a:cubicBezTo>
                  <a:pt x="225" y="212"/>
                  <a:pt x="200" y="192"/>
                  <a:pt x="170" y="192"/>
                </a:cubicBezTo>
                <a:cubicBezTo>
                  <a:pt x="139" y="192"/>
                  <a:pt x="112" y="215"/>
                  <a:pt x="107" y="245"/>
                </a:cubicBezTo>
                <a:cubicBezTo>
                  <a:pt x="106" y="245"/>
                  <a:pt x="106" y="245"/>
                  <a:pt x="106" y="245"/>
                </a:cubicBezTo>
                <a:cubicBezTo>
                  <a:pt x="100" y="245"/>
                  <a:pt x="96" y="250"/>
                  <a:pt x="96" y="256"/>
                </a:cubicBezTo>
                <a:cubicBezTo>
                  <a:pt x="96" y="262"/>
                  <a:pt x="100" y="266"/>
                  <a:pt x="106" y="266"/>
                </a:cubicBezTo>
                <a:cubicBezTo>
                  <a:pt x="107" y="266"/>
                  <a:pt x="107" y="266"/>
                  <a:pt x="107" y="266"/>
                </a:cubicBezTo>
                <a:cubicBezTo>
                  <a:pt x="112" y="297"/>
                  <a:pt x="139" y="320"/>
                  <a:pt x="170" y="320"/>
                </a:cubicBezTo>
                <a:cubicBezTo>
                  <a:pt x="203" y="320"/>
                  <a:pt x="229" y="296"/>
                  <a:pt x="234" y="265"/>
                </a:cubicBezTo>
                <a:cubicBezTo>
                  <a:pt x="240" y="259"/>
                  <a:pt x="247" y="256"/>
                  <a:pt x="256" y="256"/>
                </a:cubicBezTo>
                <a:cubicBezTo>
                  <a:pt x="264" y="256"/>
                  <a:pt x="272" y="259"/>
                  <a:pt x="278" y="265"/>
                </a:cubicBezTo>
                <a:cubicBezTo>
                  <a:pt x="282" y="296"/>
                  <a:pt x="309" y="320"/>
                  <a:pt x="341" y="320"/>
                </a:cubicBezTo>
                <a:cubicBezTo>
                  <a:pt x="373" y="320"/>
                  <a:pt x="399" y="297"/>
                  <a:pt x="404" y="266"/>
                </a:cubicBezTo>
                <a:cubicBezTo>
                  <a:pt x="405" y="266"/>
                  <a:pt x="405" y="266"/>
                  <a:pt x="405" y="266"/>
                </a:cubicBezTo>
                <a:cubicBezTo>
                  <a:pt x="411" y="266"/>
                  <a:pt x="416" y="262"/>
                  <a:pt x="416" y="256"/>
                </a:cubicBezTo>
                <a:close/>
                <a:moveTo>
                  <a:pt x="341" y="213"/>
                </a:moveTo>
                <a:cubicBezTo>
                  <a:pt x="317" y="213"/>
                  <a:pt x="298" y="232"/>
                  <a:pt x="298" y="256"/>
                </a:cubicBezTo>
                <a:cubicBezTo>
                  <a:pt x="298" y="279"/>
                  <a:pt x="317" y="298"/>
                  <a:pt x="341" y="298"/>
                </a:cubicBezTo>
                <a:cubicBezTo>
                  <a:pt x="365" y="298"/>
                  <a:pt x="384" y="279"/>
                  <a:pt x="384" y="256"/>
                </a:cubicBezTo>
                <a:cubicBezTo>
                  <a:pt x="384" y="232"/>
                  <a:pt x="365" y="213"/>
                  <a:pt x="341" y="21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1" name="Freeform 241">
            <a:extLst>
              <a:ext uri="{FF2B5EF4-FFF2-40B4-BE49-F238E27FC236}">
                <a16:creationId xmlns:a16="http://schemas.microsoft.com/office/drawing/2014/main" id="{354EE2A8-79B8-415E-804D-338808238DD6}"/>
              </a:ext>
            </a:extLst>
          </p:cNvPr>
          <p:cNvSpPr>
            <a:spLocks noChangeAspect="1" noEditPoints="1"/>
          </p:cNvSpPr>
          <p:nvPr/>
        </p:nvSpPr>
        <p:spPr bwMode="auto">
          <a:xfrm>
            <a:off x="7442855" y="1697038"/>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2" name="Group 244">
            <a:extLst>
              <a:ext uri="{FF2B5EF4-FFF2-40B4-BE49-F238E27FC236}">
                <a16:creationId xmlns:a16="http://schemas.microsoft.com/office/drawing/2014/main" id="{B23C69E7-EFA5-4C16-83F2-DD4225D38031}"/>
              </a:ext>
            </a:extLst>
          </p:cNvPr>
          <p:cNvGrpSpPr>
            <a:grpSpLocks noChangeAspect="1"/>
          </p:cNvGrpSpPr>
          <p:nvPr/>
        </p:nvGrpSpPr>
        <p:grpSpPr bwMode="auto">
          <a:xfrm>
            <a:off x="7876769" y="1697038"/>
            <a:ext cx="367631" cy="367631"/>
            <a:chOff x="4646" y="1397"/>
            <a:chExt cx="340" cy="340"/>
          </a:xfrm>
          <a:solidFill>
            <a:schemeClr val="accent3"/>
          </a:solidFill>
        </p:grpSpPr>
        <p:sp>
          <p:nvSpPr>
            <p:cNvPr id="163" name="Freeform 245">
              <a:extLst>
                <a:ext uri="{FF2B5EF4-FFF2-40B4-BE49-F238E27FC236}">
                  <a16:creationId xmlns:a16="http://schemas.microsoft.com/office/drawing/2014/main" id="{8BC60B14-8732-46D3-9477-69109A6EAB23}"/>
                </a:ext>
              </a:extLst>
            </p:cNvPr>
            <p:cNvSpPr>
              <a:spLocks noEditPoints="1"/>
            </p:cNvSpPr>
            <p:nvPr/>
          </p:nvSpPr>
          <p:spPr bwMode="auto">
            <a:xfrm>
              <a:off x="4646" y="13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4" name="Freeform 246">
              <a:extLst>
                <a:ext uri="{FF2B5EF4-FFF2-40B4-BE49-F238E27FC236}">
                  <a16:creationId xmlns:a16="http://schemas.microsoft.com/office/drawing/2014/main" id="{3A4D2F8E-6211-47FF-A12C-EF4D8425EB6D}"/>
                </a:ext>
              </a:extLst>
            </p:cNvPr>
            <p:cNvSpPr>
              <a:spLocks noEditPoints="1"/>
            </p:cNvSpPr>
            <p:nvPr/>
          </p:nvSpPr>
          <p:spPr bwMode="auto">
            <a:xfrm>
              <a:off x="4738" y="146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5" name="Group 508">
            <a:extLst>
              <a:ext uri="{FF2B5EF4-FFF2-40B4-BE49-F238E27FC236}">
                <a16:creationId xmlns:a16="http://schemas.microsoft.com/office/drawing/2014/main" id="{F11FF35F-70C5-4443-8DFF-0368CB236C6D}"/>
              </a:ext>
            </a:extLst>
          </p:cNvPr>
          <p:cNvGrpSpPr>
            <a:grpSpLocks noChangeAspect="1"/>
          </p:cNvGrpSpPr>
          <p:nvPr/>
        </p:nvGrpSpPr>
        <p:grpSpPr bwMode="auto">
          <a:xfrm>
            <a:off x="8745987" y="1697038"/>
            <a:ext cx="369021" cy="369021"/>
            <a:chOff x="5047" y="1955"/>
            <a:chExt cx="340" cy="340"/>
          </a:xfrm>
          <a:solidFill>
            <a:schemeClr val="accent6"/>
          </a:solidFill>
        </p:grpSpPr>
        <p:sp>
          <p:nvSpPr>
            <p:cNvPr id="166" name="Freeform 509">
              <a:extLst>
                <a:ext uri="{FF2B5EF4-FFF2-40B4-BE49-F238E27FC236}">
                  <a16:creationId xmlns:a16="http://schemas.microsoft.com/office/drawing/2014/main" id="{46263387-3A47-4E38-B2E1-63A5CA4AAE2F}"/>
                </a:ext>
              </a:extLst>
            </p:cNvPr>
            <p:cNvSpPr>
              <a:spLocks noEditPoints="1"/>
            </p:cNvSpPr>
            <p:nvPr/>
          </p:nvSpPr>
          <p:spPr bwMode="auto">
            <a:xfrm>
              <a:off x="5047" y="1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7" name="Freeform 510">
              <a:extLst>
                <a:ext uri="{FF2B5EF4-FFF2-40B4-BE49-F238E27FC236}">
                  <a16:creationId xmlns:a16="http://schemas.microsoft.com/office/drawing/2014/main" id="{2AED60D3-87D4-434B-95CC-FB4706CD68B0}"/>
                </a:ext>
              </a:extLst>
            </p:cNvPr>
            <p:cNvSpPr>
              <a:spLocks noEditPoints="1"/>
            </p:cNvSpPr>
            <p:nvPr/>
          </p:nvSpPr>
          <p:spPr bwMode="auto">
            <a:xfrm>
              <a:off x="5117" y="2054"/>
              <a:ext cx="206" cy="156"/>
            </a:xfrm>
            <a:custGeom>
              <a:avLst/>
              <a:gdLst>
                <a:gd name="T0" fmla="*/ 283 w 310"/>
                <a:gd name="T1" fmla="*/ 45 h 235"/>
                <a:gd name="T2" fmla="*/ 239 w 310"/>
                <a:gd name="T3" fmla="*/ 57 h 235"/>
                <a:gd name="T4" fmla="*/ 235 w 310"/>
                <a:gd name="T5" fmla="*/ 61 h 235"/>
                <a:gd name="T6" fmla="*/ 235 w 310"/>
                <a:gd name="T7" fmla="*/ 11 h 235"/>
                <a:gd name="T8" fmla="*/ 224 w 310"/>
                <a:gd name="T9" fmla="*/ 0 h 235"/>
                <a:gd name="T10" fmla="*/ 140 w 310"/>
                <a:gd name="T11" fmla="*/ 0 h 235"/>
                <a:gd name="T12" fmla="*/ 131 w 310"/>
                <a:gd name="T13" fmla="*/ 7 h 235"/>
                <a:gd name="T14" fmla="*/ 153 w 310"/>
                <a:gd name="T15" fmla="*/ 41 h 235"/>
                <a:gd name="T16" fmla="*/ 159 w 310"/>
                <a:gd name="T17" fmla="*/ 62 h 235"/>
                <a:gd name="T18" fmla="*/ 134 w 310"/>
                <a:gd name="T19" fmla="*/ 75 h 235"/>
                <a:gd name="T20" fmla="*/ 102 w 310"/>
                <a:gd name="T21" fmla="*/ 75 h 235"/>
                <a:gd name="T22" fmla="*/ 76 w 310"/>
                <a:gd name="T23" fmla="*/ 62 h 235"/>
                <a:gd name="T24" fmla="*/ 83 w 310"/>
                <a:gd name="T25" fmla="*/ 41 h 235"/>
                <a:gd name="T26" fmla="*/ 105 w 310"/>
                <a:gd name="T27" fmla="*/ 7 h 235"/>
                <a:gd name="T28" fmla="*/ 95 w 310"/>
                <a:gd name="T29" fmla="*/ 0 h 235"/>
                <a:gd name="T30" fmla="*/ 11 w 310"/>
                <a:gd name="T31" fmla="*/ 0 h 235"/>
                <a:gd name="T32" fmla="*/ 0 w 310"/>
                <a:gd name="T33" fmla="*/ 11 h 235"/>
                <a:gd name="T34" fmla="*/ 0 w 310"/>
                <a:gd name="T35" fmla="*/ 224 h 235"/>
                <a:gd name="T36" fmla="*/ 11 w 310"/>
                <a:gd name="T37" fmla="*/ 235 h 235"/>
                <a:gd name="T38" fmla="*/ 224 w 310"/>
                <a:gd name="T39" fmla="*/ 235 h 235"/>
                <a:gd name="T40" fmla="*/ 235 w 310"/>
                <a:gd name="T41" fmla="*/ 224 h 235"/>
                <a:gd name="T42" fmla="*/ 235 w 310"/>
                <a:gd name="T43" fmla="*/ 152 h 235"/>
                <a:gd name="T44" fmla="*/ 239 w 310"/>
                <a:gd name="T45" fmla="*/ 156 h 235"/>
                <a:gd name="T46" fmla="*/ 283 w 310"/>
                <a:gd name="T47" fmla="*/ 168 h 235"/>
                <a:gd name="T48" fmla="*/ 310 w 310"/>
                <a:gd name="T49" fmla="*/ 123 h 235"/>
                <a:gd name="T50" fmla="*/ 310 w 310"/>
                <a:gd name="T51" fmla="*/ 91 h 235"/>
                <a:gd name="T52" fmla="*/ 283 w 310"/>
                <a:gd name="T53" fmla="*/ 45 h 235"/>
                <a:gd name="T54" fmla="*/ 288 w 310"/>
                <a:gd name="T55" fmla="*/ 123 h 235"/>
                <a:gd name="T56" fmla="*/ 276 w 310"/>
                <a:gd name="T57" fmla="*/ 148 h 235"/>
                <a:gd name="T58" fmla="*/ 255 w 310"/>
                <a:gd name="T59" fmla="*/ 142 h 235"/>
                <a:gd name="T60" fmla="*/ 220 w 310"/>
                <a:gd name="T61" fmla="*/ 119 h 235"/>
                <a:gd name="T62" fmla="*/ 214 w 310"/>
                <a:gd name="T63" fmla="*/ 129 h 235"/>
                <a:gd name="T64" fmla="*/ 214 w 310"/>
                <a:gd name="T65" fmla="*/ 213 h 235"/>
                <a:gd name="T66" fmla="*/ 22 w 310"/>
                <a:gd name="T67" fmla="*/ 213 h 235"/>
                <a:gd name="T68" fmla="*/ 22 w 310"/>
                <a:gd name="T69" fmla="*/ 21 h 235"/>
                <a:gd name="T70" fmla="*/ 73 w 310"/>
                <a:gd name="T71" fmla="*/ 21 h 235"/>
                <a:gd name="T72" fmla="*/ 68 w 310"/>
                <a:gd name="T73" fmla="*/ 25 h 235"/>
                <a:gd name="T74" fmla="*/ 56 w 310"/>
                <a:gd name="T75" fmla="*/ 70 h 235"/>
                <a:gd name="T76" fmla="*/ 102 w 310"/>
                <a:gd name="T77" fmla="*/ 96 h 235"/>
                <a:gd name="T78" fmla="*/ 134 w 310"/>
                <a:gd name="T79" fmla="*/ 96 h 235"/>
                <a:gd name="T80" fmla="*/ 179 w 310"/>
                <a:gd name="T81" fmla="*/ 70 h 235"/>
                <a:gd name="T82" fmla="*/ 167 w 310"/>
                <a:gd name="T83" fmla="*/ 25 h 235"/>
                <a:gd name="T84" fmla="*/ 163 w 310"/>
                <a:gd name="T85" fmla="*/ 21 h 235"/>
                <a:gd name="T86" fmla="*/ 214 w 310"/>
                <a:gd name="T87" fmla="*/ 21 h 235"/>
                <a:gd name="T88" fmla="*/ 214 w 310"/>
                <a:gd name="T89" fmla="*/ 84 h 235"/>
                <a:gd name="T90" fmla="*/ 220 w 310"/>
                <a:gd name="T91" fmla="*/ 94 h 235"/>
                <a:gd name="T92" fmla="*/ 255 w 310"/>
                <a:gd name="T93" fmla="*/ 72 h 235"/>
                <a:gd name="T94" fmla="*/ 276 w 310"/>
                <a:gd name="T95" fmla="*/ 65 h 235"/>
                <a:gd name="T96" fmla="*/ 288 w 310"/>
                <a:gd name="T97" fmla="*/ 91 h 235"/>
                <a:gd name="T98" fmla="*/ 288 w 310"/>
                <a:gd name="T99" fmla="*/ 12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0" h="235">
                  <a:moveTo>
                    <a:pt x="283" y="45"/>
                  </a:moveTo>
                  <a:cubicBezTo>
                    <a:pt x="268" y="39"/>
                    <a:pt x="251" y="44"/>
                    <a:pt x="239" y="57"/>
                  </a:cubicBezTo>
                  <a:cubicBezTo>
                    <a:pt x="237" y="59"/>
                    <a:pt x="236" y="60"/>
                    <a:pt x="235" y="61"/>
                  </a:cubicBezTo>
                  <a:cubicBezTo>
                    <a:pt x="235" y="11"/>
                    <a:pt x="235" y="11"/>
                    <a:pt x="235" y="11"/>
                  </a:cubicBezTo>
                  <a:cubicBezTo>
                    <a:pt x="235" y="5"/>
                    <a:pt x="230" y="0"/>
                    <a:pt x="224" y="0"/>
                  </a:cubicBezTo>
                  <a:cubicBezTo>
                    <a:pt x="140" y="0"/>
                    <a:pt x="140" y="0"/>
                    <a:pt x="140" y="0"/>
                  </a:cubicBezTo>
                  <a:cubicBezTo>
                    <a:pt x="136" y="0"/>
                    <a:pt x="132" y="3"/>
                    <a:pt x="131" y="7"/>
                  </a:cubicBezTo>
                  <a:cubicBezTo>
                    <a:pt x="128" y="14"/>
                    <a:pt x="130" y="21"/>
                    <a:pt x="153" y="41"/>
                  </a:cubicBezTo>
                  <a:cubicBezTo>
                    <a:pt x="159" y="47"/>
                    <a:pt x="162" y="55"/>
                    <a:pt x="159" y="62"/>
                  </a:cubicBezTo>
                  <a:cubicBezTo>
                    <a:pt x="156" y="70"/>
                    <a:pt x="147" y="75"/>
                    <a:pt x="134" y="75"/>
                  </a:cubicBezTo>
                  <a:cubicBezTo>
                    <a:pt x="102" y="75"/>
                    <a:pt x="102" y="75"/>
                    <a:pt x="102" y="75"/>
                  </a:cubicBezTo>
                  <a:cubicBezTo>
                    <a:pt x="88" y="75"/>
                    <a:pt x="79" y="70"/>
                    <a:pt x="76" y="62"/>
                  </a:cubicBezTo>
                  <a:cubicBezTo>
                    <a:pt x="73" y="55"/>
                    <a:pt x="76" y="47"/>
                    <a:pt x="83" y="41"/>
                  </a:cubicBezTo>
                  <a:cubicBezTo>
                    <a:pt x="105" y="21"/>
                    <a:pt x="108" y="14"/>
                    <a:pt x="105" y="7"/>
                  </a:cubicBezTo>
                  <a:cubicBezTo>
                    <a:pt x="103" y="3"/>
                    <a:pt x="99" y="0"/>
                    <a:pt x="95" y="0"/>
                  </a:cubicBezTo>
                  <a:cubicBezTo>
                    <a:pt x="11" y="0"/>
                    <a:pt x="11" y="0"/>
                    <a:pt x="11" y="0"/>
                  </a:cubicBezTo>
                  <a:cubicBezTo>
                    <a:pt x="5" y="0"/>
                    <a:pt x="0" y="5"/>
                    <a:pt x="0" y="11"/>
                  </a:cubicBezTo>
                  <a:cubicBezTo>
                    <a:pt x="0" y="224"/>
                    <a:pt x="0" y="224"/>
                    <a:pt x="0" y="224"/>
                  </a:cubicBezTo>
                  <a:cubicBezTo>
                    <a:pt x="0" y="230"/>
                    <a:pt x="5" y="235"/>
                    <a:pt x="11" y="235"/>
                  </a:cubicBezTo>
                  <a:cubicBezTo>
                    <a:pt x="224" y="235"/>
                    <a:pt x="224" y="235"/>
                    <a:pt x="224" y="235"/>
                  </a:cubicBezTo>
                  <a:cubicBezTo>
                    <a:pt x="230" y="235"/>
                    <a:pt x="235" y="230"/>
                    <a:pt x="235" y="224"/>
                  </a:cubicBezTo>
                  <a:cubicBezTo>
                    <a:pt x="235" y="152"/>
                    <a:pt x="235" y="152"/>
                    <a:pt x="235" y="152"/>
                  </a:cubicBezTo>
                  <a:cubicBezTo>
                    <a:pt x="236" y="153"/>
                    <a:pt x="237" y="154"/>
                    <a:pt x="239" y="156"/>
                  </a:cubicBezTo>
                  <a:cubicBezTo>
                    <a:pt x="251" y="169"/>
                    <a:pt x="268" y="174"/>
                    <a:pt x="283" y="168"/>
                  </a:cubicBezTo>
                  <a:cubicBezTo>
                    <a:pt x="300" y="162"/>
                    <a:pt x="310" y="145"/>
                    <a:pt x="310" y="123"/>
                  </a:cubicBezTo>
                  <a:cubicBezTo>
                    <a:pt x="310" y="91"/>
                    <a:pt x="310" y="91"/>
                    <a:pt x="310" y="91"/>
                  </a:cubicBezTo>
                  <a:cubicBezTo>
                    <a:pt x="310" y="68"/>
                    <a:pt x="300" y="51"/>
                    <a:pt x="283" y="45"/>
                  </a:cubicBezTo>
                  <a:close/>
                  <a:moveTo>
                    <a:pt x="288" y="123"/>
                  </a:moveTo>
                  <a:cubicBezTo>
                    <a:pt x="288" y="136"/>
                    <a:pt x="284" y="145"/>
                    <a:pt x="276" y="148"/>
                  </a:cubicBezTo>
                  <a:cubicBezTo>
                    <a:pt x="269" y="151"/>
                    <a:pt x="261" y="148"/>
                    <a:pt x="255" y="142"/>
                  </a:cubicBezTo>
                  <a:cubicBezTo>
                    <a:pt x="235" y="120"/>
                    <a:pt x="227" y="117"/>
                    <a:pt x="220" y="119"/>
                  </a:cubicBezTo>
                  <a:cubicBezTo>
                    <a:pt x="216" y="121"/>
                    <a:pt x="214" y="125"/>
                    <a:pt x="214" y="129"/>
                  </a:cubicBezTo>
                  <a:cubicBezTo>
                    <a:pt x="214" y="213"/>
                    <a:pt x="214" y="213"/>
                    <a:pt x="214" y="213"/>
                  </a:cubicBezTo>
                  <a:cubicBezTo>
                    <a:pt x="22" y="213"/>
                    <a:pt x="22" y="213"/>
                    <a:pt x="22" y="213"/>
                  </a:cubicBezTo>
                  <a:cubicBezTo>
                    <a:pt x="22" y="21"/>
                    <a:pt x="22" y="21"/>
                    <a:pt x="22" y="21"/>
                  </a:cubicBezTo>
                  <a:cubicBezTo>
                    <a:pt x="73" y="21"/>
                    <a:pt x="73" y="21"/>
                    <a:pt x="73" y="21"/>
                  </a:cubicBezTo>
                  <a:cubicBezTo>
                    <a:pt x="71" y="23"/>
                    <a:pt x="70" y="24"/>
                    <a:pt x="68" y="25"/>
                  </a:cubicBezTo>
                  <a:cubicBezTo>
                    <a:pt x="55" y="37"/>
                    <a:pt x="50" y="55"/>
                    <a:pt x="56" y="70"/>
                  </a:cubicBezTo>
                  <a:cubicBezTo>
                    <a:pt x="62" y="86"/>
                    <a:pt x="79" y="96"/>
                    <a:pt x="102" y="96"/>
                  </a:cubicBezTo>
                  <a:cubicBezTo>
                    <a:pt x="134" y="96"/>
                    <a:pt x="134" y="96"/>
                    <a:pt x="134" y="96"/>
                  </a:cubicBezTo>
                  <a:cubicBezTo>
                    <a:pt x="156" y="96"/>
                    <a:pt x="173" y="86"/>
                    <a:pt x="179" y="70"/>
                  </a:cubicBezTo>
                  <a:cubicBezTo>
                    <a:pt x="185" y="55"/>
                    <a:pt x="180" y="37"/>
                    <a:pt x="167" y="25"/>
                  </a:cubicBezTo>
                  <a:cubicBezTo>
                    <a:pt x="166" y="24"/>
                    <a:pt x="164" y="22"/>
                    <a:pt x="163" y="21"/>
                  </a:cubicBezTo>
                  <a:cubicBezTo>
                    <a:pt x="214" y="21"/>
                    <a:pt x="214" y="21"/>
                    <a:pt x="214" y="21"/>
                  </a:cubicBezTo>
                  <a:cubicBezTo>
                    <a:pt x="214" y="84"/>
                    <a:pt x="214" y="84"/>
                    <a:pt x="214" y="84"/>
                  </a:cubicBezTo>
                  <a:cubicBezTo>
                    <a:pt x="214" y="88"/>
                    <a:pt x="216" y="92"/>
                    <a:pt x="220" y="94"/>
                  </a:cubicBezTo>
                  <a:cubicBezTo>
                    <a:pt x="227" y="97"/>
                    <a:pt x="234" y="94"/>
                    <a:pt x="255" y="72"/>
                  </a:cubicBezTo>
                  <a:cubicBezTo>
                    <a:pt x="261" y="65"/>
                    <a:pt x="269" y="62"/>
                    <a:pt x="276" y="65"/>
                  </a:cubicBezTo>
                  <a:cubicBezTo>
                    <a:pt x="284" y="68"/>
                    <a:pt x="288" y="77"/>
                    <a:pt x="288" y="91"/>
                  </a:cubicBezTo>
                  <a:lnTo>
                    <a:pt x="288" y="1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8" name="Freeform 514">
            <a:extLst>
              <a:ext uri="{FF2B5EF4-FFF2-40B4-BE49-F238E27FC236}">
                <a16:creationId xmlns:a16="http://schemas.microsoft.com/office/drawing/2014/main" id="{5E752024-7021-4F3E-9D52-A827115A0DAC}"/>
              </a:ext>
            </a:extLst>
          </p:cNvPr>
          <p:cNvSpPr>
            <a:spLocks noChangeAspect="1" noEditPoints="1"/>
          </p:cNvSpPr>
          <p:nvPr/>
        </p:nvSpPr>
        <p:spPr bwMode="auto">
          <a:xfrm>
            <a:off x="8310683" y="1697038"/>
            <a:ext cx="369021" cy="369021"/>
          </a:xfrm>
          <a:custGeom>
            <a:avLst/>
            <a:gdLst>
              <a:gd name="T0" fmla="*/ 394 w 512"/>
              <a:gd name="T1" fmla="*/ 240 h 512"/>
              <a:gd name="T2" fmla="*/ 394 w 512"/>
              <a:gd name="T3" fmla="*/ 272 h 512"/>
              <a:gd name="T4" fmla="*/ 382 w 512"/>
              <a:gd name="T5" fmla="*/ 297 h 512"/>
              <a:gd name="T6" fmla="*/ 361 w 512"/>
              <a:gd name="T7" fmla="*/ 291 h 512"/>
              <a:gd name="T8" fmla="*/ 326 w 512"/>
              <a:gd name="T9" fmla="*/ 268 h 512"/>
              <a:gd name="T10" fmla="*/ 320 w 512"/>
              <a:gd name="T11" fmla="*/ 278 h 512"/>
              <a:gd name="T12" fmla="*/ 320 w 512"/>
              <a:gd name="T13" fmla="*/ 362 h 512"/>
              <a:gd name="T14" fmla="*/ 128 w 512"/>
              <a:gd name="T15" fmla="*/ 362 h 512"/>
              <a:gd name="T16" fmla="*/ 128 w 512"/>
              <a:gd name="T17" fmla="*/ 170 h 512"/>
              <a:gd name="T18" fmla="*/ 179 w 512"/>
              <a:gd name="T19" fmla="*/ 170 h 512"/>
              <a:gd name="T20" fmla="*/ 174 w 512"/>
              <a:gd name="T21" fmla="*/ 174 h 512"/>
              <a:gd name="T22" fmla="*/ 162 w 512"/>
              <a:gd name="T23" fmla="*/ 219 h 512"/>
              <a:gd name="T24" fmla="*/ 208 w 512"/>
              <a:gd name="T25" fmla="*/ 245 h 512"/>
              <a:gd name="T26" fmla="*/ 240 w 512"/>
              <a:gd name="T27" fmla="*/ 245 h 512"/>
              <a:gd name="T28" fmla="*/ 285 w 512"/>
              <a:gd name="T29" fmla="*/ 219 h 512"/>
              <a:gd name="T30" fmla="*/ 273 w 512"/>
              <a:gd name="T31" fmla="*/ 174 h 512"/>
              <a:gd name="T32" fmla="*/ 269 w 512"/>
              <a:gd name="T33" fmla="*/ 170 h 512"/>
              <a:gd name="T34" fmla="*/ 320 w 512"/>
              <a:gd name="T35" fmla="*/ 170 h 512"/>
              <a:gd name="T36" fmla="*/ 320 w 512"/>
              <a:gd name="T37" fmla="*/ 233 h 512"/>
              <a:gd name="T38" fmla="*/ 326 w 512"/>
              <a:gd name="T39" fmla="*/ 243 h 512"/>
              <a:gd name="T40" fmla="*/ 361 w 512"/>
              <a:gd name="T41" fmla="*/ 221 h 512"/>
              <a:gd name="T42" fmla="*/ 382 w 512"/>
              <a:gd name="T43" fmla="*/ 214 h 512"/>
              <a:gd name="T44" fmla="*/ 394 w 512"/>
              <a:gd name="T45" fmla="*/ 240 h 512"/>
              <a:gd name="T46" fmla="*/ 512 w 512"/>
              <a:gd name="T47" fmla="*/ 256 h 512"/>
              <a:gd name="T48" fmla="*/ 256 w 512"/>
              <a:gd name="T49" fmla="*/ 512 h 512"/>
              <a:gd name="T50" fmla="*/ 0 w 512"/>
              <a:gd name="T51" fmla="*/ 256 h 512"/>
              <a:gd name="T52" fmla="*/ 256 w 512"/>
              <a:gd name="T53" fmla="*/ 0 h 512"/>
              <a:gd name="T54" fmla="*/ 512 w 512"/>
              <a:gd name="T55" fmla="*/ 256 h 512"/>
              <a:gd name="T56" fmla="*/ 416 w 512"/>
              <a:gd name="T57" fmla="*/ 240 h 512"/>
              <a:gd name="T58" fmla="*/ 389 w 512"/>
              <a:gd name="T59" fmla="*/ 194 h 512"/>
              <a:gd name="T60" fmla="*/ 345 w 512"/>
              <a:gd name="T61" fmla="*/ 206 h 512"/>
              <a:gd name="T62" fmla="*/ 341 w 512"/>
              <a:gd name="T63" fmla="*/ 210 h 512"/>
              <a:gd name="T64" fmla="*/ 341 w 512"/>
              <a:gd name="T65" fmla="*/ 160 h 512"/>
              <a:gd name="T66" fmla="*/ 330 w 512"/>
              <a:gd name="T67" fmla="*/ 149 h 512"/>
              <a:gd name="T68" fmla="*/ 246 w 512"/>
              <a:gd name="T69" fmla="*/ 149 h 512"/>
              <a:gd name="T70" fmla="*/ 237 w 512"/>
              <a:gd name="T71" fmla="*/ 156 h 512"/>
              <a:gd name="T72" fmla="*/ 259 w 512"/>
              <a:gd name="T73" fmla="*/ 190 h 512"/>
              <a:gd name="T74" fmla="*/ 265 w 512"/>
              <a:gd name="T75" fmla="*/ 211 h 512"/>
              <a:gd name="T76" fmla="*/ 240 w 512"/>
              <a:gd name="T77" fmla="*/ 224 h 512"/>
              <a:gd name="T78" fmla="*/ 208 w 512"/>
              <a:gd name="T79" fmla="*/ 224 h 512"/>
              <a:gd name="T80" fmla="*/ 182 w 512"/>
              <a:gd name="T81" fmla="*/ 211 h 512"/>
              <a:gd name="T82" fmla="*/ 189 w 512"/>
              <a:gd name="T83" fmla="*/ 190 h 512"/>
              <a:gd name="T84" fmla="*/ 211 w 512"/>
              <a:gd name="T85" fmla="*/ 156 h 512"/>
              <a:gd name="T86" fmla="*/ 201 w 512"/>
              <a:gd name="T87" fmla="*/ 149 h 512"/>
              <a:gd name="T88" fmla="*/ 117 w 512"/>
              <a:gd name="T89" fmla="*/ 149 h 512"/>
              <a:gd name="T90" fmla="*/ 106 w 512"/>
              <a:gd name="T91" fmla="*/ 160 h 512"/>
              <a:gd name="T92" fmla="*/ 106 w 512"/>
              <a:gd name="T93" fmla="*/ 373 h 512"/>
              <a:gd name="T94" fmla="*/ 117 w 512"/>
              <a:gd name="T95" fmla="*/ 384 h 512"/>
              <a:gd name="T96" fmla="*/ 330 w 512"/>
              <a:gd name="T97" fmla="*/ 384 h 512"/>
              <a:gd name="T98" fmla="*/ 341 w 512"/>
              <a:gd name="T99" fmla="*/ 373 h 512"/>
              <a:gd name="T100" fmla="*/ 341 w 512"/>
              <a:gd name="T101" fmla="*/ 301 h 512"/>
              <a:gd name="T102" fmla="*/ 345 w 512"/>
              <a:gd name="T103" fmla="*/ 305 h 512"/>
              <a:gd name="T104" fmla="*/ 389 w 512"/>
              <a:gd name="T105" fmla="*/ 317 h 512"/>
              <a:gd name="T106" fmla="*/ 416 w 512"/>
              <a:gd name="T107" fmla="*/ 272 h 512"/>
              <a:gd name="T108" fmla="*/ 416 w 512"/>
              <a:gd name="T109"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94" y="240"/>
                </a:moveTo>
                <a:cubicBezTo>
                  <a:pt x="394" y="272"/>
                  <a:pt x="394" y="272"/>
                  <a:pt x="394" y="272"/>
                </a:cubicBezTo>
                <a:cubicBezTo>
                  <a:pt x="394" y="285"/>
                  <a:pt x="390" y="294"/>
                  <a:pt x="382" y="297"/>
                </a:cubicBezTo>
                <a:cubicBezTo>
                  <a:pt x="375" y="300"/>
                  <a:pt x="367" y="297"/>
                  <a:pt x="361" y="291"/>
                </a:cubicBezTo>
                <a:cubicBezTo>
                  <a:pt x="341" y="269"/>
                  <a:pt x="333" y="266"/>
                  <a:pt x="326" y="268"/>
                </a:cubicBezTo>
                <a:cubicBezTo>
                  <a:pt x="322" y="270"/>
                  <a:pt x="320" y="274"/>
                  <a:pt x="320" y="278"/>
                </a:cubicBezTo>
                <a:cubicBezTo>
                  <a:pt x="320" y="362"/>
                  <a:pt x="320" y="362"/>
                  <a:pt x="320" y="362"/>
                </a:cubicBezTo>
                <a:cubicBezTo>
                  <a:pt x="128" y="362"/>
                  <a:pt x="128" y="362"/>
                  <a:pt x="128" y="362"/>
                </a:cubicBezTo>
                <a:cubicBezTo>
                  <a:pt x="128" y="170"/>
                  <a:pt x="128" y="170"/>
                  <a:pt x="128" y="170"/>
                </a:cubicBezTo>
                <a:cubicBezTo>
                  <a:pt x="179" y="170"/>
                  <a:pt x="179" y="170"/>
                  <a:pt x="179" y="170"/>
                </a:cubicBezTo>
                <a:cubicBezTo>
                  <a:pt x="177" y="172"/>
                  <a:pt x="176" y="173"/>
                  <a:pt x="174" y="174"/>
                </a:cubicBezTo>
                <a:cubicBezTo>
                  <a:pt x="161" y="186"/>
                  <a:pt x="156" y="204"/>
                  <a:pt x="162" y="219"/>
                </a:cubicBezTo>
                <a:cubicBezTo>
                  <a:pt x="168" y="235"/>
                  <a:pt x="185" y="245"/>
                  <a:pt x="208" y="245"/>
                </a:cubicBezTo>
                <a:cubicBezTo>
                  <a:pt x="240" y="245"/>
                  <a:pt x="240" y="245"/>
                  <a:pt x="240" y="245"/>
                </a:cubicBezTo>
                <a:cubicBezTo>
                  <a:pt x="262" y="245"/>
                  <a:pt x="279" y="235"/>
                  <a:pt x="285" y="219"/>
                </a:cubicBezTo>
                <a:cubicBezTo>
                  <a:pt x="291" y="204"/>
                  <a:pt x="286" y="186"/>
                  <a:pt x="273" y="174"/>
                </a:cubicBezTo>
                <a:cubicBezTo>
                  <a:pt x="272" y="173"/>
                  <a:pt x="270" y="171"/>
                  <a:pt x="269" y="170"/>
                </a:cubicBezTo>
                <a:cubicBezTo>
                  <a:pt x="320" y="170"/>
                  <a:pt x="320" y="170"/>
                  <a:pt x="320" y="170"/>
                </a:cubicBezTo>
                <a:cubicBezTo>
                  <a:pt x="320" y="233"/>
                  <a:pt x="320" y="233"/>
                  <a:pt x="320" y="233"/>
                </a:cubicBezTo>
                <a:cubicBezTo>
                  <a:pt x="320" y="237"/>
                  <a:pt x="322" y="241"/>
                  <a:pt x="326" y="243"/>
                </a:cubicBezTo>
                <a:cubicBezTo>
                  <a:pt x="333" y="246"/>
                  <a:pt x="340" y="243"/>
                  <a:pt x="361" y="221"/>
                </a:cubicBezTo>
                <a:cubicBezTo>
                  <a:pt x="367" y="214"/>
                  <a:pt x="375" y="211"/>
                  <a:pt x="382" y="214"/>
                </a:cubicBezTo>
                <a:cubicBezTo>
                  <a:pt x="390" y="217"/>
                  <a:pt x="394" y="226"/>
                  <a:pt x="394" y="24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0"/>
                </a:moveTo>
                <a:cubicBezTo>
                  <a:pt x="416" y="217"/>
                  <a:pt x="406" y="200"/>
                  <a:pt x="389" y="194"/>
                </a:cubicBezTo>
                <a:cubicBezTo>
                  <a:pt x="374" y="188"/>
                  <a:pt x="357" y="193"/>
                  <a:pt x="345" y="206"/>
                </a:cubicBezTo>
                <a:cubicBezTo>
                  <a:pt x="343" y="208"/>
                  <a:pt x="342" y="209"/>
                  <a:pt x="341" y="210"/>
                </a:cubicBezTo>
                <a:cubicBezTo>
                  <a:pt x="341" y="160"/>
                  <a:pt x="341" y="160"/>
                  <a:pt x="341" y="160"/>
                </a:cubicBezTo>
                <a:cubicBezTo>
                  <a:pt x="341" y="154"/>
                  <a:pt x="336" y="149"/>
                  <a:pt x="330" y="149"/>
                </a:cubicBezTo>
                <a:cubicBezTo>
                  <a:pt x="246" y="149"/>
                  <a:pt x="246" y="149"/>
                  <a:pt x="246" y="149"/>
                </a:cubicBezTo>
                <a:cubicBezTo>
                  <a:pt x="242" y="149"/>
                  <a:pt x="238" y="152"/>
                  <a:pt x="237" y="156"/>
                </a:cubicBezTo>
                <a:cubicBezTo>
                  <a:pt x="234" y="163"/>
                  <a:pt x="236" y="170"/>
                  <a:pt x="259" y="190"/>
                </a:cubicBezTo>
                <a:cubicBezTo>
                  <a:pt x="265" y="196"/>
                  <a:pt x="268" y="204"/>
                  <a:pt x="265" y="211"/>
                </a:cubicBezTo>
                <a:cubicBezTo>
                  <a:pt x="262" y="219"/>
                  <a:pt x="253" y="224"/>
                  <a:pt x="240" y="224"/>
                </a:cubicBezTo>
                <a:cubicBezTo>
                  <a:pt x="208" y="224"/>
                  <a:pt x="208" y="224"/>
                  <a:pt x="208" y="224"/>
                </a:cubicBezTo>
                <a:cubicBezTo>
                  <a:pt x="194" y="224"/>
                  <a:pt x="185" y="219"/>
                  <a:pt x="182" y="211"/>
                </a:cubicBezTo>
                <a:cubicBezTo>
                  <a:pt x="179" y="204"/>
                  <a:pt x="182" y="196"/>
                  <a:pt x="189" y="190"/>
                </a:cubicBezTo>
                <a:cubicBezTo>
                  <a:pt x="211" y="170"/>
                  <a:pt x="214" y="163"/>
                  <a:pt x="211" y="156"/>
                </a:cubicBezTo>
                <a:cubicBezTo>
                  <a:pt x="209" y="152"/>
                  <a:pt x="205" y="149"/>
                  <a:pt x="201" y="149"/>
                </a:cubicBezTo>
                <a:cubicBezTo>
                  <a:pt x="117" y="149"/>
                  <a:pt x="117" y="149"/>
                  <a:pt x="117" y="149"/>
                </a:cubicBezTo>
                <a:cubicBezTo>
                  <a:pt x="111" y="149"/>
                  <a:pt x="106" y="154"/>
                  <a:pt x="106" y="160"/>
                </a:cubicBezTo>
                <a:cubicBezTo>
                  <a:pt x="106" y="373"/>
                  <a:pt x="106" y="373"/>
                  <a:pt x="106" y="373"/>
                </a:cubicBezTo>
                <a:cubicBezTo>
                  <a:pt x="106" y="379"/>
                  <a:pt x="111" y="384"/>
                  <a:pt x="117" y="384"/>
                </a:cubicBezTo>
                <a:cubicBezTo>
                  <a:pt x="330" y="384"/>
                  <a:pt x="330" y="384"/>
                  <a:pt x="330" y="384"/>
                </a:cubicBezTo>
                <a:cubicBezTo>
                  <a:pt x="336" y="384"/>
                  <a:pt x="341" y="379"/>
                  <a:pt x="341" y="373"/>
                </a:cubicBezTo>
                <a:cubicBezTo>
                  <a:pt x="341" y="301"/>
                  <a:pt x="341" y="301"/>
                  <a:pt x="341" y="301"/>
                </a:cubicBezTo>
                <a:cubicBezTo>
                  <a:pt x="342" y="302"/>
                  <a:pt x="343" y="303"/>
                  <a:pt x="345" y="305"/>
                </a:cubicBezTo>
                <a:cubicBezTo>
                  <a:pt x="357" y="318"/>
                  <a:pt x="374" y="323"/>
                  <a:pt x="389" y="317"/>
                </a:cubicBezTo>
                <a:cubicBezTo>
                  <a:pt x="406" y="311"/>
                  <a:pt x="416" y="294"/>
                  <a:pt x="416" y="272"/>
                </a:cubicBezTo>
                <a:lnTo>
                  <a:pt x="416" y="24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9" name="Group 669">
            <a:extLst>
              <a:ext uri="{FF2B5EF4-FFF2-40B4-BE49-F238E27FC236}">
                <a16:creationId xmlns:a16="http://schemas.microsoft.com/office/drawing/2014/main" id="{4A8C8153-9640-43F8-A6D5-E6B1B3D53CB7}"/>
              </a:ext>
            </a:extLst>
          </p:cNvPr>
          <p:cNvGrpSpPr>
            <a:grpSpLocks noChangeAspect="1"/>
          </p:cNvGrpSpPr>
          <p:nvPr/>
        </p:nvGrpSpPr>
        <p:grpSpPr bwMode="auto">
          <a:xfrm>
            <a:off x="9617250" y="1697038"/>
            <a:ext cx="369676" cy="369676"/>
            <a:chOff x="1910" y="2326"/>
            <a:chExt cx="340" cy="340"/>
          </a:xfrm>
          <a:solidFill>
            <a:schemeClr val="accent1"/>
          </a:solidFill>
        </p:grpSpPr>
        <p:sp>
          <p:nvSpPr>
            <p:cNvPr id="170" name="Freeform 670">
              <a:extLst>
                <a:ext uri="{FF2B5EF4-FFF2-40B4-BE49-F238E27FC236}">
                  <a16:creationId xmlns:a16="http://schemas.microsoft.com/office/drawing/2014/main" id="{F2D51378-6FF0-4425-91E2-DB4B1F97E65F}"/>
                </a:ext>
              </a:extLst>
            </p:cNvPr>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1" name="Freeform 671">
              <a:extLst>
                <a:ext uri="{FF2B5EF4-FFF2-40B4-BE49-F238E27FC236}">
                  <a16:creationId xmlns:a16="http://schemas.microsoft.com/office/drawing/2014/main" id="{CF60274A-E5AE-4906-8277-4C7687606FB4}"/>
                </a:ext>
              </a:extLst>
            </p:cNvPr>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72" name="Group 674">
            <a:extLst>
              <a:ext uri="{FF2B5EF4-FFF2-40B4-BE49-F238E27FC236}">
                <a16:creationId xmlns:a16="http://schemas.microsoft.com/office/drawing/2014/main" id="{290707D3-D9D2-4714-BFE4-C0416AA819B5}"/>
              </a:ext>
            </a:extLst>
          </p:cNvPr>
          <p:cNvGrpSpPr>
            <a:grpSpLocks noChangeAspect="1"/>
          </p:cNvGrpSpPr>
          <p:nvPr/>
        </p:nvGrpSpPr>
        <p:grpSpPr bwMode="auto">
          <a:xfrm>
            <a:off x="9181291" y="1697038"/>
            <a:ext cx="369676" cy="369676"/>
            <a:chOff x="1549" y="2327"/>
            <a:chExt cx="340" cy="340"/>
          </a:xfrm>
          <a:solidFill>
            <a:schemeClr val="accent1"/>
          </a:solidFill>
        </p:grpSpPr>
        <p:sp>
          <p:nvSpPr>
            <p:cNvPr id="173" name="Freeform 675">
              <a:extLst>
                <a:ext uri="{FF2B5EF4-FFF2-40B4-BE49-F238E27FC236}">
                  <a16:creationId xmlns:a16="http://schemas.microsoft.com/office/drawing/2014/main" id="{C660FA3B-84DE-4B25-A51D-4A9DBDE032AB}"/>
                </a:ext>
              </a:extLst>
            </p:cNvPr>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4" name="Freeform 676">
              <a:extLst>
                <a:ext uri="{FF2B5EF4-FFF2-40B4-BE49-F238E27FC236}">
                  <a16:creationId xmlns:a16="http://schemas.microsoft.com/office/drawing/2014/main" id="{DB34B6FD-78EE-472F-AFA8-AEBD065B74E0}"/>
                </a:ext>
              </a:extLst>
            </p:cNvPr>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5" name="Freeform 677">
              <a:extLst>
                <a:ext uri="{FF2B5EF4-FFF2-40B4-BE49-F238E27FC236}">
                  <a16:creationId xmlns:a16="http://schemas.microsoft.com/office/drawing/2014/main" id="{ABAABE9C-E230-4222-B95C-17B75C13482F}"/>
                </a:ext>
              </a:extLst>
            </p:cNvPr>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6" name="Freeform 678">
              <a:extLst>
                <a:ext uri="{FF2B5EF4-FFF2-40B4-BE49-F238E27FC236}">
                  <a16:creationId xmlns:a16="http://schemas.microsoft.com/office/drawing/2014/main" id="{5312F739-C159-4AB2-A4B7-E288F8A8ADD8}"/>
                </a:ext>
              </a:extLst>
            </p:cNvPr>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7" name="Freeform 679">
              <a:extLst>
                <a:ext uri="{FF2B5EF4-FFF2-40B4-BE49-F238E27FC236}">
                  <a16:creationId xmlns:a16="http://schemas.microsoft.com/office/drawing/2014/main" id="{1414DF6D-B049-42E1-B0A5-EEF0598CB8B8}"/>
                </a:ext>
              </a:extLst>
            </p:cNvPr>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8" name="Freeform 355">
            <a:extLst>
              <a:ext uri="{FF2B5EF4-FFF2-40B4-BE49-F238E27FC236}">
                <a16:creationId xmlns:a16="http://schemas.microsoft.com/office/drawing/2014/main" id="{30A42BD6-94A5-4D4F-9C21-303463EC7CC4}"/>
              </a:ext>
            </a:extLst>
          </p:cNvPr>
          <p:cNvSpPr>
            <a:spLocks noChangeAspect="1" noEditPoints="1"/>
          </p:cNvSpPr>
          <p:nvPr/>
        </p:nvSpPr>
        <p:spPr bwMode="auto">
          <a:xfrm>
            <a:off x="10053209" y="1697038"/>
            <a:ext cx="367041" cy="367041"/>
          </a:xfrm>
          <a:custGeom>
            <a:avLst/>
            <a:gdLst>
              <a:gd name="T0" fmla="*/ 320 w 512"/>
              <a:gd name="T1" fmla="*/ 192 h 512"/>
              <a:gd name="T2" fmla="*/ 181 w 512"/>
              <a:gd name="T3" fmla="*/ 181 h 512"/>
              <a:gd name="T4" fmla="*/ 117 w 512"/>
              <a:gd name="T5" fmla="*/ 170 h 512"/>
              <a:gd name="T6" fmla="*/ 394 w 512"/>
              <a:gd name="T7" fmla="*/ 352 h 512"/>
              <a:gd name="T8" fmla="*/ 330 w 512"/>
              <a:gd name="T9" fmla="*/ 170 h 512"/>
              <a:gd name="T10" fmla="*/ 234 w 512"/>
              <a:gd name="T11" fmla="*/ 298 h 512"/>
              <a:gd name="T12" fmla="*/ 149 w 512"/>
              <a:gd name="T13" fmla="*/ 309 h 512"/>
              <a:gd name="T14" fmla="*/ 138 w 512"/>
              <a:gd name="T15" fmla="*/ 224 h 512"/>
              <a:gd name="T16" fmla="*/ 224 w 512"/>
              <a:gd name="T17" fmla="*/ 213 h 512"/>
              <a:gd name="T18" fmla="*/ 234 w 512"/>
              <a:gd name="T19" fmla="*/ 298 h 512"/>
              <a:gd name="T20" fmla="*/ 277 w 512"/>
              <a:gd name="T21" fmla="*/ 320 h 512"/>
              <a:gd name="T22" fmla="*/ 277 w 512"/>
              <a:gd name="T23" fmla="*/ 298 h 512"/>
              <a:gd name="T24" fmla="*/ 373 w 512"/>
              <a:gd name="T25" fmla="*/ 309 h 512"/>
              <a:gd name="T26" fmla="*/ 362 w 512"/>
              <a:gd name="T27" fmla="*/ 277 h 512"/>
              <a:gd name="T28" fmla="*/ 266 w 512"/>
              <a:gd name="T29" fmla="*/ 266 h 512"/>
              <a:gd name="T30" fmla="*/ 362 w 512"/>
              <a:gd name="T31" fmla="*/ 256 h 512"/>
              <a:gd name="T32" fmla="*/ 362 w 512"/>
              <a:gd name="T33" fmla="*/ 277 h 512"/>
              <a:gd name="T34" fmla="*/ 362 w 512"/>
              <a:gd name="T35" fmla="*/ 234 h 512"/>
              <a:gd name="T36" fmla="*/ 266 w 512"/>
              <a:gd name="T37" fmla="*/ 224 h 512"/>
              <a:gd name="T38" fmla="*/ 362 w 512"/>
              <a:gd name="T39" fmla="*/ 213 h 512"/>
              <a:gd name="T40" fmla="*/ 160 w 512"/>
              <a:gd name="T41" fmla="*/ 234 h 512"/>
              <a:gd name="T42" fmla="*/ 213 w 512"/>
              <a:gd name="T43" fmla="*/ 288 h 512"/>
              <a:gd name="T44" fmla="*/ 160 w 512"/>
              <a:gd name="T45" fmla="*/ 234 h 512"/>
              <a:gd name="T46" fmla="*/ 0 w 512"/>
              <a:gd name="T47" fmla="*/ 256 h 512"/>
              <a:gd name="T48" fmla="*/ 512 w 512"/>
              <a:gd name="T49" fmla="*/ 256 h 512"/>
              <a:gd name="T50" fmla="*/ 416 w 512"/>
              <a:gd name="T51" fmla="*/ 362 h 512"/>
              <a:gd name="T52" fmla="*/ 106 w 512"/>
              <a:gd name="T53" fmla="*/ 373 h 512"/>
              <a:gd name="T54" fmla="*/ 96 w 512"/>
              <a:gd name="T55" fmla="*/ 160 h 512"/>
              <a:gd name="T56" fmla="*/ 181 w 512"/>
              <a:gd name="T57" fmla="*/ 149 h 512"/>
              <a:gd name="T58" fmla="*/ 192 w 512"/>
              <a:gd name="T59" fmla="*/ 128 h 512"/>
              <a:gd name="T60" fmla="*/ 330 w 512"/>
              <a:gd name="T61" fmla="*/ 138 h 512"/>
              <a:gd name="T62" fmla="*/ 405 w 512"/>
              <a:gd name="T63" fmla="*/ 149 h 512"/>
              <a:gd name="T64" fmla="*/ 416 w 512"/>
              <a:gd name="T65" fmla="*/ 362 h 512"/>
              <a:gd name="T66" fmla="*/ 202 w 512"/>
              <a:gd name="T67" fmla="*/ 170 h 512"/>
              <a:gd name="T68" fmla="*/ 202 w 512"/>
              <a:gd name="T69" fmla="*/ 160 h 512"/>
              <a:gd name="T70" fmla="*/ 202 w 512"/>
              <a:gd name="T71" fmla="*/ 149 h 512"/>
              <a:gd name="T72" fmla="*/ 309 w 512"/>
              <a:gd name="T73"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330" y="181"/>
                </a:moveTo>
                <a:cubicBezTo>
                  <a:pt x="330" y="187"/>
                  <a:pt x="326" y="192"/>
                  <a:pt x="320" y="192"/>
                </a:cubicBezTo>
                <a:cubicBezTo>
                  <a:pt x="192" y="192"/>
                  <a:pt x="192" y="192"/>
                  <a:pt x="192" y="192"/>
                </a:cubicBezTo>
                <a:cubicBezTo>
                  <a:pt x="186" y="192"/>
                  <a:pt x="181" y="187"/>
                  <a:pt x="181" y="181"/>
                </a:cubicBezTo>
                <a:cubicBezTo>
                  <a:pt x="181" y="170"/>
                  <a:pt x="181" y="170"/>
                  <a:pt x="181" y="170"/>
                </a:cubicBezTo>
                <a:cubicBezTo>
                  <a:pt x="117" y="170"/>
                  <a:pt x="117" y="170"/>
                  <a:pt x="117" y="170"/>
                </a:cubicBezTo>
                <a:cubicBezTo>
                  <a:pt x="117" y="352"/>
                  <a:pt x="117" y="352"/>
                  <a:pt x="117" y="352"/>
                </a:cubicBezTo>
                <a:cubicBezTo>
                  <a:pt x="394" y="352"/>
                  <a:pt x="394" y="352"/>
                  <a:pt x="394" y="352"/>
                </a:cubicBezTo>
                <a:cubicBezTo>
                  <a:pt x="394" y="170"/>
                  <a:pt x="394" y="170"/>
                  <a:pt x="394" y="170"/>
                </a:cubicBezTo>
                <a:cubicBezTo>
                  <a:pt x="330" y="170"/>
                  <a:pt x="330" y="170"/>
                  <a:pt x="330" y="170"/>
                </a:cubicBezTo>
                <a:lnTo>
                  <a:pt x="330" y="181"/>
                </a:lnTo>
                <a:close/>
                <a:moveTo>
                  <a:pt x="234" y="298"/>
                </a:moveTo>
                <a:cubicBezTo>
                  <a:pt x="234" y="304"/>
                  <a:pt x="230" y="309"/>
                  <a:pt x="224" y="309"/>
                </a:cubicBezTo>
                <a:cubicBezTo>
                  <a:pt x="149" y="309"/>
                  <a:pt x="149" y="309"/>
                  <a:pt x="149" y="309"/>
                </a:cubicBezTo>
                <a:cubicBezTo>
                  <a:pt x="143" y="309"/>
                  <a:pt x="138" y="304"/>
                  <a:pt x="138" y="298"/>
                </a:cubicBezTo>
                <a:cubicBezTo>
                  <a:pt x="138" y="224"/>
                  <a:pt x="138" y="224"/>
                  <a:pt x="138" y="224"/>
                </a:cubicBezTo>
                <a:cubicBezTo>
                  <a:pt x="138" y="218"/>
                  <a:pt x="143" y="213"/>
                  <a:pt x="149" y="213"/>
                </a:cubicBezTo>
                <a:cubicBezTo>
                  <a:pt x="224" y="213"/>
                  <a:pt x="224" y="213"/>
                  <a:pt x="224" y="213"/>
                </a:cubicBezTo>
                <a:cubicBezTo>
                  <a:pt x="230" y="213"/>
                  <a:pt x="234" y="218"/>
                  <a:pt x="234" y="224"/>
                </a:cubicBezTo>
                <a:lnTo>
                  <a:pt x="234" y="298"/>
                </a:lnTo>
                <a:close/>
                <a:moveTo>
                  <a:pt x="362" y="320"/>
                </a:move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ubicBezTo>
                  <a:pt x="373" y="315"/>
                  <a:pt x="368" y="320"/>
                  <a:pt x="362" y="320"/>
                </a:cubicBezTo>
                <a:close/>
                <a:moveTo>
                  <a:pt x="362" y="277"/>
                </a:move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ubicBezTo>
                  <a:pt x="373" y="272"/>
                  <a:pt x="368" y="277"/>
                  <a:pt x="362" y="277"/>
                </a:cubicBezTo>
                <a:close/>
                <a:moveTo>
                  <a:pt x="373" y="224"/>
                </a:moveTo>
                <a:cubicBezTo>
                  <a:pt x="373" y="230"/>
                  <a:pt x="368" y="234"/>
                  <a:pt x="362" y="234"/>
                </a:cubicBezTo>
                <a:cubicBezTo>
                  <a:pt x="277" y="234"/>
                  <a:pt x="277" y="234"/>
                  <a:pt x="277" y="234"/>
                </a:cubicBezTo>
                <a:cubicBezTo>
                  <a:pt x="271" y="234"/>
                  <a:pt x="266" y="230"/>
                  <a:pt x="266" y="224"/>
                </a:cubicBezTo>
                <a:cubicBezTo>
                  <a:pt x="266" y="218"/>
                  <a:pt x="271" y="213"/>
                  <a:pt x="277" y="213"/>
                </a:cubicBezTo>
                <a:cubicBezTo>
                  <a:pt x="362" y="213"/>
                  <a:pt x="362" y="213"/>
                  <a:pt x="362" y="213"/>
                </a:cubicBezTo>
                <a:cubicBezTo>
                  <a:pt x="368" y="213"/>
                  <a:pt x="373" y="218"/>
                  <a:pt x="373" y="224"/>
                </a:cubicBezTo>
                <a:close/>
                <a:moveTo>
                  <a:pt x="160" y="234"/>
                </a:moveTo>
                <a:cubicBezTo>
                  <a:pt x="213" y="234"/>
                  <a:pt x="213" y="234"/>
                  <a:pt x="213" y="234"/>
                </a:cubicBezTo>
                <a:cubicBezTo>
                  <a:pt x="213" y="288"/>
                  <a:pt x="213" y="288"/>
                  <a:pt x="213" y="288"/>
                </a:cubicBezTo>
                <a:cubicBezTo>
                  <a:pt x="160" y="288"/>
                  <a:pt x="160" y="288"/>
                  <a:pt x="160" y="288"/>
                </a:cubicBezTo>
                <a:lnTo>
                  <a:pt x="160"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60"/>
                  <a:pt x="96" y="160"/>
                  <a:pt x="96" y="160"/>
                </a:cubicBezTo>
                <a:cubicBezTo>
                  <a:pt x="96" y="154"/>
                  <a:pt x="100" y="149"/>
                  <a:pt x="106" y="149"/>
                </a:cubicBezTo>
                <a:cubicBezTo>
                  <a:pt x="181" y="149"/>
                  <a:pt x="181" y="149"/>
                  <a:pt x="181" y="149"/>
                </a:cubicBezTo>
                <a:cubicBezTo>
                  <a:pt x="181" y="138"/>
                  <a:pt x="181" y="138"/>
                  <a:pt x="181" y="138"/>
                </a:cubicBezTo>
                <a:cubicBezTo>
                  <a:pt x="181" y="132"/>
                  <a:pt x="186" y="128"/>
                  <a:pt x="192" y="128"/>
                </a:cubicBezTo>
                <a:cubicBezTo>
                  <a:pt x="320" y="128"/>
                  <a:pt x="320" y="128"/>
                  <a:pt x="320" y="128"/>
                </a:cubicBezTo>
                <a:cubicBezTo>
                  <a:pt x="326" y="128"/>
                  <a:pt x="330" y="132"/>
                  <a:pt x="330" y="138"/>
                </a:cubicBezTo>
                <a:cubicBezTo>
                  <a:pt x="330" y="149"/>
                  <a:pt x="330" y="149"/>
                  <a:pt x="330" y="149"/>
                </a:cubicBezTo>
                <a:cubicBezTo>
                  <a:pt x="405" y="149"/>
                  <a:pt x="405" y="149"/>
                  <a:pt x="405" y="149"/>
                </a:cubicBezTo>
                <a:cubicBezTo>
                  <a:pt x="411" y="149"/>
                  <a:pt x="416" y="154"/>
                  <a:pt x="416" y="160"/>
                </a:cubicBezTo>
                <a:lnTo>
                  <a:pt x="416" y="362"/>
                </a:lnTo>
                <a:close/>
                <a:moveTo>
                  <a:pt x="309" y="170"/>
                </a:move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cubicBezTo>
                  <a:pt x="309" y="149"/>
                  <a:pt x="309" y="149"/>
                  <a:pt x="309" y="149"/>
                </a:cubicBezTo>
                <a:lnTo>
                  <a:pt x="309" y="1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9" name="Freeform 359">
            <a:extLst>
              <a:ext uri="{FF2B5EF4-FFF2-40B4-BE49-F238E27FC236}">
                <a16:creationId xmlns:a16="http://schemas.microsoft.com/office/drawing/2014/main" id="{00B77045-9103-4EA0-BCF6-D83AA90696E7}"/>
              </a:ext>
            </a:extLst>
          </p:cNvPr>
          <p:cNvSpPr>
            <a:spLocks noChangeAspect="1" noEditPoints="1"/>
          </p:cNvSpPr>
          <p:nvPr/>
        </p:nvSpPr>
        <p:spPr bwMode="auto">
          <a:xfrm>
            <a:off x="10486533" y="1697038"/>
            <a:ext cx="367041" cy="36704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0" name="Freeform 580">
            <a:extLst>
              <a:ext uri="{FF2B5EF4-FFF2-40B4-BE49-F238E27FC236}">
                <a16:creationId xmlns:a16="http://schemas.microsoft.com/office/drawing/2014/main" id="{012C6451-DC1B-44A3-814F-4A9F572E7C6B}"/>
              </a:ext>
            </a:extLst>
          </p:cNvPr>
          <p:cNvSpPr>
            <a:spLocks noChangeAspect="1" noEditPoints="1"/>
          </p:cNvSpPr>
          <p:nvPr/>
        </p:nvSpPr>
        <p:spPr bwMode="auto">
          <a:xfrm>
            <a:off x="10919857" y="1697038"/>
            <a:ext cx="367982" cy="367982"/>
          </a:xfrm>
          <a:custGeom>
            <a:avLst/>
            <a:gdLst>
              <a:gd name="T0" fmla="*/ 176 w 512"/>
              <a:gd name="T1" fmla="*/ 170 h 512"/>
              <a:gd name="T2" fmla="*/ 352 w 512"/>
              <a:gd name="T3" fmla="*/ 170 h 512"/>
              <a:gd name="T4" fmla="*/ 352 w 512"/>
              <a:gd name="T5" fmla="*/ 394 h 512"/>
              <a:gd name="T6" fmla="*/ 176 w 512"/>
              <a:gd name="T7" fmla="*/ 394 h 512"/>
              <a:gd name="T8" fmla="*/ 160 w 512"/>
              <a:gd name="T9" fmla="*/ 378 h 512"/>
              <a:gd name="T10" fmla="*/ 160 w 512"/>
              <a:gd name="T11" fmla="*/ 167 h 512"/>
              <a:gd name="T12" fmla="*/ 176 w 512"/>
              <a:gd name="T13" fmla="*/ 170 h 512"/>
              <a:gd name="T14" fmla="*/ 176 w 512"/>
              <a:gd name="T15" fmla="*/ 149 h 512"/>
              <a:gd name="T16" fmla="*/ 323 w 512"/>
              <a:gd name="T17" fmla="*/ 149 h 512"/>
              <a:gd name="T18" fmla="*/ 320 w 512"/>
              <a:gd name="T19" fmla="*/ 133 h 512"/>
              <a:gd name="T20" fmla="*/ 323 w 512"/>
              <a:gd name="T21" fmla="*/ 117 h 512"/>
              <a:gd name="T22" fmla="*/ 176 w 512"/>
              <a:gd name="T23" fmla="*/ 117 h 512"/>
              <a:gd name="T24" fmla="*/ 160 w 512"/>
              <a:gd name="T25" fmla="*/ 133 h 512"/>
              <a:gd name="T26" fmla="*/ 176 w 512"/>
              <a:gd name="T27" fmla="*/ 149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133 h 512"/>
              <a:gd name="T40" fmla="*/ 346 w 512"/>
              <a:gd name="T41" fmla="*/ 117 h 512"/>
              <a:gd name="T42" fmla="*/ 364 w 512"/>
              <a:gd name="T43" fmla="*/ 117 h 512"/>
              <a:gd name="T44" fmla="*/ 373 w 512"/>
              <a:gd name="T45" fmla="*/ 106 h 512"/>
              <a:gd name="T46" fmla="*/ 364 w 512"/>
              <a:gd name="T47" fmla="*/ 96 h 512"/>
              <a:gd name="T48" fmla="*/ 176 w 512"/>
              <a:gd name="T49" fmla="*/ 96 h 512"/>
              <a:gd name="T50" fmla="*/ 138 w 512"/>
              <a:gd name="T51" fmla="*/ 133 h 512"/>
              <a:gd name="T52" fmla="*/ 138 w 512"/>
              <a:gd name="T53" fmla="*/ 378 h 512"/>
              <a:gd name="T54" fmla="*/ 176 w 512"/>
              <a:gd name="T55" fmla="*/ 416 h 512"/>
              <a:gd name="T56" fmla="*/ 362 w 512"/>
              <a:gd name="T57" fmla="*/ 416 h 512"/>
              <a:gd name="T58" fmla="*/ 373 w 512"/>
              <a:gd name="T59" fmla="*/ 405 h 512"/>
              <a:gd name="T60" fmla="*/ 373 w 512"/>
              <a:gd name="T61" fmla="*/ 160 h 512"/>
              <a:gd name="T62" fmla="*/ 362 w 512"/>
              <a:gd name="T63" fmla="*/ 149 h 512"/>
              <a:gd name="T64" fmla="*/ 346 w 512"/>
              <a:gd name="T65" fmla="*/ 149 h 512"/>
              <a:gd name="T66" fmla="*/ 341 w 512"/>
              <a:gd name="T67" fmla="*/ 13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76" y="170"/>
                </a:moveTo>
                <a:cubicBezTo>
                  <a:pt x="178" y="170"/>
                  <a:pt x="352" y="170"/>
                  <a:pt x="352" y="170"/>
                </a:cubicBezTo>
                <a:cubicBezTo>
                  <a:pt x="352" y="394"/>
                  <a:pt x="352" y="394"/>
                  <a:pt x="352" y="394"/>
                </a:cubicBezTo>
                <a:cubicBezTo>
                  <a:pt x="176" y="394"/>
                  <a:pt x="176" y="394"/>
                  <a:pt x="176" y="394"/>
                </a:cubicBezTo>
                <a:cubicBezTo>
                  <a:pt x="167" y="394"/>
                  <a:pt x="160" y="387"/>
                  <a:pt x="160" y="378"/>
                </a:cubicBezTo>
                <a:cubicBezTo>
                  <a:pt x="160" y="167"/>
                  <a:pt x="160" y="167"/>
                  <a:pt x="160" y="167"/>
                </a:cubicBezTo>
                <a:cubicBezTo>
                  <a:pt x="165" y="169"/>
                  <a:pt x="170" y="170"/>
                  <a:pt x="176" y="170"/>
                </a:cubicBezTo>
                <a:close/>
                <a:moveTo>
                  <a:pt x="176" y="149"/>
                </a:moveTo>
                <a:cubicBezTo>
                  <a:pt x="177" y="149"/>
                  <a:pt x="268" y="149"/>
                  <a:pt x="323" y="149"/>
                </a:cubicBezTo>
                <a:cubicBezTo>
                  <a:pt x="321" y="144"/>
                  <a:pt x="320" y="139"/>
                  <a:pt x="320" y="133"/>
                </a:cubicBezTo>
                <a:cubicBezTo>
                  <a:pt x="320" y="127"/>
                  <a:pt x="321" y="122"/>
                  <a:pt x="323" y="117"/>
                </a:cubicBezTo>
                <a:cubicBezTo>
                  <a:pt x="176" y="117"/>
                  <a:pt x="176" y="117"/>
                  <a:pt x="176" y="117"/>
                </a:cubicBezTo>
                <a:cubicBezTo>
                  <a:pt x="167" y="117"/>
                  <a:pt x="160" y="124"/>
                  <a:pt x="160" y="133"/>
                </a:cubicBezTo>
                <a:cubicBezTo>
                  <a:pt x="160" y="142"/>
                  <a:pt x="167" y="149"/>
                  <a:pt x="176" y="14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33"/>
                </a:moveTo>
                <a:cubicBezTo>
                  <a:pt x="341" y="127"/>
                  <a:pt x="343" y="122"/>
                  <a:pt x="346" y="117"/>
                </a:cubicBezTo>
                <a:cubicBezTo>
                  <a:pt x="364" y="117"/>
                  <a:pt x="364" y="117"/>
                  <a:pt x="364" y="117"/>
                </a:cubicBezTo>
                <a:cubicBezTo>
                  <a:pt x="369" y="117"/>
                  <a:pt x="373" y="112"/>
                  <a:pt x="373" y="106"/>
                </a:cubicBezTo>
                <a:cubicBezTo>
                  <a:pt x="373" y="100"/>
                  <a:pt x="369" y="96"/>
                  <a:pt x="364" y="96"/>
                </a:cubicBezTo>
                <a:cubicBezTo>
                  <a:pt x="176" y="96"/>
                  <a:pt x="176" y="96"/>
                  <a:pt x="176" y="96"/>
                </a:cubicBezTo>
                <a:cubicBezTo>
                  <a:pt x="155" y="96"/>
                  <a:pt x="138" y="112"/>
                  <a:pt x="138" y="133"/>
                </a:cubicBezTo>
                <a:cubicBezTo>
                  <a:pt x="138" y="378"/>
                  <a:pt x="138" y="378"/>
                  <a:pt x="138" y="378"/>
                </a:cubicBezTo>
                <a:cubicBezTo>
                  <a:pt x="138" y="399"/>
                  <a:pt x="155" y="416"/>
                  <a:pt x="176" y="416"/>
                </a:cubicBezTo>
                <a:cubicBezTo>
                  <a:pt x="362" y="416"/>
                  <a:pt x="362" y="416"/>
                  <a:pt x="362" y="416"/>
                </a:cubicBezTo>
                <a:cubicBezTo>
                  <a:pt x="368" y="416"/>
                  <a:pt x="373" y="411"/>
                  <a:pt x="373" y="405"/>
                </a:cubicBezTo>
                <a:cubicBezTo>
                  <a:pt x="373" y="160"/>
                  <a:pt x="373" y="160"/>
                  <a:pt x="373" y="160"/>
                </a:cubicBezTo>
                <a:cubicBezTo>
                  <a:pt x="373" y="154"/>
                  <a:pt x="368" y="149"/>
                  <a:pt x="362" y="149"/>
                </a:cubicBezTo>
                <a:cubicBezTo>
                  <a:pt x="362" y="149"/>
                  <a:pt x="356" y="149"/>
                  <a:pt x="346" y="149"/>
                </a:cubicBezTo>
                <a:cubicBezTo>
                  <a:pt x="343" y="144"/>
                  <a:pt x="341" y="139"/>
                  <a:pt x="341" y="1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1" name="Group 583">
            <a:extLst>
              <a:ext uri="{FF2B5EF4-FFF2-40B4-BE49-F238E27FC236}">
                <a16:creationId xmlns:a16="http://schemas.microsoft.com/office/drawing/2014/main" id="{72256EC7-BA5C-4D97-80E5-E7F079E3D287}"/>
              </a:ext>
            </a:extLst>
          </p:cNvPr>
          <p:cNvGrpSpPr>
            <a:grpSpLocks noChangeAspect="1"/>
          </p:cNvGrpSpPr>
          <p:nvPr/>
        </p:nvGrpSpPr>
        <p:grpSpPr bwMode="auto">
          <a:xfrm>
            <a:off x="11354118" y="1697038"/>
            <a:ext cx="367982" cy="367982"/>
            <a:chOff x="3390" y="3000"/>
            <a:chExt cx="340" cy="340"/>
          </a:xfrm>
          <a:solidFill>
            <a:schemeClr val="accent1"/>
          </a:solidFill>
        </p:grpSpPr>
        <p:sp>
          <p:nvSpPr>
            <p:cNvPr id="182" name="Freeform 584">
              <a:extLst>
                <a:ext uri="{FF2B5EF4-FFF2-40B4-BE49-F238E27FC236}">
                  <a16:creationId xmlns:a16="http://schemas.microsoft.com/office/drawing/2014/main" id="{BC2D62BC-0CF6-44E7-BAA0-18E6A525FE6B}"/>
                </a:ext>
              </a:extLst>
            </p:cNvPr>
            <p:cNvSpPr>
              <a:spLocks noEditPoints="1"/>
            </p:cNvSpPr>
            <p:nvPr/>
          </p:nvSpPr>
          <p:spPr bwMode="auto">
            <a:xfrm>
              <a:off x="3390" y="3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3" name="Freeform 585">
              <a:extLst>
                <a:ext uri="{FF2B5EF4-FFF2-40B4-BE49-F238E27FC236}">
                  <a16:creationId xmlns:a16="http://schemas.microsoft.com/office/drawing/2014/main" id="{FCEC6FBD-CEEF-4EFD-821A-4D2391CC7E46}"/>
                </a:ext>
              </a:extLst>
            </p:cNvPr>
            <p:cNvSpPr>
              <a:spLocks noEditPoints="1"/>
            </p:cNvSpPr>
            <p:nvPr/>
          </p:nvSpPr>
          <p:spPr bwMode="auto">
            <a:xfrm>
              <a:off x="3482" y="3064"/>
              <a:ext cx="156" cy="212"/>
            </a:xfrm>
            <a:custGeom>
              <a:avLst/>
              <a:gdLst>
                <a:gd name="T0" fmla="*/ 224 w 235"/>
                <a:gd name="T1" fmla="*/ 53 h 320"/>
                <a:gd name="T2" fmla="*/ 208 w 235"/>
                <a:gd name="T3" fmla="*/ 53 h 320"/>
                <a:gd name="T4" fmla="*/ 203 w 235"/>
                <a:gd name="T5" fmla="*/ 37 h 320"/>
                <a:gd name="T6" fmla="*/ 208 w 235"/>
                <a:gd name="T7" fmla="*/ 21 h 320"/>
                <a:gd name="T8" fmla="*/ 226 w 235"/>
                <a:gd name="T9" fmla="*/ 21 h 320"/>
                <a:gd name="T10" fmla="*/ 235 w 235"/>
                <a:gd name="T11" fmla="*/ 10 h 320"/>
                <a:gd name="T12" fmla="*/ 226 w 235"/>
                <a:gd name="T13" fmla="*/ 0 h 320"/>
                <a:gd name="T14" fmla="*/ 38 w 235"/>
                <a:gd name="T15" fmla="*/ 0 h 320"/>
                <a:gd name="T16" fmla="*/ 0 w 235"/>
                <a:gd name="T17" fmla="*/ 37 h 320"/>
                <a:gd name="T18" fmla="*/ 0 w 235"/>
                <a:gd name="T19" fmla="*/ 282 h 320"/>
                <a:gd name="T20" fmla="*/ 38 w 235"/>
                <a:gd name="T21" fmla="*/ 320 h 320"/>
                <a:gd name="T22" fmla="*/ 224 w 235"/>
                <a:gd name="T23" fmla="*/ 320 h 320"/>
                <a:gd name="T24" fmla="*/ 235 w 235"/>
                <a:gd name="T25" fmla="*/ 309 h 320"/>
                <a:gd name="T26" fmla="*/ 235 w 235"/>
                <a:gd name="T27" fmla="*/ 64 h 320"/>
                <a:gd name="T28" fmla="*/ 224 w 235"/>
                <a:gd name="T29" fmla="*/ 53 h 320"/>
                <a:gd name="T30" fmla="*/ 38 w 235"/>
                <a:gd name="T31" fmla="*/ 21 h 320"/>
                <a:gd name="T32" fmla="*/ 185 w 235"/>
                <a:gd name="T33" fmla="*/ 21 h 320"/>
                <a:gd name="T34" fmla="*/ 182 w 235"/>
                <a:gd name="T35" fmla="*/ 37 h 320"/>
                <a:gd name="T36" fmla="*/ 185 w 235"/>
                <a:gd name="T37" fmla="*/ 53 h 320"/>
                <a:gd name="T38" fmla="*/ 38 w 235"/>
                <a:gd name="T39" fmla="*/ 53 h 320"/>
                <a:gd name="T40" fmla="*/ 22 w 235"/>
                <a:gd name="T41" fmla="*/ 37 h 320"/>
                <a:gd name="T42" fmla="*/ 38 w 235"/>
                <a:gd name="T43" fmla="*/ 21 h 320"/>
                <a:gd name="T44" fmla="*/ 214 w 235"/>
                <a:gd name="T45" fmla="*/ 298 h 320"/>
                <a:gd name="T46" fmla="*/ 38 w 235"/>
                <a:gd name="T47" fmla="*/ 298 h 320"/>
                <a:gd name="T48" fmla="*/ 22 w 235"/>
                <a:gd name="T49" fmla="*/ 282 h 320"/>
                <a:gd name="T50" fmla="*/ 22 w 235"/>
                <a:gd name="T51" fmla="*/ 71 h 320"/>
                <a:gd name="T52" fmla="*/ 38 w 235"/>
                <a:gd name="T53" fmla="*/ 74 h 320"/>
                <a:gd name="T54" fmla="*/ 214 w 235"/>
                <a:gd name="T55" fmla="*/ 74 h 320"/>
                <a:gd name="T56" fmla="*/ 214 w 235"/>
                <a:gd name="T5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5" h="320">
                  <a:moveTo>
                    <a:pt x="224" y="53"/>
                  </a:moveTo>
                  <a:cubicBezTo>
                    <a:pt x="224" y="53"/>
                    <a:pt x="218" y="53"/>
                    <a:pt x="208" y="53"/>
                  </a:cubicBezTo>
                  <a:cubicBezTo>
                    <a:pt x="205" y="48"/>
                    <a:pt x="203" y="43"/>
                    <a:pt x="203" y="37"/>
                  </a:cubicBezTo>
                  <a:cubicBezTo>
                    <a:pt x="203" y="31"/>
                    <a:pt x="205" y="26"/>
                    <a:pt x="208" y="21"/>
                  </a:cubicBezTo>
                  <a:cubicBezTo>
                    <a:pt x="226" y="21"/>
                    <a:pt x="226" y="21"/>
                    <a:pt x="226" y="21"/>
                  </a:cubicBezTo>
                  <a:cubicBezTo>
                    <a:pt x="231" y="21"/>
                    <a:pt x="235" y="16"/>
                    <a:pt x="235" y="10"/>
                  </a:cubicBezTo>
                  <a:cubicBezTo>
                    <a:pt x="235" y="4"/>
                    <a:pt x="231" y="0"/>
                    <a:pt x="226" y="0"/>
                  </a:cubicBezTo>
                  <a:cubicBezTo>
                    <a:pt x="38" y="0"/>
                    <a:pt x="38" y="0"/>
                    <a:pt x="38" y="0"/>
                  </a:cubicBezTo>
                  <a:cubicBezTo>
                    <a:pt x="17" y="0"/>
                    <a:pt x="0" y="16"/>
                    <a:pt x="0" y="37"/>
                  </a:cubicBezTo>
                  <a:cubicBezTo>
                    <a:pt x="0" y="282"/>
                    <a:pt x="0" y="282"/>
                    <a:pt x="0" y="282"/>
                  </a:cubicBezTo>
                  <a:cubicBezTo>
                    <a:pt x="0" y="303"/>
                    <a:pt x="17" y="320"/>
                    <a:pt x="38" y="320"/>
                  </a:cubicBezTo>
                  <a:cubicBezTo>
                    <a:pt x="224" y="320"/>
                    <a:pt x="224" y="320"/>
                    <a:pt x="224" y="320"/>
                  </a:cubicBezTo>
                  <a:cubicBezTo>
                    <a:pt x="230" y="320"/>
                    <a:pt x="235" y="315"/>
                    <a:pt x="235" y="309"/>
                  </a:cubicBezTo>
                  <a:cubicBezTo>
                    <a:pt x="235" y="64"/>
                    <a:pt x="235" y="64"/>
                    <a:pt x="235" y="64"/>
                  </a:cubicBezTo>
                  <a:cubicBezTo>
                    <a:pt x="235" y="58"/>
                    <a:pt x="230" y="53"/>
                    <a:pt x="224" y="53"/>
                  </a:cubicBezTo>
                  <a:close/>
                  <a:moveTo>
                    <a:pt x="38" y="21"/>
                  </a:moveTo>
                  <a:cubicBezTo>
                    <a:pt x="185" y="21"/>
                    <a:pt x="185" y="21"/>
                    <a:pt x="185" y="21"/>
                  </a:cubicBezTo>
                  <a:cubicBezTo>
                    <a:pt x="183" y="26"/>
                    <a:pt x="182" y="31"/>
                    <a:pt x="182" y="37"/>
                  </a:cubicBezTo>
                  <a:cubicBezTo>
                    <a:pt x="182" y="43"/>
                    <a:pt x="183" y="48"/>
                    <a:pt x="185" y="53"/>
                  </a:cubicBezTo>
                  <a:cubicBezTo>
                    <a:pt x="130" y="53"/>
                    <a:pt x="39" y="53"/>
                    <a:pt x="38" y="53"/>
                  </a:cubicBezTo>
                  <a:cubicBezTo>
                    <a:pt x="29" y="53"/>
                    <a:pt x="22" y="46"/>
                    <a:pt x="22" y="37"/>
                  </a:cubicBezTo>
                  <a:cubicBezTo>
                    <a:pt x="22" y="28"/>
                    <a:pt x="29" y="21"/>
                    <a:pt x="38" y="21"/>
                  </a:cubicBezTo>
                  <a:close/>
                  <a:moveTo>
                    <a:pt x="214" y="298"/>
                  </a:moveTo>
                  <a:cubicBezTo>
                    <a:pt x="38" y="298"/>
                    <a:pt x="38" y="298"/>
                    <a:pt x="38" y="298"/>
                  </a:cubicBezTo>
                  <a:cubicBezTo>
                    <a:pt x="29" y="298"/>
                    <a:pt x="22" y="291"/>
                    <a:pt x="22" y="282"/>
                  </a:cubicBezTo>
                  <a:cubicBezTo>
                    <a:pt x="22" y="71"/>
                    <a:pt x="22" y="71"/>
                    <a:pt x="22" y="71"/>
                  </a:cubicBezTo>
                  <a:cubicBezTo>
                    <a:pt x="27" y="73"/>
                    <a:pt x="32" y="74"/>
                    <a:pt x="38" y="74"/>
                  </a:cubicBezTo>
                  <a:cubicBezTo>
                    <a:pt x="40" y="74"/>
                    <a:pt x="214" y="74"/>
                    <a:pt x="214" y="74"/>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4" name="Group 675">
            <a:extLst>
              <a:ext uri="{FF2B5EF4-FFF2-40B4-BE49-F238E27FC236}">
                <a16:creationId xmlns:a16="http://schemas.microsoft.com/office/drawing/2014/main" id="{153F6B30-DD20-4135-9D12-8AEE52094DA4}"/>
              </a:ext>
            </a:extLst>
          </p:cNvPr>
          <p:cNvGrpSpPr>
            <a:grpSpLocks noChangeAspect="1"/>
          </p:cNvGrpSpPr>
          <p:nvPr/>
        </p:nvGrpSpPr>
        <p:grpSpPr bwMode="auto">
          <a:xfrm>
            <a:off x="943597" y="2551181"/>
            <a:ext cx="369021" cy="369021"/>
            <a:chOff x="6583" y="2681"/>
            <a:chExt cx="340" cy="340"/>
          </a:xfrm>
          <a:solidFill>
            <a:schemeClr val="accent2"/>
          </a:solidFill>
        </p:grpSpPr>
        <p:sp>
          <p:nvSpPr>
            <p:cNvPr id="185" name="Freeform 676">
              <a:extLst>
                <a:ext uri="{FF2B5EF4-FFF2-40B4-BE49-F238E27FC236}">
                  <a16:creationId xmlns:a16="http://schemas.microsoft.com/office/drawing/2014/main" id="{BA2D3F3D-7451-4BAE-99E0-EEA4A86762FB}"/>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6" name="Freeform 677">
              <a:extLst>
                <a:ext uri="{FF2B5EF4-FFF2-40B4-BE49-F238E27FC236}">
                  <a16:creationId xmlns:a16="http://schemas.microsoft.com/office/drawing/2014/main" id="{338FE937-9207-426D-97B2-88A61ECF27A1}"/>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7" name="Freeform 678">
              <a:extLst>
                <a:ext uri="{FF2B5EF4-FFF2-40B4-BE49-F238E27FC236}">
                  <a16:creationId xmlns:a16="http://schemas.microsoft.com/office/drawing/2014/main" id="{C8C17630-1F9E-45CE-A064-BE84A0EB0BD5}"/>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8" name="Group 681">
            <a:extLst>
              <a:ext uri="{FF2B5EF4-FFF2-40B4-BE49-F238E27FC236}">
                <a16:creationId xmlns:a16="http://schemas.microsoft.com/office/drawing/2014/main" id="{B0C7F96C-4C0A-4BE4-BA59-AD43FBEA744C}"/>
              </a:ext>
            </a:extLst>
          </p:cNvPr>
          <p:cNvGrpSpPr>
            <a:grpSpLocks noChangeAspect="1"/>
          </p:cNvGrpSpPr>
          <p:nvPr/>
        </p:nvGrpSpPr>
        <p:grpSpPr bwMode="auto">
          <a:xfrm>
            <a:off x="491949" y="2551181"/>
            <a:ext cx="369021" cy="369021"/>
            <a:chOff x="6210" y="2696"/>
            <a:chExt cx="340" cy="340"/>
          </a:xfrm>
          <a:solidFill>
            <a:schemeClr val="accent2"/>
          </a:solidFill>
        </p:grpSpPr>
        <p:sp>
          <p:nvSpPr>
            <p:cNvPr id="189" name="Freeform 682">
              <a:extLst>
                <a:ext uri="{FF2B5EF4-FFF2-40B4-BE49-F238E27FC236}">
                  <a16:creationId xmlns:a16="http://schemas.microsoft.com/office/drawing/2014/main" id="{31A4477D-E653-4EBB-A05D-905E9CD6E7B0}"/>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0" name="Freeform 683">
              <a:extLst>
                <a:ext uri="{FF2B5EF4-FFF2-40B4-BE49-F238E27FC236}">
                  <a16:creationId xmlns:a16="http://schemas.microsoft.com/office/drawing/2014/main" id="{470A2CA5-1AC5-4CF4-B618-04120D58F51D}"/>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1" name="Oval 684">
              <a:extLst>
                <a:ext uri="{FF2B5EF4-FFF2-40B4-BE49-F238E27FC236}">
                  <a16:creationId xmlns:a16="http://schemas.microsoft.com/office/drawing/2014/main" id="{C7DF85E4-97FB-4ADE-8294-01B21AEF7397}"/>
                </a:ext>
              </a:extLst>
            </p:cNvPr>
            <p:cNvSpPr>
              <a:spLocks noChangeArrowheads="1"/>
            </p:cNvSpPr>
            <p:nvPr/>
          </p:nvSpPr>
          <p:spPr bwMode="auto">
            <a:xfrm>
              <a:off x="6359" y="2816"/>
              <a:ext cx="42" cy="4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2" name="Freeform 685">
              <a:extLst>
                <a:ext uri="{FF2B5EF4-FFF2-40B4-BE49-F238E27FC236}">
                  <a16:creationId xmlns:a16="http://schemas.microsoft.com/office/drawing/2014/main" id="{23DCB8B0-8FB8-4BF8-8A7A-B4C38FD1DD16}"/>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97614208"/>
      </p:ext>
    </p:extLst>
  </p:cSld>
  <p:clrMapOvr>
    <a:masterClrMapping/>
  </p:clrMapOvr>
  <p:transition>
    <p:fade/>
  </p:transition>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Financial services</a:t>
            </a:r>
            <a:endParaRPr lang="en-GB" dirty="0"/>
          </a:p>
        </p:txBody>
      </p:sp>
      <p:sp>
        <p:nvSpPr>
          <p:cNvPr id="4" name="Title 3"/>
          <p:cNvSpPr>
            <a:spLocks noGrp="1"/>
          </p:cNvSpPr>
          <p:nvPr>
            <p:ph type="title"/>
          </p:nvPr>
        </p:nvSpPr>
        <p:spPr/>
        <p:txBody>
          <a:bodyPr/>
          <a:lstStyle/>
          <a:p>
            <a:r>
              <a:rPr lang="en-GB" dirty="0"/>
              <a:t>Iconography</a:t>
            </a:r>
          </a:p>
        </p:txBody>
      </p:sp>
      <p:sp>
        <p:nvSpPr>
          <p:cNvPr id="101" name="TextBox 100">
            <a:extLst>
              <a:ext uri="{FF2B5EF4-FFF2-40B4-BE49-F238E27FC236}">
                <a16:creationId xmlns:a16="http://schemas.microsoft.com/office/drawing/2014/main" id="{C03298D1-8D2E-4460-AEC6-7E583CC22699}"/>
              </a:ext>
            </a:extLst>
          </p:cNvPr>
          <p:cNvSpPr txBox="1"/>
          <p:nvPr/>
        </p:nvSpPr>
        <p:spPr>
          <a:xfrm>
            <a:off x="464675" y="209560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uro</a:t>
            </a:r>
          </a:p>
        </p:txBody>
      </p:sp>
      <p:sp>
        <p:nvSpPr>
          <p:cNvPr id="102" name="TextBox 101">
            <a:extLst>
              <a:ext uri="{FF2B5EF4-FFF2-40B4-BE49-F238E27FC236}">
                <a16:creationId xmlns:a16="http://schemas.microsoft.com/office/drawing/2014/main" id="{510A7454-53F7-44B2-B660-7DD3E6659910}"/>
              </a:ext>
            </a:extLst>
          </p:cNvPr>
          <p:cNvSpPr txBox="1"/>
          <p:nvPr/>
        </p:nvSpPr>
        <p:spPr>
          <a:xfrm>
            <a:off x="1325222" y="209560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lls</a:t>
            </a:r>
          </a:p>
        </p:txBody>
      </p:sp>
      <p:sp>
        <p:nvSpPr>
          <p:cNvPr id="103" name="TextBox 102">
            <a:extLst>
              <a:ext uri="{FF2B5EF4-FFF2-40B4-BE49-F238E27FC236}">
                <a16:creationId xmlns:a16="http://schemas.microsoft.com/office/drawing/2014/main" id="{FFCCD4D1-F766-4AA2-A1BB-5DE38981F36D}"/>
              </a:ext>
            </a:extLst>
          </p:cNvPr>
          <p:cNvSpPr txBox="1"/>
          <p:nvPr/>
        </p:nvSpPr>
        <p:spPr>
          <a:xfrm>
            <a:off x="2200586"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und</a:t>
            </a:r>
          </a:p>
        </p:txBody>
      </p:sp>
      <p:sp>
        <p:nvSpPr>
          <p:cNvPr id="104" name="TextBox 103">
            <a:extLst>
              <a:ext uri="{FF2B5EF4-FFF2-40B4-BE49-F238E27FC236}">
                <a16:creationId xmlns:a16="http://schemas.microsoft.com/office/drawing/2014/main" id="{5A86607D-9A49-431E-86BE-3178269E006C}"/>
              </a:ext>
            </a:extLst>
          </p:cNvPr>
          <p:cNvSpPr txBox="1"/>
          <p:nvPr/>
        </p:nvSpPr>
        <p:spPr>
          <a:xfrm>
            <a:off x="3944964"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ggy bank</a:t>
            </a:r>
          </a:p>
        </p:txBody>
      </p:sp>
      <p:sp>
        <p:nvSpPr>
          <p:cNvPr id="105" name="TextBox 104">
            <a:extLst>
              <a:ext uri="{FF2B5EF4-FFF2-40B4-BE49-F238E27FC236}">
                <a16:creationId xmlns:a16="http://schemas.microsoft.com/office/drawing/2014/main" id="{8BAB33CD-72BB-4ADD-A7BD-575F90BDEA2C}"/>
              </a:ext>
            </a:extLst>
          </p:cNvPr>
          <p:cNvSpPr txBox="1"/>
          <p:nvPr/>
        </p:nvSpPr>
        <p:spPr>
          <a:xfrm>
            <a:off x="4817153"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llar</a:t>
            </a:r>
          </a:p>
        </p:txBody>
      </p:sp>
      <p:sp>
        <p:nvSpPr>
          <p:cNvPr id="106" name="TextBox 105">
            <a:extLst>
              <a:ext uri="{FF2B5EF4-FFF2-40B4-BE49-F238E27FC236}">
                <a16:creationId xmlns:a16="http://schemas.microsoft.com/office/drawing/2014/main" id="{F7F72EB6-4302-4853-8AF6-32AD35B28553}"/>
              </a:ext>
            </a:extLst>
          </p:cNvPr>
          <p:cNvSpPr txBox="1"/>
          <p:nvPr/>
        </p:nvSpPr>
        <p:spPr>
          <a:xfrm>
            <a:off x="3072775"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Yen</a:t>
            </a:r>
          </a:p>
        </p:txBody>
      </p:sp>
      <p:sp>
        <p:nvSpPr>
          <p:cNvPr id="107" name="TextBox 106">
            <a:extLst>
              <a:ext uri="{FF2B5EF4-FFF2-40B4-BE49-F238E27FC236}">
                <a16:creationId xmlns:a16="http://schemas.microsoft.com/office/drawing/2014/main" id="{48F7157F-D6D4-47FD-8DDF-52A0604D32F9}"/>
              </a:ext>
            </a:extLst>
          </p:cNvPr>
          <p:cNvSpPr txBox="1"/>
          <p:nvPr/>
        </p:nvSpPr>
        <p:spPr>
          <a:xfrm>
            <a:off x="5689342"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ublic building</a:t>
            </a:r>
          </a:p>
        </p:txBody>
      </p:sp>
      <p:sp>
        <p:nvSpPr>
          <p:cNvPr id="108" name="TextBox 107">
            <a:extLst>
              <a:ext uri="{FF2B5EF4-FFF2-40B4-BE49-F238E27FC236}">
                <a16:creationId xmlns:a16="http://schemas.microsoft.com/office/drawing/2014/main" id="{17623AF1-C795-44B5-B1BE-F9747F7681DB}"/>
              </a:ext>
            </a:extLst>
          </p:cNvPr>
          <p:cNvSpPr txBox="1"/>
          <p:nvPr/>
        </p:nvSpPr>
        <p:spPr>
          <a:xfrm>
            <a:off x="7433720"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t-coin</a:t>
            </a:r>
          </a:p>
        </p:txBody>
      </p:sp>
      <p:sp>
        <p:nvSpPr>
          <p:cNvPr id="109" name="TextBox 108">
            <a:extLst>
              <a:ext uri="{FF2B5EF4-FFF2-40B4-BE49-F238E27FC236}">
                <a16:creationId xmlns:a16="http://schemas.microsoft.com/office/drawing/2014/main" id="{C176B0B7-9119-4529-8C17-B50850CF7BDB}"/>
              </a:ext>
            </a:extLst>
          </p:cNvPr>
          <p:cNvSpPr txBox="1"/>
          <p:nvPr/>
        </p:nvSpPr>
        <p:spPr>
          <a:xfrm>
            <a:off x="6561531"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in stack</a:t>
            </a:r>
          </a:p>
        </p:txBody>
      </p:sp>
      <p:sp>
        <p:nvSpPr>
          <p:cNvPr id="110" name="TextBox 109">
            <a:extLst>
              <a:ext uri="{FF2B5EF4-FFF2-40B4-BE49-F238E27FC236}">
                <a16:creationId xmlns:a16="http://schemas.microsoft.com/office/drawing/2014/main" id="{A01077C5-AE27-429E-AB67-811D135F6CDA}"/>
              </a:ext>
            </a:extLst>
          </p:cNvPr>
          <p:cNvSpPr txBox="1"/>
          <p:nvPr/>
        </p:nvSpPr>
        <p:spPr>
          <a:xfrm>
            <a:off x="9178098" y="209560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lculator</a:t>
            </a:r>
          </a:p>
        </p:txBody>
      </p:sp>
      <p:sp>
        <p:nvSpPr>
          <p:cNvPr id="111" name="TextBox 110">
            <a:extLst>
              <a:ext uri="{FF2B5EF4-FFF2-40B4-BE49-F238E27FC236}">
                <a16:creationId xmlns:a16="http://schemas.microsoft.com/office/drawing/2014/main" id="{84F69C8B-E17A-4285-B352-321339722EF4}"/>
              </a:ext>
            </a:extLst>
          </p:cNvPr>
          <p:cNvSpPr txBox="1"/>
          <p:nvPr/>
        </p:nvSpPr>
        <p:spPr>
          <a:xfrm>
            <a:off x="10038645" y="209560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bacus</a:t>
            </a:r>
          </a:p>
        </p:txBody>
      </p:sp>
      <p:sp>
        <p:nvSpPr>
          <p:cNvPr id="112" name="TextBox 111">
            <a:extLst>
              <a:ext uri="{FF2B5EF4-FFF2-40B4-BE49-F238E27FC236}">
                <a16:creationId xmlns:a16="http://schemas.microsoft.com/office/drawing/2014/main" id="{838ACFF6-CF22-4928-9B0F-B4C2D90092EB}"/>
              </a:ext>
            </a:extLst>
          </p:cNvPr>
          <p:cNvSpPr txBox="1"/>
          <p:nvPr/>
        </p:nvSpPr>
        <p:spPr>
          <a:xfrm>
            <a:off x="10914005"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pital Dome</a:t>
            </a:r>
          </a:p>
        </p:txBody>
      </p:sp>
      <p:sp>
        <p:nvSpPr>
          <p:cNvPr id="113" name="TextBox 112">
            <a:extLst>
              <a:ext uri="{FF2B5EF4-FFF2-40B4-BE49-F238E27FC236}">
                <a16:creationId xmlns:a16="http://schemas.microsoft.com/office/drawing/2014/main" id="{A6BBCDBA-9B7C-4B1F-95D5-C5A1DEF5187B}"/>
              </a:ext>
            </a:extLst>
          </p:cNvPr>
          <p:cNvSpPr txBox="1"/>
          <p:nvPr/>
        </p:nvSpPr>
        <p:spPr>
          <a:xfrm>
            <a:off x="1337762" y="296310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ney bag</a:t>
            </a:r>
          </a:p>
        </p:txBody>
      </p:sp>
      <p:sp>
        <p:nvSpPr>
          <p:cNvPr id="114" name="TextBox 113">
            <a:extLst>
              <a:ext uri="{FF2B5EF4-FFF2-40B4-BE49-F238E27FC236}">
                <a16:creationId xmlns:a16="http://schemas.microsoft.com/office/drawing/2014/main" id="{7B9755F0-F42E-49B6-AF36-C4269FBE5C78}"/>
              </a:ext>
            </a:extLst>
          </p:cNvPr>
          <p:cNvSpPr txBox="1"/>
          <p:nvPr/>
        </p:nvSpPr>
        <p:spPr>
          <a:xfrm>
            <a:off x="2210849" y="296310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nger push</a:t>
            </a:r>
          </a:p>
        </p:txBody>
      </p:sp>
      <p:sp>
        <p:nvSpPr>
          <p:cNvPr id="115" name="TextBox 114">
            <a:extLst>
              <a:ext uri="{FF2B5EF4-FFF2-40B4-BE49-F238E27FC236}">
                <a16:creationId xmlns:a16="http://schemas.microsoft.com/office/drawing/2014/main" id="{49EFCF61-9D72-4025-909D-43665BFCB144}"/>
              </a:ext>
            </a:extLst>
          </p:cNvPr>
          <p:cNvSpPr txBox="1"/>
          <p:nvPr/>
        </p:nvSpPr>
        <p:spPr>
          <a:xfrm>
            <a:off x="464675" y="296310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rcent</a:t>
            </a:r>
          </a:p>
        </p:txBody>
      </p:sp>
      <p:sp>
        <p:nvSpPr>
          <p:cNvPr id="116" name="TextBox 115">
            <a:extLst>
              <a:ext uri="{FF2B5EF4-FFF2-40B4-BE49-F238E27FC236}">
                <a16:creationId xmlns:a16="http://schemas.microsoft.com/office/drawing/2014/main" id="{73D0DCD9-2AF0-4743-B4B4-50DD3BF86AFD}"/>
              </a:ext>
            </a:extLst>
          </p:cNvPr>
          <p:cNvSpPr txBox="1"/>
          <p:nvPr/>
        </p:nvSpPr>
        <p:spPr>
          <a:xfrm>
            <a:off x="3083937" y="296310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fe</a:t>
            </a:r>
          </a:p>
        </p:txBody>
      </p:sp>
      <p:sp>
        <p:nvSpPr>
          <p:cNvPr id="117" name="TextBox 116">
            <a:extLst>
              <a:ext uri="{FF2B5EF4-FFF2-40B4-BE49-F238E27FC236}">
                <a16:creationId xmlns:a16="http://schemas.microsoft.com/office/drawing/2014/main" id="{41FB5D4F-EB54-4FA0-A0F4-3C4B7F1D2790}"/>
              </a:ext>
            </a:extLst>
          </p:cNvPr>
          <p:cNvSpPr txBox="1"/>
          <p:nvPr/>
        </p:nvSpPr>
        <p:spPr>
          <a:xfrm>
            <a:off x="8305909" y="209560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ield</a:t>
            </a:r>
          </a:p>
        </p:txBody>
      </p:sp>
      <p:sp>
        <p:nvSpPr>
          <p:cNvPr id="118" name="Freeform 509">
            <a:extLst>
              <a:ext uri="{FF2B5EF4-FFF2-40B4-BE49-F238E27FC236}">
                <a16:creationId xmlns:a16="http://schemas.microsoft.com/office/drawing/2014/main" id="{C9E5E2B7-CC43-4073-9EC1-1358CBF0E8BA}"/>
              </a:ext>
            </a:extLst>
          </p:cNvPr>
          <p:cNvSpPr>
            <a:spLocks noChangeAspect="1" noEditPoints="1"/>
          </p:cNvSpPr>
          <p:nvPr/>
        </p:nvSpPr>
        <p:spPr bwMode="auto">
          <a:xfrm>
            <a:off x="485942" y="170021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24 h 512"/>
              <a:gd name="T12" fmla="*/ 298 w 512"/>
              <a:gd name="T13" fmla="*/ 234 h 512"/>
              <a:gd name="T14" fmla="*/ 288 w 512"/>
              <a:gd name="T15" fmla="*/ 245 h 512"/>
              <a:gd name="T16" fmla="*/ 149 w 512"/>
              <a:gd name="T17" fmla="*/ 245 h 512"/>
              <a:gd name="T18" fmla="*/ 149 w 512"/>
              <a:gd name="T19" fmla="*/ 256 h 512"/>
              <a:gd name="T20" fmla="*/ 149 w 512"/>
              <a:gd name="T21" fmla="*/ 266 h 512"/>
              <a:gd name="T22" fmla="*/ 288 w 512"/>
              <a:gd name="T23" fmla="*/ 266 h 512"/>
              <a:gd name="T24" fmla="*/ 298 w 512"/>
              <a:gd name="T25" fmla="*/ 277 h 512"/>
              <a:gd name="T26" fmla="*/ 288 w 512"/>
              <a:gd name="T27" fmla="*/ 288 h 512"/>
              <a:gd name="T28" fmla="*/ 152 w 512"/>
              <a:gd name="T29" fmla="*/ 288 h 512"/>
              <a:gd name="T30" fmla="*/ 266 w 512"/>
              <a:gd name="T31" fmla="*/ 394 h 512"/>
              <a:gd name="T32" fmla="*/ 324 w 512"/>
              <a:gd name="T33" fmla="*/ 376 h 512"/>
              <a:gd name="T34" fmla="*/ 339 w 512"/>
              <a:gd name="T35" fmla="*/ 379 h 512"/>
              <a:gd name="T36" fmla="*/ 336 w 512"/>
              <a:gd name="T37" fmla="*/ 394 h 512"/>
              <a:gd name="T38" fmla="*/ 266 w 512"/>
              <a:gd name="T39" fmla="*/ 416 h 512"/>
              <a:gd name="T40" fmla="*/ 130 w 512"/>
              <a:gd name="T41" fmla="*/ 288 h 512"/>
              <a:gd name="T42" fmla="*/ 106 w 512"/>
              <a:gd name="T43" fmla="*/ 288 h 512"/>
              <a:gd name="T44" fmla="*/ 96 w 512"/>
              <a:gd name="T45" fmla="*/ 277 h 512"/>
              <a:gd name="T46" fmla="*/ 106 w 512"/>
              <a:gd name="T47" fmla="*/ 266 h 512"/>
              <a:gd name="T48" fmla="*/ 128 w 512"/>
              <a:gd name="T49" fmla="*/ 266 h 512"/>
              <a:gd name="T50" fmla="*/ 128 w 512"/>
              <a:gd name="T51" fmla="*/ 256 h 512"/>
              <a:gd name="T52" fmla="*/ 128 w 512"/>
              <a:gd name="T53" fmla="*/ 245 h 512"/>
              <a:gd name="T54" fmla="*/ 106 w 512"/>
              <a:gd name="T55" fmla="*/ 245 h 512"/>
              <a:gd name="T56" fmla="*/ 96 w 512"/>
              <a:gd name="T57" fmla="*/ 234 h 512"/>
              <a:gd name="T58" fmla="*/ 106 w 512"/>
              <a:gd name="T59" fmla="*/ 224 h 512"/>
              <a:gd name="T60" fmla="*/ 130 w 512"/>
              <a:gd name="T61" fmla="*/ 224 h 512"/>
              <a:gd name="T62" fmla="*/ 266 w 512"/>
              <a:gd name="T63" fmla="*/ 96 h 512"/>
              <a:gd name="T64" fmla="*/ 336 w 512"/>
              <a:gd name="T65" fmla="*/ 117 h 512"/>
              <a:gd name="T66" fmla="*/ 339 w 512"/>
              <a:gd name="T67" fmla="*/ 132 h 512"/>
              <a:gd name="T68" fmla="*/ 324 w 512"/>
              <a:gd name="T69" fmla="*/ 135 h 512"/>
              <a:gd name="T70" fmla="*/ 266 w 512"/>
              <a:gd name="T71" fmla="*/ 117 h 512"/>
              <a:gd name="T72" fmla="*/ 152 w 512"/>
              <a:gd name="T73" fmla="*/ 224 h 512"/>
              <a:gd name="T74" fmla="*/ 288 w 512"/>
              <a:gd name="T7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24"/>
                </a:moveTo>
                <a:cubicBezTo>
                  <a:pt x="294" y="224"/>
                  <a:pt x="298" y="228"/>
                  <a:pt x="298" y="234"/>
                </a:cubicBezTo>
                <a:cubicBezTo>
                  <a:pt x="298" y="240"/>
                  <a:pt x="294" y="245"/>
                  <a:pt x="288" y="245"/>
                </a:cubicBezTo>
                <a:cubicBezTo>
                  <a:pt x="149" y="245"/>
                  <a:pt x="149" y="245"/>
                  <a:pt x="149" y="245"/>
                </a:cubicBezTo>
                <a:cubicBezTo>
                  <a:pt x="149" y="249"/>
                  <a:pt x="149" y="252"/>
                  <a:pt x="149" y="256"/>
                </a:cubicBezTo>
                <a:cubicBezTo>
                  <a:pt x="149" y="259"/>
                  <a:pt x="149" y="263"/>
                  <a:pt x="149" y="266"/>
                </a:cubicBezTo>
                <a:cubicBezTo>
                  <a:pt x="288" y="266"/>
                  <a:pt x="288" y="266"/>
                  <a:pt x="288" y="266"/>
                </a:cubicBezTo>
                <a:cubicBezTo>
                  <a:pt x="294" y="266"/>
                  <a:pt x="298" y="271"/>
                  <a:pt x="298" y="277"/>
                </a:cubicBezTo>
                <a:cubicBezTo>
                  <a:pt x="298" y="283"/>
                  <a:pt x="294" y="288"/>
                  <a:pt x="288" y="288"/>
                </a:cubicBezTo>
                <a:cubicBezTo>
                  <a:pt x="152" y="288"/>
                  <a:pt x="152" y="288"/>
                  <a:pt x="152" y="288"/>
                </a:cubicBezTo>
                <a:cubicBezTo>
                  <a:pt x="165" y="349"/>
                  <a:pt x="211" y="394"/>
                  <a:pt x="266" y="394"/>
                </a:cubicBezTo>
                <a:cubicBezTo>
                  <a:pt x="287" y="394"/>
                  <a:pt x="307" y="388"/>
                  <a:pt x="324" y="376"/>
                </a:cubicBezTo>
                <a:cubicBezTo>
                  <a:pt x="329" y="373"/>
                  <a:pt x="336" y="374"/>
                  <a:pt x="339" y="379"/>
                </a:cubicBezTo>
                <a:cubicBezTo>
                  <a:pt x="342" y="384"/>
                  <a:pt x="341" y="391"/>
                  <a:pt x="336" y="394"/>
                </a:cubicBezTo>
                <a:cubicBezTo>
                  <a:pt x="315" y="408"/>
                  <a:pt x="291" y="416"/>
                  <a:pt x="266" y="416"/>
                </a:cubicBezTo>
                <a:cubicBezTo>
                  <a:pt x="199" y="416"/>
                  <a:pt x="143" y="361"/>
                  <a:pt x="130" y="288"/>
                </a:cubicBezTo>
                <a:cubicBezTo>
                  <a:pt x="106" y="288"/>
                  <a:pt x="106" y="288"/>
                  <a:pt x="106" y="288"/>
                </a:cubicBezTo>
                <a:cubicBezTo>
                  <a:pt x="100" y="288"/>
                  <a:pt x="96" y="283"/>
                  <a:pt x="96" y="277"/>
                </a:cubicBezTo>
                <a:cubicBezTo>
                  <a:pt x="96" y="271"/>
                  <a:pt x="100" y="266"/>
                  <a:pt x="106" y="266"/>
                </a:cubicBezTo>
                <a:cubicBezTo>
                  <a:pt x="128" y="266"/>
                  <a:pt x="128" y="266"/>
                  <a:pt x="128" y="266"/>
                </a:cubicBezTo>
                <a:cubicBezTo>
                  <a:pt x="128" y="263"/>
                  <a:pt x="128" y="259"/>
                  <a:pt x="128" y="256"/>
                </a:cubicBezTo>
                <a:cubicBezTo>
                  <a:pt x="128" y="252"/>
                  <a:pt x="128" y="249"/>
                  <a:pt x="128" y="245"/>
                </a:cubicBezTo>
                <a:cubicBezTo>
                  <a:pt x="106" y="245"/>
                  <a:pt x="106" y="245"/>
                  <a:pt x="106" y="245"/>
                </a:cubicBezTo>
                <a:cubicBezTo>
                  <a:pt x="100" y="245"/>
                  <a:pt x="96" y="240"/>
                  <a:pt x="96" y="234"/>
                </a:cubicBezTo>
                <a:cubicBezTo>
                  <a:pt x="96" y="228"/>
                  <a:pt x="100" y="224"/>
                  <a:pt x="106" y="224"/>
                </a:cubicBezTo>
                <a:cubicBezTo>
                  <a:pt x="130" y="224"/>
                  <a:pt x="130" y="224"/>
                  <a:pt x="130" y="224"/>
                </a:cubicBezTo>
                <a:cubicBezTo>
                  <a:pt x="143" y="151"/>
                  <a:pt x="199" y="96"/>
                  <a:pt x="266" y="96"/>
                </a:cubicBezTo>
                <a:cubicBezTo>
                  <a:pt x="291" y="96"/>
                  <a:pt x="315" y="103"/>
                  <a:pt x="336" y="117"/>
                </a:cubicBezTo>
                <a:cubicBezTo>
                  <a:pt x="341" y="121"/>
                  <a:pt x="342" y="127"/>
                  <a:pt x="339" y="132"/>
                </a:cubicBezTo>
                <a:cubicBezTo>
                  <a:pt x="336" y="137"/>
                  <a:pt x="329" y="138"/>
                  <a:pt x="324" y="135"/>
                </a:cubicBezTo>
                <a:cubicBezTo>
                  <a:pt x="307" y="123"/>
                  <a:pt x="287" y="117"/>
                  <a:pt x="266" y="117"/>
                </a:cubicBezTo>
                <a:cubicBezTo>
                  <a:pt x="211" y="117"/>
                  <a:pt x="165" y="163"/>
                  <a:pt x="152" y="224"/>
                </a:cubicBezTo>
                <a:lnTo>
                  <a:pt x="288" y="22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9" name="Group 512">
            <a:extLst>
              <a:ext uri="{FF2B5EF4-FFF2-40B4-BE49-F238E27FC236}">
                <a16:creationId xmlns:a16="http://schemas.microsoft.com/office/drawing/2014/main" id="{155D8B6F-1690-4898-9C70-C7A6B724E5D4}"/>
              </a:ext>
            </a:extLst>
          </p:cNvPr>
          <p:cNvGrpSpPr>
            <a:grpSpLocks noChangeAspect="1"/>
          </p:cNvGrpSpPr>
          <p:nvPr/>
        </p:nvGrpSpPr>
        <p:grpSpPr bwMode="auto">
          <a:xfrm>
            <a:off x="919933" y="1700213"/>
            <a:ext cx="367631" cy="367631"/>
            <a:chOff x="2728" y="2016"/>
            <a:chExt cx="340" cy="340"/>
          </a:xfrm>
          <a:solidFill>
            <a:schemeClr val="accent6"/>
          </a:solidFill>
        </p:grpSpPr>
        <p:sp>
          <p:nvSpPr>
            <p:cNvPr id="120" name="Freeform 513">
              <a:extLst>
                <a:ext uri="{FF2B5EF4-FFF2-40B4-BE49-F238E27FC236}">
                  <a16:creationId xmlns:a16="http://schemas.microsoft.com/office/drawing/2014/main" id="{09700D22-4EBD-4CBF-831F-7A583E1877E4}"/>
                </a:ext>
              </a:extLst>
            </p:cNvPr>
            <p:cNvSpPr>
              <a:spLocks/>
            </p:cNvSpPr>
            <p:nvPr/>
          </p:nvSpPr>
          <p:spPr bwMode="auto">
            <a:xfrm>
              <a:off x="2792" y="2080"/>
              <a:ext cx="163" cy="212"/>
            </a:xfrm>
            <a:custGeom>
              <a:avLst/>
              <a:gdLst>
                <a:gd name="T0" fmla="*/ 228 w 246"/>
                <a:gd name="T1" fmla="*/ 280 h 320"/>
                <a:gd name="T2" fmla="*/ 170 w 246"/>
                <a:gd name="T3" fmla="*/ 298 h 320"/>
                <a:gd name="T4" fmla="*/ 56 w 246"/>
                <a:gd name="T5" fmla="*/ 192 h 320"/>
                <a:gd name="T6" fmla="*/ 192 w 246"/>
                <a:gd name="T7" fmla="*/ 192 h 320"/>
                <a:gd name="T8" fmla="*/ 202 w 246"/>
                <a:gd name="T9" fmla="*/ 181 h 320"/>
                <a:gd name="T10" fmla="*/ 192 w 246"/>
                <a:gd name="T11" fmla="*/ 170 h 320"/>
                <a:gd name="T12" fmla="*/ 53 w 246"/>
                <a:gd name="T13" fmla="*/ 170 h 320"/>
                <a:gd name="T14" fmla="*/ 53 w 246"/>
                <a:gd name="T15" fmla="*/ 160 h 320"/>
                <a:gd name="T16" fmla="*/ 53 w 246"/>
                <a:gd name="T17" fmla="*/ 149 h 320"/>
                <a:gd name="T18" fmla="*/ 192 w 246"/>
                <a:gd name="T19" fmla="*/ 149 h 320"/>
                <a:gd name="T20" fmla="*/ 202 w 246"/>
                <a:gd name="T21" fmla="*/ 138 h 320"/>
                <a:gd name="T22" fmla="*/ 192 w 246"/>
                <a:gd name="T23" fmla="*/ 128 h 320"/>
                <a:gd name="T24" fmla="*/ 56 w 246"/>
                <a:gd name="T25" fmla="*/ 128 h 320"/>
                <a:gd name="T26" fmla="*/ 170 w 246"/>
                <a:gd name="T27" fmla="*/ 21 h 320"/>
                <a:gd name="T28" fmla="*/ 228 w 246"/>
                <a:gd name="T29" fmla="*/ 39 h 320"/>
                <a:gd name="T30" fmla="*/ 243 w 246"/>
                <a:gd name="T31" fmla="*/ 36 h 320"/>
                <a:gd name="T32" fmla="*/ 240 w 246"/>
                <a:gd name="T33" fmla="*/ 21 h 320"/>
                <a:gd name="T34" fmla="*/ 170 w 246"/>
                <a:gd name="T35" fmla="*/ 0 h 320"/>
                <a:gd name="T36" fmla="*/ 34 w 246"/>
                <a:gd name="T37" fmla="*/ 128 h 320"/>
                <a:gd name="T38" fmla="*/ 10 w 246"/>
                <a:gd name="T39" fmla="*/ 128 h 320"/>
                <a:gd name="T40" fmla="*/ 0 w 246"/>
                <a:gd name="T41" fmla="*/ 138 h 320"/>
                <a:gd name="T42" fmla="*/ 10 w 246"/>
                <a:gd name="T43" fmla="*/ 149 h 320"/>
                <a:gd name="T44" fmla="*/ 32 w 246"/>
                <a:gd name="T45" fmla="*/ 149 h 320"/>
                <a:gd name="T46" fmla="*/ 32 w 246"/>
                <a:gd name="T47" fmla="*/ 160 h 320"/>
                <a:gd name="T48" fmla="*/ 32 w 246"/>
                <a:gd name="T49" fmla="*/ 170 h 320"/>
                <a:gd name="T50" fmla="*/ 10 w 246"/>
                <a:gd name="T51" fmla="*/ 170 h 320"/>
                <a:gd name="T52" fmla="*/ 0 w 246"/>
                <a:gd name="T53" fmla="*/ 181 h 320"/>
                <a:gd name="T54" fmla="*/ 10 w 246"/>
                <a:gd name="T55" fmla="*/ 192 h 320"/>
                <a:gd name="T56" fmla="*/ 34 w 246"/>
                <a:gd name="T57" fmla="*/ 192 h 320"/>
                <a:gd name="T58" fmla="*/ 170 w 246"/>
                <a:gd name="T59" fmla="*/ 320 h 320"/>
                <a:gd name="T60" fmla="*/ 240 w 246"/>
                <a:gd name="T61" fmla="*/ 298 h 320"/>
                <a:gd name="T62" fmla="*/ 243 w 246"/>
                <a:gd name="T63" fmla="*/ 283 h 320"/>
                <a:gd name="T64" fmla="*/ 228 w 246"/>
                <a:gd name="T65" fmla="*/ 2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6" h="320">
                  <a:moveTo>
                    <a:pt x="228" y="280"/>
                  </a:moveTo>
                  <a:cubicBezTo>
                    <a:pt x="211" y="292"/>
                    <a:pt x="191" y="298"/>
                    <a:pt x="170" y="298"/>
                  </a:cubicBezTo>
                  <a:cubicBezTo>
                    <a:pt x="115" y="298"/>
                    <a:pt x="69" y="253"/>
                    <a:pt x="56" y="192"/>
                  </a:cubicBezTo>
                  <a:cubicBezTo>
                    <a:pt x="192" y="192"/>
                    <a:pt x="192" y="192"/>
                    <a:pt x="192" y="192"/>
                  </a:cubicBezTo>
                  <a:cubicBezTo>
                    <a:pt x="198" y="192"/>
                    <a:pt x="202" y="187"/>
                    <a:pt x="202" y="181"/>
                  </a:cubicBezTo>
                  <a:cubicBezTo>
                    <a:pt x="202" y="175"/>
                    <a:pt x="198" y="170"/>
                    <a:pt x="192" y="170"/>
                  </a:cubicBezTo>
                  <a:cubicBezTo>
                    <a:pt x="53" y="170"/>
                    <a:pt x="53" y="170"/>
                    <a:pt x="53" y="170"/>
                  </a:cubicBezTo>
                  <a:cubicBezTo>
                    <a:pt x="53" y="167"/>
                    <a:pt x="53" y="163"/>
                    <a:pt x="53" y="160"/>
                  </a:cubicBezTo>
                  <a:cubicBezTo>
                    <a:pt x="53" y="156"/>
                    <a:pt x="53" y="153"/>
                    <a:pt x="53" y="149"/>
                  </a:cubicBezTo>
                  <a:cubicBezTo>
                    <a:pt x="192" y="149"/>
                    <a:pt x="192" y="149"/>
                    <a:pt x="192" y="149"/>
                  </a:cubicBezTo>
                  <a:cubicBezTo>
                    <a:pt x="198" y="149"/>
                    <a:pt x="202" y="144"/>
                    <a:pt x="202" y="138"/>
                  </a:cubicBezTo>
                  <a:cubicBezTo>
                    <a:pt x="202" y="132"/>
                    <a:pt x="198" y="128"/>
                    <a:pt x="192" y="128"/>
                  </a:cubicBezTo>
                  <a:cubicBezTo>
                    <a:pt x="56" y="128"/>
                    <a:pt x="56" y="128"/>
                    <a:pt x="56" y="128"/>
                  </a:cubicBezTo>
                  <a:cubicBezTo>
                    <a:pt x="69" y="67"/>
                    <a:pt x="115" y="21"/>
                    <a:pt x="170" y="21"/>
                  </a:cubicBezTo>
                  <a:cubicBezTo>
                    <a:pt x="191" y="21"/>
                    <a:pt x="211" y="27"/>
                    <a:pt x="228" y="39"/>
                  </a:cubicBezTo>
                  <a:cubicBezTo>
                    <a:pt x="233" y="42"/>
                    <a:pt x="240" y="41"/>
                    <a:pt x="243" y="36"/>
                  </a:cubicBezTo>
                  <a:cubicBezTo>
                    <a:pt x="246" y="31"/>
                    <a:pt x="245" y="25"/>
                    <a:pt x="240" y="21"/>
                  </a:cubicBezTo>
                  <a:cubicBezTo>
                    <a:pt x="219" y="7"/>
                    <a:pt x="195" y="0"/>
                    <a:pt x="170" y="0"/>
                  </a:cubicBezTo>
                  <a:cubicBezTo>
                    <a:pt x="103" y="0"/>
                    <a:pt x="47" y="55"/>
                    <a:pt x="34" y="128"/>
                  </a:cubicBezTo>
                  <a:cubicBezTo>
                    <a:pt x="10" y="128"/>
                    <a:pt x="10" y="128"/>
                    <a:pt x="10" y="128"/>
                  </a:cubicBezTo>
                  <a:cubicBezTo>
                    <a:pt x="4" y="128"/>
                    <a:pt x="0" y="132"/>
                    <a:pt x="0" y="138"/>
                  </a:cubicBezTo>
                  <a:cubicBezTo>
                    <a:pt x="0" y="144"/>
                    <a:pt x="4" y="149"/>
                    <a:pt x="10" y="149"/>
                  </a:cubicBezTo>
                  <a:cubicBezTo>
                    <a:pt x="32" y="149"/>
                    <a:pt x="32" y="149"/>
                    <a:pt x="32" y="149"/>
                  </a:cubicBezTo>
                  <a:cubicBezTo>
                    <a:pt x="32" y="153"/>
                    <a:pt x="32" y="156"/>
                    <a:pt x="32" y="160"/>
                  </a:cubicBezTo>
                  <a:cubicBezTo>
                    <a:pt x="32" y="163"/>
                    <a:pt x="32" y="167"/>
                    <a:pt x="32" y="170"/>
                  </a:cubicBezTo>
                  <a:cubicBezTo>
                    <a:pt x="10" y="170"/>
                    <a:pt x="10" y="170"/>
                    <a:pt x="10" y="170"/>
                  </a:cubicBezTo>
                  <a:cubicBezTo>
                    <a:pt x="4" y="170"/>
                    <a:pt x="0" y="175"/>
                    <a:pt x="0" y="181"/>
                  </a:cubicBezTo>
                  <a:cubicBezTo>
                    <a:pt x="0" y="187"/>
                    <a:pt x="4" y="192"/>
                    <a:pt x="10" y="192"/>
                  </a:cubicBezTo>
                  <a:cubicBezTo>
                    <a:pt x="34" y="192"/>
                    <a:pt x="34" y="192"/>
                    <a:pt x="34" y="192"/>
                  </a:cubicBezTo>
                  <a:cubicBezTo>
                    <a:pt x="47" y="265"/>
                    <a:pt x="103" y="320"/>
                    <a:pt x="170" y="320"/>
                  </a:cubicBezTo>
                  <a:cubicBezTo>
                    <a:pt x="195" y="320"/>
                    <a:pt x="219" y="312"/>
                    <a:pt x="240" y="298"/>
                  </a:cubicBezTo>
                  <a:cubicBezTo>
                    <a:pt x="245" y="295"/>
                    <a:pt x="246" y="288"/>
                    <a:pt x="243" y="283"/>
                  </a:cubicBezTo>
                  <a:cubicBezTo>
                    <a:pt x="240" y="278"/>
                    <a:pt x="233" y="277"/>
                    <a:pt x="228" y="2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1" name="Freeform 514">
              <a:extLst>
                <a:ext uri="{FF2B5EF4-FFF2-40B4-BE49-F238E27FC236}">
                  <a16:creationId xmlns:a16="http://schemas.microsoft.com/office/drawing/2014/main" id="{D82C19B2-01BB-4F8E-BB0C-5C92BD8F2C5B}"/>
                </a:ext>
              </a:extLst>
            </p:cNvPr>
            <p:cNvSpPr>
              <a:spLocks noEditPoints="1"/>
            </p:cNvSpPr>
            <p:nvPr/>
          </p:nvSpPr>
          <p:spPr bwMode="auto">
            <a:xfrm>
              <a:off x="2728"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2"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1353924" y="1700213"/>
            <a:ext cx="367631" cy="367631"/>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3" name="Group 144">
            <a:extLst>
              <a:ext uri="{FF2B5EF4-FFF2-40B4-BE49-F238E27FC236}">
                <a16:creationId xmlns:a16="http://schemas.microsoft.com/office/drawing/2014/main" id="{9B52A525-9D52-4B6A-B7C9-158EA54C3C42}"/>
              </a:ext>
            </a:extLst>
          </p:cNvPr>
          <p:cNvGrpSpPr>
            <a:grpSpLocks noChangeAspect="1"/>
          </p:cNvGrpSpPr>
          <p:nvPr/>
        </p:nvGrpSpPr>
        <p:grpSpPr bwMode="auto">
          <a:xfrm>
            <a:off x="1787915" y="1700213"/>
            <a:ext cx="367631" cy="367631"/>
            <a:chOff x="2963" y="1300"/>
            <a:chExt cx="340" cy="340"/>
          </a:xfrm>
          <a:solidFill>
            <a:schemeClr val="accent2"/>
          </a:solidFill>
        </p:grpSpPr>
        <p:sp>
          <p:nvSpPr>
            <p:cNvPr id="124" name="Freeform 145">
              <a:extLst>
                <a:ext uri="{FF2B5EF4-FFF2-40B4-BE49-F238E27FC236}">
                  <a16:creationId xmlns:a16="http://schemas.microsoft.com/office/drawing/2014/main" id="{2C80C1FD-8D8A-4721-BD7E-E87D4826A8FE}"/>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5" name="Freeform 146">
              <a:extLst>
                <a:ext uri="{FF2B5EF4-FFF2-40B4-BE49-F238E27FC236}">
                  <a16:creationId xmlns:a16="http://schemas.microsoft.com/office/drawing/2014/main" id="{C29D54A1-ACAC-42C2-A35A-DDB01D3A4C2D}"/>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26" name="Group 423">
            <a:extLst>
              <a:ext uri="{FF2B5EF4-FFF2-40B4-BE49-F238E27FC236}">
                <a16:creationId xmlns:a16="http://schemas.microsoft.com/office/drawing/2014/main" id="{1D9F1C3D-6CE7-4495-B56E-F1B93708E084}"/>
              </a:ext>
            </a:extLst>
          </p:cNvPr>
          <p:cNvGrpSpPr>
            <a:grpSpLocks noChangeAspect="1"/>
          </p:cNvGrpSpPr>
          <p:nvPr/>
        </p:nvGrpSpPr>
        <p:grpSpPr bwMode="auto">
          <a:xfrm>
            <a:off x="2657287" y="1700213"/>
            <a:ext cx="369021" cy="369021"/>
            <a:chOff x="4263" y="1567"/>
            <a:chExt cx="340" cy="340"/>
          </a:xfrm>
          <a:solidFill>
            <a:schemeClr val="accent5"/>
          </a:solidFill>
        </p:grpSpPr>
        <p:sp>
          <p:nvSpPr>
            <p:cNvPr id="127" name="Freeform 424">
              <a:extLst>
                <a:ext uri="{FF2B5EF4-FFF2-40B4-BE49-F238E27FC236}">
                  <a16:creationId xmlns:a16="http://schemas.microsoft.com/office/drawing/2014/main" id="{3FF4ADB9-E61E-4A84-B630-1AF8A4BE17B0}"/>
                </a:ext>
              </a:extLst>
            </p:cNvPr>
            <p:cNvSpPr>
              <a:spLocks/>
            </p:cNvSpPr>
            <p:nvPr/>
          </p:nvSpPr>
          <p:spPr bwMode="auto">
            <a:xfrm>
              <a:off x="4355" y="1631"/>
              <a:ext cx="142" cy="212"/>
            </a:xfrm>
            <a:custGeom>
              <a:avLst/>
              <a:gdLst>
                <a:gd name="T0" fmla="*/ 203 w 214"/>
                <a:gd name="T1" fmla="*/ 298 h 320"/>
                <a:gd name="T2" fmla="*/ 43 w 214"/>
                <a:gd name="T3" fmla="*/ 298 h 320"/>
                <a:gd name="T4" fmla="*/ 82 w 214"/>
                <a:gd name="T5" fmla="*/ 170 h 320"/>
                <a:gd name="T6" fmla="*/ 139 w 214"/>
                <a:gd name="T7" fmla="*/ 170 h 320"/>
                <a:gd name="T8" fmla="*/ 150 w 214"/>
                <a:gd name="T9" fmla="*/ 160 h 320"/>
                <a:gd name="T10" fmla="*/ 139 w 214"/>
                <a:gd name="T11" fmla="*/ 149 h 320"/>
                <a:gd name="T12" fmla="*/ 69 w 214"/>
                <a:gd name="T13" fmla="*/ 149 h 320"/>
                <a:gd name="T14" fmla="*/ 43 w 214"/>
                <a:gd name="T15" fmla="*/ 96 h 320"/>
                <a:gd name="T16" fmla="*/ 118 w 214"/>
                <a:gd name="T17" fmla="*/ 21 h 320"/>
                <a:gd name="T18" fmla="*/ 192 w 214"/>
                <a:gd name="T19" fmla="*/ 96 h 320"/>
                <a:gd name="T20" fmla="*/ 203 w 214"/>
                <a:gd name="T21" fmla="*/ 106 h 320"/>
                <a:gd name="T22" fmla="*/ 214 w 214"/>
                <a:gd name="T23" fmla="*/ 96 h 320"/>
                <a:gd name="T24" fmla="*/ 118 w 214"/>
                <a:gd name="T25" fmla="*/ 0 h 320"/>
                <a:gd name="T26" fmla="*/ 22 w 214"/>
                <a:gd name="T27" fmla="*/ 96 h 320"/>
                <a:gd name="T28" fmla="*/ 40 w 214"/>
                <a:gd name="T29" fmla="*/ 149 h 320"/>
                <a:gd name="T30" fmla="*/ 11 w 214"/>
                <a:gd name="T31" fmla="*/ 149 h 320"/>
                <a:gd name="T32" fmla="*/ 0 w 214"/>
                <a:gd name="T33" fmla="*/ 160 h 320"/>
                <a:gd name="T34" fmla="*/ 11 w 214"/>
                <a:gd name="T35" fmla="*/ 170 h 320"/>
                <a:gd name="T36" fmla="*/ 59 w 214"/>
                <a:gd name="T37" fmla="*/ 170 h 320"/>
                <a:gd name="T38" fmla="*/ 18 w 214"/>
                <a:gd name="T39" fmla="*/ 296 h 320"/>
                <a:gd name="T40" fmla="*/ 13 w 214"/>
                <a:gd name="T41" fmla="*/ 303 h 320"/>
                <a:gd name="T42" fmla="*/ 12 w 214"/>
                <a:gd name="T43" fmla="*/ 314 h 320"/>
                <a:gd name="T44" fmla="*/ 22 w 214"/>
                <a:gd name="T45" fmla="*/ 320 h 320"/>
                <a:gd name="T46" fmla="*/ 203 w 214"/>
                <a:gd name="T47" fmla="*/ 320 h 320"/>
                <a:gd name="T48" fmla="*/ 214 w 214"/>
                <a:gd name="T49" fmla="*/ 309 h 320"/>
                <a:gd name="T50" fmla="*/ 203 w 214"/>
                <a:gd name="T5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4" h="320">
                  <a:moveTo>
                    <a:pt x="203" y="298"/>
                  </a:moveTo>
                  <a:cubicBezTo>
                    <a:pt x="43" y="298"/>
                    <a:pt x="43" y="298"/>
                    <a:pt x="43" y="298"/>
                  </a:cubicBezTo>
                  <a:cubicBezTo>
                    <a:pt x="65" y="270"/>
                    <a:pt x="100" y="216"/>
                    <a:pt x="82" y="170"/>
                  </a:cubicBezTo>
                  <a:cubicBezTo>
                    <a:pt x="139" y="170"/>
                    <a:pt x="139" y="170"/>
                    <a:pt x="139" y="170"/>
                  </a:cubicBezTo>
                  <a:cubicBezTo>
                    <a:pt x="145" y="170"/>
                    <a:pt x="150" y="166"/>
                    <a:pt x="150" y="160"/>
                  </a:cubicBezTo>
                  <a:cubicBezTo>
                    <a:pt x="150" y="154"/>
                    <a:pt x="145" y="149"/>
                    <a:pt x="139" y="149"/>
                  </a:cubicBezTo>
                  <a:cubicBezTo>
                    <a:pt x="69" y="149"/>
                    <a:pt x="69" y="149"/>
                    <a:pt x="69" y="149"/>
                  </a:cubicBezTo>
                  <a:cubicBezTo>
                    <a:pt x="52" y="134"/>
                    <a:pt x="43" y="114"/>
                    <a:pt x="43" y="96"/>
                  </a:cubicBezTo>
                  <a:cubicBezTo>
                    <a:pt x="43" y="54"/>
                    <a:pt x="76" y="21"/>
                    <a:pt x="118" y="21"/>
                  </a:cubicBezTo>
                  <a:cubicBezTo>
                    <a:pt x="159" y="21"/>
                    <a:pt x="192" y="54"/>
                    <a:pt x="192" y="96"/>
                  </a:cubicBezTo>
                  <a:cubicBezTo>
                    <a:pt x="192" y="102"/>
                    <a:pt x="197" y="106"/>
                    <a:pt x="203" y="106"/>
                  </a:cubicBezTo>
                  <a:cubicBezTo>
                    <a:pt x="209" y="106"/>
                    <a:pt x="214" y="102"/>
                    <a:pt x="214" y="96"/>
                  </a:cubicBezTo>
                  <a:cubicBezTo>
                    <a:pt x="214" y="43"/>
                    <a:pt x="171" y="0"/>
                    <a:pt x="118" y="0"/>
                  </a:cubicBezTo>
                  <a:cubicBezTo>
                    <a:pt x="65" y="0"/>
                    <a:pt x="22" y="43"/>
                    <a:pt x="22" y="96"/>
                  </a:cubicBezTo>
                  <a:cubicBezTo>
                    <a:pt x="22" y="114"/>
                    <a:pt x="28" y="133"/>
                    <a:pt x="40" y="149"/>
                  </a:cubicBezTo>
                  <a:cubicBezTo>
                    <a:pt x="11" y="149"/>
                    <a:pt x="11" y="149"/>
                    <a:pt x="11" y="149"/>
                  </a:cubicBezTo>
                  <a:cubicBezTo>
                    <a:pt x="5" y="149"/>
                    <a:pt x="0" y="154"/>
                    <a:pt x="0" y="160"/>
                  </a:cubicBezTo>
                  <a:cubicBezTo>
                    <a:pt x="0" y="166"/>
                    <a:pt x="5" y="170"/>
                    <a:pt x="11" y="170"/>
                  </a:cubicBezTo>
                  <a:cubicBezTo>
                    <a:pt x="59" y="170"/>
                    <a:pt x="59" y="170"/>
                    <a:pt x="59" y="170"/>
                  </a:cubicBezTo>
                  <a:cubicBezTo>
                    <a:pt x="76" y="198"/>
                    <a:pt x="62" y="241"/>
                    <a:pt x="18" y="296"/>
                  </a:cubicBezTo>
                  <a:cubicBezTo>
                    <a:pt x="15" y="300"/>
                    <a:pt x="14" y="302"/>
                    <a:pt x="13" y="303"/>
                  </a:cubicBezTo>
                  <a:cubicBezTo>
                    <a:pt x="11" y="306"/>
                    <a:pt x="10" y="311"/>
                    <a:pt x="12" y="314"/>
                  </a:cubicBezTo>
                  <a:cubicBezTo>
                    <a:pt x="14" y="318"/>
                    <a:pt x="18" y="320"/>
                    <a:pt x="22" y="320"/>
                  </a:cubicBezTo>
                  <a:cubicBezTo>
                    <a:pt x="203" y="320"/>
                    <a:pt x="203" y="320"/>
                    <a:pt x="203" y="320"/>
                  </a:cubicBezTo>
                  <a:cubicBezTo>
                    <a:pt x="209" y="320"/>
                    <a:pt x="214" y="315"/>
                    <a:pt x="214" y="309"/>
                  </a:cubicBezTo>
                  <a:cubicBezTo>
                    <a:pt x="214" y="303"/>
                    <a:pt x="209" y="298"/>
                    <a:pt x="203"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8" name="Freeform 425">
              <a:extLst>
                <a:ext uri="{FF2B5EF4-FFF2-40B4-BE49-F238E27FC236}">
                  <a16:creationId xmlns:a16="http://schemas.microsoft.com/office/drawing/2014/main" id="{88B40971-7A3B-4113-8E28-0E811EF169FF}"/>
                </a:ext>
              </a:extLst>
            </p:cNvPr>
            <p:cNvSpPr>
              <a:spLocks noEditPoints="1"/>
            </p:cNvSpPr>
            <p:nvPr/>
          </p:nvSpPr>
          <p:spPr bwMode="auto">
            <a:xfrm>
              <a:off x="4263" y="15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9" name="Freeform 429">
            <a:extLst>
              <a:ext uri="{FF2B5EF4-FFF2-40B4-BE49-F238E27FC236}">
                <a16:creationId xmlns:a16="http://schemas.microsoft.com/office/drawing/2014/main" id="{2CB91587-78E2-40E2-87C9-9EBB535C064D}"/>
              </a:ext>
            </a:extLst>
          </p:cNvPr>
          <p:cNvSpPr>
            <a:spLocks noChangeAspect="1" noEditPoints="1"/>
          </p:cNvSpPr>
          <p:nvPr/>
        </p:nvSpPr>
        <p:spPr bwMode="auto">
          <a:xfrm>
            <a:off x="2221906" y="1700213"/>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7 w 512"/>
              <a:gd name="T11" fmla="*/ 245 h 512"/>
              <a:gd name="T12" fmla="*/ 277 w 512"/>
              <a:gd name="T13" fmla="*/ 245 h 512"/>
              <a:gd name="T14" fmla="*/ 288 w 512"/>
              <a:gd name="T15" fmla="*/ 256 h 512"/>
              <a:gd name="T16" fmla="*/ 277 w 512"/>
              <a:gd name="T17" fmla="*/ 266 h 512"/>
              <a:gd name="T18" fmla="*/ 220 w 512"/>
              <a:gd name="T19" fmla="*/ 266 h 512"/>
              <a:gd name="T20" fmla="*/ 181 w 512"/>
              <a:gd name="T21" fmla="*/ 394 h 512"/>
              <a:gd name="T22" fmla="*/ 341 w 512"/>
              <a:gd name="T23" fmla="*/ 394 h 512"/>
              <a:gd name="T24" fmla="*/ 352 w 512"/>
              <a:gd name="T25" fmla="*/ 405 h 512"/>
              <a:gd name="T26" fmla="*/ 341 w 512"/>
              <a:gd name="T27" fmla="*/ 416 h 512"/>
              <a:gd name="T28" fmla="*/ 160 w 512"/>
              <a:gd name="T29" fmla="*/ 416 h 512"/>
              <a:gd name="T30" fmla="*/ 150 w 512"/>
              <a:gd name="T31" fmla="*/ 410 h 512"/>
              <a:gd name="T32" fmla="*/ 151 w 512"/>
              <a:gd name="T33" fmla="*/ 399 h 512"/>
              <a:gd name="T34" fmla="*/ 156 w 512"/>
              <a:gd name="T35" fmla="*/ 392 h 512"/>
              <a:gd name="T36" fmla="*/ 197 w 512"/>
              <a:gd name="T37" fmla="*/ 266 h 512"/>
              <a:gd name="T38" fmla="*/ 149 w 512"/>
              <a:gd name="T39" fmla="*/ 266 h 512"/>
              <a:gd name="T40" fmla="*/ 138 w 512"/>
              <a:gd name="T41" fmla="*/ 256 h 512"/>
              <a:gd name="T42" fmla="*/ 149 w 512"/>
              <a:gd name="T43" fmla="*/ 245 h 512"/>
              <a:gd name="T44" fmla="*/ 178 w 512"/>
              <a:gd name="T45" fmla="*/ 245 h 512"/>
              <a:gd name="T46" fmla="*/ 160 w 512"/>
              <a:gd name="T47" fmla="*/ 192 h 512"/>
              <a:gd name="T48" fmla="*/ 256 w 512"/>
              <a:gd name="T49" fmla="*/ 96 h 512"/>
              <a:gd name="T50" fmla="*/ 352 w 512"/>
              <a:gd name="T51" fmla="*/ 192 h 512"/>
              <a:gd name="T52" fmla="*/ 341 w 512"/>
              <a:gd name="T53" fmla="*/ 202 h 512"/>
              <a:gd name="T54" fmla="*/ 330 w 512"/>
              <a:gd name="T55" fmla="*/ 192 h 512"/>
              <a:gd name="T56" fmla="*/ 256 w 512"/>
              <a:gd name="T57" fmla="*/ 117 h 512"/>
              <a:gd name="T58" fmla="*/ 181 w 512"/>
              <a:gd name="T59" fmla="*/ 192 h 512"/>
              <a:gd name="T60" fmla="*/ 207 w 512"/>
              <a:gd name="T6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7" y="245"/>
                </a:moveTo>
                <a:cubicBezTo>
                  <a:pt x="277" y="245"/>
                  <a:pt x="277" y="245"/>
                  <a:pt x="277" y="245"/>
                </a:cubicBezTo>
                <a:cubicBezTo>
                  <a:pt x="283" y="245"/>
                  <a:pt x="288" y="250"/>
                  <a:pt x="288" y="256"/>
                </a:cubicBezTo>
                <a:cubicBezTo>
                  <a:pt x="288" y="262"/>
                  <a:pt x="283" y="266"/>
                  <a:pt x="277" y="266"/>
                </a:cubicBezTo>
                <a:cubicBezTo>
                  <a:pt x="220" y="266"/>
                  <a:pt x="220" y="266"/>
                  <a:pt x="220" y="266"/>
                </a:cubicBezTo>
                <a:cubicBezTo>
                  <a:pt x="238" y="312"/>
                  <a:pt x="203" y="366"/>
                  <a:pt x="181" y="394"/>
                </a:cubicBezTo>
                <a:cubicBezTo>
                  <a:pt x="341" y="394"/>
                  <a:pt x="341" y="394"/>
                  <a:pt x="341" y="394"/>
                </a:cubicBezTo>
                <a:cubicBezTo>
                  <a:pt x="347" y="394"/>
                  <a:pt x="352" y="399"/>
                  <a:pt x="352" y="405"/>
                </a:cubicBezTo>
                <a:cubicBezTo>
                  <a:pt x="352" y="411"/>
                  <a:pt x="347" y="416"/>
                  <a:pt x="341" y="416"/>
                </a:cubicBezTo>
                <a:cubicBezTo>
                  <a:pt x="160" y="416"/>
                  <a:pt x="160" y="416"/>
                  <a:pt x="160" y="416"/>
                </a:cubicBezTo>
                <a:cubicBezTo>
                  <a:pt x="156" y="416"/>
                  <a:pt x="152" y="414"/>
                  <a:pt x="150" y="410"/>
                </a:cubicBezTo>
                <a:cubicBezTo>
                  <a:pt x="148" y="407"/>
                  <a:pt x="149" y="402"/>
                  <a:pt x="151" y="399"/>
                </a:cubicBezTo>
                <a:cubicBezTo>
                  <a:pt x="152" y="398"/>
                  <a:pt x="153" y="396"/>
                  <a:pt x="156" y="392"/>
                </a:cubicBezTo>
                <a:cubicBezTo>
                  <a:pt x="200" y="337"/>
                  <a:pt x="214" y="294"/>
                  <a:pt x="197" y="266"/>
                </a:cubicBezTo>
                <a:cubicBezTo>
                  <a:pt x="149" y="266"/>
                  <a:pt x="149" y="266"/>
                  <a:pt x="149" y="266"/>
                </a:cubicBezTo>
                <a:cubicBezTo>
                  <a:pt x="143" y="266"/>
                  <a:pt x="138" y="262"/>
                  <a:pt x="138" y="256"/>
                </a:cubicBezTo>
                <a:cubicBezTo>
                  <a:pt x="138" y="250"/>
                  <a:pt x="143" y="245"/>
                  <a:pt x="149" y="245"/>
                </a:cubicBezTo>
                <a:cubicBezTo>
                  <a:pt x="178" y="245"/>
                  <a:pt x="178" y="245"/>
                  <a:pt x="178" y="245"/>
                </a:cubicBezTo>
                <a:cubicBezTo>
                  <a:pt x="166" y="229"/>
                  <a:pt x="160" y="210"/>
                  <a:pt x="160" y="192"/>
                </a:cubicBezTo>
                <a:cubicBezTo>
                  <a:pt x="160" y="139"/>
                  <a:pt x="203" y="96"/>
                  <a:pt x="256" y="96"/>
                </a:cubicBezTo>
                <a:cubicBezTo>
                  <a:pt x="309" y="96"/>
                  <a:pt x="352" y="139"/>
                  <a:pt x="352" y="192"/>
                </a:cubicBezTo>
                <a:cubicBezTo>
                  <a:pt x="352" y="198"/>
                  <a:pt x="347" y="202"/>
                  <a:pt x="341" y="202"/>
                </a:cubicBezTo>
                <a:cubicBezTo>
                  <a:pt x="335" y="202"/>
                  <a:pt x="330" y="198"/>
                  <a:pt x="330" y="192"/>
                </a:cubicBezTo>
                <a:cubicBezTo>
                  <a:pt x="330" y="150"/>
                  <a:pt x="297" y="117"/>
                  <a:pt x="256" y="117"/>
                </a:cubicBezTo>
                <a:cubicBezTo>
                  <a:pt x="214" y="117"/>
                  <a:pt x="181" y="150"/>
                  <a:pt x="181" y="192"/>
                </a:cubicBezTo>
                <a:cubicBezTo>
                  <a:pt x="181" y="210"/>
                  <a:pt x="190" y="230"/>
                  <a:pt x="207" y="24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0" name="Freeform 941">
            <a:extLst>
              <a:ext uri="{FF2B5EF4-FFF2-40B4-BE49-F238E27FC236}">
                <a16:creationId xmlns:a16="http://schemas.microsoft.com/office/drawing/2014/main" id="{2688A40F-6B79-4AB4-BD66-BC47B89798B2}"/>
              </a:ext>
            </a:extLst>
          </p:cNvPr>
          <p:cNvSpPr>
            <a:spLocks noChangeAspect="1" noEditPoints="1"/>
          </p:cNvSpPr>
          <p:nvPr/>
        </p:nvSpPr>
        <p:spPr bwMode="auto">
          <a:xfrm>
            <a:off x="3092668" y="170021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2 w 512"/>
              <a:gd name="T11" fmla="*/ 277 h 512"/>
              <a:gd name="T12" fmla="*/ 266 w 512"/>
              <a:gd name="T13" fmla="*/ 277 h 512"/>
              <a:gd name="T14" fmla="*/ 266 w 512"/>
              <a:gd name="T15" fmla="*/ 405 h 512"/>
              <a:gd name="T16" fmla="*/ 256 w 512"/>
              <a:gd name="T17" fmla="*/ 416 h 512"/>
              <a:gd name="T18" fmla="*/ 245 w 512"/>
              <a:gd name="T19" fmla="*/ 405 h 512"/>
              <a:gd name="T20" fmla="*/ 245 w 512"/>
              <a:gd name="T21" fmla="*/ 277 h 512"/>
              <a:gd name="T22" fmla="*/ 149 w 512"/>
              <a:gd name="T23" fmla="*/ 277 h 512"/>
              <a:gd name="T24" fmla="*/ 138 w 512"/>
              <a:gd name="T25" fmla="*/ 266 h 512"/>
              <a:gd name="T26" fmla="*/ 149 w 512"/>
              <a:gd name="T27" fmla="*/ 256 h 512"/>
              <a:gd name="T28" fmla="*/ 242 w 512"/>
              <a:gd name="T29" fmla="*/ 256 h 512"/>
              <a:gd name="T30" fmla="*/ 141 w 512"/>
              <a:gd name="T31" fmla="*/ 134 h 512"/>
              <a:gd name="T32" fmla="*/ 142 w 512"/>
              <a:gd name="T33" fmla="*/ 119 h 512"/>
              <a:gd name="T34" fmla="*/ 157 w 512"/>
              <a:gd name="T35" fmla="*/ 121 h 512"/>
              <a:gd name="T36" fmla="*/ 256 w 512"/>
              <a:gd name="T37" fmla="*/ 239 h 512"/>
              <a:gd name="T38" fmla="*/ 354 w 512"/>
              <a:gd name="T39" fmla="*/ 121 h 512"/>
              <a:gd name="T40" fmla="*/ 369 w 512"/>
              <a:gd name="T41" fmla="*/ 119 h 512"/>
              <a:gd name="T42" fmla="*/ 371 w 512"/>
              <a:gd name="T43" fmla="*/ 134 h 512"/>
              <a:gd name="T44" fmla="*/ 270 w 512"/>
              <a:gd name="T45" fmla="*/ 256 h 512"/>
              <a:gd name="T46" fmla="*/ 362 w 512"/>
              <a:gd name="T47" fmla="*/ 256 h 512"/>
              <a:gd name="T48" fmla="*/ 373 w 512"/>
              <a:gd name="T49" fmla="*/ 266 h 512"/>
              <a:gd name="T50" fmla="*/ 362 w 512"/>
              <a:gd name="T5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277"/>
                </a:moveTo>
                <a:cubicBezTo>
                  <a:pt x="266" y="277"/>
                  <a:pt x="266" y="277"/>
                  <a:pt x="266" y="277"/>
                </a:cubicBezTo>
                <a:cubicBezTo>
                  <a:pt x="266" y="405"/>
                  <a:pt x="266" y="405"/>
                  <a:pt x="266" y="405"/>
                </a:cubicBezTo>
                <a:cubicBezTo>
                  <a:pt x="266" y="411"/>
                  <a:pt x="262" y="416"/>
                  <a:pt x="256" y="416"/>
                </a:cubicBezTo>
                <a:cubicBezTo>
                  <a:pt x="250" y="416"/>
                  <a:pt x="245" y="411"/>
                  <a:pt x="245" y="405"/>
                </a:cubicBezTo>
                <a:cubicBezTo>
                  <a:pt x="245" y="277"/>
                  <a:pt x="245" y="277"/>
                  <a:pt x="245" y="277"/>
                </a:cubicBezTo>
                <a:cubicBezTo>
                  <a:pt x="149" y="277"/>
                  <a:pt x="149" y="277"/>
                  <a:pt x="149" y="277"/>
                </a:cubicBezTo>
                <a:cubicBezTo>
                  <a:pt x="143" y="277"/>
                  <a:pt x="138" y="272"/>
                  <a:pt x="138" y="266"/>
                </a:cubicBezTo>
                <a:cubicBezTo>
                  <a:pt x="138" y="260"/>
                  <a:pt x="143" y="256"/>
                  <a:pt x="149" y="256"/>
                </a:cubicBezTo>
                <a:cubicBezTo>
                  <a:pt x="242" y="256"/>
                  <a:pt x="242" y="256"/>
                  <a:pt x="242" y="256"/>
                </a:cubicBezTo>
                <a:cubicBezTo>
                  <a:pt x="141" y="134"/>
                  <a:pt x="141" y="134"/>
                  <a:pt x="141" y="134"/>
                </a:cubicBezTo>
                <a:cubicBezTo>
                  <a:pt x="137" y="130"/>
                  <a:pt x="138" y="123"/>
                  <a:pt x="142" y="119"/>
                </a:cubicBezTo>
                <a:cubicBezTo>
                  <a:pt x="147" y="116"/>
                  <a:pt x="153" y="116"/>
                  <a:pt x="157" y="121"/>
                </a:cubicBezTo>
                <a:cubicBezTo>
                  <a:pt x="256" y="239"/>
                  <a:pt x="256" y="239"/>
                  <a:pt x="256" y="239"/>
                </a:cubicBezTo>
                <a:cubicBezTo>
                  <a:pt x="354" y="121"/>
                  <a:pt x="354" y="121"/>
                  <a:pt x="354" y="121"/>
                </a:cubicBezTo>
                <a:cubicBezTo>
                  <a:pt x="358" y="116"/>
                  <a:pt x="365" y="116"/>
                  <a:pt x="369" y="119"/>
                </a:cubicBezTo>
                <a:cubicBezTo>
                  <a:pt x="374" y="123"/>
                  <a:pt x="374" y="130"/>
                  <a:pt x="371" y="134"/>
                </a:cubicBezTo>
                <a:cubicBezTo>
                  <a:pt x="270" y="256"/>
                  <a:pt x="270" y="256"/>
                  <a:pt x="270" y="256"/>
                </a:cubicBezTo>
                <a:cubicBezTo>
                  <a:pt x="362" y="256"/>
                  <a:pt x="362" y="256"/>
                  <a:pt x="362" y="256"/>
                </a:cubicBezTo>
                <a:cubicBezTo>
                  <a:pt x="368" y="256"/>
                  <a:pt x="373" y="260"/>
                  <a:pt x="373" y="266"/>
                </a:cubicBezTo>
                <a:cubicBezTo>
                  <a:pt x="373" y="272"/>
                  <a:pt x="368" y="277"/>
                  <a:pt x="362" y="27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1" name="Group 935">
            <a:extLst>
              <a:ext uri="{FF2B5EF4-FFF2-40B4-BE49-F238E27FC236}">
                <a16:creationId xmlns:a16="http://schemas.microsoft.com/office/drawing/2014/main" id="{B2291464-696A-4481-B5F9-3CABC81F53C8}"/>
              </a:ext>
            </a:extLst>
          </p:cNvPr>
          <p:cNvGrpSpPr>
            <a:grpSpLocks noChangeAspect="1"/>
          </p:cNvGrpSpPr>
          <p:nvPr/>
        </p:nvGrpSpPr>
        <p:grpSpPr bwMode="auto">
          <a:xfrm>
            <a:off x="3528704" y="1700213"/>
            <a:ext cx="369676" cy="369676"/>
            <a:chOff x="418" y="3436"/>
            <a:chExt cx="340" cy="340"/>
          </a:xfrm>
          <a:solidFill>
            <a:schemeClr val="accent4"/>
          </a:solidFill>
        </p:grpSpPr>
        <p:sp>
          <p:nvSpPr>
            <p:cNvPr id="132" name="Freeform 269">
              <a:extLst>
                <a:ext uri="{FF2B5EF4-FFF2-40B4-BE49-F238E27FC236}">
                  <a16:creationId xmlns:a16="http://schemas.microsoft.com/office/drawing/2014/main" id="{FC730D02-3752-448B-B947-A9ED28C08BBA}"/>
                </a:ext>
              </a:extLst>
            </p:cNvPr>
            <p:cNvSpPr>
              <a:spLocks/>
            </p:cNvSpPr>
            <p:nvPr/>
          </p:nvSpPr>
          <p:spPr bwMode="auto">
            <a:xfrm>
              <a:off x="509" y="3513"/>
              <a:ext cx="157" cy="199"/>
            </a:xfrm>
            <a:custGeom>
              <a:avLst/>
              <a:gdLst>
                <a:gd name="T0" fmla="*/ 225 w 237"/>
                <a:gd name="T1" fmla="*/ 140 h 300"/>
                <a:gd name="T2" fmla="*/ 133 w 237"/>
                <a:gd name="T3" fmla="*/ 140 h 300"/>
                <a:gd name="T4" fmla="*/ 234 w 237"/>
                <a:gd name="T5" fmla="*/ 18 h 300"/>
                <a:gd name="T6" fmla="*/ 232 w 237"/>
                <a:gd name="T7" fmla="*/ 3 h 300"/>
                <a:gd name="T8" fmla="*/ 217 w 237"/>
                <a:gd name="T9" fmla="*/ 5 h 300"/>
                <a:gd name="T10" fmla="*/ 119 w 237"/>
                <a:gd name="T11" fmla="*/ 123 h 300"/>
                <a:gd name="T12" fmla="*/ 20 w 237"/>
                <a:gd name="T13" fmla="*/ 5 h 300"/>
                <a:gd name="T14" fmla="*/ 5 w 237"/>
                <a:gd name="T15" fmla="*/ 3 h 300"/>
                <a:gd name="T16" fmla="*/ 4 w 237"/>
                <a:gd name="T17" fmla="*/ 18 h 300"/>
                <a:gd name="T18" fmla="*/ 105 w 237"/>
                <a:gd name="T19" fmla="*/ 140 h 300"/>
                <a:gd name="T20" fmla="*/ 12 w 237"/>
                <a:gd name="T21" fmla="*/ 140 h 300"/>
                <a:gd name="T22" fmla="*/ 1 w 237"/>
                <a:gd name="T23" fmla="*/ 150 h 300"/>
                <a:gd name="T24" fmla="*/ 12 w 237"/>
                <a:gd name="T25" fmla="*/ 161 h 300"/>
                <a:gd name="T26" fmla="*/ 108 w 237"/>
                <a:gd name="T27" fmla="*/ 161 h 300"/>
                <a:gd name="T28" fmla="*/ 108 w 237"/>
                <a:gd name="T29" fmla="*/ 289 h 300"/>
                <a:gd name="T30" fmla="*/ 119 w 237"/>
                <a:gd name="T31" fmla="*/ 300 h 300"/>
                <a:gd name="T32" fmla="*/ 129 w 237"/>
                <a:gd name="T33" fmla="*/ 289 h 300"/>
                <a:gd name="T34" fmla="*/ 129 w 237"/>
                <a:gd name="T35" fmla="*/ 161 h 300"/>
                <a:gd name="T36" fmla="*/ 225 w 237"/>
                <a:gd name="T37" fmla="*/ 161 h 300"/>
                <a:gd name="T38" fmla="*/ 236 w 237"/>
                <a:gd name="T39" fmla="*/ 150 h 300"/>
                <a:gd name="T40" fmla="*/ 225 w 237"/>
                <a:gd name="T41" fmla="*/ 14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 h="300">
                  <a:moveTo>
                    <a:pt x="225" y="140"/>
                  </a:moveTo>
                  <a:cubicBezTo>
                    <a:pt x="133" y="140"/>
                    <a:pt x="133" y="140"/>
                    <a:pt x="133" y="140"/>
                  </a:cubicBezTo>
                  <a:cubicBezTo>
                    <a:pt x="234" y="18"/>
                    <a:pt x="234" y="18"/>
                    <a:pt x="234" y="18"/>
                  </a:cubicBezTo>
                  <a:cubicBezTo>
                    <a:pt x="237" y="14"/>
                    <a:pt x="237" y="7"/>
                    <a:pt x="232" y="3"/>
                  </a:cubicBezTo>
                  <a:cubicBezTo>
                    <a:pt x="228" y="0"/>
                    <a:pt x="221" y="0"/>
                    <a:pt x="217" y="5"/>
                  </a:cubicBezTo>
                  <a:cubicBezTo>
                    <a:pt x="119" y="123"/>
                    <a:pt x="119" y="123"/>
                    <a:pt x="119" y="123"/>
                  </a:cubicBezTo>
                  <a:cubicBezTo>
                    <a:pt x="20" y="5"/>
                    <a:pt x="20" y="5"/>
                    <a:pt x="20" y="5"/>
                  </a:cubicBezTo>
                  <a:cubicBezTo>
                    <a:pt x="16" y="0"/>
                    <a:pt x="10" y="0"/>
                    <a:pt x="5" y="3"/>
                  </a:cubicBezTo>
                  <a:cubicBezTo>
                    <a:pt x="1" y="7"/>
                    <a:pt x="0" y="14"/>
                    <a:pt x="4" y="18"/>
                  </a:cubicBezTo>
                  <a:cubicBezTo>
                    <a:pt x="105" y="140"/>
                    <a:pt x="105" y="140"/>
                    <a:pt x="105" y="140"/>
                  </a:cubicBezTo>
                  <a:cubicBezTo>
                    <a:pt x="12" y="140"/>
                    <a:pt x="12" y="140"/>
                    <a:pt x="12" y="140"/>
                  </a:cubicBezTo>
                  <a:cubicBezTo>
                    <a:pt x="6" y="140"/>
                    <a:pt x="1" y="144"/>
                    <a:pt x="1" y="150"/>
                  </a:cubicBezTo>
                  <a:cubicBezTo>
                    <a:pt x="1" y="156"/>
                    <a:pt x="6" y="161"/>
                    <a:pt x="12" y="161"/>
                  </a:cubicBezTo>
                  <a:cubicBezTo>
                    <a:pt x="108" y="161"/>
                    <a:pt x="108" y="161"/>
                    <a:pt x="108" y="161"/>
                  </a:cubicBezTo>
                  <a:cubicBezTo>
                    <a:pt x="108" y="289"/>
                    <a:pt x="108" y="289"/>
                    <a:pt x="108" y="289"/>
                  </a:cubicBezTo>
                  <a:cubicBezTo>
                    <a:pt x="108" y="295"/>
                    <a:pt x="113" y="300"/>
                    <a:pt x="119" y="300"/>
                  </a:cubicBezTo>
                  <a:cubicBezTo>
                    <a:pt x="125" y="300"/>
                    <a:pt x="129" y="295"/>
                    <a:pt x="129" y="289"/>
                  </a:cubicBezTo>
                  <a:cubicBezTo>
                    <a:pt x="129" y="161"/>
                    <a:pt x="129" y="161"/>
                    <a:pt x="129" y="161"/>
                  </a:cubicBezTo>
                  <a:cubicBezTo>
                    <a:pt x="225" y="161"/>
                    <a:pt x="225" y="161"/>
                    <a:pt x="225" y="161"/>
                  </a:cubicBezTo>
                  <a:cubicBezTo>
                    <a:pt x="231" y="161"/>
                    <a:pt x="236" y="156"/>
                    <a:pt x="236" y="150"/>
                  </a:cubicBezTo>
                  <a:cubicBezTo>
                    <a:pt x="236" y="144"/>
                    <a:pt x="231" y="140"/>
                    <a:pt x="225"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3" name="Freeform 270">
              <a:extLst>
                <a:ext uri="{FF2B5EF4-FFF2-40B4-BE49-F238E27FC236}">
                  <a16:creationId xmlns:a16="http://schemas.microsoft.com/office/drawing/2014/main" id="{99DF1CDF-9184-4E25-BF10-5CB2CD834028}"/>
                </a:ext>
              </a:extLst>
            </p:cNvPr>
            <p:cNvSpPr>
              <a:spLocks noEditPoints="1"/>
            </p:cNvSpPr>
            <p:nvPr/>
          </p:nvSpPr>
          <p:spPr bwMode="auto">
            <a:xfrm>
              <a:off x="418" y="343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4" name="Group 345">
            <a:extLst>
              <a:ext uri="{FF2B5EF4-FFF2-40B4-BE49-F238E27FC236}">
                <a16:creationId xmlns:a16="http://schemas.microsoft.com/office/drawing/2014/main" id="{46A6877D-86D0-4586-909B-99EE29044CF1}"/>
              </a:ext>
            </a:extLst>
          </p:cNvPr>
          <p:cNvGrpSpPr>
            <a:grpSpLocks noChangeAspect="1"/>
          </p:cNvGrpSpPr>
          <p:nvPr/>
        </p:nvGrpSpPr>
        <p:grpSpPr bwMode="auto">
          <a:xfrm>
            <a:off x="4400121" y="1700213"/>
            <a:ext cx="369021" cy="369021"/>
            <a:chOff x="3451" y="1171"/>
            <a:chExt cx="340" cy="340"/>
          </a:xfrm>
          <a:solidFill>
            <a:schemeClr val="accent4"/>
          </a:solidFill>
        </p:grpSpPr>
        <p:sp>
          <p:nvSpPr>
            <p:cNvPr id="135" name="Freeform 346">
              <a:extLst>
                <a:ext uri="{FF2B5EF4-FFF2-40B4-BE49-F238E27FC236}">
                  <a16:creationId xmlns:a16="http://schemas.microsoft.com/office/drawing/2014/main" id="{8D0A6704-B1F8-401B-8106-9A552BABE117}"/>
                </a:ext>
              </a:extLst>
            </p:cNvPr>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6" name="Freeform 347">
              <a:extLst>
                <a:ext uri="{FF2B5EF4-FFF2-40B4-BE49-F238E27FC236}">
                  <a16:creationId xmlns:a16="http://schemas.microsoft.com/office/drawing/2014/main" id="{BBCD6612-7AC6-44BD-ADC5-478A8C7508D7}"/>
                </a:ext>
              </a:extLst>
            </p:cNvPr>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7" name="Freeform 351">
            <a:extLst>
              <a:ext uri="{FF2B5EF4-FFF2-40B4-BE49-F238E27FC236}">
                <a16:creationId xmlns:a16="http://schemas.microsoft.com/office/drawing/2014/main" id="{9D9C0D04-3A79-46FF-890D-A396FEE861F2}"/>
              </a:ext>
            </a:extLst>
          </p:cNvPr>
          <p:cNvSpPr>
            <a:spLocks noChangeAspect="1" noEditPoints="1"/>
          </p:cNvSpPr>
          <p:nvPr/>
        </p:nvSpPr>
        <p:spPr bwMode="auto">
          <a:xfrm>
            <a:off x="3964740" y="1700213"/>
            <a:ext cx="369021" cy="369021"/>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8" name="Group 374">
            <a:extLst>
              <a:ext uri="{FF2B5EF4-FFF2-40B4-BE49-F238E27FC236}">
                <a16:creationId xmlns:a16="http://schemas.microsoft.com/office/drawing/2014/main" id="{83D832B0-DD11-4FA0-AE1F-8DD0826D03BD}"/>
              </a:ext>
            </a:extLst>
          </p:cNvPr>
          <p:cNvGrpSpPr>
            <a:grpSpLocks noChangeAspect="1"/>
          </p:cNvGrpSpPr>
          <p:nvPr/>
        </p:nvGrpSpPr>
        <p:grpSpPr bwMode="auto">
          <a:xfrm>
            <a:off x="4835502" y="1700213"/>
            <a:ext cx="367631" cy="367631"/>
            <a:chOff x="6996" y="1195"/>
            <a:chExt cx="340" cy="340"/>
          </a:xfrm>
          <a:solidFill>
            <a:schemeClr val="accent4"/>
          </a:solidFill>
        </p:grpSpPr>
        <p:sp>
          <p:nvSpPr>
            <p:cNvPr id="139" name="Freeform 375">
              <a:extLst>
                <a:ext uri="{FF2B5EF4-FFF2-40B4-BE49-F238E27FC236}">
                  <a16:creationId xmlns:a16="http://schemas.microsoft.com/office/drawing/2014/main" id="{300BD2B5-EFED-4908-8829-F4CCB1CE475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0" name="Freeform 376">
              <a:extLst>
                <a:ext uri="{FF2B5EF4-FFF2-40B4-BE49-F238E27FC236}">
                  <a16:creationId xmlns:a16="http://schemas.microsoft.com/office/drawing/2014/main" id="{15E01815-3989-4481-8C43-27345E14F2C2}"/>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1" name="Freeform 377">
              <a:extLst>
                <a:ext uri="{FF2B5EF4-FFF2-40B4-BE49-F238E27FC236}">
                  <a16:creationId xmlns:a16="http://schemas.microsoft.com/office/drawing/2014/main" id="{7F2D5F19-8E5B-48C6-ABE0-BAC3BC64B0A3}"/>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2" name="Group 380">
            <a:extLst>
              <a:ext uri="{FF2B5EF4-FFF2-40B4-BE49-F238E27FC236}">
                <a16:creationId xmlns:a16="http://schemas.microsoft.com/office/drawing/2014/main" id="{7916CA79-AABE-4D9F-9F24-7426690AA2F0}"/>
              </a:ext>
            </a:extLst>
          </p:cNvPr>
          <p:cNvGrpSpPr>
            <a:grpSpLocks noChangeAspect="1"/>
          </p:cNvGrpSpPr>
          <p:nvPr/>
        </p:nvGrpSpPr>
        <p:grpSpPr bwMode="auto">
          <a:xfrm>
            <a:off x="5269493" y="1700213"/>
            <a:ext cx="367631" cy="367631"/>
            <a:chOff x="7362" y="1207"/>
            <a:chExt cx="340" cy="340"/>
          </a:xfrm>
          <a:solidFill>
            <a:schemeClr val="accent4"/>
          </a:solidFill>
        </p:grpSpPr>
        <p:sp>
          <p:nvSpPr>
            <p:cNvPr id="143" name="Freeform 381">
              <a:extLst>
                <a:ext uri="{FF2B5EF4-FFF2-40B4-BE49-F238E27FC236}">
                  <a16:creationId xmlns:a16="http://schemas.microsoft.com/office/drawing/2014/main" id="{9BEF09BF-92A8-4AE3-AF97-51869B5463CE}"/>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4" name="Freeform 382">
              <a:extLst>
                <a:ext uri="{FF2B5EF4-FFF2-40B4-BE49-F238E27FC236}">
                  <a16:creationId xmlns:a16="http://schemas.microsoft.com/office/drawing/2014/main" id="{56279E92-3E02-4192-945F-181D74728BAC}"/>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5" name="Group 526">
            <a:extLst>
              <a:ext uri="{FF2B5EF4-FFF2-40B4-BE49-F238E27FC236}">
                <a16:creationId xmlns:a16="http://schemas.microsoft.com/office/drawing/2014/main" id="{4359E7AE-DC63-4D75-B8ED-596D5B66E5E3}"/>
              </a:ext>
            </a:extLst>
          </p:cNvPr>
          <p:cNvGrpSpPr>
            <a:grpSpLocks noChangeAspect="1"/>
          </p:cNvGrpSpPr>
          <p:nvPr/>
        </p:nvGrpSpPr>
        <p:grpSpPr bwMode="auto">
          <a:xfrm>
            <a:off x="6138865" y="1700213"/>
            <a:ext cx="369021" cy="369021"/>
            <a:chOff x="3464" y="1974"/>
            <a:chExt cx="340" cy="340"/>
          </a:xfrm>
          <a:solidFill>
            <a:schemeClr val="accent6"/>
          </a:solidFill>
        </p:grpSpPr>
        <p:sp>
          <p:nvSpPr>
            <p:cNvPr id="146" name="Freeform 527">
              <a:extLst>
                <a:ext uri="{FF2B5EF4-FFF2-40B4-BE49-F238E27FC236}">
                  <a16:creationId xmlns:a16="http://schemas.microsoft.com/office/drawing/2014/main" id="{2D1D5209-4A62-41A6-98D0-19DBB3C687D7}"/>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7" name="Freeform 528">
              <a:extLst>
                <a:ext uri="{FF2B5EF4-FFF2-40B4-BE49-F238E27FC236}">
                  <a16:creationId xmlns:a16="http://schemas.microsoft.com/office/drawing/2014/main" id="{5A33162C-3C9B-430F-A7F5-1A3E9DEE9A22}"/>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8" name="Group 531">
            <a:extLst>
              <a:ext uri="{FF2B5EF4-FFF2-40B4-BE49-F238E27FC236}">
                <a16:creationId xmlns:a16="http://schemas.microsoft.com/office/drawing/2014/main" id="{AECCFFA3-B9C6-47A6-894B-00978C5A069A}"/>
              </a:ext>
            </a:extLst>
          </p:cNvPr>
          <p:cNvGrpSpPr>
            <a:grpSpLocks noChangeAspect="1"/>
          </p:cNvGrpSpPr>
          <p:nvPr/>
        </p:nvGrpSpPr>
        <p:grpSpPr bwMode="auto">
          <a:xfrm>
            <a:off x="5703484" y="1700213"/>
            <a:ext cx="369021" cy="369021"/>
            <a:chOff x="3061" y="1953"/>
            <a:chExt cx="340" cy="340"/>
          </a:xfrm>
          <a:solidFill>
            <a:schemeClr val="accent6"/>
          </a:solidFill>
        </p:grpSpPr>
        <p:sp>
          <p:nvSpPr>
            <p:cNvPr id="149" name="Freeform 532">
              <a:extLst>
                <a:ext uri="{FF2B5EF4-FFF2-40B4-BE49-F238E27FC236}">
                  <a16:creationId xmlns:a16="http://schemas.microsoft.com/office/drawing/2014/main" id="{502BA81F-94AB-454E-B92B-A299AF4C16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0" name="Freeform 533">
              <a:extLst>
                <a:ext uri="{FF2B5EF4-FFF2-40B4-BE49-F238E27FC236}">
                  <a16:creationId xmlns:a16="http://schemas.microsoft.com/office/drawing/2014/main" id="{AD46A816-5140-4694-8DB3-2DFEF82DC35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1" name="Freeform 45">
            <a:extLst>
              <a:ext uri="{FF2B5EF4-FFF2-40B4-BE49-F238E27FC236}">
                <a16:creationId xmlns:a16="http://schemas.microsoft.com/office/drawing/2014/main" id="{578BB1C6-699D-4559-ADC9-42CE60569A06}"/>
              </a:ext>
            </a:extLst>
          </p:cNvPr>
          <p:cNvSpPr>
            <a:spLocks noChangeAspect="1" noEditPoints="1"/>
          </p:cNvSpPr>
          <p:nvPr/>
        </p:nvSpPr>
        <p:spPr bwMode="auto">
          <a:xfrm>
            <a:off x="6574246" y="1700213"/>
            <a:ext cx="367631" cy="367631"/>
          </a:xfrm>
          <a:custGeom>
            <a:avLst/>
            <a:gdLst>
              <a:gd name="T0" fmla="*/ 181 w 512"/>
              <a:gd name="T1" fmla="*/ 352 h 512"/>
              <a:gd name="T2" fmla="*/ 202 w 512"/>
              <a:gd name="T3" fmla="*/ 330 h 512"/>
              <a:gd name="T4" fmla="*/ 160 w 512"/>
              <a:gd name="T5" fmla="*/ 394 h 512"/>
              <a:gd name="T6" fmla="*/ 181 w 512"/>
              <a:gd name="T7" fmla="*/ 373 h 512"/>
              <a:gd name="T8" fmla="*/ 160 w 512"/>
              <a:gd name="T9" fmla="*/ 394 h 512"/>
              <a:gd name="T10" fmla="*/ 224 w 512"/>
              <a:gd name="T11" fmla="*/ 330 h 512"/>
              <a:gd name="T12" fmla="*/ 245 w 512"/>
              <a:gd name="T13" fmla="*/ 352 h 512"/>
              <a:gd name="T14" fmla="*/ 202 w 512"/>
              <a:gd name="T15" fmla="*/ 394 h 512"/>
              <a:gd name="T16" fmla="*/ 224 w 512"/>
              <a:gd name="T17" fmla="*/ 373 h 512"/>
              <a:gd name="T18" fmla="*/ 202 w 512"/>
              <a:gd name="T19" fmla="*/ 394 h 512"/>
              <a:gd name="T20" fmla="*/ 138 w 512"/>
              <a:gd name="T21" fmla="*/ 330 h 512"/>
              <a:gd name="T22" fmla="*/ 149 w 512"/>
              <a:gd name="T23" fmla="*/ 352 h 512"/>
              <a:gd name="T24" fmla="*/ 160 w 512"/>
              <a:gd name="T25" fmla="*/ 330 h 512"/>
              <a:gd name="T26" fmla="*/ 149 w 512"/>
              <a:gd name="T27" fmla="*/ 213 h 512"/>
              <a:gd name="T28" fmla="*/ 341 w 512"/>
              <a:gd name="T29" fmla="*/ 213 h 512"/>
              <a:gd name="T30" fmla="*/ 243 w 512"/>
              <a:gd name="T31" fmla="*/ 264 h 512"/>
              <a:gd name="T32" fmla="*/ 245 w 512"/>
              <a:gd name="T33" fmla="*/ 277 h 512"/>
              <a:gd name="T34" fmla="*/ 256 w 512"/>
              <a:gd name="T35" fmla="*/ 263 h 512"/>
              <a:gd name="T36" fmla="*/ 278 w 512"/>
              <a:gd name="T37" fmla="*/ 236 h 512"/>
              <a:gd name="T38" fmla="*/ 253 w 512"/>
              <a:gd name="T39" fmla="*/ 206 h 512"/>
              <a:gd name="T40" fmla="*/ 236 w 512"/>
              <a:gd name="T41" fmla="*/ 195 h 512"/>
              <a:gd name="T42" fmla="*/ 238 w 512"/>
              <a:gd name="T43" fmla="*/ 183 h 512"/>
              <a:gd name="T44" fmla="*/ 257 w 512"/>
              <a:gd name="T45" fmla="*/ 182 h 512"/>
              <a:gd name="T46" fmla="*/ 277 w 512"/>
              <a:gd name="T47" fmla="*/ 170 h 512"/>
              <a:gd name="T48" fmla="*/ 256 w 512"/>
              <a:gd name="T49" fmla="*/ 163 h 512"/>
              <a:gd name="T50" fmla="*/ 245 w 512"/>
              <a:gd name="T51" fmla="*/ 149 h 512"/>
              <a:gd name="T52" fmla="*/ 225 w 512"/>
              <a:gd name="T53" fmla="*/ 171 h 512"/>
              <a:gd name="T54" fmla="*/ 217 w 512"/>
              <a:gd name="T55" fmla="*/ 203 h 512"/>
              <a:gd name="T56" fmla="*/ 238 w 512"/>
              <a:gd name="T57" fmla="*/ 220 h 512"/>
              <a:gd name="T58" fmla="*/ 255 w 512"/>
              <a:gd name="T59" fmla="*/ 231 h 512"/>
              <a:gd name="T60" fmla="*/ 253 w 512"/>
              <a:gd name="T61" fmla="*/ 244 h 512"/>
              <a:gd name="T62" fmla="*/ 230 w 512"/>
              <a:gd name="T63" fmla="*/ 245 h 512"/>
              <a:gd name="T64" fmla="*/ 213 w 512"/>
              <a:gd name="T65" fmla="*/ 258 h 512"/>
              <a:gd name="T66" fmla="*/ 330 w 512"/>
              <a:gd name="T67" fmla="*/ 373 h 512"/>
              <a:gd name="T68" fmla="*/ 352 w 512"/>
              <a:gd name="T69" fmla="*/ 394 h 512"/>
              <a:gd name="T70" fmla="*/ 341 w 512"/>
              <a:gd name="T71" fmla="*/ 373 h 512"/>
              <a:gd name="T72" fmla="*/ 330 w 512"/>
              <a:gd name="T73" fmla="*/ 330 h 512"/>
              <a:gd name="T74" fmla="*/ 309 w 512"/>
              <a:gd name="T75" fmla="*/ 352 h 512"/>
              <a:gd name="T76" fmla="*/ 330 w 512"/>
              <a:gd name="T77" fmla="*/ 330 h 512"/>
              <a:gd name="T78" fmla="*/ 256 w 512"/>
              <a:gd name="T79" fmla="*/ 512 h 512"/>
              <a:gd name="T80" fmla="*/ 256 w 512"/>
              <a:gd name="T81" fmla="*/ 0 h 512"/>
              <a:gd name="T82" fmla="*/ 373 w 512"/>
              <a:gd name="T83" fmla="*/ 362 h 512"/>
              <a:gd name="T84" fmla="*/ 352 w 512"/>
              <a:gd name="T85" fmla="*/ 352 h 512"/>
              <a:gd name="T86" fmla="*/ 341 w 512"/>
              <a:gd name="T87" fmla="*/ 309 h 512"/>
              <a:gd name="T88" fmla="*/ 362 w 512"/>
              <a:gd name="T89" fmla="*/ 213 h 512"/>
              <a:gd name="T90" fmla="*/ 128 w 512"/>
              <a:gd name="T91" fmla="*/ 213 h 512"/>
              <a:gd name="T92" fmla="*/ 128 w 512"/>
              <a:gd name="T93" fmla="*/ 309 h 512"/>
              <a:gd name="T94" fmla="*/ 117 w 512"/>
              <a:gd name="T95" fmla="*/ 362 h 512"/>
              <a:gd name="T96" fmla="*/ 138 w 512"/>
              <a:gd name="T97" fmla="*/ 373 h 512"/>
              <a:gd name="T98" fmla="*/ 149 w 512"/>
              <a:gd name="T99" fmla="*/ 416 h 512"/>
              <a:gd name="T100" fmla="*/ 373 w 512"/>
              <a:gd name="T101" fmla="*/ 405 h 512"/>
              <a:gd name="T102" fmla="*/ 245 w 512"/>
              <a:gd name="T103" fmla="*/ 394 h 512"/>
              <a:gd name="T104" fmla="*/ 266 w 512"/>
              <a:gd name="T105" fmla="*/ 373 h 512"/>
              <a:gd name="T106" fmla="*/ 245 w 512"/>
              <a:gd name="T107" fmla="*/ 394 h 512"/>
              <a:gd name="T108" fmla="*/ 309 w 512"/>
              <a:gd name="T109" fmla="*/ 394 h 512"/>
              <a:gd name="T110" fmla="*/ 288 w 512"/>
              <a:gd name="T111" fmla="*/ 373 h 512"/>
              <a:gd name="T112" fmla="*/ 288 w 512"/>
              <a:gd name="T113" fmla="*/ 330 h 512"/>
              <a:gd name="T114" fmla="*/ 266 w 512"/>
              <a:gd name="T115" fmla="*/ 352 h 512"/>
              <a:gd name="T116" fmla="*/ 288 w 512"/>
              <a:gd name="T11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02" y="352"/>
                </a:moveTo>
                <a:cubicBezTo>
                  <a:pt x="181" y="352"/>
                  <a:pt x="181" y="352"/>
                  <a:pt x="181" y="352"/>
                </a:cubicBezTo>
                <a:cubicBezTo>
                  <a:pt x="181" y="330"/>
                  <a:pt x="181" y="330"/>
                  <a:pt x="181" y="330"/>
                </a:cubicBezTo>
                <a:cubicBezTo>
                  <a:pt x="202" y="330"/>
                  <a:pt x="202" y="330"/>
                  <a:pt x="202" y="330"/>
                </a:cubicBezTo>
                <a:lnTo>
                  <a:pt x="202" y="352"/>
                </a:lnTo>
                <a:close/>
                <a:moveTo>
                  <a:pt x="160" y="394"/>
                </a:moveTo>
                <a:cubicBezTo>
                  <a:pt x="181" y="394"/>
                  <a:pt x="181" y="394"/>
                  <a:pt x="181" y="394"/>
                </a:cubicBezTo>
                <a:cubicBezTo>
                  <a:pt x="181" y="373"/>
                  <a:pt x="181" y="373"/>
                  <a:pt x="181" y="373"/>
                </a:cubicBezTo>
                <a:cubicBezTo>
                  <a:pt x="160" y="373"/>
                  <a:pt x="160" y="373"/>
                  <a:pt x="160" y="373"/>
                </a:cubicBezTo>
                <a:lnTo>
                  <a:pt x="160" y="394"/>
                </a:lnTo>
                <a:close/>
                <a:moveTo>
                  <a:pt x="245" y="330"/>
                </a:moveTo>
                <a:cubicBezTo>
                  <a:pt x="224" y="330"/>
                  <a:pt x="224" y="330"/>
                  <a:pt x="224" y="330"/>
                </a:cubicBezTo>
                <a:cubicBezTo>
                  <a:pt x="224" y="352"/>
                  <a:pt x="224" y="352"/>
                  <a:pt x="224" y="352"/>
                </a:cubicBezTo>
                <a:cubicBezTo>
                  <a:pt x="245" y="352"/>
                  <a:pt x="245" y="352"/>
                  <a:pt x="245" y="352"/>
                </a:cubicBezTo>
                <a:lnTo>
                  <a:pt x="245" y="330"/>
                </a:lnTo>
                <a:close/>
                <a:moveTo>
                  <a:pt x="202" y="394"/>
                </a:moveTo>
                <a:cubicBezTo>
                  <a:pt x="224" y="394"/>
                  <a:pt x="224" y="394"/>
                  <a:pt x="224" y="394"/>
                </a:cubicBezTo>
                <a:cubicBezTo>
                  <a:pt x="224" y="373"/>
                  <a:pt x="224" y="373"/>
                  <a:pt x="224" y="373"/>
                </a:cubicBezTo>
                <a:cubicBezTo>
                  <a:pt x="202" y="373"/>
                  <a:pt x="202" y="373"/>
                  <a:pt x="202" y="373"/>
                </a:cubicBezTo>
                <a:lnTo>
                  <a:pt x="202" y="394"/>
                </a:lnTo>
                <a:close/>
                <a:moveTo>
                  <a:pt x="160" y="330"/>
                </a:moveTo>
                <a:cubicBezTo>
                  <a:pt x="138" y="330"/>
                  <a:pt x="138" y="330"/>
                  <a:pt x="138" y="330"/>
                </a:cubicBezTo>
                <a:cubicBezTo>
                  <a:pt x="138" y="352"/>
                  <a:pt x="138" y="352"/>
                  <a:pt x="138" y="352"/>
                </a:cubicBezTo>
                <a:cubicBezTo>
                  <a:pt x="149" y="352"/>
                  <a:pt x="149" y="352"/>
                  <a:pt x="149" y="352"/>
                </a:cubicBezTo>
                <a:cubicBezTo>
                  <a:pt x="160" y="352"/>
                  <a:pt x="160" y="352"/>
                  <a:pt x="160" y="352"/>
                </a:cubicBezTo>
                <a:lnTo>
                  <a:pt x="160" y="330"/>
                </a:lnTo>
                <a:close/>
                <a:moveTo>
                  <a:pt x="245" y="309"/>
                </a:moveTo>
                <a:cubicBezTo>
                  <a:pt x="192" y="309"/>
                  <a:pt x="149" y="266"/>
                  <a:pt x="149" y="213"/>
                </a:cubicBezTo>
                <a:cubicBezTo>
                  <a:pt x="149" y="160"/>
                  <a:pt x="192" y="117"/>
                  <a:pt x="245" y="117"/>
                </a:cubicBezTo>
                <a:cubicBezTo>
                  <a:pt x="298" y="117"/>
                  <a:pt x="341" y="160"/>
                  <a:pt x="341" y="213"/>
                </a:cubicBezTo>
                <a:cubicBezTo>
                  <a:pt x="341" y="266"/>
                  <a:pt x="298" y="309"/>
                  <a:pt x="245" y="309"/>
                </a:cubicBezTo>
                <a:close/>
                <a:moveTo>
                  <a:pt x="243" y="264"/>
                </a:moveTo>
                <a:cubicBezTo>
                  <a:pt x="243" y="264"/>
                  <a:pt x="245" y="264"/>
                  <a:pt x="245" y="264"/>
                </a:cubicBezTo>
                <a:cubicBezTo>
                  <a:pt x="245" y="277"/>
                  <a:pt x="245" y="277"/>
                  <a:pt x="245" y="277"/>
                </a:cubicBezTo>
                <a:cubicBezTo>
                  <a:pt x="256" y="277"/>
                  <a:pt x="256" y="277"/>
                  <a:pt x="256" y="277"/>
                </a:cubicBezTo>
                <a:cubicBezTo>
                  <a:pt x="256" y="263"/>
                  <a:pt x="256" y="263"/>
                  <a:pt x="256" y="263"/>
                </a:cubicBezTo>
                <a:cubicBezTo>
                  <a:pt x="256" y="262"/>
                  <a:pt x="265" y="260"/>
                  <a:pt x="270" y="256"/>
                </a:cubicBezTo>
                <a:cubicBezTo>
                  <a:pt x="276" y="251"/>
                  <a:pt x="278" y="244"/>
                  <a:pt x="278" y="236"/>
                </a:cubicBezTo>
                <a:cubicBezTo>
                  <a:pt x="278" y="229"/>
                  <a:pt x="275" y="224"/>
                  <a:pt x="272" y="219"/>
                </a:cubicBezTo>
                <a:cubicBezTo>
                  <a:pt x="268" y="215"/>
                  <a:pt x="262" y="210"/>
                  <a:pt x="253" y="206"/>
                </a:cubicBezTo>
                <a:cubicBezTo>
                  <a:pt x="246" y="203"/>
                  <a:pt x="242" y="200"/>
                  <a:pt x="240" y="199"/>
                </a:cubicBezTo>
                <a:cubicBezTo>
                  <a:pt x="238" y="198"/>
                  <a:pt x="237" y="197"/>
                  <a:pt x="236" y="195"/>
                </a:cubicBezTo>
                <a:cubicBezTo>
                  <a:pt x="235" y="194"/>
                  <a:pt x="234" y="192"/>
                  <a:pt x="234" y="190"/>
                </a:cubicBezTo>
                <a:cubicBezTo>
                  <a:pt x="234" y="187"/>
                  <a:pt x="236" y="185"/>
                  <a:pt x="238" y="183"/>
                </a:cubicBezTo>
                <a:cubicBezTo>
                  <a:pt x="240" y="181"/>
                  <a:pt x="243" y="181"/>
                  <a:pt x="247" y="181"/>
                </a:cubicBezTo>
                <a:cubicBezTo>
                  <a:pt x="250" y="181"/>
                  <a:pt x="253" y="181"/>
                  <a:pt x="257" y="182"/>
                </a:cubicBezTo>
                <a:cubicBezTo>
                  <a:pt x="260" y="183"/>
                  <a:pt x="265" y="184"/>
                  <a:pt x="270" y="186"/>
                </a:cubicBezTo>
                <a:cubicBezTo>
                  <a:pt x="277" y="170"/>
                  <a:pt x="277" y="170"/>
                  <a:pt x="277" y="170"/>
                </a:cubicBezTo>
                <a:cubicBezTo>
                  <a:pt x="271" y="168"/>
                  <a:pt x="269" y="166"/>
                  <a:pt x="264" y="165"/>
                </a:cubicBezTo>
                <a:cubicBezTo>
                  <a:pt x="261" y="164"/>
                  <a:pt x="256" y="164"/>
                  <a:pt x="256" y="163"/>
                </a:cubicBezTo>
                <a:cubicBezTo>
                  <a:pt x="256" y="149"/>
                  <a:pt x="256" y="149"/>
                  <a:pt x="256" y="149"/>
                </a:cubicBezTo>
                <a:cubicBezTo>
                  <a:pt x="245" y="149"/>
                  <a:pt x="245" y="149"/>
                  <a:pt x="245" y="149"/>
                </a:cubicBezTo>
                <a:cubicBezTo>
                  <a:pt x="245" y="164"/>
                  <a:pt x="245" y="164"/>
                  <a:pt x="245" y="164"/>
                </a:cubicBezTo>
                <a:cubicBezTo>
                  <a:pt x="234" y="164"/>
                  <a:pt x="229" y="167"/>
                  <a:pt x="225" y="171"/>
                </a:cubicBezTo>
                <a:cubicBezTo>
                  <a:pt x="219" y="176"/>
                  <a:pt x="215" y="182"/>
                  <a:pt x="215" y="191"/>
                </a:cubicBezTo>
                <a:cubicBezTo>
                  <a:pt x="215" y="196"/>
                  <a:pt x="215" y="200"/>
                  <a:pt x="217" y="203"/>
                </a:cubicBezTo>
                <a:cubicBezTo>
                  <a:pt x="219" y="207"/>
                  <a:pt x="221" y="210"/>
                  <a:pt x="224" y="212"/>
                </a:cubicBezTo>
                <a:cubicBezTo>
                  <a:pt x="227" y="215"/>
                  <a:pt x="232" y="218"/>
                  <a:pt x="238" y="220"/>
                </a:cubicBezTo>
                <a:cubicBezTo>
                  <a:pt x="244" y="223"/>
                  <a:pt x="248" y="226"/>
                  <a:pt x="250" y="227"/>
                </a:cubicBezTo>
                <a:cubicBezTo>
                  <a:pt x="252" y="228"/>
                  <a:pt x="254" y="230"/>
                  <a:pt x="255" y="231"/>
                </a:cubicBezTo>
                <a:cubicBezTo>
                  <a:pt x="256" y="233"/>
                  <a:pt x="257" y="235"/>
                  <a:pt x="257" y="237"/>
                </a:cubicBezTo>
                <a:cubicBezTo>
                  <a:pt x="257" y="240"/>
                  <a:pt x="255" y="243"/>
                  <a:pt x="253" y="244"/>
                </a:cubicBezTo>
                <a:cubicBezTo>
                  <a:pt x="250" y="246"/>
                  <a:pt x="247" y="247"/>
                  <a:pt x="242" y="247"/>
                </a:cubicBezTo>
                <a:cubicBezTo>
                  <a:pt x="239" y="247"/>
                  <a:pt x="234" y="246"/>
                  <a:pt x="230" y="245"/>
                </a:cubicBezTo>
                <a:cubicBezTo>
                  <a:pt x="225" y="244"/>
                  <a:pt x="224" y="242"/>
                  <a:pt x="213" y="239"/>
                </a:cubicBezTo>
                <a:cubicBezTo>
                  <a:pt x="213" y="258"/>
                  <a:pt x="213" y="258"/>
                  <a:pt x="213" y="258"/>
                </a:cubicBezTo>
                <a:cubicBezTo>
                  <a:pt x="224" y="262"/>
                  <a:pt x="232" y="264"/>
                  <a:pt x="243" y="264"/>
                </a:cubicBezTo>
                <a:close/>
                <a:moveTo>
                  <a:pt x="330" y="373"/>
                </a:moveTo>
                <a:cubicBezTo>
                  <a:pt x="330" y="394"/>
                  <a:pt x="330" y="394"/>
                  <a:pt x="330" y="394"/>
                </a:cubicBezTo>
                <a:cubicBezTo>
                  <a:pt x="352" y="394"/>
                  <a:pt x="352" y="394"/>
                  <a:pt x="352" y="394"/>
                </a:cubicBezTo>
                <a:cubicBezTo>
                  <a:pt x="352" y="373"/>
                  <a:pt x="352" y="373"/>
                  <a:pt x="352" y="373"/>
                </a:cubicBezTo>
                <a:cubicBezTo>
                  <a:pt x="341" y="373"/>
                  <a:pt x="341" y="373"/>
                  <a:pt x="341" y="373"/>
                </a:cubicBezTo>
                <a:lnTo>
                  <a:pt x="330" y="373"/>
                </a:lnTo>
                <a:close/>
                <a:moveTo>
                  <a:pt x="330" y="330"/>
                </a:moveTo>
                <a:cubicBezTo>
                  <a:pt x="309" y="330"/>
                  <a:pt x="309" y="330"/>
                  <a:pt x="309" y="330"/>
                </a:cubicBezTo>
                <a:cubicBezTo>
                  <a:pt x="309" y="352"/>
                  <a:pt x="309" y="352"/>
                  <a:pt x="309" y="352"/>
                </a:cubicBezTo>
                <a:cubicBezTo>
                  <a:pt x="330" y="352"/>
                  <a:pt x="330" y="352"/>
                  <a:pt x="330" y="352"/>
                </a:cubicBezTo>
                <a:lnTo>
                  <a:pt x="330" y="3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62"/>
                </a:moveTo>
                <a:cubicBezTo>
                  <a:pt x="373" y="356"/>
                  <a:pt x="368" y="352"/>
                  <a:pt x="362" y="352"/>
                </a:cubicBezTo>
                <a:cubicBezTo>
                  <a:pt x="352" y="352"/>
                  <a:pt x="352" y="352"/>
                  <a:pt x="352" y="352"/>
                </a:cubicBezTo>
                <a:cubicBezTo>
                  <a:pt x="352" y="320"/>
                  <a:pt x="352" y="320"/>
                  <a:pt x="352" y="320"/>
                </a:cubicBezTo>
                <a:cubicBezTo>
                  <a:pt x="352" y="314"/>
                  <a:pt x="347" y="309"/>
                  <a:pt x="341" y="309"/>
                </a:cubicBezTo>
                <a:cubicBezTo>
                  <a:pt x="312" y="309"/>
                  <a:pt x="312" y="309"/>
                  <a:pt x="312" y="309"/>
                </a:cubicBezTo>
                <a:cubicBezTo>
                  <a:pt x="342" y="288"/>
                  <a:pt x="362" y="253"/>
                  <a:pt x="362" y="213"/>
                </a:cubicBezTo>
                <a:cubicBezTo>
                  <a:pt x="362" y="148"/>
                  <a:pt x="310" y="96"/>
                  <a:pt x="245" y="96"/>
                </a:cubicBezTo>
                <a:cubicBezTo>
                  <a:pt x="180" y="96"/>
                  <a:pt x="128" y="148"/>
                  <a:pt x="128" y="213"/>
                </a:cubicBezTo>
                <a:cubicBezTo>
                  <a:pt x="128" y="253"/>
                  <a:pt x="148" y="288"/>
                  <a:pt x="178" y="309"/>
                </a:cubicBezTo>
                <a:cubicBezTo>
                  <a:pt x="128" y="309"/>
                  <a:pt x="128" y="309"/>
                  <a:pt x="128" y="309"/>
                </a:cubicBezTo>
                <a:cubicBezTo>
                  <a:pt x="122" y="309"/>
                  <a:pt x="117" y="314"/>
                  <a:pt x="117" y="320"/>
                </a:cubicBezTo>
                <a:cubicBezTo>
                  <a:pt x="117" y="362"/>
                  <a:pt x="117" y="362"/>
                  <a:pt x="117" y="362"/>
                </a:cubicBezTo>
                <a:cubicBezTo>
                  <a:pt x="117" y="368"/>
                  <a:pt x="122" y="373"/>
                  <a:pt x="128" y="373"/>
                </a:cubicBezTo>
                <a:cubicBezTo>
                  <a:pt x="138" y="373"/>
                  <a:pt x="138" y="373"/>
                  <a:pt x="138" y="373"/>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362"/>
                </a:lnTo>
                <a:close/>
                <a:moveTo>
                  <a:pt x="245" y="394"/>
                </a:moveTo>
                <a:cubicBezTo>
                  <a:pt x="266" y="394"/>
                  <a:pt x="266" y="394"/>
                  <a:pt x="266" y="394"/>
                </a:cubicBezTo>
                <a:cubicBezTo>
                  <a:pt x="266" y="373"/>
                  <a:pt x="266" y="373"/>
                  <a:pt x="266" y="373"/>
                </a:cubicBezTo>
                <a:cubicBezTo>
                  <a:pt x="245" y="373"/>
                  <a:pt x="245" y="373"/>
                  <a:pt x="245" y="373"/>
                </a:cubicBezTo>
                <a:lnTo>
                  <a:pt x="245" y="394"/>
                </a:lnTo>
                <a:close/>
                <a:moveTo>
                  <a:pt x="288" y="394"/>
                </a:moveTo>
                <a:cubicBezTo>
                  <a:pt x="309" y="394"/>
                  <a:pt x="309" y="394"/>
                  <a:pt x="309" y="394"/>
                </a:cubicBezTo>
                <a:cubicBezTo>
                  <a:pt x="309" y="373"/>
                  <a:pt x="309" y="373"/>
                  <a:pt x="309" y="373"/>
                </a:cubicBezTo>
                <a:cubicBezTo>
                  <a:pt x="288" y="373"/>
                  <a:pt x="288" y="373"/>
                  <a:pt x="288" y="373"/>
                </a:cubicBezTo>
                <a:lnTo>
                  <a:pt x="288" y="394"/>
                </a:lnTo>
                <a:close/>
                <a:moveTo>
                  <a:pt x="288" y="330"/>
                </a:moveTo>
                <a:cubicBezTo>
                  <a:pt x="266" y="330"/>
                  <a:pt x="266" y="330"/>
                  <a:pt x="266" y="330"/>
                </a:cubicBezTo>
                <a:cubicBezTo>
                  <a:pt x="266" y="352"/>
                  <a:pt x="266" y="352"/>
                  <a:pt x="266" y="352"/>
                </a:cubicBezTo>
                <a:cubicBezTo>
                  <a:pt x="288" y="352"/>
                  <a:pt x="288" y="352"/>
                  <a:pt x="288" y="352"/>
                </a:cubicBezTo>
                <a:lnTo>
                  <a:pt x="288" y="3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2" name="Group 48">
            <a:extLst>
              <a:ext uri="{FF2B5EF4-FFF2-40B4-BE49-F238E27FC236}">
                <a16:creationId xmlns:a16="http://schemas.microsoft.com/office/drawing/2014/main" id="{7E65ABE9-7579-452D-83D0-E196C3D61C80}"/>
              </a:ext>
            </a:extLst>
          </p:cNvPr>
          <p:cNvGrpSpPr>
            <a:grpSpLocks noChangeAspect="1"/>
          </p:cNvGrpSpPr>
          <p:nvPr/>
        </p:nvGrpSpPr>
        <p:grpSpPr bwMode="auto">
          <a:xfrm>
            <a:off x="7008237" y="1700213"/>
            <a:ext cx="367631" cy="367631"/>
            <a:chOff x="4277" y="1990"/>
            <a:chExt cx="340" cy="340"/>
          </a:xfrm>
          <a:solidFill>
            <a:schemeClr val="accent1"/>
          </a:solidFill>
        </p:grpSpPr>
        <p:sp>
          <p:nvSpPr>
            <p:cNvPr id="153" name="Freeform 49">
              <a:extLst>
                <a:ext uri="{FF2B5EF4-FFF2-40B4-BE49-F238E27FC236}">
                  <a16:creationId xmlns:a16="http://schemas.microsoft.com/office/drawing/2014/main" id="{0CB6C55E-3F4F-4785-BAAB-1B4FAE806E47}"/>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4" name="Freeform 50">
              <a:extLst>
                <a:ext uri="{FF2B5EF4-FFF2-40B4-BE49-F238E27FC236}">
                  <a16:creationId xmlns:a16="http://schemas.microsoft.com/office/drawing/2014/main" id="{6081E30D-D9A1-47DF-B9D9-DCB3B91D0178}"/>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5" name="Freeform 543">
            <a:extLst>
              <a:ext uri="{FF2B5EF4-FFF2-40B4-BE49-F238E27FC236}">
                <a16:creationId xmlns:a16="http://schemas.microsoft.com/office/drawing/2014/main" id="{B2642F9F-D1CE-4DA7-B070-3C5D5DF5D5E6}"/>
              </a:ext>
            </a:extLst>
          </p:cNvPr>
          <p:cNvSpPr>
            <a:spLocks noChangeAspect="1" noEditPoints="1"/>
          </p:cNvSpPr>
          <p:nvPr/>
        </p:nvSpPr>
        <p:spPr bwMode="auto">
          <a:xfrm>
            <a:off x="7442228" y="1700213"/>
            <a:ext cx="367982" cy="367982"/>
          </a:xfrm>
          <a:custGeom>
            <a:avLst/>
            <a:gdLst>
              <a:gd name="T0" fmla="*/ 225 w 512"/>
              <a:gd name="T1" fmla="*/ 245 h 512"/>
              <a:gd name="T2" fmla="*/ 213 w 512"/>
              <a:gd name="T3" fmla="*/ 245 h 512"/>
              <a:gd name="T4" fmla="*/ 213 w 512"/>
              <a:gd name="T5" fmla="*/ 148 h 512"/>
              <a:gd name="T6" fmla="*/ 300 w 512"/>
              <a:gd name="T7" fmla="*/ 166 h 512"/>
              <a:gd name="T8" fmla="*/ 311 w 512"/>
              <a:gd name="T9" fmla="*/ 193 h 512"/>
              <a:gd name="T10" fmla="*/ 299 w 512"/>
              <a:gd name="T11" fmla="*/ 223 h 512"/>
              <a:gd name="T12" fmla="*/ 225 w 512"/>
              <a:gd name="T13" fmla="*/ 245 h 512"/>
              <a:gd name="T14" fmla="*/ 225 w 512"/>
              <a:gd name="T15" fmla="*/ 267 h 512"/>
              <a:gd name="T16" fmla="*/ 213 w 512"/>
              <a:gd name="T17" fmla="*/ 267 h 512"/>
              <a:gd name="T18" fmla="*/ 213 w 512"/>
              <a:gd name="T19" fmla="*/ 364 h 512"/>
              <a:gd name="T20" fmla="*/ 307 w 512"/>
              <a:gd name="T21" fmla="*/ 343 h 512"/>
              <a:gd name="T22" fmla="*/ 320 w 512"/>
              <a:gd name="T23" fmla="*/ 315 h 512"/>
              <a:gd name="T24" fmla="*/ 309 w 512"/>
              <a:gd name="T25" fmla="*/ 291 h 512"/>
              <a:gd name="T26" fmla="*/ 225 w 512"/>
              <a:gd name="T27" fmla="*/ 267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315 h 512"/>
              <a:gd name="T40" fmla="*/ 324 w 512"/>
              <a:gd name="T41" fmla="*/ 275 h 512"/>
              <a:gd name="T42" fmla="*/ 287 w 512"/>
              <a:gd name="T43" fmla="*/ 255 h 512"/>
              <a:gd name="T44" fmla="*/ 313 w 512"/>
              <a:gd name="T45" fmla="*/ 239 h 512"/>
              <a:gd name="T46" fmla="*/ 333 w 512"/>
              <a:gd name="T47" fmla="*/ 193 h 512"/>
              <a:gd name="T48" fmla="*/ 314 w 512"/>
              <a:gd name="T49" fmla="*/ 150 h 512"/>
              <a:gd name="T50" fmla="*/ 288 w 512"/>
              <a:gd name="T51" fmla="*/ 135 h 512"/>
              <a:gd name="T52" fmla="*/ 288 w 512"/>
              <a:gd name="T53" fmla="*/ 106 h 512"/>
              <a:gd name="T54" fmla="*/ 277 w 512"/>
              <a:gd name="T55" fmla="*/ 96 h 512"/>
              <a:gd name="T56" fmla="*/ 266 w 512"/>
              <a:gd name="T57" fmla="*/ 106 h 512"/>
              <a:gd name="T58" fmla="*/ 266 w 512"/>
              <a:gd name="T59" fmla="*/ 130 h 512"/>
              <a:gd name="T60" fmla="*/ 245 w 512"/>
              <a:gd name="T61" fmla="*/ 127 h 512"/>
              <a:gd name="T62" fmla="*/ 245 w 512"/>
              <a:gd name="T63" fmla="*/ 106 h 512"/>
              <a:gd name="T64" fmla="*/ 234 w 512"/>
              <a:gd name="T65" fmla="*/ 96 h 512"/>
              <a:gd name="T66" fmla="*/ 224 w 512"/>
              <a:gd name="T67" fmla="*/ 106 h 512"/>
              <a:gd name="T68" fmla="*/ 224 w 512"/>
              <a:gd name="T69" fmla="*/ 126 h 512"/>
              <a:gd name="T70" fmla="*/ 201 w 512"/>
              <a:gd name="T71" fmla="*/ 127 h 512"/>
              <a:gd name="T72" fmla="*/ 192 w 512"/>
              <a:gd name="T73" fmla="*/ 138 h 512"/>
              <a:gd name="T74" fmla="*/ 192 w 512"/>
              <a:gd name="T75" fmla="*/ 373 h 512"/>
              <a:gd name="T76" fmla="*/ 201 w 512"/>
              <a:gd name="T77" fmla="*/ 384 h 512"/>
              <a:gd name="T78" fmla="*/ 224 w 512"/>
              <a:gd name="T79" fmla="*/ 385 h 512"/>
              <a:gd name="T80" fmla="*/ 224 w 512"/>
              <a:gd name="T81" fmla="*/ 405 h 512"/>
              <a:gd name="T82" fmla="*/ 234 w 512"/>
              <a:gd name="T83" fmla="*/ 416 h 512"/>
              <a:gd name="T84" fmla="*/ 245 w 512"/>
              <a:gd name="T85" fmla="*/ 405 h 512"/>
              <a:gd name="T86" fmla="*/ 245 w 512"/>
              <a:gd name="T87" fmla="*/ 384 h 512"/>
              <a:gd name="T88" fmla="*/ 266 w 512"/>
              <a:gd name="T89" fmla="*/ 382 h 512"/>
              <a:gd name="T90" fmla="*/ 266 w 512"/>
              <a:gd name="T91" fmla="*/ 405 h 512"/>
              <a:gd name="T92" fmla="*/ 277 w 512"/>
              <a:gd name="T93" fmla="*/ 416 h 512"/>
              <a:gd name="T94" fmla="*/ 288 w 512"/>
              <a:gd name="T95" fmla="*/ 405 h 512"/>
              <a:gd name="T96" fmla="*/ 288 w 512"/>
              <a:gd name="T97" fmla="*/ 377 h 512"/>
              <a:gd name="T98" fmla="*/ 322 w 512"/>
              <a:gd name="T99" fmla="*/ 359 h 512"/>
              <a:gd name="T100" fmla="*/ 341 w 512"/>
              <a:gd name="T101" fmla="*/ 3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25" y="245"/>
                </a:moveTo>
                <a:cubicBezTo>
                  <a:pt x="220" y="245"/>
                  <a:pt x="216" y="245"/>
                  <a:pt x="213" y="245"/>
                </a:cubicBezTo>
                <a:cubicBezTo>
                  <a:pt x="213" y="148"/>
                  <a:pt x="213" y="148"/>
                  <a:pt x="213" y="148"/>
                </a:cubicBezTo>
                <a:cubicBezTo>
                  <a:pt x="236" y="146"/>
                  <a:pt x="279" y="148"/>
                  <a:pt x="300" y="166"/>
                </a:cubicBezTo>
                <a:cubicBezTo>
                  <a:pt x="307" y="173"/>
                  <a:pt x="311" y="182"/>
                  <a:pt x="311" y="193"/>
                </a:cubicBezTo>
                <a:cubicBezTo>
                  <a:pt x="311" y="205"/>
                  <a:pt x="307" y="215"/>
                  <a:pt x="299" y="223"/>
                </a:cubicBezTo>
                <a:cubicBezTo>
                  <a:pt x="279" y="241"/>
                  <a:pt x="244" y="245"/>
                  <a:pt x="225" y="245"/>
                </a:cubicBezTo>
                <a:close/>
                <a:moveTo>
                  <a:pt x="225" y="267"/>
                </a:moveTo>
                <a:cubicBezTo>
                  <a:pt x="219" y="267"/>
                  <a:pt x="215" y="267"/>
                  <a:pt x="213" y="267"/>
                </a:cubicBezTo>
                <a:cubicBezTo>
                  <a:pt x="213" y="364"/>
                  <a:pt x="213" y="364"/>
                  <a:pt x="213" y="364"/>
                </a:cubicBezTo>
                <a:cubicBezTo>
                  <a:pt x="234" y="365"/>
                  <a:pt x="284" y="364"/>
                  <a:pt x="307" y="343"/>
                </a:cubicBezTo>
                <a:cubicBezTo>
                  <a:pt x="316" y="336"/>
                  <a:pt x="320" y="326"/>
                  <a:pt x="320" y="315"/>
                </a:cubicBezTo>
                <a:cubicBezTo>
                  <a:pt x="320" y="305"/>
                  <a:pt x="316" y="298"/>
                  <a:pt x="309" y="291"/>
                </a:cubicBezTo>
                <a:cubicBezTo>
                  <a:pt x="291" y="274"/>
                  <a:pt x="253" y="268"/>
                  <a:pt x="225" y="26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315"/>
                </a:moveTo>
                <a:cubicBezTo>
                  <a:pt x="341" y="299"/>
                  <a:pt x="335" y="286"/>
                  <a:pt x="324" y="275"/>
                </a:cubicBezTo>
                <a:cubicBezTo>
                  <a:pt x="314" y="266"/>
                  <a:pt x="301" y="260"/>
                  <a:pt x="287" y="255"/>
                </a:cubicBezTo>
                <a:cubicBezTo>
                  <a:pt x="297" y="251"/>
                  <a:pt x="306" y="246"/>
                  <a:pt x="313" y="239"/>
                </a:cubicBezTo>
                <a:cubicBezTo>
                  <a:pt x="326" y="227"/>
                  <a:pt x="333" y="211"/>
                  <a:pt x="333" y="193"/>
                </a:cubicBezTo>
                <a:cubicBezTo>
                  <a:pt x="333" y="176"/>
                  <a:pt x="326" y="161"/>
                  <a:pt x="314" y="150"/>
                </a:cubicBezTo>
                <a:cubicBezTo>
                  <a:pt x="306" y="143"/>
                  <a:pt x="297" y="139"/>
                  <a:pt x="288" y="135"/>
                </a:cubicBezTo>
                <a:cubicBezTo>
                  <a:pt x="288" y="106"/>
                  <a:pt x="288" y="106"/>
                  <a:pt x="288" y="106"/>
                </a:cubicBezTo>
                <a:cubicBezTo>
                  <a:pt x="288" y="100"/>
                  <a:pt x="283" y="96"/>
                  <a:pt x="277" y="96"/>
                </a:cubicBezTo>
                <a:cubicBezTo>
                  <a:pt x="271" y="96"/>
                  <a:pt x="266" y="100"/>
                  <a:pt x="266" y="106"/>
                </a:cubicBezTo>
                <a:cubicBezTo>
                  <a:pt x="266" y="130"/>
                  <a:pt x="266" y="130"/>
                  <a:pt x="266" y="130"/>
                </a:cubicBezTo>
                <a:cubicBezTo>
                  <a:pt x="259" y="128"/>
                  <a:pt x="252" y="127"/>
                  <a:pt x="245" y="127"/>
                </a:cubicBezTo>
                <a:cubicBezTo>
                  <a:pt x="245" y="106"/>
                  <a:pt x="245" y="106"/>
                  <a:pt x="245" y="106"/>
                </a:cubicBezTo>
                <a:cubicBezTo>
                  <a:pt x="245" y="100"/>
                  <a:pt x="240" y="96"/>
                  <a:pt x="234" y="96"/>
                </a:cubicBezTo>
                <a:cubicBezTo>
                  <a:pt x="228" y="96"/>
                  <a:pt x="224" y="100"/>
                  <a:pt x="224" y="106"/>
                </a:cubicBezTo>
                <a:cubicBezTo>
                  <a:pt x="224" y="126"/>
                  <a:pt x="224" y="126"/>
                  <a:pt x="224" y="126"/>
                </a:cubicBezTo>
                <a:cubicBezTo>
                  <a:pt x="211" y="126"/>
                  <a:pt x="202" y="127"/>
                  <a:pt x="201" y="127"/>
                </a:cubicBezTo>
                <a:cubicBezTo>
                  <a:pt x="196" y="128"/>
                  <a:pt x="192" y="133"/>
                  <a:pt x="192" y="138"/>
                </a:cubicBezTo>
                <a:cubicBezTo>
                  <a:pt x="192" y="373"/>
                  <a:pt x="192" y="373"/>
                  <a:pt x="192" y="373"/>
                </a:cubicBezTo>
                <a:cubicBezTo>
                  <a:pt x="192" y="379"/>
                  <a:pt x="196" y="383"/>
                  <a:pt x="201" y="384"/>
                </a:cubicBezTo>
                <a:cubicBezTo>
                  <a:pt x="202" y="384"/>
                  <a:pt x="211" y="385"/>
                  <a:pt x="224" y="385"/>
                </a:cubicBezTo>
                <a:cubicBezTo>
                  <a:pt x="224" y="405"/>
                  <a:pt x="224" y="405"/>
                  <a:pt x="224" y="405"/>
                </a:cubicBezTo>
                <a:cubicBezTo>
                  <a:pt x="224" y="411"/>
                  <a:pt x="228" y="416"/>
                  <a:pt x="234" y="416"/>
                </a:cubicBezTo>
                <a:cubicBezTo>
                  <a:pt x="240" y="416"/>
                  <a:pt x="245" y="411"/>
                  <a:pt x="245" y="405"/>
                </a:cubicBezTo>
                <a:cubicBezTo>
                  <a:pt x="245" y="384"/>
                  <a:pt x="245" y="384"/>
                  <a:pt x="245" y="384"/>
                </a:cubicBezTo>
                <a:cubicBezTo>
                  <a:pt x="252" y="384"/>
                  <a:pt x="259" y="383"/>
                  <a:pt x="266" y="382"/>
                </a:cubicBezTo>
                <a:cubicBezTo>
                  <a:pt x="266" y="405"/>
                  <a:pt x="266" y="405"/>
                  <a:pt x="266" y="405"/>
                </a:cubicBezTo>
                <a:cubicBezTo>
                  <a:pt x="266" y="411"/>
                  <a:pt x="271" y="416"/>
                  <a:pt x="277" y="416"/>
                </a:cubicBezTo>
                <a:cubicBezTo>
                  <a:pt x="283" y="416"/>
                  <a:pt x="288" y="411"/>
                  <a:pt x="288" y="405"/>
                </a:cubicBezTo>
                <a:cubicBezTo>
                  <a:pt x="288" y="377"/>
                  <a:pt x="288" y="377"/>
                  <a:pt x="288" y="377"/>
                </a:cubicBezTo>
                <a:cubicBezTo>
                  <a:pt x="300" y="373"/>
                  <a:pt x="312" y="367"/>
                  <a:pt x="322" y="359"/>
                </a:cubicBezTo>
                <a:cubicBezTo>
                  <a:pt x="334" y="347"/>
                  <a:pt x="341" y="333"/>
                  <a:pt x="341" y="31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56" name="Group 546">
            <a:extLst>
              <a:ext uri="{FF2B5EF4-FFF2-40B4-BE49-F238E27FC236}">
                <a16:creationId xmlns:a16="http://schemas.microsoft.com/office/drawing/2014/main" id="{502863D9-45A7-445A-9C64-B344E5E0A029}"/>
              </a:ext>
            </a:extLst>
          </p:cNvPr>
          <p:cNvGrpSpPr>
            <a:grpSpLocks noChangeAspect="1"/>
          </p:cNvGrpSpPr>
          <p:nvPr/>
        </p:nvGrpSpPr>
        <p:grpSpPr bwMode="auto">
          <a:xfrm>
            <a:off x="7876570" y="1700213"/>
            <a:ext cx="367982" cy="367982"/>
            <a:chOff x="4349" y="2972"/>
            <a:chExt cx="340" cy="340"/>
          </a:xfrm>
          <a:solidFill>
            <a:schemeClr val="accent6"/>
          </a:solidFill>
        </p:grpSpPr>
        <p:sp>
          <p:nvSpPr>
            <p:cNvPr id="157" name="Freeform 547">
              <a:extLst>
                <a:ext uri="{FF2B5EF4-FFF2-40B4-BE49-F238E27FC236}">
                  <a16:creationId xmlns:a16="http://schemas.microsoft.com/office/drawing/2014/main" id="{43083EFC-3726-4879-80BC-AD797863B812}"/>
                </a:ext>
              </a:extLst>
            </p:cNvPr>
            <p:cNvSpPr>
              <a:spLocks noEditPoints="1"/>
            </p:cNvSpPr>
            <p:nvPr/>
          </p:nvSpPr>
          <p:spPr bwMode="auto">
            <a:xfrm>
              <a:off x="4349" y="29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8" name="Freeform 548">
              <a:extLst>
                <a:ext uri="{FF2B5EF4-FFF2-40B4-BE49-F238E27FC236}">
                  <a16:creationId xmlns:a16="http://schemas.microsoft.com/office/drawing/2014/main" id="{905AE228-0183-4E6B-97F0-333A436A4E09}"/>
                </a:ext>
              </a:extLst>
            </p:cNvPr>
            <p:cNvSpPr>
              <a:spLocks noEditPoints="1"/>
            </p:cNvSpPr>
            <p:nvPr/>
          </p:nvSpPr>
          <p:spPr bwMode="auto">
            <a:xfrm>
              <a:off x="4476" y="3036"/>
              <a:ext cx="99" cy="212"/>
            </a:xfrm>
            <a:custGeom>
              <a:avLst/>
              <a:gdLst>
                <a:gd name="T0" fmla="*/ 132 w 149"/>
                <a:gd name="T1" fmla="*/ 179 h 320"/>
                <a:gd name="T2" fmla="*/ 95 w 149"/>
                <a:gd name="T3" fmla="*/ 159 h 320"/>
                <a:gd name="T4" fmla="*/ 121 w 149"/>
                <a:gd name="T5" fmla="*/ 143 h 320"/>
                <a:gd name="T6" fmla="*/ 141 w 149"/>
                <a:gd name="T7" fmla="*/ 97 h 320"/>
                <a:gd name="T8" fmla="*/ 122 w 149"/>
                <a:gd name="T9" fmla="*/ 54 h 320"/>
                <a:gd name="T10" fmla="*/ 96 w 149"/>
                <a:gd name="T11" fmla="*/ 39 h 320"/>
                <a:gd name="T12" fmla="*/ 96 w 149"/>
                <a:gd name="T13" fmla="*/ 10 h 320"/>
                <a:gd name="T14" fmla="*/ 85 w 149"/>
                <a:gd name="T15" fmla="*/ 0 h 320"/>
                <a:gd name="T16" fmla="*/ 74 w 149"/>
                <a:gd name="T17" fmla="*/ 10 h 320"/>
                <a:gd name="T18" fmla="*/ 74 w 149"/>
                <a:gd name="T19" fmla="*/ 34 h 320"/>
                <a:gd name="T20" fmla="*/ 53 w 149"/>
                <a:gd name="T21" fmla="*/ 31 h 320"/>
                <a:gd name="T22" fmla="*/ 53 w 149"/>
                <a:gd name="T23" fmla="*/ 10 h 320"/>
                <a:gd name="T24" fmla="*/ 42 w 149"/>
                <a:gd name="T25" fmla="*/ 0 h 320"/>
                <a:gd name="T26" fmla="*/ 32 w 149"/>
                <a:gd name="T27" fmla="*/ 10 h 320"/>
                <a:gd name="T28" fmla="*/ 32 w 149"/>
                <a:gd name="T29" fmla="*/ 30 h 320"/>
                <a:gd name="T30" fmla="*/ 9 w 149"/>
                <a:gd name="T31" fmla="*/ 31 h 320"/>
                <a:gd name="T32" fmla="*/ 0 w 149"/>
                <a:gd name="T33" fmla="*/ 42 h 320"/>
                <a:gd name="T34" fmla="*/ 0 w 149"/>
                <a:gd name="T35" fmla="*/ 277 h 320"/>
                <a:gd name="T36" fmla="*/ 9 w 149"/>
                <a:gd name="T37" fmla="*/ 288 h 320"/>
                <a:gd name="T38" fmla="*/ 32 w 149"/>
                <a:gd name="T39" fmla="*/ 289 h 320"/>
                <a:gd name="T40" fmla="*/ 32 w 149"/>
                <a:gd name="T41" fmla="*/ 309 h 320"/>
                <a:gd name="T42" fmla="*/ 42 w 149"/>
                <a:gd name="T43" fmla="*/ 320 h 320"/>
                <a:gd name="T44" fmla="*/ 53 w 149"/>
                <a:gd name="T45" fmla="*/ 309 h 320"/>
                <a:gd name="T46" fmla="*/ 53 w 149"/>
                <a:gd name="T47" fmla="*/ 288 h 320"/>
                <a:gd name="T48" fmla="*/ 74 w 149"/>
                <a:gd name="T49" fmla="*/ 286 h 320"/>
                <a:gd name="T50" fmla="*/ 74 w 149"/>
                <a:gd name="T51" fmla="*/ 309 h 320"/>
                <a:gd name="T52" fmla="*/ 85 w 149"/>
                <a:gd name="T53" fmla="*/ 320 h 320"/>
                <a:gd name="T54" fmla="*/ 96 w 149"/>
                <a:gd name="T55" fmla="*/ 309 h 320"/>
                <a:gd name="T56" fmla="*/ 96 w 149"/>
                <a:gd name="T57" fmla="*/ 281 h 320"/>
                <a:gd name="T58" fmla="*/ 130 w 149"/>
                <a:gd name="T59" fmla="*/ 263 h 320"/>
                <a:gd name="T60" fmla="*/ 149 w 149"/>
                <a:gd name="T61" fmla="*/ 219 h 320"/>
                <a:gd name="T62" fmla="*/ 132 w 149"/>
                <a:gd name="T63" fmla="*/ 179 h 320"/>
                <a:gd name="T64" fmla="*/ 21 w 149"/>
                <a:gd name="T65" fmla="*/ 52 h 320"/>
                <a:gd name="T66" fmla="*/ 108 w 149"/>
                <a:gd name="T67" fmla="*/ 70 h 320"/>
                <a:gd name="T68" fmla="*/ 119 w 149"/>
                <a:gd name="T69" fmla="*/ 97 h 320"/>
                <a:gd name="T70" fmla="*/ 107 w 149"/>
                <a:gd name="T71" fmla="*/ 127 h 320"/>
                <a:gd name="T72" fmla="*/ 33 w 149"/>
                <a:gd name="T73" fmla="*/ 149 h 320"/>
                <a:gd name="T74" fmla="*/ 21 w 149"/>
                <a:gd name="T75" fmla="*/ 149 h 320"/>
                <a:gd name="T76" fmla="*/ 21 w 149"/>
                <a:gd name="T77" fmla="*/ 52 h 320"/>
                <a:gd name="T78" fmla="*/ 115 w 149"/>
                <a:gd name="T79" fmla="*/ 247 h 320"/>
                <a:gd name="T80" fmla="*/ 21 w 149"/>
                <a:gd name="T81" fmla="*/ 268 h 320"/>
                <a:gd name="T82" fmla="*/ 21 w 149"/>
                <a:gd name="T83" fmla="*/ 171 h 320"/>
                <a:gd name="T84" fmla="*/ 33 w 149"/>
                <a:gd name="T85" fmla="*/ 171 h 320"/>
                <a:gd name="T86" fmla="*/ 117 w 149"/>
                <a:gd name="T87" fmla="*/ 195 h 320"/>
                <a:gd name="T88" fmla="*/ 128 w 149"/>
                <a:gd name="T89" fmla="*/ 219 h 320"/>
                <a:gd name="T90" fmla="*/ 115 w 149"/>
                <a:gd name="T91" fmla="*/ 2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9" h="320">
                  <a:moveTo>
                    <a:pt x="132" y="179"/>
                  </a:moveTo>
                  <a:cubicBezTo>
                    <a:pt x="122" y="170"/>
                    <a:pt x="109" y="164"/>
                    <a:pt x="95" y="159"/>
                  </a:cubicBezTo>
                  <a:cubicBezTo>
                    <a:pt x="105" y="155"/>
                    <a:pt x="114" y="150"/>
                    <a:pt x="121" y="143"/>
                  </a:cubicBezTo>
                  <a:cubicBezTo>
                    <a:pt x="134" y="131"/>
                    <a:pt x="141" y="115"/>
                    <a:pt x="141" y="97"/>
                  </a:cubicBezTo>
                  <a:cubicBezTo>
                    <a:pt x="141" y="80"/>
                    <a:pt x="134" y="65"/>
                    <a:pt x="122" y="54"/>
                  </a:cubicBezTo>
                  <a:cubicBezTo>
                    <a:pt x="114" y="47"/>
                    <a:pt x="105" y="43"/>
                    <a:pt x="96" y="39"/>
                  </a:cubicBezTo>
                  <a:cubicBezTo>
                    <a:pt x="96" y="10"/>
                    <a:pt x="96" y="10"/>
                    <a:pt x="96" y="10"/>
                  </a:cubicBezTo>
                  <a:cubicBezTo>
                    <a:pt x="96" y="4"/>
                    <a:pt x="91" y="0"/>
                    <a:pt x="85" y="0"/>
                  </a:cubicBezTo>
                  <a:cubicBezTo>
                    <a:pt x="79" y="0"/>
                    <a:pt x="74" y="4"/>
                    <a:pt x="74" y="10"/>
                  </a:cubicBezTo>
                  <a:cubicBezTo>
                    <a:pt x="74" y="34"/>
                    <a:pt x="74" y="34"/>
                    <a:pt x="74" y="34"/>
                  </a:cubicBezTo>
                  <a:cubicBezTo>
                    <a:pt x="67" y="32"/>
                    <a:pt x="60" y="31"/>
                    <a:pt x="53" y="31"/>
                  </a:cubicBezTo>
                  <a:cubicBezTo>
                    <a:pt x="53" y="10"/>
                    <a:pt x="53" y="10"/>
                    <a:pt x="53" y="10"/>
                  </a:cubicBezTo>
                  <a:cubicBezTo>
                    <a:pt x="53" y="4"/>
                    <a:pt x="48" y="0"/>
                    <a:pt x="42" y="0"/>
                  </a:cubicBezTo>
                  <a:cubicBezTo>
                    <a:pt x="36" y="0"/>
                    <a:pt x="32" y="4"/>
                    <a:pt x="32" y="10"/>
                  </a:cubicBezTo>
                  <a:cubicBezTo>
                    <a:pt x="32" y="30"/>
                    <a:pt x="32" y="30"/>
                    <a:pt x="32" y="30"/>
                  </a:cubicBezTo>
                  <a:cubicBezTo>
                    <a:pt x="19" y="30"/>
                    <a:pt x="10" y="31"/>
                    <a:pt x="9" y="31"/>
                  </a:cubicBezTo>
                  <a:cubicBezTo>
                    <a:pt x="4" y="32"/>
                    <a:pt x="0" y="37"/>
                    <a:pt x="0" y="42"/>
                  </a:cubicBezTo>
                  <a:cubicBezTo>
                    <a:pt x="0" y="277"/>
                    <a:pt x="0" y="277"/>
                    <a:pt x="0" y="277"/>
                  </a:cubicBezTo>
                  <a:cubicBezTo>
                    <a:pt x="0" y="283"/>
                    <a:pt x="4" y="287"/>
                    <a:pt x="9" y="288"/>
                  </a:cubicBezTo>
                  <a:cubicBezTo>
                    <a:pt x="10" y="288"/>
                    <a:pt x="19" y="289"/>
                    <a:pt x="32" y="289"/>
                  </a:cubicBezTo>
                  <a:cubicBezTo>
                    <a:pt x="32" y="309"/>
                    <a:pt x="32" y="309"/>
                    <a:pt x="32" y="309"/>
                  </a:cubicBezTo>
                  <a:cubicBezTo>
                    <a:pt x="32" y="315"/>
                    <a:pt x="36" y="320"/>
                    <a:pt x="42" y="320"/>
                  </a:cubicBezTo>
                  <a:cubicBezTo>
                    <a:pt x="48" y="320"/>
                    <a:pt x="53" y="315"/>
                    <a:pt x="53" y="309"/>
                  </a:cubicBezTo>
                  <a:cubicBezTo>
                    <a:pt x="53" y="288"/>
                    <a:pt x="53" y="288"/>
                    <a:pt x="53" y="288"/>
                  </a:cubicBezTo>
                  <a:cubicBezTo>
                    <a:pt x="60" y="288"/>
                    <a:pt x="67" y="287"/>
                    <a:pt x="74" y="286"/>
                  </a:cubicBezTo>
                  <a:cubicBezTo>
                    <a:pt x="74" y="309"/>
                    <a:pt x="74" y="309"/>
                    <a:pt x="74" y="309"/>
                  </a:cubicBezTo>
                  <a:cubicBezTo>
                    <a:pt x="74" y="315"/>
                    <a:pt x="79" y="320"/>
                    <a:pt x="85" y="320"/>
                  </a:cubicBezTo>
                  <a:cubicBezTo>
                    <a:pt x="91" y="320"/>
                    <a:pt x="96" y="315"/>
                    <a:pt x="96" y="309"/>
                  </a:cubicBezTo>
                  <a:cubicBezTo>
                    <a:pt x="96" y="281"/>
                    <a:pt x="96" y="281"/>
                    <a:pt x="96" y="281"/>
                  </a:cubicBezTo>
                  <a:cubicBezTo>
                    <a:pt x="108" y="277"/>
                    <a:pt x="120" y="271"/>
                    <a:pt x="130" y="263"/>
                  </a:cubicBezTo>
                  <a:cubicBezTo>
                    <a:pt x="142" y="251"/>
                    <a:pt x="149" y="237"/>
                    <a:pt x="149" y="219"/>
                  </a:cubicBezTo>
                  <a:cubicBezTo>
                    <a:pt x="149" y="203"/>
                    <a:pt x="143" y="190"/>
                    <a:pt x="132" y="179"/>
                  </a:cubicBezTo>
                  <a:close/>
                  <a:moveTo>
                    <a:pt x="21" y="52"/>
                  </a:moveTo>
                  <a:cubicBezTo>
                    <a:pt x="44" y="50"/>
                    <a:pt x="87" y="52"/>
                    <a:pt x="108" y="70"/>
                  </a:cubicBezTo>
                  <a:cubicBezTo>
                    <a:pt x="115" y="77"/>
                    <a:pt x="119" y="86"/>
                    <a:pt x="119" y="97"/>
                  </a:cubicBezTo>
                  <a:cubicBezTo>
                    <a:pt x="119" y="109"/>
                    <a:pt x="115" y="119"/>
                    <a:pt x="107" y="127"/>
                  </a:cubicBezTo>
                  <a:cubicBezTo>
                    <a:pt x="87" y="145"/>
                    <a:pt x="52" y="149"/>
                    <a:pt x="33" y="149"/>
                  </a:cubicBezTo>
                  <a:cubicBezTo>
                    <a:pt x="28" y="149"/>
                    <a:pt x="24" y="149"/>
                    <a:pt x="21" y="149"/>
                  </a:cubicBezTo>
                  <a:lnTo>
                    <a:pt x="21" y="52"/>
                  </a:lnTo>
                  <a:close/>
                  <a:moveTo>
                    <a:pt x="115" y="247"/>
                  </a:moveTo>
                  <a:cubicBezTo>
                    <a:pt x="92" y="268"/>
                    <a:pt x="42" y="269"/>
                    <a:pt x="21" y="268"/>
                  </a:cubicBezTo>
                  <a:cubicBezTo>
                    <a:pt x="21" y="171"/>
                    <a:pt x="21" y="171"/>
                    <a:pt x="21" y="171"/>
                  </a:cubicBezTo>
                  <a:cubicBezTo>
                    <a:pt x="23" y="171"/>
                    <a:pt x="27" y="171"/>
                    <a:pt x="33" y="171"/>
                  </a:cubicBezTo>
                  <a:cubicBezTo>
                    <a:pt x="61" y="172"/>
                    <a:pt x="99" y="178"/>
                    <a:pt x="117" y="195"/>
                  </a:cubicBezTo>
                  <a:cubicBezTo>
                    <a:pt x="124" y="202"/>
                    <a:pt x="128" y="209"/>
                    <a:pt x="128" y="219"/>
                  </a:cubicBezTo>
                  <a:cubicBezTo>
                    <a:pt x="128" y="230"/>
                    <a:pt x="124" y="240"/>
                    <a:pt x="115" y="2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9" name="Group 853">
            <a:extLst>
              <a:ext uri="{FF2B5EF4-FFF2-40B4-BE49-F238E27FC236}">
                <a16:creationId xmlns:a16="http://schemas.microsoft.com/office/drawing/2014/main" id="{E921908F-C8DC-4CC0-80B5-62813FC85FC8}"/>
              </a:ext>
            </a:extLst>
          </p:cNvPr>
          <p:cNvGrpSpPr>
            <a:grpSpLocks noChangeAspect="1"/>
          </p:cNvGrpSpPr>
          <p:nvPr/>
        </p:nvGrpSpPr>
        <p:grpSpPr bwMode="auto">
          <a:xfrm>
            <a:off x="8746293" y="1700213"/>
            <a:ext cx="369021" cy="369021"/>
            <a:chOff x="7360" y="3435"/>
            <a:chExt cx="340" cy="340"/>
          </a:xfrm>
          <a:solidFill>
            <a:schemeClr val="accent4"/>
          </a:solidFill>
        </p:grpSpPr>
        <p:sp>
          <p:nvSpPr>
            <p:cNvPr id="160" name="Freeform 854">
              <a:extLst>
                <a:ext uri="{FF2B5EF4-FFF2-40B4-BE49-F238E27FC236}">
                  <a16:creationId xmlns:a16="http://schemas.microsoft.com/office/drawing/2014/main" id="{2575F8F1-7A4D-4A4B-9C9A-49690B65193B}"/>
                </a:ext>
              </a:extLst>
            </p:cNvPr>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1" name="Freeform 855">
              <a:extLst>
                <a:ext uri="{FF2B5EF4-FFF2-40B4-BE49-F238E27FC236}">
                  <a16:creationId xmlns:a16="http://schemas.microsoft.com/office/drawing/2014/main" id="{8E7EB9AB-088C-47E3-8E35-C652003162A7}"/>
                </a:ext>
              </a:extLst>
            </p:cNvPr>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2" name="Freeform 859">
            <a:extLst>
              <a:ext uri="{FF2B5EF4-FFF2-40B4-BE49-F238E27FC236}">
                <a16:creationId xmlns:a16="http://schemas.microsoft.com/office/drawing/2014/main" id="{D75282E4-63CF-4AE0-A6FF-717438A34A1D}"/>
              </a:ext>
            </a:extLst>
          </p:cNvPr>
          <p:cNvSpPr>
            <a:spLocks noChangeAspect="1" noEditPoints="1"/>
          </p:cNvSpPr>
          <p:nvPr/>
        </p:nvSpPr>
        <p:spPr bwMode="auto">
          <a:xfrm>
            <a:off x="8310912" y="1700213"/>
            <a:ext cx="369021" cy="369021"/>
          </a:xfrm>
          <a:custGeom>
            <a:avLst/>
            <a:gdLst>
              <a:gd name="T0" fmla="*/ 298 w 512"/>
              <a:gd name="T1" fmla="*/ 166 h 512"/>
              <a:gd name="T2" fmla="*/ 166 w 512"/>
              <a:gd name="T3" fmla="*/ 299 h 512"/>
              <a:gd name="T4" fmla="*/ 137 w 512"/>
              <a:gd name="T5" fmla="*/ 165 h 512"/>
              <a:gd name="T6" fmla="*/ 256 w 512"/>
              <a:gd name="T7" fmla="*/ 142 h 512"/>
              <a:gd name="T8" fmla="*/ 298 w 512"/>
              <a:gd name="T9" fmla="*/ 166 h 512"/>
              <a:gd name="T10" fmla="*/ 323 w 512"/>
              <a:gd name="T11" fmla="*/ 171 h 512"/>
              <a:gd name="T12" fmla="*/ 177 w 512"/>
              <a:gd name="T13" fmla="*/ 317 h 512"/>
              <a:gd name="T14" fmla="*/ 187 w 512"/>
              <a:gd name="T15" fmla="*/ 331 h 512"/>
              <a:gd name="T16" fmla="*/ 347 w 512"/>
              <a:gd name="T17" fmla="*/ 171 h 512"/>
              <a:gd name="T18" fmla="*/ 323 w 512"/>
              <a:gd name="T19" fmla="*/ 17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148 h 512"/>
              <a:gd name="T32" fmla="*/ 388 w 512"/>
              <a:gd name="T33" fmla="*/ 139 h 512"/>
              <a:gd name="T34" fmla="*/ 378 w 512"/>
              <a:gd name="T35" fmla="*/ 140 h 512"/>
              <a:gd name="T36" fmla="*/ 263 w 512"/>
              <a:gd name="T37" fmla="*/ 120 h 512"/>
              <a:gd name="T38" fmla="*/ 248 w 512"/>
              <a:gd name="T39" fmla="*/ 120 h 512"/>
              <a:gd name="T40" fmla="*/ 133 w 512"/>
              <a:gd name="T41" fmla="*/ 140 h 512"/>
              <a:gd name="T42" fmla="*/ 123 w 512"/>
              <a:gd name="T43" fmla="*/ 139 h 512"/>
              <a:gd name="T44" fmla="*/ 117 w 512"/>
              <a:gd name="T45" fmla="*/ 148 h 512"/>
              <a:gd name="T46" fmla="*/ 251 w 512"/>
              <a:gd name="T47" fmla="*/ 414 h 512"/>
              <a:gd name="T48" fmla="*/ 252 w 512"/>
              <a:gd name="T49" fmla="*/ 415 h 512"/>
              <a:gd name="T50" fmla="*/ 253 w 512"/>
              <a:gd name="T51" fmla="*/ 415 h 512"/>
              <a:gd name="T52" fmla="*/ 256 w 512"/>
              <a:gd name="T53" fmla="*/ 416 h 512"/>
              <a:gd name="T54" fmla="*/ 256 w 512"/>
              <a:gd name="T55" fmla="*/ 416 h 512"/>
              <a:gd name="T56" fmla="*/ 256 w 512"/>
              <a:gd name="T57" fmla="*/ 416 h 512"/>
              <a:gd name="T58" fmla="*/ 258 w 512"/>
              <a:gd name="T59" fmla="*/ 415 h 512"/>
              <a:gd name="T60" fmla="*/ 259 w 512"/>
              <a:gd name="T61" fmla="*/ 415 h 512"/>
              <a:gd name="T62" fmla="*/ 261 w 512"/>
              <a:gd name="T63" fmla="*/ 414 h 512"/>
              <a:gd name="T64" fmla="*/ 394 w 512"/>
              <a:gd name="T65" fmla="*/ 148 h 512"/>
              <a:gd name="T66" fmla="*/ 201 w 512"/>
              <a:gd name="T67" fmla="*/ 347 h 512"/>
              <a:gd name="T68" fmla="*/ 256 w 512"/>
              <a:gd name="T69" fmla="*/ 393 h 512"/>
              <a:gd name="T70" fmla="*/ 375 w 512"/>
              <a:gd name="T71" fmla="*/ 173 h 512"/>
              <a:gd name="T72" fmla="*/ 201 w 512"/>
              <a:gd name="T73"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98" y="166"/>
                </a:moveTo>
                <a:cubicBezTo>
                  <a:pt x="166" y="299"/>
                  <a:pt x="166" y="299"/>
                  <a:pt x="166" y="299"/>
                </a:cubicBezTo>
                <a:cubicBezTo>
                  <a:pt x="146" y="264"/>
                  <a:pt x="133" y="220"/>
                  <a:pt x="137" y="165"/>
                </a:cubicBezTo>
                <a:cubicBezTo>
                  <a:pt x="161" y="173"/>
                  <a:pt x="210" y="182"/>
                  <a:pt x="256" y="142"/>
                </a:cubicBezTo>
                <a:cubicBezTo>
                  <a:pt x="270" y="154"/>
                  <a:pt x="284" y="162"/>
                  <a:pt x="298" y="166"/>
                </a:cubicBezTo>
                <a:close/>
                <a:moveTo>
                  <a:pt x="323" y="171"/>
                </a:moveTo>
                <a:cubicBezTo>
                  <a:pt x="177" y="317"/>
                  <a:pt x="177" y="317"/>
                  <a:pt x="177" y="317"/>
                </a:cubicBezTo>
                <a:cubicBezTo>
                  <a:pt x="180" y="322"/>
                  <a:pt x="184" y="326"/>
                  <a:pt x="187" y="331"/>
                </a:cubicBezTo>
                <a:cubicBezTo>
                  <a:pt x="347" y="171"/>
                  <a:pt x="347" y="171"/>
                  <a:pt x="347" y="171"/>
                </a:cubicBezTo>
                <a:cubicBezTo>
                  <a:pt x="339" y="172"/>
                  <a:pt x="331" y="172"/>
                  <a:pt x="323" y="17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48"/>
                </a:moveTo>
                <a:cubicBezTo>
                  <a:pt x="394" y="144"/>
                  <a:pt x="392" y="141"/>
                  <a:pt x="388" y="139"/>
                </a:cubicBezTo>
                <a:cubicBezTo>
                  <a:pt x="385" y="138"/>
                  <a:pt x="381" y="138"/>
                  <a:pt x="378" y="140"/>
                </a:cubicBezTo>
                <a:cubicBezTo>
                  <a:pt x="378" y="140"/>
                  <a:pt x="317" y="174"/>
                  <a:pt x="263" y="120"/>
                </a:cubicBezTo>
                <a:cubicBezTo>
                  <a:pt x="259" y="116"/>
                  <a:pt x="252" y="116"/>
                  <a:pt x="248" y="120"/>
                </a:cubicBezTo>
                <a:cubicBezTo>
                  <a:pt x="195" y="174"/>
                  <a:pt x="135" y="141"/>
                  <a:pt x="133" y="140"/>
                </a:cubicBezTo>
                <a:cubicBezTo>
                  <a:pt x="130" y="138"/>
                  <a:pt x="126" y="138"/>
                  <a:pt x="123" y="139"/>
                </a:cubicBezTo>
                <a:cubicBezTo>
                  <a:pt x="120" y="141"/>
                  <a:pt x="117" y="144"/>
                  <a:pt x="117" y="148"/>
                </a:cubicBezTo>
                <a:cubicBezTo>
                  <a:pt x="95" y="332"/>
                  <a:pt x="249" y="414"/>
                  <a:pt x="251" y="414"/>
                </a:cubicBezTo>
                <a:cubicBezTo>
                  <a:pt x="251" y="415"/>
                  <a:pt x="252" y="415"/>
                  <a:pt x="252" y="415"/>
                </a:cubicBezTo>
                <a:cubicBezTo>
                  <a:pt x="252" y="415"/>
                  <a:pt x="253" y="415"/>
                  <a:pt x="253" y="415"/>
                </a:cubicBezTo>
                <a:cubicBezTo>
                  <a:pt x="254" y="416"/>
                  <a:pt x="255" y="416"/>
                  <a:pt x="256" y="416"/>
                </a:cubicBezTo>
                <a:cubicBezTo>
                  <a:pt x="256" y="416"/>
                  <a:pt x="256" y="416"/>
                  <a:pt x="256" y="416"/>
                </a:cubicBezTo>
                <a:cubicBezTo>
                  <a:pt x="256" y="416"/>
                  <a:pt x="256" y="416"/>
                  <a:pt x="256" y="416"/>
                </a:cubicBezTo>
                <a:cubicBezTo>
                  <a:pt x="257" y="416"/>
                  <a:pt x="257" y="416"/>
                  <a:pt x="258" y="415"/>
                </a:cubicBezTo>
                <a:cubicBezTo>
                  <a:pt x="259" y="415"/>
                  <a:pt x="259" y="415"/>
                  <a:pt x="259" y="415"/>
                </a:cubicBezTo>
                <a:cubicBezTo>
                  <a:pt x="260" y="415"/>
                  <a:pt x="260" y="415"/>
                  <a:pt x="261" y="414"/>
                </a:cubicBezTo>
                <a:cubicBezTo>
                  <a:pt x="262" y="414"/>
                  <a:pt x="416" y="332"/>
                  <a:pt x="394" y="148"/>
                </a:cubicBezTo>
                <a:close/>
                <a:moveTo>
                  <a:pt x="201" y="347"/>
                </a:moveTo>
                <a:cubicBezTo>
                  <a:pt x="224" y="372"/>
                  <a:pt x="246" y="387"/>
                  <a:pt x="256" y="393"/>
                </a:cubicBezTo>
                <a:cubicBezTo>
                  <a:pt x="280" y="379"/>
                  <a:pt x="380" y="311"/>
                  <a:pt x="375" y="173"/>
                </a:cubicBezTo>
                <a:lnTo>
                  <a:pt x="201" y="34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3" name="Freeform 760">
            <a:extLst>
              <a:ext uri="{FF2B5EF4-FFF2-40B4-BE49-F238E27FC236}">
                <a16:creationId xmlns:a16="http://schemas.microsoft.com/office/drawing/2014/main" id="{1C4231DB-3A9E-4EB0-81F2-AE76DD8A4EFA}"/>
              </a:ext>
            </a:extLst>
          </p:cNvPr>
          <p:cNvSpPr>
            <a:spLocks noChangeAspect="1" noEditPoints="1"/>
          </p:cNvSpPr>
          <p:nvPr/>
        </p:nvSpPr>
        <p:spPr bwMode="auto">
          <a:xfrm>
            <a:off x="9181674" y="1700213"/>
            <a:ext cx="367982" cy="367982"/>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4" name="Group 763">
            <a:extLst>
              <a:ext uri="{FF2B5EF4-FFF2-40B4-BE49-F238E27FC236}">
                <a16:creationId xmlns:a16="http://schemas.microsoft.com/office/drawing/2014/main" id="{95386278-AF72-4A50-A4F0-134E82B7D5E9}"/>
              </a:ext>
            </a:extLst>
          </p:cNvPr>
          <p:cNvGrpSpPr>
            <a:grpSpLocks noChangeAspect="1"/>
          </p:cNvGrpSpPr>
          <p:nvPr/>
        </p:nvGrpSpPr>
        <p:grpSpPr bwMode="auto">
          <a:xfrm>
            <a:off x="9616016" y="1700213"/>
            <a:ext cx="369064" cy="367982"/>
            <a:chOff x="3203" y="3365"/>
            <a:chExt cx="341" cy="340"/>
          </a:xfrm>
          <a:solidFill>
            <a:schemeClr val="accent3"/>
          </a:solidFill>
        </p:grpSpPr>
        <p:sp>
          <p:nvSpPr>
            <p:cNvPr id="165" name="Freeform 764">
              <a:extLst>
                <a:ext uri="{FF2B5EF4-FFF2-40B4-BE49-F238E27FC236}">
                  <a16:creationId xmlns:a16="http://schemas.microsoft.com/office/drawing/2014/main" id="{06BEE1BC-6553-4958-9BD9-613DE3EE8098}"/>
                </a:ext>
              </a:extLst>
            </p:cNvPr>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6" name="Freeform 765">
              <a:extLst>
                <a:ext uri="{FF2B5EF4-FFF2-40B4-BE49-F238E27FC236}">
                  <a16:creationId xmlns:a16="http://schemas.microsoft.com/office/drawing/2014/main" id="{FA1748CA-8F1A-49A4-A362-193AF4027568}"/>
                </a:ext>
              </a:extLst>
            </p:cNvPr>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7" name="Group 9">
            <a:extLst>
              <a:ext uri="{FF2B5EF4-FFF2-40B4-BE49-F238E27FC236}">
                <a16:creationId xmlns:a16="http://schemas.microsoft.com/office/drawing/2014/main" id="{0096FF31-37B0-42B5-95B0-9A53C195B32E}"/>
              </a:ext>
            </a:extLst>
          </p:cNvPr>
          <p:cNvGrpSpPr>
            <a:grpSpLocks noChangeAspect="1"/>
          </p:cNvGrpSpPr>
          <p:nvPr/>
        </p:nvGrpSpPr>
        <p:grpSpPr bwMode="auto">
          <a:xfrm>
            <a:off x="10486038" y="1700213"/>
            <a:ext cx="368051" cy="368152"/>
            <a:chOff x="299" y="-289"/>
            <a:chExt cx="3635" cy="3636"/>
          </a:xfrm>
          <a:solidFill>
            <a:schemeClr val="accent1"/>
          </a:solidFill>
        </p:grpSpPr>
        <p:sp>
          <p:nvSpPr>
            <p:cNvPr id="168" name="Freeform 10">
              <a:extLst>
                <a:ext uri="{FF2B5EF4-FFF2-40B4-BE49-F238E27FC236}">
                  <a16:creationId xmlns:a16="http://schemas.microsoft.com/office/drawing/2014/main" id="{674B9A69-4757-402C-9070-9F3DE0120827}"/>
                </a:ext>
              </a:extLst>
            </p:cNvPr>
            <p:cNvSpPr>
              <a:spLocks noEditPoints="1"/>
            </p:cNvSpPr>
            <p:nvPr/>
          </p:nvSpPr>
          <p:spPr bwMode="auto">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9" name="Freeform 11">
              <a:extLst>
                <a:ext uri="{FF2B5EF4-FFF2-40B4-BE49-F238E27FC236}">
                  <a16:creationId xmlns:a16="http://schemas.microsoft.com/office/drawing/2014/main" id="{B4E84B8E-E0D4-459E-BD3B-57EF60E0189C}"/>
                </a:ext>
              </a:extLst>
            </p:cNvPr>
            <p:cNvSpPr>
              <a:spLocks noEditPoints="1"/>
            </p:cNvSpPr>
            <p:nvPr/>
          </p:nvSpPr>
          <p:spPr bwMode="auto">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0" name="Freeform 77">
            <a:extLst>
              <a:ext uri="{FF2B5EF4-FFF2-40B4-BE49-F238E27FC236}">
                <a16:creationId xmlns:a16="http://schemas.microsoft.com/office/drawing/2014/main" id="{7FD58964-00B6-4988-9507-52D20D8D49EB}"/>
              </a:ext>
            </a:extLst>
          </p:cNvPr>
          <p:cNvSpPr>
            <a:spLocks noChangeAspect="1" noEditPoints="1"/>
          </p:cNvSpPr>
          <p:nvPr/>
        </p:nvSpPr>
        <p:spPr bwMode="auto">
          <a:xfrm>
            <a:off x="10051440" y="1700213"/>
            <a:ext cx="368238" cy="368152"/>
          </a:xfrm>
          <a:custGeom>
            <a:avLst/>
            <a:gdLst>
              <a:gd name="T0" fmla="*/ 0 w 512"/>
              <a:gd name="T1" fmla="*/ 256 h 512"/>
              <a:gd name="T2" fmla="*/ 512 w 512"/>
              <a:gd name="T3" fmla="*/ 256 h 512"/>
              <a:gd name="T4" fmla="*/ 192 w 512"/>
              <a:gd name="T5" fmla="*/ 160 h 512"/>
              <a:gd name="T6" fmla="*/ 216 w 512"/>
              <a:gd name="T7" fmla="*/ 170 h 512"/>
              <a:gd name="T8" fmla="*/ 253 w 512"/>
              <a:gd name="T9" fmla="*/ 170 h 512"/>
              <a:gd name="T10" fmla="*/ 320 w 512"/>
              <a:gd name="T11" fmla="*/ 160 h 512"/>
              <a:gd name="T12" fmla="*/ 320 w 512"/>
              <a:gd name="T13" fmla="*/ 202 h 512"/>
              <a:gd name="T14" fmla="*/ 253 w 512"/>
              <a:gd name="T15" fmla="*/ 192 h 512"/>
              <a:gd name="T16" fmla="*/ 216 w 512"/>
              <a:gd name="T17" fmla="*/ 192 h 512"/>
              <a:gd name="T18" fmla="*/ 192 w 512"/>
              <a:gd name="T19" fmla="*/ 202 h 512"/>
              <a:gd name="T20" fmla="*/ 192 w 512"/>
              <a:gd name="T21" fmla="*/ 160 h 512"/>
              <a:gd name="T22" fmla="*/ 210 w 512"/>
              <a:gd name="T23" fmla="*/ 245 h 512"/>
              <a:gd name="T24" fmla="*/ 277 w 512"/>
              <a:gd name="T25" fmla="*/ 234 h 512"/>
              <a:gd name="T26" fmla="*/ 301 w 512"/>
              <a:gd name="T27" fmla="*/ 245 h 512"/>
              <a:gd name="T28" fmla="*/ 341 w 512"/>
              <a:gd name="T29" fmla="*/ 256 h 512"/>
              <a:gd name="T30" fmla="*/ 301 w 512"/>
              <a:gd name="T31" fmla="*/ 266 h 512"/>
              <a:gd name="T32" fmla="*/ 277 w 512"/>
              <a:gd name="T33" fmla="*/ 277 h 512"/>
              <a:gd name="T34" fmla="*/ 210 w 512"/>
              <a:gd name="T35" fmla="*/ 266 h 512"/>
              <a:gd name="T36" fmla="*/ 170 w 512"/>
              <a:gd name="T37" fmla="*/ 256 h 512"/>
              <a:gd name="T38" fmla="*/ 192 w 512"/>
              <a:gd name="T39" fmla="*/ 309 h 512"/>
              <a:gd name="T40" fmla="*/ 237 w 512"/>
              <a:gd name="T41" fmla="*/ 320 h 512"/>
              <a:gd name="T42" fmla="*/ 274 w 512"/>
              <a:gd name="T43" fmla="*/ 320 h 512"/>
              <a:gd name="T44" fmla="*/ 320 w 512"/>
              <a:gd name="T45" fmla="*/ 309 h 512"/>
              <a:gd name="T46" fmla="*/ 320 w 512"/>
              <a:gd name="T47" fmla="*/ 352 h 512"/>
              <a:gd name="T48" fmla="*/ 274 w 512"/>
              <a:gd name="T49" fmla="*/ 341 h 512"/>
              <a:gd name="T50" fmla="*/ 237 w 512"/>
              <a:gd name="T51" fmla="*/ 341 h 512"/>
              <a:gd name="T52" fmla="*/ 192 w 512"/>
              <a:gd name="T53" fmla="*/ 352 h 512"/>
              <a:gd name="T54" fmla="*/ 192 w 512"/>
              <a:gd name="T55" fmla="*/ 309 h 512"/>
              <a:gd name="T56" fmla="*/ 128 w 512"/>
              <a:gd name="T57" fmla="*/ 394 h 512"/>
              <a:gd name="T58" fmla="*/ 128 w 512"/>
              <a:gd name="T59" fmla="*/ 373 h 512"/>
              <a:gd name="T60" fmla="*/ 138 w 512"/>
              <a:gd name="T61" fmla="*/ 117 h 512"/>
              <a:gd name="T62" fmla="*/ 149 w 512"/>
              <a:gd name="T63" fmla="*/ 373 h 512"/>
              <a:gd name="T64" fmla="*/ 362 w 512"/>
              <a:gd name="T65" fmla="*/ 128 h 512"/>
              <a:gd name="T66" fmla="*/ 384 w 512"/>
              <a:gd name="T67" fmla="*/ 128 h 512"/>
              <a:gd name="T68" fmla="*/ 394 w 512"/>
              <a:gd name="T6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160"/>
                </a:moveTo>
                <a:cubicBezTo>
                  <a:pt x="200" y="160"/>
                  <a:pt x="206" y="164"/>
                  <a:pt x="210" y="170"/>
                </a:cubicBezTo>
                <a:cubicBezTo>
                  <a:pt x="216" y="170"/>
                  <a:pt x="216" y="170"/>
                  <a:pt x="216" y="170"/>
                </a:cubicBezTo>
                <a:cubicBezTo>
                  <a:pt x="220" y="164"/>
                  <a:pt x="226" y="160"/>
                  <a:pt x="234" y="160"/>
                </a:cubicBezTo>
                <a:cubicBezTo>
                  <a:pt x="242" y="160"/>
                  <a:pt x="249" y="164"/>
                  <a:pt x="253" y="170"/>
                </a:cubicBezTo>
                <a:cubicBezTo>
                  <a:pt x="301" y="170"/>
                  <a:pt x="301" y="170"/>
                  <a:pt x="301" y="170"/>
                </a:cubicBezTo>
                <a:cubicBezTo>
                  <a:pt x="305" y="164"/>
                  <a:pt x="312" y="160"/>
                  <a:pt x="320" y="160"/>
                </a:cubicBezTo>
                <a:cubicBezTo>
                  <a:pt x="331" y="160"/>
                  <a:pt x="341" y="169"/>
                  <a:pt x="341" y="181"/>
                </a:cubicBezTo>
                <a:cubicBezTo>
                  <a:pt x="341" y="193"/>
                  <a:pt x="331" y="202"/>
                  <a:pt x="320" y="202"/>
                </a:cubicBezTo>
                <a:cubicBezTo>
                  <a:pt x="312" y="202"/>
                  <a:pt x="305" y="198"/>
                  <a:pt x="301" y="192"/>
                </a:cubicBezTo>
                <a:cubicBezTo>
                  <a:pt x="253" y="192"/>
                  <a:pt x="253" y="192"/>
                  <a:pt x="253" y="192"/>
                </a:cubicBezTo>
                <a:cubicBezTo>
                  <a:pt x="249" y="198"/>
                  <a:pt x="242" y="202"/>
                  <a:pt x="234" y="202"/>
                </a:cubicBezTo>
                <a:cubicBezTo>
                  <a:pt x="226" y="202"/>
                  <a:pt x="220" y="198"/>
                  <a:pt x="216" y="192"/>
                </a:cubicBezTo>
                <a:cubicBezTo>
                  <a:pt x="210" y="192"/>
                  <a:pt x="210" y="192"/>
                  <a:pt x="210" y="192"/>
                </a:cubicBezTo>
                <a:cubicBezTo>
                  <a:pt x="206" y="198"/>
                  <a:pt x="200" y="202"/>
                  <a:pt x="192" y="202"/>
                </a:cubicBezTo>
                <a:cubicBezTo>
                  <a:pt x="180" y="202"/>
                  <a:pt x="170" y="193"/>
                  <a:pt x="170" y="181"/>
                </a:cubicBezTo>
                <a:cubicBezTo>
                  <a:pt x="170" y="169"/>
                  <a:pt x="180" y="160"/>
                  <a:pt x="192" y="160"/>
                </a:cubicBezTo>
                <a:close/>
                <a:moveTo>
                  <a:pt x="192" y="234"/>
                </a:moveTo>
                <a:cubicBezTo>
                  <a:pt x="200" y="234"/>
                  <a:pt x="206" y="239"/>
                  <a:pt x="210" y="245"/>
                </a:cubicBezTo>
                <a:cubicBezTo>
                  <a:pt x="259" y="245"/>
                  <a:pt x="259" y="245"/>
                  <a:pt x="259" y="245"/>
                </a:cubicBezTo>
                <a:cubicBezTo>
                  <a:pt x="262" y="239"/>
                  <a:pt x="269" y="234"/>
                  <a:pt x="277" y="234"/>
                </a:cubicBezTo>
                <a:cubicBezTo>
                  <a:pt x="285" y="234"/>
                  <a:pt x="292" y="239"/>
                  <a:pt x="295" y="245"/>
                </a:cubicBezTo>
                <a:cubicBezTo>
                  <a:pt x="301" y="245"/>
                  <a:pt x="301" y="245"/>
                  <a:pt x="301" y="245"/>
                </a:cubicBezTo>
                <a:cubicBezTo>
                  <a:pt x="305" y="239"/>
                  <a:pt x="312" y="234"/>
                  <a:pt x="320" y="234"/>
                </a:cubicBezTo>
                <a:cubicBezTo>
                  <a:pt x="331" y="234"/>
                  <a:pt x="341" y="244"/>
                  <a:pt x="341" y="256"/>
                </a:cubicBezTo>
                <a:cubicBezTo>
                  <a:pt x="341" y="267"/>
                  <a:pt x="331" y="277"/>
                  <a:pt x="320" y="277"/>
                </a:cubicBezTo>
                <a:cubicBezTo>
                  <a:pt x="312" y="277"/>
                  <a:pt x="305" y="273"/>
                  <a:pt x="301" y="266"/>
                </a:cubicBezTo>
                <a:cubicBezTo>
                  <a:pt x="295" y="266"/>
                  <a:pt x="295" y="266"/>
                  <a:pt x="295" y="266"/>
                </a:cubicBezTo>
                <a:cubicBezTo>
                  <a:pt x="292" y="273"/>
                  <a:pt x="285" y="277"/>
                  <a:pt x="277" y="277"/>
                </a:cubicBezTo>
                <a:cubicBezTo>
                  <a:pt x="269" y="277"/>
                  <a:pt x="262" y="273"/>
                  <a:pt x="259" y="266"/>
                </a:cubicBezTo>
                <a:cubicBezTo>
                  <a:pt x="210" y="266"/>
                  <a:pt x="210" y="266"/>
                  <a:pt x="210" y="266"/>
                </a:cubicBezTo>
                <a:cubicBezTo>
                  <a:pt x="206" y="273"/>
                  <a:pt x="200" y="277"/>
                  <a:pt x="192" y="277"/>
                </a:cubicBezTo>
                <a:cubicBezTo>
                  <a:pt x="180" y="277"/>
                  <a:pt x="170" y="267"/>
                  <a:pt x="170" y="256"/>
                </a:cubicBezTo>
                <a:cubicBezTo>
                  <a:pt x="170" y="244"/>
                  <a:pt x="180" y="234"/>
                  <a:pt x="192" y="234"/>
                </a:cubicBezTo>
                <a:close/>
                <a:moveTo>
                  <a:pt x="192" y="309"/>
                </a:moveTo>
                <a:cubicBezTo>
                  <a:pt x="200" y="309"/>
                  <a:pt x="206" y="313"/>
                  <a:pt x="210" y="320"/>
                </a:cubicBezTo>
                <a:cubicBezTo>
                  <a:pt x="237" y="320"/>
                  <a:pt x="237" y="320"/>
                  <a:pt x="237" y="320"/>
                </a:cubicBezTo>
                <a:cubicBezTo>
                  <a:pt x="241" y="313"/>
                  <a:pt x="248" y="309"/>
                  <a:pt x="256" y="309"/>
                </a:cubicBezTo>
                <a:cubicBezTo>
                  <a:pt x="264" y="309"/>
                  <a:pt x="270" y="313"/>
                  <a:pt x="274" y="320"/>
                </a:cubicBezTo>
                <a:cubicBezTo>
                  <a:pt x="301" y="320"/>
                  <a:pt x="301" y="320"/>
                  <a:pt x="301" y="320"/>
                </a:cubicBezTo>
                <a:cubicBezTo>
                  <a:pt x="305" y="313"/>
                  <a:pt x="312" y="309"/>
                  <a:pt x="320" y="309"/>
                </a:cubicBezTo>
                <a:cubicBezTo>
                  <a:pt x="331" y="309"/>
                  <a:pt x="341" y="319"/>
                  <a:pt x="341" y="330"/>
                </a:cubicBezTo>
                <a:cubicBezTo>
                  <a:pt x="341" y="342"/>
                  <a:pt x="331" y="352"/>
                  <a:pt x="320" y="352"/>
                </a:cubicBezTo>
                <a:cubicBezTo>
                  <a:pt x="312" y="352"/>
                  <a:pt x="305" y="347"/>
                  <a:pt x="301" y="341"/>
                </a:cubicBezTo>
                <a:cubicBezTo>
                  <a:pt x="274" y="341"/>
                  <a:pt x="274" y="341"/>
                  <a:pt x="274" y="341"/>
                </a:cubicBezTo>
                <a:cubicBezTo>
                  <a:pt x="270" y="347"/>
                  <a:pt x="264" y="352"/>
                  <a:pt x="256" y="352"/>
                </a:cubicBezTo>
                <a:cubicBezTo>
                  <a:pt x="248" y="352"/>
                  <a:pt x="241" y="347"/>
                  <a:pt x="237" y="341"/>
                </a:cubicBezTo>
                <a:cubicBezTo>
                  <a:pt x="210" y="341"/>
                  <a:pt x="210" y="341"/>
                  <a:pt x="210" y="341"/>
                </a:cubicBezTo>
                <a:cubicBezTo>
                  <a:pt x="206" y="347"/>
                  <a:pt x="200" y="352"/>
                  <a:pt x="192" y="352"/>
                </a:cubicBezTo>
                <a:cubicBezTo>
                  <a:pt x="180" y="352"/>
                  <a:pt x="170" y="342"/>
                  <a:pt x="170" y="330"/>
                </a:cubicBezTo>
                <a:cubicBezTo>
                  <a:pt x="170" y="319"/>
                  <a:pt x="180" y="309"/>
                  <a:pt x="192" y="309"/>
                </a:cubicBezTo>
                <a:close/>
                <a:moveTo>
                  <a:pt x="384" y="394"/>
                </a:moveTo>
                <a:cubicBezTo>
                  <a:pt x="128" y="394"/>
                  <a:pt x="128" y="394"/>
                  <a:pt x="128" y="394"/>
                </a:cubicBezTo>
                <a:cubicBezTo>
                  <a:pt x="122" y="394"/>
                  <a:pt x="117" y="390"/>
                  <a:pt x="117" y="384"/>
                </a:cubicBezTo>
                <a:cubicBezTo>
                  <a:pt x="117" y="378"/>
                  <a:pt x="122" y="373"/>
                  <a:pt x="128" y="373"/>
                </a:cubicBezTo>
                <a:cubicBezTo>
                  <a:pt x="128" y="128"/>
                  <a:pt x="128" y="128"/>
                  <a:pt x="128" y="128"/>
                </a:cubicBezTo>
                <a:cubicBezTo>
                  <a:pt x="128" y="122"/>
                  <a:pt x="132" y="117"/>
                  <a:pt x="138" y="117"/>
                </a:cubicBezTo>
                <a:cubicBezTo>
                  <a:pt x="144" y="117"/>
                  <a:pt x="149" y="122"/>
                  <a:pt x="149" y="128"/>
                </a:cubicBezTo>
                <a:cubicBezTo>
                  <a:pt x="149" y="373"/>
                  <a:pt x="149" y="373"/>
                  <a:pt x="149" y="373"/>
                </a:cubicBezTo>
                <a:cubicBezTo>
                  <a:pt x="362" y="373"/>
                  <a:pt x="362" y="373"/>
                  <a:pt x="362" y="373"/>
                </a:cubicBezTo>
                <a:cubicBezTo>
                  <a:pt x="362" y="128"/>
                  <a:pt x="362" y="128"/>
                  <a:pt x="362" y="128"/>
                </a:cubicBezTo>
                <a:cubicBezTo>
                  <a:pt x="362" y="122"/>
                  <a:pt x="367" y="117"/>
                  <a:pt x="373" y="117"/>
                </a:cubicBezTo>
                <a:cubicBezTo>
                  <a:pt x="379" y="117"/>
                  <a:pt x="384" y="122"/>
                  <a:pt x="384" y="128"/>
                </a:cubicBezTo>
                <a:cubicBezTo>
                  <a:pt x="384" y="373"/>
                  <a:pt x="384" y="373"/>
                  <a:pt x="384" y="373"/>
                </a:cubicBezTo>
                <a:cubicBezTo>
                  <a:pt x="390" y="373"/>
                  <a:pt x="394" y="378"/>
                  <a:pt x="394" y="384"/>
                </a:cubicBezTo>
                <a:cubicBezTo>
                  <a:pt x="394" y="390"/>
                  <a:pt x="390" y="394"/>
                  <a:pt x="384"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1" name="Freeform 832">
            <a:extLst>
              <a:ext uri="{FF2B5EF4-FFF2-40B4-BE49-F238E27FC236}">
                <a16:creationId xmlns:a16="http://schemas.microsoft.com/office/drawing/2014/main" id="{63E08A73-775B-4EB8-8D25-25B43DE4B2FF}"/>
              </a:ext>
            </a:extLst>
          </p:cNvPr>
          <p:cNvSpPr>
            <a:spLocks noChangeAspect="1" noEditPoints="1"/>
          </p:cNvSpPr>
          <p:nvPr/>
        </p:nvSpPr>
        <p:spPr bwMode="auto">
          <a:xfrm>
            <a:off x="10920449" y="1700213"/>
            <a:ext cx="367982" cy="367982"/>
          </a:xfrm>
          <a:custGeom>
            <a:avLst/>
            <a:gdLst>
              <a:gd name="T0" fmla="*/ 140 w 512"/>
              <a:gd name="T1" fmla="*/ 277 h 512"/>
              <a:gd name="T2" fmla="*/ 243 w 512"/>
              <a:gd name="T3" fmla="*/ 182 h 512"/>
              <a:gd name="T4" fmla="*/ 268 w 512"/>
              <a:gd name="T5" fmla="*/ 182 h 512"/>
              <a:gd name="T6" fmla="*/ 371 w 512"/>
              <a:gd name="T7" fmla="*/ 277 h 512"/>
              <a:gd name="T8" fmla="*/ 256 w 512"/>
              <a:gd name="T9" fmla="*/ 512 h 512"/>
              <a:gd name="T10" fmla="*/ 256 w 512"/>
              <a:gd name="T11" fmla="*/ 0 h 512"/>
              <a:gd name="T12" fmla="*/ 160 w 512"/>
              <a:gd name="T13" fmla="*/ 330 h 512"/>
              <a:gd name="T14" fmla="*/ 138 w 512"/>
              <a:gd name="T15" fmla="*/ 330 h 512"/>
              <a:gd name="T16" fmla="*/ 149 w 512"/>
              <a:gd name="T17" fmla="*/ 373 h 512"/>
              <a:gd name="T18" fmla="*/ 160 w 512"/>
              <a:gd name="T19" fmla="*/ 330 h 512"/>
              <a:gd name="T20" fmla="*/ 192 w 512"/>
              <a:gd name="T21" fmla="*/ 320 h 512"/>
              <a:gd name="T22" fmla="*/ 181 w 512"/>
              <a:gd name="T23" fmla="*/ 362 h 512"/>
              <a:gd name="T24" fmla="*/ 202 w 512"/>
              <a:gd name="T25" fmla="*/ 362 h 512"/>
              <a:gd name="T26" fmla="*/ 245 w 512"/>
              <a:gd name="T27" fmla="*/ 330 h 512"/>
              <a:gd name="T28" fmla="*/ 224 w 512"/>
              <a:gd name="T29" fmla="*/ 330 h 512"/>
              <a:gd name="T30" fmla="*/ 234 w 512"/>
              <a:gd name="T31" fmla="*/ 373 h 512"/>
              <a:gd name="T32" fmla="*/ 245 w 512"/>
              <a:gd name="T33" fmla="*/ 330 h 512"/>
              <a:gd name="T34" fmla="*/ 277 w 512"/>
              <a:gd name="T35" fmla="*/ 320 h 512"/>
              <a:gd name="T36" fmla="*/ 266 w 512"/>
              <a:gd name="T37" fmla="*/ 362 h 512"/>
              <a:gd name="T38" fmla="*/ 288 w 512"/>
              <a:gd name="T39" fmla="*/ 362 h 512"/>
              <a:gd name="T40" fmla="*/ 330 w 512"/>
              <a:gd name="T41" fmla="*/ 330 h 512"/>
              <a:gd name="T42" fmla="*/ 309 w 512"/>
              <a:gd name="T43" fmla="*/ 330 h 512"/>
              <a:gd name="T44" fmla="*/ 320 w 512"/>
              <a:gd name="T45" fmla="*/ 373 h 512"/>
              <a:gd name="T46" fmla="*/ 330 w 512"/>
              <a:gd name="T47" fmla="*/ 330 h 512"/>
              <a:gd name="T48" fmla="*/ 362 w 512"/>
              <a:gd name="T49" fmla="*/ 320 h 512"/>
              <a:gd name="T50" fmla="*/ 352 w 512"/>
              <a:gd name="T51" fmla="*/ 362 h 512"/>
              <a:gd name="T52" fmla="*/ 373 w 512"/>
              <a:gd name="T53" fmla="*/ 362 h 512"/>
              <a:gd name="T54" fmla="*/ 416 w 512"/>
              <a:gd name="T55" fmla="*/ 288 h 512"/>
              <a:gd name="T56" fmla="*/ 393 w 512"/>
              <a:gd name="T57" fmla="*/ 277 h 512"/>
              <a:gd name="T58" fmla="*/ 288 w 512"/>
              <a:gd name="T59" fmla="*/ 128 h 512"/>
              <a:gd name="T60" fmla="*/ 266 w 512"/>
              <a:gd name="T61" fmla="*/ 117 h 512"/>
              <a:gd name="T62" fmla="*/ 256 w 512"/>
              <a:gd name="T63" fmla="*/ 96 h 512"/>
              <a:gd name="T64" fmla="*/ 245 w 512"/>
              <a:gd name="T65" fmla="*/ 117 h 512"/>
              <a:gd name="T66" fmla="*/ 224 w 512"/>
              <a:gd name="T67" fmla="*/ 128 h 512"/>
              <a:gd name="T68" fmla="*/ 119 w 512"/>
              <a:gd name="T69" fmla="*/ 277 h 512"/>
              <a:gd name="T70" fmla="*/ 96 w 512"/>
              <a:gd name="T71" fmla="*/ 288 h 512"/>
              <a:gd name="T72" fmla="*/ 106 w 512"/>
              <a:gd name="T73" fmla="*/ 373 h 512"/>
              <a:gd name="T74" fmla="*/ 117 w 512"/>
              <a:gd name="T75" fmla="*/ 298 h 512"/>
              <a:gd name="T76" fmla="*/ 394 w 512"/>
              <a:gd name="T77" fmla="*/ 362 h 512"/>
              <a:gd name="T78" fmla="*/ 416 w 512"/>
              <a:gd name="T79" fmla="*/ 362 h 512"/>
              <a:gd name="T80" fmla="*/ 266 w 512"/>
              <a:gd name="T81" fmla="*/ 160 h 512"/>
              <a:gd name="T82" fmla="*/ 245 w 512"/>
              <a:gd name="T83" fmla="*/ 138 h 512"/>
              <a:gd name="T84" fmla="*/ 256 w 512"/>
              <a:gd name="T85"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71" y="277"/>
                </a:moveTo>
                <a:cubicBezTo>
                  <a:pt x="140" y="277"/>
                  <a:pt x="140" y="277"/>
                  <a:pt x="140" y="277"/>
                </a:cubicBezTo>
                <a:cubicBezTo>
                  <a:pt x="149" y="229"/>
                  <a:pt x="187" y="191"/>
                  <a:pt x="236" y="183"/>
                </a:cubicBezTo>
                <a:cubicBezTo>
                  <a:pt x="243" y="182"/>
                  <a:pt x="243" y="182"/>
                  <a:pt x="243" y="182"/>
                </a:cubicBezTo>
                <a:cubicBezTo>
                  <a:pt x="248" y="181"/>
                  <a:pt x="251" y="181"/>
                  <a:pt x="256" y="181"/>
                </a:cubicBezTo>
                <a:cubicBezTo>
                  <a:pt x="260" y="181"/>
                  <a:pt x="263" y="181"/>
                  <a:pt x="268" y="182"/>
                </a:cubicBezTo>
                <a:cubicBezTo>
                  <a:pt x="275" y="183"/>
                  <a:pt x="275" y="183"/>
                  <a:pt x="275" y="183"/>
                </a:cubicBezTo>
                <a:cubicBezTo>
                  <a:pt x="324" y="191"/>
                  <a:pt x="362" y="229"/>
                  <a:pt x="371"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330"/>
                </a:moveTo>
                <a:cubicBezTo>
                  <a:pt x="160" y="324"/>
                  <a:pt x="155" y="320"/>
                  <a:pt x="149" y="320"/>
                </a:cubicBezTo>
                <a:cubicBezTo>
                  <a:pt x="143" y="320"/>
                  <a:pt x="138" y="324"/>
                  <a:pt x="138" y="330"/>
                </a:cubicBezTo>
                <a:cubicBezTo>
                  <a:pt x="138" y="362"/>
                  <a:pt x="138" y="362"/>
                  <a:pt x="138" y="362"/>
                </a:cubicBezTo>
                <a:cubicBezTo>
                  <a:pt x="138" y="368"/>
                  <a:pt x="143" y="373"/>
                  <a:pt x="149" y="373"/>
                </a:cubicBezTo>
                <a:cubicBezTo>
                  <a:pt x="155" y="373"/>
                  <a:pt x="160" y="368"/>
                  <a:pt x="160" y="362"/>
                </a:cubicBezTo>
                <a:lnTo>
                  <a:pt x="160" y="330"/>
                </a:lnTo>
                <a:close/>
                <a:moveTo>
                  <a:pt x="202" y="330"/>
                </a:moveTo>
                <a:cubicBezTo>
                  <a:pt x="202" y="324"/>
                  <a:pt x="198" y="320"/>
                  <a:pt x="192" y="320"/>
                </a:cubicBezTo>
                <a:cubicBezTo>
                  <a:pt x="186" y="320"/>
                  <a:pt x="181" y="324"/>
                  <a:pt x="181" y="330"/>
                </a:cubicBezTo>
                <a:cubicBezTo>
                  <a:pt x="181" y="362"/>
                  <a:pt x="181" y="362"/>
                  <a:pt x="181" y="362"/>
                </a:cubicBezTo>
                <a:cubicBezTo>
                  <a:pt x="181" y="368"/>
                  <a:pt x="186" y="373"/>
                  <a:pt x="192" y="373"/>
                </a:cubicBezTo>
                <a:cubicBezTo>
                  <a:pt x="198" y="373"/>
                  <a:pt x="202" y="368"/>
                  <a:pt x="202" y="362"/>
                </a:cubicBezTo>
                <a:lnTo>
                  <a:pt x="202" y="330"/>
                </a:lnTo>
                <a:close/>
                <a:moveTo>
                  <a:pt x="245" y="330"/>
                </a:moveTo>
                <a:cubicBezTo>
                  <a:pt x="245" y="324"/>
                  <a:pt x="240" y="320"/>
                  <a:pt x="234" y="320"/>
                </a:cubicBezTo>
                <a:cubicBezTo>
                  <a:pt x="228" y="320"/>
                  <a:pt x="224" y="324"/>
                  <a:pt x="224" y="330"/>
                </a:cubicBezTo>
                <a:cubicBezTo>
                  <a:pt x="224" y="362"/>
                  <a:pt x="224" y="362"/>
                  <a:pt x="224" y="362"/>
                </a:cubicBezTo>
                <a:cubicBezTo>
                  <a:pt x="224" y="368"/>
                  <a:pt x="228" y="373"/>
                  <a:pt x="234" y="373"/>
                </a:cubicBezTo>
                <a:cubicBezTo>
                  <a:pt x="240" y="373"/>
                  <a:pt x="245" y="368"/>
                  <a:pt x="245" y="362"/>
                </a:cubicBezTo>
                <a:lnTo>
                  <a:pt x="245" y="330"/>
                </a:lnTo>
                <a:close/>
                <a:moveTo>
                  <a:pt x="288" y="330"/>
                </a:moveTo>
                <a:cubicBezTo>
                  <a:pt x="288" y="324"/>
                  <a:pt x="283" y="320"/>
                  <a:pt x="277" y="320"/>
                </a:cubicBezTo>
                <a:cubicBezTo>
                  <a:pt x="271" y="320"/>
                  <a:pt x="266" y="324"/>
                  <a:pt x="266" y="330"/>
                </a:cubicBezTo>
                <a:cubicBezTo>
                  <a:pt x="266" y="362"/>
                  <a:pt x="266" y="362"/>
                  <a:pt x="266" y="362"/>
                </a:cubicBezTo>
                <a:cubicBezTo>
                  <a:pt x="266" y="368"/>
                  <a:pt x="271" y="373"/>
                  <a:pt x="277" y="373"/>
                </a:cubicBezTo>
                <a:cubicBezTo>
                  <a:pt x="283" y="373"/>
                  <a:pt x="288" y="368"/>
                  <a:pt x="288" y="362"/>
                </a:cubicBezTo>
                <a:lnTo>
                  <a:pt x="288" y="330"/>
                </a:lnTo>
                <a:close/>
                <a:moveTo>
                  <a:pt x="330" y="330"/>
                </a:moveTo>
                <a:cubicBezTo>
                  <a:pt x="330" y="324"/>
                  <a:pt x="326" y="320"/>
                  <a:pt x="320" y="320"/>
                </a:cubicBezTo>
                <a:cubicBezTo>
                  <a:pt x="314" y="320"/>
                  <a:pt x="309" y="324"/>
                  <a:pt x="309" y="330"/>
                </a:cubicBezTo>
                <a:cubicBezTo>
                  <a:pt x="309" y="362"/>
                  <a:pt x="309" y="362"/>
                  <a:pt x="309" y="362"/>
                </a:cubicBezTo>
                <a:cubicBezTo>
                  <a:pt x="309" y="368"/>
                  <a:pt x="314" y="373"/>
                  <a:pt x="320" y="373"/>
                </a:cubicBezTo>
                <a:cubicBezTo>
                  <a:pt x="326" y="373"/>
                  <a:pt x="330" y="368"/>
                  <a:pt x="330" y="362"/>
                </a:cubicBezTo>
                <a:lnTo>
                  <a:pt x="330" y="330"/>
                </a:lnTo>
                <a:close/>
                <a:moveTo>
                  <a:pt x="373" y="330"/>
                </a:moveTo>
                <a:cubicBezTo>
                  <a:pt x="373" y="324"/>
                  <a:pt x="368" y="320"/>
                  <a:pt x="362" y="320"/>
                </a:cubicBezTo>
                <a:cubicBezTo>
                  <a:pt x="356" y="320"/>
                  <a:pt x="352" y="324"/>
                  <a:pt x="352" y="330"/>
                </a:cubicBezTo>
                <a:cubicBezTo>
                  <a:pt x="352" y="362"/>
                  <a:pt x="352" y="362"/>
                  <a:pt x="352" y="362"/>
                </a:cubicBezTo>
                <a:cubicBezTo>
                  <a:pt x="352" y="368"/>
                  <a:pt x="356" y="373"/>
                  <a:pt x="362" y="373"/>
                </a:cubicBezTo>
                <a:cubicBezTo>
                  <a:pt x="368" y="373"/>
                  <a:pt x="373" y="368"/>
                  <a:pt x="373" y="362"/>
                </a:cubicBezTo>
                <a:lnTo>
                  <a:pt x="373" y="330"/>
                </a:lnTo>
                <a:close/>
                <a:moveTo>
                  <a:pt x="416" y="288"/>
                </a:moveTo>
                <a:cubicBezTo>
                  <a:pt x="416" y="282"/>
                  <a:pt x="411" y="277"/>
                  <a:pt x="405" y="277"/>
                </a:cubicBezTo>
                <a:cubicBezTo>
                  <a:pt x="393" y="277"/>
                  <a:pt x="393" y="277"/>
                  <a:pt x="393" y="277"/>
                </a:cubicBezTo>
                <a:cubicBezTo>
                  <a:pt x="384" y="221"/>
                  <a:pt x="342" y="177"/>
                  <a:pt x="288" y="164"/>
                </a:cubicBezTo>
                <a:cubicBezTo>
                  <a:pt x="288" y="128"/>
                  <a:pt x="288" y="128"/>
                  <a:pt x="288" y="128"/>
                </a:cubicBezTo>
                <a:cubicBezTo>
                  <a:pt x="288" y="122"/>
                  <a:pt x="283" y="117"/>
                  <a:pt x="277"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234" y="117"/>
                  <a:pt x="234" y="117"/>
                  <a:pt x="234" y="117"/>
                </a:cubicBezTo>
                <a:cubicBezTo>
                  <a:pt x="228" y="117"/>
                  <a:pt x="224" y="122"/>
                  <a:pt x="224" y="128"/>
                </a:cubicBezTo>
                <a:cubicBezTo>
                  <a:pt x="224" y="164"/>
                  <a:pt x="224" y="164"/>
                  <a:pt x="224" y="164"/>
                </a:cubicBezTo>
                <a:cubicBezTo>
                  <a:pt x="169" y="177"/>
                  <a:pt x="127" y="221"/>
                  <a:pt x="119" y="277"/>
                </a:cubicBezTo>
                <a:cubicBezTo>
                  <a:pt x="106" y="277"/>
                  <a:pt x="106" y="277"/>
                  <a:pt x="106" y="277"/>
                </a:cubicBezTo>
                <a:cubicBezTo>
                  <a:pt x="100" y="277"/>
                  <a:pt x="96" y="282"/>
                  <a:pt x="96" y="288"/>
                </a:cubicBezTo>
                <a:cubicBezTo>
                  <a:pt x="96" y="362"/>
                  <a:pt x="96" y="362"/>
                  <a:pt x="96" y="362"/>
                </a:cubicBezTo>
                <a:cubicBezTo>
                  <a:pt x="96" y="368"/>
                  <a:pt x="100" y="373"/>
                  <a:pt x="106" y="373"/>
                </a:cubicBezTo>
                <a:cubicBezTo>
                  <a:pt x="112" y="373"/>
                  <a:pt x="117" y="368"/>
                  <a:pt x="117" y="362"/>
                </a:cubicBezTo>
                <a:cubicBezTo>
                  <a:pt x="117" y="298"/>
                  <a:pt x="117" y="298"/>
                  <a:pt x="117" y="298"/>
                </a:cubicBezTo>
                <a:cubicBezTo>
                  <a:pt x="394" y="298"/>
                  <a:pt x="394" y="298"/>
                  <a:pt x="394" y="298"/>
                </a:cubicBezTo>
                <a:cubicBezTo>
                  <a:pt x="394" y="362"/>
                  <a:pt x="394" y="362"/>
                  <a:pt x="394" y="362"/>
                </a:cubicBezTo>
                <a:cubicBezTo>
                  <a:pt x="394" y="368"/>
                  <a:pt x="399" y="373"/>
                  <a:pt x="405" y="373"/>
                </a:cubicBezTo>
                <a:cubicBezTo>
                  <a:pt x="411" y="373"/>
                  <a:pt x="416" y="368"/>
                  <a:pt x="416" y="362"/>
                </a:cubicBezTo>
                <a:lnTo>
                  <a:pt x="416" y="288"/>
                </a:lnTo>
                <a:close/>
                <a:moveTo>
                  <a:pt x="266" y="160"/>
                </a:moveTo>
                <a:cubicBezTo>
                  <a:pt x="266" y="138"/>
                  <a:pt x="266" y="138"/>
                  <a:pt x="266" y="138"/>
                </a:cubicBezTo>
                <a:cubicBezTo>
                  <a:pt x="245" y="138"/>
                  <a:pt x="245" y="138"/>
                  <a:pt x="245" y="138"/>
                </a:cubicBezTo>
                <a:cubicBezTo>
                  <a:pt x="245" y="160"/>
                  <a:pt x="245" y="160"/>
                  <a:pt x="245" y="160"/>
                </a:cubicBezTo>
                <a:cubicBezTo>
                  <a:pt x="245" y="160"/>
                  <a:pt x="251" y="160"/>
                  <a:pt x="256" y="160"/>
                </a:cubicBezTo>
                <a:cubicBezTo>
                  <a:pt x="260" y="160"/>
                  <a:pt x="266" y="160"/>
                  <a:pt x="266" y="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2" name="Group 835">
            <a:extLst>
              <a:ext uri="{FF2B5EF4-FFF2-40B4-BE49-F238E27FC236}">
                <a16:creationId xmlns:a16="http://schemas.microsoft.com/office/drawing/2014/main" id="{AC2DB968-2C7E-4C3B-8FAC-E9165F3C5C0A}"/>
              </a:ext>
            </a:extLst>
          </p:cNvPr>
          <p:cNvGrpSpPr>
            <a:grpSpLocks noChangeAspect="1"/>
          </p:cNvGrpSpPr>
          <p:nvPr/>
        </p:nvGrpSpPr>
        <p:grpSpPr bwMode="auto">
          <a:xfrm>
            <a:off x="11354801" y="1700213"/>
            <a:ext cx="367982" cy="367982"/>
            <a:chOff x="4873" y="3698"/>
            <a:chExt cx="340" cy="340"/>
          </a:xfrm>
          <a:solidFill>
            <a:schemeClr val="accent3"/>
          </a:solidFill>
        </p:grpSpPr>
        <p:sp>
          <p:nvSpPr>
            <p:cNvPr id="173" name="Freeform 80">
              <a:extLst>
                <a:ext uri="{FF2B5EF4-FFF2-40B4-BE49-F238E27FC236}">
                  <a16:creationId xmlns:a16="http://schemas.microsoft.com/office/drawing/2014/main" id="{E35AEDC4-78A8-48AA-8666-9C256DFFAE6A}"/>
                </a:ext>
              </a:extLst>
            </p:cNvPr>
            <p:cNvSpPr>
              <a:spLocks noEditPoints="1"/>
            </p:cNvSpPr>
            <p:nvPr/>
          </p:nvSpPr>
          <p:spPr bwMode="auto">
            <a:xfrm>
              <a:off x="4873" y="3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4" name="Freeform 81">
              <a:extLst>
                <a:ext uri="{FF2B5EF4-FFF2-40B4-BE49-F238E27FC236}">
                  <a16:creationId xmlns:a16="http://schemas.microsoft.com/office/drawing/2014/main" id="{E61631A8-7C91-486C-9448-A32ACAA12603}"/>
                </a:ext>
              </a:extLst>
            </p:cNvPr>
            <p:cNvSpPr>
              <a:spLocks noEditPoints="1"/>
            </p:cNvSpPr>
            <p:nvPr/>
          </p:nvSpPr>
          <p:spPr bwMode="auto">
            <a:xfrm>
              <a:off x="4937" y="3762"/>
              <a:ext cx="212" cy="18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5" name="Freeform 259">
            <a:extLst>
              <a:ext uri="{FF2B5EF4-FFF2-40B4-BE49-F238E27FC236}">
                <a16:creationId xmlns:a16="http://schemas.microsoft.com/office/drawing/2014/main" id="{A3489F95-B216-4937-AF66-4782DEDDCBFA}"/>
              </a:ext>
            </a:extLst>
          </p:cNvPr>
          <p:cNvSpPr>
            <a:spLocks noChangeAspect="1" noEditPoints="1"/>
          </p:cNvSpPr>
          <p:nvPr/>
        </p:nvSpPr>
        <p:spPr bwMode="auto">
          <a:xfrm>
            <a:off x="475255" y="2538672"/>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160 h 512"/>
              <a:gd name="T12" fmla="*/ 202 w 512"/>
              <a:gd name="T13" fmla="*/ 181 h 512"/>
              <a:gd name="T14" fmla="*/ 181 w 512"/>
              <a:gd name="T15" fmla="*/ 202 h 512"/>
              <a:gd name="T16" fmla="*/ 160 w 512"/>
              <a:gd name="T17" fmla="*/ 181 h 512"/>
              <a:gd name="T18" fmla="*/ 181 w 512"/>
              <a:gd name="T19" fmla="*/ 160 h 512"/>
              <a:gd name="T20" fmla="*/ 330 w 512"/>
              <a:gd name="T21" fmla="*/ 352 h 512"/>
              <a:gd name="T22" fmla="*/ 309 w 512"/>
              <a:gd name="T23" fmla="*/ 330 h 512"/>
              <a:gd name="T24" fmla="*/ 330 w 512"/>
              <a:gd name="T25" fmla="*/ 309 h 512"/>
              <a:gd name="T26" fmla="*/ 352 w 512"/>
              <a:gd name="T27" fmla="*/ 330 h 512"/>
              <a:gd name="T28" fmla="*/ 330 w 512"/>
              <a:gd name="T29" fmla="*/ 352 h 512"/>
              <a:gd name="T30" fmla="*/ 370 w 512"/>
              <a:gd name="T31" fmla="*/ 157 h 512"/>
              <a:gd name="T32" fmla="*/ 157 w 512"/>
              <a:gd name="T33" fmla="*/ 370 h 512"/>
              <a:gd name="T34" fmla="*/ 149 w 512"/>
              <a:gd name="T35" fmla="*/ 373 h 512"/>
              <a:gd name="T36" fmla="*/ 141 w 512"/>
              <a:gd name="T37" fmla="*/ 370 h 512"/>
              <a:gd name="T38" fmla="*/ 141 w 512"/>
              <a:gd name="T39" fmla="*/ 355 h 512"/>
              <a:gd name="T40" fmla="*/ 355 w 512"/>
              <a:gd name="T41" fmla="*/ 141 h 512"/>
              <a:gd name="T42" fmla="*/ 370 w 512"/>
              <a:gd name="T43" fmla="*/ 141 h 512"/>
              <a:gd name="T44" fmla="*/ 370 w 512"/>
              <a:gd name="T45"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160"/>
                </a:moveTo>
                <a:cubicBezTo>
                  <a:pt x="193" y="160"/>
                  <a:pt x="202" y="169"/>
                  <a:pt x="202" y="181"/>
                </a:cubicBezTo>
                <a:cubicBezTo>
                  <a:pt x="202" y="193"/>
                  <a:pt x="193" y="202"/>
                  <a:pt x="181" y="202"/>
                </a:cubicBezTo>
                <a:cubicBezTo>
                  <a:pt x="169" y="202"/>
                  <a:pt x="160" y="193"/>
                  <a:pt x="160" y="181"/>
                </a:cubicBezTo>
                <a:cubicBezTo>
                  <a:pt x="160" y="169"/>
                  <a:pt x="169" y="160"/>
                  <a:pt x="181" y="160"/>
                </a:cubicBezTo>
                <a:close/>
                <a:moveTo>
                  <a:pt x="330" y="352"/>
                </a:moveTo>
                <a:cubicBezTo>
                  <a:pt x="319" y="352"/>
                  <a:pt x="309" y="342"/>
                  <a:pt x="309" y="330"/>
                </a:cubicBezTo>
                <a:cubicBezTo>
                  <a:pt x="309" y="319"/>
                  <a:pt x="319" y="309"/>
                  <a:pt x="330" y="309"/>
                </a:cubicBezTo>
                <a:cubicBezTo>
                  <a:pt x="342" y="309"/>
                  <a:pt x="352" y="319"/>
                  <a:pt x="352" y="330"/>
                </a:cubicBezTo>
                <a:cubicBezTo>
                  <a:pt x="352" y="342"/>
                  <a:pt x="342" y="352"/>
                  <a:pt x="330" y="352"/>
                </a:cubicBezTo>
                <a:close/>
                <a:moveTo>
                  <a:pt x="370" y="157"/>
                </a:move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6" name="Group 262">
            <a:extLst>
              <a:ext uri="{FF2B5EF4-FFF2-40B4-BE49-F238E27FC236}">
                <a16:creationId xmlns:a16="http://schemas.microsoft.com/office/drawing/2014/main" id="{8EACB611-B328-4A20-9C5B-CF9D462C96D2}"/>
              </a:ext>
            </a:extLst>
          </p:cNvPr>
          <p:cNvGrpSpPr>
            <a:grpSpLocks noChangeAspect="1"/>
          </p:cNvGrpSpPr>
          <p:nvPr/>
        </p:nvGrpSpPr>
        <p:grpSpPr bwMode="auto">
          <a:xfrm>
            <a:off x="912518" y="2538672"/>
            <a:ext cx="369021" cy="369021"/>
            <a:chOff x="5035" y="791"/>
            <a:chExt cx="340" cy="340"/>
          </a:xfrm>
          <a:solidFill>
            <a:schemeClr val="accent3"/>
          </a:solidFill>
        </p:grpSpPr>
        <p:sp>
          <p:nvSpPr>
            <p:cNvPr id="177" name="Freeform 263">
              <a:extLst>
                <a:ext uri="{FF2B5EF4-FFF2-40B4-BE49-F238E27FC236}">
                  <a16:creationId xmlns:a16="http://schemas.microsoft.com/office/drawing/2014/main" id="{C5D32314-46A2-40AA-BF1B-D9E781E5ED7A}"/>
                </a:ext>
              </a:extLst>
            </p:cNvPr>
            <p:cNvSpPr>
              <a:spLocks noEditPoints="1"/>
            </p:cNvSpPr>
            <p:nvPr/>
          </p:nvSpPr>
          <p:spPr bwMode="auto">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8" name="Freeform 264">
              <a:extLst>
                <a:ext uri="{FF2B5EF4-FFF2-40B4-BE49-F238E27FC236}">
                  <a16:creationId xmlns:a16="http://schemas.microsoft.com/office/drawing/2014/main" id="{9EA08C8D-5BA2-4CF5-B38B-83A547EA9831}"/>
                </a:ext>
              </a:extLst>
            </p:cNvPr>
            <p:cNvSpPr>
              <a:spLocks noEditPoints="1"/>
            </p:cNvSpPr>
            <p:nvPr/>
          </p:nvSpPr>
          <p:spPr bwMode="auto">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9" name="Freeform 910">
            <a:extLst>
              <a:ext uri="{FF2B5EF4-FFF2-40B4-BE49-F238E27FC236}">
                <a16:creationId xmlns:a16="http://schemas.microsoft.com/office/drawing/2014/main" id="{B23FC521-66E5-4D37-8B36-1A86D382124D}"/>
              </a:ext>
            </a:extLst>
          </p:cNvPr>
          <p:cNvSpPr>
            <a:spLocks noChangeAspect="1" noEditPoints="1"/>
          </p:cNvSpPr>
          <p:nvPr/>
        </p:nvSpPr>
        <p:spPr bwMode="auto">
          <a:xfrm>
            <a:off x="1349781" y="2538672"/>
            <a:ext cx="367041" cy="367041"/>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0" name="Group 913">
            <a:extLst>
              <a:ext uri="{FF2B5EF4-FFF2-40B4-BE49-F238E27FC236}">
                <a16:creationId xmlns:a16="http://schemas.microsoft.com/office/drawing/2014/main" id="{A197D365-34D5-4581-930E-B9DDF36626CB}"/>
              </a:ext>
            </a:extLst>
          </p:cNvPr>
          <p:cNvGrpSpPr>
            <a:grpSpLocks noChangeAspect="1"/>
          </p:cNvGrpSpPr>
          <p:nvPr/>
        </p:nvGrpSpPr>
        <p:grpSpPr bwMode="auto">
          <a:xfrm>
            <a:off x="1785064" y="2538672"/>
            <a:ext cx="367041" cy="367041"/>
            <a:chOff x="4563" y="3912"/>
            <a:chExt cx="340" cy="340"/>
          </a:xfrm>
          <a:solidFill>
            <a:schemeClr val="accent4"/>
          </a:solidFill>
        </p:grpSpPr>
        <p:sp>
          <p:nvSpPr>
            <p:cNvPr id="181" name="Freeform 914">
              <a:extLst>
                <a:ext uri="{FF2B5EF4-FFF2-40B4-BE49-F238E27FC236}">
                  <a16:creationId xmlns:a16="http://schemas.microsoft.com/office/drawing/2014/main" id="{99F60ABC-B84A-454C-8672-A2963F3536D3}"/>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2" name="Freeform 915">
              <a:extLst>
                <a:ext uri="{FF2B5EF4-FFF2-40B4-BE49-F238E27FC236}">
                  <a16:creationId xmlns:a16="http://schemas.microsoft.com/office/drawing/2014/main" id="{BE6682B6-3B11-4EAD-A0C9-C3417F548A32}"/>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3" name="Group 781">
            <a:extLst>
              <a:ext uri="{FF2B5EF4-FFF2-40B4-BE49-F238E27FC236}">
                <a16:creationId xmlns:a16="http://schemas.microsoft.com/office/drawing/2014/main" id="{3594053E-FE54-4E76-95A6-7F1690E6A309}"/>
              </a:ext>
            </a:extLst>
          </p:cNvPr>
          <p:cNvGrpSpPr>
            <a:grpSpLocks noChangeAspect="1"/>
          </p:cNvGrpSpPr>
          <p:nvPr/>
        </p:nvGrpSpPr>
        <p:grpSpPr bwMode="auto">
          <a:xfrm>
            <a:off x="2656220" y="2538672"/>
            <a:ext cx="367631" cy="367631"/>
            <a:chOff x="7332" y="2771"/>
            <a:chExt cx="340" cy="340"/>
          </a:xfrm>
          <a:solidFill>
            <a:schemeClr val="accent2"/>
          </a:solidFill>
        </p:grpSpPr>
        <p:sp>
          <p:nvSpPr>
            <p:cNvPr id="184" name="Freeform 782">
              <a:extLst>
                <a:ext uri="{FF2B5EF4-FFF2-40B4-BE49-F238E27FC236}">
                  <a16:creationId xmlns:a16="http://schemas.microsoft.com/office/drawing/2014/main" id="{C6F2118B-E092-4FB3-AF91-8E8BC17E7D81}"/>
                </a:ext>
              </a:extLst>
            </p:cNvPr>
            <p:cNvSpPr>
              <a:spLocks noEditPoints="1"/>
            </p:cNvSpPr>
            <p:nvPr/>
          </p:nvSpPr>
          <p:spPr bwMode="auto">
            <a:xfrm>
              <a:off x="7332"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5" name="Freeform 783">
              <a:extLst>
                <a:ext uri="{FF2B5EF4-FFF2-40B4-BE49-F238E27FC236}">
                  <a16:creationId xmlns:a16="http://schemas.microsoft.com/office/drawing/2014/main" id="{465B2255-A02F-4B1A-89FF-EB3FC8FFA390}"/>
                </a:ext>
              </a:extLst>
            </p:cNvPr>
            <p:cNvSpPr>
              <a:spLocks noEditPoints="1"/>
            </p:cNvSpPr>
            <p:nvPr/>
          </p:nvSpPr>
          <p:spPr bwMode="auto">
            <a:xfrm>
              <a:off x="7436" y="2835"/>
              <a:ext cx="144" cy="212"/>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6" name="Freeform 787">
            <a:extLst>
              <a:ext uri="{FF2B5EF4-FFF2-40B4-BE49-F238E27FC236}">
                <a16:creationId xmlns:a16="http://schemas.microsoft.com/office/drawing/2014/main" id="{72BBD0F4-BC9F-44EB-A896-D450EF499FB5}"/>
              </a:ext>
            </a:extLst>
          </p:cNvPr>
          <p:cNvSpPr>
            <a:spLocks noChangeAspect="1" noEditPoints="1"/>
          </p:cNvSpPr>
          <p:nvPr/>
        </p:nvSpPr>
        <p:spPr bwMode="auto">
          <a:xfrm>
            <a:off x="2220347" y="2538672"/>
            <a:ext cx="367631" cy="367631"/>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7" name="Group 795">
            <a:extLst>
              <a:ext uri="{FF2B5EF4-FFF2-40B4-BE49-F238E27FC236}">
                <a16:creationId xmlns:a16="http://schemas.microsoft.com/office/drawing/2014/main" id="{50E24692-E12E-404C-8277-9BD82A44B4D6}"/>
              </a:ext>
            </a:extLst>
          </p:cNvPr>
          <p:cNvGrpSpPr>
            <a:grpSpLocks noChangeAspect="1"/>
          </p:cNvGrpSpPr>
          <p:nvPr/>
        </p:nvGrpSpPr>
        <p:grpSpPr bwMode="auto">
          <a:xfrm>
            <a:off x="3529359" y="2538672"/>
            <a:ext cx="369021" cy="369021"/>
            <a:chOff x="4288" y="3084"/>
            <a:chExt cx="340" cy="340"/>
          </a:xfrm>
          <a:solidFill>
            <a:schemeClr val="accent3"/>
          </a:solidFill>
        </p:grpSpPr>
        <p:sp>
          <p:nvSpPr>
            <p:cNvPr id="188" name="Freeform 796">
              <a:extLst>
                <a:ext uri="{FF2B5EF4-FFF2-40B4-BE49-F238E27FC236}">
                  <a16:creationId xmlns:a16="http://schemas.microsoft.com/office/drawing/2014/main" id="{87F090E5-F0E6-45A1-BB12-EBB35B2ECC6D}"/>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9" name="Freeform 797">
              <a:extLst>
                <a:ext uri="{FF2B5EF4-FFF2-40B4-BE49-F238E27FC236}">
                  <a16:creationId xmlns:a16="http://schemas.microsoft.com/office/drawing/2014/main" id="{72EAB8BC-5BC1-4FA0-AF69-670502DD33F2}"/>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0" name="Freeform 798">
              <a:extLst>
                <a:ext uri="{FF2B5EF4-FFF2-40B4-BE49-F238E27FC236}">
                  <a16:creationId xmlns:a16="http://schemas.microsoft.com/office/drawing/2014/main" id="{BA17DED2-730C-46C1-AE1A-70A448F25BD9}"/>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1" name="Freeform 799">
              <a:extLst>
                <a:ext uri="{FF2B5EF4-FFF2-40B4-BE49-F238E27FC236}">
                  <a16:creationId xmlns:a16="http://schemas.microsoft.com/office/drawing/2014/main" id="{6848DD24-41C1-446F-B777-4D48587512CD}"/>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2" name="Freeform 803">
            <a:extLst>
              <a:ext uri="{FF2B5EF4-FFF2-40B4-BE49-F238E27FC236}">
                <a16:creationId xmlns:a16="http://schemas.microsoft.com/office/drawing/2014/main" id="{BA47DBF8-CDFE-49C9-A860-7D9557030BB9}"/>
              </a:ext>
            </a:extLst>
          </p:cNvPr>
          <p:cNvSpPr>
            <a:spLocks noChangeAspect="1" noEditPoints="1"/>
          </p:cNvSpPr>
          <p:nvPr/>
        </p:nvSpPr>
        <p:spPr bwMode="auto">
          <a:xfrm>
            <a:off x="3092093" y="2538672"/>
            <a:ext cx="369021" cy="369021"/>
          </a:xfrm>
          <a:custGeom>
            <a:avLst/>
            <a:gdLst>
              <a:gd name="T0" fmla="*/ 352 w 512"/>
              <a:gd name="T1" fmla="*/ 256 h 512"/>
              <a:gd name="T2" fmla="*/ 288 w 512"/>
              <a:gd name="T3" fmla="*/ 256 h 512"/>
              <a:gd name="T4" fmla="*/ 320 w 512"/>
              <a:gd name="T5" fmla="*/ 246 h 512"/>
              <a:gd name="T6" fmla="*/ 331 w 512"/>
              <a:gd name="T7" fmla="*/ 256 h 512"/>
              <a:gd name="T8" fmla="*/ 310 w 512"/>
              <a:gd name="T9" fmla="*/ 256 h 512"/>
              <a:gd name="T10" fmla="*/ 171 w 512"/>
              <a:gd name="T11" fmla="*/ 181 h 512"/>
              <a:gd name="T12" fmla="*/ 171 w 512"/>
              <a:gd name="T13" fmla="*/ 203 h 512"/>
              <a:gd name="T14" fmla="*/ 182 w 512"/>
              <a:gd name="T15" fmla="*/ 320 h 512"/>
              <a:gd name="T16" fmla="*/ 171 w 512"/>
              <a:gd name="T17" fmla="*/ 353 h 512"/>
              <a:gd name="T18" fmla="*/ 395 w 512"/>
              <a:gd name="T19" fmla="*/ 161 h 512"/>
              <a:gd name="T20" fmla="*/ 171 w 512"/>
              <a:gd name="T21" fmla="*/ 181 h 512"/>
              <a:gd name="T22" fmla="*/ 374 w 512"/>
              <a:gd name="T23" fmla="*/ 256 h 512"/>
              <a:gd name="T24" fmla="*/ 267 w 512"/>
              <a:gd name="T25" fmla="*/ 256 h 512"/>
              <a:gd name="T26" fmla="*/ 118 w 512"/>
              <a:gd name="T27" fmla="*/ 161 h 512"/>
              <a:gd name="T28" fmla="*/ 150 w 512"/>
              <a:gd name="T29" fmla="*/ 181 h 512"/>
              <a:gd name="T30" fmla="*/ 150 w 512"/>
              <a:gd name="T31" fmla="*/ 203 h 512"/>
              <a:gd name="T32" fmla="*/ 139 w 512"/>
              <a:gd name="T33" fmla="*/ 320 h 512"/>
              <a:gd name="T34" fmla="*/ 150 w 512"/>
              <a:gd name="T35" fmla="*/ 353 h 512"/>
              <a:gd name="T36" fmla="*/ 118 w 512"/>
              <a:gd name="T37" fmla="*/ 161 h 512"/>
              <a:gd name="T38" fmla="*/ 0 w 512"/>
              <a:gd name="T39" fmla="*/ 256 h 512"/>
              <a:gd name="T40" fmla="*/ 512 w 512"/>
              <a:gd name="T41" fmla="*/ 256 h 512"/>
              <a:gd name="T42" fmla="*/ 416 w 512"/>
              <a:gd name="T43" fmla="*/ 363 h 512"/>
              <a:gd name="T44" fmla="*/ 363 w 512"/>
              <a:gd name="T45" fmla="*/ 374 h 512"/>
              <a:gd name="T46" fmla="*/ 363 w 512"/>
              <a:gd name="T47" fmla="*/ 395 h 512"/>
              <a:gd name="T48" fmla="*/ 310 w 512"/>
              <a:gd name="T49" fmla="*/ 385 h 512"/>
              <a:gd name="T50" fmla="*/ 192 w 512"/>
              <a:gd name="T51" fmla="*/ 374 h 512"/>
              <a:gd name="T52" fmla="*/ 192 w 512"/>
              <a:gd name="T53" fmla="*/ 395 h 512"/>
              <a:gd name="T54" fmla="*/ 139 w 512"/>
              <a:gd name="T55" fmla="*/ 385 h 512"/>
              <a:gd name="T56" fmla="*/ 107 w 512"/>
              <a:gd name="T57" fmla="*/ 374 h 512"/>
              <a:gd name="T58" fmla="*/ 96 w 512"/>
              <a:gd name="T59" fmla="*/ 149 h 512"/>
              <a:gd name="T60" fmla="*/ 406 w 512"/>
              <a:gd name="T61" fmla="*/ 139 h 512"/>
              <a:gd name="T62" fmla="*/ 416 w 512"/>
              <a:gd name="T6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0" y="288"/>
                </a:moveTo>
                <a:cubicBezTo>
                  <a:pt x="338" y="288"/>
                  <a:pt x="352" y="274"/>
                  <a:pt x="352" y="256"/>
                </a:cubicBezTo>
                <a:cubicBezTo>
                  <a:pt x="352" y="238"/>
                  <a:pt x="338" y="224"/>
                  <a:pt x="320" y="224"/>
                </a:cubicBezTo>
                <a:cubicBezTo>
                  <a:pt x="303" y="224"/>
                  <a:pt x="288" y="238"/>
                  <a:pt x="288" y="256"/>
                </a:cubicBezTo>
                <a:cubicBezTo>
                  <a:pt x="288" y="274"/>
                  <a:pt x="303" y="288"/>
                  <a:pt x="320" y="288"/>
                </a:cubicBezTo>
                <a:close/>
                <a:moveTo>
                  <a:pt x="320" y="246"/>
                </a:moveTo>
                <a:cubicBezTo>
                  <a:pt x="321" y="246"/>
                  <a:pt x="321" y="246"/>
                  <a:pt x="321" y="246"/>
                </a:cubicBezTo>
                <a:cubicBezTo>
                  <a:pt x="326" y="246"/>
                  <a:pt x="331" y="250"/>
                  <a:pt x="331" y="256"/>
                </a:cubicBezTo>
                <a:cubicBezTo>
                  <a:pt x="331" y="262"/>
                  <a:pt x="326" y="267"/>
                  <a:pt x="321" y="267"/>
                </a:cubicBezTo>
                <a:cubicBezTo>
                  <a:pt x="315" y="267"/>
                  <a:pt x="310" y="262"/>
                  <a:pt x="310" y="256"/>
                </a:cubicBezTo>
                <a:cubicBezTo>
                  <a:pt x="310" y="251"/>
                  <a:pt x="315" y="246"/>
                  <a:pt x="320" y="246"/>
                </a:cubicBezTo>
                <a:close/>
                <a:moveTo>
                  <a:pt x="171" y="181"/>
                </a:moveTo>
                <a:cubicBezTo>
                  <a:pt x="177" y="181"/>
                  <a:pt x="182" y="186"/>
                  <a:pt x="182" y="192"/>
                </a:cubicBezTo>
                <a:cubicBezTo>
                  <a:pt x="182" y="198"/>
                  <a:pt x="177" y="203"/>
                  <a:pt x="171" y="203"/>
                </a:cubicBezTo>
                <a:cubicBezTo>
                  <a:pt x="171" y="309"/>
                  <a:pt x="171" y="309"/>
                  <a:pt x="171" y="309"/>
                </a:cubicBezTo>
                <a:cubicBezTo>
                  <a:pt x="177" y="309"/>
                  <a:pt x="182" y="314"/>
                  <a:pt x="182" y="320"/>
                </a:cubicBezTo>
                <a:cubicBezTo>
                  <a:pt x="182" y="326"/>
                  <a:pt x="177" y="331"/>
                  <a:pt x="171" y="331"/>
                </a:cubicBezTo>
                <a:cubicBezTo>
                  <a:pt x="171" y="353"/>
                  <a:pt x="171" y="353"/>
                  <a:pt x="171" y="353"/>
                </a:cubicBezTo>
                <a:cubicBezTo>
                  <a:pt x="395" y="353"/>
                  <a:pt x="395" y="353"/>
                  <a:pt x="395" y="353"/>
                </a:cubicBezTo>
                <a:cubicBezTo>
                  <a:pt x="395" y="161"/>
                  <a:pt x="395" y="161"/>
                  <a:pt x="395" y="161"/>
                </a:cubicBezTo>
                <a:cubicBezTo>
                  <a:pt x="171" y="161"/>
                  <a:pt x="171" y="161"/>
                  <a:pt x="171" y="161"/>
                </a:cubicBezTo>
                <a:lnTo>
                  <a:pt x="171" y="181"/>
                </a:lnTo>
                <a:close/>
                <a:moveTo>
                  <a:pt x="320" y="203"/>
                </a:moveTo>
                <a:cubicBezTo>
                  <a:pt x="350" y="203"/>
                  <a:pt x="374" y="227"/>
                  <a:pt x="374" y="256"/>
                </a:cubicBezTo>
                <a:cubicBezTo>
                  <a:pt x="374" y="285"/>
                  <a:pt x="350" y="309"/>
                  <a:pt x="320" y="309"/>
                </a:cubicBezTo>
                <a:cubicBezTo>
                  <a:pt x="291" y="309"/>
                  <a:pt x="267" y="285"/>
                  <a:pt x="267" y="256"/>
                </a:cubicBezTo>
                <a:cubicBezTo>
                  <a:pt x="267" y="227"/>
                  <a:pt x="291" y="203"/>
                  <a:pt x="320" y="203"/>
                </a:cubicBezTo>
                <a:close/>
                <a:moveTo>
                  <a:pt x="118" y="161"/>
                </a:moveTo>
                <a:cubicBezTo>
                  <a:pt x="150" y="161"/>
                  <a:pt x="150" y="161"/>
                  <a:pt x="150" y="161"/>
                </a:cubicBezTo>
                <a:cubicBezTo>
                  <a:pt x="150" y="181"/>
                  <a:pt x="150" y="181"/>
                  <a:pt x="150" y="181"/>
                </a:cubicBezTo>
                <a:cubicBezTo>
                  <a:pt x="144" y="181"/>
                  <a:pt x="139" y="186"/>
                  <a:pt x="139" y="192"/>
                </a:cubicBezTo>
                <a:cubicBezTo>
                  <a:pt x="139" y="198"/>
                  <a:pt x="144" y="203"/>
                  <a:pt x="150" y="203"/>
                </a:cubicBezTo>
                <a:cubicBezTo>
                  <a:pt x="150" y="309"/>
                  <a:pt x="150" y="309"/>
                  <a:pt x="150" y="309"/>
                </a:cubicBezTo>
                <a:cubicBezTo>
                  <a:pt x="144" y="309"/>
                  <a:pt x="139" y="314"/>
                  <a:pt x="139" y="320"/>
                </a:cubicBezTo>
                <a:cubicBezTo>
                  <a:pt x="139" y="326"/>
                  <a:pt x="144" y="331"/>
                  <a:pt x="150" y="331"/>
                </a:cubicBezTo>
                <a:cubicBezTo>
                  <a:pt x="150" y="353"/>
                  <a:pt x="150" y="353"/>
                  <a:pt x="150" y="353"/>
                </a:cubicBezTo>
                <a:cubicBezTo>
                  <a:pt x="118" y="353"/>
                  <a:pt x="118" y="353"/>
                  <a:pt x="118" y="353"/>
                </a:cubicBezTo>
                <a:lnTo>
                  <a:pt x="118" y="161"/>
                </a:lnTo>
                <a:close/>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moveTo>
                  <a:pt x="416" y="363"/>
                </a:moveTo>
                <a:cubicBezTo>
                  <a:pt x="416" y="369"/>
                  <a:pt x="412" y="374"/>
                  <a:pt x="406" y="374"/>
                </a:cubicBezTo>
                <a:cubicBezTo>
                  <a:pt x="363" y="374"/>
                  <a:pt x="363" y="374"/>
                  <a:pt x="363" y="374"/>
                </a:cubicBezTo>
                <a:cubicBezTo>
                  <a:pt x="369" y="374"/>
                  <a:pt x="374" y="379"/>
                  <a:pt x="374" y="385"/>
                </a:cubicBezTo>
                <a:cubicBezTo>
                  <a:pt x="374" y="391"/>
                  <a:pt x="369" y="395"/>
                  <a:pt x="363" y="395"/>
                </a:cubicBezTo>
                <a:cubicBezTo>
                  <a:pt x="320" y="395"/>
                  <a:pt x="320" y="395"/>
                  <a:pt x="320" y="395"/>
                </a:cubicBezTo>
                <a:cubicBezTo>
                  <a:pt x="314" y="395"/>
                  <a:pt x="310" y="391"/>
                  <a:pt x="310" y="385"/>
                </a:cubicBezTo>
                <a:cubicBezTo>
                  <a:pt x="310" y="379"/>
                  <a:pt x="314" y="374"/>
                  <a:pt x="320" y="374"/>
                </a:cubicBezTo>
                <a:cubicBezTo>
                  <a:pt x="192" y="374"/>
                  <a:pt x="192" y="374"/>
                  <a:pt x="192" y="374"/>
                </a:cubicBezTo>
                <a:cubicBezTo>
                  <a:pt x="198" y="374"/>
                  <a:pt x="203" y="379"/>
                  <a:pt x="203" y="385"/>
                </a:cubicBezTo>
                <a:cubicBezTo>
                  <a:pt x="203" y="391"/>
                  <a:pt x="198" y="395"/>
                  <a:pt x="192" y="395"/>
                </a:cubicBezTo>
                <a:cubicBezTo>
                  <a:pt x="150" y="395"/>
                  <a:pt x="150" y="395"/>
                  <a:pt x="150" y="395"/>
                </a:cubicBezTo>
                <a:cubicBezTo>
                  <a:pt x="144" y="395"/>
                  <a:pt x="139" y="391"/>
                  <a:pt x="139" y="385"/>
                </a:cubicBezTo>
                <a:cubicBezTo>
                  <a:pt x="139" y="379"/>
                  <a:pt x="144" y="374"/>
                  <a:pt x="150" y="374"/>
                </a:cubicBezTo>
                <a:cubicBezTo>
                  <a:pt x="107" y="374"/>
                  <a:pt x="107" y="374"/>
                  <a:pt x="107" y="374"/>
                </a:cubicBezTo>
                <a:cubicBezTo>
                  <a:pt x="101" y="374"/>
                  <a:pt x="96" y="369"/>
                  <a:pt x="96" y="363"/>
                </a:cubicBezTo>
                <a:cubicBezTo>
                  <a:pt x="96" y="149"/>
                  <a:pt x="96" y="149"/>
                  <a:pt x="96" y="149"/>
                </a:cubicBezTo>
                <a:cubicBezTo>
                  <a:pt x="96" y="143"/>
                  <a:pt x="101" y="139"/>
                  <a:pt x="107" y="139"/>
                </a:cubicBezTo>
                <a:cubicBezTo>
                  <a:pt x="406" y="139"/>
                  <a:pt x="406" y="139"/>
                  <a:pt x="406" y="139"/>
                </a:cubicBezTo>
                <a:cubicBezTo>
                  <a:pt x="412" y="139"/>
                  <a:pt x="416" y="143"/>
                  <a:pt x="416" y="149"/>
                </a:cubicBezTo>
                <a:lnTo>
                  <a:pt x="416" y="36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6" name="Freeform 5">
            <a:extLst>
              <a:ext uri="{FF2B5EF4-FFF2-40B4-BE49-F238E27FC236}">
                <a16:creationId xmlns:a16="http://schemas.microsoft.com/office/drawing/2014/main" id="{FCB15A4D-C396-481A-8CB8-997F9F475F0C}"/>
              </a:ext>
            </a:extLst>
          </p:cNvPr>
          <p:cNvSpPr>
            <a:spLocks noEditPoints="1"/>
          </p:cNvSpPr>
          <p:nvPr/>
        </p:nvSpPr>
        <p:spPr bwMode="auto">
          <a:xfrm>
            <a:off x="4007934" y="2542710"/>
            <a:ext cx="372780" cy="371053"/>
          </a:xfrm>
          <a:custGeom>
            <a:avLst/>
            <a:gdLst>
              <a:gd name="T0" fmla="*/ 1793 w 1793"/>
              <a:gd name="T1" fmla="*/ 889 h 1779"/>
              <a:gd name="T2" fmla="*/ 0 w 1793"/>
              <a:gd name="T3" fmla="*/ 889 h 1779"/>
              <a:gd name="T4" fmla="*/ 1793 w 1793"/>
              <a:gd name="T5" fmla="*/ 889 h 1779"/>
              <a:gd name="T6" fmla="*/ 1207 w 1793"/>
              <a:gd name="T7" fmla="*/ 1009 h 1779"/>
              <a:gd name="T8" fmla="*/ 900 w 1793"/>
              <a:gd name="T9" fmla="*/ 1081 h 1779"/>
              <a:gd name="T10" fmla="*/ 520 w 1793"/>
              <a:gd name="T11" fmla="*/ 751 h 1779"/>
              <a:gd name="T12" fmla="*/ 799 w 1793"/>
              <a:gd name="T13" fmla="*/ 272 h 1779"/>
              <a:gd name="T14" fmla="*/ 888 w 1793"/>
              <a:gd name="T15" fmla="*/ 249 h 1779"/>
              <a:gd name="T16" fmla="*/ 900 w 1793"/>
              <a:gd name="T17" fmla="*/ 250 h 1779"/>
              <a:gd name="T18" fmla="*/ 989 w 1793"/>
              <a:gd name="T19" fmla="*/ 271 h 1779"/>
              <a:gd name="T20" fmla="*/ 1268 w 1793"/>
              <a:gd name="T21" fmla="*/ 751 h 1779"/>
              <a:gd name="T22" fmla="*/ 1147 w 1793"/>
              <a:gd name="T23" fmla="*/ 1251 h 1779"/>
              <a:gd name="T24" fmla="*/ 1442 w 1793"/>
              <a:gd name="T25" fmla="*/ 1095 h 1779"/>
              <a:gd name="T26" fmla="*/ 1211 w 1793"/>
              <a:gd name="T27" fmla="*/ 1313 h 1779"/>
              <a:gd name="T28" fmla="*/ 974 w 1793"/>
              <a:gd name="T29" fmla="*/ 1228 h 1779"/>
              <a:gd name="T30" fmla="*/ 1068 w 1793"/>
              <a:gd name="T31" fmla="*/ 1371 h 1779"/>
              <a:gd name="T32" fmla="*/ 1022 w 1793"/>
              <a:gd name="T33" fmla="*/ 1446 h 1779"/>
              <a:gd name="T34" fmla="*/ 780 w 1793"/>
              <a:gd name="T35" fmla="*/ 1227 h 1779"/>
              <a:gd name="T36" fmla="*/ 461 w 1793"/>
              <a:gd name="T37" fmla="*/ 1313 h 1779"/>
              <a:gd name="T38" fmla="*/ 724 w 1793"/>
              <a:gd name="T39" fmla="*/ 1339 h 1779"/>
              <a:gd name="T40" fmla="*/ 351 w 1793"/>
              <a:gd name="T41" fmla="*/ 1112 h 1779"/>
              <a:gd name="T42" fmla="*/ 687 w 1793"/>
              <a:gd name="T43" fmla="*/ 1217 h 1779"/>
              <a:gd name="T44" fmla="*/ 487 w 1793"/>
              <a:gd name="T45" fmla="*/ 925 h 1779"/>
              <a:gd name="T46" fmla="*/ 653 w 1793"/>
              <a:gd name="T47" fmla="*/ 1095 h 1779"/>
              <a:gd name="T48" fmla="*/ 1255 w 1793"/>
              <a:gd name="T49" fmla="*/ 1038 h 1779"/>
              <a:gd name="T50" fmla="*/ 1412 w 1793"/>
              <a:gd name="T51" fmla="*/ 983 h 1779"/>
              <a:gd name="T52" fmla="*/ 1130 w 1793"/>
              <a:gd name="T53" fmla="*/ 1213 h 1779"/>
              <a:gd name="T54" fmla="*/ 838 w 1793"/>
              <a:gd name="T55" fmla="*/ 607 h 1779"/>
              <a:gd name="T56" fmla="*/ 838 w 1793"/>
              <a:gd name="T57" fmla="*/ 605 h 1779"/>
              <a:gd name="T58" fmla="*/ 988 w 1793"/>
              <a:gd name="T59" fmla="*/ 609 h 1779"/>
              <a:gd name="T60" fmla="*/ 932 w 1793"/>
              <a:gd name="T61" fmla="*/ 501 h 1779"/>
              <a:gd name="T62" fmla="*/ 862 w 1793"/>
              <a:gd name="T63" fmla="*/ 458 h 1779"/>
              <a:gd name="T64" fmla="*/ 754 w 1793"/>
              <a:gd name="T65" fmla="*/ 613 h 1779"/>
              <a:gd name="T66" fmla="*/ 882 w 1793"/>
              <a:gd name="T67" fmla="*/ 730 h 1779"/>
              <a:gd name="T68" fmla="*/ 959 w 1793"/>
              <a:gd name="T69" fmla="*/ 779 h 1779"/>
              <a:gd name="T70" fmla="*/ 789 w 1793"/>
              <a:gd name="T71" fmla="*/ 770 h 1779"/>
              <a:gd name="T72" fmla="*/ 862 w 1793"/>
              <a:gd name="T73" fmla="*/ 886 h 1779"/>
              <a:gd name="T74" fmla="*/ 932 w 1793"/>
              <a:gd name="T75" fmla="*/ 925 h 1779"/>
              <a:gd name="T76" fmla="*/ 1043 w 1793"/>
              <a:gd name="T77" fmla="*/ 771 h 1779"/>
              <a:gd name="T78" fmla="*/ 838 w 1793"/>
              <a:gd name="T79" fmla="*/ 607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93" h="1779">
                <a:moveTo>
                  <a:pt x="1793" y="889"/>
                </a:moveTo>
                <a:lnTo>
                  <a:pt x="1793" y="889"/>
                </a:lnTo>
                <a:cubicBezTo>
                  <a:pt x="1793" y="396"/>
                  <a:pt x="1390" y="0"/>
                  <a:pt x="896" y="0"/>
                </a:cubicBezTo>
                <a:cubicBezTo>
                  <a:pt x="399" y="0"/>
                  <a:pt x="0" y="396"/>
                  <a:pt x="0" y="889"/>
                </a:cubicBezTo>
                <a:cubicBezTo>
                  <a:pt x="0" y="1379"/>
                  <a:pt x="399" y="1779"/>
                  <a:pt x="896" y="1779"/>
                </a:cubicBezTo>
                <a:cubicBezTo>
                  <a:pt x="1390" y="1779"/>
                  <a:pt x="1793" y="1379"/>
                  <a:pt x="1793" y="889"/>
                </a:cubicBezTo>
                <a:close/>
                <a:moveTo>
                  <a:pt x="1207" y="1009"/>
                </a:moveTo>
                <a:lnTo>
                  <a:pt x="1207" y="1009"/>
                </a:lnTo>
                <a:cubicBezTo>
                  <a:pt x="1139" y="1066"/>
                  <a:pt x="971" y="1079"/>
                  <a:pt x="900" y="1081"/>
                </a:cubicBezTo>
                <a:lnTo>
                  <a:pt x="900" y="1081"/>
                </a:lnTo>
                <a:cubicBezTo>
                  <a:pt x="838" y="1081"/>
                  <a:pt x="639" y="1069"/>
                  <a:pt x="567" y="1009"/>
                </a:cubicBezTo>
                <a:cubicBezTo>
                  <a:pt x="541" y="982"/>
                  <a:pt x="508" y="854"/>
                  <a:pt x="520" y="751"/>
                </a:cubicBezTo>
                <a:cubicBezTo>
                  <a:pt x="522" y="717"/>
                  <a:pt x="543" y="599"/>
                  <a:pt x="574" y="532"/>
                </a:cubicBezTo>
                <a:cubicBezTo>
                  <a:pt x="606" y="464"/>
                  <a:pt x="669" y="346"/>
                  <a:pt x="799" y="272"/>
                </a:cubicBezTo>
                <a:cubicBezTo>
                  <a:pt x="822" y="259"/>
                  <a:pt x="865" y="252"/>
                  <a:pt x="888" y="250"/>
                </a:cubicBezTo>
                <a:lnTo>
                  <a:pt x="888" y="249"/>
                </a:lnTo>
                <a:cubicBezTo>
                  <a:pt x="890" y="249"/>
                  <a:pt x="894" y="250"/>
                  <a:pt x="898" y="250"/>
                </a:cubicBezTo>
                <a:cubicBezTo>
                  <a:pt x="899" y="250"/>
                  <a:pt x="899" y="250"/>
                  <a:pt x="900" y="250"/>
                </a:cubicBezTo>
                <a:lnTo>
                  <a:pt x="900" y="250"/>
                </a:lnTo>
                <a:cubicBezTo>
                  <a:pt x="923" y="252"/>
                  <a:pt x="966" y="258"/>
                  <a:pt x="989" y="271"/>
                </a:cubicBezTo>
                <a:cubicBezTo>
                  <a:pt x="1119" y="346"/>
                  <a:pt x="1182" y="463"/>
                  <a:pt x="1214" y="531"/>
                </a:cubicBezTo>
                <a:cubicBezTo>
                  <a:pt x="1245" y="599"/>
                  <a:pt x="1266" y="716"/>
                  <a:pt x="1268" y="751"/>
                </a:cubicBezTo>
                <a:cubicBezTo>
                  <a:pt x="1280" y="853"/>
                  <a:pt x="1232" y="983"/>
                  <a:pt x="1207" y="1009"/>
                </a:cubicBezTo>
                <a:close/>
                <a:moveTo>
                  <a:pt x="1147" y="1251"/>
                </a:moveTo>
                <a:lnTo>
                  <a:pt x="1147" y="1251"/>
                </a:lnTo>
                <a:cubicBezTo>
                  <a:pt x="1355" y="1200"/>
                  <a:pt x="1418" y="1115"/>
                  <a:pt x="1442" y="1095"/>
                </a:cubicBezTo>
                <a:cubicBezTo>
                  <a:pt x="1440" y="1112"/>
                  <a:pt x="1418" y="1196"/>
                  <a:pt x="1403" y="1210"/>
                </a:cubicBezTo>
                <a:cubicBezTo>
                  <a:pt x="1352" y="1258"/>
                  <a:pt x="1239" y="1304"/>
                  <a:pt x="1211" y="1313"/>
                </a:cubicBezTo>
                <a:cubicBezTo>
                  <a:pt x="1183" y="1321"/>
                  <a:pt x="1156" y="1340"/>
                  <a:pt x="1069" y="1328"/>
                </a:cubicBezTo>
                <a:cubicBezTo>
                  <a:pt x="982" y="1316"/>
                  <a:pt x="974" y="1228"/>
                  <a:pt x="974" y="1228"/>
                </a:cubicBezTo>
                <a:cubicBezTo>
                  <a:pt x="974" y="1228"/>
                  <a:pt x="963" y="1229"/>
                  <a:pt x="931" y="1229"/>
                </a:cubicBezTo>
                <a:cubicBezTo>
                  <a:pt x="932" y="1280"/>
                  <a:pt x="971" y="1350"/>
                  <a:pt x="1068" y="1371"/>
                </a:cubicBezTo>
                <a:cubicBezTo>
                  <a:pt x="1164" y="1392"/>
                  <a:pt x="1290" y="1329"/>
                  <a:pt x="1339" y="1302"/>
                </a:cubicBezTo>
                <a:cubicBezTo>
                  <a:pt x="1245" y="1410"/>
                  <a:pt x="1059" y="1446"/>
                  <a:pt x="1022" y="1446"/>
                </a:cubicBezTo>
                <a:cubicBezTo>
                  <a:pt x="853" y="1414"/>
                  <a:pt x="820" y="1227"/>
                  <a:pt x="820" y="1227"/>
                </a:cubicBezTo>
                <a:lnTo>
                  <a:pt x="780" y="1227"/>
                </a:lnTo>
                <a:cubicBezTo>
                  <a:pt x="792" y="1387"/>
                  <a:pt x="922" y="1441"/>
                  <a:pt x="929" y="1456"/>
                </a:cubicBezTo>
                <a:cubicBezTo>
                  <a:pt x="649" y="1466"/>
                  <a:pt x="503" y="1358"/>
                  <a:pt x="461" y="1313"/>
                </a:cubicBezTo>
                <a:cubicBezTo>
                  <a:pt x="558" y="1371"/>
                  <a:pt x="756" y="1382"/>
                  <a:pt x="756" y="1382"/>
                </a:cubicBezTo>
                <a:cubicBezTo>
                  <a:pt x="756" y="1382"/>
                  <a:pt x="732" y="1355"/>
                  <a:pt x="724" y="1339"/>
                </a:cubicBezTo>
                <a:cubicBezTo>
                  <a:pt x="528" y="1330"/>
                  <a:pt x="398" y="1227"/>
                  <a:pt x="391" y="1220"/>
                </a:cubicBezTo>
                <a:cubicBezTo>
                  <a:pt x="383" y="1213"/>
                  <a:pt x="350" y="1142"/>
                  <a:pt x="351" y="1112"/>
                </a:cubicBezTo>
                <a:cubicBezTo>
                  <a:pt x="485" y="1253"/>
                  <a:pt x="690" y="1258"/>
                  <a:pt x="690" y="1258"/>
                </a:cubicBezTo>
                <a:cubicBezTo>
                  <a:pt x="690" y="1258"/>
                  <a:pt x="686" y="1229"/>
                  <a:pt x="687" y="1217"/>
                </a:cubicBezTo>
                <a:cubicBezTo>
                  <a:pt x="460" y="1173"/>
                  <a:pt x="363" y="1100"/>
                  <a:pt x="363" y="1029"/>
                </a:cubicBezTo>
                <a:cubicBezTo>
                  <a:pt x="363" y="958"/>
                  <a:pt x="487" y="925"/>
                  <a:pt x="487" y="925"/>
                </a:cubicBezTo>
                <a:cubicBezTo>
                  <a:pt x="487" y="925"/>
                  <a:pt x="509" y="997"/>
                  <a:pt x="522" y="1019"/>
                </a:cubicBezTo>
                <a:cubicBezTo>
                  <a:pt x="535" y="1041"/>
                  <a:pt x="534" y="1056"/>
                  <a:pt x="653" y="1095"/>
                </a:cubicBezTo>
                <a:cubicBezTo>
                  <a:pt x="772" y="1134"/>
                  <a:pt x="952" y="1128"/>
                  <a:pt x="1057" y="1111"/>
                </a:cubicBezTo>
                <a:cubicBezTo>
                  <a:pt x="1162" y="1095"/>
                  <a:pt x="1238" y="1055"/>
                  <a:pt x="1255" y="1038"/>
                </a:cubicBezTo>
                <a:cubicBezTo>
                  <a:pt x="1271" y="1022"/>
                  <a:pt x="1291" y="970"/>
                  <a:pt x="1300" y="926"/>
                </a:cubicBezTo>
                <a:cubicBezTo>
                  <a:pt x="1351" y="937"/>
                  <a:pt x="1394" y="961"/>
                  <a:pt x="1412" y="983"/>
                </a:cubicBezTo>
                <a:cubicBezTo>
                  <a:pt x="1459" y="1042"/>
                  <a:pt x="1383" y="1092"/>
                  <a:pt x="1339" y="1126"/>
                </a:cubicBezTo>
                <a:cubicBezTo>
                  <a:pt x="1295" y="1161"/>
                  <a:pt x="1182" y="1195"/>
                  <a:pt x="1130" y="1213"/>
                </a:cubicBezTo>
                <a:cubicBezTo>
                  <a:pt x="1092" y="1227"/>
                  <a:pt x="1108" y="1262"/>
                  <a:pt x="1147" y="1251"/>
                </a:cubicBezTo>
                <a:close/>
                <a:moveTo>
                  <a:pt x="838" y="607"/>
                </a:moveTo>
                <a:lnTo>
                  <a:pt x="838" y="607"/>
                </a:lnTo>
                <a:lnTo>
                  <a:pt x="838" y="605"/>
                </a:lnTo>
                <a:cubicBezTo>
                  <a:pt x="838" y="587"/>
                  <a:pt x="856" y="572"/>
                  <a:pt x="888" y="572"/>
                </a:cubicBezTo>
                <a:cubicBezTo>
                  <a:pt x="920" y="572"/>
                  <a:pt x="953" y="586"/>
                  <a:pt x="988" y="609"/>
                </a:cubicBezTo>
                <a:lnTo>
                  <a:pt x="1031" y="547"/>
                </a:lnTo>
                <a:cubicBezTo>
                  <a:pt x="1003" y="523"/>
                  <a:pt x="969" y="509"/>
                  <a:pt x="932" y="501"/>
                </a:cubicBezTo>
                <a:lnTo>
                  <a:pt x="932" y="458"/>
                </a:lnTo>
                <a:lnTo>
                  <a:pt x="862" y="458"/>
                </a:lnTo>
                <a:lnTo>
                  <a:pt x="862" y="500"/>
                </a:lnTo>
                <a:cubicBezTo>
                  <a:pt x="798" y="509"/>
                  <a:pt x="754" y="551"/>
                  <a:pt x="754" y="613"/>
                </a:cubicBezTo>
                <a:lnTo>
                  <a:pt x="754" y="614"/>
                </a:lnTo>
                <a:cubicBezTo>
                  <a:pt x="754" y="689"/>
                  <a:pt x="805" y="711"/>
                  <a:pt x="882" y="730"/>
                </a:cubicBezTo>
                <a:cubicBezTo>
                  <a:pt x="946" y="746"/>
                  <a:pt x="959" y="757"/>
                  <a:pt x="959" y="778"/>
                </a:cubicBezTo>
                <a:lnTo>
                  <a:pt x="959" y="779"/>
                </a:lnTo>
                <a:cubicBezTo>
                  <a:pt x="959" y="801"/>
                  <a:pt x="938" y="815"/>
                  <a:pt x="904" y="815"/>
                </a:cubicBezTo>
                <a:cubicBezTo>
                  <a:pt x="859" y="815"/>
                  <a:pt x="824" y="798"/>
                  <a:pt x="789" y="770"/>
                </a:cubicBezTo>
                <a:lnTo>
                  <a:pt x="740" y="828"/>
                </a:lnTo>
                <a:cubicBezTo>
                  <a:pt x="775" y="860"/>
                  <a:pt x="817" y="879"/>
                  <a:pt x="862" y="886"/>
                </a:cubicBezTo>
                <a:lnTo>
                  <a:pt x="862" y="925"/>
                </a:lnTo>
                <a:lnTo>
                  <a:pt x="932" y="925"/>
                </a:lnTo>
                <a:lnTo>
                  <a:pt x="932" y="887"/>
                </a:lnTo>
                <a:cubicBezTo>
                  <a:pt x="999" y="877"/>
                  <a:pt x="1043" y="837"/>
                  <a:pt x="1043" y="771"/>
                </a:cubicBezTo>
                <a:cubicBezTo>
                  <a:pt x="1043" y="703"/>
                  <a:pt x="999" y="676"/>
                  <a:pt x="921" y="656"/>
                </a:cubicBezTo>
                <a:cubicBezTo>
                  <a:pt x="854" y="640"/>
                  <a:pt x="838" y="631"/>
                  <a:pt x="838" y="607"/>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97" name="Group 96">
            <a:extLst>
              <a:ext uri="{FF2B5EF4-FFF2-40B4-BE49-F238E27FC236}">
                <a16:creationId xmlns:a16="http://schemas.microsoft.com/office/drawing/2014/main" id="{A1629CB8-F84C-4133-931D-54E22863DD4A}"/>
              </a:ext>
            </a:extLst>
          </p:cNvPr>
          <p:cNvGrpSpPr/>
          <p:nvPr/>
        </p:nvGrpSpPr>
        <p:grpSpPr>
          <a:xfrm>
            <a:off x="4439101" y="2542710"/>
            <a:ext cx="373126" cy="371053"/>
            <a:chOff x="6709334" y="2532449"/>
            <a:chExt cx="373126" cy="371053"/>
          </a:xfrm>
          <a:solidFill>
            <a:schemeClr val="bg2"/>
          </a:solidFill>
        </p:grpSpPr>
        <p:sp>
          <p:nvSpPr>
            <p:cNvPr id="98" name="Freeform 6">
              <a:extLst>
                <a:ext uri="{FF2B5EF4-FFF2-40B4-BE49-F238E27FC236}">
                  <a16:creationId xmlns:a16="http://schemas.microsoft.com/office/drawing/2014/main" id="{DB6D6889-1C3D-4800-A09A-1B0FE53D9785}"/>
                </a:ext>
              </a:extLst>
            </p:cNvPr>
            <p:cNvSpPr>
              <a:spLocks noEditPoints="1"/>
            </p:cNvSpPr>
            <p:nvPr/>
          </p:nvSpPr>
          <p:spPr bwMode="auto">
            <a:xfrm>
              <a:off x="6709334" y="2532449"/>
              <a:ext cx="373126" cy="371053"/>
            </a:xfrm>
            <a:custGeom>
              <a:avLst/>
              <a:gdLst>
                <a:gd name="T0" fmla="*/ 1794 w 1794"/>
                <a:gd name="T1" fmla="*/ 889 h 1779"/>
                <a:gd name="T2" fmla="*/ 1794 w 1794"/>
                <a:gd name="T3" fmla="*/ 889 h 1779"/>
                <a:gd name="T4" fmla="*/ 897 w 1794"/>
                <a:gd name="T5" fmla="*/ 0 h 1779"/>
                <a:gd name="T6" fmla="*/ 0 w 1794"/>
                <a:gd name="T7" fmla="*/ 889 h 1779"/>
                <a:gd name="T8" fmla="*/ 897 w 1794"/>
                <a:gd name="T9" fmla="*/ 1779 h 1779"/>
                <a:gd name="T10" fmla="*/ 1794 w 1794"/>
                <a:gd name="T11" fmla="*/ 889 h 1779"/>
                <a:gd name="T12" fmla="*/ 1717 w 1794"/>
                <a:gd name="T13" fmla="*/ 889 h 1779"/>
                <a:gd name="T14" fmla="*/ 1717 w 1794"/>
                <a:gd name="T15" fmla="*/ 889 h 1779"/>
                <a:gd name="T16" fmla="*/ 897 w 1794"/>
                <a:gd name="T17" fmla="*/ 1702 h 1779"/>
                <a:gd name="T18" fmla="*/ 74 w 1794"/>
                <a:gd name="T19" fmla="*/ 889 h 1779"/>
                <a:gd name="T20" fmla="*/ 897 w 1794"/>
                <a:gd name="T21" fmla="*/ 73 h 1779"/>
                <a:gd name="T22" fmla="*/ 1717 w 1794"/>
                <a:gd name="T23" fmla="*/ 88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4" h="1779">
                  <a:moveTo>
                    <a:pt x="1794" y="889"/>
                  </a:moveTo>
                  <a:lnTo>
                    <a:pt x="1794" y="889"/>
                  </a:lnTo>
                  <a:cubicBezTo>
                    <a:pt x="1794" y="396"/>
                    <a:pt x="1391" y="0"/>
                    <a:pt x="897" y="0"/>
                  </a:cubicBezTo>
                  <a:cubicBezTo>
                    <a:pt x="400" y="0"/>
                    <a:pt x="0" y="396"/>
                    <a:pt x="0" y="889"/>
                  </a:cubicBezTo>
                  <a:cubicBezTo>
                    <a:pt x="0" y="1379"/>
                    <a:pt x="400" y="1779"/>
                    <a:pt x="897" y="1779"/>
                  </a:cubicBezTo>
                  <a:cubicBezTo>
                    <a:pt x="1391" y="1779"/>
                    <a:pt x="1794" y="1379"/>
                    <a:pt x="1794" y="889"/>
                  </a:cubicBezTo>
                  <a:close/>
                  <a:moveTo>
                    <a:pt x="1717" y="889"/>
                  </a:moveTo>
                  <a:lnTo>
                    <a:pt x="1717" y="889"/>
                  </a:lnTo>
                  <a:cubicBezTo>
                    <a:pt x="1717" y="1338"/>
                    <a:pt x="1349" y="1702"/>
                    <a:pt x="897" y="1702"/>
                  </a:cubicBezTo>
                  <a:cubicBezTo>
                    <a:pt x="442" y="1702"/>
                    <a:pt x="74" y="1338"/>
                    <a:pt x="74" y="889"/>
                  </a:cubicBezTo>
                  <a:cubicBezTo>
                    <a:pt x="74" y="438"/>
                    <a:pt x="442" y="73"/>
                    <a:pt x="897" y="73"/>
                  </a:cubicBezTo>
                  <a:cubicBezTo>
                    <a:pt x="1349" y="73"/>
                    <a:pt x="1717" y="438"/>
                    <a:pt x="1717" y="88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7">
              <a:extLst>
                <a:ext uri="{FF2B5EF4-FFF2-40B4-BE49-F238E27FC236}">
                  <a16:creationId xmlns:a16="http://schemas.microsoft.com/office/drawing/2014/main" id="{61A5B420-CE6B-437F-B171-FB6957BDB0EC}"/>
                </a:ext>
              </a:extLst>
            </p:cNvPr>
            <p:cNvSpPr>
              <a:spLocks noEditPoints="1"/>
            </p:cNvSpPr>
            <p:nvPr/>
          </p:nvSpPr>
          <p:spPr bwMode="auto">
            <a:xfrm>
              <a:off x="6769795" y="2571489"/>
              <a:ext cx="252551" cy="277426"/>
            </a:xfrm>
            <a:custGeom>
              <a:avLst/>
              <a:gdLst>
                <a:gd name="T0" fmla="*/ 1056 w 1215"/>
                <a:gd name="T1" fmla="*/ 1063 h 1330"/>
                <a:gd name="T2" fmla="*/ 931 w 1215"/>
                <a:gd name="T3" fmla="*/ 1076 h 1330"/>
                <a:gd name="T4" fmla="*/ 833 w 1215"/>
                <a:gd name="T5" fmla="*/ 1044 h 1330"/>
                <a:gd name="T6" fmla="*/ 787 w 1215"/>
                <a:gd name="T7" fmla="*/ 1085 h 1330"/>
                <a:gd name="T8" fmla="*/ 1037 w 1215"/>
                <a:gd name="T9" fmla="*/ 1128 h 1330"/>
                <a:gd name="T10" fmla="*/ 688 w 1215"/>
                <a:gd name="T11" fmla="*/ 1245 h 1330"/>
                <a:gd name="T12" fmla="*/ 613 w 1215"/>
                <a:gd name="T13" fmla="*/ 1121 h 1330"/>
                <a:gd name="T14" fmla="*/ 552 w 1215"/>
                <a:gd name="T15" fmla="*/ 1121 h 1330"/>
                <a:gd name="T16" fmla="*/ 197 w 1215"/>
                <a:gd name="T17" fmla="*/ 1149 h 1330"/>
                <a:gd name="T18" fmla="*/ 420 w 1215"/>
                <a:gd name="T19" fmla="*/ 1198 h 1330"/>
                <a:gd name="T20" fmla="*/ 421 w 1215"/>
                <a:gd name="T21" fmla="*/ 1137 h 1330"/>
                <a:gd name="T22" fmla="*/ 137 w 1215"/>
                <a:gd name="T23" fmla="*/ 1057 h 1330"/>
                <a:gd name="T24" fmla="*/ 62 w 1215"/>
                <a:gd name="T25" fmla="*/ 925 h 1330"/>
                <a:gd name="T26" fmla="*/ 356 w 1215"/>
                <a:gd name="T27" fmla="*/ 1018 h 1330"/>
                <a:gd name="T28" fmla="*/ 358 w 1215"/>
                <a:gd name="T29" fmla="*/ 957 h 1330"/>
                <a:gd name="T30" fmla="*/ 78 w 1215"/>
                <a:gd name="T31" fmla="*/ 866 h 1330"/>
                <a:gd name="T32" fmla="*/ 182 w 1215"/>
                <a:gd name="T33" fmla="*/ 742 h 1330"/>
                <a:gd name="T34" fmla="*/ 236 w 1215"/>
                <a:gd name="T35" fmla="*/ 865 h 1330"/>
                <a:gd name="T36" fmla="*/ 621 w 1215"/>
                <a:gd name="T37" fmla="*/ 953 h 1330"/>
                <a:gd name="T38" fmla="*/ 959 w 1215"/>
                <a:gd name="T39" fmla="*/ 866 h 1330"/>
                <a:gd name="T40" fmla="*/ 1123 w 1215"/>
                <a:gd name="T41" fmla="*/ 795 h 1330"/>
                <a:gd name="T42" fmla="*/ 1133 w 1215"/>
                <a:gd name="T43" fmla="*/ 853 h 1330"/>
                <a:gd name="T44" fmla="*/ 956 w 1215"/>
                <a:gd name="T45" fmla="*/ 967 h 1330"/>
                <a:gd name="T46" fmla="*/ 996 w 1215"/>
                <a:gd name="T47" fmla="*/ 983 h 1330"/>
                <a:gd name="T48" fmla="*/ 1114 w 1215"/>
                <a:gd name="T49" fmla="*/ 1022 h 1330"/>
                <a:gd name="T50" fmla="*/ 1056 w 1215"/>
                <a:gd name="T51" fmla="*/ 1063 h 1330"/>
                <a:gd name="T52" fmla="*/ 230 w 1215"/>
                <a:gd name="T53" fmla="*/ 563 h 1330"/>
                <a:gd name="T54" fmla="*/ 509 w 1215"/>
                <a:gd name="T55" fmla="*/ 84 h 1330"/>
                <a:gd name="T56" fmla="*/ 599 w 1215"/>
                <a:gd name="T57" fmla="*/ 62 h 1330"/>
                <a:gd name="T58" fmla="*/ 614 w 1215"/>
                <a:gd name="T59" fmla="*/ 62 h 1330"/>
                <a:gd name="T60" fmla="*/ 925 w 1215"/>
                <a:gd name="T61" fmla="*/ 343 h 1330"/>
                <a:gd name="T62" fmla="*/ 979 w 1215"/>
                <a:gd name="T63" fmla="*/ 564 h 1330"/>
                <a:gd name="T64" fmla="*/ 950 w 1215"/>
                <a:gd name="T65" fmla="*/ 726 h 1330"/>
                <a:gd name="T66" fmla="*/ 758 w 1215"/>
                <a:gd name="T67" fmla="*/ 863 h 1330"/>
                <a:gd name="T68" fmla="*/ 289 w 1215"/>
                <a:gd name="T69" fmla="*/ 807 h 1330"/>
                <a:gd name="T70" fmla="*/ 257 w 1215"/>
                <a:gd name="T71" fmla="*/ 720 h 1330"/>
                <a:gd name="T72" fmla="*/ 230 w 1215"/>
                <a:gd name="T73" fmla="*/ 563 h 1330"/>
                <a:gd name="T74" fmla="*/ 1213 w 1215"/>
                <a:gd name="T75" fmla="*/ 911 h 1330"/>
                <a:gd name="T76" fmla="*/ 1195 w 1215"/>
                <a:gd name="T77" fmla="*/ 863 h 1330"/>
                <a:gd name="T78" fmla="*/ 1170 w 1215"/>
                <a:gd name="T79" fmla="*/ 757 h 1330"/>
                <a:gd name="T80" fmla="*/ 1040 w 1215"/>
                <a:gd name="T81" fmla="*/ 557 h 1330"/>
                <a:gd name="T82" fmla="*/ 731 w 1215"/>
                <a:gd name="T83" fmla="*/ 31 h 1330"/>
                <a:gd name="T84" fmla="*/ 612 w 1215"/>
                <a:gd name="T85" fmla="*/ 1 h 1330"/>
                <a:gd name="T86" fmla="*/ 479 w 1215"/>
                <a:gd name="T87" fmla="*/ 31 h 1330"/>
                <a:gd name="T88" fmla="*/ 169 w 1215"/>
                <a:gd name="T89" fmla="*/ 558 h 1330"/>
                <a:gd name="T90" fmla="*/ 13 w 1215"/>
                <a:gd name="T91" fmla="*/ 841 h 1330"/>
                <a:gd name="T92" fmla="*/ 1 w 1215"/>
                <a:gd name="T93" fmla="*/ 923 h 1330"/>
                <a:gd name="T94" fmla="*/ 112 w 1215"/>
                <a:gd name="T95" fmla="*/ 1114 h 1330"/>
                <a:gd name="T96" fmla="*/ 603 w 1215"/>
                <a:gd name="T97" fmla="*/ 1330 h 1330"/>
                <a:gd name="T98" fmla="*/ 685 w 1215"/>
                <a:gd name="T99" fmla="*/ 1309 h 1330"/>
                <a:gd name="T100" fmla="*/ 727 w 1215"/>
                <a:gd name="T101" fmla="*/ 1319 h 1330"/>
                <a:gd name="T102" fmla="*/ 1096 w 1215"/>
                <a:gd name="T103" fmla="*/ 1154 h 1330"/>
                <a:gd name="T104" fmla="*/ 1156 w 1215"/>
                <a:gd name="T105" fmla="*/ 1067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5" h="1330">
                  <a:moveTo>
                    <a:pt x="1056" y="1063"/>
                  </a:moveTo>
                  <a:lnTo>
                    <a:pt x="1056" y="1063"/>
                  </a:lnTo>
                  <a:lnTo>
                    <a:pt x="1056" y="1063"/>
                  </a:lnTo>
                  <a:cubicBezTo>
                    <a:pt x="1019" y="1069"/>
                    <a:pt x="973" y="1077"/>
                    <a:pt x="931" y="1076"/>
                  </a:cubicBezTo>
                  <a:lnTo>
                    <a:pt x="891" y="1072"/>
                  </a:lnTo>
                  <a:cubicBezTo>
                    <a:pt x="868" y="1068"/>
                    <a:pt x="847" y="1060"/>
                    <a:pt x="833" y="1044"/>
                  </a:cubicBezTo>
                  <a:cubicBezTo>
                    <a:pt x="822" y="1032"/>
                    <a:pt x="803" y="1030"/>
                    <a:pt x="790" y="1041"/>
                  </a:cubicBezTo>
                  <a:cubicBezTo>
                    <a:pt x="778" y="1053"/>
                    <a:pt x="776" y="1072"/>
                    <a:pt x="787" y="1085"/>
                  </a:cubicBezTo>
                  <a:cubicBezTo>
                    <a:pt x="824" y="1126"/>
                    <a:pt x="879" y="1138"/>
                    <a:pt x="935" y="1138"/>
                  </a:cubicBezTo>
                  <a:cubicBezTo>
                    <a:pt x="970" y="1138"/>
                    <a:pt x="1005" y="1133"/>
                    <a:pt x="1037" y="1128"/>
                  </a:cubicBezTo>
                  <a:cubicBezTo>
                    <a:pt x="941" y="1224"/>
                    <a:pt x="776" y="1256"/>
                    <a:pt x="730" y="1258"/>
                  </a:cubicBezTo>
                  <a:cubicBezTo>
                    <a:pt x="715" y="1255"/>
                    <a:pt x="701" y="1250"/>
                    <a:pt x="688" y="1245"/>
                  </a:cubicBezTo>
                  <a:cubicBezTo>
                    <a:pt x="687" y="1244"/>
                    <a:pt x="687" y="1243"/>
                    <a:pt x="685" y="1242"/>
                  </a:cubicBezTo>
                  <a:cubicBezTo>
                    <a:pt x="619" y="1190"/>
                    <a:pt x="613" y="1152"/>
                    <a:pt x="613" y="1121"/>
                  </a:cubicBezTo>
                  <a:cubicBezTo>
                    <a:pt x="613" y="1105"/>
                    <a:pt x="600" y="1091"/>
                    <a:pt x="583" y="1091"/>
                  </a:cubicBezTo>
                  <a:cubicBezTo>
                    <a:pt x="566" y="1091"/>
                    <a:pt x="552" y="1105"/>
                    <a:pt x="552" y="1121"/>
                  </a:cubicBezTo>
                  <a:cubicBezTo>
                    <a:pt x="552" y="1178"/>
                    <a:pt x="573" y="1223"/>
                    <a:pt x="622" y="1268"/>
                  </a:cubicBezTo>
                  <a:cubicBezTo>
                    <a:pt x="382" y="1273"/>
                    <a:pt x="251" y="1193"/>
                    <a:pt x="197" y="1149"/>
                  </a:cubicBezTo>
                  <a:cubicBezTo>
                    <a:pt x="269" y="1178"/>
                    <a:pt x="336" y="1195"/>
                    <a:pt x="418" y="1198"/>
                  </a:cubicBezTo>
                  <a:cubicBezTo>
                    <a:pt x="419" y="1198"/>
                    <a:pt x="419" y="1198"/>
                    <a:pt x="420" y="1198"/>
                  </a:cubicBezTo>
                  <a:cubicBezTo>
                    <a:pt x="436" y="1198"/>
                    <a:pt x="449" y="1186"/>
                    <a:pt x="450" y="1169"/>
                  </a:cubicBezTo>
                  <a:cubicBezTo>
                    <a:pt x="451" y="1152"/>
                    <a:pt x="438" y="1138"/>
                    <a:pt x="421" y="1137"/>
                  </a:cubicBezTo>
                  <a:cubicBezTo>
                    <a:pt x="320" y="1133"/>
                    <a:pt x="246" y="1106"/>
                    <a:pt x="145" y="1059"/>
                  </a:cubicBezTo>
                  <a:cubicBezTo>
                    <a:pt x="143" y="1058"/>
                    <a:pt x="140" y="1058"/>
                    <a:pt x="137" y="1057"/>
                  </a:cubicBezTo>
                  <a:cubicBezTo>
                    <a:pt x="114" y="1043"/>
                    <a:pt x="102" y="1032"/>
                    <a:pt x="102" y="1032"/>
                  </a:cubicBezTo>
                  <a:cubicBezTo>
                    <a:pt x="91" y="1020"/>
                    <a:pt x="62" y="953"/>
                    <a:pt x="62" y="925"/>
                  </a:cubicBezTo>
                  <a:cubicBezTo>
                    <a:pt x="163" y="977"/>
                    <a:pt x="244" y="1009"/>
                    <a:pt x="353" y="1018"/>
                  </a:cubicBezTo>
                  <a:cubicBezTo>
                    <a:pt x="354" y="1018"/>
                    <a:pt x="355" y="1018"/>
                    <a:pt x="356" y="1018"/>
                  </a:cubicBezTo>
                  <a:cubicBezTo>
                    <a:pt x="372" y="1018"/>
                    <a:pt x="385" y="1006"/>
                    <a:pt x="386" y="990"/>
                  </a:cubicBezTo>
                  <a:cubicBezTo>
                    <a:pt x="388" y="973"/>
                    <a:pt x="375" y="959"/>
                    <a:pt x="358" y="957"/>
                  </a:cubicBezTo>
                  <a:cubicBezTo>
                    <a:pt x="258" y="949"/>
                    <a:pt x="185" y="920"/>
                    <a:pt x="86" y="869"/>
                  </a:cubicBezTo>
                  <a:cubicBezTo>
                    <a:pt x="84" y="867"/>
                    <a:pt x="81" y="867"/>
                    <a:pt x="78" y="866"/>
                  </a:cubicBezTo>
                  <a:cubicBezTo>
                    <a:pt x="76" y="858"/>
                    <a:pt x="74" y="850"/>
                    <a:pt x="74" y="841"/>
                  </a:cubicBezTo>
                  <a:cubicBezTo>
                    <a:pt x="74" y="786"/>
                    <a:pt x="149" y="754"/>
                    <a:pt x="182" y="742"/>
                  </a:cubicBezTo>
                  <a:cubicBezTo>
                    <a:pt x="194" y="795"/>
                    <a:pt x="212" y="841"/>
                    <a:pt x="234" y="863"/>
                  </a:cubicBezTo>
                  <a:cubicBezTo>
                    <a:pt x="234" y="864"/>
                    <a:pt x="235" y="865"/>
                    <a:pt x="236" y="865"/>
                  </a:cubicBezTo>
                  <a:cubicBezTo>
                    <a:pt x="341" y="953"/>
                    <a:pt x="608" y="954"/>
                    <a:pt x="611" y="954"/>
                  </a:cubicBezTo>
                  <a:cubicBezTo>
                    <a:pt x="614" y="954"/>
                    <a:pt x="617" y="954"/>
                    <a:pt x="621" y="953"/>
                  </a:cubicBezTo>
                  <a:cubicBezTo>
                    <a:pt x="695" y="951"/>
                    <a:pt x="872" y="938"/>
                    <a:pt x="957" y="868"/>
                  </a:cubicBezTo>
                  <a:cubicBezTo>
                    <a:pt x="958" y="868"/>
                    <a:pt x="958" y="867"/>
                    <a:pt x="959" y="866"/>
                  </a:cubicBezTo>
                  <a:cubicBezTo>
                    <a:pt x="980" y="845"/>
                    <a:pt x="1003" y="797"/>
                    <a:pt x="1020" y="741"/>
                  </a:cubicBezTo>
                  <a:cubicBezTo>
                    <a:pt x="1063" y="751"/>
                    <a:pt x="1105" y="773"/>
                    <a:pt x="1123" y="795"/>
                  </a:cubicBezTo>
                  <a:cubicBezTo>
                    <a:pt x="1134" y="810"/>
                    <a:pt x="1139" y="824"/>
                    <a:pt x="1137" y="839"/>
                  </a:cubicBezTo>
                  <a:cubicBezTo>
                    <a:pt x="1137" y="844"/>
                    <a:pt x="1135" y="849"/>
                    <a:pt x="1133" y="853"/>
                  </a:cubicBezTo>
                  <a:cubicBezTo>
                    <a:pt x="1092" y="875"/>
                    <a:pt x="1039" y="900"/>
                    <a:pt x="973" y="927"/>
                  </a:cubicBezTo>
                  <a:cubicBezTo>
                    <a:pt x="957" y="933"/>
                    <a:pt x="950" y="951"/>
                    <a:pt x="956" y="967"/>
                  </a:cubicBezTo>
                  <a:cubicBezTo>
                    <a:pt x="961" y="978"/>
                    <a:pt x="973" y="985"/>
                    <a:pt x="985" y="985"/>
                  </a:cubicBezTo>
                  <a:cubicBezTo>
                    <a:pt x="989" y="985"/>
                    <a:pt x="993" y="985"/>
                    <a:pt x="996" y="983"/>
                  </a:cubicBezTo>
                  <a:cubicBezTo>
                    <a:pt x="1058" y="958"/>
                    <a:pt x="1110" y="934"/>
                    <a:pt x="1152" y="913"/>
                  </a:cubicBezTo>
                  <a:cubicBezTo>
                    <a:pt x="1147" y="939"/>
                    <a:pt x="1127" y="1010"/>
                    <a:pt x="1114" y="1022"/>
                  </a:cubicBezTo>
                  <a:cubicBezTo>
                    <a:pt x="1100" y="1035"/>
                    <a:pt x="1081" y="1049"/>
                    <a:pt x="1056" y="1063"/>
                  </a:cubicBezTo>
                  <a:lnTo>
                    <a:pt x="1056" y="1063"/>
                  </a:lnTo>
                  <a:close/>
                  <a:moveTo>
                    <a:pt x="230" y="563"/>
                  </a:moveTo>
                  <a:lnTo>
                    <a:pt x="230" y="563"/>
                  </a:lnTo>
                  <a:cubicBezTo>
                    <a:pt x="233" y="528"/>
                    <a:pt x="254" y="410"/>
                    <a:pt x="285" y="344"/>
                  </a:cubicBezTo>
                  <a:cubicBezTo>
                    <a:pt x="306" y="300"/>
                    <a:pt x="368" y="165"/>
                    <a:pt x="509" y="84"/>
                  </a:cubicBezTo>
                  <a:cubicBezTo>
                    <a:pt x="526" y="75"/>
                    <a:pt x="556" y="67"/>
                    <a:pt x="591" y="63"/>
                  </a:cubicBezTo>
                  <a:cubicBezTo>
                    <a:pt x="594" y="63"/>
                    <a:pt x="596" y="62"/>
                    <a:pt x="599" y="62"/>
                  </a:cubicBezTo>
                  <a:cubicBezTo>
                    <a:pt x="601" y="62"/>
                    <a:pt x="605" y="62"/>
                    <a:pt x="611" y="62"/>
                  </a:cubicBezTo>
                  <a:cubicBezTo>
                    <a:pt x="612" y="62"/>
                    <a:pt x="613" y="62"/>
                    <a:pt x="614" y="62"/>
                  </a:cubicBezTo>
                  <a:cubicBezTo>
                    <a:pt x="628" y="64"/>
                    <a:pt x="675" y="69"/>
                    <a:pt x="700" y="84"/>
                  </a:cubicBezTo>
                  <a:cubicBezTo>
                    <a:pt x="841" y="165"/>
                    <a:pt x="904" y="299"/>
                    <a:pt x="925" y="343"/>
                  </a:cubicBezTo>
                  <a:cubicBezTo>
                    <a:pt x="956" y="412"/>
                    <a:pt x="977" y="529"/>
                    <a:pt x="979" y="562"/>
                  </a:cubicBezTo>
                  <a:cubicBezTo>
                    <a:pt x="979" y="563"/>
                    <a:pt x="979" y="563"/>
                    <a:pt x="979" y="564"/>
                  </a:cubicBezTo>
                  <a:cubicBezTo>
                    <a:pt x="984" y="605"/>
                    <a:pt x="979" y="651"/>
                    <a:pt x="969" y="694"/>
                  </a:cubicBezTo>
                  <a:cubicBezTo>
                    <a:pt x="960" y="702"/>
                    <a:pt x="953" y="714"/>
                    <a:pt x="950" y="726"/>
                  </a:cubicBezTo>
                  <a:cubicBezTo>
                    <a:pt x="942" y="768"/>
                    <a:pt x="926" y="803"/>
                    <a:pt x="923" y="807"/>
                  </a:cubicBezTo>
                  <a:cubicBezTo>
                    <a:pt x="916" y="813"/>
                    <a:pt x="856" y="847"/>
                    <a:pt x="758" y="863"/>
                  </a:cubicBezTo>
                  <a:cubicBezTo>
                    <a:pt x="647" y="881"/>
                    <a:pt x="483" y="882"/>
                    <a:pt x="383" y="849"/>
                  </a:cubicBezTo>
                  <a:cubicBezTo>
                    <a:pt x="297" y="821"/>
                    <a:pt x="292" y="811"/>
                    <a:pt x="289" y="807"/>
                  </a:cubicBezTo>
                  <a:lnTo>
                    <a:pt x="285" y="800"/>
                  </a:lnTo>
                  <a:cubicBezTo>
                    <a:pt x="281" y="793"/>
                    <a:pt x="267" y="756"/>
                    <a:pt x="257" y="720"/>
                  </a:cubicBezTo>
                  <a:cubicBezTo>
                    <a:pt x="253" y="707"/>
                    <a:pt x="245" y="696"/>
                    <a:pt x="234" y="688"/>
                  </a:cubicBezTo>
                  <a:cubicBezTo>
                    <a:pt x="228" y="647"/>
                    <a:pt x="226" y="603"/>
                    <a:pt x="230" y="563"/>
                  </a:cubicBezTo>
                  <a:lnTo>
                    <a:pt x="230" y="563"/>
                  </a:lnTo>
                  <a:close/>
                  <a:moveTo>
                    <a:pt x="1213" y="911"/>
                  </a:moveTo>
                  <a:lnTo>
                    <a:pt x="1213" y="911"/>
                  </a:lnTo>
                  <a:cubicBezTo>
                    <a:pt x="1215" y="893"/>
                    <a:pt x="1208" y="875"/>
                    <a:pt x="1195" y="863"/>
                  </a:cubicBezTo>
                  <a:cubicBezTo>
                    <a:pt x="1196" y="858"/>
                    <a:pt x="1197" y="852"/>
                    <a:pt x="1198" y="847"/>
                  </a:cubicBezTo>
                  <a:cubicBezTo>
                    <a:pt x="1202" y="815"/>
                    <a:pt x="1192" y="784"/>
                    <a:pt x="1170" y="757"/>
                  </a:cubicBezTo>
                  <a:cubicBezTo>
                    <a:pt x="1143" y="724"/>
                    <a:pt x="1091" y="695"/>
                    <a:pt x="1034" y="681"/>
                  </a:cubicBezTo>
                  <a:cubicBezTo>
                    <a:pt x="1041" y="640"/>
                    <a:pt x="1045" y="597"/>
                    <a:pt x="1040" y="557"/>
                  </a:cubicBezTo>
                  <a:cubicBezTo>
                    <a:pt x="1037" y="519"/>
                    <a:pt x="1015" y="394"/>
                    <a:pt x="980" y="317"/>
                  </a:cubicBezTo>
                  <a:cubicBezTo>
                    <a:pt x="957" y="269"/>
                    <a:pt x="889" y="121"/>
                    <a:pt x="731" y="31"/>
                  </a:cubicBezTo>
                  <a:cubicBezTo>
                    <a:pt x="697" y="11"/>
                    <a:pt x="648" y="4"/>
                    <a:pt x="621" y="2"/>
                  </a:cubicBezTo>
                  <a:cubicBezTo>
                    <a:pt x="618" y="1"/>
                    <a:pt x="615" y="1"/>
                    <a:pt x="612" y="1"/>
                  </a:cubicBezTo>
                  <a:cubicBezTo>
                    <a:pt x="596" y="0"/>
                    <a:pt x="590" y="0"/>
                    <a:pt x="581" y="3"/>
                  </a:cubicBezTo>
                  <a:cubicBezTo>
                    <a:pt x="555" y="6"/>
                    <a:pt x="510" y="13"/>
                    <a:pt x="479" y="31"/>
                  </a:cubicBezTo>
                  <a:cubicBezTo>
                    <a:pt x="321" y="122"/>
                    <a:pt x="252" y="269"/>
                    <a:pt x="230" y="318"/>
                  </a:cubicBezTo>
                  <a:cubicBezTo>
                    <a:pt x="193" y="396"/>
                    <a:pt x="172" y="522"/>
                    <a:pt x="169" y="558"/>
                  </a:cubicBezTo>
                  <a:cubicBezTo>
                    <a:pt x="165" y="596"/>
                    <a:pt x="166" y="639"/>
                    <a:pt x="172" y="681"/>
                  </a:cubicBezTo>
                  <a:cubicBezTo>
                    <a:pt x="129" y="694"/>
                    <a:pt x="13" y="739"/>
                    <a:pt x="13" y="841"/>
                  </a:cubicBezTo>
                  <a:cubicBezTo>
                    <a:pt x="13" y="855"/>
                    <a:pt x="15" y="868"/>
                    <a:pt x="18" y="881"/>
                  </a:cubicBezTo>
                  <a:cubicBezTo>
                    <a:pt x="7" y="892"/>
                    <a:pt x="1" y="907"/>
                    <a:pt x="1" y="923"/>
                  </a:cubicBezTo>
                  <a:cubicBezTo>
                    <a:pt x="0" y="966"/>
                    <a:pt x="37" y="1056"/>
                    <a:pt x="61" y="1078"/>
                  </a:cubicBezTo>
                  <a:cubicBezTo>
                    <a:pt x="63" y="1080"/>
                    <a:pt x="81" y="1095"/>
                    <a:pt x="112" y="1114"/>
                  </a:cubicBezTo>
                  <a:cubicBezTo>
                    <a:pt x="108" y="1132"/>
                    <a:pt x="114" y="1152"/>
                    <a:pt x="127" y="1167"/>
                  </a:cubicBezTo>
                  <a:cubicBezTo>
                    <a:pt x="153" y="1195"/>
                    <a:pt x="295" y="1330"/>
                    <a:pt x="603" y="1330"/>
                  </a:cubicBezTo>
                  <a:cubicBezTo>
                    <a:pt x="616" y="1330"/>
                    <a:pt x="628" y="1329"/>
                    <a:pt x="642" y="1329"/>
                  </a:cubicBezTo>
                  <a:cubicBezTo>
                    <a:pt x="658" y="1329"/>
                    <a:pt x="674" y="1321"/>
                    <a:pt x="685" y="1309"/>
                  </a:cubicBezTo>
                  <a:cubicBezTo>
                    <a:pt x="697" y="1313"/>
                    <a:pt x="709" y="1316"/>
                    <a:pt x="721" y="1318"/>
                  </a:cubicBezTo>
                  <a:cubicBezTo>
                    <a:pt x="723" y="1319"/>
                    <a:pt x="725" y="1319"/>
                    <a:pt x="727" y="1319"/>
                  </a:cubicBezTo>
                  <a:cubicBezTo>
                    <a:pt x="727" y="1319"/>
                    <a:pt x="727" y="1319"/>
                    <a:pt x="727" y="1319"/>
                  </a:cubicBezTo>
                  <a:cubicBezTo>
                    <a:pt x="785" y="1319"/>
                    <a:pt x="988" y="1278"/>
                    <a:pt x="1096" y="1154"/>
                  </a:cubicBezTo>
                  <a:cubicBezTo>
                    <a:pt x="1109" y="1139"/>
                    <a:pt x="1114" y="1120"/>
                    <a:pt x="1110" y="1102"/>
                  </a:cubicBezTo>
                  <a:cubicBezTo>
                    <a:pt x="1128" y="1090"/>
                    <a:pt x="1144" y="1078"/>
                    <a:pt x="1156" y="1067"/>
                  </a:cubicBezTo>
                  <a:cubicBezTo>
                    <a:pt x="1191" y="1034"/>
                    <a:pt x="1213" y="924"/>
                    <a:pt x="1213" y="9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8">
              <a:extLst>
                <a:ext uri="{FF2B5EF4-FFF2-40B4-BE49-F238E27FC236}">
                  <a16:creationId xmlns:a16="http://schemas.microsoft.com/office/drawing/2014/main" id="{090C7EB6-75BF-419C-944F-54ACE85A6AF3}"/>
                </a:ext>
              </a:extLst>
            </p:cNvPr>
            <p:cNvSpPr>
              <a:spLocks noEditPoints="1"/>
            </p:cNvSpPr>
            <p:nvPr/>
          </p:nvSpPr>
          <p:spPr bwMode="auto">
            <a:xfrm>
              <a:off x="6849257" y="2615020"/>
              <a:ext cx="90172" cy="122993"/>
            </a:xfrm>
            <a:custGeom>
              <a:avLst/>
              <a:gdLst>
                <a:gd name="T0" fmla="*/ 118 w 434"/>
                <a:gd name="T1" fmla="*/ 373 h 589"/>
                <a:gd name="T2" fmla="*/ 118 w 434"/>
                <a:gd name="T3" fmla="*/ 373 h 589"/>
                <a:gd name="T4" fmla="*/ 233 w 434"/>
                <a:gd name="T5" fmla="*/ 418 h 589"/>
                <a:gd name="T6" fmla="*/ 282 w 434"/>
                <a:gd name="T7" fmla="*/ 401 h 589"/>
                <a:gd name="T8" fmla="*/ 284 w 434"/>
                <a:gd name="T9" fmla="*/ 366 h 589"/>
                <a:gd name="T10" fmla="*/ 211 w 434"/>
                <a:gd name="T11" fmla="*/ 333 h 589"/>
                <a:gd name="T12" fmla="*/ 83 w 434"/>
                <a:gd name="T13" fmla="*/ 217 h 589"/>
                <a:gd name="T14" fmla="*/ 168 w 434"/>
                <a:gd name="T15" fmla="*/ 108 h 589"/>
                <a:gd name="T16" fmla="*/ 191 w 434"/>
                <a:gd name="T17" fmla="*/ 78 h 589"/>
                <a:gd name="T18" fmla="*/ 191 w 434"/>
                <a:gd name="T19" fmla="*/ 61 h 589"/>
                <a:gd name="T20" fmla="*/ 261 w 434"/>
                <a:gd name="T21" fmla="*/ 61 h 589"/>
                <a:gd name="T22" fmla="*/ 261 w 434"/>
                <a:gd name="T23" fmla="*/ 80 h 589"/>
                <a:gd name="T24" fmla="*/ 283 w 434"/>
                <a:gd name="T25" fmla="*/ 110 h 589"/>
                <a:gd name="T26" fmla="*/ 360 w 434"/>
                <a:gd name="T27" fmla="*/ 149 h 589"/>
                <a:gd name="T28" fmla="*/ 316 w 434"/>
                <a:gd name="T29" fmla="*/ 212 h 589"/>
                <a:gd name="T30" fmla="*/ 217 w 434"/>
                <a:gd name="T31" fmla="*/ 175 h 589"/>
                <a:gd name="T32" fmla="*/ 174 w 434"/>
                <a:gd name="T33" fmla="*/ 190 h 589"/>
                <a:gd name="T34" fmla="*/ 176 w 434"/>
                <a:gd name="T35" fmla="*/ 232 h 589"/>
                <a:gd name="T36" fmla="*/ 249 w 434"/>
                <a:gd name="T37" fmla="*/ 259 h 589"/>
                <a:gd name="T38" fmla="*/ 372 w 434"/>
                <a:gd name="T39" fmla="*/ 374 h 589"/>
                <a:gd name="T40" fmla="*/ 284 w 434"/>
                <a:gd name="T41" fmla="*/ 485 h 589"/>
                <a:gd name="T42" fmla="*/ 261 w 434"/>
                <a:gd name="T43" fmla="*/ 515 h 589"/>
                <a:gd name="T44" fmla="*/ 261 w 434"/>
                <a:gd name="T45" fmla="*/ 528 h 589"/>
                <a:gd name="T46" fmla="*/ 191 w 434"/>
                <a:gd name="T47" fmla="*/ 528 h 589"/>
                <a:gd name="T48" fmla="*/ 191 w 434"/>
                <a:gd name="T49" fmla="*/ 514 h 589"/>
                <a:gd name="T50" fmla="*/ 168 w 434"/>
                <a:gd name="T51" fmla="*/ 484 h 589"/>
                <a:gd name="T52" fmla="*/ 68 w 434"/>
                <a:gd name="T53" fmla="*/ 432 h 589"/>
                <a:gd name="T54" fmla="*/ 118 w 434"/>
                <a:gd name="T55" fmla="*/ 373 h 589"/>
                <a:gd name="T56" fmla="*/ 118 w 434"/>
                <a:gd name="T57" fmla="*/ 373 h 589"/>
                <a:gd name="T58" fmla="*/ 130 w 434"/>
                <a:gd name="T59" fmla="*/ 537 h 589"/>
                <a:gd name="T60" fmla="*/ 130 w 434"/>
                <a:gd name="T61" fmla="*/ 537 h 589"/>
                <a:gd name="T62" fmla="*/ 191 w 434"/>
                <a:gd name="T63" fmla="*/ 589 h 589"/>
                <a:gd name="T64" fmla="*/ 261 w 434"/>
                <a:gd name="T65" fmla="*/ 589 h 589"/>
                <a:gd name="T66" fmla="*/ 322 w 434"/>
                <a:gd name="T67" fmla="*/ 537 h 589"/>
                <a:gd name="T68" fmla="*/ 434 w 434"/>
                <a:gd name="T69" fmla="*/ 374 h 589"/>
                <a:gd name="T70" fmla="*/ 369 w 434"/>
                <a:gd name="T71" fmla="*/ 244 h 589"/>
                <a:gd name="T72" fmla="*/ 410 w 434"/>
                <a:gd name="T73" fmla="*/ 184 h 589"/>
                <a:gd name="T74" fmla="*/ 399 w 434"/>
                <a:gd name="T75" fmla="*/ 102 h 589"/>
                <a:gd name="T76" fmla="*/ 322 w 434"/>
                <a:gd name="T77" fmla="*/ 58 h 589"/>
                <a:gd name="T78" fmla="*/ 261 w 434"/>
                <a:gd name="T79" fmla="*/ 0 h 589"/>
                <a:gd name="T80" fmla="*/ 191 w 434"/>
                <a:gd name="T81" fmla="*/ 0 h 589"/>
                <a:gd name="T82" fmla="*/ 130 w 434"/>
                <a:gd name="T83" fmla="*/ 56 h 589"/>
                <a:gd name="T84" fmla="*/ 22 w 434"/>
                <a:gd name="T85" fmla="*/ 217 h 589"/>
                <a:gd name="T86" fmla="*/ 70 w 434"/>
                <a:gd name="T87" fmla="*/ 335 h 589"/>
                <a:gd name="T88" fmla="*/ 21 w 434"/>
                <a:gd name="T89" fmla="*/ 392 h 589"/>
                <a:gd name="T90" fmla="*/ 28 w 434"/>
                <a:gd name="T91" fmla="*/ 477 h 589"/>
                <a:gd name="T92" fmla="*/ 130 w 434"/>
                <a:gd name="T93" fmla="*/ 537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4" h="589">
                  <a:moveTo>
                    <a:pt x="118" y="373"/>
                  </a:moveTo>
                  <a:lnTo>
                    <a:pt x="118" y="373"/>
                  </a:lnTo>
                  <a:cubicBezTo>
                    <a:pt x="156" y="404"/>
                    <a:pt x="192" y="418"/>
                    <a:pt x="233" y="418"/>
                  </a:cubicBezTo>
                  <a:cubicBezTo>
                    <a:pt x="255" y="418"/>
                    <a:pt x="273" y="412"/>
                    <a:pt x="282" y="401"/>
                  </a:cubicBezTo>
                  <a:cubicBezTo>
                    <a:pt x="290" y="391"/>
                    <a:pt x="291" y="377"/>
                    <a:pt x="284" y="366"/>
                  </a:cubicBezTo>
                  <a:cubicBezTo>
                    <a:pt x="278" y="356"/>
                    <a:pt x="268" y="348"/>
                    <a:pt x="211" y="333"/>
                  </a:cubicBezTo>
                  <a:cubicBezTo>
                    <a:pt x="126" y="312"/>
                    <a:pt x="83" y="288"/>
                    <a:pt x="83" y="217"/>
                  </a:cubicBezTo>
                  <a:cubicBezTo>
                    <a:pt x="83" y="163"/>
                    <a:pt x="115" y="123"/>
                    <a:pt x="168" y="108"/>
                  </a:cubicBezTo>
                  <a:cubicBezTo>
                    <a:pt x="181" y="104"/>
                    <a:pt x="191" y="92"/>
                    <a:pt x="191" y="78"/>
                  </a:cubicBezTo>
                  <a:lnTo>
                    <a:pt x="191" y="61"/>
                  </a:lnTo>
                  <a:lnTo>
                    <a:pt x="261" y="61"/>
                  </a:lnTo>
                  <a:lnTo>
                    <a:pt x="261" y="80"/>
                  </a:lnTo>
                  <a:cubicBezTo>
                    <a:pt x="261" y="94"/>
                    <a:pt x="270" y="106"/>
                    <a:pt x="283" y="110"/>
                  </a:cubicBezTo>
                  <a:cubicBezTo>
                    <a:pt x="312" y="118"/>
                    <a:pt x="338" y="132"/>
                    <a:pt x="360" y="149"/>
                  </a:cubicBezTo>
                  <a:lnTo>
                    <a:pt x="316" y="212"/>
                  </a:lnTo>
                  <a:cubicBezTo>
                    <a:pt x="280" y="187"/>
                    <a:pt x="247" y="175"/>
                    <a:pt x="217" y="175"/>
                  </a:cubicBezTo>
                  <a:cubicBezTo>
                    <a:pt x="198" y="175"/>
                    <a:pt x="183" y="180"/>
                    <a:pt x="174" y="190"/>
                  </a:cubicBezTo>
                  <a:cubicBezTo>
                    <a:pt x="164" y="202"/>
                    <a:pt x="164" y="221"/>
                    <a:pt x="176" y="232"/>
                  </a:cubicBezTo>
                  <a:cubicBezTo>
                    <a:pt x="183" y="239"/>
                    <a:pt x="193" y="245"/>
                    <a:pt x="249" y="259"/>
                  </a:cubicBezTo>
                  <a:cubicBezTo>
                    <a:pt x="339" y="283"/>
                    <a:pt x="372" y="314"/>
                    <a:pt x="372" y="374"/>
                  </a:cubicBezTo>
                  <a:cubicBezTo>
                    <a:pt x="372" y="429"/>
                    <a:pt x="340" y="470"/>
                    <a:pt x="284" y="485"/>
                  </a:cubicBezTo>
                  <a:cubicBezTo>
                    <a:pt x="270" y="489"/>
                    <a:pt x="261" y="501"/>
                    <a:pt x="261" y="515"/>
                  </a:cubicBezTo>
                  <a:lnTo>
                    <a:pt x="261" y="528"/>
                  </a:lnTo>
                  <a:lnTo>
                    <a:pt x="191" y="528"/>
                  </a:lnTo>
                  <a:lnTo>
                    <a:pt x="191" y="514"/>
                  </a:lnTo>
                  <a:cubicBezTo>
                    <a:pt x="191" y="500"/>
                    <a:pt x="181" y="488"/>
                    <a:pt x="168" y="484"/>
                  </a:cubicBezTo>
                  <a:cubicBezTo>
                    <a:pt x="130" y="474"/>
                    <a:pt x="97" y="457"/>
                    <a:pt x="68" y="432"/>
                  </a:cubicBezTo>
                  <a:lnTo>
                    <a:pt x="118" y="373"/>
                  </a:lnTo>
                  <a:lnTo>
                    <a:pt x="118" y="373"/>
                  </a:lnTo>
                  <a:close/>
                  <a:moveTo>
                    <a:pt x="130" y="537"/>
                  </a:moveTo>
                  <a:lnTo>
                    <a:pt x="130" y="537"/>
                  </a:lnTo>
                  <a:cubicBezTo>
                    <a:pt x="134" y="566"/>
                    <a:pt x="160" y="589"/>
                    <a:pt x="191" y="589"/>
                  </a:cubicBezTo>
                  <a:lnTo>
                    <a:pt x="261" y="589"/>
                  </a:lnTo>
                  <a:cubicBezTo>
                    <a:pt x="292" y="589"/>
                    <a:pt x="317" y="566"/>
                    <a:pt x="322" y="537"/>
                  </a:cubicBezTo>
                  <a:cubicBezTo>
                    <a:pt x="391" y="509"/>
                    <a:pt x="434" y="449"/>
                    <a:pt x="434" y="374"/>
                  </a:cubicBezTo>
                  <a:cubicBezTo>
                    <a:pt x="434" y="310"/>
                    <a:pt x="405" y="270"/>
                    <a:pt x="369" y="244"/>
                  </a:cubicBezTo>
                  <a:lnTo>
                    <a:pt x="410" y="184"/>
                  </a:lnTo>
                  <a:cubicBezTo>
                    <a:pt x="429" y="158"/>
                    <a:pt x="424" y="123"/>
                    <a:pt x="399" y="102"/>
                  </a:cubicBezTo>
                  <a:cubicBezTo>
                    <a:pt x="376" y="84"/>
                    <a:pt x="350" y="69"/>
                    <a:pt x="322" y="58"/>
                  </a:cubicBezTo>
                  <a:cubicBezTo>
                    <a:pt x="321" y="26"/>
                    <a:pt x="294" y="0"/>
                    <a:pt x="261" y="0"/>
                  </a:cubicBezTo>
                  <a:lnTo>
                    <a:pt x="191" y="0"/>
                  </a:lnTo>
                  <a:cubicBezTo>
                    <a:pt x="159" y="0"/>
                    <a:pt x="132" y="25"/>
                    <a:pt x="130" y="56"/>
                  </a:cubicBezTo>
                  <a:cubicBezTo>
                    <a:pt x="63" y="84"/>
                    <a:pt x="22" y="143"/>
                    <a:pt x="22" y="217"/>
                  </a:cubicBezTo>
                  <a:cubicBezTo>
                    <a:pt x="22" y="272"/>
                    <a:pt x="42" y="309"/>
                    <a:pt x="70" y="335"/>
                  </a:cubicBezTo>
                  <a:lnTo>
                    <a:pt x="21" y="392"/>
                  </a:lnTo>
                  <a:cubicBezTo>
                    <a:pt x="0" y="418"/>
                    <a:pt x="3" y="455"/>
                    <a:pt x="28" y="477"/>
                  </a:cubicBezTo>
                  <a:cubicBezTo>
                    <a:pt x="58" y="504"/>
                    <a:pt x="92" y="524"/>
                    <a:pt x="130" y="5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93" name="TextBox 192">
            <a:extLst>
              <a:ext uri="{FF2B5EF4-FFF2-40B4-BE49-F238E27FC236}">
                <a16:creationId xmlns:a16="http://schemas.microsoft.com/office/drawing/2014/main" id="{11F50094-2AE5-4819-A99E-6DC3632DEEA4}"/>
              </a:ext>
            </a:extLst>
          </p:cNvPr>
          <p:cNvSpPr txBox="1"/>
          <p:nvPr/>
        </p:nvSpPr>
        <p:spPr>
          <a:xfrm>
            <a:off x="3979108" y="296204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etirement</a:t>
            </a:r>
          </a:p>
        </p:txBody>
      </p:sp>
      <p:sp>
        <p:nvSpPr>
          <p:cNvPr id="201" name="Freeform 11">
            <a:extLst>
              <a:ext uri="{FF2B5EF4-FFF2-40B4-BE49-F238E27FC236}">
                <a16:creationId xmlns:a16="http://schemas.microsoft.com/office/drawing/2014/main" id="{5C05AC5D-CE6E-4281-BB7C-B14DEBBE11E7}"/>
              </a:ext>
            </a:extLst>
          </p:cNvPr>
          <p:cNvSpPr>
            <a:spLocks/>
          </p:cNvSpPr>
          <p:nvPr/>
        </p:nvSpPr>
        <p:spPr bwMode="auto">
          <a:xfrm>
            <a:off x="5508350" y="2712461"/>
            <a:ext cx="117772" cy="117986"/>
          </a:xfrm>
          <a:custGeom>
            <a:avLst/>
            <a:gdLst>
              <a:gd name="T0" fmla="*/ 457 w 913"/>
              <a:gd name="T1" fmla="*/ 913 h 913"/>
              <a:gd name="T2" fmla="*/ 457 w 913"/>
              <a:gd name="T3" fmla="*/ 913 h 913"/>
              <a:gd name="T4" fmla="*/ 913 w 913"/>
              <a:gd name="T5" fmla="*/ 457 h 913"/>
              <a:gd name="T6" fmla="*/ 457 w 913"/>
              <a:gd name="T7" fmla="*/ 0 h 913"/>
              <a:gd name="T8" fmla="*/ 0 w 913"/>
              <a:gd name="T9" fmla="*/ 457 h 913"/>
              <a:gd name="T10" fmla="*/ 457 w 913"/>
              <a:gd name="T11" fmla="*/ 913 h 913"/>
            </a:gdLst>
            <a:ahLst/>
            <a:cxnLst>
              <a:cxn ang="0">
                <a:pos x="T0" y="T1"/>
              </a:cxn>
              <a:cxn ang="0">
                <a:pos x="T2" y="T3"/>
              </a:cxn>
              <a:cxn ang="0">
                <a:pos x="T4" y="T5"/>
              </a:cxn>
              <a:cxn ang="0">
                <a:pos x="T6" y="T7"/>
              </a:cxn>
              <a:cxn ang="0">
                <a:pos x="T8" y="T9"/>
              </a:cxn>
              <a:cxn ang="0">
                <a:pos x="T10" y="T11"/>
              </a:cxn>
            </a:cxnLst>
            <a:rect l="0" t="0" r="r" b="b"/>
            <a:pathLst>
              <a:path w="913" h="913">
                <a:moveTo>
                  <a:pt x="457" y="913"/>
                </a:moveTo>
                <a:lnTo>
                  <a:pt x="457" y="913"/>
                </a:lnTo>
                <a:cubicBezTo>
                  <a:pt x="709" y="913"/>
                  <a:pt x="913" y="709"/>
                  <a:pt x="913" y="457"/>
                </a:cubicBezTo>
                <a:cubicBezTo>
                  <a:pt x="913" y="205"/>
                  <a:pt x="709" y="0"/>
                  <a:pt x="457" y="0"/>
                </a:cubicBezTo>
                <a:cubicBezTo>
                  <a:pt x="205" y="0"/>
                  <a:pt x="0" y="205"/>
                  <a:pt x="0" y="457"/>
                </a:cubicBezTo>
                <a:cubicBezTo>
                  <a:pt x="0" y="709"/>
                  <a:pt x="205" y="913"/>
                  <a:pt x="457" y="913"/>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04" name="Group 203">
            <a:extLst>
              <a:ext uri="{FF2B5EF4-FFF2-40B4-BE49-F238E27FC236}">
                <a16:creationId xmlns:a16="http://schemas.microsoft.com/office/drawing/2014/main" id="{58094CE3-80E0-49A9-BF84-C95001AAB182}"/>
              </a:ext>
            </a:extLst>
          </p:cNvPr>
          <p:cNvGrpSpPr/>
          <p:nvPr/>
        </p:nvGrpSpPr>
        <p:grpSpPr>
          <a:xfrm>
            <a:off x="4889245" y="2546208"/>
            <a:ext cx="362110" cy="362968"/>
            <a:chOff x="3225800" y="2090738"/>
            <a:chExt cx="2679700" cy="2686050"/>
          </a:xfrm>
          <a:solidFill>
            <a:schemeClr val="bg2"/>
          </a:solidFill>
        </p:grpSpPr>
        <p:sp>
          <p:nvSpPr>
            <p:cNvPr id="205" name="Freeform 14">
              <a:extLst>
                <a:ext uri="{FF2B5EF4-FFF2-40B4-BE49-F238E27FC236}">
                  <a16:creationId xmlns:a16="http://schemas.microsoft.com/office/drawing/2014/main" id="{367F8C7C-BB03-410C-9845-EE7A27B33BD6}"/>
                </a:ext>
              </a:extLst>
            </p:cNvPr>
            <p:cNvSpPr>
              <a:spLocks noEditPoints="1"/>
            </p:cNvSpPr>
            <p:nvPr/>
          </p:nvSpPr>
          <p:spPr bwMode="auto">
            <a:xfrm>
              <a:off x="3225800" y="2090738"/>
              <a:ext cx="2679700" cy="2686050"/>
            </a:xfrm>
            <a:custGeom>
              <a:avLst/>
              <a:gdLst>
                <a:gd name="T0" fmla="*/ 2045 w 2809"/>
                <a:gd name="T1" fmla="*/ 2162 h 2809"/>
                <a:gd name="T2" fmla="*/ 2045 w 2809"/>
                <a:gd name="T3" fmla="*/ 1324 h 2809"/>
                <a:gd name="T4" fmla="*/ 2045 w 2809"/>
                <a:gd name="T5" fmla="*/ 2162 h 2809"/>
                <a:gd name="T6" fmla="*/ 1051 w 2809"/>
                <a:gd name="T7" fmla="*/ 1340 h 2809"/>
                <a:gd name="T8" fmla="*/ 990 w 2809"/>
                <a:gd name="T9" fmla="*/ 1279 h 2809"/>
                <a:gd name="T10" fmla="*/ 1752 w 2809"/>
                <a:gd name="T11" fmla="*/ 1224 h 2809"/>
                <a:gd name="T12" fmla="*/ 1752 w 2809"/>
                <a:gd name="T13" fmla="*/ 1340 h 2809"/>
                <a:gd name="T14" fmla="*/ 1051 w 2809"/>
                <a:gd name="T15" fmla="*/ 1340 h 2809"/>
                <a:gd name="T16" fmla="*/ 1468 w 2809"/>
                <a:gd name="T17" fmla="*/ 1574 h 2809"/>
                <a:gd name="T18" fmla="*/ 990 w 2809"/>
                <a:gd name="T19" fmla="*/ 1515 h 2809"/>
                <a:gd name="T20" fmla="*/ 1468 w 2809"/>
                <a:gd name="T21" fmla="*/ 1457 h 2809"/>
                <a:gd name="T22" fmla="*/ 1468 w 2809"/>
                <a:gd name="T23" fmla="*/ 1574 h 2809"/>
                <a:gd name="T24" fmla="*/ 1521 w 2809"/>
                <a:gd name="T25" fmla="*/ 1991 h 2809"/>
                <a:gd name="T26" fmla="*/ 1467 w 2809"/>
                <a:gd name="T27" fmla="*/ 2049 h 2809"/>
                <a:gd name="T28" fmla="*/ 989 w 2809"/>
                <a:gd name="T29" fmla="*/ 1991 h 2809"/>
                <a:gd name="T30" fmla="*/ 1467 w 2809"/>
                <a:gd name="T31" fmla="*/ 1932 h 2809"/>
                <a:gd name="T32" fmla="*/ 1521 w 2809"/>
                <a:gd name="T33" fmla="*/ 1991 h 2809"/>
                <a:gd name="T34" fmla="*/ 1467 w 2809"/>
                <a:gd name="T35" fmla="*/ 1804 h 2809"/>
                <a:gd name="T36" fmla="*/ 989 w 2809"/>
                <a:gd name="T37" fmla="*/ 1746 h 2809"/>
                <a:gd name="T38" fmla="*/ 1467 w 2809"/>
                <a:gd name="T39" fmla="*/ 1688 h 2809"/>
                <a:gd name="T40" fmla="*/ 1467 w 2809"/>
                <a:gd name="T41" fmla="*/ 1804 h 2809"/>
                <a:gd name="T42" fmla="*/ 2051 w 2809"/>
                <a:gd name="T43" fmla="*/ 2225 h 2809"/>
                <a:gd name="T44" fmla="*/ 1991 w 2809"/>
                <a:gd name="T45" fmla="*/ 2285 h 2809"/>
                <a:gd name="T46" fmla="*/ 757 w 2809"/>
                <a:gd name="T47" fmla="*/ 2225 h 2809"/>
                <a:gd name="T48" fmla="*/ 818 w 2809"/>
                <a:gd name="T49" fmla="*/ 524 h 2809"/>
                <a:gd name="T50" fmla="*/ 1622 w 2809"/>
                <a:gd name="T51" fmla="*/ 541 h 2809"/>
                <a:gd name="T52" fmla="*/ 2046 w 2809"/>
                <a:gd name="T53" fmla="*/ 970 h 2809"/>
                <a:gd name="T54" fmla="*/ 2051 w 2809"/>
                <a:gd name="T55" fmla="*/ 1287 h 2809"/>
                <a:gd name="T56" fmla="*/ 1936 w 2809"/>
                <a:gd name="T57" fmla="*/ 1300 h 2809"/>
                <a:gd name="T58" fmla="*/ 1583 w 2809"/>
                <a:gd name="T59" fmla="*/ 1053 h 2809"/>
                <a:gd name="T60" fmla="*/ 1523 w 2809"/>
                <a:gd name="T61" fmla="*/ 640 h 2809"/>
                <a:gd name="T62" fmla="*/ 878 w 2809"/>
                <a:gd name="T63" fmla="*/ 2163 h 2809"/>
                <a:gd name="T64" fmla="*/ 2045 w 2809"/>
                <a:gd name="T65" fmla="*/ 2199 h 2809"/>
                <a:gd name="T66" fmla="*/ 2051 w 2809"/>
                <a:gd name="T67" fmla="*/ 2225 h 2809"/>
                <a:gd name="T68" fmla="*/ 1404 w 2809"/>
                <a:gd name="T69" fmla="*/ 0 h 2809"/>
                <a:gd name="T70" fmla="*/ 0 w 2809"/>
                <a:gd name="T71" fmla="*/ 1405 h 2809"/>
                <a:gd name="T72" fmla="*/ 2809 w 2809"/>
                <a:gd name="T73" fmla="*/ 1405 h 2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09" h="2809">
                  <a:moveTo>
                    <a:pt x="2045" y="2162"/>
                  </a:moveTo>
                  <a:lnTo>
                    <a:pt x="2045" y="2162"/>
                  </a:lnTo>
                  <a:cubicBezTo>
                    <a:pt x="1813" y="2162"/>
                    <a:pt x="1626" y="1973"/>
                    <a:pt x="1626" y="1743"/>
                  </a:cubicBezTo>
                  <a:cubicBezTo>
                    <a:pt x="1626" y="1511"/>
                    <a:pt x="1813" y="1324"/>
                    <a:pt x="2045" y="1324"/>
                  </a:cubicBezTo>
                  <a:cubicBezTo>
                    <a:pt x="2276" y="1324"/>
                    <a:pt x="2464" y="1511"/>
                    <a:pt x="2464" y="1743"/>
                  </a:cubicBezTo>
                  <a:cubicBezTo>
                    <a:pt x="2464" y="1973"/>
                    <a:pt x="2276" y="2162"/>
                    <a:pt x="2045" y="2162"/>
                  </a:cubicBezTo>
                  <a:lnTo>
                    <a:pt x="2045" y="2162"/>
                  </a:lnTo>
                  <a:close/>
                  <a:moveTo>
                    <a:pt x="1051" y="1340"/>
                  </a:moveTo>
                  <a:lnTo>
                    <a:pt x="1051" y="1340"/>
                  </a:lnTo>
                  <a:cubicBezTo>
                    <a:pt x="1018" y="1340"/>
                    <a:pt x="990" y="1312"/>
                    <a:pt x="990" y="1279"/>
                  </a:cubicBezTo>
                  <a:cubicBezTo>
                    <a:pt x="990" y="1246"/>
                    <a:pt x="1018" y="1224"/>
                    <a:pt x="1051" y="1224"/>
                  </a:cubicBezTo>
                  <a:lnTo>
                    <a:pt x="1752" y="1224"/>
                  </a:lnTo>
                  <a:cubicBezTo>
                    <a:pt x="1785" y="1224"/>
                    <a:pt x="1807" y="1246"/>
                    <a:pt x="1807" y="1279"/>
                  </a:cubicBezTo>
                  <a:cubicBezTo>
                    <a:pt x="1807" y="1312"/>
                    <a:pt x="1785" y="1340"/>
                    <a:pt x="1752" y="1340"/>
                  </a:cubicBezTo>
                  <a:lnTo>
                    <a:pt x="1051" y="1340"/>
                  </a:lnTo>
                  <a:lnTo>
                    <a:pt x="1051" y="1340"/>
                  </a:lnTo>
                  <a:close/>
                  <a:moveTo>
                    <a:pt x="1468" y="1574"/>
                  </a:moveTo>
                  <a:lnTo>
                    <a:pt x="1468" y="1574"/>
                  </a:lnTo>
                  <a:lnTo>
                    <a:pt x="1051" y="1574"/>
                  </a:lnTo>
                  <a:cubicBezTo>
                    <a:pt x="1018" y="1574"/>
                    <a:pt x="990" y="1547"/>
                    <a:pt x="990" y="1515"/>
                  </a:cubicBezTo>
                  <a:cubicBezTo>
                    <a:pt x="990" y="1483"/>
                    <a:pt x="1018" y="1457"/>
                    <a:pt x="1051" y="1457"/>
                  </a:cubicBezTo>
                  <a:lnTo>
                    <a:pt x="1468" y="1457"/>
                  </a:lnTo>
                  <a:cubicBezTo>
                    <a:pt x="1501" y="1457"/>
                    <a:pt x="1523" y="1483"/>
                    <a:pt x="1523" y="1515"/>
                  </a:cubicBezTo>
                  <a:cubicBezTo>
                    <a:pt x="1523" y="1547"/>
                    <a:pt x="1501" y="1574"/>
                    <a:pt x="1468" y="1574"/>
                  </a:cubicBezTo>
                  <a:lnTo>
                    <a:pt x="1468" y="1574"/>
                  </a:lnTo>
                  <a:close/>
                  <a:moveTo>
                    <a:pt x="1521" y="1991"/>
                  </a:moveTo>
                  <a:lnTo>
                    <a:pt x="1521" y="1991"/>
                  </a:lnTo>
                  <a:cubicBezTo>
                    <a:pt x="1521" y="2023"/>
                    <a:pt x="1500" y="2049"/>
                    <a:pt x="1467" y="2049"/>
                  </a:cubicBezTo>
                  <a:lnTo>
                    <a:pt x="1049" y="2049"/>
                  </a:lnTo>
                  <a:cubicBezTo>
                    <a:pt x="1017" y="2049"/>
                    <a:pt x="989" y="2023"/>
                    <a:pt x="989" y="1991"/>
                  </a:cubicBezTo>
                  <a:cubicBezTo>
                    <a:pt x="989" y="1959"/>
                    <a:pt x="1017" y="1932"/>
                    <a:pt x="1049" y="1932"/>
                  </a:cubicBezTo>
                  <a:lnTo>
                    <a:pt x="1467" y="1932"/>
                  </a:lnTo>
                  <a:cubicBezTo>
                    <a:pt x="1500" y="1932"/>
                    <a:pt x="1521" y="1959"/>
                    <a:pt x="1521" y="1991"/>
                  </a:cubicBezTo>
                  <a:lnTo>
                    <a:pt x="1521" y="1991"/>
                  </a:lnTo>
                  <a:close/>
                  <a:moveTo>
                    <a:pt x="1467" y="1804"/>
                  </a:moveTo>
                  <a:lnTo>
                    <a:pt x="1467" y="1804"/>
                  </a:lnTo>
                  <a:lnTo>
                    <a:pt x="1049" y="1804"/>
                  </a:lnTo>
                  <a:cubicBezTo>
                    <a:pt x="1017" y="1804"/>
                    <a:pt x="989" y="1778"/>
                    <a:pt x="989" y="1746"/>
                  </a:cubicBezTo>
                  <a:cubicBezTo>
                    <a:pt x="989" y="1714"/>
                    <a:pt x="1017" y="1688"/>
                    <a:pt x="1049" y="1688"/>
                  </a:cubicBezTo>
                  <a:lnTo>
                    <a:pt x="1467" y="1688"/>
                  </a:lnTo>
                  <a:cubicBezTo>
                    <a:pt x="1500" y="1688"/>
                    <a:pt x="1521" y="1714"/>
                    <a:pt x="1521" y="1746"/>
                  </a:cubicBezTo>
                  <a:cubicBezTo>
                    <a:pt x="1521" y="1778"/>
                    <a:pt x="1500" y="1804"/>
                    <a:pt x="1467" y="1804"/>
                  </a:cubicBezTo>
                  <a:lnTo>
                    <a:pt x="1467" y="1804"/>
                  </a:lnTo>
                  <a:close/>
                  <a:moveTo>
                    <a:pt x="2051" y="2225"/>
                  </a:moveTo>
                  <a:lnTo>
                    <a:pt x="2051" y="2225"/>
                  </a:lnTo>
                  <a:cubicBezTo>
                    <a:pt x="2051" y="2258"/>
                    <a:pt x="2024" y="2285"/>
                    <a:pt x="1991" y="2285"/>
                  </a:cubicBezTo>
                  <a:lnTo>
                    <a:pt x="818" y="2285"/>
                  </a:lnTo>
                  <a:cubicBezTo>
                    <a:pt x="785" y="2285"/>
                    <a:pt x="757" y="2258"/>
                    <a:pt x="757" y="2225"/>
                  </a:cubicBezTo>
                  <a:lnTo>
                    <a:pt x="757" y="580"/>
                  </a:lnTo>
                  <a:cubicBezTo>
                    <a:pt x="757" y="547"/>
                    <a:pt x="785" y="524"/>
                    <a:pt x="818" y="524"/>
                  </a:cubicBezTo>
                  <a:lnTo>
                    <a:pt x="1605" y="524"/>
                  </a:lnTo>
                  <a:cubicBezTo>
                    <a:pt x="1611" y="530"/>
                    <a:pt x="1616" y="535"/>
                    <a:pt x="1622" y="541"/>
                  </a:cubicBezTo>
                  <a:lnTo>
                    <a:pt x="2035" y="948"/>
                  </a:lnTo>
                  <a:cubicBezTo>
                    <a:pt x="2040" y="954"/>
                    <a:pt x="2046" y="965"/>
                    <a:pt x="2046" y="970"/>
                  </a:cubicBezTo>
                  <a:cubicBezTo>
                    <a:pt x="2051" y="975"/>
                    <a:pt x="2051" y="987"/>
                    <a:pt x="2051" y="992"/>
                  </a:cubicBezTo>
                  <a:lnTo>
                    <a:pt x="2051" y="1287"/>
                  </a:lnTo>
                  <a:cubicBezTo>
                    <a:pt x="2049" y="1287"/>
                    <a:pt x="2047" y="1286"/>
                    <a:pt x="2045" y="1286"/>
                  </a:cubicBezTo>
                  <a:cubicBezTo>
                    <a:pt x="2007" y="1286"/>
                    <a:pt x="1971" y="1291"/>
                    <a:pt x="1936" y="1300"/>
                  </a:cubicBezTo>
                  <a:lnTo>
                    <a:pt x="1936" y="1053"/>
                  </a:lnTo>
                  <a:lnTo>
                    <a:pt x="1583" y="1053"/>
                  </a:lnTo>
                  <a:cubicBezTo>
                    <a:pt x="1550" y="1053"/>
                    <a:pt x="1523" y="1025"/>
                    <a:pt x="1523" y="992"/>
                  </a:cubicBezTo>
                  <a:lnTo>
                    <a:pt x="1523" y="640"/>
                  </a:lnTo>
                  <a:lnTo>
                    <a:pt x="878" y="640"/>
                  </a:lnTo>
                  <a:lnTo>
                    <a:pt x="878" y="2163"/>
                  </a:lnTo>
                  <a:lnTo>
                    <a:pt x="1867" y="2163"/>
                  </a:lnTo>
                  <a:cubicBezTo>
                    <a:pt x="1922" y="2187"/>
                    <a:pt x="1982" y="2199"/>
                    <a:pt x="2045" y="2199"/>
                  </a:cubicBezTo>
                  <a:cubicBezTo>
                    <a:pt x="2047" y="2199"/>
                    <a:pt x="2049" y="2199"/>
                    <a:pt x="2051" y="2199"/>
                  </a:cubicBezTo>
                  <a:lnTo>
                    <a:pt x="2051" y="2225"/>
                  </a:lnTo>
                  <a:lnTo>
                    <a:pt x="2051" y="2225"/>
                  </a:lnTo>
                  <a:close/>
                  <a:moveTo>
                    <a:pt x="1404" y="0"/>
                  </a:moveTo>
                  <a:lnTo>
                    <a:pt x="1404" y="0"/>
                  </a:lnTo>
                  <a:cubicBezTo>
                    <a:pt x="625" y="0"/>
                    <a:pt x="0" y="625"/>
                    <a:pt x="0" y="1405"/>
                  </a:cubicBezTo>
                  <a:cubicBezTo>
                    <a:pt x="0" y="2178"/>
                    <a:pt x="625" y="2809"/>
                    <a:pt x="1404" y="2809"/>
                  </a:cubicBezTo>
                  <a:cubicBezTo>
                    <a:pt x="2178" y="2809"/>
                    <a:pt x="2809" y="2178"/>
                    <a:pt x="2809" y="1405"/>
                  </a:cubicBezTo>
                  <a:cubicBezTo>
                    <a:pt x="2809" y="625"/>
                    <a:pt x="2178" y="0"/>
                    <a:pt x="140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5">
              <a:extLst>
                <a:ext uri="{FF2B5EF4-FFF2-40B4-BE49-F238E27FC236}">
                  <a16:creationId xmlns:a16="http://schemas.microsoft.com/office/drawing/2014/main" id="{92400F44-68A2-4365-BD95-5AB34E358D80}"/>
                </a:ext>
              </a:extLst>
            </p:cNvPr>
            <p:cNvSpPr>
              <a:spLocks/>
            </p:cNvSpPr>
            <p:nvPr/>
          </p:nvSpPr>
          <p:spPr bwMode="auto">
            <a:xfrm>
              <a:off x="5191125" y="3773488"/>
              <a:ext cx="68263" cy="163513"/>
            </a:xfrm>
            <a:custGeom>
              <a:avLst/>
              <a:gdLst>
                <a:gd name="T0" fmla="*/ 0 w 71"/>
                <a:gd name="T1" fmla="*/ 0 h 171"/>
                <a:gd name="T2" fmla="*/ 0 w 71"/>
                <a:gd name="T3" fmla="*/ 0 h 171"/>
                <a:gd name="T4" fmla="*/ 0 w 71"/>
                <a:gd name="T5" fmla="*/ 171 h 171"/>
                <a:gd name="T6" fmla="*/ 71 w 71"/>
                <a:gd name="T7" fmla="*/ 86 h 171"/>
                <a:gd name="T8" fmla="*/ 0 w 71"/>
                <a:gd name="T9" fmla="*/ 0 h 171"/>
              </a:gdLst>
              <a:ahLst/>
              <a:cxnLst>
                <a:cxn ang="0">
                  <a:pos x="T0" y="T1"/>
                </a:cxn>
                <a:cxn ang="0">
                  <a:pos x="T2" y="T3"/>
                </a:cxn>
                <a:cxn ang="0">
                  <a:pos x="T4" y="T5"/>
                </a:cxn>
                <a:cxn ang="0">
                  <a:pos x="T6" y="T7"/>
                </a:cxn>
                <a:cxn ang="0">
                  <a:pos x="T8" y="T9"/>
                </a:cxn>
              </a:cxnLst>
              <a:rect l="0" t="0" r="r" b="b"/>
              <a:pathLst>
                <a:path w="71" h="171">
                  <a:moveTo>
                    <a:pt x="0" y="0"/>
                  </a:moveTo>
                  <a:lnTo>
                    <a:pt x="0" y="0"/>
                  </a:lnTo>
                  <a:lnTo>
                    <a:pt x="0" y="171"/>
                  </a:lnTo>
                  <a:cubicBezTo>
                    <a:pt x="41" y="163"/>
                    <a:pt x="71" y="127"/>
                    <a:pt x="71" y="86"/>
                  </a:cubicBezTo>
                  <a:cubicBezTo>
                    <a:pt x="71" y="44"/>
                    <a:pt x="41" y="8"/>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6">
              <a:extLst>
                <a:ext uri="{FF2B5EF4-FFF2-40B4-BE49-F238E27FC236}">
                  <a16:creationId xmlns:a16="http://schemas.microsoft.com/office/drawing/2014/main" id="{5F91AD2A-D7BE-44CD-96BA-5EC5FF184A3E}"/>
                </a:ext>
              </a:extLst>
            </p:cNvPr>
            <p:cNvSpPr>
              <a:spLocks/>
            </p:cNvSpPr>
            <p:nvPr/>
          </p:nvSpPr>
          <p:spPr bwMode="auto">
            <a:xfrm>
              <a:off x="5091113" y="3575050"/>
              <a:ext cx="66675" cy="163513"/>
            </a:xfrm>
            <a:custGeom>
              <a:avLst/>
              <a:gdLst>
                <a:gd name="T0" fmla="*/ 0 w 70"/>
                <a:gd name="T1" fmla="*/ 86 h 171"/>
                <a:gd name="T2" fmla="*/ 0 w 70"/>
                <a:gd name="T3" fmla="*/ 86 h 171"/>
                <a:gd name="T4" fmla="*/ 70 w 70"/>
                <a:gd name="T5" fmla="*/ 171 h 171"/>
                <a:gd name="T6" fmla="*/ 70 w 70"/>
                <a:gd name="T7" fmla="*/ 0 h 171"/>
                <a:gd name="T8" fmla="*/ 0 w 70"/>
                <a:gd name="T9" fmla="*/ 86 h 171"/>
              </a:gdLst>
              <a:ahLst/>
              <a:cxnLst>
                <a:cxn ang="0">
                  <a:pos x="T0" y="T1"/>
                </a:cxn>
                <a:cxn ang="0">
                  <a:pos x="T2" y="T3"/>
                </a:cxn>
                <a:cxn ang="0">
                  <a:pos x="T4" y="T5"/>
                </a:cxn>
                <a:cxn ang="0">
                  <a:pos x="T6" y="T7"/>
                </a:cxn>
                <a:cxn ang="0">
                  <a:pos x="T8" y="T9"/>
                </a:cxn>
              </a:cxnLst>
              <a:rect l="0" t="0" r="r" b="b"/>
              <a:pathLst>
                <a:path w="70" h="171">
                  <a:moveTo>
                    <a:pt x="0" y="86"/>
                  </a:moveTo>
                  <a:lnTo>
                    <a:pt x="0" y="86"/>
                  </a:lnTo>
                  <a:cubicBezTo>
                    <a:pt x="0" y="127"/>
                    <a:pt x="31" y="163"/>
                    <a:pt x="70" y="171"/>
                  </a:cubicBezTo>
                  <a:lnTo>
                    <a:pt x="70" y="0"/>
                  </a:lnTo>
                  <a:cubicBezTo>
                    <a:pt x="31" y="8"/>
                    <a:pt x="0" y="44"/>
                    <a:pt x="0" y="8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17">
              <a:extLst>
                <a:ext uri="{FF2B5EF4-FFF2-40B4-BE49-F238E27FC236}">
                  <a16:creationId xmlns:a16="http://schemas.microsoft.com/office/drawing/2014/main" id="{C3D45373-D6AB-46C9-B9C2-6D9DE07D7136}"/>
                </a:ext>
              </a:extLst>
            </p:cNvPr>
            <p:cNvSpPr>
              <a:spLocks noEditPoints="1"/>
            </p:cNvSpPr>
            <p:nvPr/>
          </p:nvSpPr>
          <p:spPr bwMode="auto">
            <a:xfrm>
              <a:off x="4810125" y="3390900"/>
              <a:ext cx="731838" cy="733425"/>
            </a:xfrm>
            <a:custGeom>
              <a:avLst/>
              <a:gdLst>
                <a:gd name="T0" fmla="*/ 399 w 767"/>
                <a:gd name="T1" fmla="*/ 606 h 767"/>
                <a:gd name="T2" fmla="*/ 399 w 767"/>
                <a:gd name="T3" fmla="*/ 606 h 767"/>
                <a:gd name="T4" fmla="*/ 399 w 767"/>
                <a:gd name="T5" fmla="*/ 644 h 767"/>
                <a:gd name="T6" fmla="*/ 383 w 767"/>
                <a:gd name="T7" fmla="*/ 660 h 767"/>
                <a:gd name="T8" fmla="*/ 365 w 767"/>
                <a:gd name="T9" fmla="*/ 644 h 767"/>
                <a:gd name="T10" fmla="*/ 365 w 767"/>
                <a:gd name="T11" fmla="*/ 606 h 767"/>
                <a:gd name="T12" fmla="*/ 267 w 767"/>
                <a:gd name="T13" fmla="*/ 528 h 767"/>
                <a:gd name="T14" fmla="*/ 279 w 767"/>
                <a:gd name="T15" fmla="*/ 505 h 767"/>
                <a:gd name="T16" fmla="*/ 300 w 767"/>
                <a:gd name="T17" fmla="*/ 515 h 767"/>
                <a:gd name="T18" fmla="*/ 365 w 767"/>
                <a:gd name="T19" fmla="*/ 572 h 767"/>
                <a:gd name="T20" fmla="*/ 365 w 767"/>
                <a:gd name="T21" fmla="*/ 398 h 767"/>
                <a:gd name="T22" fmla="*/ 261 w 767"/>
                <a:gd name="T23" fmla="*/ 278 h 767"/>
                <a:gd name="T24" fmla="*/ 365 w 767"/>
                <a:gd name="T25" fmla="*/ 157 h 767"/>
                <a:gd name="T26" fmla="*/ 365 w 767"/>
                <a:gd name="T27" fmla="*/ 138 h 767"/>
                <a:gd name="T28" fmla="*/ 383 w 767"/>
                <a:gd name="T29" fmla="*/ 122 h 767"/>
                <a:gd name="T30" fmla="*/ 399 w 767"/>
                <a:gd name="T31" fmla="*/ 138 h 767"/>
                <a:gd name="T32" fmla="*/ 399 w 767"/>
                <a:gd name="T33" fmla="*/ 157 h 767"/>
                <a:gd name="T34" fmla="*/ 488 w 767"/>
                <a:gd name="T35" fmla="*/ 216 h 767"/>
                <a:gd name="T36" fmla="*/ 481 w 767"/>
                <a:gd name="T37" fmla="*/ 241 h 767"/>
                <a:gd name="T38" fmla="*/ 458 w 767"/>
                <a:gd name="T39" fmla="*/ 234 h 767"/>
                <a:gd name="T40" fmla="*/ 399 w 767"/>
                <a:gd name="T41" fmla="*/ 193 h 767"/>
                <a:gd name="T42" fmla="*/ 399 w 767"/>
                <a:gd name="T43" fmla="*/ 366 h 767"/>
                <a:gd name="T44" fmla="*/ 504 w 767"/>
                <a:gd name="T45" fmla="*/ 487 h 767"/>
                <a:gd name="T46" fmla="*/ 399 w 767"/>
                <a:gd name="T47" fmla="*/ 606 h 767"/>
                <a:gd name="T48" fmla="*/ 399 w 767"/>
                <a:gd name="T49" fmla="*/ 606 h 767"/>
                <a:gd name="T50" fmla="*/ 384 w 767"/>
                <a:gd name="T51" fmla="*/ 0 h 767"/>
                <a:gd name="T52" fmla="*/ 384 w 767"/>
                <a:gd name="T53" fmla="*/ 0 h 767"/>
                <a:gd name="T54" fmla="*/ 0 w 767"/>
                <a:gd name="T55" fmla="*/ 384 h 767"/>
                <a:gd name="T56" fmla="*/ 384 w 767"/>
                <a:gd name="T57" fmla="*/ 767 h 767"/>
                <a:gd name="T58" fmla="*/ 767 w 767"/>
                <a:gd name="T59" fmla="*/ 384 h 767"/>
                <a:gd name="T60" fmla="*/ 384 w 767"/>
                <a:gd name="T61" fmla="*/ 0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7" h="767">
                  <a:moveTo>
                    <a:pt x="399" y="606"/>
                  </a:moveTo>
                  <a:lnTo>
                    <a:pt x="399" y="606"/>
                  </a:lnTo>
                  <a:lnTo>
                    <a:pt x="399" y="644"/>
                  </a:lnTo>
                  <a:cubicBezTo>
                    <a:pt x="399" y="654"/>
                    <a:pt x="393" y="660"/>
                    <a:pt x="383" y="660"/>
                  </a:cubicBezTo>
                  <a:cubicBezTo>
                    <a:pt x="373" y="660"/>
                    <a:pt x="365" y="654"/>
                    <a:pt x="365" y="644"/>
                  </a:cubicBezTo>
                  <a:lnTo>
                    <a:pt x="365" y="606"/>
                  </a:lnTo>
                  <a:cubicBezTo>
                    <a:pt x="321" y="601"/>
                    <a:pt x="283" y="570"/>
                    <a:pt x="267" y="528"/>
                  </a:cubicBezTo>
                  <a:cubicBezTo>
                    <a:pt x="264" y="518"/>
                    <a:pt x="269" y="508"/>
                    <a:pt x="279" y="505"/>
                  </a:cubicBezTo>
                  <a:cubicBezTo>
                    <a:pt x="287" y="502"/>
                    <a:pt x="297" y="507"/>
                    <a:pt x="300" y="515"/>
                  </a:cubicBezTo>
                  <a:cubicBezTo>
                    <a:pt x="311" y="544"/>
                    <a:pt x="336" y="566"/>
                    <a:pt x="365" y="572"/>
                  </a:cubicBezTo>
                  <a:lnTo>
                    <a:pt x="365" y="398"/>
                  </a:lnTo>
                  <a:cubicBezTo>
                    <a:pt x="306" y="389"/>
                    <a:pt x="261" y="339"/>
                    <a:pt x="261" y="278"/>
                  </a:cubicBezTo>
                  <a:cubicBezTo>
                    <a:pt x="261" y="216"/>
                    <a:pt x="306" y="166"/>
                    <a:pt x="365" y="157"/>
                  </a:cubicBezTo>
                  <a:lnTo>
                    <a:pt x="365" y="138"/>
                  </a:lnTo>
                  <a:cubicBezTo>
                    <a:pt x="365" y="128"/>
                    <a:pt x="373" y="122"/>
                    <a:pt x="383" y="122"/>
                  </a:cubicBezTo>
                  <a:cubicBezTo>
                    <a:pt x="393" y="122"/>
                    <a:pt x="399" y="128"/>
                    <a:pt x="399" y="138"/>
                  </a:cubicBezTo>
                  <a:lnTo>
                    <a:pt x="399" y="157"/>
                  </a:lnTo>
                  <a:cubicBezTo>
                    <a:pt x="437" y="162"/>
                    <a:pt x="470" y="184"/>
                    <a:pt x="488" y="216"/>
                  </a:cubicBezTo>
                  <a:cubicBezTo>
                    <a:pt x="493" y="224"/>
                    <a:pt x="491" y="236"/>
                    <a:pt x="481" y="241"/>
                  </a:cubicBezTo>
                  <a:cubicBezTo>
                    <a:pt x="473" y="245"/>
                    <a:pt x="463" y="242"/>
                    <a:pt x="458" y="234"/>
                  </a:cubicBezTo>
                  <a:cubicBezTo>
                    <a:pt x="445" y="213"/>
                    <a:pt x="424" y="198"/>
                    <a:pt x="399" y="193"/>
                  </a:cubicBezTo>
                  <a:lnTo>
                    <a:pt x="399" y="366"/>
                  </a:lnTo>
                  <a:cubicBezTo>
                    <a:pt x="458" y="375"/>
                    <a:pt x="504" y="425"/>
                    <a:pt x="504" y="487"/>
                  </a:cubicBezTo>
                  <a:cubicBezTo>
                    <a:pt x="504" y="548"/>
                    <a:pt x="458" y="598"/>
                    <a:pt x="399" y="606"/>
                  </a:cubicBezTo>
                  <a:lnTo>
                    <a:pt x="399" y="606"/>
                  </a:lnTo>
                  <a:close/>
                  <a:moveTo>
                    <a:pt x="384" y="0"/>
                  </a:moveTo>
                  <a:lnTo>
                    <a:pt x="384" y="0"/>
                  </a:lnTo>
                  <a:cubicBezTo>
                    <a:pt x="171" y="0"/>
                    <a:pt x="0" y="171"/>
                    <a:pt x="0" y="384"/>
                  </a:cubicBezTo>
                  <a:cubicBezTo>
                    <a:pt x="0" y="595"/>
                    <a:pt x="171" y="767"/>
                    <a:pt x="384" y="767"/>
                  </a:cubicBezTo>
                  <a:cubicBezTo>
                    <a:pt x="595" y="767"/>
                    <a:pt x="767" y="595"/>
                    <a:pt x="767" y="384"/>
                  </a:cubicBezTo>
                  <a:cubicBezTo>
                    <a:pt x="767" y="171"/>
                    <a:pt x="595"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18">
              <a:extLst>
                <a:ext uri="{FF2B5EF4-FFF2-40B4-BE49-F238E27FC236}">
                  <a16:creationId xmlns:a16="http://schemas.microsoft.com/office/drawing/2014/main" id="{CA1E8F27-B4B0-4E35-8BB6-C85FFAB5EC11}"/>
                </a:ext>
              </a:extLst>
            </p:cNvPr>
            <p:cNvSpPr>
              <a:spLocks/>
            </p:cNvSpPr>
            <p:nvPr/>
          </p:nvSpPr>
          <p:spPr bwMode="auto">
            <a:xfrm>
              <a:off x="4787900" y="2782888"/>
              <a:ext cx="204788" cy="198438"/>
            </a:xfrm>
            <a:custGeom>
              <a:avLst/>
              <a:gdLst>
                <a:gd name="T0" fmla="*/ 0 w 215"/>
                <a:gd name="T1" fmla="*/ 0 h 208"/>
                <a:gd name="T2" fmla="*/ 0 w 215"/>
                <a:gd name="T3" fmla="*/ 0 h 208"/>
                <a:gd name="T4" fmla="*/ 0 w 215"/>
                <a:gd name="T5" fmla="*/ 208 h 208"/>
                <a:gd name="T6" fmla="*/ 215 w 215"/>
                <a:gd name="T7" fmla="*/ 208 h 208"/>
                <a:gd name="T8" fmla="*/ 0 w 215"/>
                <a:gd name="T9" fmla="*/ 0 h 208"/>
              </a:gdLst>
              <a:ahLst/>
              <a:cxnLst>
                <a:cxn ang="0">
                  <a:pos x="T0" y="T1"/>
                </a:cxn>
                <a:cxn ang="0">
                  <a:pos x="T2" y="T3"/>
                </a:cxn>
                <a:cxn ang="0">
                  <a:pos x="T4" y="T5"/>
                </a:cxn>
                <a:cxn ang="0">
                  <a:pos x="T6" y="T7"/>
                </a:cxn>
                <a:cxn ang="0">
                  <a:pos x="T8" y="T9"/>
                </a:cxn>
              </a:cxnLst>
              <a:rect l="0" t="0" r="r" b="b"/>
              <a:pathLst>
                <a:path w="215" h="208">
                  <a:moveTo>
                    <a:pt x="0" y="0"/>
                  </a:moveTo>
                  <a:lnTo>
                    <a:pt x="0" y="0"/>
                  </a:lnTo>
                  <a:lnTo>
                    <a:pt x="0" y="208"/>
                  </a:lnTo>
                  <a:lnTo>
                    <a:pt x="215" y="20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10" name="TextBox 209">
            <a:extLst>
              <a:ext uri="{FF2B5EF4-FFF2-40B4-BE49-F238E27FC236}">
                <a16:creationId xmlns:a16="http://schemas.microsoft.com/office/drawing/2014/main" id="{DD5F2807-1837-471E-8B61-4D008832B823}"/>
              </a:ext>
            </a:extLst>
          </p:cNvPr>
          <p:cNvSpPr txBox="1"/>
          <p:nvPr/>
        </p:nvSpPr>
        <p:spPr>
          <a:xfrm>
            <a:off x="4893508" y="2962048"/>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ayroll</a:t>
            </a:r>
          </a:p>
        </p:txBody>
      </p:sp>
      <p:grpSp>
        <p:nvGrpSpPr>
          <p:cNvPr id="6" name="Group 5">
            <a:extLst>
              <a:ext uri="{FF2B5EF4-FFF2-40B4-BE49-F238E27FC236}">
                <a16:creationId xmlns:a16="http://schemas.microsoft.com/office/drawing/2014/main" id="{25BB94B4-33F4-4015-8BBC-EEF0F40149D8}"/>
              </a:ext>
            </a:extLst>
          </p:cNvPr>
          <p:cNvGrpSpPr/>
          <p:nvPr/>
        </p:nvGrpSpPr>
        <p:grpSpPr>
          <a:xfrm>
            <a:off x="5292031" y="2546208"/>
            <a:ext cx="362325" cy="362968"/>
            <a:chOff x="5441552" y="2546208"/>
            <a:chExt cx="362325" cy="362968"/>
          </a:xfrm>
        </p:grpSpPr>
        <p:sp>
          <p:nvSpPr>
            <p:cNvPr id="195" name="Freeform 5">
              <a:extLst>
                <a:ext uri="{FF2B5EF4-FFF2-40B4-BE49-F238E27FC236}">
                  <a16:creationId xmlns:a16="http://schemas.microsoft.com/office/drawing/2014/main" id="{52119F4F-5652-42F5-8E06-7EDCE1EBBB30}"/>
                </a:ext>
              </a:extLst>
            </p:cNvPr>
            <p:cNvSpPr>
              <a:spLocks noEditPoints="1"/>
            </p:cNvSpPr>
            <p:nvPr/>
          </p:nvSpPr>
          <p:spPr bwMode="auto">
            <a:xfrm>
              <a:off x="5441552" y="2546208"/>
              <a:ext cx="362325" cy="362968"/>
            </a:xfrm>
            <a:custGeom>
              <a:avLst/>
              <a:gdLst>
                <a:gd name="T0" fmla="*/ 1405 w 2810"/>
                <a:gd name="T1" fmla="*/ 0 h 2809"/>
                <a:gd name="T2" fmla="*/ 1405 w 2810"/>
                <a:gd name="T3" fmla="*/ 0 h 2809"/>
                <a:gd name="T4" fmla="*/ 0 w 2810"/>
                <a:gd name="T5" fmla="*/ 1405 h 2809"/>
                <a:gd name="T6" fmla="*/ 1405 w 2810"/>
                <a:gd name="T7" fmla="*/ 2809 h 2809"/>
                <a:gd name="T8" fmla="*/ 2810 w 2810"/>
                <a:gd name="T9" fmla="*/ 1405 h 2809"/>
                <a:gd name="T10" fmla="*/ 1405 w 2810"/>
                <a:gd name="T11" fmla="*/ 0 h 2809"/>
                <a:gd name="T12" fmla="*/ 1405 w 2810"/>
                <a:gd name="T13" fmla="*/ 115 h 2809"/>
                <a:gd name="T14" fmla="*/ 1405 w 2810"/>
                <a:gd name="T15" fmla="*/ 115 h 2809"/>
                <a:gd name="T16" fmla="*/ 2689 w 2810"/>
                <a:gd name="T17" fmla="*/ 1405 h 2809"/>
                <a:gd name="T18" fmla="*/ 1405 w 2810"/>
                <a:gd name="T19" fmla="*/ 2689 h 2809"/>
                <a:gd name="T20" fmla="*/ 116 w 2810"/>
                <a:gd name="T21" fmla="*/ 1405 h 2809"/>
                <a:gd name="T22" fmla="*/ 1405 w 2810"/>
                <a:gd name="T23" fmla="*/ 115 h 2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0" h="2809">
                  <a:moveTo>
                    <a:pt x="1405" y="0"/>
                  </a:moveTo>
                  <a:lnTo>
                    <a:pt x="1405" y="0"/>
                  </a:lnTo>
                  <a:cubicBezTo>
                    <a:pt x="626" y="0"/>
                    <a:pt x="0" y="625"/>
                    <a:pt x="0" y="1405"/>
                  </a:cubicBezTo>
                  <a:cubicBezTo>
                    <a:pt x="0" y="2178"/>
                    <a:pt x="626" y="2809"/>
                    <a:pt x="1405" y="2809"/>
                  </a:cubicBezTo>
                  <a:cubicBezTo>
                    <a:pt x="2179" y="2809"/>
                    <a:pt x="2810" y="2178"/>
                    <a:pt x="2810" y="1405"/>
                  </a:cubicBezTo>
                  <a:cubicBezTo>
                    <a:pt x="2810" y="625"/>
                    <a:pt x="2179" y="0"/>
                    <a:pt x="1405" y="0"/>
                  </a:cubicBezTo>
                  <a:close/>
                  <a:moveTo>
                    <a:pt x="1405" y="115"/>
                  </a:moveTo>
                  <a:lnTo>
                    <a:pt x="1405" y="115"/>
                  </a:lnTo>
                  <a:cubicBezTo>
                    <a:pt x="2113" y="115"/>
                    <a:pt x="2689" y="691"/>
                    <a:pt x="2689" y="1405"/>
                  </a:cubicBezTo>
                  <a:cubicBezTo>
                    <a:pt x="2689" y="2113"/>
                    <a:pt x="2113" y="2689"/>
                    <a:pt x="1405" y="2689"/>
                  </a:cubicBezTo>
                  <a:cubicBezTo>
                    <a:pt x="692" y="2689"/>
                    <a:pt x="116" y="2113"/>
                    <a:pt x="116" y="1405"/>
                  </a:cubicBezTo>
                  <a:cubicBezTo>
                    <a:pt x="116" y="691"/>
                    <a:pt x="692" y="115"/>
                    <a:pt x="1405" y="115"/>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 name="Group 4">
              <a:extLst>
                <a:ext uri="{FF2B5EF4-FFF2-40B4-BE49-F238E27FC236}">
                  <a16:creationId xmlns:a16="http://schemas.microsoft.com/office/drawing/2014/main" id="{9D049597-270B-47C6-A7CB-D780356E0679}"/>
                </a:ext>
              </a:extLst>
            </p:cNvPr>
            <p:cNvGrpSpPr/>
            <p:nvPr/>
          </p:nvGrpSpPr>
          <p:grpSpPr>
            <a:xfrm>
              <a:off x="5537564" y="2619429"/>
              <a:ext cx="215550" cy="223628"/>
              <a:chOff x="5726396" y="2619429"/>
              <a:chExt cx="215550" cy="223628"/>
            </a:xfrm>
          </p:grpSpPr>
          <p:grpSp>
            <p:nvGrpSpPr>
              <p:cNvPr id="2" name="Group 1">
                <a:extLst>
                  <a:ext uri="{FF2B5EF4-FFF2-40B4-BE49-F238E27FC236}">
                    <a16:creationId xmlns:a16="http://schemas.microsoft.com/office/drawing/2014/main" id="{D564C16B-7A2C-45B5-B272-928850FBD1DA}"/>
                  </a:ext>
                </a:extLst>
              </p:cNvPr>
              <p:cNvGrpSpPr/>
              <p:nvPr/>
            </p:nvGrpSpPr>
            <p:grpSpPr>
              <a:xfrm>
                <a:off x="5834042" y="2712675"/>
                <a:ext cx="107904" cy="108333"/>
                <a:chOff x="5513284" y="2717395"/>
                <a:chExt cx="107904" cy="108333"/>
              </a:xfrm>
            </p:grpSpPr>
            <p:sp>
              <p:nvSpPr>
                <p:cNvPr id="202" name="Freeform 12">
                  <a:extLst>
                    <a:ext uri="{FF2B5EF4-FFF2-40B4-BE49-F238E27FC236}">
                      <a16:creationId xmlns:a16="http://schemas.microsoft.com/office/drawing/2014/main" id="{FD4D372D-D1F9-49D8-8781-4DA0FAA42012}"/>
                    </a:ext>
                  </a:extLst>
                </p:cNvPr>
                <p:cNvSpPr>
                  <a:spLocks noEditPoints="1"/>
                </p:cNvSpPr>
                <p:nvPr/>
              </p:nvSpPr>
              <p:spPr bwMode="auto">
                <a:xfrm>
                  <a:off x="5551469" y="2737560"/>
                  <a:ext cx="31320" cy="69505"/>
                </a:xfrm>
                <a:custGeom>
                  <a:avLst/>
                  <a:gdLst>
                    <a:gd name="T0" fmla="*/ 138 w 243"/>
                    <a:gd name="T1" fmla="*/ 450 h 538"/>
                    <a:gd name="T2" fmla="*/ 138 w 243"/>
                    <a:gd name="T3" fmla="*/ 450 h 538"/>
                    <a:gd name="T4" fmla="*/ 138 w 243"/>
                    <a:gd name="T5" fmla="*/ 279 h 538"/>
                    <a:gd name="T6" fmla="*/ 209 w 243"/>
                    <a:gd name="T7" fmla="*/ 365 h 538"/>
                    <a:gd name="T8" fmla="*/ 138 w 243"/>
                    <a:gd name="T9" fmla="*/ 450 h 538"/>
                    <a:gd name="T10" fmla="*/ 34 w 243"/>
                    <a:gd name="T11" fmla="*/ 156 h 538"/>
                    <a:gd name="T12" fmla="*/ 34 w 243"/>
                    <a:gd name="T13" fmla="*/ 156 h 538"/>
                    <a:gd name="T14" fmla="*/ 104 w 243"/>
                    <a:gd name="T15" fmla="*/ 70 h 538"/>
                    <a:gd name="T16" fmla="*/ 104 w 243"/>
                    <a:gd name="T17" fmla="*/ 241 h 538"/>
                    <a:gd name="T18" fmla="*/ 34 w 243"/>
                    <a:gd name="T19" fmla="*/ 156 h 538"/>
                    <a:gd name="T20" fmla="*/ 243 w 243"/>
                    <a:gd name="T21" fmla="*/ 365 h 538"/>
                    <a:gd name="T22" fmla="*/ 243 w 243"/>
                    <a:gd name="T23" fmla="*/ 365 h 538"/>
                    <a:gd name="T24" fmla="*/ 138 w 243"/>
                    <a:gd name="T25" fmla="*/ 244 h 538"/>
                    <a:gd name="T26" fmla="*/ 138 w 243"/>
                    <a:gd name="T27" fmla="*/ 71 h 538"/>
                    <a:gd name="T28" fmla="*/ 197 w 243"/>
                    <a:gd name="T29" fmla="*/ 112 h 538"/>
                    <a:gd name="T30" fmla="*/ 220 w 243"/>
                    <a:gd name="T31" fmla="*/ 119 h 538"/>
                    <a:gd name="T32" fmla="*/ 227 w 243"/>
                    <a:gd name="T33" fmla="*/ 94 h 538"/>
                    <a:gd name="T34" fmla="*/ 138 w 243"/>
                    <a:gd name="T35" fmla="*/ 35 h 538"/>
                    <a:gd name="T36" fmla="*/ 138 w 243"/>
                    <a:gd name="T37" fmla="*/ 16 h 538"/>
                    <a:gd name="T38" fmla="*/ 122 w 243"/>
                    <a:gd name="T39" fmla="*/ 0 h 538"/>
                    <a:gd name="T40" fmla="*/ 104 w 243"/>
                    <a:gd name="T41" fmla="*/ 16 h 538"/>
                    <a:gd name="T42" fmla="*/ 104 w 243"/>
                    <a:gd name="T43" fmla="*/ 35 h 538"/>
                    <a:gd name="T44" fmla="*/ 0 w 243"/>
                    <a:gd name="T45" fmla="*/ 156 h 538"/>
                    <a:gd name="T46" fmla="*/ 104 w 243"/>
                    <a:gd name="T47" fmla="*/ 276 h 538"/>
                    <a:gd name="T48" fmla="*/ 104 w 243"/>
                    <a:gd name="T49" fmla="*/ 450 h 538"/>
                    <a:gd name="T50" fmla="*/ 39 w 243"/>
                    <a:gd name="T51" fmla="*/ 393 h 538"/>
                    <a:gd name="T52" fmla="*/ 17 w 243"/>
                    <a:gd name="T53" fmla="*/ 383 h 538"/>
                    <a:gd name="T54" fmla="*/ 6 w 243"/>
                    <a:gd name="T55" fmla="*/ 406 h 538"/>
                    <a:gd name="T56" fmla="*/ 104 w 243"/>
                    <a:gd name="T57" fmla="*/ 484 h 538"/>
                    <a:gd name="T58" fmla="*/ 104 w 243"/>
                    <a:gd name="T59" fmla="*/ 522 h 538"/>
                    <a:gd name="T60" fmla="*/ 122 w 243"/>
                    <a:gd name="T61" fmla="*/ 538 h 538"/>
                    <a:gd name="T62" fmla="*/ 138 w 243"/>
                    <a:gd name="T63" fmla="*/ 522 h 538"/>
                    <a:gd name="T64" fmla="*/ 138 w 243"/>
                    <a:gd name="T65" fmla="*/ 484 h 538"/>
                    <a:gd name="T66" fmla="*/ 243 w 243"/>
                    <a:gd name="T67" fmla="*/ 365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3" h="538">
                      <a:moveTo>
                        <a:pt x="138" y="450"/>
                      </a:moveTo>
                      <a:lnTo>
                        <a:pt x="138" y="450"/>
                      </a:lnTo>
                      <a:lnTo>
                        <a:pt x="138" y="279"/>
                      </a:lnTo>
                      <a:cubicBezTo>
                        <a:pt x="179" y="287"/>
                        <a:pt x="209" y="323"/>
                        <a:pt x="209" y="365"/>
                      </a:cubicBezTo>
                      <a:cubicBezTo>
                        <a:pt x="209" y="406"/>
                        <a:pt x="179" y="442"/>
                        <a:pt x="138" y="450"/>
                      </a:cubicBezTo>
                      <a:close/>
                      <a:moveTo>
                        <a:pt x="34" y="156"/>
                      </a:moveTo>
                      <a:lnTo>
                        <a:pt x="34" y="156"/>
                      </a:lnTo>
                      <a:cubicBezTo>
                        <a:pt x="34" y="114"/>
                        <a:pt x="65" y="78"/>
                        <a:pt x="104" y="70"/>
                      </a:cubicBezTo>
                      <a:lnTo>
                        <a:pt x="104" y="241"/>
                      </a:lnTo>
                      <a:cubicBezTo>
                        <a:pt x="65" y="233"/>
                        <a:pt x="34" y="197"/>
                        <a:pt x="34" y="156"/>
                      </a:cubicBezTo>
                      <a:close/>
                      <a:moveTo>
                        <a:pt x="243" y="365"/>
                      </a:moveTo>
                      <a:lnTo>
                        <a:pt x="243" y="365"/>
                      </a:lnTo>
                      <a:cubicBezTo>
                        <a:pt x="243" y="303"/>
                        <a:pt x="197" y="253"/>
                        <a:pt x="138" y="244"/>
                      </a:cubicBezTo>
                      <a:lnTo>
                        <a:pt x="138" y="71"/>
                      </a:lnTo>
                      <a:cubicBezTo>
                        <a:pt x="163" y="76"/>
                        <a:pt x="184" y="91"/>
                        <a:pt x="197" y="112"/>
                      </a:cubicBezTo>
                      <a:cubicBezTo>
                        <a:pt x="202" y="120"/>
                        <a:pt x="212" y="123"/>
                        <a:pt x="220" y="119"/>
                      </a:cubicBezTo>
                      <a:cubicBezTo>
                        <a:pt x="230" y="114"/>
                        <a:pt x="231" y="102"/>
                        <a:pt x="227" y="94"/>
                      </a:cubicBezTo>
                      <a:cubicBezTo>
                        <a:pt x="209" y="62"/>
                        <a:pt x="176" y="40"/>
                        <a:pt x="138" y="35"/>
                      </a:cubicBezTo>
                      <a:lnTo>
                        <a:pt x="138" y="16"/>
                      </a:lnTo>
                      <a:cubicBezTo>
                        <a:pt x="138" y="6"/>
                        <a:pt x="132" y="0"/>
                        <a:pt x="122" y="0"/>
                      </a:cubicBezTo>
                      <a:cubicBezTo>
                        <a:pt x="112" y="0"/>
                        <a:pt x="104" y="6"/>
                        <a:pt x="104" y="16"/>
                      </a:cubicBezTo>
                      <a:lnTo>
                        <a:pt x="104" y="35"/>
                      </a:lnTo>
                      <a:cubicBezTo>
                        <a:pt x="45" y="44"/>
                        <a:pt x="0" y="94"/>
                        <a:pt x="0" y="156"/>
                      </a:cubicBezTo>
                      <a:cubicBezTo>
                        <a:pt x="0" y="217"/>
                        <a:pt x="45" y="267"/>
                        <a:pt x="104" y="276"/>
                      </a:cubicBezTo>
                      <a:lnTo>
                        <a:pt x="104" y="450"/>
                      </a:lnTo>
                      <a:cubicBezTo>
                        <a:pt x="74" y="444"/>
                        <a:pt x="50" y="422"/>
                        <a:pt x="39" y="393"/>
                      </a:cubicBezTo>
                      <a:cubicBezTo>
                        <a:pt x="35" y="385"/>
                        <a:pt x="26" y="380"/>
                        <a:pt x="17" y="383"/>
                      </a:cubicBezTo>
                      <a:cubicBezTo>
                        <a:pt x="8" y="386"/>
                        <a:pt x="3" y="396"/>
                        <a:pt x="6" y="406"/>
                      </a:cubicBezTo>
                      <a:cubicBezTo>
                        <a:pt x="22" y="448"/>
                        <a:pt x="60" y="479"/>
                        <a:pt x="104" y="484"/>
                      </a:cubicBezTo>
                      <a:lnTo>
                        <a:pt x="104" y="522"/>
                      </a:lnTo>
                      <a:cubicBezTo>
                        <a:pt x="104" y="532"/>
                        <a:pt x="112" y="538"/>
                        <a:pt x="122" y="538"/>
                      </a:cubicBezTo>
                      <a:cubicBezTo>
                        <a:pt x="132" y="538"/>
                        <a:pt x="138" y="532"/>
                        <a:pt x="138" y="522"/>
                      </a:cubicBezTo>
                      <a:lnTo>
                        <a:pt x="138" y="484"/>
                      </a:lnTo>
                      <a:cubicBezTo>
                        <a:pt x="197" y="476"/>
                        <a:pt x="243" y="426"/>
                        <a:pt x="243" y="365"/>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13">
                  <a:extLst>
                    <a:ext uri="{FF2B5EF4-FFF2-40B4-BE49-F238E27FC236}">
                      <a16:creationId xmlns:a16="http://schemas.microsoft.com/office/drawing/2014/main" id="{F0D83E10-33C5-44A0-B885-D3C3D8FC74F8}"/>
                    </a:ext>
                  </a:extLst>
                </p:cNvPr>
                <p:cNvSpPr>
                  <a:spLocks noEditPoints="1"/>
                </p:cNvSpPr>
                <p:nvPr/>
              </p:nvSpPr>
              <p:spPr bwMode="auto">
                <a:xfrm>
                  <a:off x="5513284" y="2717395"/>
                  <a:ext cx="107904" cy="108333"/>
                </a:xfrm>
                <a:custGeom>
                  <a:avLst/>
                  <a:gdLst>
                    <a:gd name="T0" fmla="*/ 419 w 838"/>
                    <a:gd name="T1" fmla="*/ 0 h 838"/>
                    <a:gd name="T2" fmla="*/ 419 w 838"/>
                    <a:gd name="T3" fmla="*/ 0 h 838"/>
                    <a:gd name="T4" fmla="*/ 0 w 838"/>
                    <a:gd name="T5" fmla="*/ 419 h 838"/>
                    <a:gd name="T6" fmla="*/ 419 w 838"/>
                    <a:gd name="T7" fmla="*/ 838 h 838"/>
                    <a:gd name="T8" fmla="*/ 838 w 838"/>
                    <a:gd name="T9" fmla="*/ 419 h 838"/>
                    <a:gd name="T10" fmla="*/ 419 w 838"/>
                    <a:gd name="T11" fmla="*/ 0 h 838"/>
                    <a:gd name="T12" fmla="*/ 419 w 838"/>
                    <a:gd name="T13" fmla="*/ 35 h 838"/>
                    <a:gd name="T14" fmla="*/ 419 w 838"/>
                    <a:gd name="T15" fmla="*/ 35 h 838"/>
                    <a:gd name="T16" fmla="*/ 802 w 838"/>
                    <a:gd name="T17" fmla="*/ 419 h 838"/>
                    <a:gd name="T18" fmla="*/ 419 w 838"/>
                    <a:gd name="T19" fmla="*/ 802 h 838"/>
                    <a:gd name="T20" fmla="*/ 35 w 838"/>
                    <a:gd name="T21" fmla="*/ 419 h 838"/>
                    <a:gd name="T22" fmla="*/ 419 w 838"/>
                    <a:gd name="T23" fmla="*/ 35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8" h="838">
                      <a:moveTo>
                        <a:pt x="419" y="0"/>
                      </a:moveTo>
                      <a:lnTo>
                        <a:pt x="419" y="0"/>
                      </a:lnTo>
                      <a:cubicBezTo>
                        <a:pt x="187" y="0"/>
                        <a:pt x="0" y="187"/>
                        <a:pt x="0" y="419"/>
                      </a:cubicBezTo>
                      <a:cubicBezTo>
                        <a:pt x="0" y="649"/>
                        <a:pt x="187" y="838"/>
                        <a:pt x="419" y="838"/>
                      </a:cubicBezTo>
                      <a:cubicBezTo>
                        <a:pt x="649" y="838"/>
                        <a:pt x="838" y="649"/>
                        <a:pt x="838" y="419"/>
                      </a:cubicBezTo>
                      <a:cubicBezTo>
                        <a:pt x="838" y="187"/>
                        <a:pt x="649" y="0"/>
                        <a:pt x="419" y="0"/>
                      </a:cubicBezTo>
                      <a:close/>
                      <a:moveTo>
                        <a:pt x="419" y="35"/>
                      </a:moveTo>
                      <a:lnTo>
                        <a:pt x="419" y="35"/>
                      </a:lnTo>
                      <a:cubicBezTo>
                        <a:pt x="630" y="35"/>
                        <a:pt x="802" y="206"/>
                        <a:pt x="802" y="419"/>
                      </a:cubicBezTo>
                      <a:cubicBezTo>
                        <a:pt x="802" y="630"/>
                        <a:pt x="630" y="802"/>
                        <a:pt x="419" y="802"/>
                      </a:cubicBezTo>
                      <a:cubicBezTo>
                        <a:pt x="206" y="802"/>
                        <a:pt x="35" y="630"/>
                        <a:pt x="35" y="419"/>
                      </a:cubicBezTo>
                      <a:cubicBezTo>
                        <a:pt x="35" y="206"/>
                        <a:pt x="206" y="35"/>
                        <a:pt x="419" y="35"/>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1" name="Group 210">
                <a:extLst>
                  <a:ext uri="{FF2B5EF4-FFF2-40B4-BE49-F238E27FC236}">
                    <a16:creationId xmlns:a16="http://schemas.microsoft.com/office/drawing/2014/main" id="{98EB9D8D-2F02-446E-8001-9B429F97FBE7}"/>
                  </a:ext>
                </a:extLst>
              </p:cNvPr>
              <p:cNvGrpSpPr/>
              <p:nvPr/>
            </p:nvGrpSpPr>
            <p:grpSpPr>
              <a:xfrm>
                <a:off x="5726396" y="2619429"/>
                <a:ext cx="163629" cy="223628"/>
                <a:chOff x="5929313" y="3209925"/>
                <a:chExt cx="333375" cy="455613"/>
              </a:xfrm>
              <a:solidFill>
                <a:schemeClr val="bg2"/>
              </a:solidFill>
            </p:grpSpPr>
            <p:sp>
              <p:nvSpPr>
                <p:cNvPr id="213" name="Freeform 6">
                  <a:extLst>
                    <a:ext uri="{FF2B5EF4-FFF2-40B4-BE49-F238E27FC236}">
                      <a16:creationId xmlns:a16="http://schemas.microsoft.com/office/drawing/2014/main" id="{3A10CF00-06F9-40E8-8C85-C8BB3BFC983C}"/>
                    </a:ext>
                  </a:extLst>
                </p:cNvPr>
                <p:cNvSpPr>
                  <a:spLocks noEditPoints="1"/>
                </p:cNvSpPr>
                <p:nvPr/>
              </p:nvSpPr>
              <p:spPr bwMode="auto">
                <a:xfrm>
                  <a:off x="5929313" y="3209925"/>
                  <a:ext cx="333375" cy="455613"/>
                </a:xfrm>
                <a:custGeom>
                  <a:avLst/>
                  <a:gdLst>
                    <a:gd name="T0" fmla="*/ 314 w 345"/>
                    <a:gd name="T1" fmla="*/ 427 h 470"/>
                    <a:gd name="T2" fmla="*/ 314 w 345"/>
                    <a:gd name="T3" fmla="*/ 427 h 470"/>
                    <a:gd name="T4" fmla="*/ 314 w 345"/>
                    <a:gd name="T5" fmla="*/ 437 h 470"/>
                    <a:gd name="T6" fmla="*/ 32 w 345"/>
                    <a:gd name="T7" fmla="*/ 437 h 470"/>
                    <a:gd name="T8" fmla="*/ 32 w 345"/>
                    <a:gd name="T9" fmla="*/ 31 h 470"/>
                    <a:gd name="T10" fmla="*/ 204 w 345"/>
                    <a:gd name="T11" fmla="*/ 31 h 470"/>
                    <a:gd name="T12" fmla="*/ 204 w 345"/>
                    <a:gd name="T13" fmla="*/ 125 h 470"/>
                    <a:gd name="T14" fmla="*/ 220 w 345"/>
                    <a:gd name="T15" fmla="*/ 141 h 470"/>
                    <a:gd name="T16" fmla="*/ 314 w 345"/>
                    <a:gd name="T17" fmla="*/ 141 h 470"/>
                    <a:gd name="T18" fmla="*/ 314 w 345"/>
                    <a:gd name="T19" fmla="*/ 192 h 470"/>
                    <a:gd name="T20" fmla="*/ 328 w 345"/>
                    <a:gd name="T21" fmla="*/ 191 h 470"/>
                    <a:gd name="T22" fmla="*/ 345 w 345"/>
                    <a:gd name="T23" fmla="*/ 192 h 470"/>
                    <a:gd name="T24" fmla="*/ 345 w 345"/>
                    <a:gd name="T25" fmla="*/ 125 h 470"/>
                    <a:gd name="T26" fmla="*/ 343 w 345"/>
                    <a:gd name="T27" fmla="*/ 119 h 470"/>
                    <a:gd name="T28" fmla="*/ 340 w 345"/>
                    <a:gd name="T29" fmla="*/ 113 h 470"/>
                    <a:gd name="T30" fmla="*/ 230 w 345"/>
                    <a:gd name="T31" fmla="*/ 4 h 470"/>
                    <a:gd name="T32" fmla="*/ 226 w 345"/>
                    <a:gd name="T33" fmla="*/ 0 h 470"/>
                    <a:gd name="T34" fmla="*/ 16 w 345"/>
                    <a:gd name="T35" fmla="*/ 0 h 470"/>
                    <a:gd name="T36" fmla="*/ 0 w 345"/>
                    <a:gd name="T37" fmla="*/ 15 h 470"/>
                    <a:gd name="T38" fmla="*/ 0 w 345"/>
                    <a:gd name="T39" fmla="*/ 454 h 470"/>
                    <a:gd name="T40" fmla="*/ 16 w 345"/>
                    <a:gd name="T41" fmla="*/ 470 h 470"/>
                    <a:gd name="T42" fmla="*/ 329 w 345"/>
                    <a:gd name="T43" fmla="*/ 470 h 470"/>
                    <a:gd name="T44" fmla="*/ 345 w 345"/>
                    <a:gd name="T45" fmla="*/ 454 h 470"/>
                    <a:gd name="T46" fmla="*/ 345 w 345"/>
                    <a:gd name="T47" fmla="*/ 426 h 470"/>
                    <a:gd name="T48" fmla="*/ 328 w 345"/>
                    <a:gd name="T49" fmla="*/ 428 h 470"/>
                    <a:gd name="T50" fmla="*/ 314 w 345"/>
                    <a:gd name="T51" fmla="*/ 427 h 470"/>
                    <a:gd name="T52" fmla="*/ 235 w 345"/>
                    <a:gd name="T53" fmla="*/ 53 h 470"/>
                    <a:gd name="T54" fmla="*/ 235 w 345"/>
                    <a:gd name="T55" fmla="*/ 53 h 470"/>
                    <a:gd name="T56" fmla="*/ 292 w 345"/>
                    <a:gd name="T57" fmla="*/ 109 h 470"/>
                    <a:gd name="T58" fmla="*/ 235 w 345"/>
                    <a:gd name="T59" fmla="*/ 109 h 470"/>
                    <a:gd name="T60" fmla="*/ 235 w 345"/>
                    <a:gd name="T61" fmla="*/ 53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5" h="470">
                      <a:moveTo>
                        <a:pt x="314" y="427"/>
                      </a:moveTo>
                      <a:lnTo>
                        <a:pt x="314" y="427"/>
                      </a:lnTo>
                      <a:lnTo>
                        <a:pt x="314" y="437"/>
                      </a:lnTo>
                      <a:lnTo>
                        <a:pt x="32" y="437"/>
                      </a:lnTo>
                      <a:lnTo>
                        <a:pt x="32" y="31"/>
                      </a:lnTo>
                      <a:lnTo>
                        <a:pt x="204" y="31"/>
                      </a:lnTo>
                      <a:lnTo>
                        <a:pt x="204" y="125"/>
                      </a:lnTo>
                      <a:cubicBezTo>
                        <a:pt x="204" y="133"/>
                        <a:pt x="211" y="141"/>
                        <a:pt x="220" y="141"/>
                      </a:cubicBezTo>
                      <a:lnTo>
                        <a:pt x="314" y="141"/>
                      </a:lnTo>
                      <a:lnTo>
                        <a:pt x="314" y="192"/>
                      </a:lnTo>
                      <a:cubicBezTo>
                        <a:pt x="319" y="192"/>
                        <a:pt x="323" y="191"/>
                        <a:pt x="328" y="191"/>
                      </a:cubicBezTo>
                      <a:cubicBezTo>
                        <a:pt x="334" y="191"/>
                        <a:pt x="339" y="192"/>
                        <a:pt x="345" y="192"/>
                      </a:cubicBezTo>
                      <a:lnTo>
                        <a:pt x="345" y="125"/>
                      </a:lnTo>
                      <a:cubicBezTo>
                        <a:pt x="345" y="123"/>
                        <a:pt x="345" y="120"/>
                        <a:pt x="343" y="119"/>
                      </a:cubicBezTo>
                      <a:cubicBezTo>
                        <a:pt x="343" y="117"/>
                        <a:pt x="342" y="115"/>
                        <a:pt x="340" y="113"/>
                      </a:cubicBezTo>
                      <a:lnTo>
                        <a:pt x="230" y="4"/>
                      </a:lnTo>
                      <a:cubicBezTo>
                        <a:pt x="229" y="3"/>
                        <a:pt x="227" y="2"/>
                        <a:pt x="226" y="0"/>
                      </a:cubicBezTo>
                      <a:lnTo>
                        <a:pt x="16" y="0"/>
                      </a:lnTo>
                      <a:cubicBezTo>
                        <a:pt x="7" y="0"/>
                        <a:pt x="0" y="6"/>
                        <a:pt x="0" y="15"/>
                      </a:cubicBezTo>
                      <a:lnTo>
                        <a:pt x="0" y="454"/>
                      </a:lnTo>
                      <a:cubicBezTo>
                        <a:pt x="0" y="462"/>
                        <a:pt x="7" y="470"/>
                        <a:pt x="16" y="470"/>
                      </a:cubicBezTo>
                      <a:lnTo>
                        <a:pt x="329" y="470"/>
                      </a:lnTo>
                      <a:cubicBezTo>
                        <a:pt x="338" y="470"/>
                        <a:pt x="345" y="462"/>
                        <a:pt x="345" y="454"/>
                      </a:cubicBezTo>
                      <a:lnTo>
                        <a:pt x="345" y="426"/>
                      </a:lnTo>
                      <a:cubicBezTo>
                        <a:pt x="339" y="427"/>
                        <a:pt x="334" y="428"/>
                        <a:pt x="328" y="428"/>
                      </a:cubicBezTo>
                      <a:cubicBezTo>
                        <a:pt x="323" y="428"/>
                        <a:pt x="319" y="427"/>
                        <a:pt x="314" y="427"/>
                      </a:cubicBezTo>
                      <a:close/>
                      <a:moveTo>
                        <a:pt x="235" y="53"/>
                      </a:moveTo>
                      <a:lnTo>
                        <a:pt x="235" y="53"/>
                      </a:lnTo>
                      <a:lnTo>
                        <a:pt x="292" y="109"/>
                      </a:lnTo>
                      <a:lnTo>
                        <a:pt x="235" y="109"/>
                      </a:lnTo>
                      <a:lnTo>
                        <a:pt x="235" y="5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9">
                  <a:extLst>
                    <a:ext uri="{FF2B5EF4-FFF2-40B4-BE49-F238E27FC236}">
                      <a16:creationId xmlns:a16="http://schemas.microsoft.com/office/drawing/2014/main" id="{A72C5633-2ABA-4E22-9448-13128E9EFA9A}"/>
                    </a:ext>
                  </a:extLst>
                </p:cNvPr>
                <p:cNvSpPr>
                  <a:spLocks/>
                </p:cNvSpPr>
                <p:nvPr/>
              </p:nvSpPr>
              <p:spPr bwMode="auto">
                <a:xfrm>
                  <a:off x="5991225" y="3562350"/>
                  <a:ext cx="142875" cy="30163"/>
                </a:xfrm>
                <a:custGeom>
                  <a:avLst/>
                  <a:gdLst>
                    <a:gd name="T0" fmla="*/ 133 w 148"/>
                    <a:gd name="T1" fmla="*/ 0 h 31"/>
                    <a:gd name="T2" fmla="*/ 133 w 148"/>
                    <a:gd name="T3" fmla="*/ 0 h 31"/>
                    <a:gd name="T4" fmla="*/ 16 w 148"/>
                    <a:gd name="T5" fmla="*/ 0 h 31"/>
                    <a:gd name="T6" fmla="*/ 0 w 148"/>
                    <a:gd name="T7" fmla="*/ 15 h 31"/>
                    <a:gd name="T8" fmla="*/ 16 w 148"/>
                    <a:gd name="T9" fmla="*/ 31 h 31"/>
                    <a:gd name="T10" fmla="*/ 133 w 148"/>
                    <a:gd name="T11" fmla="*/ 31 h 31"/>
                    <a:gd name="T12" fmla="*/ 148 w 148"/>
                    <a:gd name="T13" fmla="*/ 15 h 31"/>
                    <a:gd name="T14" fmla="*/ 133 w 148"/>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31">
                      <a:moveTo>
                        <a:pt x="133" y="0"/>
                      </a:moveTo>
                      <a:lnTo>
                        <a:pt x="133" y="0"/>
                      </a:lnTo>
                      <a:lnTo>
                        <a:pt x="16" y="0"/>
                      </a:lnTo>
                      <a:cubicBezTo>
                        <a:pt x="7" y="0"/>
                        <a:pt x="0" y="6"/>
                        <a:pt x="0" y="15"/>
                      </a:cubicBezTo>
                      <a:cubicBezTo>
                        <a:pt x="0" y="23"/>
                        <a:pt x="7" y="31"/>
                        <a:pt x="16" y="31"/>
                      </a:cubicBezTo>
                      <a:lnTo>
                        <a:pt x="133" y="31"/>
                      </a:lnTo>
                      <a:cubicBezTo>
                        <a:pt x="142" y="31"/>
                        <a:pt x="148" y="23"/>
                        <a:pt x="148" y="15"/>
                      </a:cubicBezTo>
                      <a:cubicBezTo>
                        <a:pt x="148" y="6"/>
                        <a:pt x="142" y="0"/>
                        <a:pt x="13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10">
                  <a:extLst>
                    <a:ext uri="{FF2B5EF4-FFF2-40B4-BE49-F238E27FC236}">
                      <a16:creationId xmlns:a16="http://schemas.microsoft.com/office/drawing/2014/main" id="{036CFD56-046F-43A1-9C10-315A858D5681}"/>
                    </a:ext>
                  </a:extLst>
                </p:cNvPr>
                <p:cNvSpPr>
                  <a:spLocks/>
                </p:cNvSpPr>
                <p:nvPr/>
              </p:nvSpPr>
              <p:spPr bwMode="auto">
                <a:xfrm>
                  <a:off x="5991225" y="3498850"/>
                  <a:ext cx="142875" cy="30163"/>
                </a:xfrm>
                <a:custGeom>
                  <a:avLst/>
                  <a:gdLst>
                    <a:gd name="T0" fmla="*/ 133 w 148"/>
                    <a:gd name="T1" fmla="*/ 0 h 32"/>
                    <a:gd name="T2" fmla="*/ 133 w 148"/>
                    <a:gd name="T3" fmla="*/ 0 h 32"/>
                    <a:gd name="T4" fmla="*/ 16 w 148"/>
                    <a:gd name="T5" fmla="*/ 0 h 32"/>
                    <a:gd name="T6" fmla="*/ 0 w 148"/>
                    <a:gd name="T7" fmla="*/ 17 h 32"/>
                    <a:gd name="T8" fmla="*/ 16 w 148"/>
                    <a:gd name="T9" fmla="*/ 32 h 32"/>
                    <a:gd name="T10" fmla="*/ 133 w 148"/>
                    <a:gd name="T11" fmla="*/ 32 h 32"/>
                    <a:gd name="T12" fmla="*/ 148 w 148"/>
                    <a:gd name="T13" fmla="*/ 17 h 32"/>
                    <a:gd name="T14" fmla="*/ 133 w 148"/>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32">
                      <a:moveTo>
                        <a:pt x="133" y="0"/>
                      </a:moveTo>
                      <a:lnTo>
                        <a:pt x="133" y="0"/>
                      </a:lnTo>
                      <a:lnTo>
                        <a:pt x="16" y="0"/>
                      </a:lnTo>
                      <a:cubicBezTo>
                        <a:pt x="7" y="0"/>
                        <a:pt x="0" y="8"/>
                        <a:pt x="0" y="17"/>
                      </a:cubicBezTo>
                      <a:cubicBezTo>
                        <a:pt x="0" y="26"/>
                        <a:pt x="7" y="32"/>
                        <a:pt x="16" y="32"/>
                      </a:cubicBezTo>
                      <a:lnTo>
                        <a:pt x="133" y="32"/>
                      </a:lnTo>
                      <a:cubicBezTo>
                        <a:pt x="142" y="32"/>
                        <a:pt x="148" y="26"/>
                        <a:pt x="148" y="17"/>
                      </a:cubicBezTo>
                      <a:cubicBezTo>
                        <a:pt x="148" y="8"/>
                        <a:pt x="142" y="0"/>
                        <a:pt x="13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11">
                  <a:extLst>
                    <a:ext uri="{FF2B5EF4-FFF2-40B4-BE49-F238E27FC236}">
                      <a16:creationId xmlns:a16="http://schemas.microsoft.com/office/drawing/2014/main" id="{A9FB3940-2ED0-4C3F-B715-40947A707178}"/>
                    </a:ext>
                  </a:extLst>
                </p:cNvPr>
                <p:cNvSpPr>
                  <a:spLocks/>
                </p:cNvSpPr>
                <p:nvPr/>
              </p:nvSpPr>
              <p:spPr bwMode="auto">
                <a:xfrm>
                  <a:off x="5991225" y="3438525"/>
                  <a:ext cx="142875" cy="30163"/>
                </a:xfrm>
                <a:custGeom>
                  <a:avLst/>
                  <a:gdLst>
                    <a:gd name="T0" fmla="*/ 133 w 148"/>
                    <a:gd name="T1" fmla="*/ 0 h 31"/>
                    <a:gd name="T2" fmla="*/ 133 w 148"/>
                    <a:gd name="T3" fmla="*/ 0 h 31"/>
                    <a:gd name="T4" fmla="*/ 16 w 148"/>
                    <a:gd name="T5" fmla="*/ 0 h 31"/>
                    <a:gd name="T6" fmla="*/ 0 w 148"/>
                    <a:gd name="T7" fmla="*/ 16 h 31"/>
                    <a:gd name="T8" fmla="*/ 16 w 148"/>
                    <a:gd name="T9" fmla="*/ 31 h 31"/>
                    <a:gd name="T10" fmla="*/ 133 w 148"/>
                    <a:gd name="T11" fmla="*/ 31 h 31"/>
                    <a:gd name="T12" fmla="*/ 148 w 148"/>
                    <a:gd name="T13" fmla="*/ 16 h 31"/>
                    <a:gd name="T14" fmla="*/ 133 w 148"/>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31">
                      <a:moveTo>
                        <a:pt x="133" y="0"/>
                      </a:moveTo>
                      <a:lnTo>
                        <a:pt x="133" y="0"/>
                      </a:lnTo>
                      <a:lnTo>
                        <a:pt x="16" y="0"/>
                      </a:lnTo>
                      <a:cubicBezTo>
                        <a:pt x="7" y="0"/>
                        <a:pt x="0" y="7"/>
                        <a:pt x="0" y="16"/>
                      </a:cubicBezTo>
                      <a:cubicBezTo>
                        <a:pt x="0" y="24"/>
                        <a:pt x="7" y="31"/>
                        <a:pt x="16" y="31"/>
                      </a:cubicBezTo>
                      <a:lnTo>
                        <a:pt x="133" y="31"/>
                      </a:lnTo>
                      <a:cubicBezTo>
                        <a:pt x="142" y="31"/>
                        <a:pt x="148" y="24"/>
                        <a:pt x="148" y="16"/>
                      </a:cubicBezTo>
                      <a:cubicBezTo>
                        <a:pt x="148" y="7"/>
                        <a:pt x="142" y="0"/>
                        <a:pt x="13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12">
                  <a:extLst>
                    <a:ext uri="{FF2B5EF4-FFF2-40B4-BE49-F238E27FC236}">
                      <a16:creationId xmlns:a16="http://schemas.microsoft.com/office/drawing/2014/main" id="{C5597194-22D7-441A-8312-DDD485F70ED2}"/>
                    </a:ext>
                  </a:extLst>
                </p:cNvPr>
                <p:cNvSpPr>
                  <a:spLocks/>
                </p:cNvSpPr>
                <p:nvPr/>
              </p:nvSpPr>
              <p:spPr bwMode="auto">
                <a:xfrm>
                  <a:off x="5989638" y="3378200"/>
                  <a:ext cx="211138" cy="30163"/>
                </a:xfrm>
                <a:custGeom>
                  <a:avLst/>
                  <a:gdLst>
                    <a:gd name="T0" fmla="*/ 218 w 218"/>
                    <a:gd name="T1" fmla="*/ 15 h 31"/>
                    <a:gd name="T2" fmla="*/ 218 w 218"/>
                    <a:gd name="T3" fmla="*/ 15 h 31"/>
                    <a:gd name="T4" fmla="*/ 203 w 218"/>
                    <a:gd name="T5" fmla="*/ 0 h 31"/>
                    <a:gd name="T6" fmla="*/ 16 w 218"/>
                    <a:gd name="T7" fmla="*/ 0 h 31"/>
                    <a:gd name="T8" fmla="*/ 0 w 218"/>
                    <a:gd name="T9" fmla="*/ 15 h 31"/>
                    <a:gd name="T10" fmla="*/ 16 w 218"/>
                    <a:gd name="T11" fmla="*/ 31 h 31"/>
                    <a:gd name="T12" fmla="*/ 203 w 218"/>
                    <a:gd name="T13" fmla="*/ 31 h 31"/>
                    <a:gd name="T14" fmla="*/ 218 w 218"/>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31">
                      <a:moveTo>
                        <a:pt x="218" y="15"/>
                      </a:moveTo>
                      <a:lnTo>
                        <a:pt x="218" y="15"/>
                      </a:lnTo>
                      <a:cubicBezTo>
                        <a:pt x="218" y="6"/>
                        <a:pt x="212" y="0"/>
                        <a:pt x="203" y="0"/>
                      </a:cubicBezTo>
                      <a:lnTo>
                        <a:pt x="16" y="0"/>
                      </a:lnTo>
                      <a:cubicBezTo>
                        <a:pt x="7" y="0"/>
                        <a:pt x="0" y="6"/>
                        <a:pt x="0" y="15"/>
                      </a:cubicBezTo>
                      <a:cubicBezTo>
                        <a:pt x="0" y="24"/>
                        <a:pt x="7" y="31"/>
                        <a:pt x="16" y="31"/>
                      </a:cubicBezTo>
                      <a:lnTo>
                        <a:pt x="203" y="31"/>
                      </a:lnTo>
                      <a:cubicBezTo>
                        <a:pt x="212" y="31"/>
                        <a:pt x="218" y="24"/>
                        <a:pt x="218"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spTree>
    <p:extLst>
      <p:ext uri="{BB962C8B-B14F-4D97-AF65-F5344CB8AC3E}">
        <p14:creationId xmlns:p14="http://schemas.microsoft.com/office/powerpoint/2010/main" val="2970169212"/>
      </p:ext>
    </p:extLst>
  </p:cSld>
  <p:clrMapOvr>
    <a:masterClrMapping/>
  </p:clrMapOvr>
  <p:transition>
    <p:fade/>
  </p:transition>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Environment</a:t>
            </a:r>
            <a:endParaRPr lang="en-GB" dirty="0"/>
          </a:p>
        </p:txBody>
      </p:sp>
      <p:sp>
        <p:nvSpPr>
          <p:cNvPr id="4" name="Title 3"/>
          <p:cNvSpPr>
            <a:spLocks noGrp="1"/>
          </p:cNvSpPr>
          <p:nvPr>
            <p:ph type="title"/>
          </p:nvPr>
        </p:nvSpPr>
        <p:spPr/>
        <p:txBody>
          <a:bodyPr/>
          <a:lstStyle/>
          <a:p>
            <a:r>
              <a:rPr lang="en-GB" dirty="0"/>
              <a:t>Iconography</a:t>
            </a:r>
          </a:p>
        </p:txBody>
      </p:sp>
      <p:sp>
        <p:nvSpPr>
          <p:cNvPr id="210" name="TextBox 209">
            <a:extLst>
              <a:ext uri="{FF2B5EF4-FFF2-40B4-BE49-F238E27FC236}">
                <a16:creationId xmlns:a16="http://schemas.microsoft.com/office/drawing/2014/main" id="{DA7521CF-1988-455D-9838-84E794AA2F20}"/>
              </a:ext>
            </a:extLst>
          </p:cNvPr>
          <p:cNvSpPr txBox="1"/>
          <p:nvPr/>
        </p:nvSpPr>
        <p:spPr>
          <a:xfrm>
            <a:off x="453858" y="2119314"/>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un and shade</a:t>
            </a:r>
          </a:p>
        </p:txBody>
      </p:sp>
      <p:sp>
        <p:nvSpPr>
          <p:cNvPr id="211" name="TextBox 210">
            <a:extLst>
              <a:ext uri="{FF2B5EF4-FFF2-40B4-BE49-F238E27FC236}">
                <a16:creationId xmlns:a16="http://schemas.microsoft.com/office/drawing/2014/main" id="{93242F9E-03D0-42A7-9C55-56F08BE0D355}"/>
              </a:ext>
            </a:extLst>
          </p:cNvPr>
          <p:cNvSpPr txBox="1"/>
          <p:nvPr/>
        </p:nvSpPr>
        <p:spPr>
          <a:xfrm>
            <a:off x="1287035" y="211931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vercast</a:t>
            </a:r>
          </a:p>
        </p:txBody>
      </p:sp>
      <p:sp>
        <p:nvSpPr>
          <p:cNvPr id="212" name="TextBox 211">
            <a:extLst>
              <a:ext uri="{FF2B5EF4-FFF2-40B4-BE49-F238E27FC236}">
                <a16:creationId xmlns:a16="http://schemas.microsoft.com/office/drawing/2014/main" id="{20E50703-ECBB-4532-8F2F-95690DAF3AA8}"/>
              </a:ext>
            </a:extLst>
          </p:cNvPr>
          <p:cNvSpPr txBox="1"/>
          <p:nvPr/>
        </p:nvSpPr>
        <p:spPr>
          <a:xfrm>
            <a:off x="2163807"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 rain</a:t>
            </a:r>
          </a:p>
        </p:txBody>
      </p:sp>
      <p:sp>
        <p:nvSpPr>
          <p:cNvPr id="213" name="TextBox 212">
            <a:extLst>
              <a:ext uri="{FF2B5EF4-FFF2-40B4-BE49-F238E27FC236}">
                <a16:creationId xmlns:a16="http://schemas.microsoft.com/office/drawing/2014/main" id="{B8020908-8BA7-40A4-9AAB-2D18C13E05F4}"/>
              </a:ext>
            </a:extLst>
          </p:cNvPr>
          <p:cNvSpPr txBox="1"/>
          <p:nvPr/>
        </p:nvSpPr>
        <p:spPr>
          <a:xfrm>
            <a:off x="3911001"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avy rain</a:t>
            </a:r>
          </a:p>
        </p:txBody>
      </p:sp>
      <p:sp>
        <p:nvSpPr>
          <p:cNvPr id="214" name="TextBox 213">
            <a:extLst>
              <a:ext uri="{FF2B5EF4-FFF2-40B4-BE49-F238E27FC236}">
                <a16:creationId xmlns:a16="http://schemas.microsoft.com/office/drawing/2014/main" id="{AC932ECC-4A34-4063-901F-EEF369FD585E}"/>
              </a:ext>
            </a:extLst>
          </p:cNvPr>
          <p:cNvSpPr txBox="1"/>
          <p:nvPr/>
        </p:nvSpPr>
        <p:spPr>
          <a:xfrm>
            <a:off x="4784598"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loud</a:t>
            </a:r>
          </a:p>
        </p:txBody>
      </p:sp>
      <p:sp>
        <p:nvSpPr>
          <p:cNvPr id="215" name="TextBox 214">
            <a:extLst>
              <a:ext uri="{FF2B5EF4-FFF2-40B4-BE49-F238E27FC236}">
                <a16:creationId xmlns:a16="http://schemas.microsoft.com/office/drawing/2014/main" id="{F7F7B8F8-6D4C-4BDD-90CC-A79D67FF70C4}"/>
              </a:ext>
            </a:extLst>
          </p:cNvPr>
          <p:cNvSpPr txBox="1"/>
          <p:nvPr/>
        </p:nvSpPr>
        <p:spPr>
          <a:xfrm>
            <a:off x="3037404"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il</a:t>
            </a:r>
          </a:p>
        </p:txBody>
      </p:sp>
      <p:sp>
        <p:nvSpPr>
          <p:cNvPr id="216" name="TextBox 215">
            <a:extLst>
              <a:ext uri="{FF2B5EF4-FFF2-40B4-BE49-F238E27FC236}">
                <a16:creationId xmlns:a16="http://schemas.microsoft.com/office/drawing/2014/main" id="{20D4B2D9-FA07-417F-BE4F-5B256169F5CD}"/>
              </a:ext>
            </a:extLst>
          </p:cNvPr>
          <p:cNvSpPr txBox="1"/>
          <p:nvPr/>
        </p:nvSpPr>
        <p:spPr>
          <a:xfrm>
            <a:off x="5658195"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e</a:t>
            </a:r>
          </a:p>
        </p:txBody>
      </p:sp>
      <p:sp>
        <p:nvSpPr>
          <p:cNvPr id="217" name="TextBox 216">
            <a:extLst>
              <a:ext uri="{FF2B5EF4-FFF2-40B4-BE49-F238E27FC236}">
                <a16:creationId xmlns:a16="http://schemas.microsoft.com/office/drawing/2014/main" id="{96FC0E35-251A-4376-983B-5ECF656C0831}"/>
              </a:ext>
            </a:extLst>
          </p:cNvPr>
          <p:cNvSpPr txBox="1"/>
          <p:nvPr/>
        </p:nvSpPr>
        <p:spPr>
          <a:xfrm>
            <a:off x="8278986"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w print</a:t>
            </a:r>
          </a:p>
        </p:txBody>
      </p:sp>
      <p:sp>
        <p:nvSpPr>
          <p:cNvPr id="218" name="TextBox 217">
            <a:extLst>
              <a:ext uri="{FF2B5EF4-FFF2-40B4-BE49-F238E27FC236}">
                <a16:creationId xmlns:a16="http://schemas.microsoft.com/office/drawing/2014/main" id="{4BB9D0C1-BDAD-4A58-9F1F-BB621EE268F8}"/>
              </a:ext>
            </a:extLst>
          </p:cNvPr>
          <p:cNvSpPr txBox="1"/>
          <p:nvPr/>
        </p:nvSpPr>
        <p:spPr>
          <a:xfrm>
            <a:off x="7405389"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nowflake</a:t>
            </a:r>
          </a:p>
        </p:txBody>
      </p:sp>
      <p:sp>
        <p:nvSpPr>
          <p:cNvPr id="219" name="TextBox 218">
            <a:extLst>
              <a:ext uri="{FF2B5EF4-FFF2-40B4-BE49-F238E27FC236}">
                <a16:creationId xmlns:a16="http://schemas.microsoft.com/office/drawing/2014/main" id="{3A91E1C3-8C77-486C-97E8-3BB7EE127B0C}"/>
              </a:ext>
            </a:extLst>
          </p:cNvPr>
          <p:cNvSpPr txBox="1"/>
          <p:nvPr/>
        </p:nvSpPr>
        <p:spPr>
          <a:xfrm>
            <a:off x="6531792"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now</a:t>
            </a:r>
          </a:p>
        </p:txBody>
      </p:sp>
      <p:sp>
        <p:nvSpPr>
          <p:cNvPr id="220" name="TextBox 219">
            <a:extLst>
              <a:ext uri="{FF2B5EF4-FFF2-40B4-BE49-F238E27FC236}">
                <a16:creationId xmlns:a16="http://schemas.microsoft.com/office/drawing/2014/main" id="{BD4BCF1C-FD8D-45E2-A5FE-6F5086FDB311}"/>
              </a:ext>
            </a:extLst>
          </p:cNvPr>
          <p:cNvSpPr txBox="1"/>
          <p:nvPr/>
        </p:nvSpPr>
        <p:spPr>
          <a:xfrm>
            <a:off x="9152583" y="211931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rd</a:t>
            </a:r>
          </a:p>
        </p:txBody>
      </p:sp>
      <p:sp>
        <p:nvSpPr>
          <p:cNvPr id="221" name="TextBox 220">
            <a:extLst>
              <a:ext uri="{FF2B5EF4-FFF2-40B4-BE49-F238E27FC236}">
                <a16:creationId xmlns:a16="http://schemas.microsoft.com/office/drawing/2014/main" id="{81BD7444-CFAD-45B4-8C81-5A442871738B}"/>
              </a:ext>
            </a:extLst>
          </p:cNvPr>
          <p:cNvSpPr txBox="1"/>
          <p:nvPr/>
        </p:nvSpPr>
        <p:spPr>
          <a:xfrm>
            <a:off x="10014538" y="211931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t</a:t>
            </a:r>
          </a:p>
        </p:txBody>
      </p:sp>
      <p:sp>
        <p:nvSpPr>
          <p:cNvPr id="222" name="TextBox 221">
            <a:extLst>
              <a:ext uri="{FF2B5EF4-FFF2-40B4-BE49-F238E27FC236}">
                <a16:creationId xmlns:a16="http://schemas.microsoft.com/office/drawing/2014/main" id="{9300A4AF-4AA0-470B-9383-71F448DFB913}"/>
              </a:ext>
            </a:extLst>
          </p:cNvPr>
          <p:cNvSpPr txBox="1"/>
          <p:nvPr/>
        </p:nvSpPr>
        <p:spPr>
          <a:xfrm>
            <a:off x="10891308"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g</a:t>
            </a:r>
          </a:p>
        </p:txBody>
      </p:sp>
      <p:sp>
        <p:nvSpPr>
          <p:cNvPr id="223" name="TextBox 222">
            <a:extLst>
              <a:ext uri="{FF2B5EF4-FFF2-40B4-BE49-F238E27FC236}">
                <a16:creationId xmlns:a16="http://schemas.microsoft.com/office/drawing/2014/main" id="{2929AE14-BC6D-464F-B7D0-CA7528FF2471}"/>
              </a:ext>
            </a:extLst>
          </p:cNvPr>
          <p:cNvSpPr txBox="1"/>
          <p:nvPr/>
        </p:nvSpPr>
        <p:spPr>
          <a:xfrm>
            <a:off x="1311025"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ug</a:t>
            </a:r>
          </a:p>
        </p:txBody>
      </p:sp>
      <p:sp>
        <p:nvSpPr>
          <p:cNvPr id="224" name="TextBox 223">
            <a:extLst>
              <a:ext uri="{FF2B5EF4-FFF2-40B4-BE49-F238E27FC236}">
                <a16:creationId xmlns:a16="http://schemas.microsoft.com/office/drawing/2014/main" id="{E129DF33-F618-4809-92F7-B810BC4AE771}"/>
              </a:ext>
            </a:extLst>
          </p:cNvPr>
          <p:cNvSpPr txBox="1"/>
          <p:nvPr/>
        </p:nvSpPr>
        <p:spPr>
          <a:xfrm>
            <a:off x="2181921"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eaf</a:t>
            </a:r>
          </a:p>
        </p:txBody>
      </p:sp>
      <p:sp>
        <p:nvSpPr>
          <p:cNvPr id="225" name="TextBox 224">
            <a:extLst>
              <a:ext uri="{FF2B5EF4-FFF2-40B4-BE49-F238E27FC236}">
                <a16:creationId xmlns:a16="http://schemas.microsoft.com/office/drawing/2014/main" id="{EC88AB89-C1A8-4537-AADD-396F79C9100C}"/>
              </a:ext>
            </a:extLst>
          </p:cNvPr>
          <p:cNvSpPr txBox="1"/>
          <p:nvPr/>
        </p:nvSpPr>
        <p:spPr>
          <a:xfrm>
            <a:off x="440129"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wl</a:t>
            </a:r>
          </a:p>
        </p:txBody>
      </p:sp>
      <p:sp>
        <p:nvSpPr>
          <p:cNvPr id="226" name="TextBox 225">
            <a:extLst>
              <a:ext uri="{FF2B5EF4-FFF2-40B4-BE49-F238E27FC236}">
                <a16:creationId xmlns:a16="http://schemas.microsoft.com/office/drawing/2014/main" id="{DE35C367-0B07-4121-8844-F991F7E24F1B}"/>
              </a:ext>
            </a:extLst>
          </p:cNvPr>
          <p:cNvSpPr txBox="1"/>
          <p:nvPr/>
        </p:nvSpPr>
        <p:spPr>
          <a:xfrm>
            <a:off x="3052817"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ne</a:t>
            </a:r>
          </a:p>
        </p:txBody>
      </p:sp>
      <p:sp>
        <p:nvSpPr>
          <p:cNvPr id="227" name="TextBox 226">
            <a:extLst>
              <a:ext uri="{FF2B5EF4-FFF2-40B4-BE49-F238E27FC236}">
                <a16:creationId xmlns:a16="http://schemas.microsoft.com/office/drawing/2014/main" id="{0117497D-8F4C-4B56-96B4-01FDD0207DE4}"/>
              </a:ext>
            </a:extLst>
          </p:cNvPr>
          <p:cNvSpPr txBox="1"/>
          <p:nvPr/>
        </p:nvSpPr>
        <p:spPr>
          <a:xfrm>
            <a:off x="5665505"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oot</a:t>
            </a:r>
          </a:p>
        </p:txBody>
      </p:sp>
      <p:sp>
        <p:nvSpPr>
          <p:cNvPr id="228" name="TextBox 227">
            <a:extLst>
              <a:ext uri="{FF2B5EF4-FFF2-40B4-BE49-F238E27FC236}">
                <a16:creationId xmlns:a16="http://schemas.microsoft.com/office/drawing/2014/main" id="{AAC0A026-1489-491E-B4E3-6C735A52F48E}"/>
              </a:ext>
            </a:extLst>
          </p:cNvPr>
          <p:cNvSpPr txBox="1"/>
          <p:nvPr/>
        </p:nvSpPr>
        <p:spPr>
          <a:xfrm>
            <a:off x="4794609"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abbit</a:t>
            </a:r>
          </a:p>
        </p:txBody>
      </p:sp>
      <p:sp>
        <p:nvSpPr>
          <p:cNvPr id="229" name="TextBox 228">
            <a:extLst>
              <a:ext uri="{FF2B5EF4-FFF2-40B4-BE49-F238E27FC236}">
                <a16:creationId xmlns:a16="http://schemas.microsoft.com/office/drawing/2014/main" id="{7F91FC3D-931E-4773-9BA2-11F8692A5DE3}"/>
              </a:ext>
            </a:extLst>
          </p:cNvPr>
          <p:cNvSpPr txBox="1"/>
          <p:nvPr/>
        </p:nvSpPr>
        <p:spPr>
          <a:xfrm>
            <a:off x="3923713"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house</a:t>
            </a:r>
          </a:p>
        </p:txBody>
      </p:sp>
      <p:sp>
        <p:nvSpPr>
          <p:cNvPr id="230" name="TextBox 229">
            <a:extLst>
              <a:ext uri="{FF2B5EF4-FFF2-40B4-BE49-F238E27FC236}">
                <a16:creationId xmlns:a16="http://schemas.microsoft.com/office/drawing/2014/main" id="{211A7CC0-B680-4F30-A56F-0694E5E82CA3}"/>
              </a:ext>
            </a:extLst>
          </p:cNvPr>
          <p:cNvSpPr txBox="1"/>
          <p:nvPr/>
        </p:nvSpPr>
        <p:spPr>
          <a:xfrm>
            <a:off x="6536401" y="293186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ning bolt</a:t>
            </a:r>
          </a:p>
        </p:txBody>
      </p:sp>
      <p:sp>
        <p:nvSpPr>
          <p:cNvPr id="231" name="TextBox 230">
            <a:extLst>
              <a:ext uri="{FF2B5EF4-FFF2-40B4-BE49-F238E27FC236}">
                <a16:creationId xmlns:a16="http://schemas.microsoft.com/office/drawing/2014/main" id="{C32B9855-5C85-412F-9A73-DABD6BE0F5B8}"/>
              </a:ext>
            </a:extLst>
          </p:cNvPr>
          <p:cNvSpPr txBox="1"/>
          <p:nvPr/>
        </p:nvSpPr>
        <p:spPr>
          <a:xfrm>
            <a:off x="7395655" y="293186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ghtning</a:t>
            </a:r>
          </a:p>
        </p:txBody>
      </p:sp>
      <p:sp>
        <p:nvSpPr>
          <p:cNvPr id="232" name="TextBox 231">
            <a:extLst>
              <a:ext uri="{FF2B5EF4-FFF2-40B4-BE49-F238E27FC236}">
                <a16:creationId xmlns:a16="http://schemas.microsoft.com/office/drawing/2014/main" id="{55509807-00D9-4686-BD20-EEB24DFDE015}"/>
              </a:ext>
            </a:extLst>
          </p:cNvPr>
          <p:cNvSpPr txBox="1"/>
          <p:nvPr/>
        </p:nvSpPr>
        <p:spPr>
          <a:xfrm>
            <a:off x="8269726"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rop</a:t>
            </a:r>
          </a:p>
        </p:txBody>
      </p:sp>
      <p:sp>
        <p:nvSpPr>
          <p:cNvPr id="233" name="TextBox 232">
            <a:extLst>
              <a:ext uri="{FF2B5EF4-FFF2-40B4-BE49-F238E27FC236}">
                <a16:creationId xmlns:a16="http://schemas.microsoft.com/office/drawing/2014/main" id="{45FEE456-7A16-4F59-BF3B-8846271E1639}"/>
              </a:ext>
            </a:extLst>
          </p:cNvPr>
          <p:cNvSpPr txBox="1"/>
          <p:nvPr/>
        </p:nvSpPr>
        <p:spPr>
          <a:xfrm>
            <a:off x="10011518"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ortoise</a:t>
            </a:r>
          </a:p>
        </p:txBody>
      </p:sp>
      <p:sp>
        <p:nvSpPr>
          <p:cNvPr id="234" name="TextBox 233">
            <a:extLst>
              <a:ext uri="{FF2B5EF4-FFF2-40B4-BE49-F238E27FC236}">
                <a16:creationId xmlns:a16="http://schemas.microsoft.com/office/drawing/2014/main" id="{B8A9A9C0-B383-459B-98EE-E4C6495932FF}"/>
              </a:ext>
            </a:extLst>
          </p:cNvPr>
          <p:cNvSpPr txBox="1"/>
          <p:nvPr/>
        </p:nvSpPr>
        <p:spPr>
          <a:xfrm>
            <a:off x="10882417"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ee</a:t>
            </a:r>
          </a:p>
        </p:txBody>
      </p:sp>
      <p:sp>
        <p:nvSpPr>
          <p:cNvPr id="235" name="TextBox 234">
            <a:extLst>
              <a:ext uri="{FF2B5EF4-FFF2-40B4-BE49-F238E27FC236}">
                <a16:creationId xmlns:a16="http://schemas.microsoft.com/office/drawing/2014/main" id="{A6027668-D27E-4248-BEB3-70A0C5A1F659}"/>
              </a:ext>
            </a:extLst>
          </p:cNvPr>
          <p:cNvSpPr txBox="1"/>
          <p:nvPr/>
        </p:nvSpPr>
        <p:spPr>
          <a:xfrm>
            <a:off x="9140622" y="29318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mbrella</a:t>
            </a:r>
          </a:p>
        </p:txBody>
      </p:sp>
      <p:sp>
        <p:nvSpPr>
          <p:cNvPr id="236" name="TextBox 235">
            <a:extLst>
              <a:ext uri="{FF2B5EF4-FFF2-40B4-BE49-F238E27FC236}">
                <a16:creationId xmlns:a16="http://schemas.microsoft.com/office/drawing/2014/main" id="{F0806446-6EF0-4680-A207-30290AED83FB}"/>
              </a:ext>
            </a:extLst>
          </p:cNvPr>
          <p:cNvSpPr txBox="1"/>
          <p:nvPr/>
        </p:nvSpPr>
        <p:spPr>
          <a:xfrm>
            <a:off x="426851" y="36915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Kennel</a:t>
            </a:r>
          </a:p>
        </p:txBody>
      </p:sp>
      <p:sp>
        <p:nvSpPr>
          <p:cNvPr id="237" name="TextBox 236">
            <a:extLst>
              <a:ext uri="{FF2B5EF4-FFF2-40B4-BE49-F238E27FC236}">
                <a16:creationId xmlns:a16="http://schemas.microsoft.com/office/drawing/2014/main" id="{81F0F29A-32B4-416A-AA0D-BACE8D86121A}"/>
              </a:ext>
            </a:extLst>
          </p:cNvPr>
          <p:cNvSpPr txBox="1"/>
          <p:nvPr/>
        </p:nvSpPr>
        <p:spPr>
          <a:xfrm>
            <a:off x="3039971" y="36915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ffic cone</a:t>
            </a:r>
          </a:p>
        </p:txBody>
      </p:sp>
      <p:sp>
        <p:nvSpPr>
          <p:cNvPr id="238" name="TextBox 237">
            <a:extLst>
              <a:ext uri="{FF2B5EF4-FFF2-40B4-BE49-F238E27FC236}">
                <a16:creationId xmlns:a16="http://schemas.microsoft.com/office/drawing/2014/main" id="{73FE712A-DD94-4B4F-A945-838CCBBB3446}"/>
              </a:ext>
            </a:extLst>
          </p:cNvPr>
          <p:cNvSpPr txBox="1"/>
          <p:nvPr/>
        </p:nvSpPr>
        <p:spPr>
          <a:xfrm>
            <a:off x="2168931" y="36915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r tree</a:t>
            </a:r>
          </a:p>
        </p:txBody>
      </p:sp>
      <p:sp>
        <p:nvSpPr>
          <p:cNvPr id="239" name="TextBox 238">
            <a:extLst>
              <a:ext uri="{FF2B5EF4-FFF2-40B4-BE49-F238E27FC236}">
                <a16:creationId xmlns:a16="http://schemas.microsoft.com/office/drawing/2014/main" id="{D0931B0B-4EED-4F02-96C9-DEE6E339CC38}"/>
              </a:ext>
            </a:extLst>
          </p:cNvPr>
          <p:cNvSpPr txBox="1"/>
          <p:nvPr/>
        </p:nvSpPr>
        <p:spPr>
          <a:xfrm>
            <a:off x="1297891" y="36915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lower</a:t>
            </a:r>
          </a:p>
        </p:txBody>
      </p:sp>
      <p:sp>
        <p:nvSpPr>
          <p:cNvPr id="240" name="TextBox 239">
            <a:extLst>
              <a:ext uri="{FF2B5EF4-FFF2-40B4-BE49-F238E27FC236}">
                <a16:creationId xmlns:a16="http://schemas.microsoft.com/office/drawing/2014/main" id="{F3E7E225-9629-4664-B84C-D7F722E0322B}"/>
              </a:ext>
            </a:extLst>
          </p:cNvPr>
          <p:cNvSpPr txBox="1"/>
          <p:nvPr/>
        </p:nvSpPr>
        <p:spPr>
          <a:xfrm>
            <a:off x="3911011" y="369157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un</a:t>
            </a:r>
          </a:p>
        </p:txBody>
      </p:sp>
      <p:sp>
        <p:nvSpPr>
          <p:cNvPr id="241" name="TextBox 240">
            <a:extLst>
              <a:ext uri="{FF2B5EF4-FFF2-40B4-BE49-F238E27FC236}">
                <a16:creationId xmlns:a16="http://schemas.microsoft.com/office/drawing/2014/main" id="{AE60AFCD-BFD5-487E-8A6B-7C598949FDC9}"/>
              </a:ext>
            </a:extLst>
          </p:cNvPr>
          <p:cNvSpPr txBox="1"/>
          <p:nvPr/>
        </p:nvSpPr>
        <p:spPr>
          <a:xfrm>
            <a:off x="4770409" y="369157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on</a:t>
            </a:r>
          </a:p>
        </p:txBody>
      </p:sp>
      <p:sp>
        <p:nvSpPr>
          <p:cNvPr id="242" name="TextBox 241">
            <a:extLst>
              <a:ext uri="{FF2B5EF4-FFF2-40B4-BE49-F238E27FC236}">
                <a16:creationId xmlns:a16="http://schemas.microsoft.com/office/drawing/2014/main" id="{C4A62096-B67A-40A6-A1CB-1B32FB75DD94}"/>
              </a:ext>
            </a:extLst>
          </p:cNvPr>
          <p:cNvSpPr txBox="1"/>
          <p:nvPr/>
        </p:nvSpPr>
        <p:spPr>
          <a:xfrm>
            <a:off x="5644621" y="36915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cycle</a:t>
            </a:r>
          </a:p>
        </p:txBody>
      </p:sp>
      <p:grpSp>
        <p:nvGrpSpPr>
          <p:cNvPr id="243" name="Group 290">
            <a:extLst>
              <a:ext uri="{FF2B5EF4-FFF2-40B4-BE49-F238E27FC236}">
                <a16:creationId xmlns:a16="http://schemas.microsoft.com/office/drawing/2014/main" id="{5935AD36-25C2-4D91-8F8A-1733347F9A1C}"/>
              </a:ext>
            </a:extLst>
          </p:cNvPr>
          <p:cNvGrpSpPr>
            <a:grpSpLocks noChangeAspect="1"/>
          </p:cNvGrpSpPr>
          <p:nvPr/>
        </p:nvGrpSpPr>
        <p:grpSpPr bwMode="auto">
          <a:xfrm>
            <a:off x="920214" y="1700213"/>
            <a:ext cx="369676" cy="369676"/>
            <a:chOff x="7355" y="1132"/>
            <a:chExt cx="340" cy="340"/>
          </a:xfrm>
          <a:solidFill>
            <a:schemeClr val="accent4"/>
          </a:solidFill>
        </p:grpSpPr>
        <p:sp>
          <p:nvSpPr>
            <p:cNvPr id="244" name="Freeform 291">
              <a:extLst>
                <a:ext uri="{FF2B5EF4-FFF2-40B4-BE49-F238E27FC236}">
                  <a16:creationId xmlns:a16="http://schemas.microsoft.com/office/drawing/2014/main" id="{ED4B1D5D-F86B-4436-BC22-4E0ABA5AE694}"/>
                </a:ext>
              </a:extLst>
            </p:cNvPr>
            <p:cNvSpPr>
              <a:spLocks noEditPoints="1"/>
            </p:cNvSpPr>
            <p:nvPr/>
          </p:nvSpPr>
          <p:spPr bwMode="auto">
            <a:xfrm>
              <a:off x="7355" y="1132"/>
              <a:ext cx="340" cy="340"/>
            </a:xfrm>
            <a:custGeom>
              <a:avLst/>
              <a:gdLst>
                <a:gd name="T0" fmla="*/ 256 w 512"/>
                <a:gd name="T1" fmla="*/ 21 h 512"/>
                <a:gd name="T2" fmla="*/ 422 w 512"/>
                <a:gd name="T3" fmla="*/ 90 h 512"/>
                <a:gd name="T4" fmla="*/ 490 w 512"/>
                <a:gd name="T5" fmla="*/ 256 h 512"/>
                <a:gd name="T6" fmla="*/ 422 w 512"/>
                <a:gd name="T7" fmla="*/ 422 h 512"/>
                <a:gd name="T8" fmla="*/ 256 w 512"/>
                <a:gd name="T9" fmla="*/ 490 h 512"/>
                <a:gd name="T10" fmla="*/ 90 w 512"/>
                <a:gd name="T11" fmla="*/ 422 h 512"/>
                <a:gd name="T12" fmla="*/ 21 w 512"/>
                <a:gd name="T13" fmla="*/ 256 h 512"/>
                <a:gd name="T14" fmla="*/ 90 w 512"/>
                <a:gd name="T15" fmla="*/ 90 h 512"/>
                <a:gd name="T16" fmla="*/ 256 w 512"/>
                <a:gd name="T17" fmla="*/ 21 h 512"/>
                <a:gd name="T18" fmla="*/ 256 w 512"/>
                <a:gd name="T19" fmla="*/ 0 h 512"/>
                <a:gd name="T20" fmla="*/ 0 w 512"/>
                <a:gd name="T21" fmla="*/ 256 h 512"/>
                <a:gd name="T22" fmla="*/ 256 w 512"/>
                <a:gd name="T23" fmla="*/ 512 h 512"/>
                <a:gd name="T24" fmla="*/ 512 w 512"/>
                <a:gd name="T25" fmla="*/ 256 h 512"/>
                <a:gd name="T26" fmla="*/ 256 w 51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21"/>
                  </a:moveTo>
                  <a:cubicBezTo>
                    <a:pt x="318" y="21"/>
                    <a:pt x="377" y="45"/>
                    <a:pt x="422" y="90"/>
                  </a:cubicBezTo>
                  <a:cubicBezTo>
                    <a:pt x="466" y="134"/>
                    <a:pt x="490" y="193"/>
                    <a:pt x="490" y="256"/>
                  </a:cubicBezTo>
                  <a:cubicBezTo>
                    <a:pt x="490" y="318"/>
                    <a:pt x="466" y="377"/>
                    <a:pt x="422" y="422"/>
                  </a:cubicBezTo>
                  <a:cubicBezTo>
                    <a:pt x="377" y="466"/>
                    <a:pt x="318" y="490"/>
                    <a:pt x="256" y="490"/>
                  </a:cubicBezTo>
                  <a:cubicBezTo>
                    <a:pt x="193" y="490"/>
                    <a:pt x="134" y="466"/>
                    <a:pt x="90" y="422"/>
                  </a:cubicBezTo>
                  <a:cubicBezTo>
                    <a:pt x="45" y="377"/>
                    <a:pt x="21" y="318"/>
                    <a:pt x="21" y="256"/>
                  </a:cubicBezTo>
                  <a:cubicBezTo>
                    <a:pt x="21" y="193"/>
                    <a:pt x="45" y="134"/>
                    <a:pt x="90" y="90"/>
                  </a:cubicBezTo>
                  <a:cubicBezTo>
                    <a:pt x="134" y="45"/>
                    <a:pt x="193"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5" name="Freeform 292">
              <a:extLst>
                <a:ext uri="{FF2B5EF4-FFF2-40B4-BE49-F238E27FC236}">
                  <a16:creationId xmlns:a16="http://schemas.microsoft.com/office/drawing/2014/main" id="{4C603C2E-847C-4645-A12F-B6C5E311449B}"/>
                </a:ext>
              </a:extLst>
            </p:cNvPr>
            <p:cNvSpPr>
              <a:spLocks noEditPoints="1"/>
            </p:cNvSpPr>
            <p:nvPr/>
          </p:nvSpPr>
          <p:spPr bwMode="auto">
            <a:xfrm>
              <a:off x="7355" y="1132"/>
              <a:ext cx="340" cy="340"/>
            </a:xfrm>
            <a:custGeom>
              <a:avLst/>
              <a:gdLst>
                <a:gd name="T0" fmla="*/ 256 w 512"/>
                <a:gd name="T1" fmla="*/ 490 h 512"/>
                <a:gd name="T2" fmla="*/ 256 w 512"/>
                <a:gd name="T3" fmla="*/ 0 h 512"/>
                <a:gd name="T4" fmla="*/ 512 w 512"/>
                <a:gd name="T5" fmla="*/ 256 h 512"/>
                <a:gd name="T6" fmla="*/ 160 w 512"/>
                <a:gd name="T7" fmla="*/ 256 h 512"/>
                <a:gd name="T8" fmla="*/ 256 w 512"/>
                <a:gd name="T9" fmla="*/ 160 h 512"/>
                <a:gd name="T10" fmla="*/ 266 w 512"/>
                <a:gd name="T11" fmla="*/ 202 h 512"/>
                <a:gd name="T12" fmla="*/ 323 w 512"/>
                <a:gd name="T13" fmla="*/ 288 h 512"/>
                <a:gd name="T14" fmla="*/ 266 w 512"/>
                <a:gd name="T15" fmla="*/ 329 h 512"/>
                <a:gd name="T16" fmla="*/ 280 w 512"/>
                <a:gd name="T17" fmla="*/ 185 h 512"/>
                <a:gd name="T18" fmla="*/ 245 w 512"/>
                <a:gd name="T19" fmla="*/ 182 h 512"/>
                <a:gd name="T20" fmla="*/ 294 w 512"/>
                <a:gd name="T21" fmla="*/ 320 h 512"/>
                <a:gd name="T22" fmla="*/ 311 w 512"/>
                <a:gd name="T23" fmla="*/ 306 h 512"/>
                <a:gd name="T24" fmla="*/ 266 w 512"/>
                <a:gd name="T25" fmla="*/ 128 h 512"/>
                <a:gd name="T26" fmla="*/ 245 w 512"/>
                <a:gd name="T27" fmla="*/ 106 h 512"/>
                <a:gd name="T28" fmla="*/ 256 w 512"/>
                <a:gd name="T29" fmla="*/ 373 h 512"/>
                <a:gd name="T30" fmla="*/ 256 w 512"/>
                <a:gd name="T31" fmla="*/ 416 h 512"/>
                <a:gd name="T32" fmla="*/ 256 w 512"/>
                <a:gd name="T33" fmla="*/ 373 h 512"/>
                <a:gd name="T34" fmla="*/ 343 w 512"/>
                <a:gd name="T35" fmla="*/ 154 h 512"/>
                <a:gd name="T36" fmla="*/ 339 w 512"/>
                <a:gd name="T37" fmla="*/ 158 h 512"/>
                <a:gd name="T38" fmla="*/ 336 w 512"/>
                <a:gd name="T39" fmla="*/ 166 h 512"/>
                <a:gd name="T40" fmla="*/ 343 w 512"/>
                <a:gd name="T41" fmla="*/ 176 h 512"/>
                <a:gd name="T42" fmla="*/ 354 w 512"/>
                <a:gd name="T43" fmla="*/ 173 h 512"/>
                <a:gd name="T44" fmla="*/ 358 w 512"/>
                <a:gd name="T45" fmla="*/ 169 h 512"/>
                <a:gd name="T46" fmla="*/ 369 w 512"/>
                <a:gd name="T47" fmla="*/ 143 h 512"/>
                <a:gd name="T48" fmla="*/ 147 w 512"/>
                <a:gd name="T49" fmla="*/ 350 h 512"/>
                <a:gd name="T50" fmla="*/ 143 w 512"/>
                <a:gd name="T51" fmla="*/ 354 h 512"/>
                <a:gd name="T52" fmla="*/ 142 w 512"/>
                <a:gd name="T53" fmla="*/ 354 h 512"/>
                <a:gd name="T54" fmla="*/ 142 w 512"/>
                <a:gd name="T55" fmla="*/ 369 h 512"/>
                <a:gd name="T56" fmla="*/ 158 w 512"/>
                <a:gd name="T57" fmla="*/ 369 h 512"/>
                <a:gd name="T58" fmla="*/ 160 w 512"/>
                <a:gd name="T59" fmla="*/ 367 h 512"/>
                <a:gd name="T60" fmla="*/ 176 w 512"/>
                <a:gd name="T61" fmla="*/ 346 h 512"/>
                <a:gd name="T62" fmla="*/ 405 w 512"/>
                <a:gd name="T63" fmla="*/ 245 h 512"/>
                <a:gd name="T64" fmla="*/ 383 w 512"/>
                <a:gd name="T65" fmla="*/ 266 h 512"/>
                <a:gd name="T66" fmla="*/ 405 w 512"/>
                <a:gd name="T67" fmla="*/ 245 h 512"/>
                <a:gd name="T68" fmla="*/ 95 w 512"/>
                <a:gd name="T69" fmla="*/ 256 h 512"/>
                <a:gd name="T70" fmla="*/ 139 w 512"/>
                <a:gd name="T71" fmla="*/ 256 h 512"/>
                <a:gd name="T72" fmla="*/ 354 w 512"/>
                <a:gd name="T73" fmla="*/ 340 h 512"/>
                <a:gd name="T74" fmla="*/ 338 w 512"/>
                <a:gd name="T75" fmla="*/ 339 h 512"/>
                <a:gd name="T76" fmla="*/ 338 w 512"/>
                <a:gd name="T77" fmla="*/ 354 h 512"/>
                <a:gd name="T78" fmla="*/ 339 w 512"/>
                <a:gd name="T79" fmla="*/ 355 h 512"/>
                <a:gd name="T80" fmla="*/ 354 w 512"/>
                <a:gd name="T81" fmla="*/ 370 h 512"/>
                <a:gd name="T82" fmla="*/ 372 w 512"/>
                <a:gd name="T83" fmla="*/ 362 h 512"/>
                <a:gd name="T84" fmla="*/ 142 w 512"/>
                <a:gd name="T85" fmla="*/ 158 h 512"/>
                <a:gd name="T86" fmla="*/ 143 w 512"/>
                <a:gd name="T87" fmla="*/ 158 h 512"/>
                <a:gd name="T88" fmla="*/ 158 w 512"/>
                <a:gd name="T89" fmla="*/ 173 h 512"/>
                <a:gd name="T90" fmla="*/ 176 w 512"/>
                <a:gd name="T91" fmla="*/ 166 h 512"/>
                <a:gd name="T92" fmla="*/ 158 w 512"/>
                <a:gd name="T93" fmla="*/ 144 h 512"/>
                <a:gd name="T94" fmla="*/ 142 w 512"/>
                <a:gd name="T95" fmla="*/ 1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160"/>
                  </a:moveTo>
                  <a:cubicBezTo>
                    <a:pt x="203" y="160"/>
                    <a:pt x="160" y="203"/>
                    <a:pt x="160" y="256"/>
                  </a:cubicBezTo>
                  <a:cubicBezTo>
                    <a:pt x="160" y="309"/>
                    <a:pt x="203" y="352"/>
                    <a:pt x="256" y="352"/>
                  </a:cubicBezTo>
                  <a:cubicBezTo>
                    <a:pt x="309" y="352"/>
                    <a:pt x="352" y="309"/>
                    <a:pt x="352" y="256"/>
                  </a:cubicBezTo>
                  <a:cubicBezTo>
                    <a:pt x="352" y="203"/>
                    <a:pt x="309" y="160"/>
                    <a:pt x="256" y="160"/>
                  </a:cubicBezTo>
                  <a:close/>
                  <a:moveTo>
                    <a:pt x="323" y="288"/>
                  </a:moveTo>
                  <a:cubicBezTo>
                    <a:pt x="266" y="232"/>
                    <a:pt x="266" y="232"/>
                    <a:pt x="266" y="232"/>
                  </a:cubicBezTo>
                  <a:cubicBezTo>
                    <a:pt x="266" y="202"/>
                    <a:pt x="266" y="202"/>
                    <a:pt x="266" y="202"/>
                  </a:cubicBezTo>
                  <a:cubicBezTo>
                    <a:pt x="329" y="264"/>
                    <a:pt x="329" y="264"/>
                    <a:pt x="329" y="264"/>
                  </a:cubicBezTo>
                  <a:cubicBezTo>
                    <a:pt x="329" y="264"/>
                    <a:pt x="329" y="264"/>
                    <a:pt x="330" y="265"/>
                  </a:cubicBezTo>
                  <a:cubicBezTo>
                    <a:pt x="329" y="273"/>
                    <a:pt x="326" y="281"/>
                    <a:pt x="323" y="288"/>
                  </a:cubicBezTo>
                  <a:close/>
                  <a:moveTo>
                    <a:pt x="266" y="322"/>
                  </a:moveTo>
                  <a:cubicBezTo>
                    <a:pt x="272" y="328"/>
                    <a:pt x="272" y="328"/>
                    <a:pt x="272" y="328"/>
                  </a:cubicBezTo>
                  <a:cubicBezTo>
                    <a:pt x="270" y="329"/>
                    <a:pt x="268" y="329"/>
                    <a:pt x="266" y="329"/>
                  </a:cubicBezTo>
                  <a:lnTo>
                    <a:pt x="266" y="322"/>
                  </a:lnTo>
                  <a:close/>
                  <a:moveTo>
                    <a:pt x="326" y="231"/>
                  </a:moveTo>
                  <a:cubicBezTo>
                    <a:pt x="280" y="185"/>
                    <a:pt x="280" y="185"/>
                    <a:pt x="280" y="185"/>
                  </a:cubicBezTo>
                  <a:cubicBezTo>
                    <a:pt x="302" y="193"/>
                    <a:pt x="319" y="210"/>
                    <a:pt x="326" y="231"/>
                  </a:cubicBezTo>
                  <a:close/>
                  <a:moveTo>
                    <a:pt x="181" y="256"/>
                  </a:moveTo>
                  <a:cubicBezTo>
                    <a:pt x="181" y="218"/>
                    <a:pt x="209" y="187"/>
                    <a:pt x="245" y="182"/>
                  </a:cubicBezTo>
                  <a:cubicBezTo>
                    <a:pt x="245" y="329"/>
                    <a:pt x="245" y="329"/>
                    <a:pt x="245" y="329"/>
                  </a:cubicBezTo>
                  <a:cubicBezTo>
                    <a:pt x="209" y="324"/>
                    <a:pt x="181" y="293"/>
                    <a:pt x="181" y="256"/>
                  </a:cubicBezTo>
                  <a:close/>
                  <a:moveTo>
                    <a:pt x="294" y="320"/>
                  </a:moveTo>
                  <a:cubicBezTo>
                    <a:pt x="266" y="292"/>
                    <a:pt x="266" y="292"/>
                    <a:pt x="266" y="292"/>
                  </a:cubicBezTo>
                  <a:cubicBezTo>
                    <a:pt x="266" y="262"/>
                    <a:pt x="266" y="262"/>
                    <a:pt x="266" y="262"/>
                  </a:cubicBezTo>
                  <a:cubicBezTo>
                    <a:pt x="311" y="306"/>
                    <a:pt x="311" y="306"/>
                    <a:pt x="311" y="306"/>
                  </a:cubicBezTo>
                  <a:cubicBezTo>
                    <a:pt x="306" y="311"/>
                    <a:pt x="300" y="316"/>
                    <a:pt x="294" y="320"/>
                  </a:cubicBezTo>
                  <a:close/>
                  <a:moveTo>
                    <a:pt x="256" y="139"/>
                  </a:moveTo>
                  <a:cubicBezTo>
                    <a:pt x="262" y="139"/>
                    <a:pt x="266" y="134"/>
                    <a:pt x="266" y="128"/>
                  </a:cubicBezTo>
                  <a:cubicBezTo>
                    <a:pt x="266" y="106"/>
                    <a:pt x="266" y="106"/>
                    <a:pt x="266" y="106"/>
                  </a:cubicBezTo>
                  <a:cubicBezTo>
                    <a:pt x="266" y="100"/>
                    <a:pt x="262" y="96"/>
                    <a:pt x="256" y="96"/>
                  </a:cubicBezTo>
                  <a:cubicBezTo>
                    <a:pt x="250" y="96"/>
                    <a:pt x="245" y="100"/>
                    <a:pt x="245" y="106"/>
                  </a:cubicBezTo>
                  <a:cubicBezTo>
                    <a:pt x="245" y="128"/>
                    <a:pt x="245" y="128"/>
                    <a:pt x="245" y="128"/>
                  </a:cubicBezTo>
                  <a:cubicBezTo>
                    <a:pt x="245" y="134"/>
                    <a:pt x="250" y="139"/>
                    <a:pt x="256" y="139"/>
                  </a:cubicBezTo>
                  <a:close/>
                  <a:moveTo>
                    <a:pt x="256" y="373"/>
                  </a:moveTo>
                  <a:cubicBezTo>
                    <a:pt x="250" y="373"/>
                    <a:pt x="245" y="378"/>
                    <a:pt x="245" y="384"/>
                  </a:cubicBezTo>
                  <a:cubicBezTo>
                    <a:pt x="245" y="406"/>
                    <a:pt x="245" y="406"/>
                    <a:pt x="245" y="406"/>
                  </a:cubicBezTo>
                  <a:cubicBezTo>
                    <a:pt x="245" y="412"/>
                    <a:pt x="250" y="416"/>
                    <a:pt x="256" y="416"/>
                  </a:cubicBezTo>
                  <a:cubicBezTo>
                    <a:pt x="262" y="416"/>
                    <a:pt x="266" y="412"/>
                    <a:pt x="266" y="406"/>
                  </a:cubicBezTo>
                  <a:cubicBezTo>
                    <a:pt x="266" y="384"/>
                    <a:pt x="266" y="384"/>
                    <a:pt x="266" y="384"/>
                  </a:cubicBezTo>
                  <a:cubicBezTo>
                    <a:pt x="266" y="378"/>
                    <a:pt x="262" y="373"/>
                    <a:pt x="256" y="373"/>
                  </a:cubicBezTo>
                  <a:close/>
                  <a:moveTo>
                    <a:pt x="354" y="143"/>
                  </a:moveTo>
                  <a:cubicBezTo>
                    <a:pt x="343" y="154"/>
                    <a:pt x="343" y="154"/>
                    <a:pt x="343" y="154"/>
                  </a:cubicBezTo>
                  <a:cubicBezTo>
                    <a:pt x="343" y="154"/>
                    <a:pt x="343" y="154"/>
                    <a:pt x="343" y="154"/>
                  </a:cubicBezTo>
                  <a:cubicBezTo>
                    <a:pt x="339" y="158"/>
                    <a:pt x="339" y="158"/>
                    <a:pt x="339" y="158"/>
                  </a:cubicBezTo>
                  <a:cubicBezTo>
                    <a:pt x="339" y="158"/>
                    <a:pt x="339" y="158"/>
                    <a:pt x="339" y="158"/>
                  </a:cubicBezTo>
                  <a:cubicBezTo>
                    <a:pt x="339" y="158"/>
                    <a:pt x="339" y="158"/>
                    <a:pt x="339" y="158"/>
                  </a:cubicBezTo>
                  <a:cubicBezTo>
                    <a:pt x="338" y="158"/>
                    <a:pt x="338" y="158"/>
                    <a:pt x="338" y="158"/>
                  </a:cubicBezTo>
                  <a:cubicBezTo>
                    <a:pt x="338" y="158"/>
                    <a:pt x="338" y="158"/>
                    <a:pt x="338" y="158"/>
                  </a:cubicBezTo>
                  <a:cubicBezTo>
                    <a:pt x="337" y="160"/>
                    <a:pt x="335" y="163"/>
                    <a:pt x="336" y="166"/>
                  </a:cubicBezTo>
                  <a:cubicBezTo>
                    <a:pt x="336" y="169"/>
                    <a:pt x="336" y="171"/>
                    <a:pt x="338" y="173"/>
                  </a:cubicBezTo>
                  <a:cubicBezTo>
                    <a:pt x="338" y="173"/>
                    <a:pt x="338" y="173"/>
                    <a:pt x="338" y="173"/>
                  </a:cubicBezTo>
                  <a:cubicBezTo>
                    <a:pt x="340" y="175"/>
                    <a:pt x="342" y="176"/>
                    <a:pt x="343" y="176"/>
                  </a:cubicBezTo>
                  <a:cubicBezTo>
                    <a:pt x="344" y="176"/>
                    <a:pt x="345" y="177"/>
                    <a:pt x="345" y="177"/>
                  </a:cubicBezTo>
                  <a:cubicBezTo>
                    <a:pt x="348" y="177"/>
                    <a:pt x="351" y="175"/>
                    <a:pt x="354" y="173"/>
                  </a:cubicBezTo>
                  <a:cubicBezTo>
                    <a:pt x="354" y="173"/>
                    <a:pt x="354" y="173"/>
                    <a:pt x="354" y="173"/>
                  </a:cubicBezTo>
                  <a:cubicBezTo>
                    <a:pt x="354" y="173"/>
                    <a:pt x="355" y="172"/>
                    <a:pt x="355" y="172"/>
                  </a:cubicBezTo>
                  <a:cubicBezTo>
                    <a:pt x="355" y="171"/>
                    <a:pt x="356" y="171"/>
                    <a:pt x="356" y="171"/>
                  </a:cubicBezTo>
                  <a:cubicBezTo>
                    <a:pt x="357" y="170"/>
                    <a:pt x="357" y="170"/>
                    <a:pt x="358" y="169"/>
                  </a:cubicBezTo>
                  <a:cubicBezTo>
                    <a:pt x="369" y="158"/>
                    <a:pt x="369" y="158"/>
                    <a:pt x="369" y="158"/>
                  </a:cubicBezTo>
                  <a:cubicBezTo>
                    <a:pt x="371" y="156"/>
                    <a:pt x="372" y="153"/>
                    <a:pt x="372" y="150"/>
                  </a:cubicBezTo>
                  <a:cubicBezTo>
                    <a:pt x="372" y="147"/>
                    <a:pt x="371" y="145"/>
                    <a:pt x="369" y="143"/>
                  </a:cubicBezTo>
                  <a:cubicBezTo>
                    <a:pt x="365" y="139"/>
                    <a:pt x="358" y="139"/>
                    <a:pt x="354" y="143"/>
                  </a:cubicBezTo>
                  <a:close/>
                  <a:moveTo>
                    <a:pt x="158" y="339"/>
                  </a:moveTo>
                  <a:cubicBezTo>
                    <a:pt x="147" y="350"/>
                    <a:pt x="147" y="350"/>
                    <a:pt x="147" y="350"/>
                  </a:cubicBezTo>
                  <a:cubicBezTo>
                    <a:pt x="147" y="350"/>
                    <a:pt x="147" y="350"/>
                    <a:pt x="147" y="350"/>
                  </a:cubicBezTo>
                  <a:cubicBezTo>
                    <a:pt x="143" y="354"/>
                    <a:pt x="143" y="354"/>
                    <a:pt x="143" y="354"/>
                  </a:cubicBezTo>
                  <a:cubicBezTo>
                    <a:pt x="143" y="354"/>
                    <a:pt x="143" y="354"/>
                    <a:pt x="143" y="354"/>
                  </a:cubicBezTo>
                  <a:cubicBezTo>
                    <a:pt x="143" y="354"/>
                    <a:pt x="143" y="354"/>
                    <a:pt x="143" y="354"/>
                  </a:cubicBezTo>
                  <a:cubicBezTo>
                    <a:pt x="142" y="354"/>
                    <a:pt x="142" y="354"/>
                    <a:pt x="142" y="354"/>
                  </a:cubicBezTo>
                  <a:cubicBezTo>
                    <a:pt x="142" y="354"/>
                    <a:pt x="142" y="354"/>
                    <a:pt x="142" y="354"/>
                  </a:cubicBezTo>
                  <a:cubicBezTo>
                    <a:pt x="140" y="356"/>
                    <a:pt x="139" y="359"/>
                    <a:pt x="139" y="362"/>
                  </a:cubicBezTo>
                  <a:cubicBezTo>
                    <a:pt x="139" y="365"/>
                    <a:pt x="140" y="367"/>
                    <a:pt x="142" y="369"/>
                  </a:cubicBezTo>
                  <a:cubicBezTo>
                    <a:pt x="142" y="369"/>
                    <a:pt x="142" y="369"/>
                    <a:pt x="142" y="369"/>
                  </a:cubicBezTo>
                  <a:cubicBezTo>
                    <a:pt x="144" y="371"/>
                    <a:pt x="145" y="372"/>
                    <a:pt x="147" y="372"/>
                  </a:cubicBezTo>
                  <a:cubicBezTo>
                    <a:pt x="148" y="373"/>
                    <a:pt x="148" y="373"/>
                    <a:pt x="149" y="373"/>
                  </a:cubicBezTo>
                  <a:cubicBezTo>
                    <a:pt x="152" y="373"/>
                    <a:pt x="155" y="371"/>
                    <a:pt x="158" y="369"/>
                  </a:cubicBezTo>
                  <a:cubicBezTo>
                    <a:pt x="158" y="369"/>
                    <a:pt x="158" y="369"/>
                    <a:pt x="158" y="369"/>
                  </a:cubicBezTo>
                  <a:cubicBezTo>
                    <a:pt x="158" y="369"/>
                    <a:pt x="158" y="368"/>
                    <a:pt x="159" y="368"/>
                  </a:cubicBezTo>
                  <a:cubicBezTo>
                    <a:pt x="159" y="368"/>
                    <a:pt x="160" y="367"/>
                    <a:pt x="160" y="367"/>
                  </a:cubicBezTo>
                  <a:cubicBezTo>
                    <a:pt x="161" y="366"/>
                    <a:pt x="161" y="366"/>
                    <a:pt x="162" y="365"/>
                  </a:cubicBezTo>
                  <a:cubicBezTo>
                    <a:pt x="173" y="354"/>
                    <a:pt x="173" y="354"/>
                    <a:pt x="173" y="354"/>
                  </a:cubicBezTo>
                  <a:cubicBezTo>
                    <a:pt x="175" y="352"/>
                    <a:pt x="176" y="349"/>
                    <a:pt x="176" y="346"/>
                  </a:cubicBezTo>
                  <a:cubicBezTo>
                    <a:pt x="176" y="344"/>
                    <a:pt x="175" y="341"/>
                    <a:pt x="173" y="339"/>
                  </a:cubicBezTo>
                  <a:cubicBezTo>
                    <a:pt x="169" y="335"/>
                    <a:pt x="162" y="335"/>
                    <a:pt x="158" y="339"/>
                  </a:cubicBezTo>
                  <a:close/>
                  <a:moveTo>
                    <a:pt x="405" y="245"/>
                  </a:moveTo>
                  <a:cubicBezTo>
                    <a:pt x="383" y="245"/>
                    <a:pt x="383" y="245"/>
                    <a:pt x="383" y="245"/>
                  </a:cubicBezTo>
                  <a:cubicBezTo>
                    <a:pt x="377" y="245"/>
                    <a:pt x="373" y="250"/>
                    <a:pt x="373" y="256"/>
                  </a:cubicBezTo>
                  <a:cubicBezTo>
                    <a:pt x="373" y="262"/>
                    <a:pt x="377" y="266"/>
                    <a:pt x="383" y="266"/>
                  </a:cubicBezTo>
                  <a:cubicBezTo>
                    <a:pt x="405" y="266"/>
                    <a:pt x="405" y="266"/>
                    <a:pt x="405" y="266"/>
                  </a:cubicBezTo>
                  <a:cubicBezTo>
                    <a:pt x="411" y="266"/>
                    <a:pt x="416" y="262"/>
                    <a:pt x="416" y="256"/>
                  </a:cubicBezTo>
                  <a:cubicBezTo>
                    <a:pt x="416" y="250"/>
                    <a:pt x="411" y="245"/>
                    <a:pt x="405" y="245"/>
                  </a:cubicBezTo>
                  <a:close/>
                  <a:moveTo>
                    <a:pt x="128" y="245"/>
                  </a:moveTo>
                  <a:cubicBezTo>
                    <a:pt x="106" y="245"/>
                    <a:pt x="106" y="245"/>
                    <a:pt x="106" y="245"/>
                  </a:cubicBezTo>
                  <a:cubicBezTo>
                    <a:pt x="100" y="245"/>
                    <a:pt x="95" y="250"/>
                    <a:pt x="95" y="256"/>
                  </a:cubicBezTo>
                  <a:cubicBezTo>
                    <a:pt x="95" y="262"/>
                    <a:pt x="100" y="266"/>
                    <a:pt x="106" y="266"/>
                  </a:cubicBezTo>
                  <a:cubicBezTo>
                    <a:pt x="128" y="266"/>
                    <a:pt x="128" y="266"/>
                    <a:pt x="128" y="266"/>
                  </a:cubicBezTo>
                  <a:cubicBezTo>
                    <a:pt x="134" y="266"/>
                    <a:pt x="139" y="262"/>
                    <a:pt x="139" y="256"/>
                  </a:cubicBezTo>
                  <a:cubicBezTo>
                    <a:pt x="139" y="250"/>
                    <a:pt x="134" y="245"/>
                    <a:pt x="128" y="245"/>
                  </a:cubicBezTo>
                  <a:close/>
                  <a:moveTo>
                    <a:pt x="358" y="343"/>
                  </a:moveTo>
                  <a:cubicBezTo>
                    <a:pt x="357" y="342"/>
                    <a:pt x="356" y="341"/>
                    <a:pt x="354" y="340"/>
                  </a:cubicBezTo>
                  <a:cubicBezTo>
                    <a:pt x="354" y="339"/>
                    <a:pt x="354" y="339"/>
                    <a:pt x="354" y="339"/>
                  </a:cubicBezTo>
                  <a:cubicBezTo>
                    <a:pt x="353" y="339"/>
                    <a:pt x="353" y="339"/>
                    <a:pt x="353" y="339"/>
                  </a:cubicBezTo>
                  <a:cubicBezTo>
                    <a:pt x="349" y="335"/>
                    <a:pt x="344" y="333"/>
                    <a:pt x="338" y="339"/>
                  </a:cubicBezTo>
                  <a:cubicBezTo>
                    <a:pt x="336" y="341"/>
                    <a:pt x="336" y="343"/>
                    <a:pt x="336" y="346"/>
                  </a:cubicBezTo>
                  <a:cubicBezTo>
                    <a:pt x="335" y="349"/>
                    <a:pt x="337" y="352"/>
                    <a:pt x="338" y="354"/>
                  </a:cubicBezTo>
                  <a:cubicBezTo>
                    <a:pt x="338" y="354"/>
                    <a:pt x="338" y="354"/>
                    <a:pt x="338" y="354"/>
                  </a:cubicBezTo>
                  <a:cubicBezTo>
                    <a:pt x="339" y="354"/>
                    <a:pt x="339" y="354"/>
                    <a:pt x="339" y="354"/>
                  </a:cubicBezTo>
                  <a:cubicBezTo>
                    <a:pt x="339" y="354"/>
                    <a:pt x="339" y="354"/>
                    <a:pt x="339" y="354"/>
                  </a:cubicBezTo>
                  <a:cubicBezTo>
                    <a:pt x="339" y="354"/>
                    <a:pt x="339" y="355"/>
                    <a:pt x="339" y="355"/>
                  </a:cubicBezTo>
                  <a:cubicBezTo>
                    <a:pt x="343" y="358"/>
                    <a:pt x="343" y="358"/>
                    <a:pt x="343" y="358"/>
                  </a:cubicBezTo>
                  <a:cubicBezTo>
                    <a:pt x="343" y="358"/>
                    <a:pt x="343" y="358"/>
                    <a:pt x="343" y="358"/>
                  </a:cubicBezTo>
                  <a:cubicBezTo>
                    <a:pt x="354" y="370"/>
                    <a:pt x="354" y="370"/>
                    <a:pt x="354" y="370"/>
                  </a:cubicBezTo>
                  <a:cubicBezTo>
                    <a:pt x="356" y="372"/>
                    <a:pt x="359" y="373"/>
                    <a:pt x="362" y="373"/>
                  </a:cubicBezTo>
                  <a:cubicBezTo>
                    <a:pt x="364" y="373"/>
                    <a:pt x="367" y="372"/>
                    <a:pt x="369" y="369"/>
                  </a:cubicBezTo>
                  <a:cubicBezTo>
                    <a:pt x="371" y="367"/>
                    <a:pt x="372" y="365"/>
                    <a:pt x="372" y="362"/>
                  </a:cubicBezTo>
                  <a:cubicBezTo>
                    <a:pt x="372" y="359"/>
                    <a:pt x="371" y="356"/>
                    <a:pt x="369" y="354"/>
                  </a:cubicBezTo>
                  <a:lnTo>
                    <a:pt x="358" y="343"/>
                  </a:lnTo>
                  <a:close/>
                  <a:moveTo>
                    <a:pt x="142" y="158"/>
                  </a:moveTo>
                  <a:cubicBezTo>
                    <a:pt x="143" y="158"/>
                    <a:pt x="143" y="158"/>
                    <a:pt x="143" y="158"/>
                  </a:cubicBezTo>
                  <a:cubicBezTo>
                    <a:pt x="143" y="158"/>
                    <a:pt x="143" y="158"/>
                    <a:pt x="143" y="158"/>
                  </a:cubicBezTo>
                  <a:cubicBezTo>
                    <a:pt x="143" y="158"/>
                    <a:pt x="143" y="158"/>
                    <a:pt x="143" y="158"/>
                  </a:cubicBezTo>
                  <a:cubicBezTo>
                    <a:pt x="147" y="162"/>
                    <a:pt x="147" y="162"/>
                    <a:pt x="147" y="162"/>
                  </a:cubicBezTo>
                  <a:cubicBezTo>
                    <a:pt x="147" y="162"/>
                    <a:pt x="147" y="162"/>
                    <a:pt x="147" y="162"/>
                  </a:cubicBezTo>
                  <a:cubicBezTo>
                    <a:pt x="158" y="173"/>
                    <a:pt x="158" y="173"/>
                    <a:pt x="158" y="173"/>
                  </a:cubicBezTo>
                  <a:cubicBezTo>
                    <a:pt x="160" y="176"/>
                    <a:pt x="163" y="176"/>
                    <a:pt x="165" y="176"/>
                  </a:cubicBezTo>
                  <a:cubicBezTo>
                    <a:pt x="168" y="176"/>
                    <a:pt x="171" y="175"/>
                    <a:pt x="173" y="173"/>
                  </a:cubicBezTo>
                  <a:cubicBezTo>
                    <a:pt x="175" y="171"/>
                    <a:pt x="176" y="168"/>
                    <a:pt x="176" y="166"/>
                  </a:cubicBezTo>
                  <a:cubicBezTo>
                    <a:pt x="176" y="163"/>
                    <a:pt x="175" y="160"/>
                    <a:pt x="173" y="158"/>
                  </a:cubicBezTo>
                  <a:cubicBezTo>
                    <a:pt x="162" y="147"/>
                    <a:pt x="162" y="147"/>
                    <a:pt x="162" y="147"/>
                  </a:cubicBezTo>
                  <a:cubicBezTo>
                    <a:pt x="161" y="146"/>
                    <a:pt x="160" y="145"/>
                    <a:pt x="158" y="144"/>
                  </a:cubicBezTo>
                  <a:cubicBezTo>
                    <a:pt x="158" y="143"/>
                    <a:pt x="158" y="143"/>
                    <a:pt x="157" y="143"/>
                  </a:cubicBezTo>
                  <a:cubicBezTo>
                    <a:pt x="157" y="143"/>
                    <a:pt x="157" y="143"/>
                    <a:pt x="157" y="143"/>
                  </a:cubicBezTo>
                  <a:cubicBezTo>
                    <a:pt x="153" y="139"/>
                    <a:pt x="148" y="137"/>
                    <a:pt x="142" y="143"/>
                  </a:cubicBezTo>
                  <a:cubicBezTo>
                    <a:pt x="140" y="145"/>
                    <a:pt x="139" y="147"/>
                    <a:pt x="139" y="150"/>
                  </a:cubicBezTo>
                  <a:cubicBezTo>
                    <a:pt x="139" y="153"/>
                    <a:pt x="140" y="156"/>
                    <a:pt x="14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46" name="Group 295">
            <a:extLst>
              <a:ext uri="{FF2B5EF4-FFF2-40B4-BE49-F238E27FC236}">
                <a16:creationId xmlns:a16="http://schemas.microsoft.com/office/drawing/2014/main" id="{B2546A83-E168-475F-897D-365048F603A6}"/>
              </a:ext>
            </a:extLst>
          </p:cNvPr>
          <p:cNvGrpSpPr>
            <a:grpSpLocks noChangeAspect="1"/>
          </p:cNvGrpSpPr>
          <p:nvPr/>
        </p:nvGrpSpPr>
        <p:grpSpPr bwMode="auto">
          <a:xfrm>
            <a:off x="484512" y="1700213"/>
            <a:ext cx="369676" cy="369676"/>
            <a:chOff x="6958" y="1122"/>
            <a:chExt cx="340" cy="340"/>
          </a:xfrm>
          <a:solidFill>
            <a:schemeClr val="accent4"/>
          </a:solidFill>
        </p:grpSpPr>
        <p:sp>
          <p:nvSpPr>
            <p:cNvPr id="420" name="Freeform 296">
              <a:extLst>
                <a:ext uri="{FF2B5EF4-FFF2-40B4-BE49-F238E27FC236}">
                  <a16:creationId xmlns:a16="http://schemas.microsoft.com/office/drawing/2014/main" id="{C2CDC790-2B59-4CDB-9A2E-929817F56663}"/>
                </a:ext>
              </a:extLst>
            </p:cNvPr>
            <p:cNvSpPr>
              <a:spLocks noEditPoints="1"/>
            </p:cNvSpPr>
            <p:nvPr/>
          </p:nvSpPr>
          <p:spPr bwMode="auto">
            <a:xfrm>
              <a:off x="6958" y="1122"/>
              <a:ext cx="340" cy="340"/>
            </a:xfrm>
            <a:custGeom>
              <a:avLst/>
              <a:gdLst>
                <a:gd name="T0" fmla="*/ 256 w 512"/>
                <a:gd name="T1" fmla="*/ 21 h 512"/>
                <a:gd name="T2" fmla="*/ 422 w 512"/>
                <a:gd name="T3" fmla="*/ 90 h 512"/>
                <a:gd name="T4" fmla="*/ 490 w 512"/>
                <a:gd name="T5" fmla="*/ 256 h 512"/>
                <a:gd name="T6" fmla="*/ 422 w 512"/>
                <a:gd name="T7" fmla="*/ 422 h 512"/>
                <a:gd name="T8" fmla="*/ 256 w 512"/>
                <a:gd name="T9" fmla="*/ 490 h 512"/>
                <a:gd name="T10" fmla="*/ 90 w 512"/>
                <a:gd name="T11" fmla="*/ 422 h 512"/>
                <a:gd name="T12" fmla="*/ 21 w 512"/>
                <a:gd name="T13" fmla="*/ 256 h 512"/>
                <a:gd name="T14" fmla="*/ 90 w 512"/>
                <a:gd name="T15" fmla="*/ 90 h 512"/>
                <a:gd name="T16" fmla="*/ 256 w 512"/>
                <a:gd name="T17" fmla="*/ 21 h 512"/>
                <a:gd name="T18" fmla="*/ 256 w 512"/>
                <a:gd name="T19" fmla="*/ 0 h 512"/>
                <a:gd name="T20" fmla="*/ 0 w 512"/>
                <a:gd name="T21" fmla="*/ 256 h 512"/>
                <a:gd name="T22" fmla="*/ 256 w 512"/>
                <a:gd name="T23" fmla="*/ 512 h 512"/>
                <a:gd name="T24" fmla="*/ 512 w 512"/>
                <a:gd name="T25" fmla="*/ 256 h 512"/>
                <a:gd name="T26" fmla="*/ 256 w 51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21"/>
                  </a:moveTo>
                  <a:cubicBezTo>
                    <a:pt x="318" y="21"/>
                    <a:pt x="377" y="45"/>
                    <a:pt x="422" y="90"/>
                  </a:cubicBezTo>
                  <a:cubicBezTo>
                    <a:pt x="466" y="134"/>
                    <a:pt x="490" y="193"/>
                    <a:pt x="490" y="256"/>
                  </a:cubicBezTo>
                  <a:cubicBezTo>
                    <a:pt x="490" y="318"/>
                    <a:pt x="466" y="377"/>
                    <a:pt x="422" y="422"/>
                  </a:cubicBezTo>
                  <a:cubicBezTo>
                    <a:pt x="377" y="466"/>
                    <a:pt x="318" y="490"/>
                    <a:pt x="256" y="490"/>
                  </a:cubicBezTo>
                  <a:cubicBezTo>
                    <a:pt x="193" y="490"/>
                    <a:pt x="134" y="466"/>
                    <a:pt x="90" y="422"/>
                  </a:cubicBezTo>
                  <a:cubicBezTo>
                    <a:pt x="45" y="377"/>
                    <a:pt x="21" y="318"/>
                    <a:pt x="21" y="256"/>
                  </a:cubicBezTo>
                  <a:cubicBezTo>
                    <a:pt x="21" y="193"/>
                    <a:pt x="45" y="134"/>
                    <a:pt x="90" y="90"/>
                  </a:cubicBezTo>
                  <a:cubicBezTo>
                    <a:pt x="134" y="45"/>
                    <a:pt x="193"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1" name="Freeform 297">
              <a:extLst>
                <a:ext uri="{FF2B5EF4-FFF2-40B4-BE49-F238E27FC236}">
                  <a16:creationId xmlns:a16="http://schemas.microsoft.com/office/drawing/2014/main" id="{7D249FE8-8378-4887-AF79-9D46D8A69283}"/>
                </a:ext>
              </a:extLst>
            </p:cNvPr>
            <p:cNvSpPr>
              <a:spLocks/>
            </p:cNvSpPr>
            <p:nvPr/>
          </p:nvSpPr>
          <p:spPr bwMode="auto">
            <a:xfrm>
              <a:off x="7135" y="1256"/>
              <a:ext cx="42" cy="57"/>
            </a:xfrm>
            <a:custGeom>
              <a:avLst/>
              <a:gdLst>
                <a:gd name="T0" fmla="*/ 63 w 64"/>
                <a:gd name="T1" fmla="*/ 62 h 86"/>
                <a:gd name="T2" fmla="*/ 0 w 64"/>
                <a:gd name="T3" fmla="*/ 0 h 86"/>
                <a:gd name="T4" fmla="*/ 0 w 64"/>
                <a:gd name="T5" fmla="*/ 30 h 86"/>
                <a:gd name="T6" fmla="*/ 57 w 64"/>
                <a:gd name="T7" fmla="*/ 86 h 86"/>
                <a:gd name="T8" fmla="*/ 64 w 64"/>
                <a:gd name="T9" fmla="*/ 63 h 86"/>
                <a:gd name="T10" fmla="*/ 63 w 64"/>
                <a:gd name="T11" fmla="*/ 62 h 86"/>
              </a:gdLst>
              <a:ahLst/>
              <a:cxnLst>
                <a:cxn ang="0">
                  <a:pos x="T0" y="T1"/>
                </a:cxn>
                <a:cxn ang="0">
                  <a:pos x="T2" y="T3"/>
                </a:cxn>
                <a:cxn ang="0">
                  <a:pos x="T4" y="T5"/>
                </a:cxn>
                <a:cxn ang="0">
                  <a:pos x="T6" y="T7"/>
                </a:cxn>
                <a:cxn ang="0">
                  <a:pos x="T8" y="T9"/>
                </a:cxn>
                <a:cxn ang="0">
                  <a:pos x="T10" y="T11"/>
                </a:cxn>
              </a:cxnLst>
              <a:rect l="0" t="0" r="r" b="b"/>
              <a:pathLst>
                <a:path w="64" h="86">
                  <a:moveTo>
                    <a:pt x="63" y="62"/>
                  </a:moveTo>
                  <a:cubicBezTo>
                    <a:pt x="0" y="0"/>
                    <a:pt x="0" y="0"/>
                    <a:pt x="0" y="0"/>
                  </a:cubicBezTo>
                  <a:cubicBezTo>
                    <a:pt x="0" y="30"/>
                    <a:pt x="0" y="30"/>
                    <a:pt x="0" y="30"/>
                  </a:cubicBezTo>
                  <a:cubicBezTo>
                    <a:pt x="57" y="86"/>
                    <a:pt x="57" y="86"/>
                    <a:pt x="57" y="86"/>
                  </a:cubicBezTo>
                  <a:cubicBezTo>
                    <a:pt x="60" y="79"/>
                    <a:pt x="63" y="71"/>
                    <a:pt x="64" y="63"/>
                  </a:cubicBezTo>
                  <a:cubicBezTo>
                    <a:pt x="63" y="62"/>
                    <a:pt x="63" y="62"/>
                    <a:pt x="63" y="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2" name="Freeform 298">
              <a:extLst>
                <a:ext uri="{FF2B5EF4-FFF2-40B4-BE49-F238E27FC236}">
                  <a16:creationId xmlns:a16="http://schemas.microsoft.com/office/drawing/2014/main" id="{36DAE605-C86D-447A-A85C-CAD15A494DA6}"/>
                </a:ext>
              </a:extLst>
            </p:cNvPr>
            <p:cNvSpPr>
              <a:spLocks/>
            </p:cNvSpPr>
            <p:nvPr/>
          </p:nvSpPr>
          <p:spPr bwMode="auto">
            <a:xfrm>
              <a:off x="7135" y="1296"/>
              <a:ext cx="30" cy="38"/>
            </a:xfrm>
            <a:custGeom>
              <a:avLst/>
              <a:gdLst>
                <a:gd name="T0" fmla="*/ 0 w 45"/>
                <a:gd name="T1" fmla="*/ 30 h 58"/>
                <a:gd name="T2" fmla="*/ 28 w 45"/>
                <a:gd name="T3" fmla="*/ 58 h 58"/>
                <a:gd name="T4" fmla="*/ 45 w 45"/>
                <a:gd name="T5" fmla="*/ 44 h 58"/>
                <a:gd name="T6" fmla="*/ 0 w 45"/>
                <a:gd name="T7" fmla="*/ 0 h 58"/>
                <a:gd name="T8" fmla="*/ 0 w 45"/>
                <a:gd name="T9" fmla="*/ 30 h 58"/>
              </a:gdLst>
              <a:ahLst/>
              <a:cxnLst>
                <a:cxn ang="0">
                  <a:pos x="T0" y="T1"/>
                </a:cxn>
                <a:cxn ang="0">
                  <a:pos x="T2" y="T3"/>
                </a:cxn>
                <a:cxn ang="0">
                  <a:pos x="T4" y="T5"/>
                </a:cxn>
                <a:cxn ang="0">
                  <a:pos x="T6" y="T7"/>
                </a:cxn>
                <a:cxn ang="0">
                  <a:pos x="T8" y="T9"/>
                </a:cxn>
              </a:cxnLst>
              <a:rect l="0" t="0" r="r" b="b"/>
              <a:pathLst>
                <a:path w="45" h="58">
                  <a:moveTo>
                    <a:pt x="0" y="30"/>
                  </a:moveTo>
                  <a:cubicBezTo>
                    <a:pt x="28" y="58"/>
                    <a:pt x="28" y="58"/>
                    <a:pt x="28" y="58"/>
                  </a:cubicBezTo>
                  <a:cubicBezTo>
                    <a:pt x="34" y="54"/>
                    <a:pt x="40" y="49"/>
                    <a:pt x="45" y="44"/>
                  </a:cubicBezTo>
                  <a:cubicBezTo>
                    <a:pt x="0" y="0"/>
                    <a:pt x="0" y="0"/>
                    <a:pt x="0" y="0"/>
                  </a:cubicBezTo>
                  <a:lnTo>
                    <a:pt x="0" y="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3" name="Freeform 299">
              <a:extLst>
                <a:ext uri="{FF2B5EF4-FFF2-40B4-BE49-F238E27FC236}">
                  <a16:creationId xmlns:a16="http://schemas.microsoft.com/office/drawing/2014/main" id="{4854FCE5-1001-454B-81A4-C9284F31C21B}"/>
                </a:ext>
              </a:extLst>
            </p:cNvPr>
            <p:cNvSpPr>
              <a:spLocks/>
            </p:cNvSpPr>
            <p:nvPr/>
          </p:nvSpPr>
          <p:spPr bwMode="auto">
            <a:xfrm>
              <a:off x="7144" y="1245"/>
              <a:ext cx="30" cy="30"/>
            </a:xfrm>
            <a:custGeom>
              <a:avLst/>
              <a:gdLst>
                <a:gd name="T0" fmla="*/ 0 w 46"/>
                <a:gd name="T1" fmla="*/ 0 h 46"/>
                <a:gd name="T2" fmla="*/ 46 w 46"/>
                <a:gd name="T3" fmla="*/ 46 h 46"/>
                <a:gd name="T4" fmla="*/ 0 w 46"/>
                <a:gd name="T5" fmla="*/ 0 h 46"/>
              </a:gdLst>
              <a:ahLst/>
              <a:cxnLst>
                <a:cxn ang="0">
                  <a:pos x="T0" y="T1"/>
                </a:cxn>
                <a:cxn ang="0">
                  <a:pos x="T2" y="T3"/>
                </a:cxn>
                <a:cxn ang="0">
                  <a:pos x="T4" y="T5"/>
                </a:cxn>
              </a:cxnLst>
              <a:rect l="0" t="0" r="r" b="b"/>
              <a:pathLst>
                <a:path w="46" h="46">
                  <a:moveTo>
                    <a:pt x="0" y="0"/>
                  </a:moveTo>
                  <a:cubicBezTo>
                    <a:pt x="46" y="46"/>
                    <a:pt x="46" y="46"/>
                    <a:pt x="46" y="46"/>
                  </a:cubicBezTo>
                  <a:cubicBezTo>
                    <a:pt x="39" y="25"/>
                    <a:pt x="22" y="8"/>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4" name="Freeform 300">
              <a:extLst>
                <a:ext uri="{FF2B5EF4-FFF2-40B4-BE49-F238E27FC236}">
                  <a16:creationId xmlns:a16="http://schemas.microsoft.com/office/drawing/2014/main" id="{7AD25930-6F70-439B-94CC-7C2A4EBB4C0B}"/>
                </a:ext>
              </a:extLst>
            </p:cNvPr>
            <p:cNvSpPr>
              <a:spLocks/>
            </p:cNvSpPr>
            <p:nvPr/>
          </p:nvSpPr>
          <p:spPr bwMode="auto">
            <a:xfrm>
              <a:off x="7135" y="1336"/>
              <a:ext cx="4" cy="4"/>
            </a:xfrm>
            <a:custGeom>
              <a:avLst/>
              <a:gdLst>
                <a:gd name="T0" fmla="*/ 0 w 6"/>
                <a:gd name="T1" fmla="*/ 7 h 7"/>
                <a:gd name="T2" fmla="*/ 6 w 6"/>
                <a:gd name="T3" fmla="*/ 6 h 7"/>
                <a:gd name="T4" fmla="*/ 0 w 6"/>
                <a:gd name="T5" fmla="*/ 0 h 7"/>
                <a:gd name="T6" fmla="*/ 0 w 6"/>
                <a:gd name="T7" fmla="*/ 7 h 7"/>
              </a:gdLst>
              <a:ahLst/>
              <a:cxnLst>
                <a:cxn ang="0">
                  <a:pos x="T0" y="T1"/>
                </a:cxn>
                <a:cxn ang="0">
                  <a:pos x="T2" y="T3"/>
                </a:cxn>
                <a:cxn ang="0">
                  <a:pos x="T4" y="T5"/>
                </a:cxn>
                <a:cxn ang="0">
                  <a:pos x="T6" y="T7"/>
                </a:cxn>
              </a:cxnLst>
              <a:rect l="0" t="0" r="r" b="b"/>
              <a:pathLst>
                <a:path w="6" h="7">
                  <a:moveTo>
                    <a:pt x="0" y="7"/>
                  </a:moveTo>
                  <a:cubicBezTo>
                    <a:pt x="2" y="7"/>
                    <a:pt x="4" y="7"/>
                    <a:pt x="6" y="6"/>
                  </a:cubicBezTo>
                  <a:cubicBezTo>
                    <a:pt x="0" y="0"/>
                    <a:pt x="0" y="0"/>
                    <a:pt x="0" y="0"/>
                  </a:cubicBezTo>
                  <a:lnTo>
                    <a:pt x="0" y="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5" name="Freeform 301">
              <a:extLst>
                <a:ext uri="{FF2B5EF4-FFF2-40B4-BE49-F238E27FC236}">
                  <a16:creationId xmlns:a16="http://schemas.microsoft.com/office/drawing/2014/main" id="{9974FB7B-AE1B-4707-BB6A-EA9445A4F339}"/>
                </a:ext>
              </a:extLst>
            </p:cNvPr>
            <p:cNvSpPr>
              <a:spLocks/>
            </p:cNvSpPr>
            <p:nvPr/>
          </p:nvSpPr>
          <p:spPr bwMode="auto">
            <a:xfrm>
              <a:off x="7078" y="1243"/>
              <a:ext cx="43" cy="97"/>
            </a:xfrm>
            <a:custGeom>
              <a:avLst/>
              <a:gdLst>
                <a:gd name="T0" fmla="*/ 0 w 64"/>
                <a:gd name="T1" fmla="*/ 74 h 147"/>
                <a:gd name="T2" fmla="*/ 64 w 64"/>
                <a:gd name="T3" fmla="*/ 147 h 147"/>
                <a:gd name="T4" fmla="*/ 64 w 64"/>
                <a:gd name="T5" fmla="*/ 0 h 147"/>
                <a:gd name="T6" fmla="*/ 0 w 64"/>
                <a:gd name="T7" fmla="*/ 74 h 147"/>
              </a:gdLst>
              <a:ahLst/>
              <a:cxnLst>
                <a:cxn ang="0">
                  <a:pos x="T0" y="T1"/>
                </a:cxn>
                <a:cxn ang="0">
                  <a:pos x="T2" y="T3"/>
                </a:cxn>
                <a:cxn ang="0">
                  <a:pos x="T4" y="T5"/>
                </a:cxn>
                <a:cxn ang="0">
                  <a:pos x="T6" y="T7"/>
                </a:cxn>
              </a:cxnLst>
              <a:rect l="0" t="0" r="r" b="b"/>
              <a:pathLst>
                <a:path w="64" h="147">
                  <a:moveTo>
                    <a:pt x="0" y="74"/>
                  </a:moveTo>
                  <a:cubicBezTo>
                    <a:pt x="0" y="111"/>
                    <a:pt x="28" y="142"/>
                    <a:pt x="64" y="147"/>
                  </a:cubicBezTo>
                  <a:cubicBezTo>
                    <a:pt x="64" y="0"/>
                    <a:pt x="64" y="0"/>
                    <a:pt x="64" y="0"/>
                  </a:cubicBezTo>
                  <a:cubicBezTo>
                    <a:pt x="28" y="5"/>
                    <a:pt x="0" y="36"/>
                    <a:pt x="0" y="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6" name="Freeform 302">
              <a:extLst>
                <a:ext uri="{FF2B5EF4-FFF2-40B4-BE49-F238E27FC236}">
                  <a16:creationId xmlns:a16="http://schemas.microsoft.com/office/drawing/2014/main" id="{7DACC9A3-A8F7-49C7-ACBB-CE37B7059C55}"/>
                </a:ext>
              </a:extLst>
            </p:cNvPr>
            <p:cNvSpPr>
              <a:spLocks noEditPoints="1"/>
            </p:cNvSpPr>
            <p:nvPr/>
          </p:nvSpPr>
          <p:spPr bwMode="auto">
            <a:xfrm>
              <a:off x="6958" y="1122"/>
              <a:ext cx="340" cy="340"/>
            </a:xfrm>
            <a:custGeom>
              <a:avLst/>
              <a:gdLst>
                <a:gd name="T0" fmla="*/ 0 w 512"/>
                <a:gd name="T1" fmla="*/ 256 h 512"/>
                <a:gd name="T2" fmla="*/ 512 w 512"/>
                <a:gd name="T3" fmla="*/ 256 h 512"/>
                <a:gd name="T4" fmla="*/ 245 w 512"/>
                <a:gd name="T5" fmla="*/ 106 h 512"/>
                <a:gd name="T6" fmla="*/ 266 w 512"/>
                <a:gd name="T7" fmla="*/ 106 h 512"/>
                <a:gd name="T8" fmla="*/ 256 w 512"/>
                <a:gd name="T9" fmla="*/ 139 h 512"/>
                <a:gd name="T10" fmla="*/ 245 w 512"/>
                <a:gd name="T11" fmla="*/ 106 h 512"/>
                <a:gd name="T12" fmla="*/ 157 w 512"/>
                <a:gd name="T13" fmla="*/ 143 h 512"/>
                <a:gd name="T14" fmla="*/ 158 w 512"/>
                <a:gd name="T15" fmla="*/ 144 h 512"/>
                <a:gd name="T16" fmla="*/ 173 w 512"/>
                <a:gd name="T17" fmla="*/ 158 h 512"/>
                <a:gd name="T18" fmla="*/ 173 w 512"/>
                <a:gd name="T19" fmla="*/ 173 h 512"/>
                <a:gd name="T20" fmla="*/ 158 w 512"/>
                <a:gd name="T21" fmla="*/ 173 h 512"/>
                <a:gd name="T22" fmla="*/ 147 w 512"/>
                <a:gd name="T23" fmla="*/ 162 h 512"/>
                <a:gd name="T24" fmla="*/ 143 w 512"/>
                <a:gd name="T25" fmla="*/ 158 h 512"/>
                <a:gd name="T26" fmla="*/ 142 w 512"/>
                <a:gd name="T27" fmla="*/ 158 h 512"/>
                <a:gd name="T28" fmla="*/ 139 w 512"/>
                <a:gd name="T29" fmla="*/ 150 h 512"/>
                <a:gd name="T30" fmla="*/ 128 w 512"/>
                <a:gd name="T31" fmla="*/ 266 h 512"/>
                <a:gd name="T32" fmla="*/ 95 w 512"/>
                <a:gd name="T33" fmla="*/ 256 h 512"/>
                <a:gd name="T34" fmla="*/ 128 w 512"/>
                <a:gd name="T35" fmla="*/ 245 h 512"/>
                <a:gd name="T36" fmla="*/ 128 w 512"/>
                <a:gd name="T37" fmla="*/ 266 h 512"/>
                <a:gd name="T38" fmla="*/ 162 w 512"/>
                <a:gd name="T39" fmla="*/ 365 h 512"/>
                <a:gd name="T40" fmla="*/ 159 w 512"/>
                <a:gd name="T41" fmla="*/ 368 h 512"/>
                <a:gd name="T42" fmla="*/ 158 w 512"/>
                <a:gd name="T43" fmla="*/ 369 h 512"/>
                <a:gd name="T44" fmla="*/ 147 w 512"/>
                <a:gd name="T45" fmla="*/ 372 h 512"/>
                <a:gd name="T46" fmla="*/ 142 w 512"/>
                <a:gd name="T47" fmla="*/ 369 h 512"/>
                <a:gd name="T48" fmla="*/ 142 w 512"/>
                <a:gd name="T49" fmla="*/ 354 h 512"/>
                <a:gd name="T50" fmla="*/ 143 w 512"/>
                <a:gd name="T51" fmla="*/ 354 h 512"/>
                <a:gd name="T52" fmla="*/ 143 w 512"/>
                <a:gd name="T53" fmla="*/ 354 h 512"/>
                <a:gd name="T54" fmla="*/ 147 w 512"/>
                <a:gd name="T55" fmla="*/ 350 h 512"/>
                <a:gd name="T56" fmla="*/ 173 w 512"/>
                <a:gd name="T57" fmla="*/ 339 h 512"/>
                <a:gd name="T58" fmla="*/ 173 w 512"/>
                <a:gd name="T59" fmla="*/ 354 h 512"/>
                <a:gd name="T60" fmla="*/ 256 w 512"/>
                <a:gd name="T61" fmla="*/ 416 h 512"/>
                <a:gd name="T62" fmla="*/ 245 w 512"/>
                <a:gd name="T63" fmla="*/ 384 h 512"/>
                <a:gd name="T64" fmla="*/ 266 w 512"/>
                <a:gd name="T65" fmla="*/ 384 h 512"/>
                <a:gd name="T66" fmla="*/ 256 w 512"/>
                <a:gd name="T67" fmla="*/ 352 h 512"/>
                <a:gd name="T68" fmla="*/ 256 w 512"/>
                <a:gd name="T69" fmla="*/ 160 h 512"/>
                <a:gd name="T70" fmla="*/ 256 w 512"/>
                <a:gd name="T71" fmla="*/ 352 h 512"/>
                <a:gd name="T72" fmla="*/ 362 w 512"/>
                <a:gd name="T73" fmla="*/ 373 h 512"/>
                <a:gd name="T74" fmla="*/ 343 w 512"/>
                <a:gd name="T75" fmla="*/ 358 h 512"/>
                <a:gd name="T76" fmla="*/ 339 w 512"/>
                <a:gd name="T77" fmla="*/ 355 h 512"/>
                <a:gd name="T78" fmla="*/ 339 w 512"/>
                <a:gd name="T79" fmla="*/ 354 h 512"/>
                <a:gd name="T80" fmla="*/ 338 w 512"/>
                <a:gd name="T81" fmla="*/ 354 h 512"/>
                <a:gd name="T82" fmla="*/ 338 w 512"/>
                <a:gd name="T83" fmla="*/ 339 h 512"/>
                <a:gd name="T84" fmla="*/ 354 w 512"/>
                <a:gd name="T85" fmla="*/ 339 h 512"/>
                <a:gd name="T86" fmla="*/ 358 w 512"/>
                <a:gd name="T87" fmla="*/ 343 h 512"/>
                <a:gd name="T88" fmla="*/ 372 w 512"/>
                <a:gd name="T89" fmla="*/ 362 h 512"/>
                <a:gd name="T90" fmla="*/ 369 w 512"/>
                <a:gd name="T91" fmla="*/ 158 h 512"/>
                <a:gd name="T92" fmla="*/ 356 w 512"/>
                <a:gd name="T93" fmla="*/ 171 h 512"/>
                <a:gd name="T94" fmla="*/ 354 w 512"/>
                <a:gd name="T95" fmla="*/ 173 h 512"/>
                <a:gd name="T96" fmla="*/ 345 w 512"/>
                <a:gd name="T97" fmla="*/ 177 h 512"/>
                <a:gd name="T98" fmla="*/ 338 w 512"/>
                <a:gd name="T99" fmla="*/ 173 h 512"/>
                <a:gd name="T100" fmla="*/ 336 w 512"/>
                <a:gd name="T101" fmla="*/ 166 h 512"/>
                <a:gd name="T102" fmla="*/ 338 w 512"/>
                <a:gd name="T103" fmla="*/ 158 h 512"/>
                <a:gd name="T104" fmla="*/ 339 w 512"/>
                <a:gd name="T105" fmla="*/ 158 h 512"/>
                <a:gd name="T106" fmla="*/ 343 w 512"/>
                <a:gd name="T107" fmla="*/ 154 h 512"/>
                <a:gd name="T108" fmla="*/ 354 w 512"/>
                <a:gd name="T109" fmla="*/ 143 h 512"/>
                <a:gd name="T110" fmla="*/ 372 w 512"/>
                <a:gd name="T111" fmla="*/ 150 h 512"/>
                <a:gd name="T112" fmla="*/ 405 w 512"/>
                <a:gd name="T113" fmla="*/ 266 h 512"/>
                <a:gd name="T114" fmla="*/ 373 w 512"/>
                <a:gd name="T115" fmla="*/ 256 h 512"/>
                <a:gd name="T116" fmla="*/ 405 w 512"/>
                <a:gd name="T117" fmla="*/ 245 h 512"/>
                <a:gd name="T118" fmla="*/ 405 w 512"/>
                <a:gd name="T11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106"/>
                  </a:moveTo>
                  <a:cubicBezTo>
                    <a:pt x="245" y="100"/>
                    <a:pt x="250" y="96"/>
                    <a:pt x="256" y="96"/>
                  </a:cubicBezTo>
                  <a:cubicBezTo>
                    <a:pt x="262" y="96"/>
                    <a:pt x="266" y="100"/>
                    <a:pt x="266" y="106"/>
                  </a:cubicBezTo>
                  <a:cubicBezTo>
                    <a:pt x="266" y="128"/>
                    <a:pt x="266" y="128"/>
                    <a:pt x="266" y="128"/>
                  </a:cubicBezTo>
                  <a:cubicBezTo>
                    <a:pt x="266" y="134"/>
                    <a:pt x="262" y="139"/>
                    <a:pt x="256" y="139"/>
                  </a:cubicBezTo>
                  <a:cubicBezTo>
                    <a:pt x="250" y="139"/>
                    <a:pt x="245" y="134"/>
                    <a:pt x="245" y="128"/>
                  </a:cubicBezTo>
                  <a:lnTo>
                    <a:pt x="245" y="106"/>
                  </a:lnTo>
                  <a:close/>
                  <a:moveTo>
                    <a:pt x="142" y="143"/>
                  </a:moveTo>
                  <a:cubicBezTo>
                    <a:pt x="148" y="137"/>
                    <a:pt x="153" y="139"/>
                    <a:pt x="157" y="143"/>
                  </a:cubicBezTo>
                  <a:cubicBezTo>
                    <a:pt x="157" y="143"/>
                    <a:pt x="157" y="143"/>
                    <a:pt x="157" y="143"/>
                  </a:cubicBezTo>
                  <a:cubicBezTo>
                    <a:pt x="158" y="143"/>
                    <a:pt x="158" y="143"/>
                    <a:pt x="158" y="144"/>
                  </a:cubicBezTo>
                  <a:cubicBezTo>
                    <a:pt x="160" y="145"/>
                    <a:pt x="161" y="146"/>
                    <a:pt x="162" y="147"/>
                  </a:cubicBezTo>
                  <a:cubicBezTo>
                    <a:pt x="173" y="158"/>
                    <a:pt x="173" y="158"/>
                    <a:pt x="173" y="158"/>
                  </a:cubicBezTo>
                  <a:cubicBezTo>
                    <a:pt x="175" y="160"/>
                    <a:pt x="176" y="163"/>
                    <a:pt x="176" y="166"/>
                  </a:cubicBezTo>
                  <a:cubicBezTo>
                    <a:pt x="176" y="168"/>
                    <a:pt x="175" y="171"/>
                    <a:pt x="173" y="173"/>
                  </a:cubicBezTo>
                  <a:cubicBezTo>
                    <a:pt x="171" y="175"/>
                    <a:pt x="168" y="176"/>
                    <a:pt x="165" y="176"/>
                  </a:cubicBezTo>
                  <a:cubicBezTo>
                    <a:pt x="163" y="176"/>
                    <a:pt x="160" y="176"/>
                    <a:pt x="158" y="173"/>
                  </a:cubicBezTo>
                  <a:cubicBezTo>
                    <a:pt x="147" y="162"/>
                    <a:pt x="147" y="162"/>
                    <a:pt x="147" y="162"/>
                  </a:cubicBezTo>
                  <a:cubicBezTo>
                    <a:pt x="147" y="162"/>
                    <a:pt x="147" y="162"/>
                    <a:pt x="147" y="162"/>
                  </a:cubicBezTo>
                  <a:cubicBezTo>
                    <a:pt x="143" y="158"/>
                    <a:pt x="143" y="158"/>
                    <a:pt x="143" y="158"/>
                  </a:cubicBezTo>
                  <a:cubicBezTo>
                    <a:pt x="143" y="158"/>
                    <a:pt x="143" y="158"/>
                    <a:pt x="143" y="158"/>
                  </a:cubicBezTo>
                  <a:cubicBezTo>
                    <a:pt x="143" y="158"/>
                    <a:pt x="143" y="158"/>
                    <a:pt x="143" y="158"/>
                  </a:cubicBezTo>
                  <a:cubicBezTo>
                    <a:pt x="142" y="158"/>
                    <a:pt x="142" y="158"/>
                    <a:pt x="142" y="158"/>
                  </a:cubicBezTo>
                  <a:cubicBezTo>
                    <a:pt x="142" y="158"/>
                    <a:pt x="142" y="158"/>
                    <a:pt x="142" y="158"/>
                  </a:cubicBezTo>
                  <a:cubicBezTo>
                    <a:pt x="140" y="156"/>
                    <a:pt x="139" y="153"/>
                    <a:pt x="139" y="150"/>
                  </a:cubicBezTo>
                  <a:cubicBezTo>
                    <a:pt x="139" y="147"/>
                    <a:pt x="140" y="145"/>
                    <a:pt x="142" y="143"/>
                  </a:cubicBezTo>
                  <a:close/>
                  <a:moveTo>
                    <a:pt x="128" y="266"/>
                  </a:moveTo>
                  <a:cubicBezTo>
                    <a:pt x="106" y="266"/>
                    <a:pt x="106" y="266"/>
                    <a:pt x="106" y="266"/>
                  </a:cubicBezTo>
                  <a:cubicBezTo>
                    <a:pt x="100" y="266"/>
                    <a:pt x="95" y="262"/>
                    <a:pt x="95" y="256"/>
                  </a:cubicBezTo>
                  <a:cubicBezTo>
                    <a:pt x="95" y="250"/>
                    <a:pt x="100" y="245"/>
                    <a:pt x="106" y="245"/>
                  </a:cubicBezTo>
                  <a:cubicBezTo>
                    <a:pt x="128" y="245"/>
                    <a:pt x="128" y="245"/>
                    <a:pt x="128" y="245"/>
                  </a:cubicBezTo>
                  <a:cubicBezTo>
                    <a:pt x="134" y="245"/>
                    <a:pt x="139" y="250"/>
                    <a:pt x="139" y="256"/>
                  </a:cubicBezTo>
                  <a:cubicBezTo>
                    <a:pt x="139" y="262"/>
                    <a:pt x="134" y="266"/>
                    <a:pt x="128" y="266"/>
                  </a:cubicBezTo>
                  <a:close/>
                  <a:moveTo>
                    <a:pt x="173" y="354"/>
                  </a:moveTo>
                  <a:cubicBezTo>
                    <a:pt x="162" y="365"/>
                    <a:pt x="162" y="365"/>
                    <a:pt x="162" y="365"/>
                  </a:cubicBezTo>
                  <a:cubicBezTo>
                    <a:pt x="161" y="366"/>
                    <a:pt x="161" y="366"/>
                    <a:pt x="160" y="367"/>
                  </a:cubicBezTo>
                  <a:cubicBezTo>
                    <a:pt x="160" y="367"/>
                    <a:pt x="159" y="368"/>
                    <a:pt x="159" y="368"/>
                  </a:cubicBezTo>
                  <a:cubicBezTo>
                    <a:pt x="158" y="368"/>
                    <a:pt x="158" y="369"/>
                    <a:pt x="158" y="369"/>
                  </a:cubicBezTo>
                  <a:cubicBezTo>
                    <a:pt x="158" y="369"/>
                    <a:pt x="158" y="369"/>
                    <a:pt x="158" y="369"/>
                  </a:cubicBezTo>
                  <a:cubicBezTo>
                    <a:pt x="155" y="371"/>
                    <a:pt x="152" y="373"/>
                    <a:pt x="149" y="373"/>
                  </a:cubicBezTo>
                  <a:cubicBezTo>
                    <a:pt x="148" y="373"/>
                    <a:pt x="148" y="373"/>
                    <a:pt x="147" y="372"/>
                  </a:cubicBezTo>
                  <a:cubicBezTo>
                    <a:pt x="145" y="372"/>
                    <a:pt x="144" y="371"/>
                    <a:pt x="142" y="369"/>
                  </a:cubicBezTo>
                  <a:cubicBezTo>
                    <a:pt x="142" y="369"/>
                    <a:pt x="142" y="369"/>
                    <a:pt x="142" y="369"/>
                  </a:cubicBezTo>
                  <a:cubicBezTo>
                    <a:pt x="140" y="367"/>
                    <a:pt x="139" y="365"/>
                    <a:pt x="139" y="362"/>
                  </a:cubicBezTo>
                  <a:cubicBezTo>
                    <a:pt x="139" y="359"/>
                    <a:pt x="140" y="356"/>
                    <a:pt x="142" y="354"/>
                  </a:cubicBezTo>
                  <a:cubicBezTo>
                    <a:pt x="142" y="354"/>
                    <a:pt x="142" y="354"/>
                    <a:pt x="142" y="354"/>
                  </a:cubicBezTo>
                  <a:cubicBezTo>
                    <a:pt x="143" y="354"/>
                    <a:pt x="143" y="354"/>
                    <a:pt x="143" y="354"/>
                  </a:cubicBezTo>
                  <a:cubicBezTo>
                    <a:pt x="143" y="354"/>
                    <a:pt x="143" y="354"/>
                    <a:pt x="143" y="354"/>
                  </a:cubicBezTo>
                  <a:cubicBezTo>
                    <a:pt x="143" y="354"/>
                    <a:pt x="143" y="354"/>
                    <a:pt x="143" y="354"/>
                  </a:cubicBezTo>
                  <a:cubicBezTo>
                    <a:pt x="147" y="350"/>
                    <a:pt x="147" y="350"/>
                    <a:pt x="147" y="350"/>
                  </a:cubicBezTo>
                  <a:cubicBezTo>
                    <a:pt x="147" y="350"/>
                    <a:pt x="147" y="350"/>
                    <a:pt x="147" y="350"/>
                  </a:cubicBezTo>
                  <a:cubicBezTo>
                    <a:pt x="158" y="339"/>
                    <a:pt x="158" y="339"/>
                    <a:pt x="158" y="339"/>
                  </a:cubicBezTo>
                  <a:cubicBezTo>
                    <a:pt x="162" y="335"/>
                    <a:pt x="169" y="335"/>
                    <a:pt x="173" y="339"/>
                  </a:cubicBezTo>
                  <a:cubicBezTo>
                    <a:pt x="175" y="341"/>
                    <a:pt x="176" y="344"/>
                    <a:pt x="176" y="346"/>
                  </a:cubicBezTo>
                  <a:cubicBezTo>
                    <a:pt x="176" y="349"/>
                    <a:pt x="175" y="352"/>
                    <a:pt x="173" y="354"/>
                  </a:cubicBezTo>
                  <a:close/>
                  <a:moveTo>
                    <a:pt x="266" y="406"/>
                  </a:moveTo>
                  <a:cubicBezTo>
                    <a:pt x="266" y="412"/>
                    <a:pt x="262" y="416"/>
                    <a:pt x="256" y="416"/>
                  </a:cubicBezTo>
                  <a:cubicBezTo>
                    <a:pt x="250" y="416"/>
                    <a:pt x="245" y="412"/>
                    <a:pt x="245" y="406"/>
                  </a:cubicBezTo>
                  <a:cubicBezTo>
                    <a:pt x="245" y="384"/>
                    <a:pt x="245" y="384"/>
                    <a:pt x="245" y="384"/>
                  </a:cubicBezTo>
                  <a:cubicBezTo>
                    <a:pt x="245" y="378"/>
                    <a:pt x="250" y="373"/>
                    <a:pt x="256" y="373"/>
                  </a:cubicBezTo>
                  <a:cubicBezTo>
                    <a:pt x="262" y="373"/>
                    <a:pt x="266" y="378"/>
                    <a:pt x="266" y="384"/>
                  </a:cubicBezTo>
                  <a:lnTo>
                    <a:pt x="266" y="406"/>
                  </a:lnTo>
                  <a:close/>
                  <a:moveTo>
                    <a:pt x="256" y="352"/>
                  </a:moveTo>
                  <a:cubicBezTo>
                    <a:pt x="203" y="352"/>
                    <a:pt x="160" y="309"/>
                    <a:pt x="160" y="256"/>
                  </a:cubicBezTo>
                  <a:cubicBezTo>
                    <a:pt x="160" y="203"/>
                    <a:pt x="203" y="160"/>
                    <a:pt x="256" y="160"/>
                  </a:cubicBezTo>
                  <a:cubicBezTo>
                    <a:pt x="309" y="160"/>
                    <a:pt x="352" y="203"/>
                    <a:pt x="352" y="256"/>
                  </a:cubicBezTo>
                  <a:cubicBezTo>
                    <a:pt x="352" y="309"/>
                    <a:pt x="309" y="352"/>
                    <a:pt x="256" y="352"/>
                  </a:cubicBezTo>
                  <a:close/>
                  <a:moveTo>
                    <a:pt x="369" y="369"/>
                  </a:moveTo>
                  <a:cubicBezTo>
                    <a:pt x="367" y="371"/>
                    <a:pt x="364" y="373"/>
                    <a:pt x="362" y="373"/>
                  </a:cubicBezTo>
                  <a:cubicBezTo>
                    <a:pt x="359" y="373"/>
                    <a:pt x="356" y="372"/>
                    <a:pt x="354" y="370"/>
                  </a:cubicBezTo>
                  <a:cubicBezTo>
                    <a:pt x="343" y="358"/>
                    <a:pt x="343" y="358"/>
                    <a:pt x="343" y="358"/>
                  </a:cubicBezTo>
                  <a:cubicBezTo>
                    <a:pt x="343" y="358"/>
                    <a:pt x="343" y="358"/>
                    <a:pt x="343" y="358"/>
                  </a:cubicBezTo>
                  <a:cubicBezTo>
                    <a:pt x="339" y="355"/>
                    <a:pt x="339" y="355"/>
                    <a:pt x="339" y="355"/>
                  </a:cubicBezTo>
                  <a:cubicBezTo>
                    <a:pt x="339" y="355"/>
                    <a:pt x="339" y="354"/>
                    <a:pt x="339" y="354"/>
                  </a:cubicBezTo>
                  <a:cubicBezTo>
                    <a:pt x="339" y="354"/>
                    <a:pt x="339" y="354"/>
                    <a:pt x="339" y="354"/>
                  </a:cubicBezTo>
                  <a:cubicBezTo>
                    <a:pt x="338" y="354"/>
                    <a:pt x="338" y="354"/>
                    <a:pt x="338" y="354"/>
                  </a:cubicBezTo>
                  <a:cubicBezTo>
                    <a:pt x="338" y="354"/>
                    <a:pt x="338" y="354"/>
                    <a:pt x="338" y="354"/>
                  </a:cubicBezTo>
                  <a:cubicBezTo>
                    <a:pt x="337" y="352"/>
                    <a:pt x="335" y="349"/>
                    <a:pt x="336" y="346"/>
                  </a:cubicBezTo>
                  <a:cubicBezTo>
                    <a:pt x="336" y="343"/>
                    <a:pt x="336" y="341"/>
                    <a:pt x="338" y="339"/>
                  </a:cubicBezTo>
                  <a:cubicBezTo>
                    <a:pt x="344" y="333"/>
                    <a:pt x="349" y="335"/>
                    <a:pt x="353" y="339"/>
                  </a:cubicBezTo>
                  <a:cubicBezTo>
                    <a:pt x="354" y="339"/>
                    <a:pt x="354" y="339"/>
                    <a:pt x="354" y="339"/>
                  </a:cubicBezTo>
                  <a:cubicBezTo>
                    <a:pt x="354" y="339"/>
                    <a:pt x="354" y="339"/>
                    <a:pt x="354" y="340"/>
                  </a:cubicBezTo>
                  <a:cubicBezTo>
                    <a:pt x="356" y="341"/>
                    <a:pt x="357" y="342"/>
                    <a:pt x="358" y="343"/>
                  </a:cubicBezTo>
                  <a:cubicBezTo>
                    <a:pt x="369" y="354"/>
                    <a:pt x="369" y="354"/>
                    <a:pt x="369" y="354"/>
                  </a:cubicBezTo>
                  <a:cubicBezTo>
                    <a:pt x="371" y="356"/>
                    <a:pt x="372" y="359"/>
                    <a:pt x="372" y="362"/>
                  </a:cubicBezTo>
                  <a:cubicBezTo>
                    <a:pt x="372" y="365"/>
                    <a:pt x="371" y="367"/>
                    <a:pt x="369" y="369"/>
                  </a:cubicBezTo>
                  <a:close/>
                  <a:moveTo>
                    <a:pt x="369" y="158"/>
                  </a:moveTo>
                  <a:cubicBezTo>
                    <a:pt x="358" y="169"/>
                    <a:pt x="358" y="169"/>
                    <a:pt x="358" y="169"/>
                  </a:cubicBezTo>
                  <a:cubicBezTo>
                    <a:pt x="357" y="170"/>
                    <a:pt x="357" y="170"/>
                    <a:pt x="356" y="171"/>
                  </a:cubicBezTo>
                  <a:cubicBezTo>
                    <a:pt x="356" y="171"/>
                    <a:pt x="355" y="171"/>
                    <a:pt x="355" y="172"/>
                  </a:cubicBezTo>
                  <a:cubicBezTo>
                    <a:pt x="355" y="172"/>
                    <a:pt x="354" y="172"/>
                    <a:pt x="354" y="173"/>
                  </a:cubicBezTo>
                  <a:cubicBezTo>
                    <a:pt x="354" y="173"/>
                    <a:pt x="354" y="173"/>
                    <a:pt x="354" y="173"/>
                  </a:cubicBezTo>
                  <a:cubicBezTo>
                    <a:pt x="351" y="175"/>
                    <a:pt x="348" y="177"/>
                    <a:pt x="345" y="177"/>
                  </a:cubicBezTo>
                  <a:cubicBezTo>
                    <a:pt x="345" y="177"/>
                    <a:pt x="344" y="176"/>
                    <a:pt x="343" y="176"/>
                  </a:cubicBezTo>
                  <a:cubicBezTo>
                    <a:pt x="342" y="176"/>
                    <a:pt x="340" y="175"/>
                    <a:pt x="338" y="173"/>
                  </a:cubicBezTo>
                  <a:cubicBezTo>
                    <a:pt x="338" y="173"/>
                    <a:pt x="338" y="173"/>
                    <a:pt x="338" y="173"/>
                  </a:cubicBezTo>
                  <a:cubicBezTo>
                    <a:pt x="336" y="171"/>
                    <a:pt x="336" y="169"/>
                    <a:pt x="336" y="166"/>
                  </a:cubicBezTo>
                  <a:cubicBezTo>
                    <a:pt x="335" y="163"/>
                    <a:pt x="337" y="160"/>
                    <a:pt x="338" y="158"/>
                  </a:cubicBezTo>
                  <a:cubicBezTo>
                    <a:pt x="338" y="158"/>
                    <a:pt x="338" y="158"/>
                    <a:pt x="338" y="158"/>
                  </a:cubicBezTo>
                  <a:cubicBezTo>
                    <a:pt x="339" y="158"/>
                    <a:pt x="339" y="158"/>
                    <a:pt x="339" y="158"/>
                  </a:cubicBezTo>
                  <a:cubicBezTo>
                    <a:pt x="339" y="158"/>
                    <a:pt x="339" y="158"/>
                    <a:pt x="339" y="158"/>
                  </a:cubicBezTo>
                  <a:cubicBezTo>
                    <a:pt x="339" y="158"/>
                    <a:pt x="339" y="158"/>
                    <a:pt x="339" y="158"/>
                  </a:cubicBezTo>
                  <a:cubicBezTo>
                    <a:pt x="343" y="154"/>
                    <a:pt x="343" y="154"/>
                    <a:pt x="343" y="154"/>
                  </a:cubicBezTo>
                  <a:cubicBezTo>
                    <a:pt x="343" y="154"/>
                    <a:pt x="343" y="154"/>
                    <a:pt x="343" y="154"/>
                  </a:cubicBezTo>
                  <a:cubicBezTo>
                    <a:pt x="354" y="143"/>
                    <a:pt x="354" y="143"/>
                    <a:pt x="354" y="143"/>
                  </a:cubicBezTo>
                  <a:cubicBezTo>
                    <a:pt x="358" y="139"/>
                    <a:pt x="365" y="139"/>
                    <a:pt x="369" y="143"/>
                  </a:cubicBezTo>
                  <a:cubicBezTo>
                    <a:pt x="371" y="145"/>
                    <a:pt x="372" y="147"/>
                    <a:pt x="372" y="150"/>
                  </a:cubicBezTo>
                  <a:cubicBezTo>
                    <a:pt x="372" y="153"/>
                    <a:pt x="371" y="156"/>
                    <a:pt x="369" y="158"/>
                  </a:cubicBezTo>
                  <a:close/>
                  <a:moveTo>
                    <a:pt x="405" y="266"/>
                  </a:moveTo>
                  <a:cubicBezTo>
                    <a:pt x="383" y="266"/>
                    <a:pt x="383" y="266"/>
                    <a:pt x="383" y="266"/>
                  </a:cubicBezTo>
                  <a:cubicBezTo>
                    <a:pt x="377" y="266"/>
                    <a:pt x="373" y="262"/>
                    <a:pt x="373" y="256"/>
                  </a:cubicBezTo>
                  <a:cubicBezTo>
                    <a:pt x="373" y="250"/>
                    <a:pt x="377" y="245"/>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7" name="Freeform 118">
            <a:extLst>
              <a:ext uri="{FF2B5EF4-FFF2-40B4-BE49-F238E27FC236}">
                <a16:creationId xmlns:a16="http://schemas.microsoft.com/office/drawing/2014/main" id="{181B6796-6E7C-4D50-B59E-1AAE0CB4867A}"/>
              </a:ext>
            </a:extLst>
          </p:cNvPr>
          <p:cNvSpPr>
            <a:spLocks noChangeAspect="1" noEditPoints="1"/>
          </p:cNvSpPr>
          <p:nvPr/>
        </p:nvSpPr>
        <p:spPr bwMode="auto">
          <a:xfrm>
            <a:off x="1355916" y="1700213"/>
            <a:ext cx="369021" cy="369021"/>
          </a:xfrm>
          <a:custGeom>
            <a:avLst/>
            <a:gdLst>
              <a:gd name="T0" fmla="*/ 368 w 512"/>
              <a:gd name="T1" fmla="*/ 330 h 512"/>
              <a:gd name="T2" fmla="*/ 154 w 512"/>
              <a:gd name="T3" fmla="*/ 288 h 512"/>
              <a:gd name="T4" fmla="*/ 217 w 512"/>
              <a:gd name="T5" fmla="*/ 253 h 512"/>
              <a:gd name="T6" fmla="*/ 233 w 512"/>
              <a:gd name="T7" fmla="*/ 247 h 512"/>
              <a:gd name="T8" fmla="*/ 344 w 512"/>
              <a:gd name="T9" fmla="*/ 258 h 512"/>
              <a:gd name="T10" fmla="*/ 347 w 512"/>
              <a:gd name="T11" fmla="*/ 280 h 512"/>
              <a:gd name="T12" fmla="*/ 362 w 512"/>
              <a:gd name="T13" fmla="*/ 278 h 512"/>
              <a:gd name="T14" fmla="*/ 394 w 512"/>
              <a:gd name="T15" fmla="*/ 304 h 512"/>
              <a:gd name="T16" fmla="*/ 216 w 512"/>
              <a:gd name="T17" fmla="*/ 229 h 512"/>
              <a:gd name="T18" fmla="*/ 213 w 512"/>
              <a:gd name="T19" fmla="*/ 181 h 512"/>
              <a:gd name="T20" fmla="*/ 184 w 512"/>
              <a:gd name="T21" fmla="*/ 226 h 512"/>
              <a:gd name="T22" fmla="*/ 512 w 512"/>
              <a:gd name="T23" fmla="*/ 256 h 512"/>
              <a:gd name="T24" fmla="*/ 0 w 512"/>
              <a:gd name="T25" fmla="*/ 256 h 512"/>
              <a:gd name="T26" fmla="*/ 512 w 512"/>
              <a:gd name="T27" fmla="*/ 256 h 512"/>
              <a:gd name="T28" fmla="*/ 273 w 512"/>
              <a:gd name="T29" fmla="*/ 163 h 512"/>
              <a:gd name="T30" fmla="*/ 296 w 512"/>
              <a:gd name="T31" fmla="*/ 145 h 512"/>
              <a:gd name="T32" fmla="*/ 281 w 512"/>
              <a:gd name="T33" fmla="*/ 130 h 512"/>
              <a:gd name="T34" fmla="*/ 266 w 512"/>
              <a:gd name="T35" fmla="*/ 160 h 512"/>
              <a:gd name="T36" fmla="*/ 213 w 512"/>
              <a:gd name="T37" fmla="*/ 138 h 512"/>
              <a:gd name="T38" fmla="*/ 224 w 512"/>
              <a:gd name="T39" fmla="*/ 106 h 512"/>
              <a:gd name="T40" fmla="*/ 202 w 512"/>
              <a:gd name="T41" fmla="*/ 106 h 512"/>
              <a:gd name="T42" fmla="*/ 130 w 512"/>
              <a:gd name="T43" fmla="*/ 145 h 512"/>
              <a:gd name="T44" fmla="*/ 153 w 512"/>
              <a:gd name="T45" fmla="*/ 163 h 512"/>
              <a:gd name="T46" fmla="*/ 160 w 512"/>
              <a:gd name="T47" fmla="*/ 145 h 512"/>
              <a:gd name="T48" fmla="*/ 130 w 512"/>
              <a:gd name="T49" fmla="*/ 130 h 512"/>
              <a:gd name="T50" fmla="*/ 128 w 512"/>
              <a:gd name="T51" fmla="*/ 224 h 512"/>
              <a:gd name="T52" fmla="*/ 128 w 512"/>
              <a:gd name="T53" fmla="*/ 202 h 512"/>
              <a:gd name="T54" fmla="*/ 96 w 512"/>
              <a:gd name="T55" fmla="*/ 213 h 512"/>
              <a:gd name="T56" fmla="*/ 128 w 512"/>
              <a:gd name="T57" fmla="*/ 224 h 512"/>
              <a:gd name="T58" fmla="*/ 365 w 512"/>
              <a:gd name="T59" fmla="*/ 256 h 512"/>
              <a:gd name="T60" fmla="*/ 259 w 512"/>
              <a:gd name="T61" fmla="*/ 187 h 512"/>
              <a:gd name="T62" fmla="*/ 160 w 512"/>
              <a:gd name="T63" fmla="*/ 213 h 512"/>
              <a:gd name="T64" fmla="*/ 133 w 512"/>
              <a:gd name="T65" fmla="*/ 288 h 512"/>
              <a:gd name="T66" fmla="*/ 368 w 512"/>
              <a:gd name="T67"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394" y="304"/>
                </a:moveTo>
                <a:cubicBezTo>
                  <a:pt x="394" y="318"/>
                  <a:pt x="382" y="330"/>
                  <a:pt x="368" y="330"/>
                </a:cubicBezTo>
                <a:cubicBezTo>
                  <a:pt x="196" y="330"/>
                  <a:pt x="196" y="330"/>
                  <a:pt x="196" y="330"/>
                </a:cubicBezTo>
                <a:cubicBezTo>
                  <a:pt x="173" y="330"/>
                  <a:pt x="154" y="311"/>
                  <a:pt x="154" y="288"/>
                </a:cubicBezTo>
                <a:cubicBezTo>
                  <a:pt x="154" y="265"/>
                  <a:pt x="173" y="246"/>
                  <a:pt x="196" y="246"/>
                </a:cubicBezTo>
                <a:cubicBezTo>
                  <a:pt x="205" y="246"/>
                  <a:pt x="210" y="249"/>
                  <a:pt x="217" y="253"/>
                </a:cubicBezTo>
                <a:cubicBezTo>
                  <a:pt x="220" y="255"/>
                  <a:pt x="224" y="256"/>
                  <a:pt x="227" y="254"/>
                </a:cubicBezTo>
                <a:cubicBezTo>
                  <a:pt x="230" y="253"/>
                  <a:pt x="232" y="250"/>
                  <a:pt x="233" y="247"/>
                </a:cubicBezTo>
                <a:cubicBezTo>
                  <a:pt x="238" y="221"/>
                  <a:pt x="262" y="202"/>
                  <a:pt x="289" y="202"/>
                </a:cubicBezTo>
                <a:cubicBezTo>
                  <a:pt x="319" y="202"/>
                  <a:pt x="344" y="227"/>
                  <a:pt x="344" y="258"/>
                </a:cubicBezTo>
                <a:cubicBezTo>
                  <a:pt x="344" y="260"/>
                  <a:pt x="344" y="263"/>
                  <a:pt x="343" y="265"/>
                </a:cubicBezTo>
                <a:cubicBezTo>
                  <a:pt x="341" y="272"/>
                  <a:pt x="342" y="276"/>
                  <a:pt x="347" y="280"/>
                </a:cubicBezTo>
                <a:cubicBezTo>
                  <a:pt x="350" y="282"/>
                  <a:pt x="356" y="282"/>
                  <a:pt x="360" y="279"/>
                </a:cubicBezTo>
                <a:cubicBezTo>
                  <a:pt x="361" y="278"/>
                  <a:pt x="362" y="278"/>
                  <a:pt x="362" y="278"/>
                </a:cubicBezTo>
                <a:cubicBezTo>
                  <a:pt x="364" y="277"/>
                  <a:pt x="366" y="277"/>
                  <a:pt x="368" y="277"/>
                </a:cubicBezTo>
                <a:cubicBezTo>
                  <a:pt x="382" y="277"/>
                  <a:pt x="394" y="289"/>
                  <a:pt x="394" y="304"/>
                </a:cubicBezTo>
                <a:close/>
                <a:moveTo>
                  <a:pt x="196" y="225"/>
                </a:moveTo>
                <a:cubicBezTo>
                  <a:pt x="204" y="225"/>
                  <a:pt x="211" y="226"/>
                  <a:pt x="216" y="229"/>
                </a:cubicBezTo>
                <a:cubicBezTo>
                  <a:pt x="222" y="216"/>
                  <a:pt x="230" y="205"/>
                  <a:pt x="241" y="197"/>
                </a:cubicBezTo>
                <a:cubicBezTo>
                  <a:pt x="235" y="187"/>
                  <a:pt x="225" y="181"/>
                  <a:pt x="213" y="181"/>
                </a:cubicBezTo>
                <a:cubicBezTo>
                  <a:pt x="195" y="181"/>
                  <a:pt x="181" y="195"/>
                  <a:pt x="181" y="213"/>
                </a:cubicBezTo>
                <a:cubicBezTo>
                  <a:pt x="181" y="218"/>
                  <a:pt x="182" y="222"/>
                  <a:pt x="184" y="226"/>
                </a:cubicBezTo>
                <a:cubicBezTo>
                  <a:pt x="188" y="225"/>
                  <a:pt x="192" y="225"/>
                  <a:pt x="196" y="22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160"/>
                </a:moveTo>
                <a:cubicBezTo>
                  <a:pt x="268" y="162"/>
                  <a:pt x="271" y="163"/>
                  <a:pt x="273" y="163"/>
                </a:cubicBezTo>
                <a:cubicBezTo>
                  <a:pt x="276" y="163"/>
                  <a:pt x="279" y="162"/>
                  <a:pt x="281" y="160"/>
                </a:cubicBezTo>
                <a:cubicBezTo>
                  <a:pt x="296" y="145"/>
                  <a:pt x="296" y="145"/>
                  <a:pt x="296" y="145"/>
                </a:cubicBezTo>
                <a:cubicBezTo>
                  <a:pt x="300" y="141"/>
                  <a:pt x="300" y="134"/>
                  <a:pt x="296" y="130"/>
                </a:cubicBezTo>
                <a:cubicBezTo>
                  <a:pt x="292" y="126"/>
                  <a:pt x="285" y="126"/>
                  <a:pt x="281" y="130"/>
                </a:cubicBezTo>
                <a:cubicBezTo>
                  <a:pt x="266" y="145"/>
                  <a:pt x="266" y="145"/>
                  <a:pt x="266" y="145"/>
                </a:cubicBezTo>
                <a:cubicBezTo>
                  <a:pt x="262" y="149"/>
                  <a:pt x="262" y="156"/>
                  <a:pt x="266" y="160"/>
                </a:cubicBezTo>
                <a:close/>
                <a:moveTo>
                  <a:pt x="202" y="128"/>
                </a:moveTo>
                <a:cubicBezTo>
                  <a:pt x="202" y="134"/>
                  <a:pt x="207" y="138"/>
                  <a:pt x="213" y="138"/>
                </a:cubicBezTo>
                <a:cubicBezTo>
                  <a:pt x="219" y="138"/>
                  <a:pt x="224" y="134"/>
                  <a:pt x="224" y="128"/>
                </a:cubicBezTo>
                <a:cubicBezTo>
                  <a:pt x="224" y="106"/>
                  <a:pt x="224" y="106"/>
                  <a:pt x="224" y="106"/>
                </a:cubicBezTo>
                <a:cubicBezTo>
                  <a:pt x="224" y="100"/>
                  <a:pt x="219" y="96"/>
                  <a:pt x="213" y="96"/>
                </a:cubicBezTo>
                <a:cubicBezTo>
                  <a:pt x="207" y="96"/>
                  <a:pt x="202" y="100"/>
                  <a:pt x="202" y="106"/>
                </a:cubicBezTo>
                <a:lnTo>
                  <a:pt x="202" y="128"/>
                </a:lnTo>
                <a:close/>
                <a:moveTo>
                  <a:pt x="130" y="145"/>
                </a:moveTo>
                <a:cubicBezTo>
                  <a:pt x="145" y="160"/>
                  <a:pt x="145" y="160"/>
                  <a:pt x="145" y="160"/>
                </a:cubicBezTo>
                <a:cubicBezTo>
                  <a:pt x="147" y="162"/>
                  <a:pt x="150" y="163"/>
                  <a:pt x="153" y="163"/>
                </a:cubicBezTo>
                <a:cubicBezTo>
                  <a:pt x="155" y="163"/>
                  <a:pt x="158" y="162"/>
                  <a:pt x="160" y="160"/>
                </a:cubicBezTo>
                <a:cubicBezTo>
                  <a:pt x="164" y="156"/>
                  <a:pt x="164" y="149"/>
                  <a:pt x="160" y="145"/>
                </a:cubicBezTo>
                <a:cubicBezTo>
                  <a:pt x="145" y="130"/>
                  <a:pt x="145" y="130"/>
                  <a:pt x="145" y="130"/>
                </a:cubicBezTo>
                <a:cubicBezTo>
                  <a:pt x="141" y="126"/>
                  <a:pt x="134" y="126"/>
                  <a:pt x="130" y="130"/>
                </a:cubicBezTo>
                <a:cubicBezTo>
                  <a:pt x="126" y="134"/>
                  <a:pt x="126" y="141"/>
                  <a:pt x="130" y="145"/>
                </a:cubicBezTo>
                <a:close/>
                <a:moveTo>
                  <a:pt x="128" y="224"/>
                </a:moveTo>
                <a:cubicBezTo>
                  <a:pt x="134" y="224"/>
                  <a:pt x="138" y="219"/>
                  <a:pt x="138" y="213"/>
                </a:cubicBezTo>
                <a:cubicBezTo>
                  <a:pt x="138" y="207"/>
                  <a:pt x="134" y="202"/>
                  <a:pt x="128" y="202"/>
                </a:cubicBezTo>
                <a:cubicBezTo>
                  <a:pt x="106" y="202"/>
                  <a:pt x="106" y="202"/>
                  <a:pt x="106" y="202"/>
                </a:cubicBezTo>
                <a:cubicBezTo>
                  <a:pt x="100" y="202"/>
                  <a:pt x="96" y="207"/>
                  <a:pt x="96" y="213"/>
                </a:cubicBezTo>
                <a:cubicBezTo>
                  <a:pt x="96" y="219"/>
                  <a:pt x="100" y="224"/>
                  <a:pt x="106" y="224"/>
                </a:cubicBezTo>
                <a:lnTo>
                  <a:pt x="128" y="224"/>
                </a:lnTo>
                <a:close/>
                <a:moveTo>
                  <a:pt x="416" y="304"/>
                </a:moveTo>
                <a:cubicBezTo>
                  <a:pt x="416" y="276"/>
                  <a:pt x="392" y="254"/>
                  <a:pt x="365" y="256"/>
                </a:cubicBezTo>
                <a:cubicBezTo>
                  <a:pt x="364" y="214"/>
                  <a:pt x="330" y="181"/>
                  <a:pt x="289" y="181"/>
                </a:cubicBezTo>
                <a:cubicBezTo>
                  <a:pt x="278" y="181"/>
                  <a:pt x="268" y="183"/>
                  <a:pt x="259" y="187"/>
                </a:cubicBezTo>
                <a:cubicBezTo>
                  <a:pt x="250" y="170"/>
                  <a:pt x="233" y="160"/>
                  <a:pt x="213" y="160"/>
                </a:cubicBezTo>
                <a:cubicBezTo>
                  <a:pt x="184" y="160"/>
                  <a:pt x="160" y="184"/>
                  <a:pt x="160" y="213"/>
                </a:cubicBezTo>
                <a:cubicBezTo>
                  <a:pt x="160" y="220"/>
                  <a:pt x="161" y="227"/>
                  <a:pt x="164" y="234"/>
                </a:cubicBezTo>
                <a:cubicBezTo>
                  <a:pt x="146" y="245"/>
                  <a:pt x="133" y="265"/>
                  <a:pt x="133" y="288"/>
                </a:cubicBezTo>
                <a:cubicBezTo>
                  <a:pt x="133" y="323"/>
                  <a:pt x="161" y="352"/>
                  <a:pt x="196" y="352"/>
                </a:cubicBezTo>
                <a:cubicBezTo>
                  <a:pt x="368" y="352"/>
                  <a:pt x="368" y="352"/>
                  <a:pt x="368" y="352"/>
                </a:cubicBezTo>
                <a:cubicBezTo>
                  <a:pt x="394" y="352"/>
                  <a:pt x="416" y="330"/>
                  <a:pt x="416" y="30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8" name="Group 121">
            <a:extLst>
              <a:ext uri="{FF2B5EF4-FFF2-40B4-BE49-F238E27FC236}">
                <a16:creationId xmlns:a16="http://schemas.microsoft.com/office/drawing/2014/main" id="{E73F5603-991E-4476-AD36-BCE45073B344}"/>
              </a:ext>
            </a:extLst>
          </p:cNvPr>
          <p:cNvGrpSpPr>
            <a:grpSpLocks noChangeAspect="1"/>
          </p:cNvGrpSpPr>
          <p:nvPr/>
        </p:nvGrpSpPr>
        <p:grpSpPr bwMode="auto">
          <a:xfrm>
            <a:off x="1790963" y="1700213"/>
            <a:ext cx="369021" cy="369021"/>
            <a:chOff x="1929" y="393"/>
            <a:chExt cx="340" cy="340"/>
          </a:xfrm>
          <a:solidFill>
            <a:schemeClr val="accent2"/>
          </a:solidFill>
        </p:grpSpPr>
        <p:sp>
          <p:nvSpPr>
            <p:cNvPr id="439" name="Freeform 122">
              <a:extLst>
                <a:ext uri="{FF2B5EF4-FFF2-40B4-BE49-F238E27FC236}">
                  <a16:creationId xmlns:a16="http://schemas.microsoft.com/office/drawing/2014/main" id="{6A4096B7-93CC-49EB-B6F3-D541F9530FE7}"/>
                </a:ext>
              </a:extLst>
            </p:cNvPr>
            <p:cNvSpPr>
              <a:spLocks noEditPoints="1"/>
            </p:cNvSpPr>
            <p:nvPr/>
          </p:nvSpPr>
          <p:spPr bwMode="auto">
            <a:xfrm>
              <a:off x="2017" y="499"/>
              <a:ext cx="188" cy="128"/>
            </a:xfrm>
            <a:custGeom>
              <a:avLst/>
              <a:gdLst>
                <a:gd name="T0" fmla="*/ 232 w 283"/>
                <a:gd name="T1" fmla="*/ 96 h 192"/>
                <a:gd name="T2" fmla="*/ 156 w 283"/>
                <a:gd name="T3" fmla="*/ 21 h 192"/>
                <a:gd name="T4" fmla="*/ 126 w 283"/>
                <a:gd name="T5" fmla="*/ 27 h 192"/>
                <a:gd name="T6" fmla="*/ 80 w 283"/>
                <a:gd name="T7" fmla="*/ 0 h 192"/>
                <a:gd name="T8" fmla="*/ 27 w 283"/>
                <a:gd name="T9" fmla="*/ 53 h 192"/>
                <a:gd name="T10" fmla="*/ 31 w 283"/>
                <a:gd name="T11" fmla="*/ 74 h 192"/>
                <a:gd name="T12" fmla="*/ 0 w 283"/>
                <a:gd name="T13" fmla="*/ 128 h 192"/>
                <a:gd name="T14" fmla="*/ 63 w 283"/>
                <a:gd name="T15" fmla="*/ 192 h 192"/>
                <a:gd name="T16" fmla="*/ 235 w 283"/>
                <a:gd name="T17" fmla="*/ 192 h 192"/>
                <a:gd name="T18" fmla="*/ 283 w 283"/>
                <a:gd name="T19" fmla="*/ 144 h 192"/>
                <a:gd name="T20" fmla="*/ 232 w 283"/>
                <a:gd name="T21" fmla="*/ 96 h 192"/>
                <a:gd name="T22" fmla="*/ 80 w 283"/>
                <a:gd name="T23" fmla="*/ 21 h 192"/>
                <a:gd name="T24" fmla="*/ 108 w 283"/>
                <a:gd name="T25" fmla="*/ 37 h 192"/>
                <a:gd name="T26" fmla="*/ 83 w 283"/>
                <a:gd name="T27" fmla="*/ 69 h 192"/>
                <a:gd name="T28" fmla="*/ 63 w 283"/>
                <a:gd name="T29" fmla="*/ 65 h 192"/>
                <a:gd name="T30" fmla="*/ 51 w 283"/>
                <a:gd name="T31" fmla="*/ 66 h 192"/>
                <a:gd name="T32" fmla="*/ 48 w 283"/>
                <a:gd name="T33" fmla="*/ 53 h 192"/>
                <a:gd name="T34" fmla="*/ 80 w 283"/>
                <a:gd name="T35" fmla="*/ 21 h 192"/>
                <a:gd name="T36" fmla="*/ 235 w 283"/>
                <a:gd name="T37" fmla="*/ 170 h 192"/>
                <a:gd name="T38" fmla="*/ 63 w 283"/>
                <a:gd name="T39" fmla="*/ 170 h 192"/>
                <a:gd name="T40" fmla="*/ 21 w 283"/>
                <a:gd name="T41" fmla="*/ 128 h 192"/>
                <a:gd name="T42" fmla="*/ 63 w 283"/>
                <a:gd name="T43" fmla="*/ 86 h 192"/>
                <a:gd name="T44" fmla="*/ 84 w 283"/>
                <a:gd name="T45" fmla="*/ 93 h 192"/>
                <a:gd name="T46" fmla="*/ 94 w 283"/>
                <a:gd name="T47" fmla="*/ 94 h 192"/>
                <a:gd name="T48" fmla="*/ 100 w 283"/>
                <a:gd name="T49" fmla="*/ 87 h 192"/>
                <a:gd name="T50" fmla="*/ 156 w 283"/>
                <a:gd name="T51" fmla="*/ 42 h 192"/>
                <a:gd name="T52" fmla="*/ 211 w 283"/>
                <a:gd name="T53" fmla="*/ 98 h 192"/>
                <a:gd name="T54" fmla="*/ 210 w 283"/>
                <a:gd name="T55" fmla="*/ 105 h 192"/>
                <a:gd name="T56" fmla="*/ 214 w 283"/>
                <a:gd name="T57" fmla="*/ 120 h 192"/>
                <a:gd name="T58" fmla="*/ 227 w 283"/>
                <a:gd name="T59" fmla="*/ 119 h 192"/>
                <a:gd name="T60" fmla="*/ 229 w 283"/>
                <a:gd name="T61" fmla="*/ 118 h 192"/>
                <a:gd name="T62" fmla="*/ 235 w 283"/>
                <a:gd name="T63" fmla="*/ 117 h 192"/>
                <a:gd name="T64" fmla="*/ 261 w 283"/>
                <a:gd name="T65" fmla="*/ 144 h 192"/>
                <a:gd name="T66" fmla="*/ 235 w 283"/>
                <a:gd name="T6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3" h="192">
                  <a:moveTo>
                    <a:pt x="232" y="96"/>
                  </a:moveTo>
                  <a:cubicBezTo>
                    <a:pt x="231" y="54"/>
                    <a:pt x="197" y="21"/>
                    <a:pt x="156" y="21"/>
                  </a:cubicBezTo>
                  <a:cubicBezTo>
                    <a:pt x="145" y="21"/>
                    <a:pt x="135" y="23"/>
                    <a:pt x="126" y="27"/>
                  </a:cubicBezTo>
                  <a:cubicBezTo>
                    <a:pt x="117" y="10"/>
                    <a:pt x="100" y="0"/>
                    <a:pt x="80" y="0"/>
                  </a:cubicBezTo>
                  <a:cubicBezTo>
                    <a:pt x="51" y="0"/>
                    <a:pt x="27" y="24"/>
                    <a:pt x="27" y="53"/>
                  </a:cubicBezTo>
                  <a:cubicBezTo>
                    <a:pt x="27" y="60"/>
                    <a:pt x="28" y="67"/>
                    <a:pt x="31" y="74"/>
                  </a:cubicBezTo>
                  <a:cubicBezTo>
                    <a:pt x="13" y="85"/>
                    <a:pt x="0" y="105"/>
                    <a:pt x="0" y="128"/>
                  </a:cubicBezTo>
                  <a:cubicBezTo>
                    <a:pt x="0" y="163"/>
                    <a:pt x="28" y="192"/>
                    <a:pt x="63" y="192"/>
                  </a:cubicBezTo>
                  <a:cubicBezTo>
                    <a:pt x="235" y="192"/>
                    <a:pt x="235" y="192"/>
                    <a:pt x="235" y="192"/>
                  </a:cubicBezTo>
                  <a:cubicBezTo>
                    <a:pt x="261" y="192"/>
                    <a:pt x="283" y="170"/>
                    <a:pt x="283" y="144"/>
                  </a:cubicBezTo>
                  <a:cubicBezTo>
                    <a:pt x="283" y="116"/>
                    <a:pt x="259" y="94"/>
                    <a:pt x="232" y="96"/>
                  </a:cubicBezTo>
                  <a:close/>
                  <a:moveTo>
                    <a:pt x="80" y="21"/>
                  </a:moveTo>
                  <a:cubicBezTo>
                    <a:pt x="92" y="21"/>
                    <a:pt x="102" y="27"/>
                    <a:pt x="108" y="37"/>
                  </a:cubicBezTo>
                  <a:cubicBezTo>
                    <a:pt x="97" y="45"/>
                    <a:pt x="89" y="56"/>
                    <a:pt x="83" y="69"/>
                  </a:cubicBezTo>
                  <a:cubicBezTo>
                    <a:pt x="78" y="66"/>
                    <a:pt x="71" y="65"/>
                    <a:pt x="63" y="65"/>
                  </a:cubicBezTo>
                  <a:cubicBezTo>
                    <a:pt x="59" y="65"/>
                    <a:pt x="55" y="65"/>
                    <a:pt x="51" y="66"/>
                  </a:cubicBezTo>
                  <a:cubicBezTo>
                    <a:pt x="49" y="62"/>
                    <a:pt x="48" y="58"/>
                    <a:pt x="48" y="53"/>
                  </a:cubicBezTo>
                  <a:cubicBezTo>
                    <a:pt x="48" y="35"/>
                    <a:pt x="62" y="21"/>
                    <a:pt x="80" y="21"/>
                  </a:cubicBezTo>
                  <a:close/>
                  <a:moveTo>
                    <a:pt x="235" y="170"/>
                  </a:moveTo>
                  <a:cubicBezTo>
                    <a:pt x="63" y="170"/>
                    <a:pt x="63" y="170"/>
                    <a:pt x="63" y="170"/>
                  </a:cubicBezTo>
                  <a:cubicBezTo>
                    <a:pt x="40" y="170"/>
                    <a:pt x="21" y="151"/>
                    <a:pt x="21" y="128"/>
                  </a:cubicBezTo>
                  <a:cubicBezTo>
                    <a:pt x="21" y="105"/>
                    <a:pt x="40" y="86"/>
                    <a:pt x="63" y="86"/>
                  </a:cubicBezTo>
                  <a:cubicBezTo>
                    <a:pt x="72" y="86"/>
                    <a:pt x="77" y="89"/>
                    <a:pt x="84" y="93"/>
                  </a:cubicBezTo>
                  <a:cubicBezTo>
                    <a:pt x="87" y="95"/>
                    <a:pt x="91" y="96"/>
                    <a:pt x="94" y="94"/>
                  </a:cubicBezTo>
                  <a:cubicBezTo>
                    <a:pt x="97" y="93"/>
                    <a:pt x="99" y="90"/>
                    <a:pt x="100" y="87"/>
                  </a:cubicBezTo>
                  <a:cubicBezTo>
                    <a:pt x="105" y="61"/>
                    <a:pt x="129" y="42"/>
                    <a:pt x="156" y="42"/>
                  </a:cubicBezTo>
                  <a:cubicBezTo>
                    <a:pt x="186" y="42"/>
                    <a:pt x="211" y="67"/>
                    <a:pt x="211" y="98"/>
                  </a:cubicBezTo>
                  <a:cubicBezTo>
                    <a:pt x="211" y="100"/>
                    <a:pt x="211" y="103"/>
                    <a:pt x="210" y="105"/>
                  </a:cubicBezTo>
                  <a:cubicBezTo>
                    <a:pt x="208" y="112"/>
                    <a:pt x="209" y="116"/>
                    <a:pt x="214" y="120"/>
                  </a:cubicBezTo>
                  <a:cubicBezTo>
                    <a:pt x="217" y="122"/>
                    <a:pt x="223" y="122"/>
                    <a:pt x="227" y="119"/>
                  </a:cubicBezTo>
                  <a:cubicBezTo>
                    <a:pt x="228" y="118"/>
                    <a:pt x="229" y="118"/>
                    <a:pt x="229" y="118"/>
                  </a:cubicBezTo>
                  <a:cubicBezTo>
                    <a:pt x="231" y="117"/>
                    <a:pt x="233" y="117"/>
                    <a:pt x="235" y="117"/>
                  </a:cubicBezTo>
                  <a:cubicBezTo>
                    <a:pt x="249" y="117"/>
                    <a:pt x="261" y="129"/>
                    <a:pt x="261" y="144"/>
                  </a:cubicBezTo>
                  <a:cubicBezTo>
                    <a:pt x="261" y="158"/>
                    <a:pt x="249" y="170"/>
                    <a:pt x="235"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0" name="Freeform 123">
              <a:extLst>
                <a:ext uri="{FF2B5EF4-FFF2-40B4-BE49-F238E27FC236}">
                  <a16:creationId xmlns:a16="http://schemas.microsoft.com/office/drawing/2014/main" id="{021178D2-EB49-43D7-A757-050738B1340A}"/>
                </a:ext>
              </a:extLst>
            </p:cNvPr>
            <p:cNvSpPr>
              <a:spLocks/>
            </p:cNvSpPr>
            <p:nvPr/>
          </p:nvSpPr>
          <p:spPr bwMode="auto">
            <a:xfrm>
              <a:off x="2063" y="457"/>
              <a:ext cx="15" cy="28"/>
            </a:xfrm>
            <a:custGeom>
              <a:avLst/>
              <a:gdLst>
                <a:gd name="T0" fmla="*/ 11 w 22"/>
                <a:gd name="T1" fmla="*/ 42 h 42"/>
                <a:gd name="T2" fmla="*/ 22 w 22"/>
                <a:gd name="T3" fmla="*/ 32 h 42"/>
                <a:gd name="T4" fmla="*/ 22 w 22"/>
                <a:gd name="T5" fmla="*/ 10 h 42"/>
                <a:gd name="T6" fmla="*/ 11 w 22"/>
                <a:gd name="T7" fmla="*/ 0 h 42"/>
                <a:gd name="T8" fmla="*/ 0 w 22"/>
                <a:gd name="T9" fmla="*/ 10 h 42"/>
                <a:gd name="T10" fmla="*/ 0 w 22"/>
                <a:gd name="T11" fmla="*/ 32 h 42"/>
                <a:gd name="T12" fmla="*/ 11 w 2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11" y="42"/>
                  </a:moveTo>
                  <a:cubicBezTo>
                    <a:pt x="17" y="42"/>
                    <a:pt x="22" y="38"/>
                    <a:pt x="22" y="32"/>
                  </a:cubicBezTo>
                  <a:cubicBezTo>
                    <a:pt x="22" y="10"/>
                    <a:pt x="22" y="10"/>
                    <a:pt x="22" y="10"/>
                  </a:cubicBezTo>
                  <a:cubicBezTo>
                    <a:pt x="22"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1" name="Freeform 124">
              <a:extLst>
                <a:ext uri="{FF2B5EF4-FFF2-40B4-BE49-F238E27FC236}">
                  <a16:creationId xmlns:a16="http://schemas.microsoft.com/office/drawing/2014/main" id="{5BEA4E29-0BC0-4A00-AD79-B4F85AD43946}"/>
                </a:ext>
              </a:extLst>
            </p:cNvPr>
            <p:cNvSpPr>
              <a:spLocks/>
            </p:cNvSpPr>
            <p:nvPr/>
          </p:nvSpPr>
          <p:spPr bwMode="auto">
            <a:xfrm>
              <a:off x="1993" y="527"/>
              <a:ext cx="28" cy="15"/>
            </a:xfrm>
            <a:custGeom>
              <a:avLst/>
              <a:gdLst>
                <a:gd name="T0" fmla="*/ 42 w 42"/>
                <a:gd name="T1" fmla="*/ 11 h 22"/>
                <a:gd name="T2" fmla="*/ 32 w 42"/>
                <a:gd name="T3" fmla="*/ 0 h 22"/>
                <a:gd name="T4" fmla="*/ 10 w 42"/>
                <a:gd name="T5" fmla="*/ 0 h 22"/>
                <a:gd name="T6" fmla="*/ 0 w 42"/>
                <a:gd name="T7" fmla="*/ 11 h 22"/>
                <a:gd name="T8" fmla="*/ 10 w 42"/>
                <a:gd name="T9" fmla="*/ 22 h 22"/>
                <a:gd name="T10" fmla="*/ 32 w 42"/>
                <a:gd name="T11" fmla="*/ 22 h 22"/>
                <a:gd name="T12" fmla="*/ 42 w 42"/>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42" y="11"/>
                  </a:moveTo>
                  <a:cubicBezTo>
                    <a:pt x="42" y="5"/>
                    <a:pt x="38" y="0"/>
                    <a:pt x="32" y="0"/>
                  </a:cubicBezTo>
                  <a:cubicBezTo>
                    <a:pt x="10" y="0"/>
                    <a:pt x="10" y="0"/>
                    <a:pt x="10" y="0"/>
                  </a:cubicBezTo>
                  <a:cubicBezTo>
                    <a:pt x="4" y="0"/>
                    <a:pt x="0" y="5"/>
                    <a:pt x="0" y="11"/>
                  </a:cubicBezTo>
                  <a:cubicBezTo>
                    <a:pt x="0" y="17"/>
                    <a:pt x="4" y="22"/>
                    <a:pt x="10" y="22"/>
                  </a:cubicBezTo>
                  <a:cubicBezTo>
                    <a:pt x="32" y="22"/>
                    <a:pt x="32" y="22"/>
                    <a:pt x="32" y="22"/>
                  </a:cubicBezTo>
                  <a:cubicBezTo>
                    <a:pt x="38" y="22"/>
                    <a:pt x="42" y="17"/>
                    <a:pt x="42"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2" name="Freeform 125">
              <a:extLst>
                <a:ext uri="{FF2B5EF4-FFF2-40B4-BE49-F238E27FC236}">
                  <a16:creationId xmlns:a16="http://schemas.microsoft.com/office/drawing/2014/main" id="{B156CCB9-81D8-4732-B282-E7933500EA74}"/>
                </a:ext>
              </a:extLst>
            </p:cNvPr>
            <p:cNvSpPr>
              <a:spLocks/>
            </p:cNvSpPr>
            <p:nvPr/>
          </p:nvSpPr>
          <p:spPr bwMode="auto">
            <a:xfrm>
              <a:off x="2013" y="477"/>
              <a:ext cx="25" cy="24"/>
            </a:xfrm>
            <a:custGeom>
              <a:avLst/>
              <a:gdLst>
                <a:gd name="T0" fmla="*/ 19 w 38"/>
                <a:gd name="T1" fmla="*/ 34 h 37"/>
                <a:gd name="T2" fmla="*/ 27 w 38"/>
                <a:gd name="T3" fmla="*/ 37 h 37"/>
                <a:gd name="T4" fmla="*/ 34 w 38"/>
                <a:gd name="T5" fmla="*/ 34 h 37"/>
                <a:gd name="T6" fmla="*/ 34 w 38"/>
                <a:gd name="T7" fmla="*/ 19 h 37"/>
                <a:gd name="T8" fmla="*/ 19 w 38"/>
                <a:gd name="T9" fmla="*/ 4 h 37"/>
                <a:gd name="T10" fmla="*/ 4 w 38"/>
                <a:gd name="T11" fmla="*/ 4 h 37"/>
                <a:gd name="T12" fmla="*/ 4 w 38"/>
                <a:gd name="T13" fmla="*/ 19 h 37"/>
                <a:gd name="T14" fmla="*/ 19 w 38"/>
                <a:gd name="T15" fmla="*/ 34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7">
                  <a:moveTo>
                    <a:pt x="19" y="34"/>
                  </a:moveTo>
                  <a:cubicBezTo>
                    <a:pt x="21" y="36"/>
                    <a:pt x="24" y="37"/>
                    <a:pt x="27" y="37"/>
                  </a:cubicBezTo>
                  <a:cubicBezTo>
                    <a:pt x="29" y="37"/>
                    <a:pt x="32" y="36"/>
                    <a:pt x="34" y="34"/>
                  </a:cubicBezTo>
                  <a:cubicBezTo>
                    <a:pt x="38" y="30"/>
                    <a:pt x="38" y="23"/>
                    <a:pt x="34" y="19"/>
                  </a:cubicBezTo>
                  <a:cubicBezTo>
                    <a:pt x="19" y="4"/>
                    <a:pt x="19" y="4"/>
                    <a:pt x="19" y="4"/>
                  </a:cubicBezTo>
                  <a:cubicBezTo>
                    <a:pt x="15" y="0"/>
                    <a:pt x="8" y="0"/>
                    <a:pt x="4" y="4"/>
                  </a:cubicBezTo>
                  <a:cubicBezTo>
                    <a:pt x="0" y="8"/>
                    <a:pt x="0" y="15"/>
                    <a:pt x="4" y="19"/>
                  </a:cubicBezTo>
                  <a:lnTo>
                    <a:pt x="19" y="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3" name="Freeform 126">
              <a:extLst>
                <a:ext uri="{FF2B5EF4-FFF2-40B4-BE49-F238E27FC236}">
                  <a16:creationId xmlns:a16="http://schemas.microsoft.com/office/drawing/2014/main" id="{C9A0120F-04F9-4D08-ADA3-AFBA784FF29B}"/>
                </a:ext>
              </a:extLst>
            </p:cNvPr>
            <p:cNvSpPr>
              <a:spLocks/>
            </p:cNvSpPr>
            <p:nvPr/>
          </p:nvSpPr>
          <p:spPr bwMode="auto">
            <a:xfrm>
              <a:off x="2103" y="477"/>
              <a:ext cx="25" cy="24"/>
            </a:xfrm>
            <a:custGeom>
              <a:avLst/>
              <a:gdLst>
                <a:gd name="T0" fmla="*/ 11 w 38"/>
                <a:gd name="T1" fmla="*/ 37 h 37"/>
                <a:gd name="T2" fmla="*/ 19 w 38"/>
                <a:gd name="T3" fmla="*/ 34 h 37"/>
                <a:gd name="T4" fmla="*/ 34 w 38"/>
                <a:gd name="T5" fmla="*/ 19 h 37"/>
                <a:gd name="T6" fmla="*/ 34 w 38"/>
                <a:gd name="T7" fmla="*/ 4 h 37"/>
                <a:gd name="T8" fmla="*/ 19 w 38"/>
                <a:gd name="T9" fmla="*/ 4 h 37"/>
                <a:gd name="T10" fmla="*/ 4 w 38"/>
                <a:gd name="T11" fmla="*/ 19 h 37"/>
                <a:gd name="T12" fmla="*/ 4 w 38"/>
                <a:gd name="T13" fmla="*/ 34 h 37"/>
                <a:gd name="T14" fmla="*/ 11 w 38"/>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7">
                  <a:moveTo>
                    <a:pt x="11" y="37"/>
                  </a:moveTo>
                  <a:cubicBezTo>
                    <a:pt x="14" y="37"/>
                    <a:pt x="17" y="36"/>
                    <a:pt x="19" y="34"/>
                  </a:cubicBezTo>
                  <a:cubicBezTo>
                    <a:pt x="34" y="19"/>
                    <a:pt x="34" y="19"/>
                    <a:pt x="34" y="19"/>
                  </a:cubicBezTo>
                  <a:cubicBezTo>
                    <a:pt x="38" y="15"/>
                    <a:pt x="38" y="8"/>
                    <a:pt x="34" y="4"/>
                  </a:cubicBezTo>
                  <a:cubicBezTo>
                    <a:pt x="30" y="0"/>
                    <a:pt x="23" y="0"/>
                    <a:pt x="19" y="4"/>
                  </a:cubicBezTo>
                  <a:cubicBezTo>
                    <a:pt x="4" y="19"/>
                    <a:pt x="4" y="19"/>
                    <a:pt x="4" y="19"/>
                  </a:cubicBezTo>
                  <a:cubicBezTo>
                    <a:pt x="0" y="23"/>
                    <a:pt x="0" y="30"/>
                    <a:pt x="4" y="34"/>
                  </a:cubicBezTo>
                  <a:cubicBezTo>
                    <a:pt x="6" y="36"/>
                    <a:pt x="9" y="37"/>
                    <a:pt x="11" y="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4" name="Freeform 127">
              <a:extLst>
                <a:ext uri="{FF2B5EF4-FFF2-40B4-BE49-F238E27FC236}">
                  <a16:creationId xmlns:a16="http://schemas.microsoft.com/office/drawing/2014/main" id="{D5E44F4E-9288-4503-B894-BB6023700C8A}"/>
                </a:ext>
              </a:extLst>
            </p:cNvPr>
            <p:cNvSpPr>
              <a:spLocks noEditPoints="1"/>
            </p:cNvSpPr>
            <p:nvPr/>
          </p:nvSpPr>
          <p:spPr bwMode="auto">
            <a:xfrm>
              <a:off x="1929" y="39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5" name="Freeform 514">
            <a:extLst>
              <a:ext uri="{FF2B5EF4-FFF2-40B4-BE49-F238E27FC236}">
                <a16:creationId xmlns:a16="http://schemas.microsoft.com/office/drawing/2014/main" id="{4C0758B3-BA49-420D-BA77-747F313BDDBD}"/>
              </a:ext>
            </a:extLst>
          </p:cNvPr>
          <p:cNvSpPr>
            <a:spLocks noChangeAspect="1" noEditPoints="1"/>
          </p:cNvSpPr>
          <p:nvPr/>
        </p:nvSpPr>
        <p:spPr bwMode="auto">
          <a:xfrm>
            <a:off x="2226010" y="1700213"/>
            <a:ext cx="367041" cy="367041"/>
          </a:xfrm>
          <a:custGeom>
            <a:avLst/>
            <a:gdLst>
              <a:gd name="T0" fmla="*/ 360 w 512"/>
              <a:gd name="T1" fmla="*/ 268 h 512"/>
              <a:gd name="T2" fmla="*/ 115 w 512"/>
              <a:gd name="T3" fmla="*/ 218 h 512"/>
              <a:gd name="T4" fmla="*/ 189 w 512"/>
              <a:gd name="T5" fmla="*/ 176 h 512"/>
              <a:gd name="T6" fmla="*/ 205 w 512"/>
              <a:gd name="T7" fmla="*/ 169 h 512"/>
              <a:gd name="T8" fmla="*/ 335 w 512"/>
              <a:gd name="T9" fmla="*/ 182 h 512"/>
              <a:gd name="T10" fmla="*/ 334 w 512"/>
              <a:gd name="T11" fmla="*/ 192 h 512"/>
              <a:gd name="T12" fmla="*/ 351 w 512"/>
              <a:gd name="T13" fmla="*/ 205 h 512"/>
              <a:gd name="T14" fmla="*/ 360 w 512"/>
              <a:gd name="T15" fmla="*/ 203 h 512"/>
              <a:gd name="T16" fmla="*/ 512 w 512"/>
              <a:gd name="T17" fmla="*/ 256 h 512"/>
              <a:gd name="T18" fmla="*/ 0 w 512"/>
              <a:gd name="T19" fmla="*/ 256 h 512"/>
              <a:gd name="T20" fmla="*/ 512 w 512"/>
              <a:gd name="T21" fmla="*/ 256 h 512"/>
              <a:gd name="T22" fmla="*/ 153 w 512"/>
              <a:gd name="T23" fmla="*/ 382 h 512"/>
              <a:gd name="T24" fmla="*/ 155 w 512"/>
              <a:gd name="T25" fmla="*/ 416 h 512"/>
              <a:gd name="T26" fmla="*/ 168 w 512"/>
              <a:gd name="T27" fmla="*/ 408 h 512"/>
              <a:gd name="T28" fmla="*/ 166 w 512"/>
              <a:gd name="T29" fmla="*/ 374 h 512"/>
              <a:gd name="T30" fmla="*/ 169 w 512"/>
              <a:gd name="T31" fmla="*/ 318 h 512"/>
              <a:gd name="T32" fmla="*/ 171 w 512"/>
              <a:gd name="T33" fmla="*/ 352 h 512"/>
              <a:gd name="T34" fmla="*/ 184 w 512"/>
              <a:gd name="T35" fmla="*/ 344 h 512"/>
              <a:gd name="T36" fmla="*/ 182 w 512"/>
              <a:gd name="T37" fmla="*/ 310 h 512"/>
              <a:gd name="T38" fmla="*/ 227 w 512"/>
              <a:gd name="T39" fmla="*/ 382 h 512"/>
              <a:gd name="T40" fmla="*/ 230 w 512"/>
              <a:gd name="T41" fmla="*/ 416 h 512"/>
              <a:gd name="T42" fmla="*/ 243 w 512"/>
              <a:gd name="T43" fmla="*/ 408 h 512"/>
              <a:gd name="T44" fmla="*/ 240 w 512"/>
              <a:gd name="T45" fmla="*/ 374 h 512"/>
              <a:gd name="T46" fmla="*/ 243 w 512"/>
              <a:gd name="T47" fmla="*/ 318 h 512"/>
              <a:gd name="T48" fmla="*/ 246 w 512"/>
              <a:gd name="T49" fmla="*/ 352 h 512"/>
              <a:gd name="T50" fmla="*/ 259 w 512"/>
              <a:gd name="T51" fmla="*/ 344 h 512"/>
              <a:gd name="T52" fmla="*/ 256 w 512"/>
              <a:gd name="T53" fmla="*/ 310 h 512"/>
              <a:gd name="T54" fmla="*/ 302 w 512"/>
              <a:gd name="T55" fmla="*/ 382 h 512"/>
              <a:gd name="T56" fmla="*/ 304 w 512"/>
              <a:gd name="T57" fmla="*/ 416 h 512"/>
              <a:gd name="T58" fmla="*/ 317 w 512"/>
              <a:gd name="T59" fmla="*/ 408 h 512"/>
              <a:gd name="T60" fmla="*/ 315 w 512"/>
              <a:gd name="T61" fmla="*/ 374 h 512"/>
              <a:gd name="T62" fmla="*/ 318 w 512"/>
              <a:gd name="T63" fmla="*/ 318 h 512"/>
              <a:gd name="T64" fmla="*/ 320 w 512"/>
              <a:gd name="T65" fmla="*/ 352 h 512"/>
              <a:gd name="T66" fmla="*/ 333 w 512"/>
              <a:gd name="T67" fmla="*/ 344 h 512"/>
              <a:gd name="T68" fmla="*/ 331 w 512"/>
              <a:gd name="T69" fmla="*/ 310 h 512"/>
              <a:gd name="T70" fmla="*/ 360 w 512"/>
              <a:gd name="T71" fmla="*/ 182 h 512"/>
              <a:gd name="T72" fmla="*/ 270 w 512"/>
              <a:gd name="T73" fmla="*/ 96 h 512"/>
              <a:gd name="T74" fmla="*/ 164 w 512"/>
              <a:gd name="T75" fmla="*/ 147 h 512"/>
              <a:gd name="T76" fmla="*/ 164 w 512"/>
              <a:gd name="T77" fmla="*/ 289 h 512"/>
              <a:gd name="T78" fmla="*/ 414 w 512"/>
              <a:gd name="T79" fmla="*/ 23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92" y="235"/>
                </a:moveTo>
                <a:cubicBezTo>
                  <a:pt x="392" y="253"/>
                  <a:pt x="378" y="268"/>
                  <a:pt x="360" y="268"/>
                </a:cubicBezTo>
                <a:cubicBezTo>
                  <a:pt x="164" y="268"/>
                  <a:pt x="164" y="268"/>
                  <a:pt x="164" y="268"/>
                </a:cubicBezTo>
                <a:cubicBezTo>
                  <a:pt x="137" y="268"/>
                  <a:pt x="115" y="245"/>
                  <a:pt x="115" y="218"/>
                </a:cubicBezTo>
                <a:cubicBezTo>
                  <a:pt x="115" y="190"/>
                  <a:pt x="137" y="168"/>
                  <a:pt x="164" y="168"/>
                </a:cubicBezTo>
                <a:cubicBezTo>
                  <a:pt x="174" y="168"/>
                  <a:pt x="181" y="171"/>
                  <a:pt x="189" y="176"/>
                </a:cubicBezTo>
                <a:cubicBezTo>
                  <a:pt x="192" y="178"/>
                  <a:pt x="195" y="179"/>
                  <a:pt x="199" y="177"/>
                </a:cubicBezTo>
                <a:cubicBezTo>
                  <a:pt x="202" y="176"/>
                  <a:pt x="204" y="173"/>
                  <a:pt x="205" y="169"/>
                </a:cubicBezTo>
                <a:cubicBezTo>
                  <a:pt x="211" y="140"/>
                  <a:pt x="239" y="118"/>
                  <a:pt x="270" y="118"/>
                </a:cubicBezTo>
                <a:cubicBezTo>
                  <a:pt x="306" y="118"/>
                  <a:pt x="335" y="147"/>
                  <a:pt x="335" y="182"/>
                </a:cubicBezTo>
                <a:cubicBezTo>
                  <a:pt x="335" y="185"/>
                  <a:pt x="334" y="188"/>
                  <a:pt x="334" y="190"/>
                </a:cubicBezTo>
                <a:cubicBezTo>
                  <a:pt x="334" y="192"/>
                  <a:pt x="334" y="192"/>
                  <a:pt x="334" y="192"/>
                </a:cubicBezTo>
                <a:cubicBezTo>
                  <a:pt x="333" y="194"/>
                  <a:pt x="331" y="202"/>
                  <a:pt x="338" y="206"/>
                </a:cubicBezTo>
                <a:cubicBezTo>
                  <a:pt x="342" y="209"/>
                  <a:pt x="347" y="209"/>
                  <a:pt x="351" y="205"/>
                </a:cubicBezTo>
                <a:cubicBezTo>
                  <a:pt x="352" y="205"/>
                  <a:pt x="353" y="204"/>
                  <a:pt x="353" y="204"/>
                </a:cubicBezTo>
                <a:cubicBezTo>
                  <a:pt x="355" y="203"/>
                  <a:pt x="358" y="203"/>
                  <a:pt x="360" y="203"/>
                </a:cubicBezTo>
                <a:cubicBezTo>
                  <a:pt x="378" y="203"/>
                  <a:pt x="392" y="218"/>
                  <a:pt x="392" y="235"/>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166" y="374"/>
                </a:moveTo>
                <a:cubicBezTo>
                  <a:pt x="160" y="373"/>
                  <a:pt x="154" y="376"/>
                  <a:pt x="153" y="382"/>
                </a:cubicBezTo>
                <a:cubicBezTo>
                  <a:pt x="147" y="403"/>
                  <a:pt x="147" y="403"/>
                  <a:pt x="147" y="403"/>
                </a:cubicBezTo>
                <a:cubicBezTo>
                  <a:pt x="146" y="409"/>
                  <a:pt x="149" y="415"/>
                  <a:pt x="155" y="416"/>
                </a:cubicBezTo>
                <a:cubicBezTo>
                  <a:pt x="156" y="416"/>
                  <a:pt x="157" y="416"/>
                  <a:pt x="158" y="416"/>
                </a:cubicBezTo>
                <a:cubicBezTo>
                  <a:pt x="162" y="416"/>
                  <a:pt x="167" y="413"/>
                  <a:pt x="168" y="408"/>
                </a:cubicBezTo>
                <a:cubicBezTo>
                  <a:pt x="173" y="387"/>
                  <a:pt x="173" y="387"/>
                  <a:pt x="173" y="387"/>
                </a:cubicBezTo>
                <a:cubicBezTo>
                  <a:pt x="175" y="381"/>
                  <a:pt x="171" y="375"/>
                  <a:pt x="166" y="374"/>
                </a:cubicBezTo>
                <a:close/>
                <a:moveTo>
                  <a:pt x="182" y="310"/>
                </a:moveTo>
                <a:cubicBezTo>
                  <a:pt x="176" y="309"/>
                  <a:pt x="170" y="312"/>
                  <a:pt x="169" y="318"/>
                </a:cubicBezTo>
                <a:cubicBezTo>
                  <a:pt x="163" y="339"/>
                  <a:pt x="163" y="339"/>
                  <a:pt x="163" y="339"/>
                </a:cubicBezTo>
                <a:cubicBezTo>
                  <a:pt x="162" y="345"/>
                  <a:pt x="165" y="351"/>
                  <a:pt x="171" y="352"/>
                </a:cubicBezTo>
                <a:cubicBezTo>
                  <a:pt x="172" y="352"/>
                  <a:pt x="173" y="352"/>
                  <a:pt x="174" y="352"/>
                </a:cubicBezTo>
                <a:cubicBezTo>
                  <a:pt x="178" y="352"/>
                  <a:pt x="183" y="349"/>
                  <a:pt x="184" y="344"/>
                </a:cubicBezTo>
                <a:cubicBezTo>
                  <a:pt x="189" y="323"/>
                  <a:pt x="189" y="323"/>
                  <a:pt x="189" y="323"/>
                </a:cubicBezTo>
                <a:cubicBezTo>
                  <a:pt x="191" y="317"/>
                  <a:pt x="187" y="311"/>
                  <a:pt x="182" y="310"/>
                </a:cubicBezTo>
                <a:close/>
                <a:moveTo>
                  <a:pt x="240" y="374"/>
                </a:moveTo>
                <a:cubicBezTo>
                  <a:pt x="234" y="373"/>
                  <a:pt x="229" y="376"/>
                  <a:pt x="227" y="382"/>
                </a:cubicBezTo>
                <a:cubicBezTo>
                  <a:pt x="222" y="403"/>
                  <a:pt x="222" y="403"/>
                  <a:pt x="222" y="403"/>
                </a:cubicBezTo>
                <a:cubicBezTo>
                  <a:pt x="220" y="409"/>
                  <a:pt x="224" y="415"/>
                  <a:pt x="230" y="416"/>
                </a:cubicBezTo>
                <a:cubicBezTo>
                  <a:pt x="231" y="416"/>
                  <a:pt x="231" y="416"/>
                  <a:pt x="232" y="416"/>
                </a:cubicBezTo>
                <a:cubicBezTo>
                  <a:pt x="237" y="416"/>
                  <a:pt x="241" y="413"/>
                  <a:pt x="243" y="408"/>
                </a:cubicBezTo>
                <a:cubicBezTo>
                  <a:pt x="248" y="387"/>
                  <a:pt x="248" y="387"/>
                  <a:pt x="248" y="387"/>
                </a:cubicBezTo>
                <a:cubicBezTo>
                  <a:pt x="249" y="381"/>
                  <a:pt x="246" y="375"/>
                  <a:pt x="240" y="374"/>
                </a:cubicBezTo>
                <a:close/>
                <a:moveTo>
                  <a:pt x="256" y="310"/>
                </a:moveTo>
                <a:cubicBezTo>
                  <a:pt x="250" y="309"/>
                  <a:pt x="245" y="312"/>
                  <a:pt x="243" y="318"/>
                </a:cubicBezTo>
                <a:cubicBezTo>
                  <a:pt x="238" y="339"/>
                  <a:pt x="238" y="339"/>
                  <a:pt x="238" y="339"/>
                </a:cubicBezTo>
                <a:cubicBezTo>
                  <a:pt x="236" y="345"/>
                  <a:pt x="240" y="351"/>
                  <a:pt x="246" y="352"/>
                </a:cubicBezTo>
                <a:cubicBezTo>
                  <a:pt x="247" y="352"/>
                  <a:pt x="247" y="352"/>
                  <a:pt x="248" y="352"/>
                </a:cubicBezTo>
                <a:cubicBezTo>
                  <a:pt x="253" y="352"/>
                  <a:pt x="257" y="349"/>
                  <a:pt x="259" y="344"/>
                </a:cubicBezTo>
                <a:cubicBezTo>
                  <a:pt x="264" y="323"/>
                  <a:pt x="264" y="323"/>
                  <a:pt x="264" y="323"/>
                </a:cubicBezTo>
                <a:cubicBezTo>
                  <a:pt x="265" y="317"/>
                  <a:pt x="262" y="311"/>
                  <a:pt x="256" y="310"/>
                </a:cubicBezTo>
                <a:close/>
                <a:moveTo>
                  <a:pt x="315" y="374"/>
                </a:moveTo>
                <a:cubicBezTo>
                  <a:pt x="309" y="373"/>
                  <a:pt x="303" y="376"/>
                  <a:pt x="302" y="382"/>
                </a:cubicBezTo>
                <a:cubicBezTo>
                  <a:pt x="297" y="403"/>
                  <a:pt x="297" y="403"/>
                  <a:pt x="297" y="403"/>
                </a:cubicBezTo>
                <a:cubicBezTo>
                  <a:pt x="295" y="409"/>
                  <a:pt x="299" y="415"/>
                  <a:pt x="304" y="416"/>
                </a:cubicBezTo>
                <a:cubicBezTo>
                  <a:pt x="305" y="416"/>
                  <a:pt x="306" y="416"/>
                  <a:pt x="307" y="416"/>
                </a:cubicBezTo>
                <a:cubicBezTo>
                  <a:pt x="312" y="416"/>
                  <a:pt x="316" y="413"/>
                  <a:pt x="317" y="408"/>
                </a:cubicBezTo>
                <a:cubicBezTo>
                  <a:pt x="323" y="387"/>
                  <a:pt x="323" y="387"/>
                  <a:pt x="323" y="387"/>
                </a:cubicBezTo>
                <a:cubicBezTo>
                  <a:pt x="324" y="381"/>
                  <a:pt x="321" y="375"/>
                  <a:pt x="315" y="374"/>
                </a:cubicBezTo>
                <a:close/>
                <a:moveTo>
                  <a:pt x="331" y="310"/>
                </a:moveTo>
                <a:cubicBezTo>
                  <a:pt x="325" y="309"/>
                  <a:pt x="319" y="312"/>
                  <a:pt x="318" y="318"/>
                </a:cubicBezTo>
                <a:cubicBezTo>
                  <a:pt x="313" y="339"/>
                  <a:pt x="313" y="339"/>
                  <a:pt x="313" y="339"/>
                </a:cubicBezTo>
                <a:cubicBezTo>
                  <a:pt x="311" y="345"/>
                  <a:pt x="315" y="351"/>
                  <a:pt x="320" y="352"/>
                </a:cubicBezTo>
                <a:cubicBezTo>
                  <a:pt x="321" y="352"/>
                  <a:pt x="322" y="352"/>
                  <a:pt x="323" y="352"/>
                </a:cubicBezTo>
                <a:cubicBezTo>
                  <a:pt x="328" y="352"/>
                  <a:pt x="332" y="349"/>
                  <a:pt x="333" y="344"/>
                </a:cubicBezTo>
                <a:cubicBezTo>
                  <a:pt x="339" y="323"/>
                  <a:pt x="339" y="323"/>
                  <a:pt x="339" y="323"/>
                </a:cubicBezTo>
                <a:cubicBezTo>
                  <a:pt x="340" y="317"/>
                  <a:pt x="337" y="311"/>
                  <a:pt x="331" y="310"/>
                </a:cubicBezTo>
                <a:close/>
                <a:moveTo>
                  <a:pt x="414" y="235"/>
                </a:moveTo>
                <a:cubicBezTo>
                  <a:pt x="414" y="206"/>
                  <a:pt x="390" y="182"/>
                  <a:pt x="360" y="182"/>
                </a:cubicBezTo>
                <a:cubicBezTo>
                  <a:pt x="359" y="182"/>
                  <a:pt x="357" y="182"/>
                  <a:pt x="356" y="182"/>
                </a:cubicBezTo>
                <a:cubicBezTo>
                  <a:pt x="356" y="135"/>
                  <a:pt x="317" y="96"/>
                  <a:pt x="270" y="96"/>
                </a:cubicBezTo>
                <a:cubicBezTo>
                  <a:pt x="233" y="96"/>
                  <a:pt x="201" y="119"/>
                  <a:pt x="188" y="151"/>
                </a:cubicBezTo>
                <a:cubicBezTo>
                  <a:pt x="181" y="148"/>
                  <a:pt x="174" y="147"/>
                  <a:pt x="164" y="147"/>
                </a:cubicBezTo>
                <a:cubicBezTo>
                  <a:pt x="125" y="147"/>
                  <a:pt x="94" y="179"/>
                  <a:pt x="94" y="218"/>
                </a:cubicBezTo>
                <a:cubicBezTo>
                  <a:pt x="94" y="257"/>
                  <a:pt x="125" y="289"/>
                  <a:pt x="164" y="289"/>
                </a:cubicBezTo>
                <a:cubicBezTo>
                  <a:pt x="360" y="289"/>
                  <a:pt x="360" y="289"/>
                  <a:pt x="360" y="289"/>
                </a:cubicBezTo>
                <a:cubicBezTo>
                  <a:pt x="390" y="289"/>
                  <a:pt x="414" y="265"/>
                  <a:pt x="414" y="23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6" name="Group 517">
            <a:extLst>
              <a:ext uri="{FF2B5EF4-FFF2-40B4-BE49-F238E27FC236}">
                <a16:creationId xmlns:a16="http://schemas.microsoft.com/office/drawing/2014/main" id="{1C85A17B-A28A-4A14-821D-D656E1E5B7BA}"/>
              </a:ext>
            </a:extLst>
          </p:cNvPr>
          <p:cNvGrpSpPr>
            <a:grpSpLocks noChangeAspect="1"/>
          </p:cNvGrpSpPr>
          <p:nvPr/>
        </p:nvGrpSpPr>
        <p:grpSpPr bwMode="auto">
          <a:xfrm>
            <a:off x="2659077" y="1700213"/>
            <a:ext cx="367041" cy="367041"/>
            <a:chOff x="4034" y="2248"/>
            <a:chExt cx="340" cy="340"/>
          </a:xfrm>
          <a:solidFill>
            <a:schemeClr val="accent6"/>
          </a:solidFill>
        </p:grpSpPr>
        <p:sp>
          <p:nvSpPr>
            <p:cNvPr id="447" name="Freeform 518">
              <a:extLst>
                <a:ext uri="{FF2B5EF4-FFF2-40B4-BE49-F238E27FC236}">
                  <a16:creationId xmlns:a16="http://schemas.microsoft.com/office/drawing/2014/main" id="{17F339D7-A4DF-4B88-9DA6-18D948FB2781}"/>
                </a:ext>
              </a:extLst>
            </p:cNvPr>
            <p:cNvSpPr>
              <a:spLocks noEditPoints="1"/>
            </p:cNvSpPr>
            <p:nvPr/>
          </p:nvSpPr>
          <p:spPr bwMode="auto">
            <a:xfrm>
              <a:off x="4098" y="2312"/>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8"/>
                    <a:pt x="237" y="105"/>
                    <a:pt x="244" y="110"/>
                  </a:cubicBezTo>
                  <a:cubicBezTo>
                    <a:pt x="248" y="112"/>
                    <a:pt x="253" y="112"/>
                    <a:pt x="257" y="109"/>
                  </a:cubicBezTo>
                  <a:cubicBezTo>
                    <a:pt x="258" y="108"/>
                    <a:pt x="259" y="107"/>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8" name="Freeform 519">
              <a:extLst>
                <a:ext uri="{FF2B5EF4-FFF2-40B4-BE49-F238E27FC236}">
                  <a16:creationId xmlns:a16="http://schemas.microsoft.com/office/drawing/2014/main" id="{2907E9F4-7CAA-4D91-9267-CA053EC52353}"/>
                </a:ext>
              </a:extLst>
            </p:cNvPr>
            <p:cNvSpPr>
              <a:spLocks/>
            </p:cNvSpPr>
            <p:nvPr/>
          </p:nvSpPr>
          <p:spPr bwMode="auto">
            <a:xfrm>
              <a:off x="4132" y="2495"/>
              <a:ext cx="20"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9" name="Freeform 520">
              <a:extLst>
                <a:ext uri="{FF2B5EF4-FFF2-40B4-BE49-F238E27FC236}">
                  <a16:creationId xmlns:a16="http://schemas.microsoft.com/office/drawing/2014/main" id="{5A82F5C9-E118-430E-BB66-91E383D1F763}"/>
                </a:ext>
              </a:extLst>
            </p:cNvPr>
            <p:cNvSpPr>
              <a:spLocks/>
            </p:cNvSpPr>
            <p:nvPr/>
          </p:nvSpPr>
          <p:spPr bwMode="auto">
            <a:xfrm>
              <a:off x="4143" y="2453"/>
              <a:ext cx="19" cy="29"/>
            </a:xfrm>
            <a:custGeom>
              <a:avLst/>
              <a:gdLst>
                <a:gd name="T0" fmla="*/ 20 w 29"/>
                <a:gd name="T1" fmla="*/ 1 h 44"/>
                <a:gd name="T2" fmla="*/ 7 w 29"/>
                <a:gd name="T3" fmla="*/ 9 h 44"/>
                <a:gd name="T4" fmla="*/ 1 w 29"/>
                <a:gd name="T5" fmla="*/ 30 h 44"/>
                <a:gd name="T6" fmla="*/ 9 w 29"/>
                <a:gd name="T7" fmla="*/ 43 h 44"/>
                <a:gd name="T8" fmla="*/ 12 w 29"/>
                <a:gd name="T9" fmla="*/ 44 h 44"/>
                <a:gd name="T10" fmla="*/ 22 w 29"/>
                <a:gd name="T11" fmla="*/ 36 h 44"/>
                <a:gd name="T12" fmla="*/ 27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1" y="30"/>
                    <a:pt x="1" y="30"/>
                    <a:pt x="1" y="30"/>
                  </a:cubicBezTo>
                  <a:cubicBezTo>
                    <a:pt x="0" y="36"/>
                    <a:pt x="3" y="42"/>
                    <a:pt x="9" y="43"/>
                  </a:cubicBezTo>
                  <a:cubicBezTo>
                    <a:pt x="10" y="44"/>
                    <a:pt x="11" y="44"/>
                    <a:pt x="12" y="44"/>
                  </a:cubicBezTo>
                  <a:cubicBezTo>
                    <a:pt x="16" y="44"/>
                    <a:pt x="21" y="40"/>
                    <a:pt x="22" y="36"/>
                  </a:cubicBezTo>
                  <a:cubicBezTo>
                    <a:pt x="27" y="14"/>
                    <a:pt x="27" y="14"/>
                    <a:pt x="27" y="14"/>
                  </a:cubicBezTo>
                  <a:cubicBezTo>
                    <a:pt x="29" y="9"/>
                    <a:pt x="25"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0" name="Freeform 521">
              <a:extLst>
                <a:ext uri="{FF2B5EF4-FFF2-40B4-BE49-F238E27FC236}">
                  <a16:creationId xmlns:a16="http://schemas.microsoft.com/office/drawing/2014/main" id="{35AB3AAC-3602-495D-9D2B-07E1D3D1E758}"/>
                </a:ext>
              </a:extLst>
            </p:cNvPr>
            <p:cNvSpPr>
              <a:spLocks/>
            </p:cNvSpPr>
            <p:nvPr/>
          </p:nvSpPr>
          <p:spPr bwMode="auto">
            <a:xfrm>
              <a:off x="4182" y="2495"/>
              <a:ext cx="19"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1" name="Freeform 522">
              <a:extLst>
                <a:ext uri="{FF2B5EF4-FFF2-40B4-BE49-F238E27FC236}">
                  <a16:creationId xmlns:a16="http://schemas.microsoft.com/office/drawing/2014/main" id="{7DFA739D-6019-4B05-9010-D6DE2549A7A1}"/>
                </a:ext>
              </a:extLst>
            </p:cNvPr>
            <p:cNvSpPr>
              <a:spLocks/>
            </p:cNvSpPr>
            <p:nvPr/>
          </p:nvSpPr>
          <p:spPr bwMode="auto">
            <a:xfrm>
              <a:off x="4193" y="2453"/>
              <a:ext cx="18" cy="29"/>
            </a:xfrm>
            <a:custGeom>
              <a:avLst/>
              <a:gdLst>
                <a:gd name="T0" fmla="*/ 19 w 28"/>
                <a:gd name="T1" fmla="*/ 1 h 44"/>
                <a:gd name="T2" fmla="*/ 6 w 28"/>
                <a:gd name="T3" fmla="*/ 9 h 44"/>
                <a:gd name="T4" fmla="*/ 1 w 28"/>
                <a:gd name="T5" fmla="*/ 30 h 44"/>
                <a:gd name="T6" fmla="*/ 9 w 28"/>
                <a:gd name="T7" fmla="*/ 43 h 44"/>
                <a:gd name="T8" fmla="*/ 11 w 28"/>
                <a:gd name="T9" fmla="*/ 44 h 44"/>
                <a:gd name="T10" fmla="*/ 22 w 28"/>
                <a:gd name="T11" fmla="*/ 36 h 44"/>
                <a:gd name="T12" fmla="*/ 27 w 28"/>
                <a:gd name="T13" fmla="*/ 14 h 44"/>
                <a:gd name="T14" fmla="*/ 19 w 28"/>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4">
                  <a:moveTo>
                    <a:pt x="19" y="1"/>
                  </a:moveTo>
                  <a:cubicBezTo>
                    <a:pt x="14" y="0"/>
                    <a:pt x="8" y="3"/>
                    <a:pt x="6" y="9"/>
                  </a:cubicBezTo>
                  <a:cubicBezTo>
                    <a:pt x="1" y="30"/>
                    <a:pt x="1" y="30"/>
                    <a:pt x="1" y="30"/>
                  </a:cubicBezTo>
                  <a:cubicBezTo>
                    <a:pt x="0" y="36"/>
                    <a:pt x="3" y="42"/>
                    <a:pt x="9" y="43"/>
                  </a:cubicBezTo>
                  <a:cubicBezTo>
                    <a:pt x="10" y="44"/>
                    <a:pt x="10" y="44"/>
                    <a:pt x="11" y="44"/>
                  </a:cubicBezTo>
                  <a:cubicBezTo>
                    <a:pt x="16" y="44"/>
                    <a:pt x="20" y="40"/>
                    <a:pt x="22" y="36"/>
                  </a:cubicBezTo>
                  <a:cubicBezTo>
                    <a:pt x="27" y="14"/>
                    <a:pt x="27" y="14"/>
                    <a:pt x="27" y="14"/>
                  </a:cubicBezTo>
                  <a:cubicBezTo>
                    <a:pt x="28" y="9"/>
                    <a:pt x="25" y="3"/>
                    <a:pt x="1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2" name="Freeform 523">
              <a:extLst>
                <a:ext uri="{FF2B5EF4-FFF2-40B4-BE49-F238E27FC236}">
                  <a16:creationId xmlns:a16="http://schemas.microsoft.com/office/drawing/2014/main" id="{EA09C143-6C4E-461F-A1C8-10813E2A6751}"/>
                </a:ext>
              </a:extLst>
            </p:cNvPr>
            <p:cNvSpPr>
              <a:spLocks/>
            </p:cNvSpPr>
            <p:nvPr/>
          </p:nvSpPr>
          <p:spPr bwMode="auto">
            <a:xfrm>
              <a:off x="4231" y="2495"/>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3" name="Freeform 524">
              <a:extLst>
                <a:ext uri="{FF2B5EF4-FFF2-40B4-BE49-F238E27FC236}">
                  <a16:creationId xmlns:a16="http://schemas.microsoft.com/office/drawing/2014/main" id="{6AA4E285-0A9B-44AC-A03D-A383D5F2A373}"/>
                </a:ext>
              </a:extLst>
            </p:cNvPr>
            <p:cNvSpPr>
              <a:spLocks/>
            </p:cNvSpPr>
            <p:nvPr/>
          </p:nvSpPr>
          <p:spPr bwMode="auto">
            <a:xfrm>
              <a:off x="4242" y="2453"/>
              <a:ext cx="19" cy="29"/>
            </a:xfrm>
            <a:custGeom>
              <a:avLst/>
              <a:gdLst>
                <a:gd name="T0" fmla="*/ 20 w 29"/>
                <a:gd name="T1" fmla="*/ 1 h 44"/>
                <a:gd name="T2" fmla="*/ 7 w 29"/>
                <a:gd name="T3" fmla="*/ 9 h 44"/>
                <a:gd name="T4" fmla="*/ 2 w 29"/>
                <a:gd name="T5" fmla="*/ 30 h 44"/>
                <a:gd name="T6" fmla="*/ 9 w 29"/>
                <a:gd name="T7" fmla="*/ 43 h 44"/>
                <a:gd name="T8" fmla="*/ 12 w 29"/>
                <a:gd name="T9" fmla="*/ 44 h 44"/>
                <a:gd name="T10" fmla="*/ 22 w 29"/>
                <a:gd name="T11" fmla="*/ 36 h 44"/>
                <a:gd name="T12" fmla="*/ 28 w 29"/>
                <a:gd name="T13" fmla="*/ 14 h 44"/>
                <a:gd name="T14" fmla="*/ 20 w 29"/>
                <a:gd name="T15" fmla="*/ 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4">
                  <a:moveTo>
                    <a:pt x="20" y="1"/>
                  </a:moveTo>
                  <a:cubicBezTo>
                    <a:pt x="14" y="0"/>
                    <a:pt x="8" y="3"/>
                    <a:pt x="7" y="9"/>
                  </a:cubicBezTo>
                  <a:cubicBezTo>
                    <a:pt x="2" y="30"/>
                    <a:pt x="2" y="30"/>
                    <a:pt x="2" y="30"/>
                  </a:cubicBezTo>
                  <a:cubicBezTo>
                    <a:pt x="0" y="36"/>
                    <a:pt x="4" y="42"/>
                    <a:pt x="9" y="43"/>
                  </a:cubicBezTo>
                  <a:cubicBezTo>
                    <a:pt x="10" y="44"/>
                    <a:pt x="11" y="44"/>
                    <a:pt x="12" y="44"/>
                  </a:cubicBezTo>
                  <a:cubicBezTo>
                    <a:pt x="17" y="44"/>
                    <a:pt x="21" y="40"/>
                    <a:pt x="22" y="36"/>
                  </a:cubicBezTo>
                  <a:cubicBezTo>
                    <a:pt x="28" y="14"/>
                    <a:pt x="28" y="14"/>
                    <a:pt x="28" y="14"/>
                  </a:cubicBezTo>
                  <a:cubicBezTo>
                    <a:pt x="29" y="9"/>
                    <a:pt x="26" y="3"/>
                    <a:pt x="2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4" name="Freeform 525">
              <a:extLst>
                <a:ext uri="{FF2B5EF4-FFF2-40B4-BE49-F238E27FC236}">
                  <a16:creationId xmlns:a16="http://schemas.microsoft.com/office/drawing/2014/main" id="{A6F7DD77-803E-479A-976F-3A7FB6BDCAE2}"/>
                </a:ext>
              </a:extLst>
            </p:cNvPr>
            <p:cNvSpPr>
              <a:spLocks noEditPoints="1"/>
            </p:cNvSpPr>
            <p:nvPr/>
          </p:nvSpPr>
          <p:spPr bwMode="auto">
            <a:xfrm>
              <a:off x="4034" y="2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5" name="Group 123">
            <a:extLst>
              <a:ext uri="{FF2B5EF4-FFF2-40B4-BE49-F238E27FC236}">
                <a16:creationId xmlns:a16="http://schemas.microsoft.com/office/drawing/2014/main" id="{C0D0C010-B7E0-419A-980F-4A137AC1AF7C}"/>
              </a:ext>
            </a:extLst>
          </p:cNvPr>
          <p:cNvGrpSpPr>
            <a:grpSpLocks noChangeAspect="1"/>
          </p:cNvGrpSpPr>
          <p:nvPr/>
        </p:nvGrpSpPr>
        <p:grpSpPr bwMode="auto">
          <a:xfrm>
            <a:off x="3092144" y="1700213"/>
            <a:ext cx="367041" cy="367041"/>
            <a:chOff x="2343" y="399"/>
            <a:chExt cx="340" cy="340"/>
          </a:xfrm>
          <a:solidFill>
            <a:schemeClr val="accent2"/>
          </a:solidFill>
        </p:grpSpPr>
        <p:sp>
          <p:nvSpPr>
            <p:cNvPr id="456" name="Freeform 124">
              <a:extLst>
                <a:ext uri="{FF2B5EF4-FFF2-40B4-BE49-F238E27FC236}">
                  <a16:creationId xmlns:a16="http://schemas.microsoft.com/office/drawing/2014/main" id="{8CEAC983-D09A-403B-9A2B-DFFB52D183C7}"/>
                </a:ext>
              </a:extLst>
            </p:cNvPr>
            <p:cNvSpPr>
              <a:spLocks/>
            </p:cNvSpPr>
            <p:nvPr/>
          </p:nvSpPr>
          <p:spPr bwMode="auto">
            <a:xfrm>
              <a:off x="2421" y="477"/>
              <a:ext cx="184" cy="99"/>
            </a:xfrm>
            <a:custGeom>
              <a:avLst/>
              <a:gdLst>
                <a:gd name="T0" fmla="*/ 245 w 277"/>
                <a:gd name="T1" fmla="*/ 85 h 149"/>
                <a:gd name="T2" fmla="*/ 236 w 277"/>
                <a:gd name="T3" fmla="*/ 87 h 149"/>
                <a:gd name="T4" fmla="*/ 223 w 277"/>
                <a:gd name="T5" fmla="*/ 89 h 149"/>
                <a:gd name="T6" fmla="*/ 219 w 277"/>
                <a:gd name="T7" fmla="*/ 74 h 149"/>
                <a:gd name="T8" fmla="*/ 220 w 277"/>
                <a:gd name="T9" fmla="*/ 65 h 149"/>
                <a:gd name="T10" fmla="*/ 155 w 277"/>
                <a:gd name="T11" fmla="*/ 0 h 149"/>
                <a:gd name="T12" fmla="*/ 90 w 277"/>
                <a:gd name="T13" fmla="*/ 52 h 149"/>
                <a:gd name="T14" fmla="*/ 84 w 277"/>
                <a:gd name="T15" fmla="*/ 59 h 149"/>
                <a:gd name="T16" fmla="*/ 74 w 277"/>
                <a:gd name="T17" fmla="*/ 58 h 149"/>
                <a:gd name="T18" fmla="*/ 50 w 277"/>
                <a:gd name="T19" fmla="*/ 50 h 149"/>
                <a:gd name="T20" fmla="*/ 0 w 277"/>
                <a:gd name="T21" fmla="*/ 100 h 149"/>
                <a:gd name="T22" fmla="*/ 50 w 277"/>
                <a:gd name="T23" fmla="*/ 149 h 149"/>
                <a:gd name="T24" fmla="*/ 245 w 277"/>
                <a:gd name="T25" fmla="*/ 149 h 149"/>
                <a:gd name="T26" fmla="*/ 277 w 277"/>
                <a:gd name="T27" fmla="*/ 117 h 149"/>
                <a:gd name="T28" fmla="*/ 245 w 277"/>
                <a:gd name="T29" fmla="*/ 8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149">
                  <a:moveTo>
                    <a:pt x="245" y="85"/>
                  </a:moveTo>
                  <a:cubicBezTo>
                    <a:pt x="241" y="85"/>
                    <a:pt x="237" y="86"/>
                    <a:pt x="236" y="87"/>
                  </a:cubicBezTo>
                  <a:cubicBezTo>
                    <a:pt x="233" y="90"/>
                    <a:pt x="227" y="91"/>
                    <a:pt x="223" y="89"/>
                  </a:cubicBezTo>
                  <a:cubicBezTo>
                    <a:pt x="218" y="86"/>
                    <a:pt x="217" y="81"/>
                    <a:pt x="219" y="74"/>
                  </a:cubicBezTo>
                  <a:cubicBezTo>
                    <a:pt x="219" y="74"/>
                    <a:pt x="220" y="68"/>
                    <a:pt x="220" y="65"/>
                  </a:cubicBezTo>
                  <a:cubicBezTo>
                    <a:pt x="220" y="29"/>
                    <a:pt x="191" y="0"/>
                    <a:pt x="155" y="0"/>
                  </a:cubicBezTo>
                  <a:cubicBezTo>
                    <a:pt x="124" y="0"/>
                    <a:pt x="96" y="22"/>
                    <a:pt x="90" y="52"/>
                  </a:cubicBezTo>
                  <a:cubicBezTo>
                    <a:pt x="89" y="55"/>
                    <a:pt x="87" y="58"/>
                    <a:pt x="84" y="59"/>
                  </a:cubicBezTo>
                  <a:cubicBezTo>
                    <a:pt x="80" y="61"/>
                    <a:pt x="77" y="60"/>
                    <a:pt x="74" y="58"/>
                  </a:cubicBezTo>
                  <a:cubicBezTo>
                    <a:pt x="66" y="53"/>
                    <a:pt x="59" y="50"/>
                    <a:pt x="50" y="50"/>
                  </a:cubicBezTo>
                  <a:cubicBezTo>
                    <a:pt x="22" y="50"/>
                    <a:pt x="0" y="72"/>
                    <a:pt x="0" y="100"/>
                  </a:cubicBezTo>
                  <a:cubicBezTo>
                    <a:pt x="0" y="127"/>
                    <a:pt x="22" y="149"/>
                    <a:pt x="50" y="149"/>
                  </a:cubicBezTo>
                  <a:cubicBezTo>
                    <a:pt x="245" y="149"/>
                    <a:pt x="245" y="149"/>
                    <a:pt x="245" y="149"/>
                  </a:cubicBezTo>
                  <a:cubicBezTo>
                    <a:pt x="263" y="149"/>
                    <a:pt x="277" y="135"/>
                    <a:pt x="277" y="117"/>
                  </a:cubicBezTo>
                  <a:cubicBezTo>
                    <a:pt x="277" y="100"/>
                    <a:pt x="263" y="85"/>
                    <a:pt x="245"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7" name="Freeform 125">
              <a:extLst>
                <a:ext uri="{FF2B5EF4-FFF2-40B4-BE49-F238E27FC236}">
                  <a16:creationId xmlns:a16="http://schemas.microsoft.com/office/drawing/2014/main" id="{9506E562-61B9-4C19-8801-0FAC169A401B}"/>
                </a:ext>
              </a:extLst>
            </p:cNvPr>
            <p:cNvSpPr>
              <a:spLocks noEditPoints="1"/>
            </p:cNvSpPr>
            <p:nvPr/>
          </p:nvSpPr>
          <p:spPr bwMode="auto">
            <a:xfrm>
              <a:off x="2343" y="39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0 w 512"/>
                <a:gd name="T11" fmla="*/ 416 h 512"/>
                <a:gd name="T12" fmla="*/ 149 w 512"/>
                <a:gd name="T13" fmla="*/ 405 h 512"/>
                <a:gd name="T14" fmla="*/ 160 w 512"/>
                <a:gd name="T15" fmla="*/ 394 h 512"/>
                <a:gd name="T16" fmla="*/ 170 w 512"/>
                <a:gd name="T17" fmla="*/ 405 h 512"/>
                <a:gd name="T18" fmla="*/ 160 w 512"/>
                <a:gd name="T19" fmla="*/ 416 h 512"/>
                <a:gd name="T20" fmla="*/ 170 w 512"/>
                <a:gd name="T21" fmla="*/ 373 h 512"/>
                <a:gd name="T22" fmla="*/ 160 w 512"/>
                <a:gd name="T23" fmla="*/ 362 h 512"/>
                <a:gd name="T24" fmla="*/ 170 w 512"/>
                <a:gd name="T25" fmla="*/ 352 h 512"/>
                <a:gd name="T26" fmla="*/ 181 w 512"/>
                <a:gd name="T27" fmla="*/ 362 h 512"/>
                <a:gd name="T28" fmla="*/ 170 w 512"/>
                <a:gd name="T29" fmla="*/ 373 h 512"/>
                <a:gd name="T30" fmla="*/ 181 w 512"/>
                <a:gd name="T31" fmla="*/ 330 h 512"/>
                <a:gd name="T32" fmla="*/ 170 w 512"/>
                <a:gd name="T33" fmla="*/ 320 h 512"/>
                <a:gd name="T34" fmla="*/ 181 w 512"/>
                <a:gd name="T35" fmla="*/ 309 h 512"/>
                <a:gd name="T36" fmla="*/ 192 w 512"/>
                <a:gd name="T37" fmla="*/ 320 h 512"/>
                <a:gd name="T38" fmla="*/ 181 w 512"/>
                <a:gd name="T39" fmla="*/ 330 h 512"/>
                <a:gd name="T40" fmla="*/ 234 w 512"/>
                <a:gd name="T41" fmla="*/ 416 h 512"/>
                <a:gd name="T42" fmla="*/ 224 w 512"/>
                <a:gd name="T43" fmla="*/ 405 h 512"/>
                <a:gd name="T44" fmla="*/ 234 w 512"/>
                <a:gd name="T45" fmla="*/ 394 h 512"/>
                <a:gd name="T46" fmla="*/ 245 w 512"/>
                <a:gd name="T47" fmla="*/ 405 h 512"/>
                <a:gd name="T48" fmla="*/ 234 w 512"/>
                <a:gd name="T49" fmla="*/ 416 h 512"/>
                <a:gd name="T50" fmla="*/ 245 w 512"/>
                <a:gd name="T51" fmla="*/ 373 h 512"/>
                <a:gd name="T52" fmla="*/ 234 w 512"/>
                <a:gd name="T53" fmla="*/ 362 h 512"/>
                <a:gd name="T54" fmla="*/ 245 w 512"/>
                <a:gd name="T55" fmla="*/ 352 h 512"/>
                <a:gd name="T56" fmla="*/ 256 w 512"/>
                <a:gd name="T57" fmla="*/ 362 h 512"/>
                <a:gd name="T58" fmla="*/ 245 w 512"/>
                <a:gd name="T59" fmla="*/ 373 h 512"/>
                <a:gd name="T60" fmla="*/ 256 w 512"/>
                <a:gd name="T61" fmla="*/ 330 h 512"/>
                <a:gd name="T62" fmla="*/ 245 w 512"/>
                <a:gd name="T63" fmla="*/ 320 h 512"/>
                <a:gd name="T64" fmla="*/ 256 w 512"/>
                <a:gd name="T65" fmla="*/ 309 h 512"/>
                <a:gd name="T66" fmla="*/ 266 w 512"/>
                <a:gd name="T67" fmla="*/ 320 h 512"/>
                <a:gd name="T68" fmla="*/ 256 w 512"/>
                <a:gd name="T69" fmla="*/ 330 h 512"/>
                <a:gd name="T70" fmla="*/ 309 w 512"/>
                <a:gd name="T71" fmla="*/ 416 h 512"/>
                <a:gd name="T72" fmla="*/ 298 w 512"/>
                <a:gd name="T73" fmla="*/ 405 h 512"/>
                <a:gd name="T74" fmla="*/ 309 w 512"/>
                <a:gd name="T75" fmla="*/ 394 h 512"/>
                <a:gd name="T76" fmla="*/ 320 w 512"/>
                <a:gd name="T77" fmla="*/ 405 h 512"/>
                <a:gd name="T78" fmla="*/ 309 w 512"/>
                <a:gd name="T79" fmla="*/ 416 h 512"/>
                <a:gd name="T80" fmla="*/ 320 w 512"/>
                <a:gd name="T81" fmla="*/ 373 h 512"/>
                <a:gd name="T82" fmla="*/ 309 w 512"/>
                <a:gd name="T83" fmla="*/ 362 h 512"/>
                <a:gd name="T84" fmla="*/ 320 w 512"/>
                <a:gd name="T85" fmla="*/ 352 h 512"/>
                <a:gd name="T86" fmla="*/ 330 w 512"/>
                <a:gd name="T87" fmla="*/ 362 h 512"/>
                <a:gd name="T88" fmla="*/ 320 w 512"/>
                <a:gd name="T89" fmla="*/ 373 h 512"/>
                <a:gd name="T90" fmla="*/ 330 w 512"/>
                <a:gd name="T91" fmla="*/ 330 h 512"/>
                <a:gd name="T92" fmla="*/ 320 w 512"/>
                <a:gd name="T93" fmla="*/ 320 h 512"/>
                <a:gd name="T94" fmla="*/ 330 w 512"/>
                <a:gd name="T95" fmla="*/ 309 h 512"/>
                <a:gd name="T96" fmla="*/ 341 w 512"/>
                <a:gd name="T97" fmla="*/ 320 h 512"/>
                <a:gd name="T98" fmla="*/ 330 w 512"/>
                <a:gd name="T99" fmla="*/ 330 h 512"/>
                <a:gd name="T100" fmla="*/ 362 w 512"/>
                <a:gd name="T101" fmla="*/ 288 h 512"/>
                <a:gd name="T102" fmla="*/ 167 w 512"/>
                <a:gd name="T103" fmla="*/ 288 h 512"/>
                <a:gd name="T104" fmla="*/ 96 w 512"/>
                <a:gd name="T105" fmla="*/ 217 h 512"/>
                <a:gd name="T106" fmla="*/ 167 w 512"/>
                <a:gd name="T107" fmla="*/ 146 h 512"/>
                <a:gd name="T108" fmla="*/ 190 w 512"/>
                <a:gd name="T109" fmla="*/ 151 h 512"/>
                <a:gd name="T110" fmla="*/ 272 w 512"/>
                <a:gd name="T111" fmla="*/ 96 h 512"/>
                <a:gd name="T112" fmla="*/ 358 w 512"/>
                <a:gd name="T113" fmla="*/ 181 h 512"/>
                <a:gd name="T114" fmla="*/ 362 w 512"/>
                <a:gd name="T115" fmla="*/ 181 h 512"/>
                <a:gd name="T116" fmla="*/ 416 w 512"/>
                <a:gd name="T117" fmla="*/ 234 h 512"/>
                <a:gd name="T118" fmla="*/ 362 w 512"/>
                <a:gd name="T119"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0" y="416"/>
                  </a:moveTo>
                  <a:cubicBezTo>
                    <a:pt x="154" y="416"/>
                    <a:pt x="149" y="411"/>
                    <a:pt x="149" y="405"/>
                  </a:cubicBezTo>
                  <a:cubicBezTo>
                    <a:pt x="149" y="399"/>
                    <a:pt x="154" y="394"/>
                    <a:pt x="160" y="394"/>
                  </a:cubicBezTo>
                  <a:cubicBezTo>
                    <a:pt x="166" y="394"/>
                    <a:pt x="170" y="399"/>
                    <a:pt x="170" y="405"/>
                  </a:cubicBezTo>
                  <a:cubicBezTo>
                    <a:pt x="170" y="411"/>
                    <a:pt x="166" y="416"/>
                    <a:pt x="160" y="416"/>
                  </a:cubicBezTo>
                  <a:close/>
                  <a:moveTo>
                    <a:pt x="170" y="373"/>
                  </a:moveTo>
                  <a:cubicBezTo>
                    <a:pt x="164" y="373"/>
                    <a:pt x="160" y="368"/>
                    <a:pt x="160" y="362"/>
                  </a:cubicBezTo>
                  <a:cubicBezTo>
                    <a:pt x="160" y="356"/>
                    <a:pt x="164" y="352"/>
                    <a:pt x="170" y="352"/>
                  </a:cubicBezTo>
                  <a:cubicBezTo>
                    <a:pt x="176" y="352"/>
                    <a:pt x="181" y="356"/>
                    <a:pt x="181" y="362"/>
                  </a:cubicBezTo>
                  <a:cubicBezTo>
                    <a:pt x="181" y="368"/>
                    <a:pt x="176" y="373"/>
                    <a:pt x="170" y="373"/>
                  </a:cubicBezTo>
                  <a:close/>
                  <a:moveTo>
                    <a:pt x="181" y="330"/>
                  </a:moveTo>
                  <a:cubicBezTo>
                    <a:pt x="175" y="330"/>
                    <a:pt x="170" y="326"/>
                    <a:pt x="170" y="320"/>
                  </a:cubicBezTo>
                  <a:cubicBezTo>
                    <a:pt x="170" y="314"/>
                    <a:pt x="175" y="309"/>
                    <a:pt x="181" y="309"/>
                  </a:cubicBezTo>
                  <a:cubicBezTo>
                    <a:pt x="187" y="309"/>
                    <a:pt x="192" y="314"/>
                    <a:pt x="192" y="320"/>
                  </a:cubicBezTo>
                  <a:cubicBezTo>
                    <a:pt x="192" y="326"/>
                    <a:pt x="187" y="330"/>
                    <a:pt x="181" y="330"/>
                  </a:cubicBezTo>
                  <a:close/>
                  <a:moveTo>
                    <a:pt x="234" y="416"/>
                  </a:moveTo>
                  <a:cubicBezTo>
                    <a:pt x="228" y="416"/>
                    <a:pt x="224" y="411"/>
                    <a:pt x="224" y="405"/>
                  </a:cubicBezTo>
                  <a:cubicBezTo>
                    <a:pt x="224" y="399"/>
                    <a:pt x="228" y="394"/>
                    <a:pt x="234" y="394"/>
                  </a:cubicBezTo>
                  <a:cubicBezTo>
                    <a:pt x="240" y="394"/>
                    <a:pt x="245" y="399"/>
                    <a:pt x="245" y="405"/>
                  </a:cubicBezTo>
                  <a:cubicBezTo>
                    <a:pt x="245" y="411"/>
                    <a:pt x="240" y="416"/>
                    <a:pt x="234" y="416"/>
                  </a:cubicBezTo>
                  <a:close/>
                  <a:moveTo>
                    <a:pt x="245" y="373"/>
                  </a:moveTo>
                  <a:cubicBezTo>
                    <a:pt x="239" y="373"/>
                    <a:pt x="234" y="368"/>
                    <a:pt x="234" y="362"/>
                  </a:cubicBezTo>
                  <a:cubicBezTo>
                    <a:pt x="234" y="356"/>
                    <a:pt x="239" y="352"/>
                    <a:pt x="245" y="352"/>
                  </a:cubicBezTo>
                  <a:cubicBezTo>
                    <a:pt x="251" y="352"/>
                    <a:pt x="256" y="356"/>
                    <a:pt x="256" y="362"/>
                  </a:cubicBezTo>
                  <a:cubicBezTo>
                    <a:pt x="256" y="368"/>
                    <a:pt x="251" y="373"/>
                    <a:pt x="245" y="373"/>
                  </a:cubicBezTo>
                  <a:close/>
                  <a:moveTo>
                    <a:pt x="256" y="330"/>
                  </a:moveTo>
                  <a:cubicBezTo>
                    <a:pt x="250" y="330"/>
                    <a:pt x="245" y="326"/>
                    <a:pt x="245" y="320"/>
                  </a:cubicBezTo>
                  <a:cubicBezTo>
                    <a:pt x="245" y="314"/>
                    <a:pt x="250" y="309"/>
                    <a:pt x="256" y="309"/>
                  </a:cubicBezTo>
                  <a:cubicBezTo>
                    <a:pt x="262" y="309"/>
                    <a:pt x="266" y="314"/>
                    <a:pt x="266" y="320"/>
                  </a:cubicBezTo>
                  <a:cubicBezTo>
                    <a:pt x="266" y="326"/>
                    <a:pt x="262" y="330"/>
                    <a:pt x="256" y="330"/>
                  </a:cubicBezTo>
                  <a:close/>
                  <a:moveTo>
                    <a:pt x="309" y="416"/>
                  </a:moveTo>
                  <a:cubicBezTo>
                    <a:pt x="303" y="416"/>
                    <a:pt x="298" y="411"/>
                    <a:pt x="298" y="405"/>
                  </a:cubicBezTo>
                  <a:cubicBezTo>
                    <a:pt x="298" y="399"/>
                    <a:pt x="303" y="394"/>
                    <a:pt x="309" y="394"/>
                  </a:cubicBezTo>
                  <a:cubicBezTo>
                    <a:pt x="315" y="394"/>
                    <a:pt x="320" y="399"/>
                    <a:pt x="320" y="405"/>
                  </a:cubicBezTo>
                  <a:cubicBezTo>
                    <a:pt x="320" y="411"/>
                    <a:pt x="315" y="416"/>
                    <a:pt x="309" y="416"/>
                  </a:cubicBezTo>
                  <a:close/>
                  <a:moveTo>
                    <a:pt x="320" y="373"/>
                  </a:moveTo>
                  <a:cubicBezTo>
                    <a:pt x="314" y="373"/>
                    <a:pt x="309" y="368"/>
                    <a:pt x="309" y="362"/>
                  </a:cubicBezTo>
                  <a:cubicBezTo>
                    <a:pt x="309" y="356"/>
                    <a:pt x="314" y="352"/>
                    <a:pt x="320" y="352"/>
                  </a:cubicBezTo>
                  <a:cubicBezTo>
                    <a:pt x="326" y="352"/>
                    <a:pt x="330" y="356"/>
                    <a:pt x="330" y="362"/>
                  </a:cubicBezTo>
                  <a:cubicBezTo>
                    <a:pt x="330" y="368"/>
                    <a:pt x="326" y="373"/>
                    <a:pt x="320" y="373"/>
                  </a:cubicBezTo>
                  <a:close/>
                  <a:moveTo>
                    <a:pt x="330" y="330"/>
                  </a:moveTo>
                  <a:cubicBezTo>
                    <a:pt x="324" y="330"/>
                    <a:pt x="320" y="326"/>
                    <a:pt x="320" y="320"/>
                  </a:cubicBezTo>
                  <a:cubicBezTo>
                    <a:pt x="320" y="314"/>
                    <a:pt x="324" y="309"/>
                    <a:pt x="330" y="309"/>
                  </a:cubicBezTo>
                  <a:cubicBezTo>
                    <a:pt x="336" y="309"/>
                    <a:pt x="341" y="314"/>
                    <a:pt x="341" y="320"/>
                  </a:cubicBezTo>
                  <a:cubicBezTo>
                    <a:pt x="341" y="326"/>
                    <a:pt x="336" y="330"/>
                    <a:pt x="330" y="330"/>
                  </a:cubicBezTo>
                  <a:close/>
                  <a:moveTo>
                    <a:pt x="362" y="288"/>
                  </a:moveTo>
                  <a:cubicBezTo>
                    <a:pt x="167" y="288"/>
                    <a:pt x="167" y="288"/>
                    <a:pt x="167" y="288"/>
                  </a:cubicBezTo>
                  <a:cubicBezTo>
                    <a:pt x="127" y="288"/>
                    <a:pt x="96" y="256"/>
                    <a:pt x="96" y="217"/>
                  </a:cubicBezTo>
                  <a:cubicBezTo>
                    <a:pt x="96" y="178"/>
                    <a:pt x="127" y="146"/>
                    <a:pt x="167" y="146"/>
                  </a:cubicBezTo>
                  <a:cubicBezTo>
                    <a:pt x="176" y="146"/>
                    <a:pt x="183" y="148"/>
                    <a:pt x="190" y="151"/>
                  </a:cubicBezTo>
                  <a:cubicBezTo>
                    <a:pt x="203" y="118"/>
                    <a:pt x="235" y="96"/>
                    <a:pt x="272" y="96"/>
                  </a:cubicBezTo>
                  <a:cubicBezTo>
                    <a:pt x="319" y="96"/>
                    <a:pt x="358" y="134"/>
                    <a:pt x="358" y="181"/>
                  </a:cubicBezTo>
                  <a:cubicBezTo>
                    <a:pt x="359" y="181"/>
                    <a:pt x="361" y="181"/>
                    <a:pt x="362" y="181"/>
                  </a:cubicBezTo>
                  <a:cubicBezTo>
                    <a:pt x="392" y="181"/>
                    <a:pt x="416" y="205"/>
                    <a:pt x="416" y="234"/>
                  </a:cubicBezTo>
                  <a:cubicBezTo>
                    <a:pt x="416" y="264"/>
                    <a:pt x="392" y="288"/>
                    <a:pt x="362" y="2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8" name="Group 128">
            <a:extLst>
              <a:ext uri="{FF2B5EF4-FFF2-40B4-BE49-F238E27FC236}">
                <a16:creationId xmlns:a16="http://schemas.microsoft.com/office/drawing/2014/main" id="{9CC809DE-1887-4C81-B05F-B65687CCA305}"/>
              </a:ext>
            </a:extLst>
          </p:cNvPr>
          <p:cNvGrpSpPr>
            <a:grpSpLocks noChangeAspect="1"/>
          </p:cNvGrpSpPr>
          <p:nvPr/>
        </p:nvGrpSpPr>
        <p:grpSpPr bwMode="auto">
          <a:xfrm>
            <a:off x="3525211" y="1700213"/>
            <a:ext cx="368120" cy="367041"/>
            <a:chOff x="2963" y="475"/>
            <a:chExt cx="341" cy="340"/>
          </a:xfrm>
          <a:solidFill>
            <a:schemeClr val="accent2"/>
          </a:solidFill>
        </p:grpSpPr>
        <p:sp>
          <p:nvSpPr>
            <p:cNvPr id="459" name="Freeform 129">
              <a:extLst>
                <a:ext uri="{FF2B5EF4-FFF2-40B4-BE49-F238E27FC236}">
                  <a16:creationId xmlns:a16="http://schemas.microsoft.com/office/drawing/2014/main" id="{47CE9331-E59D-40EA-BD3A-0C2D6B75D4F4}"/>
                </a:ext>
              </a:extLst>
            </p:cNvPr>
            <p:cNvSpPr>
              <a:spLocks noEditPoints="1"/>
            </p:cNvSpPr>
            <p:nvPr/>
          </p:nvSpPr>
          <p:spPr bwMode="auto">
            <a:xfrm>
              <a:off x="3027" y="539"/>
              <a:ext cx="213" cy="212"/>
            </a:xfrm>
            <a:custGeom>
              <a:avLst/>
              <a:gdLst>
                <a:gd name="T0" fmla="*/ 262 w 320"/>
                <a:gd name="T1" fmla="*/ 85 h 320"/>
                <a:gd name="T2" fmla="*/ 94 w 320"/>
                <a:gd name="T3" fmla="*/ 55 h 320"/>
                <a:gd name="T4" fmla="*/ 0 w 320"/>
                <a:gd name="T5" fmla="*/ 121 h 320"/>
                <a:gd name="T6" fmla="*/ 266 w 320"/>
                <a:gd name="T7" fmla="*/ 192 h 320"/>
                <a:gd name="T8" fmla="*/ 266 w 320"/>
                <a:gd name="T9" fmla="*/ 85 h 320"/>
                <a:gd name="T10" fmla="*/ 71 w 320"/>
                <a:gd name="T11" fmla="*/ 170 h 320"/>
                <a:gd name="T12" fmla="*/ 71 w 320"/>
                <a:gd name="T13" fmla="*/ 71 h 320"/>
                <a:gd name="T14" fmla="*/ 105 w 320"/>
                <a:gd name="T15" fmla="*/ 80 h 320"/>
                <a:gd name="T16" fmla="*/ 176 w 320"/>
                <a:gd name="T17" fmla="*/ 21 h 320"/>
                <a:gd name="T18" fmla="*/ 240 w 320"/>
                <a:gd name="T19" fmla="*/ 95 h 320"/>
                <a:gd name="T20" fmla="*/ 257 w 320"/>
                <a:gd name="T21" fmla="*/ 108 h 320"/>
                <a:gd name="T22" fmla="*/ 298 w 320"/>
                <a:gd name="T23" fmla="*/ 138 h 320"/>
                <a:gd name="T24" fmla="*/ 96 w 320"/>
                <a:gd name="T25" fmla="*/ 224 h 320"/>
                <a:gd name="T26" fmla="*/ 74 w 320"/>
                <a:gd name="T27" fmla="*/ 224 h 320"/>
                <a:gd name="T28" fmla="*/ 96 w 320"/>
                <a:gd name="T29" fmla="*/ 224 h 320"/>
                <a:gd name="T30" fmla="*/ 160 w 320"/>
                <a:gd name="T31" fmla="*/ 234 h 320"/>
                <a:gd name="T32" fmla="*/ 160 w 320"/>
                <a:gd name="T33" fmla="*/ 213 h 320"/>
                <a:gd name="T34" fmla="*/ 245 w 320"/>
                <a:gd name="T35" fmla="*/ 224 h 320"/>
                <a:gd name="T36" fmla="*/ 224 w 320"/>
                <a:gd name="T37" fmla="*/ 224 h 320"/>
                <a:gd name="T38" fmla="*/ 245 w 320"/>
                <a:gd name="T39" fmla="*/ 224 h 320"/>
                <a:gd name="T40" fmla="*/ 74 w 320"/>
                <a:gd name="T41" fmla="*/ 277 h 320"/>
                <a:gd name="T42" fmla="*/ 74 w 320"/>
                <a:gd name="T43" fmla="*/ 256 h 320"/>
                <a:gd name="T44" fmla="*/ 160 w 320"/>
                <a:gd name="T45" fmla="*/ 266 h 320"/>
                <a:gd name="T46" fmla="*/ 138 w 320"/>
                <a:gd name="T47" fmla="*/ 266 h 320"/>
                <a:gd name="T48" fmla="*/ 160 w 320"/>
                <a:gd name="T49" fmla="*/ 266 h 320"/>
                <a:gd name="T50" fmla="*/ 224 w 320"/>
                <a:gd name="T51" fmla="*/ 277 h 320"/>
                <a:gd name="T52" fmla="*/ 224 w 320"/>
                <a:gd name="T53" fmla="*/ 256 h 320"/>
                <a:gd name="T54" fmla="*/ 74 w 320"/>
                <a:gd name="T55" fmla="*/ 309 h 320"/>
                <a:gd name="T56" fmla="*/ 53 w 320"/>
                <a:gd name="T57" fmla="*/ 309 h 320"/>
                <a:gd name="T58" fmla="*/ 74 w 320"/>
                <a:gd name="T59" fmla="*/ 309 h 320"/>
                <a:gd name="T60" fmla="*/ 138 w 320"/>
                <a:gd name="T61" fmla="*/ 320 h 320"/>
                <a:gd name="T62" fmla="*/ 138 w 320"/>
                <a:gd name="T63" fmla="*/ 298 h 320"/>
                <a:gd name="T64" fmla="*/ 224 w 320"/>
                <a:gd name="T65" fmla="*/ 309 h 320"/>
                <a:gd name="T66" fmla="*/ 202 w 320"/>
                <a:gd name="T67" fmla="*/ 309 h 320"/>
                <a:gd name="T68" fmla="*/ 224 w 320"/>
                <a:gd name="T69" fmla="*/ 30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20">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5"/>
                    <a:pt x="240" y="95"/>
                  </a:cubicBezTo>
                  <a:cubicBezTo>
                    <a:pt x="238" y="102"/>
                    <a:pt x="239" y="107"/>
                    <a:pt x="244" y="110"/>
                  </a:cubicBezTo>
                  <a:cubicBezTo>
                    <a:pt x="248" y="112"/>
                    <a:pt x="254" y="111"/>
                    <a:pt x="257" y="108"/>
                  </a:cubicBezTo>
                  <a:cubicBezTo>
                    <a:pt x="258" y="107"/>
                    <a:pt x="262" y="106"/>
                    <a:pt x="266" y="106"/>
                  </a:cubicBezTo>
                  <a:cubicBezTo>
                    <a:pt x="284" y="106"/>
                    <a:pt x="298" y="121"/>
                    <a:pt x="298" y="138"/>
                  </a:cubicBezTo>
                  <a:cubicBezTo>
                    <a:pt x="298" y="156"/>
                    <a:pt x="284" y="170"/>
                    <a:pt x="266" y="170"/>
                  </a:cubicBezTo>
                  <a:close/>
                  <a:moveTo>
                    <a:pt x="96" y="224"/>
                  </a:moveTo>
                  <a:cubicBezTo>
                    <a:pt x="96" y="230"/>
                    <a:pt x="91" y="234"/>
                    <a:pt x="85" y="234"/>
                  </a:cubicBezTo>
                  <a:cubicBezTo>
                    <a:pt x="79" y="234"/>
                    <a:pt x="74" y="230"/>
                    <a:pt x="74" y="224"/>
                  </a:cubicBezTo>
                  <a:cubicBezTo>
                    <a:pt x="74" y="218"/>
                    <a:pt x="79" y="213"/>
                    <a:pt x="85" y="213"/>
                  </a:cubicBezTo>
                  <a:cubicBezTo>
                    <a:pt x="91" y="213"/>
                    <a:pt x="96" y="218"/>
                    <a:pt x="96" y="224"/>
                  </a:cubicBezTo>
                  <a:close/>
                  <a:moveTo>
                    <a:pt x="170" y="224"/>
                  </a:moveTo>
                  <a:cubicBezTo>
                    <a:pt x="170" y="230"/>
                    <a:pt x="166" y="234"/>
                    <a:pt x="160" y="234"/>
                  </a:cubicBezTo>
                  <a:cubicBezTo>
                    <a:pt x="154" y="234"/>
                    <a:pt x="149" y="230"/>
                    <a:pt x="149" y="224"/>
                  </a:cubicBezTo>
                  <a:cubicBezTo>
                    <a:pt x="149" y="218"/>
                    <a:pt x="154" y="213"/>
                    <a:pt x="160" y="213"/>
                  </a:cubicBezTo>
                  <a:cubicBezTo>
                    <a:pt x="166" y="213"/>
                    <a:pt x="170" y="218"/>
                    <a:pt x="170" y="224"/>
                  </a:cubicBezTo>
                  <a:close/>
                  <a:moveTo>
                    <a:pt x="245" y="224"/>
                  </a:moveTo>
                  <a:cubicBezTo>
                    <a:pt x="245" y="230"/>
                    <a:pt x="240" y="234"/>
                    <a:pt x="234" y="234"/>
                  </a:cubicBezTo>
                  <a:cubicBezTo>
                    <a:pt x="228" y="234"/>
                    <a:pt x="224" y="230"/>
                    <a:pt x="224" y="224"/>
                  </a:cubicBezTo>
                  <a:cubicBezTo>
                    <a:pt x="224" y="218"/>
                    <a:pt x="228" y="213"/>
                    <a:pt x="234" y="213"/>
                  </a:cubicBezTo>
                  <a:cubicBezTo>
                    <a:pt x="240" y="213"/>
                    <a:pt x="245" y="218"/>
                    <a:pt x="245" y="224"/>
                  </a:cubicBezTo>
                  <a:close/>
                  <a:moveTo>
                    <a:pt x="85" y="266"/>
                  </a:moveTo>
                  <a:cubicBezTo>
                    <a:pt x="85" y="272"/>
                    <a:pt x="80" y="277"/>
                    <a:pt x="74" y="277"/>
                  </a:cubicBezTo>
                  <a:cubicBezTo>
                    <a:pt x="68" y="277"/>
                    <a:pt x="64" y="272"/>
                    <a:pt x="64" y="266"/>
                  </a:cubicBezTo>
                  <a:cubicBezTo>
                    <a:pt x="64" y="260"/>
                    <a:pt x="68" y="256"/>
                    <a:pt x="74" y="256"/>
                  </a:cubicBezTo>
                  <a:cubicBezTo>
                    <a:pt x="80" y="256"/>
                    <a:pt x="85" y="260"/>
                    <a:pt x="85" y="266"/>
                  </a:cubicBezTo>
                  <a:close/>
                  <a:moveTo>
                    <a:pt x="160" y="266"/>
                  </a:moveTo>
                  <a:cubicBezTo>
                    <a:pt x="160" y="272"/>
                    <a:pt x="155" y="277"/>
                    <a:pt x="149" y="277"/>
                  </a:cubicBezTo>
                  <a:cubicBezTo>
                    <a:pt x="143" y="277"/>
                    <a:pt x="138" y="272"/>
                    <a:pt x="138" y="266"/>
                  </a:cubicBezTo>
                  <a:cubicBezTo>
                    <a:pt x="138" y="260"/>
                    <a:pt x="143" y="256"/>
                    <a:pt x="149" y="256"/>
                  </a:cubicBezTo>
                  <a:cubicBezTo>
                    <a:pt x="155" y="256"/>
                    <a:pt x="160" y="260"/>
                    <a:pt x="160" y="266"/>
                  </a:cubicBezTo>
                  <a:close/>
                  <a:moveTo>
                    <a:pt x="234" y="266"/>
                  </a:moveTo>
                  <a:cubicBezTo>
                    <a:pt x="234" y="272"/>
                    <a:pt x="230" y="277"/>
                    <a:pt x="224" y="277"/>
                  </a:cubicBezTo>
                  <a:cubicBezTo>
                    <a:pt x="218" y="277"/>
                    <a:pt x="213" y="272"/>
                    <a:pt x="213" y="266"/>
                  </a:cubicBezTo>
                  <a:cubicBezTo>
                    <a:pt x="213" y="260"/>
                    <a:pt x="218" y="256"/>
                    <a:pt x="224" y="256"/>
                  </a:cubicBezTo>
                  <a:cubicBezTo>
                    <a:pt x="230" y="256"/>
                    <a:pt x="234" y="260"/>
                    <a:pt x="234" y="266"/>
                  </a:cubicBezTo>
                  <a:close/>
                  <a:moveTo>
                    <a:pt x="74" y="309"/>
                  </a:moveTo>
                  <a:cubicBezTo>
                    <a:pt x="74" y="315"/>
                    <a:pt x="70" y="320"/>
                    <a:pt x="64" y="320"/>
                  </a:cubicBezTo>
                  <a:cubicBezTo>
                    <a:pt x="58" y="320"/>
                    <a:pt x="53" y="315"/>
                    <a:pt x="53" y="309"/>
                  </a:cubicBezTo>
                  <a:cubicBezTo>
                    <a:pt x="53" y="303"/>
                    <a:pt x="58" y="298"/>
                    <a:pt x="64" y="298"/>
                  </a:cubicBezTo>
                  <a:cubicBezTo>
                    <a:pt x="70" y="298"/>
                    <a:pt x="74" y="303"/>
                    <a:pt x="74" y="309"/>
                  </a:cubicBezTo>
                  <a:close/>
                  <a:moveTo>
                    <a:pt x="149" y="309"/>
                  </a:moveTo>
                  <a:cubicBezTo>
                    <a:pt x="149" y="315"/>
                    <a:pt x="144" y="320"/>
                    <a:pt x="138" y="320"/>
                  </a:cubicBezTo>
                  <a:cubicBezTo>
                    <a:pt x="132" y="320"/>
                    <a:pt x="128" y="315"/>
                    <a:pt x="128" y="309"/>
                  </a:cubicBezTo>
                  <a:cubicBezTo>
                    <a:pt x="128" y="303"/>
                    <a:pt x="132" y="298"/>
                    <a:pt x="138" y="298"/>
                  </a:cubicBezTo>
                  <a:cubicBezTo>
                    <a:pt x="144" y="298"/>
                    <a:pt x="149" y="303"/>
                    <a:pt x="149" y="309"/>
                  </a:cubicBezTo>
                  <a:close/>
                  <a:moveTo>
                    <a:pt x="224" y="309"/>
                  </a:moveTo>
                  <a:cubicBezTo>
                    <a:pt x="224" y="315"/>
                    <a:pt x="219" y="320"/>
                    <a:pt x="213" y="320"/>
                  </a:cubicBezTo>
                  <a:cubicBezTo>
                    <a:pt x="207" y="320"/>
                    <a:pt x="202" y="315"/>
                    <a:pt x="202" y="309"/>
                  </a:cubicBezTo>
                  <a:cubicBezTo>
                    <a:pt x="202" y="303"/>
                    <a:pt x="207" y="298"/>
                    <a:pt x="213" y="298"/>
                  </a:cubicBezTo>
                  <a:cubicBezTo>
                    <a:pt x="219" y="298"/>
                    <a:pt x="224" y="303"/>
                    <a:pt x="224" y="30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0" name="Freeform 130">
              <a:extLst>
                <a:ext uri="{FF2B5EF4-FFF2-40B4-BE49-F238E27FC236}">
                  <a16:creationId xmlns:a16="http://schemas.microsoft.com/office/drawing/2014/main" id="{2EAE58CD-713C-435D-810C-BA6DA4408D97}"/>
                </a:ext>
              </a:extLst>
            </p:cNvPr>
            <p:cNvSpPr>
              <a:spLocks noEditPoints="1"/>
            </p:cNvSpPr>
            <p:nvPr/>
          </p:nvSpPr>
          <p:spPr bwMode="auto">
            <a:xfrm>
              <a:off x="2963" y="4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61" name="Group 257">
            <a:extLst>
              <a:ext uri="{FF2B5EF4-FFF2-40B4-BE49-F238E27FC236}">
                <a16:creationId xmlns:a16="http://schemas.microsoft.com/office/drawing/2014/main" id="{8B5CB7A5-7979-4BD2-9586-5ED960F86F0E}"/>
              </a:ext>
            </a:extLst>
          </p:cNvPr>
          <p:cNvGrpSpPr>
            <a:grpSpLocks noChangeAspect="1"/>
          </p:cNvGrpSpPr>
          <p:nvPr/>
        </p:nvGrpSpPr>
        <p:grpSpPr bwMode="auto">
          <a:xfrm>
            <a:off x="4392424" y="1700213"/>
            <a:ext cx="367041" cy="367041"/>
            <a:chOff x="5413" y="732"/>
            <a:chExt cx="340" cy="340"/>
          </a:xfrm>
          <a:solidFill>
            <a:schemeClr val="accent3"/>
          </a:solidFill>
        </p:grpSpPr>
        <p:sp>
          <p:nvSpPr>
            <p:cNvPr id="462" name="Freeform 258">
              <a:extLst>
                <a:ext uri="{FF2B5EF4-FFF2-40B4-BE49-F238E27FC236}">
                  <a16:creationId xmlns:a16="http://schemas.microsoft.com/office/drawing/2014/main" id="{542A9F53-EC20-4375-B13C-AA1233C268BE}"/>
                </a:ext>
              </a:extLst>
            </p:cNvPr>
            <p:cNvSpPr>
              <a:spLocks noEditPoints="1"/>
            </p:cNvSpPr>
            <p:nvPr/>
          </p:nvSpPr>
          <p:spPr bwMode="auto">
            <a:xfrm>
              <a:off x="5477" y="796"/>
              <a:ext cx="212"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40 w 320"/>
                <a:gd name="T41" fmla="*/ 95 h 192"/>
                <a:gd name="T42" fmla="*/ 243 w 320"/>
                <a:gd name="T43" fmla="*/ 109 h 192"/>
                <a:gd name="T44" fmla="*/ 256 w 320"/>
                <a:gd name="T45" fmla="*/ 109 h 192"/>
                <a:gd name="T46" fmla="*/ 260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5"/>
                    <a:pt x="240" y="95"/>
                    <a:pt x="240" y="95"/>
                  </a:cubicBezTo>
                  <a:cubicBezTo>
                    <a:pt x="239" y="97"/>
                    <a:pt x="237" y="105"/>
                    <a:pt x="243" y="109"/>
                  </a:cubicBezTo>
                  <a:cubicBezTo>
                    <a:pt x="247" y="112"/>
                    <a:pt x="252" y="112"/>
                    <a:pt x="256" y="109"/>
                  </a:cubicBezTo>
                  <a:cubicBezTo>
                    <a:pt x="257" y="108"/>
                    <a:pt x="259" y="108"/>
                    <a:pt x="260"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3" name="Freeform 259">
              <a:extLst>
                <a:ext uri="{FF2B5EF4-FFF2-40B4-BE49-F238E27FC236}">
                  <a16:creationId xmlns:a16="http://schemas.microsoft.com/office/drawing/2014/main" id="{049347B8-94A2-4F75-AD47-8D81762C7FD5}"/>
                </a:ext>
              </a:extLst>
            </p:cNvPr>
            <p:cNvSpPr>
              <a:spLocks/>
            </p:cNvSpPr>
            <p:nvPr/>
          </p:nvSpPr>
          <p:spPr bwMode="auto">
            <a:xfrm>
              <a:off x="5511" y="937"/>
              <a:ext cx="30" cy="71"/>
            </a:xfrm>
            <a:custGeom>
              <a:avLst/>
              <a:gdLst>
                <a:gd name="T0" fmla="*/ 36 w 45"/>
                <a:gd name="T1" fmla="*/ 1 h 108"/>
                <a:gd name="T2" fmla="*/ 23 w 45"/>
                <a:gd name="T3" fmla="*/ 9 h 108"/>
                <a:gd name="T4" fmla="*/ 1 w 45"/>
                <a:gd name="T5" fmla="*/ 94 h 108"/>
                <a:gd name="T6" fmla="*/ 9 w 45"/>
                <a:gd name="T7" fmla="*/ 107 h 108"/>
                <a:gd name="T8" fmla="*/ 12 w 45"/>
                <a:gd name="T9" fmla="*/ 108 h 108"/>
                <a:gd name="T10" fmla="*/ 22 w 45"/>
                <a:gd name="T11" fmla="*/ 100 h 108"/>
                <a:gd name="T12" fmla="*/ 43 w 45"/>
                <a:gd name="T13" fmla="*/ 14 h 108"/>
                <a:gd name="T14" fmla="*/ 36 w 45"/>
                <a:gd name="T15" fmla="*/ 1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08">
                  <a:moveTo>
                    <a:pt x="36" y="1"/>
                  </a:moveTo>
                  <a:cubicBezTo>
                    <a:pt x="30" y="0"/>
                    <a:pt x="24" y="3"/>
                    <a:pt x="23" y="9"/>
                  </a:cubicBezTo>
                  <a:cubicBezTo>
                    <a:pt x="1" y="94"/>
                    <a:pt x="1" y="94"/>
                    <a:pt x="1" y="94"/>
                  </a:cubicBezTo>
                  <a:cubicBezTo>
                    <a:pt x="0" y="100"/>
                    <a:pt x="3" y="106"/>
                    <a:pt x="9" y="107"/>
                  </a:cubicBezTo>
                  <a:cubicBezTo>
                    <a:pt x="10" y="108"/>
                    <a:pt x="11" y="108"/>
                    <a:pt x="12" y="108"/>
                  </a:cubicBezTo>
                  <a:cubicBezTo>
                    <a:pt x="16" y="108"/>
                    <a:pt x="21" y="104"/>
                    <a:pt x="22" y="100"/>
                  </a:cubicBezTo>
                  <a:cubicBezTo>
                    <a:pt x="43" y="14"/>
                    <a:pt x="43" y="14"/>
                    <a:pt x="43" y="14"/>
                  </a:cubicBezTo>
                  <a:cubicBezTo>
                    <a:pt x="45" y="9"/>
                    <a:pt x="41" y="3"/>
                    <a:pt x="36"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260">
              <a:extLst>
                <a:ext uri="{FF2B5EF4-FFF2-40B4-BE49-F238E27FC236}">
                  <a16:creationId xmlns:a16="http://schemas.microsoft.com/office/drawing/2014/main" id="{7E1F0B9F-EAE1-4294-A59C-2BB93DBD86C7}"/>
                </a:ext>
              </a:extLst>
            </p:cNvPr>
            <p:cNvSpPr>
              <a:spLocks/>
            </p:cNvSpPr>
            <p:nvPr/>
          </p:nvSpPr>
          <p:spPr bwMode="auto">
            <a:xfrm>
              <a:off x="5561" y="937"/>
              <a:ext cx="29" cy="71"/>
            </a:xfrm>
            <a:custGeom>
              <a:avLst/>
              <a:gdLst>
                <a:gd name="T0" fmla="*/ 35 w 44"/>
                <a:gd name="T1" fmla="*/ 1 h 108"/>
                <a:gd name="T2" fmla="*/ 22 w 44"/>
                <a:gd name="T3" fmla="*/ 9 h 108"/>
                <a:gd name="T4" fmla="*/ 1 w 44"/>
                <a:gd name="T5" fmla="*/ 94 h 108"/>
                <a:gd name="T6" fmla="*/ 9 w 44"/>
                <a:gd name="T7" fmla="*/ 107 h 108"/>
                <a:gd name="T8" fmla="*/ 11 w 44"/>
                <a:gd name="T9" fmla="*/ 108 h 108"/>
                <a:gd name="T10" fmla="*/ 22 w 44"/>
                <a:gd name="T11" fmla="*/ 100 h 108"/>
                <a:gd name="T12" fmla="*/ 43 w 44"/>
                <a:gd name="T13" fmla="*/ 14 h 108"/>
                <a:gd name="T14" fmla="*/ 35 w 44"/>
                <a:gd name="T15" fmla="*/ 1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108">
                  <a:moveTo>
                    <a:pt x="35" y="1"/>
                  </a:moveTo>
                  <a:cubicBezTo>
                    <a:pt x="30" y="0"/>
                    <a:pt x="24" y="3"/>
                    <a:pt x="22" y="9"/>
                  </a:cubicBezTo>
                  <a:cubicBezTo>
                    <a:pt x="1" y="94"/>
                    <a:pt x="1" y="94"/>
                    <a:pt x="1" y="94"/>
                  </a:cubicBezTo>
                  <a:cubicBezTo>
                    <a:pt x="0" y="100"/>
                    <a:pt x="3" y="106"/>
                    <a:pt x="9" y="107"/>
                  </a:cubicBezTo>
                  <a:cubicBezTo>
                    <a:pt x="10" y="108"/>
                    <a:pt x="10" y="108"/>
                    <a:pt x="11" y="108"/>
                  </a:cubicBezTo>
                  <a:cubicBezTo>
                    <a:pt x="16" y="108"/>
                    <a:pt x="20" y="104"/>
                    <a:pt x="22" y="100"/>
                  </a:cubicBezTo>
                  <a:cubicBezTo>
                    <a:pt x="43" y="14"/>
                    <a:pt x="43" y="14"/>
                    <a:pt x="43" y="14"/>
                  </a:cubicBezTo>
                  <a:cubicBezTo>
                    <a:pt x="44" y="9"/>
                    <a:pt x="41" y="3"/>
                    <a:pt x="35"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5" name="Freeform 261">
              <a:extLst>
                <a:ext uri="{FF2B5EF4-FFF2-40B4-BE49-F238E27FC236}">
                  <a16:creationId xmlns:a16="http://schemas.microsoft.com/office/drawing/2014/main" id="{48D43774-5797-4BCD-8B77-9B67CA692EA8}"/>
                </a:ext>
              </a:extLst>
            </p:cNvPr>
            <p:cNvSpPr>
              <a:spLocks/>
            </p:cNvSpPr>
            <p:nvPr/>
          </p:nvSpPr>
          <p:spPr bwMode="auto">
            <a:xfrm>
              <a:off x="5610" y="937"/>
              <a:ext cx="30" cy="71"/>
            </a:xfrm>
            <a:custGeom>
              <a:avLst/>
              <a:gdLst>
                <a:gd name="T0" fmla="*/ 36 w 45"/>
                <a:gd name="T1" fmla="*/ 1 h 108"/>
                <a:gd name="T2" fmla="*/ 23 w 45"/>
                <a:gd name="T3" fmla="*/ 9 h 108"/>
                <a:gd name="T4" fmla="*/ 2 w 45"/>
                <a:gd name="T5" fmla="*/ 94 h 108"/>
                <a:gd name="T6" fmla="*/ 9 w 45"/>
                <a:gd name="T7" fmla="*/ 107 h 108"/>
                <a:gd name="T8" fmla="*/ 12 w 45"/>
                <a:gd name="T9" fmla="*/ 108 h 108"/>
                <a:gd name="T10" fmla="*/ 22 w 45"/>
                <a:gd name="T11" fmla="*/ 100 h 108"/>
                <a:gd name="T12" fmla="*/ 44 w 45"/>
                <a:gd name="T13" fmla="*/ 14 h 108"/>
                <a:gd name="T14" fmla="*/ 36 w 45"/>
                <a:gd name="T15" fmla="*/ 1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08">
                  <a:moveTo>
                    <a:pt x="36" y="1"/>
                  </a:moveTo>
                  <a:cubicBezTo>
                    <a:pt x="30" y="0"/>
                    <a:pt x="24" y="3"/>
                    <a:pt x="23" y="9"/>
                  </a:cubicBezTo>
                  <a:cubicBezTo>
                    <a:pt x="2" y="94"/>
                    <a:pt x="2" y="94"/>
                    <a:pt x="2" y="94"/>
                  </a:cubicBezTo>
                  <a:cubicBezTo>
                    <a:pt x="0" y="100"/>
                    <a:pt x="4" y="106"/>
                    <a:pt x="9" y="107"/>
                  </a:cubicBezTo>
                  <a:cubicBezTo>
                    <a:pt x="10" y="108"/>
                    <a:pt x="11" y="108"/>
                    <a:pt x="12" y="108"/>
                  </a:cubicBezTo>
                  <a:cubicBezTo>
                    <a:pt x="17" y="108"/>
                    <a:pt x="21" y="104"/>
                    <a:pt x="22" y="100"/>
                  </a:cubicBezTo>
                  <a:cubicBezTo>
                    <a:pt x="44" y="14"/>
                    <a:pt x="44" y="14"/>
                    <a:pt x="44" y="14"/>
                  </a:cubicBezTo>
                  <a:cubicBezTo>
                    <a:pt x="45" y="9"/>
                    <a:pt x="42" y="3"/>
                    <a:pt x="36"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6" name="Freeform 262">
              <a:extLst>
                <a:ext uri="{FF2B5EF4-FFF2-40B4-BE49-F238E27FC236}">
                  <a16:creationId xmlns:a16="http://schemas.microsoft.com/office/drawing/2014/main" id="{E062A0CC-702E-4001-86CD-D9BCA4A30153}"/>
                </a:ext>
              </a:extLst>
            </p:cNvPr>
            <p:cNvSpPr>
              <a:spLocks noEditPoints="1"/>
            </p:cNvSpPr>
            <p:nvPr/>
          </p:nvSpPr>
          <p:spPr bwMode="auto">
            <a:xfrm>
              <a:off x="5413" y="7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7" name="Freeform 266">
            <a:extLst>
              <a:ext uri="{FF2B5EF4-FFF2-40B4-BE49-F238E27FC236}">
                <a16:creationId xmlns:a16="http://schemas.microsoft.com/office/drawing/2014/main" id="{80F9D5C8-7658-45BE-9ACA-DCE334FC51E0}"/>
              </a:ext>
            </a:extLst>
          </p:cNvPr>
          <p:cNvSpPr>
            <a:spLocks noChangeAspect="1" noEditPoints="1"/>
          </p:cNvSpPr>
          <p:nvPr/>
        </p:nvSpPr>
        <p:spPr bwMode="auto">
          <a:xfrm>
            <a:off x="3959357" y="1700213"/>
            <a:ext cx="367041" cy="367041"/>
          </a:xfrm>
          <a:custGeom>
            <a:avLst/>
            <a:gdLst>
              <a:gd name="T0" fmla="*/ 394 w 512"/>
              <a:gd name="T1" fmla="*/ 234 h 512"/>
              <a:gd name="T2" fmla="*/ 362 w 512"/>
              <a:gd name="T3" fmla="*/ 266 h 512"/>
              <a:gd name="T4" fmla="*/ 167 w 512"/>
              <a:gd name="T5" fmla="*/ 266 h 512"/>
              <a:gd name="T6" fmla="*/ 117 w 512"/>
              <a:gd name="T7" fmla="*/ 217 h 512"/>
              <a:gd name="T8" fmla="*/ 167 w 512"/>
              <a:gd name="T9" fmla="*/ 167 h 512"/>
              <a:gd name="T10" fmla="*/ 191 w 512"/>
              <a:gd name="T11" fmla="*/ 175 h 512"/>
              <a:gd name="T12" fmla="*/ 201 w 512"/>
              <a:gd name="T13" fmla="*/ 176 h 512"/>
              <a:gd name="T14" fmla="*/ 207 w 512"/>
              <a:gd name="T15" fmla="*/ 169 h 512"/>
              <a:gd name="T16" fmla="*/ 272 w 512"/>
              <a:gd name="T17" fmla="*/ 117 h 512"/>
              <a:gd name="T18" fmla="*/ 337 w 512"/>
              <a:gd name="T19" fmla="*/ 182 h 512"/>
              <a:gd name="T20" fmla="*/ 336 w 512"/>
              <a:gd name="T21" fmla="*/ 190 h 512"/>
              <a:gd name="T22" fmla="*/ 336 w 512"/>
              <a:gd name="T23" fmla="*/ 191 h 512"/>
              <a:gd name="T24" fmla="*/ 339 w 512"/>
              <a:gd name="T25" fmla="*/ 205 h 512"/>
              <a:gd name="T26" fmla="*/ 352 w 512"/>
              <a:gd name="T27" fmla="*/ 205 h 512"/>
              <a:gd name="T28" fmla="*/ 356 w 512"/>
              <a:gd name="T29" fmla="*/ 203 h 512"/>
              <a:gd name="T30" fmla="*/ 362 w 512"/>
              <a:gd name="T31" fmla="*/ 202 h 512"/>
              <a:gd name="T32" fmla="*/ 394 w 512"/>
              <a:gd name="T33" fmla="*/ 23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184 w 512"/>
              <a:gd name="T45" fmla="*/ 309 h 512"/>
              <a:gd name="T46" fmla="*/ 171 w 512"/>
              <a:gd name="T47" fmla="*/ 317 h 512"/>
              <a:gd name="T48" fmla="*/ 149 w 512"/>
              <a:gd name="T49" fmla="*/ 402 h 512"/>
              <a:gd name="T50" fmla="*/ 157 w 512"/>
              <a:gd name="T51" fmla="*/ 415 h 512"/>
              <a:gd name="T52" fmla="*/ 160 w 512"/>
              <a:gd name="T53" fmla="*/ 416 h 512"/>
              <a:gd name="T54" fmla="*/ 170 w 512"/>
              <a:gd name="T55" fmla="*/ 408 h 512"/>
              <a:gd name="T56" fmla="*/ 191 w 512"/>
              <a:gd name="T57" fmla="*/ 322 h 512"/>
              <a:gd name="T58" fmla="*/ 184 w 512"/>
              <a:gd name="T59" fmla="*/ 309 h 512"/>
              <a:gd name="T60" fmla="*/ 258 w 512"/>
              <a:gd name="T61" fmla="*/ 309 h 512"/>
              <a:gd name="T62" fmla="*/ 245 w 512"/>
              <a:gd name="T63" fmla="*/ 317 h 512"/>
              <a:gd name="T64" fmla="*/ 224 w 512"/>
              <a:gd name="T65" fmla="*/ 402 h 512"/>
              <a:gd name="T66" fmla="*/ 232 w 512"/>
              <a:gd name="T67" fmla="*/ 415 h 512"/>
              <a:gd name="T68" fmla="*/ 234 w 512"/>
              <a:gd name="T69" fmla="*/ 416 h 512"/>
              <a:gd name="T70" fmla="*/ 245 w 512"/>
              <a:gd name="T71" fmla="*/ 408 h 512"/>
              <a:gd name="T72" fmla="*/ 266 w 512"/>
              <a:gd name="T73" fmla="*/ 322 h 512"/>
              <a:gd name="T74" fmla="*/ 258 w 512"/>
              <a:gd name="T75" fmla="*/ 309 h 512"/>
              <a:gd name="T76" fmla="*/ 333 w 512"/>
              <a:gd name="T77" fmla="*/ 309 h 512"/>
              <a:gd name="T78" fmla="*/ 320 w 512"/>
              <a:gd name="T79" fmla="*/ 317 h 512"/>
              <a:gd name="T80" fmla="*/ 299 w 512"/>
              <a:gd name="T81" fmla="*/ 402 h 512"/>
              <a:gd name="T82" fmla="*/ 306 w 512"/>
              <a:gd name="T83" fmla="*/ 415 h 512"/>
              <a:gd name="T84" fmla="*/ 309 w 512"/>
              <a:gd name="T85" fmla="*/ 416 h 512"/>
              <a:gd name="T86" fmla="*/ 319 w 512"/>
              <a:gd name="T87" fmla="*/ 408 h 512"/>
              <a:gd name="T88" fmla="*/ 341 w 512"/>
              <a:gd name="T89" fmla="*/ 322 h 512"/>
              <a:gd name="T90" fmla="*/ 333 w 512"/>
              <a:gd name="T91" fmla="*/ 309 h 512"/>
              <a:gd name="T92" fmla="*/ 416 w 512"/>
              <a:gd name="T93" fmla="*/ 234 h 512"/>
              <a:gd name="T94" fmla="*/ 362 w 512"/>
              <a:gd name="T95" fmla="*/ 181 h 512"/>
              <a:gd name="T96" fmla="*/ 358 w 512"/>
              <a:gd name="T97" fmla="*/ 181 h 512"/>
              <a:gd name="T98" fmla="*/ 272 w 512"/>
              <a:gd name="T99" fmla="*/ 96 h 512"/>
              <a:gd name="T100" fmla="*/ 190 w 512"/>
              <a:gd name="T101" fmla="*/ 151 h 512"/>
              <a:gd name="T102" fmla="*/ 167 w 512"/>
              <a:gd name="T103" fmla="*/ 146 h 512"/>
              <a:gd name="T104" fmla="*/ 96 w 512"/>
              <a:gd name="T105" fmla="*/ 217 h 512"/>
              <a:gd name="T106" fmla="*/ 167 w 512"/>
              <a:gd name="T107" fmla="*/ 288 h 512"/>
              <a:gd name="T108" fmla="*/ 362 w 512"/>
              <a:gd name="T109" fmla="*/ 288 h 512"/>
              <a:gd name="T110" fmla="*/ 416 w 512"/>
              <a:gd name="T11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4" y="234"/>
                </a:moveTo>
                <a:cubicBezTo>
                  <a:pt x="394" y="252"/>
                  <a:pt x="380" y="266"/>
                  <a:pt x="362" y="266"/>
                </a:cubicBezTo>
                <a:cubicBezTo>
                  <a:pt x="167" y="266"/>
                  <a:pt x="167" y="266"/>
                  <a:pt x="167" y="266"/>
                </a:cubicBezTo>
                <a:cubicBezTo>
                  <a:pt x="139" y="266"/>
                  <a:pt x="117" y="244"/>
                  <a:pt x="117" y="217"/>
                </a:cubicBezTo>
                <a:cubicBezTo>
                  <a:pt x="117" y="189"/>
                  <a:pt x="139" y="167"/>
                  <a:pt x="167" y="167"/>
                </a:cubicBezTo>
                <a:cubicBezTo>
                  <a:pt x="176" y="167"/>
                  <a:pt x="183" y="170"/>
                  <a:pt x="191" y="175"/>
                </a:cubicBezTo>
                <a:cubicBezTo>
                  <a:pt x="194" y="177"/>
                  <a:pt x="197" y="178"/>
                  <a:pt x="201" y="176"/>
                </a:cubicBezTo>
                <a:cubicBezTo>
                  <a:pt x="204" y="175"/>
                  <a:pt x="206" y="172"/>
                  <a:pt x="207" y="169"/>
                </a:cubicBezTo>
                <a:cubicBezTo>
                  <a:pt x="213" y="139"/>
                  <a:pt x="241" y="117"/>
                  <a:pt x="272" y="117"/>
                </a:cubicBezTo>
                <a:cubicBezTo>
                  <a:pt x="308" y="117"/>
                  <a:pt x="337" y="146"/>
                  <a:pt x="337" y="182"/>
                </a:cubicBezTo>
                <a:cubicBezTo>
                  <a:pt x="337" y="185"/>
                  <a:pt x="336" y="187"/>
                  <a:pt x="336" y="190"/>
                </a:cubicBezTo>
                <a:cubicBezTo>
                  <a:pt x="336" y="191"/>
                  <a:pt x="336" y="191"/>
                  <a:pt x="336" y="191"/>
                </a:cubicBezTo>
                <a:cubicBezTo>
                  <a:pt x="335" y="193"/>
                  <a:pt x="333" y="201"/>
                  <a:pt x="339" y="205"/>
                </a:cubicBezTo>
                <a:cubicBezTo>
                  <a:pt x="343" y="208"/>
                  <a:pt x="348" y="208"/>
                  <a:pt x="352" y="205"/>
                </a:cubicBezTo>
                <a:cubicBezTo>
                  <a:pt x="353" y="204"/>
                  <a:pt x="355" y="204"/>
                  <a:pt x="356" y="203"/>
                </a:cubicBezTo>
                <a:cubicBezTo>
                  <a:pt x="358" y="203"/>
                  <a:pt x="360" y="202"/>
                  <a:pt x="362" y="202"/>
                </a:cubicBezTo>
                <a:cubicBezTo>
                  <a:pt x="380" y="202"/>
                  <a:pt x="394" y="217"/>
                  <a:pt x="394"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4" y="309"/>
                </a:moveTo>
                <a:cubicBezTo>
                  <a:pt x="178" y="308"/>
                  <a:pt x="172" y="311"/>
                  <a:pt x="171" y="317"/>
                </a:cubicBezTo>
                <a:cubicBezTo>
                  <a:pt x="149" y="402"/>
                  <a:pt x="149" y="402"/>
                  <a:pt x="149" y="402"/>
                </a:cubicBezTo>
                <a:cubicBezTo>
                  <a:pt x="148" y="408"/>
                  <a:pt x="151" y="414"/>
                  <a:pt x="157" y="415"/>
                </a:cubicBezTo>
                <a:cubicBezTo>
                  <a:pt x="158" y="416"/>
                  <a:pt x="159" y="416"/>
                  <a:pt x="160" y="416"/>
                </a:cubicBezTo>
                <a:cubicBezTo>
                  <a:pt x="164" y="416"/>
                  <a:pt x="169" y="412"/>
                  <a:pt x="170" y="408"/>
                </a:cubicBezTo>
                <a:cubicBezTo>
                  <a:pt x="191" y="322"/>
                  <a:pt x="191" y="322"/>
                  <a:pt x="191" y="322"/>
                </a:cubicBezTo>
                <a:cubicBezTo>
                  <a:pt x="193" y="317"/>
                  <a:pt x="189" y="311"/>
                  <a:pt x="184" y="309"/>
                </a:cubicBezTo>
                <a:close/>
                <a:moveTo>
                  <a:pt x="258" y="309"/>
                </a:moveTo>
                <a:cubicBezTo>
                  <a:pt x="253" y="308"/>
                  <a:pt x="247" y="311"/>
                  <a:pt x="245" y="317"/>
                </a:cubicBezTo>
                <a:cubicBezTo>
                  <a:pt x="224" y="402"/>
                  <a:pt x="224" y="402"/>
                  <a:pt x="224" y="402"/>
                </a:cubicBezTo>
                <a:cubicBezTo>
                  <a:pt x="223" y="408"/>
                  <a:pt x="226" y="414"/>
                  <a:pt x="232" y="415"/>
                </a:cubicBezTo>
                <a:cubicBezTo>
                  <a:pt x="233" y="416"/>
                  <a:pt x="233" y="416"/>
                  <a:pt x="234" y="416"/>
                </a:cubicBezTo>
                <a:cubicBezTo>
                  <a:pt x="239" y="416"/>
                  <a:pt x="243" y="412"/>
                  <a:pt x="245" y="408"/>
                </a:cubicBezTo>
                <a:cubicBezTo>
                  <a:pt x="266" y="322"/>
                  <a:pt x="266" y="322"/>
                  <a:pt x="266" y="322"/>
                </a:cubicBezTo>
                <a:cubicBezTo>
                  <a:pt x="267" y="317"/>
                  <a:pt x="264" y="311"/>
                  <a:pt x="258" y="309"/>
                </a:cubicBezTo>
                <a:close/>
                <a:moveTo>
                  <a:pt x="333" y="309"/>
                </a:moveTo>
                <a:cubicBezTo>
                  <a:pt x="327" y="308"/>
                  <a:pt x="321" y="311"/>
                  <a:pt x="320" y="317"/>
                </a:cubicBezTo>
                <a:cubicBezTo>
                  <a:pt x="299" y="402"/>
                  <a:pt x="299" y="402"/>
                  <a:pt x="299" y="402"/>
                </a:cubicBezTo>
                <a:cubicBezTo>
                  <a:pt x="297" y="408"/>
                  <a:pt x="301" y="414"/>
                  <a:pt x="306" y="415"/>
                </a:cubicBezTo>
                <a:cubicBezTo>
                  <a:pt x="307" y="416"/>
                  <a:pt x="308" y="416"/>
                  <a:pt x="309" y="416"/>
                </a:cubicBezTo>
                <a:cubicBezTo>
                  <a:pt x="314" y="416"/>
                  <a:pt x="318" y="412"/>
                  <a:pt x="319" y="408"/>
                </a:cubicBezTo>
                <a:cubicBezTo>
                  <a:pt x="341" y="322"/>
                  <a:pt x="341" y="322"/>
                  <a:pt x="341" y="322"/>
                </a:cubicBezTo>
                <a:cubicBezTo>
                  <a:pt x="342" y="317"/>
                  <a:pt x="339" y="311"/>
                  <a:pt x="333" y="309"/>
                </a:cubicBezTo>
                <a:close/>
                <a:moveTo>
                  <a:pt x="416" y="234"/>
                </a:moveTo>
                <a:cubicBezTo>
                  <a:pt x="416" y="205"/>
                  <a:pt x="392" y="181"/>
                  <a:pt x="362" y="181"/>
                </a:cubicBezTo>
                <a:cubicBezTo>
                  <a:pt x="361" y="181"/>
                  <a:pt x="359" y="181"/>
                  <a:pt x="358" y="181"/>
                </a:cubicBezTo>
                <a:cubicBezTo>
                  <a:pt x="358" y="134"/>
                  <a:pt x="319" y="96"/>
                  <a:pt x="272" y="96"/>
                </a:cubicBezTo>
                <a:cubicBezTo>
                  <a:pt x="235" y="96"/>
                  <a:pt x="203" y="118"/>
                  <a:pt x="190" y="151"/>
                </a:cubicBezTo>
                <a:cubicBezTo>
                  <a:pt x="183" y="148"/>
                  <a:pt x="176" y="146"/>
                  <a:pt x="167" y="146"/>
                </a:cubicBezTo>
                <a:cubicBezTo>
                  <a:pt x="127" y="146"/>
                  <a:pt x="96" y="178"/>
                  <a:pt x="96" y="217"/>
                </a:cubicBezTo>
                <a:cubicBezTo>
                  <a:pt x="96" y="256"/>
                  <a:pt x="127" y="288"/>
                  <a:pt x="167" y="288"/>
                </a:cubicBezTo>
                <a:cubicBezTo>
                  <a:pt x="362" y="288"/>
                  <a:pt x="362" y="288"/>
                  <a:pt x="362" y="288"/>
                </a:cubicBezTo>
                <a:cubicBezTo>
                  <a:pt x="392" y="288"/>
                  <a:pt x="416" y="264"/>
                  <a:pt x="416" y="23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8" name="Freeform 997">
            <a:extLst>
              <a:ext uri="{FF2B5EF4-FFF2-40B4-BE49-F238E27FC236}">
                <a16:creationId xmlns:a16="http://schemas.microsoft.com/office/drawing/2014/main" id="{806D9014-69EB-4C7A-8F49-5D4983F9B7CB}"/>
              </a:ext>
            </a:extLst>
          </p:cNvPr>
          <p:cNvSpPr>
            <a:spLocks noChangeAspect="1" noEditPoints="1"/>
          </p:cNvSpPr>
          <p:nvPr/>
        </p:nvSpPr>
        <p:spPr bwMode="auto">
          <a:xfrm>
            <a:off x="4825491" y="1700213"/>
            <a:ext cx="367982" cy="367982"/>
          </a:xfrm>
          <a:custGeom>
            <a:avLst/>
            <a:gdLst>
              <a:gd name="T0" fmla="*/ 394 w 512"/>
              <a:gd name="T1" fmla="*/ 280 h 512"/>
              <a:gd name="T2" fmla="*/ 365 w 512"/>
              <a:gd name="T3" fmla="*/ 309 h 512"/>
              <a:gd name="T4" fmla="*/ 167 w 512"/>
              <a:gd name="T5" fmla="*/ 309 h 512"/>
              <a:gd name="T6" fmla="*/ 117 w 512"/>
              <a:gd name="T7" fmla="*/ 259 h 512"/>
              <a:gd name="T8" fmla="*/ 167 w 512"/>
              <a:gd name="T9" fmla="*/ 210 h 512"/>
              <a:gd name="T10" fmla="*/ 189 w 512"/>
              <a:gd name="T11" fmla="*/ 217 h 512"/>
              <a:gd name="T12" fmla="*/ 199 w 512"/>
              <a:gd name="T13" fmla="*/ 221 h 512"/>
              <a:gd name="T14" fmla="*/ 208 w 512"/>
              <a:gd name="T15" fmla="*/ 213 h 512"/>
              <a:gd name="T16" fmla="*/ 208 w 512"/>
              <a:gd name="T17" fmla="*/ 211 h 512"/>
              <a:gd name="T18" fmla="*/ 210 w 512"/>
              <a:gd name="T19" fmla="*/ 206 h 512"/>
              <a:gd name="T20" fmla="*/ 277 w 512"/>
              <a:gd name="T21" fmla="*/ 160 h 512"/>
              <a:gd name="T22" fmla="*/ 347 w 512"/>
              <a:gd name="T23" fmla="*/ 230 h 512"/>
              <a:gd name="T24" fmla="*/ 347 w 512"/>
              <a:gd name="T25" fmla="*/ 234 h 512"/>
              <a:gd name="T26" fmla="*/ 347 w 512"/>
              <a:gd name="T27" fmla="*/ 239 h 512"/>
              <a:gd name="T28" fmla="*/ 350 w 512"/>
              <a:gd name="T29" fmla="*/ 249 h 512"/>
              <a:gd name="T30" fmla="*/ 361 w 512"/>
              <a:gd name="T31" fmla="*/ 251 h 512"/>
              <a:gd name="T32" fmla="*/ 363 w 512"/>
              <a:gd name="T33" fmla="*/ 250 h 512"/>
              <a:gd name="T34" fmla="*/ 365 w 512"/>
              <a:gd name="T35" fmla="*/ 250 h 512"/>
              <a:gd name="T36" fmla="*/ 394 w 512"/>
              <a:gd name="T37" fmla="*/ 28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416 w 512"/>
              <a:gd name="T49" fmla="*/ 280 h 512"/>
              <a:gd name="T50" fmla="*/ 369 w 512"/>
              <a:gd name="T51" fmla="*/ 229 h 512"/>
              <a:gd name="T52" fmla="*/ 277 w 512"/>
              <a:gd name="T53" fmla="*/ 138 h 512"/>
              <a:gd name="T54" fmla="*/ 192 w 512"/>
              <a:gd name="T55" fmla="*/ 194 h 512"/>
              <a:gd name="T56" fmla="*/ 167 w 512"/>
              <a:gd name="T57" fmla="*/ 189 h 512"/>
              <a:gd name="T58" fmla="*/ 96 w 512"/>
              <a:gd name="T59" fmla="*/ 259 h 512"/>
              <a:gd name="T60" fmla="*/ 167 w 512"/>
              <a:gd name="T61" fmla="*/ 330 h 512"/>
              <a:gd name="T62" fmla="*/ 365 w 512"/>
              <a:gd name="T63" fmla="*/ 330 h 512"/>
              <a:gd name="T64" fmla="*/ 416 w 512"/>
              <a:gd name="T65"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94" y="280"/>
                </a:moveTo>
                <a:cubicBezTo>
                  <a:pt x="394" y="296"/>
                  <a:pt x="381" y="309"/>
                  <a:pt x="365" y="309"/>
                </a:cubicBezTo>
                <a:cubicBezTo>
                  <a:pt x="167" y="309"/>
                  <a:pt x="167" y="309"/>
                  <a:pt x="167" y="309"/>
                </a:cubicBezTo>
                <a:cubicBezTo>
                  <a:pt x="139" y="309"/>
                  <a:pt x="117" y="287"/>
                  <a:pt x="117" y="259"/>
                </a:cubicBezTo>
                <a:cubicBezTo>
                  <a:pt x="117" y="232"/>
                  <a:pt x="139" y="210"/>
                  <a:pt x="167" y="210"/>
                </a:cubicBezTo>
                <a:cubicBezTo>
                  <a:pt x="175" y="210"/>
                  <a:pt x="182" y="212"/>
                  <a:pt x="189" y="217"/>
                </a:cubicBezTo>
                <a:cubicBezTo>
                  <a:pt x="191" y="220"/>
                  <a:pt x="195" y="222"/>
                  <a:pt x="199" y="221"/>
                </a:cubicBezTo>
                <a:cubicBezTo>
                  <a:pt x="204" y="220"/>
                  <a:pt x="207" y="217"/>
                  <a:pt x="208" y="213"/>
                </a:cubicBezTo>
                <a:cubicBezTo>
                  <a:pt x="208" y="211"/>
                  <a:pt x="208" y="211"/>
                  <a:pt x="208" y="211"/>
                </a:cubicBezTo>
                <a:cubicBezTo>
                  <a:pt x="209" y="209"/>
                  <a:pt x="209" y="208"/>
                  <a:pt x="210" y="206"/>
                </a:cubicBezTo>
                <a:cubicBezTo>
                  <a:pt x="220" y="179"/>
                  <a:pt x="248" y="160"/>
                  <a:pt x="277" y="160"/>
                </a:cubicBezTo>
                <a:cubicBezTo>
                  <a:pt x="316" y="160"/>
                  <a:pt x="347" y="191"/>
                  <a:pt x="347" y="230"/>
                </a:cubicBezTo>
                <a:cubicBezTo>
                  <a:pt x="347" y="231"/>
                  <a:pt x="347" y="232"/>
                  <a:pt x="347" y="234"/>
                </a:cubicBezTo>
                <a:cubicBezTo>
                  <a:pt x="347" y="236"/>
                  <a:pt x="347" y="237"/>
                  <a:pt x="347" y="239"/>
                </a:cubicBezTo>
                <a:cubicBezTo>
                  <a:pt x="346" y="243"/>
                  <a:pt x="348" y="247"/>
                  <a:pt x="350" y="249"/>
                </a:cubicBezTo>
                <a:cubicBezTo>
                  <a:pt x="353" y="251"/>
                  <a:pt x="357" y="252"/>
                  <a:pt x="361" y="251"/>
                </a:cubicBezTo>
                <a:cubicBezTo>
                  <a:pt x="362" y="250"/>
                  <a:pt x="363" y="250"/>
                  <a:pt x="363" y="250"/>
                </a:cubicBezTo>
                <a:cubicBezTo>
                  <a:pt x="364" y="250"/>
                  <a:pt x="364" y="250"/>
                  <a:pt x="365" y="250"/>
                </a:cubicBezTo>
                <a:cubicBezTo>
                  <a:pt x="381" y="250"/>
                  <a:pt x="394" y="263"/>
                  <a:pt x="394" y="2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0"/>
                </a:moveTo>
                <a:cubicBezTo>
                  <a:pt x="416" y="253"/>
                  <a:pt x="395" y="231"/>
                  <a:pt x="369" y="229"/>
                </a:cubicBezTo>
                <a:cubicBezTo>
                  <a:pt x="368" y="179"/>
                  <a:pt x="327" y="138"/>
                  <a:pt x="277" y="138"/>
                </a:cubicBezTo>
                <a:cubicBezTo>
                  <a:pt x="240" y="138"/>
                  <a:pt x="206" y="161"/>
                  <a:pt x="192" y="194"/>
                </a:cubicBezTo>
                <a:cubicBezTo>
                  <a:pt x="184" y="190"/>
                  <a:pt x="176" y="189"/>
                  <a:pt x="167" y="189"/>
                </a:cubicBezTo>
                <a:cubicBezTo>
                  <a:pt x="127" y="189"/>
                  <a:pt x="96" y="220"/>
                  <a:pt x="96" y="259"/>
                </a:cubicBezTo>
                <a:cubicBezTo>
                  <a:pt x="96" y="299"/>
                  <a:pt x="127" y="330"/>
                  <a:pt x="167" y="330"/>
                </a:cubicBezTo>
                <a:cubicBezTo>
                  <a:pt x="365" y="330"/>
                  <a:pt x="365" y="330"/>
                  <a:pt x="365" y="330"/>
                </a:cubicBezTo>
                <a:cubicBezTo>
                  <a:pt x="393" y="330"/>
                  <a:pt x="416" y="308"/>
                  <a:pt x="416" y="28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9" name="Group 1000">
            <a:extLst>
              <a:ext uri="{FF2B5EF4-FFF2-40B4-BE49-F238E27FC236}">
                <a16:creationId xmlns:a16="http://schemas.microsoft.com/office/drawing/2014/main" id="{D58B6336-4EC4-4AAA-9827-F868CC5E64AA}"/>
              </a:ext>
            </a:extLst>
          </p:cNvPr>
          <p:cNvGrpSpPr>
            <a:grpSpLocks noChangeAspect="1"/>
          </p:cNvGrpSpPr>
          <p:nvPr/>
        </p:nvGrpSpPr>
        <p:grpSpPr bwMode="auto">
          <a:xfrm>
            <a:off x="5259499" y="1700213"/>
            <a:ext cx="367982" cy="367982"/>
            <a:chOff x="5030" y="4091"/>
            <a:chExt cx="340" cy="340"/>
          </a:xfrm>
          <a:solidFill>
            <a:schemeClr val="accent5"/>
          </a:solidFill>
        </p:grpSpPr>
        <p:sp>
          <p:nvSpPr>
            <p:cNvPr id="470" name="Freeform 1001">
              <a:extLst>
                <a:ext uri="{FF2B5EF4-FFF2-40B4-BE49-F238E27FC236}">
                  <a16:creationId xmlns:a16="http://schemas.microsoft.com/office/drawing/2014/main" id="{4B0D812C-FBE7-4739-B48B-339F2CACF916}"/>
                </a:ext>
              </a:extLst>
            </p:cNvPr>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1" name="Freeform 1002">
              <a:extLst>
                <a:ext uri="{FF2B5EF4-FFF2-40B4-BE49-F238E27FC236}">
                  <a16:creationId xmlns:a16="http://schemas.microsoft.com/office/drawing/2014/main" id="{C0E8530B-AA7E-4E41-897F-DB5A37C6514F}"/>
                </a:ext>
              </a:extLst>
            </p:cNvPr>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2" name="Freeform 810">
            <a:extLst>
              <a:ext uri="{FF2B5EF4-FFF2-40B4-BE49-F238E27FC236}">
                <a16:creationId xmlns:a16="http://schemas.microsoft.com/office/drawing/2014/main" id="{0A9EB9A6-1CF6-4F8F-B9ED-02A6A84C0594}"/>
              </a:ext>
            </a:extLst>
          </p:cNvPr>
          <p:cNvSpPr>
            <a:spLocks noChangeAspect="1" noEditPoints="1"/>
          </p:cNvSpPr>
          <p:nvPr/>
        </p:nvSpPr>
        <p:spPr bwMode="auto">
          <a:xfrm>
            <a:off x="5693507" y="1700213"/>
            <a:ext cx="367631" cy="367631"/>
          </a:xfrm>
          <a:custGeom>
            <a:avLst/>
            <a:gdLst>
              <a:gd name="T0" fmla="*/ 354 w 512"/>
              <a:gd name="T1" fmla="*/ 244 h 512"/>
              <a:gd name="T2" fmla="*/ 329 w 512"/>
              <a:gd name="T3" fmla="*/ 358 h 512"/>
              <a:gd name="T4" fmla="*/ 240 w 512"/>
              <a:gd name="T5" fmla="*/ 394 h 512"/>
              <a:gd name="T6" fmla="*/ 145 w 512"/>
              <a:gd name="T7" fmla="*/ 321 h 512"/>
              <a:gd name="T8" fmla="*/ 147 w 512"/>
              <a:gd name="T9" fmla="*/ 226 h 512"/>
              <a:gd name="T10" fmla="*/ 197 w 512"/>
              <a:gd name="T11" fmla="*/ 285 h 512"/>
              <a:gd name="T12" fmla="*/ 208 w 512"/>
              <a:gd name="T13" fmla="*/ 283 h 512"/>
              <a:gd name="T14" fmla="*/ 212 w 512"/>
              <a:gd name="T15" fmla="*/ 273 h 512"/>
              <a:gd name="T16" fmla="*/ 260 w 512"/>
              <a:gd name="T17" fmla="*/ 124 h 512"/>
              <a:gd name="T18" fmla="*/ 301 w 512"/>
              <a:gd name="T19" fmla="*/ 265 h 512"/>
              <a:gd name="T20" fmla="*/ 311 w 512"/>
              <a:gd name="T21" fmla="*/ 268 h 512"/>
              <a:gd name="T22" fmla="*/ 319 w 512"/>
              <a:gd name="T23" fmla="*/ 260 h 512"/>
              <a:gd name="T24" fmla="*/ 338 w 512"/>
              <a:gd name="T25" fmla="*/ 201 h 512"/>
              <a:gd name="T26" fmla="*/ 354 w 512"/>
              <a:gd name="T27" fmla="*/ 244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72 w 512"/>
              <a:gd name="T39" fmla="*/ 233 h 512"/>
              <a:gd name="T40" fmla="*/ 355 w 512"/>
              <a:gd name="T41" fmla="*/ 173 h 512"/>
              <a:gd name="T42" fmla="*/ 348 w 512"/>
              <a:gd name="T43" fmla="*/ 164 h 512"/>
              <a:gd name="T44" fmla="*/ 337 w 512"/>
              <a:gd name="T45" fmla="*/ 166 h 512"/>
              <a:gd name="T46" fmla="*/ 303 w 512"/>
              <a:gd name="T47" fmla="*/ 233 h 512"/>
              <a:gd name="T48" fmla="*/ 283 w 512"/>
              <a:gd name="T49" fmla="*/ 109 h 512"/>
              <a:gd name="T50" fmla="*/ 279 w 512"/>
              <a:gd name="T51" fmla="*/ 99 h 512"/>
              <a:gd name="T52" fmla="*/ 269 w 512"/>
              <a:gd name="T53" fmla="*/ 97 h 512"/>
              <a:gd name="T54" fmla="*/ 188 w 512"/>
              <a:gd name="T55" fmla="*/ 253 h 512"/>
              <a:gd name="T56" fmla="*/ 161 w 512"/>
              <a:gd name="T57" fmla="*/ 197 h 512"/>
              <a:gd name="T58" fmla="*/ 153 w 512"/>
              <a:gd name="T59" fmla="*/ 188 h 512"/>
              <a:gd name="T60" fmla="*/ 142 w 512"/>
              <a:gd name="T61" fmla="*/ 193 h 512"/>
              <a:gd name="T62" fmla="*/ 126 w 512"/>
              <a:gd name="T63" fmla="*/ 331 h 512"/>
              <a:gd name="T64" fmla="*/ 239 w 512"/>
              <a:gd name="T65" fmla="*/ 416 h 512"/>
              <a:gd name="T66" fmla="*/ 244 w 512"/>
              <a:gd name="T67" fmla="*/ 416 h 512"/>
              <a:gd name="T68" fmla="*/ 344 w 512"/>
              <a:gd name="T69" fmla="*/ 374 h 512"/>
              <a:gd name="T70" fmla="*/ 372 w 512"/>
              <a:gd name="T71" fmla="*/ 23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54" y="244"/>
                </a:moveTo>
                <a:cubicBezTo>
                  <a:pt x="368" y="269"/>
                  <a:pt x="358" y="331"/>
                  <a:pt x="329" y="358"/>
                </a:cubicBezTo>
                <a:cubicBezTo>
                  <a:pt x="294" y="391"/>
                  <a:pt x="258" y="395"/>
                  <a:pt x="240" y="394"/>
                </a:cubicBezTo>
                <a:cubicBezTo>
                  <a:pt x="217" y="393"/>
                  <a:pt x="173" y="377"/>
                  <a:pt x="145" y="321"/>
                </a:cubicBezTo>
                <a:cubicBezTo>
                  <a:pt x="126" y="284"/>
                  <a:pt x="134" y="251"/>
                  <a:pt x="147" y="226"/>
                </a:cubicBezTo>
                <a:cubicBezTo>
                  <a:pt x="154" y="246"/>
                  <a:pt x="169" y="273"/>
                  <a:pt x="197" y="285"/>
                </a:cubicBezTo>
                <a:cubicBezTo>
                  <a:pt x="201" y="286"/>
                  <a:pt x="205" y="286"/>
                  <a:pt x="208" y="283"/>
                </a:cubicBezTo>
                <a:cubicBezTo>
                  <a:pt x="211" y="281"/>
                  <a:pt x="212" y="277"/>
                  <a:pt x="212" y="273"/>
                </a:cubicBezTo>
                <a:cubicBezTo>
                  <a:pt x="211" y="272"/>
                  <a:pt x="190" y="165"/>
                  <a:pt x="260" y="124"/>
                </a:cubicBezTo>
                <a:cubicBezTo>
                  <a:pt x="258" y="156"/>
                  <a:pt x="261" y="220"/>
                  <a:pt x="301" y="265"/>
                </a:cubicBezTo>
                <a:cubicBezTo>
                  <a:pt x="303" y="268"/>
                  <a:pt x="308" y="269"/>
                  <a:pt x="311" y="268"/>
                </a:cubicBezTo>
                <a:cubicBezTo>
                  <a:pt x="315" y="267"/>
                  <a:pt x="318" y="264"/>
                  <a:pt x="319" y="260"/>
                </a:cubicBezTo>
                <a:cubicBezTo>
                  <a:pt x="321" y="248"/>
                  <a:pt x="327" y="222"/>
                  <a:pt x="338" y="201"/>
                </a:cubicBezTo>
                <a:cubicBezTo>
                  <a:pt x="341" y="214"/>
                  <a:pt x="346" y="230"/>
                  <a:pt x="354" y="24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233"/>
                </a:moveTo>
                <a:cubicBezTo>
                  <a:pt x="358" y="207"/>
                  <a:pt x="355" y="173"/>
                  <a:pt x="355" y="173"/>
                </a:cubicBezTo>
                <a:cubicBezTo>
                  <a:pt x="355" y="169"/>
                  <a:pt x="352" y="165"/>
                  <a:pt x="348" y="164"/>
                </a:cubicBezTo>
                <a:cubicBezTo>
                  <a:pt x="344" y="162"/>
                  <a:pt x="340" y="163"/>
                  <a:pt x="337" y="166"/>
                </a:cubicBezTo>
                <a:cubicBezTo>
                  <a:pt x="320" y="183"/>
                  <a:pt x="309" y="212"/>
                  <a:pt x="303" y="233"/>
                </a:cubicBezTo>
                <a:cubicBezTo>
                  <a:pt x="272" y="180"/>
                  <a:pt x="283" y="109"/>
                  <a:pt x="283" y="109"/>
                </a:cubicBezTo>
                <a:cubicBezTo>
                  <a:pt x="283" y="105"/>
                  <a:pt x="282" y="101"/>
                  <a:pt x="279" y="99"/>
                </a:cubicBezTo>
                <a:cubicBezTo>
                  <a:pt x="276" y="96"/>
                  <a:pt x="272" y="96"/>
                  <a:pt x="269" y="97"/>
                </a:cubicBezTo>
                <a:cubicBezTo>
                  <a:pt x="189" y="126"/>
                  <a:pt x="185" y="211"/>
                  <a:pt x="188" y="253"/>
                </a:cubicBezTo>
                <a:cubicBezTo>
                  <a:pt x="167" y="232"/>
                  <a:pt x="161" y="198"/>
                  <a:pt x="161" y="197"/>
                </a:cubicBezTo>
                <a:cubicBezTo>
                  <a:pt x="161" y="193"/>
                  <a:pt x="157" y="189"/>
                  <a:pt x="153" y="188"/>
                </a:cubicBezTo>
                <a:cubicBezTo>
                  <a:pt x="149" y="187"/>
                  <a:pt x="144" y="189"/>
                  <a:pt x="142" y="193"/>
                </a:cubicBezTo>
                <a:cubicBezTo>
                  <a:pt x="130" y="211"/>
                  <a:pt x="92" y="265"/>
                  <a:pt x="126" y="331"/>
                </a:cubicBezTo>
                <a:cubicBezTo>
                  <a:pt x="154" y="387"/>
                  <a:pt x="203" y="414"/>
                  <a:pt x="239" y="416"/>
                </a:cubicBezTo>
                <a:cubicBezTo>
                  <a:pt x="240" y="416"/>
                  <a:pt x="242" y="416"/>
                  <a:pt x="244" y="416"/>
                </a:cubicBezTo>
                <a:cubicBezTo>
                  <a:pt x="267" y="416"/>
                  <a:pt x="306" y="409"/>
                  <a:pt x="344" y="374"/>
                </a:cubicBezTo>
                <a:cubicBezTo>
                  <a:pt x="381" y="339"/>
                  <a:pt x="391" y="266"/>
                  <a:pt x="372" y="23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3" name="Group 813">
            <a:extLst>
              <a:ext uri="{FF2B5EF4-FFF2-40B4-BE49-F238E27FC236}">
                <a16:creationId xmlns:a16="http://schemas.microsoft.com/office/drawing/2014/main" id="{B4940E66-07DE-45A5-A813-E2BC34224A09}"/>
              </a:ext>
            </a:extLst>
          </p:cNvPr>
          <p:cNvGrpSpPr>
            <a:grpSpLocks noChangeAspect="1"/>
          </p:cNvGrpSpPr>
          <p:nvPr/>
        </p:nvGrpSpPr>
        <p:grpSpPr bwMode="auto">
          <a:xfrm>
            <a:off x="6127164" y="1700213"/>
            <a:ext cx="367631" cy="367631"/>
            <a:chOff x="1924" y="3187"/>
            <a:chExt cx="340" cy="340"/>
          </a:xfrm>
          <a:solidFill>
            <a:schemeClr val="accent3"/>
          </a:solidFill>
        </p:grpSpPr>
        <p:sp>
          <p:nvSpPr>
            <p:cNvPr id="484" name="Freeform 814">
              <a:extLst>
                <a:ext uri="{FF2B5EF4-FFF2-40B4-BE49-F238E27FC236}">
                  <a16:creationId xmlns:a16="http://schemas.microsoft.com/office/drawing/2014/main" id="{136EA0A0-6F00-40DF-A2BA-66DE26165128}"/>
                </a:ext>
              </a:extLst>
            </p:cNvPr>
            <p:cNvSpPr>
              <a:spLocks noEditPoints="1"/>
            </p:cNvSpPr>
            <p:nvPr/>
          </p:nvSpPr>
          <p:spPr bwMode="auto">
            <a:xfrm>
              <a:off x="1985" y="3251"/>
              <a:ext cx="199" cy="212"/>
            </a:xfrm>
            <a:custGeom>
              <a:avLst/>
              <a:gdLst>
                <a:gd name="T0" fmla="*/ 152 w 299"/>
                <a:gd name="T1" fmla="*/ 320 h 320"/>
                <a:gd name="T2" fmla="*/ 147 w 299"/>
                <a:gd name="T3" fmla="*/ 320 h 320"/>
                <a:gd name="T4" fmla="*/ 34 w 299"/>
                <a:gd name="T5" fmla="*/ 235 h 320"/>
                <a:gd name="T6" fmla="*/ 50 w 299"/>
                <a:gd name="T7" fmla="*/ 97 h 320"/>
                <a:gd name="T8" fmla="*/ 61 w 299"/>
                <a:gd name="T9" fmla="*/ 92 h 320"/>
                <a:gd name="T10" fmla="*/ 69 w 299"/>
                <a:gd name="T11" fmla="*/ 101 h 320"/>
                <a:gd name="T12" fmla="*/ 96 w 299"/>
                <a:gd name="T13" fmla="*/ 157 h 320"/>
                <a:gd name="T14" fmla="*/ 177 w 299"/>
                <a:gd name="T15" fmla="*/ 1 h 320"/>
                <a:gd name="T16" fmla="*/ 187 w 299"/>
                <a:gd name="T17" fmla="*/ 3 h 320"/>
                <a:gd name="T18" fmla="*/ 191 w 299"/>
                <a:gd name="T19" fmla="*/ 13 h 320"/>
                <a:gd name="T20" fmla="*/ 211 w 299"/>
                <a:gd name="T21" fmla="*/ 137 h 320"/>
                <a:gd name="T22" fmla="*/ 245 w 299"/>
                <a:gd name="T23" fmla="*/ 70 h 320"/>
                <a:gd name="T24" fmla="*/ 256 w 299"/>
                <a:gd name="T25" fmla="*/ 68 h 320"/>
                <a:gd name="T26" fmla="*/ 263 w 299"/>
                <a:gd name="T27" fmla="*/ 77 h 320"/>
                <a:gd name="T28" fmla="*/ 280 w 299"/>
                <a:gd name="T29" fmla="*/ 137 h 320"/>
                <a:gd name="T30" fmla="*/ 252 w 299"/>
                <a:gd name="T31" fmla="*/ 278 h 320"/>
                <a:gd name="T32" fmla="*/ 152 w 299"/>
                <a:gd name="T33" fmla="*/ 320 h 320"/>
                <a:gd name="T34" fmla="*/ 55 w 299"/>
                <a:gd name="T35" fmla="*/ 130 h 320"/>
                <a:gd name="T36" fmla="*/ 53 w 299"/>
                <a:gd name="T37" fmla="*/ 225 h 320"/>
                <a:gd name="T38" fmla="*/ 148 w 299"/>
                <a:gd name="T39" fmla="*/ 298 h 320"/>
                <a:gd name="T40" fmla="*/ 237 w 299"/>
                <a:gd name="T41" fmla="*/ 262 h 320"/>
                <a:gd name="T42" fmla="*/ 262 w 299"/>
                <a:gd name="T43" fmla="*/ 148 h 320"/>
                <a:gd name="T44" fmla="*/ 246 w 299"/>
                <a:gd name="T45" fmla="*/ 105 h 320"/>
                <a:gd name="T46" fmla="*/ 227 w 299"/>
                <a:gd name="T47" fmla="*/ 164 h 320"/>
                <a:gd name="T48" fmla="*/ 219 w 299"/>
                <a:gd name="T49" fmla="*/ 172 h 320"/>
                <a:gd name="T50" fmla="*/ 209 w 299"/>
                <a:gd name="T51" fmla="*/ 169 h 320"/>
                <a:gd name="T52" fmla="*/ 168 w 299"/>
                <a:gd name="T53" fmla="*/ 28 h 320"/>
                <a:gd name="T54" fmla="*/ 120 w 299"/>
                <a:gd name="T55" fmla="*/ 177 h 320"/>
                <a:gd name="T56" fmla="*/ 116 w 299"/>
                <a:gd name="T57" fmla="*/ 187 h 320"/>
                <a:gd name="T58" fmla="*/ 105 w 299"/>
                <a:gd name="T59" fmla="*/ 189 h 320"/>
                <a:gd name="T60" fmla="*/ 55 w 299"/>
                <a:gd name="T61" fmla="*/ 13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9" h="320">
                  <a:moveTo>
                    <a:pt x="152" y="320"/>
                  </a:moveTo>
                  <a:cubicBezTo>
                    <a:pt x="150" y="320"/>
                    <a:pt x="148" y="320"/>
                    <a:pt x="147" y="320"/>
                  </a:cubicBezTo>
                  <a:cubicBezTo>
                    <a:pt x="111" y="318"/>
                    <a:pt x="62" y="291"/>
                    <a:pt x="34" y="235"/>
                  </a:cubicBezTo>
                  <a:cubicBezTo>
                    <a:pt x="0" y="169"/>
                    <a:pt x="38" y="115"/>
                    <a:pt x="50" y="97"/>
                  </a:cubicBezTo>
                  <a:cubicBezTo>
                    <a:pt x="52" y="93"/>
                    <a:pt x="57" y="91"/>
                    <a:pt x="61" y="92"/>
                  </a:cubicBezTo>
                  <a:cubicBezTo>
                    <a:pt x="65" y="93"/>
                    <a:pt x="69" y="97"/>
                    <a:pt x="69" y="101"/>
                  </a:cubicBezTo>
                  <a:cubicBezTo>
                    <a:pt x="69" y="102"/>
                    <a:pt x="75" y="136"/>
                    <a:pt x="96" y="157"/>
                  </a:cubicBezTo>
                  <a:cubicBezTo>
                    <a:pt x="93" y="115"/>
                    <a:pt x="97" y="30"/>
                    <a:pt x="177" y="1"/>
                  </a:cubicBezTo>
                  <a:cubicBezTo>
                    <a:pt x="180" y="0"/>
                    <a:pt x="184" y="0"/>
                    <a:pt x="187" y="3"/>
                  </a:cubicBezTo>
                  <a:cubicBezTo>
                    <a:pt x="190" y="5"/>
                    <a:pt x="191" y="9"/>
                    <a:pt x="191" y="13"/>
                  </a:cubicBezTo>
                  <a:cubicBezTo>
                    <a:pt x="191" y="13"/>
                    <a:pt x="180" y="84"/>
                    <a:pt x="211" y="137"/>
                  </a:cubicBezTo>
                  <a:cubicBezTo>
                    <a:pt x="217" y="116"/>
                    <a:pt x="228" y="87"/>
                    <a:pt x="245" y="70"/>
                  </a:cubicBezTo>
                  <a:cubicBezTo>
                    <a:pt x="248" y="67"/>
                    <a:pt x="252" y="66"/>
                    <a:pt x="256" y="68"/>
                  </a:cubicBezTo>
                  <a:cubicBezTo>
                    <a:pt x="260" y="69"/>
                    <a:pt x="263" y="73"/>
                    <a:pt x="263" y="77"/>
                  </a:cubicBezTo>
                  <a:cubicBezTo>
                    <a:pt x="263" y="77"/>
                    <a:pt x="266" y="111"/>
                    <a:pt x="280" y="137"/>
                  </a:cubicBezTo>
                  <a:cubicBezTo>
                    <a:pt x="299" y="170"/>
                    <a:pt x="289" y="243"/>
                    <a:pt x="252" y="278"/>
                  </a:cubicBezTo>
                  <a:cubicBezTo>
                    <a:pt x="214" y="313"/>
                    <a:pt x="175" y="320"/>
                    <a:pt x="152" y="320"/>
                  </a:cubicBezTo>
                  <a:close/>
                  <a:moveTo>
                    <a:pt x="55" y="130"/>
                  </a:moveTo>
                  <a:cubicBezTo>
                    <a:pt x="42" y="155"/>
                    <a:pt x="34" y="188"/>
                    <a:pt x="53" y="225"/>
                  </a:cubicBezTo>
                  <a:cubicBezTo>
                    <a:pt x="81" y="281"/>
                    <a:pt x="125" y="297"/>
                    <a:pt x="148" y="298"/>
                  </a:cubicBezTo>
                  <a:cubicBezTo>
                    <a:pt x="166" y="299"/>
                    <a:pt x="202" y="295"/>
                    <a:pt x="237" y="262"/>
                  </a:cubicBezTo>
                  <a:cubicBezTo>
                    <a:pt x="266" y="235"/>
                    <a:pt x="276" y="173"/>
                    <a:pt x="262" y="148"/>
                  </a:cubicBezTo>
                  <a:cubicBezTo>
                    <a:pt x="254" y="134"/>
                    <a:pt x="249" y="118"/>
                    <a:pt x="246" y="105"/>
                  </a:cubicBezTo>
                  <a:cubicBezTo>
                    <a:pt x="235" y="126"/>
                    <a:pt x="229" y="152"/>
                    <a:pt x="227" y="164"/>
                  </a:cubicBezTo>
                  <a:cubicBezTo>
                    <a:pt x="226" y="168"/>
                    <a:pt x="223" y="171"/>
                    <a:pt x="219" y="172"/>
                  </a:cubicBezTo>
                  <a:cubicBezTo>
                    <a:pt x="216" y="173"/>
                    <a:pt x="211" y="172"/>
                    <a:pt x="209" y="169"/>
                  </a:cubicBezTo>
                  <a:cubicBezTo>
                    <a:pt x="169" y="124"/>
                    <a:pt x="166" y="60"/>
                    <a:pt x="168" y="28"/>
                  </a:cubicBezTo>
                  <a:cubicBezTo>
                    <a:pt x="98" y="69"/>
                    <a:pt x="119" y="176"/>
                    <a:pt x="120" y="177"/>
                  </a:cubicBezTo>
                  <a:cubicBezTo>
                    <a:pt x="120" y="181"/>
                    <a:pt x="119" y="185"/>
                    <a:pt x="116" y="187"/>
                  </a:cubicBezTo>
                  <a:cubicBezTo>
                    <a:pt x="113" y="190"/>
                    <a:pt x="109" y="190"/>
                    <a:pt x="105" y="189"/>
                  </a:cubicBezTo>
                  <a:cubicBezTo>
                    <a:pt x="77" y="177"/>
                    <a:pt x="62" y="150"/>
                    <a:pt x="55" y="1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5" name="Freeform 815">
              <a:extLst>
                <a:ext uri="{FF2B5EF4-FFF2-40B4-BE49-F238E27FC236}">
                  <a16:creationId xmlns:a16="http://schemas.microsoft.com/office/drawing/2014/main" id="{D164EAAF-0CA6-4E39-8EC3-A5172169B299}"/>
                </a:ext>
              </a:extLst>
            </p:cNvPr>
            <p:cNvSpPr>
              <a:spLocks noEditPoints="1"/>
            </p:cNvSpPr>
            <p:nvPr/>
          </p:nvSpPr>
          <p:spPr bwMode="auto">
            <a:xfrm>
              <a:off x="1924" y="31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6" name="Group 154">
            <a:extLst>
              <a:ext uri="{FF2B5EF4-FFF2-40B4-BE49-F238E27FC236}">
                <a16:creationId xmlns:a16="http://schemas.microsoft.com/office/drawing/2014/main" id="{F4D2FD85-3445-4ED6-BA00-921EF78213F7}"/>
              </a:ext>
            </a:extLst>
          </p:cNvPr>
          <p:cNvGrpSpPr>
            <a:grpSpLocks noChangeAspect="1"/>
          </p:cNvGrpSpPr>
          <p:nvPr/>
        </p:nvGrpSpPr>
        <p:grpSpPr bwMode="auto">
          <a:xfrm>
            <a:off x="7869014" y="1700213"/>
            <a:ext cx="369676" cy="369676"/>
            <a:chOff x="2716" y="380"/>
            <a:chExt cx="340" cy="340"/>
          </a:xfrm>
          <a:solidFill>
            <a:schemeClr val="accent2"/>
          </a:solidFill>
        </p:grpSpPr>
        <p:sp>
          <p:nvSpPr>
            <p:cNvPr id="487" name="Freeform 155">
              <a:extLst>
                <a:ext uri="{FF2B5EF4-FFF2-40B4-BE49-F238E27FC236}">
                  <a16:creationId xmlns:a16="http://schemas.microsoft.com/office/drawing/2014/main" id="{96663054-1340-4DE3-AB07-84AD2095C3D9}"/>
                </a:ext>
              </a:extLst>
            </p:cNvPr>
            <p:cNvSpPr>
              <a:spLocks/>
            </p:cNvSpPr>
            <p:nvPr/>
          </p:nvSpPr>
          <p:spPr bwMode="auto">
            <a:xfrm>
              <a:off x="2780" y="444"/>
              <a:ext cx="211" cy="212"/>
            </a:xfrm>
            <a:custGeom>
              <a:avLst/>
              <a:gdLst>
                <a:gd name="T0" fmla="*/ 234 w 317"/>
                <a:gd name="T1" fmla="*/ 191 h 320"/>
                <a:gd name="T2" fmla="*/ 234 w 317"/>
                <a:gd name="T3" fmla="*/ 128 h 320"/>
                <a:gd name="T4" fmla="*/ 305 w 317"/>
                <a:gd name="T5" fmla="*/ 147 h 320"/>
                <a:gd name="T6" fmla="*/ 308 w 317"/>
                <a:gd name="T7" fmla="*/ 126 h 320"/>
                <a:gd name="T8" fmla="*/ 293 w 317"/>
                <a:gd name="T9" fmla="*/ 94 h 320"/>
                <a:gd name="T10" fmla="*/ 283 w 317"/>
                <a:gd name="T11" fmla="*/ 76 h 320"/>
                <a:gd name="T12" fmla="*/ 262 w 317"/>
                <a:gd name="T13" fmla="*/ 47 h 320"/>
                <a:gd name="T14" fmla="*/ 242 w 317"/>
                <a:gd name="T15" fmla="*/ 41 h 320"/>
                <a:gd name="T16" fmla="*/ 169 w 317"/>
                <a:gd name="T17" fmla="*/ 141 h 320"/>
                <a:gd name="T18" fmla="*/ 220 w 317"/>
                <a:gd name="T19" fmla="*/ 29 h 320"/>
                <a:gd name="T20" fmla="*/ 204 w 317"/>
                <a:gd name="T21" fmla="*/ 13 h 320"/>
                <a:gd name="T22" fmla="*/ 169 w 317"/>
                <a:gd name="T23" fmla="*/ 10 h 320"/>
                <a:gd name="T24" fmla="*/ 148 w 317"/>
                <a:gd name="T25" fmla="*/ 10 h 320"/>
                <a:gd name="T26" fmla="*/ 113 w 317"/>
                <a:gd name="T27" fmla="*/ 13 h 320"/>
                <a:gd name="T28" fmla="*/ 98 w 317"/>
                <a:gd name="T29" fmla="*/ 29 h 320"/>
                <a:gd name="T30" fmla="*/ 148 w 317"/>
                <a:gd name="T31" fmla="*/ 141 h 320"/>
                <a:gd name="T32" fmla="*/ 75 w 317"/>
                <a:gd name="T33" fmla="*/ 41 h 320"/>
                <a:gd name="T34" fmla="*/ 55 w 317"/>
                <a:gd name="T35" fmla="*/ 47 h 320"/>
                <a:gd name="T36" fmla="*/ 35 w 317"/>
                <a:gd name="T37" fmla="*/ 76 h 320"/>
                <a:gd name="T38" fmla="*/ 24 w 317"/>
                <a:gd name="T39" fmla="*/ 94 h 320"/>
                <a:gd name="T40" fmla="*/ 9 w 317"/>
                <a:gd name="T41" fmla="*/ 126 h 320"/>
                <a:gd name="T42" fmla="*/ 12 w 317"/>
                <a:gd name="T43" fmla="*/ 147 h 320"/>
                <a:gd name="T44" fmla="*/ 83 w 317"/>
                <a:gd name="T45" fmla="*/ 128 h 320"/>
                <a:gd name="T46" fmla="*/ 83 w 317"/>
                <a:gd name="T47" fmla="*/ 191 h 320"/>
                <a:gd name="T48" fmla="*/ 2 w 317"/>
                <a:gd name="T49" fmla="*/ 180 h 320"/>
                <a:gd name="T50" fmla="*/ 57 w 317"/>
                <a:gd name="T51" fmla="*/ 206 h 320"/>
                <a:gd name="T52" fmla="*/ 20 w 317"/>
                <a:gd name="T53" fmla="*/ 240 h 320"/>
                <a:gd name="T54" fmla="*/ 35 w 317"/>
                <a:gd name="T55" fmla="*/ 244 h 320"/>
                <a:gd name="T56" fmla="*/ 55 w 317"/>
                <a:gd name="T57" fmla="*/ 272 h 320"/>
                <a:gd name="T58" fmla="*/ 65 w 317"/>
                <a:gd name="T59" fmla="*/ 286 h 320"/>
                <a:gd name="T60" fmla="*/ 94 w 317"/>
                <a:gd name="T61" fmla="*/ 209 h 320"/>
                <a:gd name="T62" fmla="*/ 148 w 317"/>
                <a:gd name="T63" fmla="*/ 241 h 320"/>
                <a:gd name="T64" fmla="*/ 98 w 317"/>
                <a:gd name="T65" fmla="*/ 306 h 320"/>
                <a:gd name="T66" fmla="*/ 113 w 317"/>
                <a:gd name="T67" fmla="*/ 306 h 320"/>
                <a:gd name="T68" fmla="*/ 148 w 317"/>
                <a:gd name="T69" fmla="*/ 309 h 320"/>
                <a:gd name="T70" fmla="*/ 169 w 317"/>
                <a:gd name="T71" fmla="*/ 309 h 320"/>
                <a:gd name="T72" fmla="*/ 204 w 317"/>
                <a:gd name="T73" fmla="*/ 306 h 320"/>
                <a:gd name="T74" fmla="*/ 220 w 317"/>
                <a:gd name="T75" fmla="*/ 306 h 320"/>
                <a:gd name="T76" fmla="*/ 169 w 317"/>
                <a:gd name="T77" fmla="*/ 241 h 320"/>
                <a:gd name="T78" fmla="*/ 223 w 317"/>
                <a:gd name="T79" fmla="*/ 209 h 320"/>
                <a:gd name="T80" fmla="*/ 252 w 317"/>
                <a:gd name="T81" fmla="*/ 286 h 320"/>
                <a:gd name="T82" fmla="*/ 262 w 317"/>
                <a:gd name="T83" fmla="*/ 272 h 320"/>
                <a:gd name="T84" fmla="*/ 283 w 317"/>
                <a:gd name="T85" fmla="*/ 244 h 320"/>
                <a:gd name="T86" fmla="*/ 297 w 317"/>
                <a:gd name="T87" fmla="*/ 240 h 320"/>
                <a:gd name="T88" fmla="*/ 260 w 317"/>
                <a:gd name="T89" fmla="*/ 206 h 320"/>
                <a:gd name="T90" fmla="*/ 316 w 317"/>
                <a:gd name="T91" fmla="*/ 1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7" h="320">
                  <a:moveTo>
                    <a:pt x="303" y="172"/>
                  </a:moveTo>
                  <a:cubicBezTo>
                    <a:pt x="234" y="191"/>
                    <a:pt x="234" y="191"/>
                    <a:pt x="234" y="191"/>
                  </a:cubicBezTo>
                  <a:cubicBezTo>
                    <a:pt x="180" y="160"/>
                    <a:pt x="180" y="160"/>
                    <a:pt x="180" y="160"/>
                  </a:cubicBezTo>
                  <a:cubicBezTo>
                    <a:pt x="234" y="128"/>
                    <a:pt x="234" y="128"/>
                    <a:pt x="234" y="128"/>
                  </a:cubicBezTo>
                  <a:cubicBezTo>
                    <a:pt x="303" y="147"/>
                    <a:pt x="303" y="147"/>
                    <a:pt x="303" y="147"/>
                  </a:cubicBezTo>
                  <a:cubicBezTo>
                    <a:pt x="304" y="147"/>
                    <a:pt x="305" y="147"/>
                    <a:pt x="305" y="147"/>
                  </a:cubicBezTo>
                  <a:cubicBezTo>
                    <a:pt x="310" y="147"/>
                    <a:pt x="314" y="144"/>
                    <a:pt x="316" y="139"/>
                  </a:cubicBezTo>
                  <a:cubicBezTo>
                    <a:pt x="317" y="134"/>
                    <a:pt x="314" y="128"/>
                    <a:pt x="308" y="126"/>
                  </a:cubicBezTo>
                  <a:cubicBezTo>
                    <a:pt x="260" y="113"/>
                    <a:pt x="260" y="113"/>
                    <a:pt x="260" y="113"/>
                  </a:cubicBezTo>
                  <a:cubicBezTo>
                    <a:pt x="293" y="94"/>
                    <a:pt x="293" y="94"/>
                    <a:pt x="293" y="94"/>
                  </a:cubicBezTo>
                  <a:cubicBezTo>
                    <a:pt x="298" y="91"/>
                    <a:pt x="300" y="85"/>
                    <a:pt x="297" y="80"/>
                  </a:cubicBezTo>
                  <a:cubicBezTo>
                    <a:pt x="294" y="75"/>
                    <a:pt x="288" y="73"/>
                    <a:pt x="283" y="76"/>
                  </a:cubicBezTo>
                  <a:cubicBezTo>
                    <a:pt x="250" y="95"/>
                    <a:pt x="250" y="95"/>
                    <a:pt x="250" y="95"/>
                  </a:cubicBezTo>
                  <a:cubicBezTo>
                    <a:pt x="262" y="47"/>
                    <a:pt x="262" y="47"/>
                    <a:pt x="262" y="47"/>
                  </a:cubicBezTo>
                  <a:cubicBezTo>
                    <a:pt x="264" y="41"/>
                    <a:pt x="261" y="35"/>
                    <a:pt x="255" y="34"/>
                  </a:cubicBezTo>
                  <a:cubicBezTo>
                    <a:pt x="249" y="32"/>
                    <a:pt x="243" y="36"/>
                    <a:pt x="242" y="41"/>
                  </a:cubicBezTo>
                  <a:cubicBezTo>
                    <a:pt x="223" y="110"/>
                    <a:pt x="223" y="110"/>
                    <a:pt x="223" y="110"/>
                  </a:cubicBezTo>
                  <a:cubicBezTo>
                    <a:pt x="169" y="141"/>
                    <a:pt x="169" y="141"/>
                    <a:pt x="169" y="141"/>
                  </a:cubicBezTo>
                  <a:cubicBezTo>
                    <a:pt x="169" y="79"/>
                    <a:pt x="169" y="79"/>
                    <a:pt x="169" y="79"/>
                  </a:cubicBezTo>
                  <a:cubicBezTo>
                    <a:pt x="220" y="29"/>
                    <a:pt x="220" y="29"/>
                    <a:pt x="220" y="29"/>
                  </a:cubicBezTo>
                  <a:cubicBezTo>
                    <a:pt x="224" y="24"/>
                    <a:pt x="224" y="18"/>
                    <a:pt x="220" y="13"/>
                  </a:cubicBezTo>
                  <a:cubicBezTo>
                    <a:pt x="215" y="9"/>
                    <a:pt x="209" y="9"/>
                    <a:pt x="204" y="13"/>
                  </a:cubicBezTo>
                  <a:cubicBezTo>
                    <a:pt x="169" y="49"/>
                    <a:pt x="169" y="49"/>
                    <a:pt x="169" y="49"/>
                  </a:cubicBezTo>
                  <a:cubicBezTo>
                    <a:pt x="169" y="10"/>
                    <a:pt x="169" y="10"/>
                    <a:pt x="169" y="10"/>
                  </a:cubicBezTo>
                  <a:cubicBezTo>
                    <a:pt x="169" y="4"/>
                    <a:pt x="165" y="0"/>
                    <a:pt x="159" y="0"/>
                  </a:cubicBezTo>
                  <a:cubicBezTo>
                    <a:pt x="153" y="0"/>
                    <a:pt x="148" y="4"/>
                    <a:pt x="148" y="10"/>
                  </a:cubicBezTo>
                  <a:cubicBezTo>
                    <a:pt x="148" y="49"/>
                    <a:pt x="148" y="49"/>
                    <a:pt x="148" y="49"/>
                  </a:cubicBezTo>
                  <a:cubicBezTo>
                    <a:pt x="113" y="13"/>
                    <a:pt x="113" y="13"/>
                    <a:pt x="113" y="13"/>
                  </a:cubicBezTo>
                  <a:cubicBezTo>
                    <a:pt x="109" y="9"/>
                    <a:pt x="102" y="9"/>
                    <a:pt x="98" y="13"/>
                  </a:cubicBezTo>
                  <a:cubicBezTo>
                    <a:pt x="94" y="18"/>
                    <a:pt x="94" y="24"/>
                    <a:pt x="98" y="29"/>
                  </a:cubicBezTo>
                  <a:cubicBezTo>
                    <a:pt x="148" y="79"/>
                    <a:pt x="148" y="79"/>
                    <a:pt x="148" y="79"/>
                  </a:cubicBezTo>
                  <a:cubicBezTo>
                    <a:pt x="148" y="141"/>
                    <a:pt x="148" y="141"/>
                    <a:pt x="148" y="141"/>
                  </a:cubicBezTo>
                  <a:cubicBezTo>
                    <a:pt x="94" y="110"/>
                    <a:pt x="94" y="110"/>
                    <a:pt x="94" y="110"/>
                  </a:cubicBezTo>
                  <a:cubicBezTo>
                    <a:pt x="75" y="41"/>
                    <a:pt x="75" y="41"/>
                    <a:pt x="75" y="41"/>
                  </a:cubicBezTo>
                  <a:cubicBezTo>
                    <a:pt x="74" y="36"/>
                    <a:pt x="68" y="32"/>
                    <a:pt x="62" y="34"/>
                  </a:cubicBezTo>
                  <a:cubicBezTo>
                    <a:pt x="57" y="35"/>
                    <a:pt x="53" y="41"/>
                    <a:pt x="55" y="47"/>
                  </a:cubicBezTo>
                  <a:cubicBezTo>
                    <a:pt x="68" y="95"/>
                    <a:pt x="68" y="95"/>
                    <a:pt x="68" y="95"/>
                  </a:cubicBezTo>
                  <a:cubicBezTo>
                    <a:pt x="35" y="76"/>
                    <a:pt x="35" y="76"/>
                    <a:pt x="35" y="76"/>
                  </a:cubicBezTo>
                  <a:cubicBezTo>
                    <a:pt x="30" y="73"/>
                    <a:pt x="23" y="75"/>
                    <a:pt x="20" y="80"/>
                  </a:cubicBezTo>
                  <a:cubicBezTo>
                    <a:pt x="17" y="85"/>
                    <a:pt x="19" y="91"/>
                    <a:pt x="24" y="94"/>
                  </a:cubicBezTo>
                  <a:cubicBezTo>
                    <a:pt x="57" y="113"/>
                    <a:pt x="57" y="113"/>
                    <a:pt x="57" y="113"/>
                  </a:cubicBezTo>
                  <a:cubicBezTo>
                    <a:pt x="9" y="126"/>
                    <a:pt x="9" y="126"/>
                    <a:pt x="9" y="126"/>
                  </a:cubicBezTo>
                  <a:cubicBezTo>
                    <a:pt x="3" y="128"/>
                    <a:pt x="0" y="134"/>
                    <a:pt x="2" y="139"/>
                  </a:cubicBezTo>
                  <a:cubicBezTo>
                    <a:pt x="3" y="144"/>
                    <a:pt x="7" y="147"/>
                    <a:pt x="12" y="147"/>
                  </a:cubicBezTo>
                  <a:cubicBezTo>
                    <a:pt x="13" y="147"/>
                    <a:pt x="14" y="147"/>
                    <a:pt x="15" y="147"/>
                  </a:cubicBezTo>
                  <a:cubicBezTo>
                    <a:pt x="83" y="128"/>
                    <a:pt x="83" y="128"/>
                    <a:pt x="83" y="128"/>
                  </a:cubicBezTo>
                  <a:cubicBezTo>
                    <a:pt x="137" y="160"/>
                    <a:pt x="137" y="160"/>
                    <a:pt x="137" y="160"/>
                  </a:cubicBezTo>
                  <a:cubicBezTo>
                    <a:pt x="83" y="191"/>
                    <a:pt x="83" y="191"/>
                    <a:pt x="83" y="191"/>
                  </a:cubicBezTo>
                  <a:cubicBezTo>
                    <a:pt x="15" y="172"/>
                    <a:pt x="15" y="172"/>
                    <a:pt x="15" y="172"/>
                  </a:cubicBezTo>
                  <a:cubicBezTo>
                    <a:pt x="9" y="171"/>
                    <a:pt x="3" y="174"/>
                    <a:pt x="2" y="180"/>
                  </a:cubicBezTo>
                  <a:cubicBezTo>
                    <a:pt x="0" y="186"/>
                    <a:pt x="3" y="192"/>
                    <a:pt x="9" y="193"/>
                  </a:cubicBezTo>
                  <a:cubicBezTo>
                    <a:pt x="57" y="206"/>
                    <a:pt x="57" y="206"/>
                    <a:pt x="57" y="206"/>
                  </a:cubicBezTo>
                  <a:cubicBezTo>
                    <a:pt x="24" y="225"/>
                    <a:pt x="24" y="225"/>
                    <a:pt x="24" y="225"/>
                  </a:cubicBezTo>
                  <a:cubicBezTo>
                    <a:pt x="19" y="228"/>
                    <a:pt x="17" y="234"/>
                    <a:pt x="20" y="240"/>
                  </a:cubicBezTo>
                  <a:cubicBezTo>
                    <a:pt x="22" y="243"/>
                    <a:pt x="26" y="245"/>
                    <a:pt x="29" y="245"/>
                  </a:cubicBezTo>
                  <a:cubicBezTo>
                    <a:pt x="31" y="245"/>
                    <a:pt x="33" y="244"/>
                    <a:pt x="35" y="244"/>
                  </a:cubicBezTo>
                  <a:cubicBezTo>
                    <a:pt x="68" y="224"/>
                    <a:pt x="68" y="224"/>
                    <a:pt x="68" y="224"/>
                  </a:cubicBezTo>
                  <a:cubicBezTo>
                    <a:pt x="55" y="272"/>
                    <a:pt x="55" y="272"/>
                    <a:pt x="55" y="272"/>
                  </a:cubicBezTo>
                  <a:cubicBezTo>
                    <a:pt x="53" y="278"/>
                    <a:pt x="57" y="284"/>
                    <a:pt x="62" y="285"/>
                  </a:cubicBezTo>
                  <a:cubicBezTo>
                    <a:pt x="63" y="286"/>
                    <a:pt x="64" y="286"/>
                    <a:pt x="65" y="286"/>
                  </a:cubicBezTo>
                  <a:cubicBezTo>
                    <a:pt x="70" y="286"/>
                    <a:pt x="74" y="283"/>
                    <a:pt x="75" y="278"/>
                  </a:cubicBezTo>
                  <a:cubicBezTo>
                    <a:pt x="94" y="209"/>
                    <a:pt x="94" y="209"/>
                    <a:pt x="94" y="209"/>
                  </a:cubicBezTo>
                  <a:cubicBezTo>
                    <a:pt x="148" y="178"/>
                    <a:pt x="148" y="178"/>
                    <a:pt x="148" y="178"/>
                  </a:cubicBezTo>
                  <a:cubicBezTo>
                    <a:pt x="148" y="241"/>
                    <a:pt x="148" y="241"/>
                    <a:pt x="148" y="241"/>
                  </a:cubicBezTo>
                  <a:cubicBezTo>
                    <a:pt x="98" y="291"/>
                    <a:pt x="98" y="291"/>
                    <a:pt x="98" y="291"/>
                  </a:cubicBezTo>
                  <a:cubicBezTo>
                    <a:pt x="94" y="295"/>
                    <a:pt x="94" y="302"/>
                    <a:pt x="98" y="306"/>
                  </a:cubicBezTo>
                  <a:cubicBezTo>
                    <a:pt x="100" y="308"/>
                    <a:pt x="103" y="309"/>
                    <a:pt x="105" y="309"/>
                  </a:cubicBezTo>
                  <a:cubicBezTo>
                    <a:pt x="108" y="309"/>
                    <a:pt x="111" y="308"/>
                    <a:pt x="113" y="306"/>
                  </a:cubicBezTo>
                  <a:cubicBezTo>
                    <a:pt x="148" y="271"/>
                    <a:pt x="148" y="271"/>
                    <a:pt x="148" y="271"/>
                  </a:cubicBezTo>
                  <a:cubicBezTo>
                    <a:pt x="148" y="309"/>
                    <a:pt x="148" y="309"/>
                    <a:pt x="148" y="309"/>
                  </a:cubicBezTo>
                  <a:cubicBezTo>
                    <a:pt x="148" y="315"/>
                    <a:pt x="153" y="320"/>
                    <a:pt x="159" y="320"/>
                  </a:cubicBezTo>
                  <a:cubicBezTo>
                    <a:pt x="165" y="320"/>
                    <a:pt x="169" y="315"/>
                    <a:pt x="169" y="309"/>
                  </a:cubicBezTo>
                  <a:cubicBezTo>
                    <a:pt x="169" y="271"/>
                    <a:pt x="169" y="271"/>
                    <a:pt x="169" y="271"/>
                  </a:cubicBezTo>
                  <a:cubicBezTo>
                    <a:pt x="204" y="306"/>
                    <a:pt x="204" y="306"/>
                    <a:pt x="204" y="306"/>
                  </a:cubicBezTo>
                  <a:cubicBezTo>
                    <a:pt x="207" y="308"/>
                    <a:pt x="209" y="309"/>
                    <a:pt x="212" y="309"/>
                  </a:cubicBezTo>
                  <a:cubicBezTo>
                    <a:pt x="215" y="309"/>
                    <a:pt x="217" y="308"/>
                    <a:pt x="220" y="306"/>
                  </a:cubicBezTo>
                  <a:cubicBezTo>
                    <a:pt x="224" y="302"/>
                    <a:pt x="224" y="295"/>
                    <a:pt x="220" y="291"/>
                  </a:cubicBezTo>
                  <a:cubicBezTo>
                    <a:pt x="169" y="241"/>
                    <a:pt x="169" y="241"/>
                    <a:pt x="169" y="241"/>
                  </a:cubicBezTo>
                  <a:cubicBezTo>
                    <a:pt x="169" y="178"/>
                    <a:pt x="169" y="178"/>
                    <a:pt x="169" y="178"/>
                  </a:cubicBezTo>
                  <a:cubicBezTo>
                    <a:pt x="223" y="209"/>
                    <a:pt x="223" y="209"/>
                    <a:pt x="223" y="209"/>
                  </a:cubicBezTo>
                  <a:cubicBezTo>
                    <a:pt x="242" y="278"/>
                    <a:pt x="242" y="278"/>
                    <a:pt x="242" y="278"/>
                  </a:cubicBezTo>
                  <a:cubicBezTo>
                    <a:pt x="243" y="283"/>
                    <a:pt x="247" y="286"/>
                    <a:pt x="252" y="286"/>
                  </a:cubicBezTo>
                  <a:cubicBezTo>
                    <a:pt x="253" y="286"/>
                    <a:pt x="254" y="286"/>
                    <a:pt x="255" y="285"/>
                  </a:cubicBezTo>
                  <a:cubicBezTo>
                    <a:pt x="261" y="284"/>
                    <a:pt x="264" y="278"/>
                    <a:pt x="262" y="272"/>
                  </a:cubicBezTo>
                  <a:cubicBezTo>
                    <a:pt x="250" y="224"/>
                    <a:pt x="250" y="224"/>
                    <a:pt x="250" y="224"/>
                  </a:cubicBezTo>
                  <a:cubicBezTo>
                    <a:pt x="283" y="244"/>
                    <a:pt x="283" y="244"/>
                    <a:pt x="283" y="244"/>
                  </a:cubicBezTo>
                  <a:cubicBezTo>
                    <a:pt x="284" y="244"/>
                    <a:pt x="286" y="245"/>
                    <a:pt x="288" y="245"/>
                  </a:cubicBezTo>
                  <a:cubicBezTo>
                    <a:pt x="292" y="245"/>
                    <a:pt x="295" y="243"/>
                    <a:pt x="297" y="240"/>
                  </a:cubicBezTo>
                  <a:cubicBezTo>
                    <a:pt x="300" y="234"/>
                    <a:pt x="298" y="228"/>
                    <a:pt x="293" y="225"/>
                  </a:cubicBezTo>
                  <a:cubicBezTo>
                    <a:pt x="260" y="206"/>
                    <a:pt x="260" y="206"/>
                    <a:pt x="260" y="206"/>
                  </a:cubicBezTo>
                  <a:cubicBezTo>
                    <a:pt x="308" y="193"/>
                    <a:pt x="308" y="193"/>
                    <a:pt x="308" y="193"/>
                  </a:cubicBezTo>
                  <a:cubicBezTo>
                    <a:pt x="314" y="192"/>
                    <a:pt x="317" y="186"/>
                    <a:pt x="316" y="180"/>
                  </a:cubicBezTo>
                  <a:cubicBezTo>
                    <a:pt x="314" y="174"/>
                    <a:pt x="308" y="171"/>
                    <a:pt x="303"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8" name="Freeform 156">
              <a:extLst>
                <a:ext uri="{FF2B5EF4-FFF2-40B4-BE49-F238E27FC236}">
                  <a16:creationId xmlns:a16="http://schemas.microsoft.com/office/drawing/2014/main" id="{219B7FA2-E752-46E4-A78B-420A2083E49E}"/>
                </a:ext>
              </a:extLst>
            </p:cNvPr>
            <p:cNvSpPr>
              <a:spLocks noEditPoints="1"/>
            </p:cNvSpPr>
            <p:nvPr/>
          </p:nvSpPr>
          <p:spPr bwMode="auto">
            <a:xfrm>
              <a:off x="2716"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9" name="Freeform 164">
            <a:extLst>
              <a:ext uri="{FF2B5EF4-FFF2-40B4-BE49-F238E27FC236}">
                <a16:creationId xmlns:a16="http://schemas.microsoft.com/office/drawing/2014/main" id="{44D42A3B-1781-472F-B340-B0993140646F}"/>
              </a:ext>
            </a:extLst>
          </p:cNvPr>
          <p:cNvSpPr>
            <a:spLocks noChangeAspect="1" noEditPoints="1"/>
          </p:cNvSpPr>
          <p:nvPr/>
        </p:nvSpPr>
        <p:spPr bwMode="auto">
          <a:xfrm>
            <a:off x="7433312" y="1700213"/>
            <a:ext cx="369676" cy="369676"/>
          </a:xfrm>
          <a:custGeom>
            <a:avLst/>
            <a:gdLst>
              <a:gd name="T0" fmla="*/ 0 w 512"/>
              <a:gd name="T1" fmla="*/ 256 h 512"/>
              <a:gd name="T2" fmla="*/ 512 w 512"/>
              <a:gd name="T3" fmla="*/ 256 h 512"/>
              <a:gd name="T4" fmla="*/ 331 w 512"/>
              <a:gd name="T5" fmla="*/ 287 h 512"/>
              <a:gd name="T6" fmla="*/ 413 w 512"/>
              <a:gd name="T7" fmla="*/ 276 h 512"/>
              <a:gd name="T8" fmla="*/ 357 w 512"/>
              <a:gd name="T9" fmla="*/ 302 h 512"/>
              <a:gd name="T10" fmla="*/ 394 w 512"/>
              <a:gd name="T11" fmla="*/ 336 h 512"/>
              <a:gd name="T12" fmla="*/ 380 w 512"/>
              <a:gd name="T13" fmla="*/ 340 h 512"/>
              <a:gd name="T14" fmla="*/ 359 w 512"/>
              <a:gd name="T15" fmla="*/ 368 h 512"/>
              <a:gd name="T16" fmla="*/ 349 w 512"/>
              <a:gd name="T17" fmla="*/ 382 h 512"/>
              <a:gd name="T18" fmla="*/ 320 w 512"/>
              <a:gd name="T19" fmla="*/ 305 h 512"/>
              <a:gd name="T20" fmla="*/ 266 w 512"/>
              <a:gd name="T21" fmla="*/ 337 h 512"/>
              <a:gd name="T22" fmla="*/ 317 w 512"/>
              <a:gd name="T23" fmla="*/ 402 h 512"/>
              <a:gd name="T24" fmla="*/ 301 w 512"/>
              <a:gd name="T25" fmla="*/ 402 h 512"/>
              <a:gd name="T26" fmla="*/ 266 w 512"/>
              <a:gd name="T27" fmla="*/ 405 h 512"/>
              <a:gd name="T28" fmla="*/ 245 w 512"/>
              <a:gd name="T29" fmla="*/ 405 h 512"/>
              <a:gd name="T30" fmla="*/ 210 w 512"/>
              <a:gd name="T31" fmla="*/ 402 h 512"/>
              <a:gd name="T32" fmla="*/ 195 w 512"/>
              <a:gd name="T33" fmla="*/ 402 h 512"/>
              <a:gd name="T34" fmla="*/ 245 w 512"/>
              <a:gd name="T35" fmla="*/ 337 h 512"/>
              <a:gd name="T36" fmla="*/ 191 w 512"/>
              <a:gd name="T37" fmla="*/ 305 h 512"/>
              <a:gd name="T38" fmla="*/ 162 w 512"/>
              <a:gd name="T39" fmla="*/ 382 h 512"/>
              <a:gd name="T40" fmla="*/ 152 w 512"/>
              <a:gd name="T41" fmla="*/ 368 h 512"/>
              <a:gd name="T42" fmla="*/ 132 w 512"/>
              <a:gd name="T43" fmla="*/ 340 h 512"/>
              <a:gd name="T44" fmla="*/ 117 w 512"/>
              <a:gd name="T45" fmla="*/ 336 h 512"/>
              <a:gd name="T46" fmla="*/ 154 w 512"/>
              <a:gd name="T47" fmla="*/ 302 h 512"/>
              <a:gd name="T48" fmla="*/ 99 w 512"/>
              <a:gd name="T49" fmla="*/ 276 h 512"/>
              <a:gd name="T50" fmla="*/ 180 w 512"/>
              <a:gd name="T51" fmla="*/ 287 h 512"/>
              <a:gd name="T52" fmla="*/ 180 w 512"/>
              <a:gd name="T53" fmla="*/ 224 h 512"/>
              <a:gd name="T54" fmla="*/ 109 w 512"/>
              <a:gd name="T55" fmla="*/ 243 h 512"/>
              <a:gd name="T56" fmla="*/ 106 w 512"/>
              <a:gd name="T57" fmla="*/ 222 h 512"/>
              <a:gd name="T58" fmla="*/ 121 w 512"/>
              <a:gd name="T59" fmla="*/ 190 h 512"/>
              <a:gd name="T60" fmla="*/ 132 w 512"/>
              <a:gd name="T61" fmla="*/ 172 h 512"/>
              <a:gd name="T62" fmla="*/ 152 w 512"/>
              <a:gd name="T63" fmla="*/ 143 h 512"/>
              <a:gd name="T64" fmla="*/ 172 w 512"/>
              <a:gd name="T65" fmla="*/ 137 h 512"/>
              <a:gd name="T66" fmla="*/ 245 w 512"/>
              <a:gd name="T67" fmla="*/ 237 h 512"/>
              <a:gd name="T68" fmla="*/ 195 w 512"/>
              <a:gd name="T69" fmla="*/ 125 h 512"/>
              <a:gd name="T70" fmla="*/ 210 w 512"/>
              <a:gd name="T71" fmla="*/ 109 h 512"/>
              <a:gd name="T72" fmla="*/ 245 w 512"/>
              <a:gd name="T73" fmla="*/ 106 h 512"/>
              <a:gd name="T74" fmla="*/ 266 w 512"/>
              <a:gd name="T75" fmla="*/ 106 h 512"/>
              <a:gd name="T76" fmla="*/ 301 w 512"/>
              <a:gd name="T77" fmla="*/ 109 h 512"/>
              <a:gd name="T78" fmla="*/ 317 w 512"/>
              <a:gd name="T79" fmla="*/ 125 h 512"/>
              <a:gd name="T80" fmla="*/ 266 w 512"/>
              <a:gd name="T81" fmla="*/ 237 h 512"/>
              <a:gd name="T82" fmla="*/ 339 w 512"/>
              <a:gd name="T83" fmla="*/ 137 h 512"/>
              <a:gd name="T84" fmla="*/ 359 w 512"/>
              <a:gd name="T85" fmla="*/ 143 h 512"/>
              <a:gd name="T86" fmla="*/ 380 w 512"/>
              <a:gd name="T87" fmla="*/ 172 h 512"/>
              <a:gd name="T88" fmla="*/ 390 w 512"/>
              <a:gd name="T89" fmla="*/ 190 h 512"/>
              <a:gd name="T90" fmla="*/ 405 w 512"/>
              <a:gd name="T91" fmla="*/ 222 h 512"/>
              <a:gd name="T92" fmla="*/ 402 w 512"/>
              <a:gd name="T93" fmla="*/ 243 h 512"/>
              <a:gd name="T94" fmla="*/ 331 w 512"/>
              <a:gd name="T95" fmla="*/ 224 h 512"/>
              <a:gd name="T96" fmla="*/ 331 w 512"/>
              <a:gd name="T97" fmla="*/ 28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1" y="287"/>
                </a:moveTo>
                <a:cubicBezTo>
                  <a:pt x="400" y="268"/>
                  <a:pt x="400" y="268"/>
                  <a:pt x="400" y="268"/>
                </a:cubicBezTo>
                <a:cubicBezTo>
                  <a:pt x="405" y="267"/>
                  <a:pt x="411" y="270"/>
                  <a:pt x="413" y="276"/>
                </a:cubicBezTo>
                <a:cubicBezTo>
                  <a:pt x="414" y="282"/>
                  <a:pt x="411" y="288"/>
                  <a:pt x="405" y="289"/>
                </a:cubicBezTo>
                <a:cubicBezTo>
                  <a:pt x="357" y="302"/>
                  <a:pt x="357" y="302"/>
                  <a:pt x="357" y="302"/>
                </a:cubicBezTo>
                <a:cubicBezTo>
                  <a:pt x="390" y="321"/>
                  <a:pt x="390" y="321"/>
                  <a:pt x="390" y="321"/>
                </a:cubicBezTo>
                <a:cubicBezTo>
                  <a:pt x="395" y="324"/>
                  <a:pt x="397" y="330"/>
                  <a:pt x="394" y="336"/>
                </a:cubicBezTo>
                <a:cubicBezTo>
                  <a:pt x="392" y="339"/>
                  <a:pt x="389" y="341"/>
                  <a:pt x="385" y="341"/>
                </a:cubicBezTo>
                <a:cubicBezTo>
                  <a:pt x="383" y="341"/>
                  <a:pt x="381" y="340"/>
                  <a:pt x="380" y="340"/>
                </a:cubicBezTo>
                <a:cubicBezTo>
                  <a:pt x="347" y="320"/>
                  <a:pt x="347" y="320"/>
                  <a:pt x="347" y="320"/>
                </a:cubicBezTo>
                <a:cubicBezTo>
                  <a:pt x="359" y="368"/>
                  <a:pt x="359" y="368"/>
                  <a:pt x="359" y="368"/>
                </a:cubicBezTo>
                <a:cubicBezTo>
                  <a:pt x="361" y="374"/>
                  <a:pt x="358" y="380"/>
                  <a:pt x="352" y="381"/>
                </a:cubicBezTo>
                <a:cubicBezTo>
                  <a:pt x="351" y="382"/>
                  <a:pt x="350" y="382"/>
                  <a:pt x="349" y="382"/>
                </a:cubicBezTo>
                <a:cubicBezTo>
                  <a:pt x="344" y="382"/>
                  <a:pt x="340" y="379"/>
                  <a:pt x="339" y="374"/>
                </a:cubicBezTo>
                <a:cubicBezTo>
                  <a:pt x="320" y="305"/>
                  <a:pt x="320" y="305"/>
                  <a:pt x="320" y="305"/>
                </a:cubicBezTo>
                <a:cubicBezTo>
                  <a:pt x="266" y="274"/>
                  <a:pt x="266" y="274"/>
                  <a:pt x="266" y="274"/>
                </a:cubicBezTo>
                <a:cubicBezTo>
                  <a:pt x="266" y="337"/>
                  <a:pt x="266" y="337"/>
                  <a:pt x="266" y="337"/>
                </a:cubicBezTo>
                <a:cubicBezTo>
                  <a:pt x="317" y="387"/>
                  <a:pt x="317" y="387"/>
                  <a:pt x="317" y="387"/>
                </a:cubicBezTo>
                <a:cubicBezTo>
                  <a:pt x="321" y="391"/>
                  <a:pt x="321" y="398"/>
                  <a:pt x="317" y="402"/>
                </a:cubicBezTo>
                <a:cubicBezTo>
                  <a:pt x="314" y="404"/>
                  <a:pt x="312" y="405"/>
                  <a:pt x="309" y="405"/>
                </a:cubicBezTo>
                <a:cubicBezTo>
                  <a:pt x="306" y="405"/>
                  <a:pt x="304" y="404"/>
                  <a:pt x="301" y="402"/>
                </a:cubicBezTo>
                <a:cubicBezTo>
                  <a:pt x="266" y="367"/>
                  <a:pt x="266" y="367"/>
                  <a:pt x="266" y="367"/>
                </a:cubicBezTo>
                <a:cubicBezTo>
                  <a:pt x="266" y="405"/>
                  <a:pt x="266" y="405"/>
                  <a:pt x="266" y="405"/>
                </a:cubicBezTo>
                <a:cubicBezTo>
                  <a:pt x="266" y="411"/>
                  <a:pt x="262" y="416"/>
                  <a:pt x="256" y="416"/>
                </a:cubicBezTo>
                <a:cubicBezTo>
                  <a:pt x="250" y="416"/>
                  <a:pt x="245" y="411"/>
                  <a:pt x="245" y="405"/>
                </a:cubicBezTo>
                <a:cubicBezTo>
                  <a:pt x="245" y="367"/>
                  <a:pt x="245" y="367"/>
                  <a:pt x="245" y="367"/>
                </a:cubicBezTo>
                <a:cubicBezTo>
                  <a:pt x="210" y="402"/>
                  <a:pt x="210" y="402"/>
                  <a:pt x="210" y="402"/>
                </a:cubicBezTo>
                <a:cubicBezTo>
                  <a:pt x="208" y="404"/>
                  <a:pt x="205" y="405"/>
                  <a:pt x="202" y="405"/>
                </a:cubicBezTo>
                <a:cubicBezTo>
                  <a:pt x="200" y="405"/>
                  <a:pt x="197" y="404"/>
                  <a:pt x="195" y="402"/>
                </a:cubicBezTo>
                <a:cubicBezTo>
                  <a:pt x="191" y="398"/>
                  <a:pt x="191" y="391"/>
                  <a:pt x="195" y="387"/>
                </a:cubicBezTo>
                <a:cubicBezTo>
                  <a:pt x="245" y="337"/>
                  <a:pt x="245" y="337"/>
                  <a:pt x="245" y="337"/>
                </a:cubicBezTo>
                <a:cubicBezTo>
                  <a:pt x="245" y="274"/>
                  <a:pt x="245" y="274"/>
                  <a:pt x="245" y="274"/>
                </a:cubicBezTo>
                <a:cubicBezTo>
                  <a:pt x="191" y="305"/>
                  <a:pt x="191" y="305"/>
                  <a:pt x="191" y="305"/>
                </a:cubicBezTo>
                <a:cubicBezTo>
                  <a:pt x="172" y="374"/>
                  <a:pt x="172" y="374"/>
                  <a:pt x="172" y="374"/>
                </a:cubicBezTo>
                <a:cubicBezTo>
                  <a:pt x="171" y="379"/>
                  <a:pt x="167" y="382"/>
                  <a:pt x="162" y="382"/>
                </a:cubicBezTo>
                <a:cubicBezTo>
                  <a:pt x="161" y="382"/>
                  <a:pt x="160" y="382"/>
                  <a:pt x="159" y="381"/>
                </a:cubicBezTo>
                <a:cubicBezTo>
                  <a:pt x="154" y="380"/>
                  <a:pt x="150" y="374"/>
                  <a:pt x="152" y="368"/>
                </a:cubicBezTo>
                <a:cubicBezTo>
                  <a:pt x="165" y="320"/>
                  <a:pt x="165" y="320"/>
                  <a:pt x="165" y="320"/>
                </a:cubicBezTo>
                <a:cubicBezTo>
                  <a:pt x="132" y="340"/>
                  <a:pt x="132" y="340"/>
                  <a:pt x="132" y="340"/>
                </a:cubicBezTo>
                <a:cubicBezTo>
                  <a:pt x="130" y="340"/>
                  <a:pt x="128" y="341"/>
                  <a:pt x="126" y="341"/>
                </a:cubicBezTo>
                <a:cubicBezTo>
                  <a:pt x="123" y="341"/>
                  <a:pt x="119" y="339"/>
                  <a:pt x="117" y="336"/>
                </a:cubicBezTo>
                <a:cubicBezTo>
                  <a:pt x="114" y="330"/>
                  <a:pt x="116" y="324"/>
                  <a:pt x="121" y="321"/>
                </a:cubicBezTo>
                <a:cubicBezTo>
                  <a:pt x="154" y="302"/>
                  <a:pt x="154" y="302"/>
                  <a:pt x="154" y="302"/>
                </a:cubicBezTo>
                <a:cubicBezTo>
                  <a:pt x="106" y="289"/>
                  <a:pt x="106" y="289"/>
                  <a:pt x="106" y="289"/>
                </a:cubicBezTo>
                <a:cubicBezTo>
                  <a:pt x="100" y="288"/>
                  <a:pt x="97" y="282"/>
                  <a:pt x="99" y="276"/>
                </a:cubicBezTo>
                <a:cubicBezTo>
                  <a:pt x="100" y="270"/>
                  <a:pt x="106" y="267"/>
                  <a:pt x="112" y="268"/>
                </a:cubicBezTo>
                <a:cubicBezTo>
                  <a:pt x="180" y="287"/>
                  <a:pt x="180" y="287"/>
                  <a:pt x="180" y="287"/>
                </a:cubicBezTo>
                <a:cubicBezTo>
                  <a:pt x="234" y="256"/>
                  <a:pt x="234" y="256"/>
                  <a:pt x="234" y="256"/>
                </a:cubicBezTo>
                <a:cubicBezTo>
                  <a:pt x="180" y="224"/>
                  <a:pt x="180" y="224"/>
                  <a:pt x="180" y="224"/>
                </a:cubicBezTo>
                <a:cubicBezTo>
                  <a:pt x="112" y="243"/>
                  <a:pt x="112" y="243"/>
                  <a:pt x="112" y="243"/>
                </a:cubicBezTo>
                <a:cubicBezTo>
                  <a:pt x="111" y="243"/>
                  <a:pt x="110" y="243"/>
                  <a:pt x="109" y="243"/>
                </a:cubicBezTo>
                <a:cubicBezTo>
                  <a:pt x="104" y="243"/>
                  <a:pt x="100" y="240"/>
                  <a:pt x="99" y="235"/>
                </a:cubicBezTo>
                <a:cubicBezTo>
                  <a:pt x="97" y="230"/>
                  <a:pt x="100" y="224"/>
                  <a:pt x="106" y="222"/>
                </a:cubicBezTo>
                <a:cubicBezTo>
                  <a:pt x="154" y="209"/>
                  <a:pt x="154" y="209"/>
                  <a:pt x="154" y="209"/>
                </a:cubicBezTo>
                <a:cubicBezTo>
                  <a:pt x="121" y="190"/>
                  <a:pt x="121" y="190"/>
                  <a:pt x="121" y="190"/>
                </a:cubicBezTo>
                <a:cubicBezTo>
                  <a:pt x="116" y="187"/>
                  <a:pt x="114" y="181"/>
                  <a:pt x="117" y="176"/>
                </a:cubicBezTo>
                <a:cubicBezTo>
                  <a:pt x="120" y="171"/>
                  <a:pt x="127" y="169"/>
                  <a:pt x="132" y="172"/>
                </a:cubicBezTo>
                <a:cubicBezTo>
                  <a:pt x="165" y="191"/>
                  <a:pt x="165" y="191"/>
                  <a:pt x="165" y="191"/>
                </a:cubicBezTo>
                <a:cubicBezTo>
                  <a:pt x="152" y="143"/>
                  <a:pt x="152" y="143"/>
                  <a:pt x="152" y="143"/>
                </a:cubicBezTo>
                <a:cubicBezTo>
                  <a:pt x="150" y="137"/>
                  <a:pt x="154" y="131"/>
                  <a:pt x="159" y="130"/>
                </a:cubicBezTo>
                <a:cubicBezTo>
                  <a:pt x="165" y="128"/>
                  <a:pt x="171" y="132"/>
                  <a:pt x="172" y="137"/>
                </a:cubicBezTo>
                <a:cubicBezTo>
                  <a:pt x="191" y="206"/>
                  <a:pt x="191" y="206"/>
                  <a:pt x="191" y="206"/>
                </a:cubicBezTo>
                <a:cubicBezTo>
                  <a:pt x="245" y="237"/>
                  <a:pt x="245" y="237"/>
                  <a:pt x="245" y="237"/>
                </a:cubicBezTo>
                <a:cubicBezTo>
                  <a:pt x="245" y="175"/>
                  <a:pt x="245" y="175"/>
                  <a:pt x="245" y="175"/>
                </a:cubicBezTo>
                <a:cubicBezTo>
                  <a:pt x="195" y="125"/>
                  <a:pt x="195" y="125"/>
                  <a:pt x="195" y="125"/>
                </a:cubicBezTo>
                <a:cubicBezTo>
                  <a:pt x="191" y="120"/>
                  <a:pt x="191" y="114"/>
                  <a:pt x="195" y="109"/>
                </a:cubicBezTo>
                <a:cubicBezTo>
                  <a:pt x="199" y="105"/>
                  <a:pt x="206" y="105"/>
                  <a:pt x="210" y="109"/>
                </a:cubicBezTo>
                <a:cubicBezTo>
                  <a:pt x="245" y="145"/>
                  <a:pt x="245" y="145"/>
                  <a:pt x="245" y="145"/>
                </a:cubicBezTo>
                <a:cubicBezTo>
                  <a:pt x="245" y="106"/>
                  <a:pt x="245" y="106"/>
                  <a:pt x="245" y="106"/>
                </a:cubicBezTo>
                <a:cubicBezTo>
                  <a:pt x="245" y="100"/>
                  <a:pt x="250" y="96"/>
                  <a:pt x="256" y="96"/>
                </a:cubicBezTo>
                <a:cubicBezTo>
                  <a:pt x="262" y="96"/>
                  <a:pt x="266" y="100"/>
                  <a:pt x="266" y="106"/>
                </a:cubicBezTo>
                <a:cubicBezTo>
                  <a:pt x="266" y="145"/>
                  <a:pt x="266" y="145"/>
                  <a:pt x="266" y="145"/>
                </a:cubicBezTo>
                <a:cubicBezTo>
                  <a:pt x="301" y="109"/>
                  <a:pt x="301" y="109"/>
                  <a:pt x="301" y="109"/>
                </a:cubicBezTo>
                <a:cubicBezTo>
                  <a:pt x="306" y="105"/>
                  <a:pt x="312" y="105"/>
                  <a:pt x="317" y="109"/>
                </a:cubicBezTo>
                <a:cubicBezTo>
                  <a:pt x="321" y="114"/>
                  <a:pt x="321" y="120"/>
                  <a:pt x="317" y="125"/>
                </a:cubicBezTo>
                <a:cubicBezTo>
                  <a:pt x="266" y="175"/>
                  <a:pt x="266" y="175"/>
                  <a:pt x="266" y="175"/>
                </a:cubicBezTo>
                <a:cubicBezTo>
                  <a:pt x="266" y="237"/>
                  <a:pt x="266" y="237"/>
                  <a:pt x="266" y="237"/>
                </a:cubicBezTo>
                <a:cubicBezTo>
                  <a:pt x="320" y="206"/>
                  <a:pt x="320" y="206"/>
                  <a:pt x="320" y="206"/>
                </a:cubicBezTo>
                <a:cubicBezTo>
                  <a:pt x="339" y="137"/>
                  <a:pt x="339" y="137"/>
                  <a:pt x="339" y="137"/>
                </a:cubicBezTo>
                <a:cubicBezTo>
                  <a:pt x="340" y="132"/>
                  <a:pt x="346" y="128"/>
                  <a:pt x="352" y="130"/>
                </a:cubicBezTo>
                <a:cubicBezTo>
                  <a:pt x="358" y="131"/>
                  <a:pt x="361" y="137"/>
                  <a:pt x="359" y="143"/>
                </a:cubicBezTo>
                <a:cubicBezTo>
                  <a:pt x="347" y="191"/>
                  <a:pt x="347" y="191"/>
                  <a:pt x="347" y="191"/>
                </a:cubicBezTo>
                <a:cubicBezTo>
                  <a:pt x="380" y="172"/>
                  <a:pt x="380" y="172"/>
                  <a:pt x="380" y="172"/>
                </a:cubicBezTo>
                <a:cubicBezTo>
                  <a:pt x="385" y="169"/>
                  <a:pt x="391" y="171"/>
                  <a:pt x="394" y="176"/>
                </a:cubicBezTo>
                <a:cubicBezTo>
                  <a:pt x="397" y="181"/>
                  <a:pt x="395" y="187"/>
                  <a:pt x="390" y="190"/>
                </a:cubicBezTo>
                <a:cubicBezTo>
                  <a:pt x="357" y="209"/>
                  <a:pt x="357" y="209"/>
                  <a:pt x="357" y="209"/>
                </a:cubicBezTo>
                <a:cubicBezTo>
                  <a:pt x="405" y="222"/>
                  <a:pt x="405" y="222"/>
                  <a:pt x="405" y="222"/>
                </a:cubicBezTo>
                <a:cubicBezTo>
                  <a:pt x="411" y="224"/>
                  <a:pt x="414" y="230"/>
                  <a:pt x="413" y="235"/>
                </a:cubicBezTo>
                <a:cubicBezTo>
                  <a:pt x="411" y="240"/>
                  <a:pt x="407" y="243"/>
                  <a:pt x="402" y="243"/>
                </a:cubicBezTo>
                <a:cubicBezTo>
                  <a:pt x="402" y="243"/>
                  <a:pt x="401" y="243"/>
                  <a:pt x="400" y="243"/>
                </a:cubicBezTo>
                <a:cubicBezTo>
                  <a:pt x="331" y="224"/>
                  <a:pt x="331" y="224"/>
                  <a:pt x="331" y="224"/>
                </a:cubicBezTo>
                <a:cubicBezTo>
                  <a:pt x="277" y="256"/>
                  <a:pt x="277" y="256"/>
                  <a:pt x="277" y="256"/>
                </a:cubicBezTo>
                <a:lnTo>
                  <a:pt x="331"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0" name="Group 167">
            <a:extLst>
              <a:ext uri="{FF2B5EF4-FFF2-40B4-BE49-F238E27FC236}">
                <a16:creationId xmlns:a16="http://schemas.microsoft.com/office/drawing/2014/main" id="{8C33E391-027D-47F8-8FCD-8841BB3613BD}"/>
              </a:ext>
            </a:extLst>
          </p:cNvPr>
          <p:cNvGrpSpPr>
            <a:grpSpLocks noChangeAspect="1"/>
          </p:cNvGrpSpPr>
          <p:nvPr/>
        </p:nvGrpSpPr>
        <p:grpSpPr bwMode="auto">
          <a:xfrm>
            <a:off x="6997610" y="1700213"/>
            <a:ext cx="369676" cy="369676"/>
            <a:chOff x="1941" y="385"/>
            <a:chExt cx="340" cy="340"/>
          </a:xfrm>
          <a:solidFill>
            <a:schemeClr val="accent2"/>
          </a:solidFill>
        </p:grpSpPr>
        <p:sp>
          <p:nvSpPr>
            <p:cNvPr id="491" name="Freeform 168">
              <a:extLst>
                <a:ext uri="{FF2B5EF4-FFF2-40B4-BE49-F238E27FC236}">
                  <a16:creationId xmlns:a16="http://schemas.microsoft.com/office/drawing/2014/main" id="{244E78DE-E2E8-4458-BF17-A2F305F614F1}"/>
                </a:ext>
              </a:extLst>
            </p:cNvPr>
            <p:cNvSpPr>
              <a:spLocks noEditPoints="1"/>
            </p:cNvSpPr>
            <p:nvPr/>
          </p:nvSpPr>
          <p:spPr bwMode="auto">
            <a:xfrm>
              <a:off x="1941" y="3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2" name="Freeform 169">
              <a:extLst>
                <a:ext uri="{FF2B5EF4-FFF2-40B4-BE49-F238E27FC236}">
                  <a16:creationId xmlns:a16="http://schemas.microsoft.com/office/drawing/2014/main" id="{901D3DF0-72AE-405E-81C4-02BA393FB718}"/>
                </a:ext>
              </a:extLst>
            </p:cNvPr>
            <p:cNvSpPr>
              <a:spLocks/>
            </p:cNvSpPr>
            <p:nvPr/>
          </p:nvSpPr>
          <p:spPr bwMode="auto">
            <a:xfrm>
              <a:off x="2090" y="625"/>
              <a:ext cx="41" cy="43"/>
            </a:xfrm>
            <a:custGeom>
              <a:avLst/>
              <a:gdLst>
                <a:gd name="T0" fmla="*/ 58 w 61"/>
                <a:gd name="T1" fmla="*/ 16 h 64"/>
                <a:gd name="T2" fmla="*/ 44 w 61"/>
                <a:gd name="T3" fmla="*/ 12 h 64"/>
                <a:gd name="T4" fmla="*/ 41 w 61"/>
                <a:gd name="T5" fmla="*/ 14 h 64"/>
                <a:gd name="T6" fmla="*/ 41 w 61"/>
                <a:gd name="T7" fmla="*/ 11 h 64"/>
                <a:gd name="T8" fmla="*/ 31 w 61"/>
                <a:gd name="T9" fmla="*/ 0 h 64"/>
                <a:gd name="T10" fmla="*/ 20 w 61"/>
                <a:gd name="T11" fmla="*/ 11 h 64"/>
                <a:gd name="T12" fmla="*/ 20 w 61"/>
                <a:gd name="T13" fmla="*/ 14 h 64"/>
                <a:gd name="T14" fmla="*/ 18 w 61"/>
                <a:gd name="T15" fmla="*/ 12 h 64"/>
                <a:gd name="T16" fmla="*/ 3 w 61"/>
                <a:gd name="T17" fmla="*/ 16 h 64"/>
                <a:gd name="T18" fmla="*/ 7 w 61"/>
                <a:gd name="T19" fmla="*/ 31 h 64"/>
                <a:gd name="T20" fmla="*/ 9 w 61"/>
                <a:gd name="T21" fmla="*/ 32 h 64"/>
                <a:gd name="T22" fmla="*/ 7 w 61"/>
                <a:gd name="T23" fmla="*/ 34 h 64"/>
                <a:gd name="T24" fmla="*/ 3 w 61"/>
                <a:gd name="T25" fmla="*/ 48 h 64"/>
                <a:gd name="T26" fmla="*/ 12 w 61"/>
                <a:gd name="T27" fmla="*/ 54 h 64"/>
                <a:gd name="T28" fmla="*/ 18 w 61"/>
                <a:gd name="T29" fmla="*/ 52 h 64"/>
                <a:gd name="T30" fmla="*/ 20 w 61"/>
                <a:gd name="T31" fmla="*/ 51 h 64"/>
                <a:gd name="T32" fmla="*/ 20 w 61"/>
                <a:gd name="T33" fmla="*/ 54 h 64"/>
                <a:gd name="T34" fmla="*/ 31 w 61"/>
                <a:gd name="T35" fmla="*/ 64 h 64"/>
                <a:gd name="T36" fmla="*/ 41 w 61"/>
                <a:gd name="T37" fmla="*/ 54 h 64"/>
                <a:gd name="T38" fmla="*/ 41 w 61"/>
                <a:gd name="T39" fmla="*/ 51 h 64"/>
                <a:gd name="T40" fmla="*/ 44 w 61"/>
                <a:gd name="T41" fmla="*/ 52 h 64"/>
                <a:gd name="T42" fmla="*/ 49 w 61"/>
                <a:gd name="T43" fmla="*/ 54 h 64"/>
                <a:gd name="T44" fmla="*/ 58 w 61"/>
                <a:gd name="T45" fmla="*/ 48 h 64"/>
                <a:gd name="T46" fmla="*/ 54 w 61"/>
                <a:gd name="T47" fmla="*/ 34 h 64"/>
                <a:gd name="T48" fmla="*/ 52 w 61"/>
                <a:gd name="T49" fmla="*/ 32 h 64"/>
                <a:gd name="T50" fmla="*/ 54 w 61"/>
                <a:gd name="T51" fmla="*/ 31 h 64"/>
                <a:gd name="T52" fmla="*/ 58 w 61"/>
                <a:gd name="T5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4">
                  <a:moveTo>
                    <a:pt x="58" y="16"/>
                  </a:moveTo>
                  <a:cubicBezTo>
                    <a:pt x="55" y="11"/>
                    <a:pt x="49" y="9"/>
                    <a:pt x="44" y="12"/>
                  </a:cubicBezTo>
                  <a:cubicBezTo>
                    <a:pt x="41" y="14"/>
                    <a:pt x="41" y="14"/>
                    <a:pt x="41" y="14"/>
                  </a:cubicBezTo>
                  <a:cubicBezTo>
                    <a:pt x="41" y="11"/>
                    <a:pt x="41" y="11"/>
                    <a:pt x="41" y="11"/>
                  </a:cubicBezTo>
                  <a:cubicBezTo>
                    <a:pt x="41" y="5"/>
                    <a:pt x="37" y="0"/>
                    <a:pt x="31" y="0"/>
                  </a:cubicBezTo>
                  <a:cubicBezTo>
                    <a:pt x="25" y="0"/>
                    <a:pt x="20" y="5"/>
                    <a:pt x="20" y="11"/>
                  </a:cubicBezTo>
                  <a:cubicBezTo>
                    <a:pt x="20" y="14"/>
                    <a:pt x="20" y="14"/>
                    <a:pt x="20" y="14"/>
                  </a:cubicBezTo>
                  <a:cubicBezTo>
                    <a:pt x="18" y="12"/>
                    <a:pt x="18" y="12"/>
                    <a:pt x="18" y="12"/>
                  </a:cubicBezTo>
                  <a:cubicBezTo>
                    <a:pt x="12" y="9"/>
                    <a:pt x="6" y="11"/>
                    <a:pt x="3" y="16"/>
                  </a:cubicBezTo>
                  <a:cubicBezTo>
                    <a:pt x="0" y="21"/>
                    <a:pt x="2" y="28"/>
                    <a:pt x="7" y="31"/>
                  </a:cubicBezTo>
                  <a:cubicBezTo>
                    <a:pt x="9" y="32"/>
                    <a:pt x="9" y="32"/>
                    <a:pt x="9" y="32"/>
                  </a:cubicBezTo>
                  <a:cubicBezTo>
                    <a:pt x="7" y="34"/>
                    <a:pt x="7" y="34"/>
                    <a:pt x="7" y="34"/>
                  </a:cubicBezTo>
                  <a:cubicBezTo>
                    <a:pt x="2" y="37"/>
                    <a:pt x="0" y="43"/>
                    <a:pt x="3" y="48"/>
                  </a:cubicBezTo>
                  <a:cubicBezTo>
                    <a:pt x="5" y="52"/>
                    <a:pt x="9" y="54"/>
                    <a:pt x="12" y="54"/>
                  </a:cubicBezTo>
                  <a:cubicBezTo>
                    <a:pt x="14" y="54"/>
                    <a:pt x="16" y="53"/>
                    <a:pt x="18" y="52"/>
                  </a:cubicBezTo>
                  <a:cubicBezTo>
                    <a:pt x="20" y="51"/>
                    <a:pt x="20" y="51"/>
                    <a:pt x="20" y="51"/>
                  </a:cubicBezTo>
                  <a:cubicBezTo>
                    <a:pt x="20" y="54"/>
                    <a:pt x="20" y="54"/>
                    <a:pt x="20" y="54"/>
                  </a:cubicBezTo>
                  <a:cubicBezTo>
                    <a:pt x="20" y="60"/>
                    <a:pt x="25" y="64"/>
                    <a:pt x="31" y="64"/>
                  </a:cubicBezTo>
                  <a:cubicBezTo>
                    <a:pt x="37" y="64"/>
                    <a:pt x="41" y="60"/>
                    <a:pt x="41" y="54"/>
                  </a:cubicBezTo>
                  <a:cubicBezTo>
                    <a:pt x="41" y="51"/>
                    <a:pt x="41" y="51"/>
                    <a:pt x="41" y="51"/>
                  </a:cubicBezTo>
                  <a:cubicBezTo>
                    <a:pt x="44" y="52"/>
                    <a:pt x="44" y="52"/>
                    <a:pt x="44" y="52"/>
                  </a:cubicBezTo>
                  <a:cubicBezTo>
                    <a:pt x="45" y="53"/>
                    <a:pt x="47" y="54"/>
                    <a:pt x="49" y="54"/>
                  </a:cubicBezTo>
                  <a:cubicBezTo>
                    <a:pt x="53" y="54"/>
                    <a:pt x="56" y="52"/>
                    <a:pt x="58" y="48"/>
                  </a:cubicBezTo>
                  <a:cubicBezTo>
                    <a:pt x="61" y="43"/>
                    <a:pt x="60" y="37"/>
                    <a:pt x="54" y="34"/>
                  </a:cubicBezTo>
                  <a:cubicBezTo>
                    <a:pt x="52" y="32"/>
                    <a:pt x="52" y="32"/>
                    <a:pt x="52" y="32"/>
                  </a:cubicBezTo>
                  <a:cubicBezTo>
                    <a:pt x="54" y="31"/>
                    <a:pt x="54" y="31"/>
                    <a:pt x="54" y="31"/>
                  </a:cubicBezTo>
                  <a:cubicBezTo>
                    <a:pt x="60" y="28"/>
                    <a:pt x="61" y="21"/>
                    <a:pt x="58"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3" name="Freeform 170">
              <a:extLst>
                <a:ext uri="{FF2B5EF4-FFF2-40B4-BE49-F238E27FC236}">
                  <a16:creationId xmlns:a16="http://schemas.microsoft.com/office/drawing/2014/main" id="{3491C225-174E-439D-A8CA-85700E84DC4A}"/>
                </a:ext>
              </a:extLst>
            </p:cNvPr>
            <p:cNvSpPr>
              <a:spLocks/>
            </p:cNvSpPr>
            <p:nvPr/>
          </p:nvSpPr>
          <p:spPr bwMode="auto">
            <a:xfrm>
              <a:off x="2147" y="590"/>
              <a:ext cx="41" cy="43"/>
            </a:xfrm>
            <a:custGeom>
              <a:avLst/>
              <a:gdLst>
                <a:gd name="T0" fmla="*/ 55 w 62"/>
                <a:gd name="T1" fmla="*/ 33 h 64"/>
                <a:gd name="T2" fmla="*/ 52 w 62"/>
                <a:gd name="T3" fmla="*/ 32 h 64"/>
                <a:gd name="T4" fmla="*/ 55 w 62"/>
                <a:gd name="T5" fmla="*/ 31 h 64"/>
                <a:gd name="T6" fmla="*/ 59 w 62"/>
                <a:gd name="T7" fmla="*/ 16 h 64"/>
                <a:gd name="T8" fmla="*/ 44 w 62"/>
                <a:gd name="T9" fmla="*/ 12 h 64"/>
                <a:gd name="T10" fmla="*/ 42 w 62"/>
                <a:gd name="T11" fmla="*/ 14 h 64"/>
                <a:gd name="T12" fmla="*/ 42 w 62"/>
                <a:gd name="T13" fmla="*/ 11 h 64"/>
                <a:gd name="T14" fmla="*/ 31 w 62"/>
                <a:gd name="T15" fmla="*/ 0 h 64"/>
                <a:gd name="T16" fmla="*/ 20 w 62"/>
                <a:gd name="T17" fmla="*/ 11 h 64"/>
                <a:gd name="T18" fmla="*/ 20 w 62"/>
                <a:gd name="T19" fmla="*/ 14 h 64"/>
                <a:gd name="T20" fmla="*/ 18 w 62"/>
                <a:gd name="T21" fmla="*/ 12 h 64"/>
                <a:gd name="T22" fmla="*/ 3 w 62"/>
                <a:gd name="T23" fmla="*/ 16 h 64"/>
                <a:gd name="T24" fmla="*/ 7 w 62"/>
                <a:gd name="T25" fmla="*/ 31 h 64"/>
                <a:gd name="T26" fmla="*/ 10 w 62"/>
                <a:gd name="T27" fmla="*/ 32 h 64"/>
                <a:gd name="T28" fmla="*/ 7 w 62"/>
                <a:gd name="T29" fmla="*/ 33 h 64"/>
                <a:gd name="T30" fmla="*/ 3 w 62"/>
                <a:gd name="T31" fmla="*/ 48 h 64"/>
                <a:gd name="T32" fmla="*/ 13 w 62"/>
                <a:gd name="T33" fmla="*/ 53 h 64"/>
                <a:gd name="T34" fmla="*/ 18 w 62"/>
                <a:gd name="T35" fmla="*/ 52 h 64"/>
                <a:gd name="T36" fmla="*/ 20 w 62"/>
                <a:gd name="T37" fmla="*/ 50 h 64"/>
                <a:gd name="T38" fmla="*/ 20 w 62"/>
                <a:gd name="T39" fmla="*/ 53 h 64"/>
                <a:gd name="T40" fmla="*/ 31 w 62"/>
                <a:gd name="T41" fmla="*/ 64 h 64"/>
                <a:gd name="T42" fmla="*/ 42 w 62"/>
                <a:gd name="T43" fmla="*/ 53 h 64"/>
                <a:gd name="T44" fmla="*/ 42 w 62"/>
                <a:gd name="T45" fmla="*/ 50 h 64"/>
                <a:gd name="T46" fmla="*/ 44 w 62"/>
                <a:gd name="T47" fmla="*/ 52 h 64"/>
                <a:gd name="T48" fmla="*/ 49 w 62"/>
                <a:gd name="T49" fmla="*/ 53 h 64"/>
                <a:gd name="T50" fmla="*/ 59 w 62"/>
                <a:gd name="T51" fmla="*/ 48 h 64"/>
                <a:gd name="T52" fmla="*/ 55 w 62"/>
                <a:gd name="T5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 h="64">
                  <a:moveTo>
                    <a:pt x="55" y="33"/>
                  </a:moveTo>
                  <a:cubicBezTo>
                    <a:pt x="52" y="32"/>
                    <a:pt x="52" y="32"/>
                    <a:pt x="52" y="32"/>
                  </a:cubicBezTo>
                  <a:cubicBezTo>
                    <a:pt x="55" y="31"/>
                    <a:pt x="55" y="31"/>
                    <a:pt x="55" y="31"/>
                  </a:cubicBezTo>
                  <a:cubicBezTo>
                    <a:pt x="60" y="28"/>
                    <a:pt x="62" y="21"/>
                    <a:pt x="59" y="16"/>
                  </a:cubicBezTo>
                  <a:cubicBezTo>
                    <a:pt x="56" y="11"/>
                    <a:pt x="49" y="9"/>
                    <a:pt x="44" y="12"/>
                  </a:cubicBezTo>
                  <a:cubicBezTo>
                    <a:pt x="42" y="14"/>
                    <a:pt x="42" y="14"/>
                    <a:pt x="42" y="14"/>
                  </a:cubicBezTo>
                  <a:cubicBezTo>
                    <a:pt x="42" y="11"/>
                    <a:pt x="42" y="11"/>
                    <a:pt x="42" y="11"/>
                  </a:cubicBezTo>
                  <a:cubicBezTo>
                    <a:pt x="42" y="5"/>
                    <a:pt x="37" y="0"/>
                    <a:pt x="31" y="0"/>
                  </a:cubicBezTo>
                  <a:cubicBezTo>
                    <a:pt x="25" y="0"/>
                    <a:pt x="20" y="5"/>
                    <a:pt x="20" y="11"/>
                  </a:cubicBezTo>
                  <a:cubicBezTo>
                    <a:pt x="20" y="14"/>
                    <a:pt x="20" y="14"/>
                    <a:pt x="20" y="14"/>
                  </a:cubicBezTo>
                  <a:cubicBezTo>
                    <a:pt x="18" y="12"/>
                    <a:pt x="18" y="12"/>
                    <a:pt x="18" y="12"/>
                  </a:cubicBezTo>
                  <a:cubicBezTo>
                    <a:pt x="13" y="9"/>
                    <a:pt x="6" y="11"/>
                    <a:pt x="3" y="16"/>
                  </a:cubicBezTo>
                  <a:cubicBezTo>
                    <a:pt x="0" y="21"/>
                    <a:pt x="2" y="28"/>
                    <a:pt x="7" y="31"/>
                  </a:cubicBezTo>
                  <a:cubicBezTo>
                    <a:pt x="10" y="32"/>
                    <a:pt x="10" y="32"/>
                    <a:pt x="10" y="32"/>
                  </a:cubicBezTo>
                  <a:cubicBezTo>
                    <a:pt x="7" y="33"/>
                    <a:pt x="7" y="33"/>
                    <a:pt x="7" y="33"/>
                  </a:cubicBezTo>
                  <a:cubicBezTo>
                    <a:pt x="2" y="36"/>
                    <a:pt x="0" y="43"/>
                    <a:pt x="3" y="48"/>
                  </a:cubicBezTo>
                  <a:cubicBezTo>
                    <a:pt x="5" y="51"/>
                    <a:pt x="9" y="53"/>
                    <a:pt x="13" y="53"/>
                  </a:cubicBezTo>
                  <a:cubicBezTo>
                    <a:pt x="14" y="53"/>
                    <a:pt x="16" y="53"/>
                    <a:pt x="18" y="52"/>
                  </a:cubicBezTo>
                  <a:cubicBezTo>
                    <a:pt x="20" y="50"/>
                    <a:pt x="20" y="50"/>
                    <a:pt x="20" y="50"/>
                  </a:cubicBezTo>
                  <a:cubicBezTo>
                    <a:pt x="20" y="53"/>
                    <a:pt x="20" y="53"/>
                    <a:pt x="20" y="53"/>
                  </a:cubicBezTo>
                  <a:cubicBezTo>
                    <a:pt x="20" y="59"/>
                    <a:pt x="25" y="64"/>
                    <a:pt x="31" y="64"/>
                  </a:cubicBezTo>
                  <a:cubicBezTo>
                    <a:pt x="37" y="64"/>
                    <a:pt x="42" y="59"/>
                    <a:pt x="42" y="53"/>
                  </a:cubicBezTo>
                  <a:cubicBezTo>
                    <a:pt x="42" y="50"/>
                    <a:pt x="42" y="50"/>
                    <a:pt x="42" y="50"/>
                  </a:cubicBezTo>
                  <a:cubicBezTo>
                    <a:pt x="44" y="52"/>
                    <a:pt x="44" y="52"/>
                    <a:pt x="44" y="52"/>
                  </a:cubicBezTo>
                  <a:cubicBezTo>
                    <a:pt x="46" y="53"/>
                    <a:pt x="48" y="53"/>
                    <a:pt x="49" y="53"/>
                  </a:cubicBezTo>
                  <a:cubicBezTo>
                    <a:pt x="53" y="53"/>
                    <a:pt x="57" y="51"/>
                    <a:pt x="59" y="48"/>
                  </a:cubicBezTo>
                  <a:cubicBezTo>
                    <a:pt x="62" y="43"/>
                    <a:pt x="60" y="36"/>
                    <a:pt x="55" y="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4" name="Freeform 171">
              <a:extLst>
                <a:ext uri="{FF2B5EF4-FFF2-40B4-BE49-F238E27FC236}">
                  <a16:creationId xmlns:a16="http://schemas.microsoft.com/office/drawing/2014/main" id="{CF8E41AA-C5D3-44AF-BD1A-7452041FA83F}"/>
                </a:ext>
              </a:extLst>
            </p:cNvPr>
            <p:cNvSpPr>
              <a:spLocks/>
            </p:cNvSpPr>
            <p:nvPr/>
          </p:nvSpPr>
          <p:spPr bwMode="auto">
            <a:xfrm>
              <a:off x="2034" y="597"/>
              <a:ext cx="40" cy="43"/>
            </a:xfrm>
            <a:custGeom>
              <a:avLst/>
              <a:gdLst>
                <a:gd name="T0" fmla="*/ 58 w 61"/>
                <a:gd name="T1" fmla="*/ 16 h 64"/>
                <a:gd name="T2" fmla="*/ 43 w 61"/>
                <a:gd name="T3" fmla="*/ 12 h 64"/>
                <a:gd name="T4" fmla="*/ 41 w 61"/>
                <a:gd name="T5" fmla="*/ 13 h 64"/>
                <a:gd name="T6" fmla="*/ 41 w 61"/>
                <a:gd name="T7" fmla="*/ 10 h 64"/>
                <a:gd name="T8" fmla="*/ 30 w 61"/>
                <a:gd name="T9" fmla="*/ 0 h 64"/>
                <a:gd name="T10" fmla="*/ 20 w 61"/>
                <a:gd name="T11" fmla="*/ 10 h 64"/>
                <a:gd name="T12" fmla="*/ 20 w 61"/>
                <a:gd name="T13" fmla="*/ 13 h 64"/>
                <a:gd name="T14" fmla="*/ 17 w 61"/>
                <a:gd name="T15" fmla="*/ 12 h 64"/>
                <a:gd name="T16" fmla="*/ 3 w 61"/>
                <a:gd name="T17" fmla="*/ 16 h 64"/>
                <a:gd name="T18" fmla="*/ 7 w 61"/>
                <a:gd name="T19" fmla="*/ 30 h 64"/>
                <a:gd name="T20" fmla="*/ 9 w 61"/>
                <a:gd name="T21" fmla="*/ 32 h 64"/>
                <a:gd name="T22" fmla="*/ 7 w 61"/>
                <a:gd name="T23" fmla="*/ 33 h 64"/>
                <a:gd name="T24" fmla="*/ 3 w 61"/>
                <a:gd name="T25" fmla="*/ 48 h 64"/>
                <a:gd name="T26" fmla="*/ 12 w 61"/>
                <a:gd name="T27" fmla="*/ 53 h 64"/>
                <a:gd name="T28" fmla="*/ 17 w 61"/>
                <a:gd name="T29" fmla="*/ 52 h 64"/>
                <a:gd name="T30" fmla="*/ 20 w 61"/>
                <a:gd name="T31" fmla="*/ 50 h 64"/>
                <a:gd name="T32" fmla="*/ 20 w 61"/>
                <a:gd name="T33" fmla="*/ 53 h 64"/>
                <a:gd name="T34" fmla="*/ 30 w 61"/>
                <a:gd name="T35" fmla="*/ 64 h 64"/>
                <a:gd name="T36" fmla="*/ 41 w 61"/>
                <a:gd name="T37" fmla="*/ 53 h 64"/>
                <a:gd name="T38" fmla="*/ 41 w 61"/>
                <a:gd name="T39" fmla="*/ 50 h 64"/>
                <a:gd name="T40" fmla="*/ 43 w 61"/>
                <a:gd name="T41" fmla="*/ 52 h 64"/>
                <a:gd name="T42" fmla="*/ 49 w 61"/>
                <a:gd name="T43" fmla="*/ 53 h 64"/>
                <a:gd name="T44" fmla="*/ 58 w 61"/>
                <a:gd name="T45" fmla="*/ 48 h 64"/>
                <a:gd name="T46" fmla="*/ 54 w 61"/>
                <a:gd name="T47" fmla="*/ 33 h 64"/>
                <a:gd name="T48" fmla="*/ 52 w 61"/>
                <a:gd name="T49" fmla="*/ 32 h 64"/>
                <a:gd name="T50" fmla="*/ 54 w 61"/>
                <a:gd name="T51" fmla="*/ 30 h 64"/>
                <a:gd name="T52" fmla="*/ 58 w 61"/>
                <a:gd name="T5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4">
                  <a:moveTo>
                    <a:pt x="58" y="16"/>
                  </a:moveTo>
                  <a:cubicBezTo>
                    <a:pt x="55" y="11"/>
                    <a:pt x="49" y="9"/>
                    <a:pt x="43" y="12"/>
                  </a:cubicBezTo>
                  <a:cubicBezTo>
                    <a:pt x="41" y="13"/>
                    <a:pt x="41" y="13"/>
                    <a:pt x="41" y="13"/>
                  </a:cubicBezTo>
                  <a:cubicBezTo>
                    <a:pt x="41" y="10"/>
                    <a:pt x="41" y="10"/>
                    <a:pt x="41" y="10"/>
                  </a:cubicBezTo>
                  <a:cubicBezTo>
                    <a:pt x="41" y="4"/>
                    <a:pt x="36" y="0"/>
                    <a:pt x="30" y="0"/>
                  </a:cubicBezTo>
                  <a:cubicBezTo>
                    <a:pt x="24" y="0"/>
                    <a:pt x="20" y="4"/>
                    <a:pt x="20" y="10"/>
                  </a:cubicBezTo>
                  <a:cubicBezTo>
                    <a:pt x="20" y="13"/>
                    <a:pt x="20" y="13"/>
                    <a:pt x="20" y="13"/>
                  </a:cubicBezTo>
                  <a:cubicBezTo>
                    <a:pt x="17" y="12"/>
                    <a:pt x="17" y="12"/>
                    <a:pt x="17" y="12"/>
                  </a:cubicBezTo>
                  <a:cubicBezTo>
                    <a:pt x="12" y="9"/>
                    <a:pt x="6" y="11"/>
                    <a:pt x="3" y="16"/>
                  </a:cubicBezTo>
                  <a:cubicBezTo>
                    <a:pt x="0" y="21"/>
                    <a:pt x="1" y="27"/>
                    <a:pt x="7" y="30"/>
                  </a:cubicBezTo>
                  <a:cubicBezTo>
                    <a:pt x="9" y="32"/>
                    <a:pt x="9" y="32"/>
                    <a:pt x="9" y="32"/>
                  </a:cubicBezTo>
                  <a:cubicBezTo>
                    <a:pt x="7" y="33"/>
                    <a:pt x="7" y="33"/>
                    <a:pt x="7" y="33"/>
                  </a:cubicBezTo>
                  <a:cubicBezTo>
                    <a:pt x="1" y="36"/>
                    <a:pt x="0" y="43"/>
                    <a:pt x="3" y="48"/>
                  </a:cubicBezTo>
                  <a:cubicBezTo>
                    <a:pt x="5" y="51"/>
                    <a:pt x="8" y="53"/>
                    <a:pt x="12" y="53"/>
                  </a:cubicBezTo>
                  <a:cubicBezTo>
                    <a:pt x="14" y="53"/>
                    <a:pt x="16" y="53"/>
                    <a:pt x="17" y="52"/>
                  </a:cubicBezTo>
                  <a:cubicBezTo>
                    <a:pt x="20" y="50"/>
                    <a:pt x="20" y="50"/>
                    <a:pt x="20" y="50"/>
                  </a:cubicBezTo>
                  <a:cubicBezTo>
                    <a:pt x="20" y="53"/>
                    <a:pt x="20" y="53"/>
                    <a:pt x="20" y="53"/>
                  </a:cubicBezTo>
                  <a:cubicBezTo>
                    <a:pt x="20" y="59"/>
                    <a:pt x="24" y="64"/>
                    <a:pt x="30" y="64"/>
                  </a:cubicBezTo>
                  <a:cubicBezTo>
                    <a:pt x="36" y="64"/>
                    <a:pt x="41" y="59"/>
                    <a:pt x="41" y="53"/>
                  </a:cubicBezTo>
                  <a:cubicBezTo>
                    <a:pt x="41" y="50"/>
                    <a:pt x="41" y="50"/>
                    <a:pt x="41" y="50"/>
                  </a:cubicBezTo>
                  <a:cubicBezTo>
                    <a:pt x="43" y="52"/>
                    <a:pt x="43" y="52"/>
                    <a:pt x="43" y="52"/>
                  </a:cubicBezTo>
                  <a:cubicBezTo>
                    <a:pt x="45" y="53"/>
                    <a:pt x="47" y="53"/>
                    <a:pt x="49" y="53"/>
                  </a:cubicBezTo>
                  <a:cubicBezTo>
                    <a:pt x="52" y="53"/>
                    <a:pt x="56" y="51"/>
                    <a:pt x="58" y="48"/>
                  </a:cubicBezTo>
                  <a:cubicBezTo>
                    <a:pt x="61" y="43"/>
                    <a:pt x="59" y="36"/>
                    <a:pt x="54" y="33"/>
                  </a:cubicBezTo>
                  <a:cubicBezTo>
                    <a:pt x="52" y="32"/>
                    <a:pt x="52" y="32"/>
                    <a:pt x="52" y="32"/>
                  </a:cubicBezTo>
                  <a:cubicBezTo>
                    <a:pt x="54" y="30"/>
                    <a:pt x="54" y="30"/>
                    <a:pt x="54" y="30"/>
                  </a:cubicBezTo>
                  <a:cubicBezTo>
                    <a:pt x="59" y="27"/>
                    <a:pt x="61" y="21"/>
                    <a:pt x="58"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5" name="Freeform 172">
              <a:extLst>
                <a:ext uri="{FF2B5EF4-FFF2-40B4-BE49-F238E27FC236}">
                  <a16:creationId xmlns:a16="http://schemas.microsoft.com/office/drawing/2014/main" id="{294F85A4-9C31-4263-8D6A-F812A357940A}"/>
                </a:ext>
              </a:extLst>
            </p:cNvPr>
            <p:cNvSpPr>
              <a:spLocks noEditPoints="1"/>
            </p:cNvSpPr>
            <p:nvPr/>
          </p:nvSpPr>
          <p:spPr bwMode="auto">
            <a:xfrm>
              <a:off x="2005" y="449"/>
              <a:ext cx="212" cy="127"/>
            </a:xfrm>
            <a:custGeom>
              <a:avLst/>
              <a:gdLst>
                <a:gd name="T0" fmla="*/ 266 w 320"/>
                <a:gd name="T1" fmla="*/ 192 h 192"/>
                <a:gd name="T2" fmla="*/ 71 w 320"/>
                <a:gd name="T3" fmla="*/ 192 h 192"/>
                <a:gd name="T4" fmla="*/ 0 w 320"/>
                <a:gd name="T5" fmla="*/ 121 h 192"/>
                <a:gd name="T6" fmla="*/ 71 w 320"/>
                <a:gd name="T7" fmla="*/ 50 h 192"/>
                <a:gd name="T8" fmla="*/ 94 w 320"/>
                <a:gd name="T9" fmla="*/ 55 h 192"/>
                <a:gd name="T10" fmla="*/ 176 w 320"/>
                <a:gd name="T11" fmla="*/ 0 h 192"/>
                <a:gd name="T12" fmla="*/ 262 w 320"/>
                <a:gd name="T13" fmla="*/ 85 h 192"/>
                <a:gd name="T14" fmla="*/ 266 w 320"/>
                <a:gd name="T15" fmla="*/ 85 h 192"/>
                <a:gd name="T16" fmla="*/ 320 w 320"/>
                <a:gd name="T17" fmla="*/ 138 h 192"/>
                <a:gd name="T18" fmla="*/ 266 w 320"/>
                <a:gd name="T19" fmla="*/ 192 h 192"/>
                <a:gd name="T20" fmla="*/ 71 w 320"/>
                <a:gd name="T21" fmla="*/ 71 h 192"/>
                <a:gd name="T22" fmla="*/ 21 w 320"/>
                <a:gd name="T23" fmla="*/ 121 h 192"/>
                <a:gd name="T24" fmla="*/ 71 w 320"/>
                <a:gd name="T25" fmla="*/ 170 h 192"/>
                <a:gd name="T26" fmla="*/ 266 w 320"/>
                <a:gd name="T27" fmla="*/ 170 h 192"/>
                <a:gd name="T28" fmla="*/ 298 w 320"/>
                <a:gd name="T29" fmla="*/ 138 h 192"/>
                <a:gd name="T30" fmla="*/ 266 w 320"/>
                <a:gd name="T31" fmla="*/ 106 h 192"/>
                <a:gd name="T32" fmla="*/ 259 w 320"/>
                <a:gd name="T33" fmla="*/ 107 h 192"/>
                <a:gd name="T34" fmla="*/ 258 w 320"/>
                <a:gd name="T35" fmla="*/ 108 h 192"/>
                <a:gd name="T36" fmla="*/ 245 w 320"/>
                <a:gd name="T37" fmla="*/ 111 h 192"/>
                <a:gd name="T38" fmla="*/ 239 w 320"/>
                <a:gd name="T39" fmla="*/ 99 h 192"/>
                <a:gd name="T40" fmla="*/ 240 w 320"/>
                <a:gd name="T41" fmla="*/ 94 h 192"/>
                <a:gd name="T42" fmla="*/ 241 w 320"/>
                <a:gd name="T43" fmla="*/ 86 h 192"/>
                <a:gd name="T44" fmla="*/ 176 w 320"/>
                <a:gd name="T45" fmla="*/ 21 h 192"/>
                <a:gd name="T46" fmla="*/ 111 w 320"/>
                <a:gd name="T47" fmla="*/ 73 h 192"/>
                <a:gd name="T48" fmla="*/ 105 w 320"/>
                <a:gd name="T49" fmla="*/ 80 h 192"/>
                <a:gd name="T50" fmla="*/ 95 w 320"/>
                <a:gd name="T51" fmla="*/ 79 h 192"/>
                <a:gd name="T52" fmla="*/ 71 w 320"/>
                <a:gd name="T53" fmla="*/ 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192"/>
                  </a:moveTo>
                  <a:cubicBezTo>
                    <a:pt x="71" y="192"/>
                    <a:pt x="71" y="192"/>
                    <a:pt x="71" y="192"/>
                  </a:cubicBezTo>
                  <a:cubicBezTo>
                    <a:pt x="31" y="192"/>
                    <a:pt x="0" y="160"/>
                    <a:pt x="0" y="121"/>
                  </a:cubicBezTo>
                  <a:cubicBezTo>
                    <a:pt x="0" y="82"/>
                    <a:pt x="31" y="50"/>
                    <a:pt x="71" y="50"/>
                  </a:cubicBezTo>
                  <a:cubicBezTo>
                    <a:pt x="80" y="50"/>
                    <a:pt x="87" y="52"/>
                    <a:pt x="94" y="55"/>
                  </a:cubicBezTo>
                  <a:cubicBezTo>
                    <a:pt x="107" y="22"/>
                    <a:pt x="139" y="0"/>
                    <a:pt x="176" y="0"/>
                  </a:cubicBezTo>
                  <a:cubicBezTo>
                    <a:pt x="223" y="0"/>
                    <a:pt x="262" y="38"/>
                    <a:pt x="262" y="85"/>
                  </a:cubicBezTo>
                  <a:cubicBezTo>
                    <a:pt x="263" y="85"/>
                    <a:pt x="264" y="85"/>
                    <a:pt x="266" y="85"/>
                  </a:cubicBezTo>
                  <a:cubicBezTo>
                    <a:pt x="296" y="85"/>
                    <a:pt x="320" y="109"/>
                    <a:pt x="320" y="138"/>
                  </a:cubicBezTo>
                  <a:cubicBezTo>
                    <a:pt x="320" y="168"/>
                    <a:pt x="296" y="192"/>
                    <a:pt x="266" y="192"/>
                  </a:cubicBezTo>
                  <a:close/>
                  <a:moveTo>
                    <a:pt x="71" y="71"/>
                  </a:moveTo>
                  <a:cubicBezTo>
                    <a:pt x="43" y="71"/>
                    <a:pt x="21" y="93"/>
                    <a:pt x="21" y="121"/>
                  </a:cubicBezTo>
                  <a:cubicBezTo>
                    <a:pt x="21" y="148"/>
                    <a:pt x="43" y="170"/>
                    <a:pt x="71" y="170"/>
                  </a:cubicBezTo>
                  <a:cubicBezTo>
                    <a:pt x="266" y="170"/>
                    <a:pt x="266" y="170"/>
                    <a:pt x="266" y="170"/>
                  </a:cubicBezTo>
                  <a:cubicBezTo>
                    <a:pt x="284" y="170"/>
                    <a:pt x="298" y="156"/>
                    <a:pt x="298" y="138"/>
                  </a:cubicBezTo>
                  <a:cubicBezTo>
                    <a:pt x="298" y="121"/>
                    <a:pt x="284" y="106"/>
                    <a:pt x="266" y="106"/>
                  </a:cubicBezTo>
                  <a:cubicBezTo>
                    <a:pt x="263" y="106"/>
                    <a:pt x="262" y="106"/>
                    <a:pt x="259" y="107"/>
                  </a:cubicBezTo>
                  <a:cubicBezTo>
                    <a:pt x="258" y="107"/>
                    <a:pt x="258" y="108"/>
                    <a:pt x="258" y="108"/>
                  </a:cubicBezTo>
                  <a:cubicBezTo>
                    <a:pt x="255" y="112"/>
                    <a:pt x="249" y="113"/>
                    <a:pt x="245" y="111"/>
                  </a:cubicBezTo>
                  <a:cubicBezTo>
                    <a:pt x="241" y="108"/>
                    <a:pt x="238" y="103"/>
                    <a:pt x="239" y="99"/>
                  </a:cubicBezTo>
                  <a:cubicBezTo>
                    <a:pt x="240" y="97"/>
                    <a:pt x="240" y="96"/>
                    <a:pt x="240" y="94"/>
                  </a:cubicBezTo>
                  <a:cubicBezTo>
                    <a:pt x="240" y="91"/>
                    <a:pt x="241" y="89"/>
                    <a:pt x="241" y="86"/>
                  </a:cubicBezTo>
                  <a:cubicBezTo>
                    <a:pt x="241" y="50"/>
                    <a:pt x="212" y="21"/>
                    <a:pt x="176" y="21"/>
                  </a:cubicBezTo>
                  <a:cubicBezTo>
                    <a:pt x="145" y="21"/>
                    <a:pt x="117" y="43"/>
                    <a:pt x="111" y="73"/>
                  </a:cubicBezTo>
                  <a:cubicBezTo>
                    <a:pt x="110" y="76"/>
                    <a:pt x="108" y="79"/>
                    <a:pt x="105" y="80"/>
                  </a:cubicBezTo>
                  <a:cubicBezTo>
                    <a:pt x="101" y="82"/>
                    <a:pt x="98" y="81"/>
                    <a:pt x="95" y="79"/>
                  </a:cubicBezTo>
                  <a:cubicBezTo>
                    <a:pt x="87" y="74"/>
                    <a:pt x="80" y="71"/>
                    <a:pt x="71" y="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6" name="Freeform 176">
            <a:extLst>
              <a:ext uri="{FF2B5EF4-FFF2-40B4-BE49-F238E27FC236}">
                <a16:creationId xmlns:a16="http://schemas.microsoft.com/office/drawing/2014/main" id="{6878F1AA-122C-4327-B26D-BF80D704AE10}"/>
              </a:ext>
            </a:extLst>
          </p:cNvPr>
          <p:cNvSpPr>
            <a:spLocks noChangeAspect="1" noEditPoints="1"/>
          </p:cNvSpPr>
          <p:nvPr/>
        </p:nvSpPr>
        <p:spPr bwMode="auto">
          <a:xfrm>
            <a:off x="6560821" y="1700213"/>
            <a:ext cx="370763" cy="369676"/>
          </a:xfrm>
          <a:custGeom>
            <a:avLst/>
            <a:gdLst>
              <a:gd name="T0" fmla="*/ 362 w 512"/>
              <a:gd name="T1" fmla="*/ 266 h 512"/>
              <a:gd name="T2" fmla="*/ 117 w 512"/>
              <a:gd name="T3" fmla="*/ 217 h 512"/>
              <a:gd name="T4" fmla="*/ 191 w 512"/>
              <a:gd name="T5" fmla="*/ 175 h 512"/>
              <a:gd name="T6" fmla="*/ 207 w 512"/>
              <a:gd name="T7" fmla="*/ 169 h 512"/>
              <a:gd name="T8" fmla="*/ 337 w 512"/>
              <a:gd name="T9" fmla="*/ 182 h 512"/>
              <a:gd name="T10" fmla="*/ 335 w 512"/>
              <a:gd name="T11" fmla="*/ 195 h 512"/>
              <a:gd name="T12" fmla="*/ 354 w 512"/>
              <a:gd name="T13" fmla="*/ 204 h 512"/>
              <a:gd name="T14" fmla="*/ 362 w 512"/>
              <a:gd name="T15" fmla="*/ 202 h 512"/>
              <a:gd name="T16" fmla="*/ 512 w 512"/>
              <a:gd name="T17" fmla="*/ 256 h 512"/>
              <a:gd name="T18" fmla="*/ 0 w 512"/>
              <a:gd name="T19" fmla="*/ 256 h 512"/>
              <a:gd name="T20" fmla="*/ 512 w 512"/>
              <a:gd name="T21" fmla="*/ 256 h 512"/>
              <a:gd name="T22" fmla="*/ 194 w 512"/>
              <a:gd name="T23" fmla="*/ 350 h 512"/>
              <a:gd name="T24" fmla="*/ 183 w 512"/>
              <a:gd name="T25" fmla="*/ 332 h 512"/>
              <a:gd name="T26" fmla="*/ 181 w 512"/>
              <a:gd name="T27" fmla="*/ 330 h 512"/>
              <a:gd name="T28" fmla="*/ 160 w 512"/>
              <a:gd name="T29" fmla="*/ 330 h 512"/>
              <a:gd name="T30" fmla="*/ 157 w 512"/>
              <a:gd name="T31" fmla="*/ 332 h 512"/>
              <a:gd name="T32" fmla="*/ 147 w 512"/>
              <a:gd name="T33" fmla="*/ 350 h 512"/>
              <a:gd name="T34" fmla="*/ 147 w 512"/>
              <a:gd name="T35" fmla="*/ 353 h 512"/>
              <a:gd name="T36" fmla="*/ 152 w 512"/>
              <a:gd name="T37" fmla="*/ 373 h 512"/>
              <a:gd name="T38" fmla="*/ 160 w 512"/>
              <a:gd name="T39" fmla="*/ 370 h 512"/>
              <a:gd name="T40" fmla="*/ 170 w 512"/>
              <a:gd name="T41" fmla="*/ 384 h 512"/>
              <a:gd name="T42" fmla="*/ 181 w 512"/>
              <a:gd name="T43" fmla="*/ 370 h 512"/>
              <a:gd name="T44" fmla="*/ 189 w 512"/>
              <a:gd name="T45" fmla="*/ 373 h 512"/>
              <a:gd name="T46" fmla="*/ 194 w 512"/>
              <a:gd name="T47" fmla="*/ 353 h 512"/>
              <a:gd name="T48" fmla="*/ 277 w 512"/>
              <a:gd name="T49" fmla="*/ 394 h 512"/>
              <a:gd name="T50" fmla="*/ 283 w 512"/>
              <a:gd name="T51" fmla="*/ 378 h 512"/>
              <a:gd name="T52" fmla="*/ 266 w 512"/>
              <a:gd name="T53" fmla="*/ 376 h 512"/>
              <a:gd name="T54" fmla="*/ 256 w 512"/>
              <a:gd name="T55" fmla="*/ 362 h 512"/>
              <a:gd name="T56" fmla="*/ 245 w 512"/>
              <a:gd name="T57" fmla="*/ 376 h 512"/>
              <a:gd name="T58" fmla="*/ 228 w 512"/>
              <a:gd name="T59" fmla="*/ 378 h 512"/>
              <a:gd name="T60" fmla="*/ 234 w 512"/>
              <a:gd name="T61" fmla="*/ 394 h 512"/>
              <a:gd name="T62" fmla="*/ 228 w 512"/>
              <a:gd name="T63" fmla="*/ 410 h 512"/>
              <a:gd name="T64" fmla="*/ 243 w 512"/>
              <a:gd name="T65" fmla="*/ 414 h 512"/>
              <a:gd name="T66" fmla="*/ 245 w 512"/>
              <a:gd name="T67" fmla="*/ 416 h 512"/>
              <a:gd name="T68" fmla="*/ 266 w 512"/>
              <a:gd name="T69" fmla="*/ 416 h 512"/>
              <a:gd name="T70" fmla="*/ 269 w 512"/>
              <a:gd name="T71" fmla="*/ 414 h 512"/>
              <a:gd name="T72" fmla="*/ 283 w 512"/>
              <a:gd name="T73" fmla="*/ 410 h 512"/>
              <a:gd name="T74" fmla="*/ 277 w 512"/>
              <a:gd name="T75" fmla="*/ 394 h 512"/>
              <a:gd name="T76" fmla="*/ 365 w 512"/>
              <a:gd name="T77" fmla="*/ 340 h 512"/>
              <a:gd name="T78" fmla="*/ 354 w 512"/>
              <a:gd name="T79" fmla="*/ 321 h 512"/>
              <a:gd name="T80" fmla="*/ 352 w 512"/>
              <a:gd name="T81" fmla="*/ 320 h 512"/>
              <a:gd name="T82" fmla="*/ 330 w 512"/>
              <a:gd name="T83" fmla="*/ 320 h 512"/>
              <a:gd name="T84" fmla="*/ 328 w 512"/>
              <a:gd name="T85" fmla="*/ 321 h 512"/>
              <a:gd name="T86" fmla="*/ 317 w 512"/>
              <a:gd name="T87" fmla="*/ 340 h 512"/>
              <a:gd name="T88" fmla="*/ 317 w 512"/>
              <a:gd name="T89" fmla="*/ 342 h 512"/>
              <a:gd name="T90" fmla="*/ 323 w 512"/>
              <a:gd name="T91" fmla="*/ 362 h 512"/>
              <a:gd name="T92" fmla="*/ 330 w 512"/>
              <a:gd name="T93" fmla="*/ 359 h 512"/>
              <a:gd name="T94" fmla="*/ 341 w 512"/>
              <a:gd name="T95" fmla="*/ 373 h 512"/>
              <a:gd name="T96" fmla="*/ 352 w 512"/>
              <a:gd name="T97" fmla="*/ 359 h 512"/>
              <a:gd name="T98" fmla="*/ 359 w 512"/>
              <a:gd name="T99" fmla="*/ 362 h 512"/>
              <a:gd name="T100" fmla="*/ 365 w 512"/>
              <a:gd name="T101" fmla="*/ 342 h 512"/>
              <a:gd name="T102" fmla="*/ 416 w 512"/>
              <a:gd name="T103" fmla="*/ 234 h 512"/>
              <a:gd name="T104" fmla="*/ 358 w 512"/>
              <a:gd name="T105" fmla="*/ 181 h 512"/>
              <a:gd name="T106" fmla="*/ 190 w 512"/>
              <a:gd name="T107" fmla="*/ 151 h 512"/>
              <a:gd name="T108" fmla="*/ 96 w 512"/>
              <a:gd name="T109" fmla="*/ 217 h 512"/>
              <a:gd name="T110" fmla="*/ 362 w 512"/>
              <a:gd name="T111"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4" y="234"/>
                </a:moveTo>
                <a:cubicBezTo>
                  <a:pt x="394" y="252"/>
                  <a:pt x="380" y="266"/>
                  <a:pt x="362" y="266"/>
                </a:cubicBezTo>
                <a:cubicBezTo>
                  <a:pt x="167" y="266"/>
                  <a:pt x="167" y="266"/>
                  <a:pt x="167" y="266"/>
                </a:cubicBezTo>
                <a:cubicBezTo>
                  <a:pt x="139" y="266"/>
                  <a:pt x="117" y="244"/>
                  <a:pt x="117" y="217"/>
                </a:cubicBezTo>
                <a:cubicBezTo>
                  <a:pt x="117" y="189"/>
                  <a:pt x="139" y="167"/>
                  <a:pt x="167" y="167"/>
                </a:cubicBezTo>
                <a:cubicBezTo>
                  <a:pt x="176" y="167"/>
                  <a:pt x="183" y="170"/>
                  <a:pt x="191" y="175"/>
                </a:cubicBezTo>
                <a:cubicBezTo>
                  <a:pt x="194" y="177"/>
                  <a:pt x="197" y="178"/>
                  <a:pt x="201" y="176"/>
                </a:cubicBezTo>
                <a:cubicBezTo>
                  <a:pt x="204" y="175"/>
                  <a:pt x="206" y="172"/>
                  <a:pt x="207" y="169"/>
                </a:cubicBezTo>
                <a:cubicBezTo>
                  <a:pt x="213" y="139"/>
                  <a:pt x="241" y="117"/>
                  <a:pt x="272" y="117"/>
                </a:cubicBezTo>
                <a:cubicBezTo>
                  <a:pt x="308" y="117"/>
                  <a:pt x="337" y="146"/>
                  <a:pt x="337" y="182"/>
                </a:cubicBezTo>
                <a:cubicBezTo>
                  <a:pt x="337" y="185"/>
                  <a:pt x="336" y="187"/>
                  <a:pt x="336" y="190"/>
                </a:cubicBezTo>
                <a:cubicBezTo>
                  <a:pt x="336" y="192"/>
                  <a:pt x="336" y="193"/>
                  <a:pt x="335" y="195"/>
                </a:cubicBezTo>
                <a:cubicBezTo>
                  <a:pt x="334" y="199"/>
                  <a:pt x="337" y="204"/>
                  <a:pt x="341" y="207"/>
                </a:cubicBezTo>
                <a:cubicBezTo>
                  <a:pt x="345" y="209"/>
                  <a:pt x="351" y="208"/>
                  <a:pt x="354" y="204"/>
                </a:cubicBezTo>
                <a:cubicBezTo>
                  <a:pt x="354" y="204"/>
                  <a:pt x="354" y="203"/>
                  <a:pt x="355" y="203"/>
                </a:cubicBezTo>
                <a:cubicBezTo>
                  <a:pt x="358" y="202"/>
                  <a:pt x="359" y="202"/>
                  <a:pt x="362" y="202"/>
                </a:cubicBezTo>
                <a:cubicBezTo>
                  <a:pt x="380" y="202"/>
                  <a:pt x="394" y="217"/>
                  <a:pt x="394"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352"/>
                </a:moveTo>
                <a:cubicBezTo>
                  <a:pt x="194" y="350"/>
                  <a:pt x="194" y="350"/>
                  <a:pt x="194" y="350"/>
                </a:cubicBezTo>
                <a:cubicBezTo>
                  <a:pt x="199" y="347"/>
                  <a:pt x="201" y="341"/>
                  <a:pt x="198" y="336"/>
                </a:cubicBezTo>
                <a:cubicBezTo>
                  <a:pt x="195" y="331"/>
                  <a:pt x="189" y="329"/>
                  <a:pt x="183" y="332"/>
                </a:cubicBezTo>
                <a:cubicBezTo>
                  <a:pt x="181" y="333"/>
                  <a:pt x="181" y="333"/>
                  <a:pt x="181" y="333"/>
                </a:cubicBezTo>
                <a:cubicBezTo>
                  <a:pt x="181" y="330"/>
                  <a:pt x="181" y="330"/>
                  <a:pt x="181" y="330"/>
                </a:cubicBezTo>
                <a:cubicBezTo>
                  <a:pt x="181" y="324"/>
                  <a:pt x="176" y="320"/>
                  <a:pt x="170" y="320"/>
                </a:cubicBezTo>
                <a:cubicBezTo>
                  <a:pt x="164" y="320"/>
                  <a:pt x="160" y="324"/>
                  <a:pt x="160" y="330"/>
                </a:cubicBezTo>
                <a:cubicBezTo>
                  <a:pt x="160" y="333"/>
                  <a:pt x="160" y="333"/>
                  <a:pt x="160" y="333"/>
                </a:cubicBezTo>
                <a:cubicBezTo>
                  <a:pt x="157" y="332"/>
                  <a:pt x="157" y="332"/>
                  <a:pt x="157" y="332"/>
                </a:cubicBezTo>
                <a:cubicBezTo>
                  <a:pt x="152" y="329"/>
                  <a:pt x="146" y="331"/>
                  <a:pt x="143" y="336"/>
                </a:cubicBezTo>
                <a:cubicBezTo>
                  <a:pt x="140" y="341"/>
                  <a:pt x="141" y="347"/>
                  <a:pt x="147" y="350"/>
                </a:cubicBezTo>
                <a:cubicBezTo>
                  <a:pt x="149" y="352"/>
                  <a:pt x="149" y="352"/>
                  <a:pt x="149" y="352"/>
                </a:cubicBezTo>
                <a:cubicBezTo>
                  <a:pt x="147" y="353"/>
                  <a:pt x="147" y="353"/>
                  <a:pt x="147" y="353"/>
                </a:cubicBezTo>
                <a:cubicBezTo>
                  <a:pt x="141" y="356"/>
                  <a:pt x="140" y="363"/>
                  <a:pt x="143" y="368"/>
                </a:cubicBezTo>
                <a:cubicBezTo>
                  <a:pt x="145" y="371"/>
                  <a:pt x="148" y="373"/>
                  <a:pt x="152" y="373"/>
                </a:cubicBezTo>
                <a:cubicBezTo>
                  <a:pt x="154" y="373"/>
                  <a:pt x="156" y="373"/>
                  <a:pt x="157" y="372"/>
                </a:cubicBezTo>
                <a:cubicBezTo>
                  <a:pt x="160" y="370"/>
                  <a:pt x="160" y="370"/>
                  <a:pt x="160" y="370"/>
                </a:cubicBezTo>
                <a:cubicBezTo>
                  <a:pt x="160" y="373"/>
                  <a:pt x="160" y="373"/>
                  <a:pt x="160" y="373"/>
                </a:cubicBezTo>
                <a:cubicBezTo>
                  <a:pt x="160" y="379"/>
                  <a:pt x="164" y="384"/>
                  <a:pt x="170" y="384"/>
                </a:cubicBezTo>
                <a:cubicBezTo>
                  <a:pt x="176" y="384"/>
                  <a:pt x="181" y="379"/>
                  <a:pt x="181" y="373"/>
                </a:cubicBezTo>
                <a:cubicBezTo>
                  <a:pt x="181" y="370"/>
                  <a:pt x="181" y="370"/>
                  <a:pt x="181" y="370"/>
                </a:cubicBezTo>
                <a:cubicBezTo>
                  <a:pt x="183" y="372"/>
                  <a:pt x="183" y="372"/>
                  <a:pt x="183" y="372"/>
                </a:cubicBezTo>
                <a:cubicBezTo>
                  <a:pt x="185" y="373"/>
                  <a:pt x="187" y="373"/>
                  <a:pt x="189" y="373"/>
                </a:cubicBezTo>
                <a:cubicBezTo>
                  <a:pt x="192" y="373"/>
                  <a:pt x="196" y="371"/>
                  <a:pt x="198" y="368"/>
                </a:cubicBezTo>
                <a:cubicBezTo>
                  <a:pt x="201" y="363"/>
                  <a:pt x="199" y="356"/>
                  <a:pt x="194" y="353"/>
                </a:cubicBezTo>
                <a:lnTo>
                  <a:pt x="192" y="352"/>
                </a:lnTo>
                <a:close/>
                <a:moveTo>
                  <a:pt x="277" y="394"/>
                </a:moveTo>
                <a:cubicBezTo>
                  <a:pt x="279" y="393"/>
                  <a:pt x="279" y="393"/>
                  <a:pt x="279" y="393"/>
                </a:cubicBezTo>
                <a:cubicBezTo>
                  <a:pt x="285" y="390"/>
                  <a:pt x="286" y="383"/>
                  <a:pt x="283" y="378"/>
                </a:cubicBezTo>
                <a:cubicBezTo>
                  <a:pt x="280" y="373"/>
                  <a:pt x="274" y="371"/>
                  <a:pt x="269" y="374"/>
                </a:cubicBezTo>
                <a:cubicBezTo>
                  <a:pt x="266" y="376"/>
                  <a:pt x="266" y="376"/>
                  <a:pt x="266" y="376"/>
                </a:cubicBezTo>
                <a:cubicBezTo>
                  <a:pt x="266" y="373"/>
                  <a:pt x="266" y="373"/>
                  <a:pt x="266" y="373"/>
                </a:cubicBezTo>
                <a:cubicBezTo>
                  <a:pt x="266" y="367"/>
                  <a:pt x="262" y="362"/>
                  <a:pt x="256" y="362"/>
                </a:cubicBezTo>
                <a:cubicBezTo>
                  <a:pt x="250" y="362"/>
                  <a:pt x="245" y="367"/>
                  <a:pt x="245" y="373"/>
                </a:cubicBezTo>
                <a:cubicBezTo>
                  <a:pt x="245" y="376"/>
                  <a:pt x="245" y="376"/>
                  <a:pt x="245" y="376"/>
                </a:cubicBezTo>
                <a:cubicBezTo>
                  <a:pt x="243" y="374"/>
                  <a:pt x="243" y="374"/>
                  <a:pt x="243" y="374"/>
                </a:cubicBezTo>
                <a:cubicBezTo>
                  <a:pt x="237" y="371"/>
                  <a:pt x="231" y="373"/>
                  <a:pt x="228" y="378"/>
                </a:cubicBezTo>
                <a:cubicBezTo>
                  <a:pt x="225" y="383"/>
                  <a:pt x="227" y="390"/>
                  <a:pt x="232" y="393"/>
                </a:cubicBezTo>
                <a:cubicBezTo>
                  <a:pt x="234" y="394"/>
                  <a:pt x="234" y="394"/>
                  <a:pt x="234" y="394"/>
                </a:cubicBezTo>
                <a:cubicBezTo>
                  <a:pt x="232" y="396"/>
                  <a:pt x="232" y="396"/>
                  <a:pt x="232" y="396"/>
                </a:cubicBezTo>
                <a:cubicBezTo>
                  <a:pt x="227" y="399"/>
                  <a:pt x="225" y="405"/>
                  <a:pt x="228" y="410"/>
                </a:cubicBezTo>
                <a:cubicBezTo>
                  <a:pt x="230" y="414"/>
                  <a:pt x="234" y="416"/>
                  <a:pt x="237" y="416"/>
                </a:cubicBezTo>
                <a:cubicBezTo>
                  <a:pt x="239" y="416"/>
                  <a:pt x="241" y="415"/>
                  <a:pt x="243" y="414"/>
                </a:cubicBezTo>
                <a:cubicBezTo>
                  <a:pt x="245" y="413"/>
                  <a:pt x="245" y="413"/>
                  <a:pt x="245" y="413"/>
                </a:cubicBezTo>
                <a:cubicBezTo>
                  <a:pt x="245" y="416"/>
                  <a:pt x="245" y="416"/>
                  <a:pt x="245" y="416"/>
                </a:cubicBezTo>
                <a:cubicBezTo>
                  <a:pt x="245" y="422"/>
                  <a:pt x="250" y="426"/>
                  <a:pt x="256" y="426"/>
                </a:cubicBezTo>
                <a:cubicBezTo>
                  <a:pt x="262" y="426"/>
                  <a:pt x="266" y="422"/>
                  <a:pt x="266" y="416"/>
                </a:cubicBezTo>
                <a:cubicBezTo>
                  <a:pt x="266" y="413"/>
                  <a:pt x="266" y="413"/>
                  <a:pt x="266" y="413"/>
                </a:cubicBezTo>
                <a:cubicBezTo>
                  <a:pt x="269" y="414"/>
                  <a:pt x="269" y="414"/>
                  <a:pt x="269" y="414"/>
                </a:cubicBezTo>
                <a:cubicBezTo>
                  <a:pt x="270" y="415"/>
                  <a:pt x="272" y="416"/>
                  <a:pt x="274" y="416"/>
                </a:cubicBezTo>
                <a:cubicBezTo>
                  <a:pt x="278" y="416"/>
                  <a:pt x="281" y="414"/>
                  <a:pt x="283" y="410"/>
                </a:cubicBezTo>
                <a:cubicBezTo>
                  <a:pt x="286" y="405"/>
                  <a:pt x="285" y="399"/>
                  <a:pt x="279" y="396"/>
                </a:cubicBezTo>
                <a:lnTo>
                  <a:pt x="277" y="394"/>
                </a:lnTo>
                <a:close/>
                <a:moveTo>
                  <a:pt x="362" y="341"/>
                </a:moveTo>
                <a:cubicBezTo>
                  <a:pt x="365" y="340"/>
                  <a:pt x="365" y="340"/>
                  <a:pt x="365" y="340"/>
                </a:cubicBezTo>
                <a:cubicBezTo>
                  <a:pt x="370" y="337"/>
                  <a:pt x="372" y="330"/>
                  <a:pt x="369" y="325"/>
                </a:cubicBezTo>
                <a:cubicBezTo>
                  <a:pt x="366" y="320"/>
                  <a:pt x="359" y="318"/>
                  <a:pt x="354" y="321"/>
                </a:cubicBezTo>
                <a:cubicBezTo>
                  <a:pt x="352" y="323"/>
                  <a:pt x="352" y="323"/>
                  <a:pt x="352" y="323"/>
                </a:cubicBezTo>
                <a:cubicBezTo>
                  <a:pt x="352" y="320"/>
                  <a:pt x="352" y="320"/>
                  <a:pt x="352" y="320"/>
                </a:cubicBezTo>
                <a:cubicBezTo>
                  <a:pt x="352" y="314"/>
                  <a:pt x="347" y="309"/>
                  <a:pt x="341" y="309"/>
                </a:cubicBezTo>
                <a:cubicBezTo>
                  <a:pt x="335" y="309"/>
                  <a:pt x="330" y="314"/>
                  <a:pt x="330" y="320"/>
                </a:cubicBezTo>
                <a:cubicBezTo>
                  <a:pt x="330" y="323"/>
                  <a:pt x="330" y="323"/>
                  <a:pt x="330" y="323"/>
                </a:cubicBezTo>
                <a:cubicBezTo>
                  <a:pt x="328" y="321"/>
                  <a:pt x="328" y="321"/>
                  <a:pt x="328" y="321"/>
                </a:cubicBezTo>
                <a:cubicBezTo>
                  <a:pt x="323" y="318"/>
                  <a:pt x="316" y="320"/>
                  <a:pt x="313" y="325"/>
                </a:cubicBezTo>
                <a:cubicBezTo>
                  <a:pt x="310" y="330"/>
                  <a:pt x="312" y="337"/>
                  <a:pt x="317" y="340"/>
                </a:cubicBezTo>
                <a:cubicBezTo>
                  <a:pt x="320" y="341"/>
                  <a:pt x="320" y="341"/>
                  <a:pt x="320" y="341"/>
                </a:cubicBezTo>
                <a:cubicBezTo>
                  <a:pt x="317" y="342"/>
                  <a:pt x="317" y="342"/>
                  <a:pt x="317" y="342"/>
                </a:cubicBezTo>
                <a:cubicBezTo>
                  <a:pt x="312" y="345"/>
                  <a:pt x="310" y="352"/>
                  <a:pt x="313" y="357"/>
                </a:cubicBezTo>
                <a:cubicBezTo>
                  <a:pt x="315" y="360"/>
                  <a:pt x="319" y="362"/>
                  <a:pt x="323" y="362"/>
                </a:cubicBezTo>
                <a:cubicBezTo>
                  <a:pt x="324" y="362"/>
                  <a:pt x="326" y="362"/>
                  <a:pt x="328" y="361"/>
                </a:cubicBezTo>
                <a:cubicBezTo>
                  <a:pt x="330" y="359"/>
                  <a:pt x="330" y="359"/>
                  <a:pt x="330" y="359"/>
                </a:cubicBezTo>
                <a:cubicBezTo>
                  <a:pt x="330" y="362"/>
                  <a:pt x="330" y="362"/>
                  <a:pt x="330" y="362"/>
                </a:cubicBezTo>
                <a:cubicBezTo>
                  <a:pt x="330" y="368"/>
                  <a:pt x="335" y="373"/>
                  <a:pt x="341" y="373"/>
                </a:cubicBezTo>
                <a:cubicBezTo>
                  <a:pt x="347" y="373"/>
                  <a:pt x="352" y="368"/>
                  <a:pt x="352" y="362"/>
                </a:cubicBezTo>
                <a:cubicBezTo>
                  <a:pt x="352" y="359"/>
                  <a:pt x="352" y="359"/>
                  <a:pt x="352" y="359"/>
                </a:cubicBezTo>
                <a:cubicBezTo>
                  <a:pt x="354" y="361"/>
                  <a:pt x="354" y="361"/>
                  <a:pt x="354" y="361"/>
                </a:cubicBezTo>
                <a:cubicBezTo>
                  <a:pt x="356" y="362"/>
                  <a:pt x="358" y="362"/>
                  <a:pt x="359" y="362"/>
                </a:cubicBezTo>
                <a:cubicBezTo>
                  <a:pt x="363" y="362"/>
                  <a:pt x="367" y="360"/>
                  <a:pt x="369" y="357"/>
                </a:cubicBezTo>
                <a:cubicBezTo>
                  <a:pt x="372" y="352"/>
                  <a:pt x="370" y="345"/>
                  <a:pt x="365" y="342"/>
                </a:cubicBezTo>
                <a:lnTo>
                  <a:pt x="362" y="341"/>
                </a:lnTo>
                <a:close/>
                <a:moveTo>
                  <a:pt x="416" y="234"/>
                </a:moveTo>
                <a:cubicBezTo>
                  <a:pt x="416" y="205"/>
                  <a:pt x="392" y="181"/>
                  <a:pt x="362" y="181"/>
                </a:cubicBezTo>
                <a:cubicBezTo>
                  <a:pt x="360" y="181"/>
                  <a:pt x="359" y="181"/>
                  <a:pt x="358" y="181"/>
                </a:cubicBezTo>
                <a:cubicBezTo>
                  <a:pt x="358" y="134"/>
                  <a:pt x="319" y="96"/>
                  <a:pt x="272" y="96"/>
                </a:cubicBezTo>
                <a:cubicBezTo>
                  <a:pt x="235" y="96"/>
                  <a:pt x="203" y="118"/>
                  <a:pt x="190" y="151"/>
                </a:cubicBezTo>
                <a:cubicBezTo>
                  <a:pt x="183" y="148"/>
                  <a:pt x="176" y="146"/>
                  <a:pt x="167" y="146"/>
                </a:cubicBezTo>
                <a:cubicBezTo>
                  <a:pt x="127" y="146"/>
                  <a:pt x="96" y="178"/>
                  <a:pt x="96" y="217"/>
                </a:cubicBezTo>
                <a:cubicBezTo>
                  <a:pt x="96" y="256"/>
                  <a:pt x="127" y="288"/>
                  <a:pt x="167" y="288"/>
                </a:cubicBezTo>
                <a:cubicBezTo>
                  <a:pt x="362" y="288"/>
                  <a:pt x="362" y="288"/>
                  <a:pt x="362" y="288"/>
                </a:cubicBezTo>
                <a:cubicBezTo>
                  <a:pt x="392" y="288"/>
                  <a:pt x="416" y="264"/>
                  <a:pt x="416" y="2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7" name="Freeform 525">
            <a:extLst>
              <a:ext uri="{FF2B5EF4-FFF2-40B4-BE49-F238E27FC236}">
                <a16:creationId xmlns:a16="http://schemas.microsoft.com/office/drawing/2014/main" id="{6F80FAFE-E286-460C-AA68-AA861389AD4B}"/>
              </a:ext>
            </a:extLst>
          </p:cNvPr>
          <p:cNvSpPr>
            <a:spLocks noChangeAspect="1" noEditPoints="1"/>
          </p:cNvSpPr>
          <p:nvPr/>
        </p:nvSpPr>
        <p:spPr bwMode="auto">
          <a:xfrm>
            <a:off x="9174810" y="1700213"/>
            <a:ext cx="367982" cy="367982"/>
          </a:xfrm>
          <a:custGeom>
            <a:avLst/>
            <a:gdLst>
              <a:gd name="T0" fmla="*/ 0 w 512"/>
              <a:gd name="T1" fmla="*/ 256 h 512"/>
              <a:gd name="T2" fmla="*/ 512 w 512"/>
              <a:gd name="T3" fmla="*/ 256 h 512"/>
              <a:gd name="T4" fmla="*/ 407 w 512"/>
              <a:gd name="T5" fmla="*/ 267 h 512"/>
              <a:gd name="T6" fmla="*/ 390 w 512"/>
              <a:gd name="T7" fmla="*/ 294 h 512"/>
              <a:gd name="T8" fmla="*/ 394 w 512"/>
              <a:gd name="T9" fmla="*/ 330 h 512"/>
              <a:gd name="T10" fmla="*/ 309 w 512"/>
              <a:gd name="T11" fmla="*/ 341 h 512"/>
              <a:gd name="T12" fmla="*/ 298 w 512"/>
              <a:gd name="T13" fmla="*/ 416 h 512"/>
              <a:gd name="T14" fmla="*/ 288 w 512"/>
              <a:gd name="T15" fmla="*/ 330 h 512"/>
              <a:gd name="T16" fmla="*/ 373 w 512"/>
              <a:gd name="T17" fmla="*/ 320 h 512"/>
              <a:gd name="T18" fmla="*/ 340 w 512"/>
              <a:gd name="T19" fmla="*/ 283 h 512"/>
              <a:gd name="T20" fmla="*/ 246 w 512"/>
              <a:gd name="T21" fmla="*/ 298 h 512"/>
              <a:gd name="T22" fmla="*/ 192 w 512"/>
              <a:gd name="T23" fmla="*/ 245 h 512"/>
              <a:gd name="T24" fmla="*/ 234 w 512"/>
              <a:gd name="T25" fmla="*/ 170 h 512"/>
              <a:gd name="T26" fmla="*/ 170 w 512"/>
              <a:gd name="T27" fmla="*/ 171 h 512"/>
              <a:gd name="T28" fmla="*/ 142 w 512"/>
              <a:gd name="T29" fmla="*/ 187 h 512"/>
              <a:gd name="T30" fmla="*/ 160 w 512"/>
              <a:gd name="T31" fmla="*/ 192 h 512"/>
              <a:gd name="T32" fmla="*/ 170 w 512"/>
              <a:gd name="T33" fmla="*/ 277 h 512"/>
              <a:gd name="T34" fmla="*/ 182 w 512"/>
              <a:gd name="T35" fmla="*/ 316 h 512"/>
              <a:gd name="T36" fmla="*/ 256 w 512"/>
              <a:gd name="T37" fmla="*/ 330 h 512"/>
              <a:gd name="T38" fmla="*/ 266 w 512"/>
              <a:gd name="T39" fmla="*/ 405 h 512"/>
              <a:gd name="T40" fmla="*/ 245 w 512"/>
              <a:gd name="T41" fmla="*/ 405 h 512"/>
              <a:gd name="T42" fmla="*/ 224 w 512"/>
              <a:gd name="T43" fmla="*/ 352 h 512"/>
              <a:gd name="T44" fmla="*/ 149 w 512"/>
              <a:gd name="T45" fmla="*/ 277 h 512"/>
              <a:gd name="T46" fmla="*/ 128 w 512"/>
              <a:gd name="T47" fmla="*/ 213 h 512"/>
              <a:gd name="T48" fmla="*/ 126 w 512"/>
              <a:gd name="T49" fmla="*/ 173 h 512"/>
              <a:gd name="T50" fmla="*/ 202 w 512"/>
              <a:gd name="T51" fmla="*/ 117 h 512"/>
              <a:gd name="T52" fmla="*/ 256 w 512"/>
              <a:gd name="T53" fmla="*/ 192 h 512"/>
              <a:gd name="T54" fmla="*/ 408 w 512"/>
              <a:gd name="T55" fmla="*/ 246 h 512"/>
              <a:gd name="T56" fmla="*/ 407 w 512"/>
              <a:gd name="T57" fmla="*/ 267 h 512"/>
              <a:gd name="T58" fmla="*/ 370 w 512"/>
              <a:gd name="T59" fmla="*/ 254 h 512"/>
              <a:gd name="T60" fmla="*/ 245 w 512"/>
              <a:gd name="T61" fmla="*/ 278 h 512"/>
              <a:gd name="T62" fmla="*/ 245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7" y="267"/>
                </a:moveTo>
                <a:cubicBezTo>
                  <a:pt x="407" y="267"/>
                  <a:pt x="389" y="271"/>
                  <a:pt x="367" y="277"/>
                </a:cubicBezTo>
                <a:cubicBezTo>
                  <a:pt x="390" y="294"/>
                  <a:pt x="390" y="294"/>
                  <a:pt x="390" y="294"/>
                </a:cubicBezTo>
                <a:cubicBezTo>
                  <a:pt x="393" y="296"/>
                  <a:pt x="394" y="299"/>
                  <a:pt x="394" y="302"/>
                </a:cubicBezTo>
                <a:cubicBezTo>
                  <a:pt x="394" y="330"/>
                  <a:pt x="394" y="330"/>
                  <a:pt x="394" y="330"/>
                </a:cubicBezTo>
                <a:cubicBezTo>
                  <a:pt x="394" y="336"/>
                  <a:pt x="390" y="341"/>
                  <a:pt x="384" y="341"/>
                </a:cubicBezTo>
                <a:cubicBezTo>
                  <a:pt x="309" y="341"/>
                  <a:pt x="309" y="341"/>
                  <a:pt x="309" y="341"/>
                </a:cubicBezTo>
                <a:cubicBezTo>
                  <a:pt x="309" y="405"/>
                  <a:pt x="309" y="405"/>
                  <a:pt x="309" y="405"/>
                </a:cubicBezTo>
                <a:cubicBezTo>
                  <a:pt x="309" y="411"/>
                  <a:pt x="304" y="416"/>
                  <a:pt x="298" y="416"/>
                </a:cubicBezTo>
                <a:cubicBezTo>
                  <a:pt x="292" y="416"/>
                  <a:pt x="288" y="411"/>
                  <a:pt x="288" y="405"/>
                </a:cubicBezTo>
                <a:cubicBezTo>
                  <a:pt x="288" y="330"/>
                  <a:pt x="288" y="330"/>
                  <a:pt x="288" y="330"/>
                </a:cubicBezTo>
                <a:cubicBezTo>
                  <a:pt x="288" y="324"/>
                  <a:pt x="292" y="320"/>
                  <a:pt x="298" y="320"/>
                </a:cubicBezTo>
                <a:cubicBezTo>
                  <a:pt x="373" y="320"/>
                  <a:pt x="373" y="320"/>
                  <a:pt x="373" y="320"/>
                </a:cubicBezTo>
                <a:cubicBezTo>
                  <a:pt x="373" y="308"/>
                  <a:pt x="373" y="308"/>
                  <a:pt x="373" y="308"/>
                </a:cubicBezTo>
                <a:cubicBezTo>
                  <a:pt x="340" y="283"/>
                  <a:pt x="340" y="283"/>
                  <a:pt x="340" y="283"/>
                </a:cubicBezTo>
                <a:cubicBezTo>
                  <a:pt x="334" y="285"/>
                  <a:pt x="328" y="286"/>
                  <a:pt x="323" y="287"/>
                </a:cubicBezTo>
                <a:cubicBezTo>
                  <a:pt x="284" y="295"/>
                  <a:pt x="247" y="298"/>
                  <a:pt x="246" y="298"/>
                </a:cubicBezTo>
                <a:cubicBezTo>
                  <a:pt x="246" y="298"/>
                  <a:pt x="246" y="298"/>
                  <a:pt x="246" y="298"/>
                </a:cubicBezTo>
                <a:cubicBezTo>
                  <a:pt x="211" y="298"/>
                  <a:pt x="192" y="279"/>
                  <a:pt x="192" y="245"/>
                </a:cubicBezTo>
                <a:cubicBezTo>
                  <a:pt x="192" y="215"/>
                  <a:pt x="207" y="196"/>
                  <a:pt x="234" y="192"/>
                </a:cubicBezTo>
                <a:cubicBezTo>
                  <a:pt x="234" y="170"/>
                  <a:pt x="234" y="170"/>
                  <a:pt x="234" y="170"/>
                </a:cubicBezTo>
                <a:cubicBezTo>
                  <a:pt x="234" y="167"/>
                  <a:pt x="232" y="138"/>
                  <a:pt x="202" y="138"/>
                </a:cubicBezTo>
                <a:cubicBezTo>
                  <a:pt x="172" y="138"/>
                  <a:pt x="170" y="167"/>
                  <a:pt x="170" y="171"/>
                </a:cubicBezTo>
                <a:cubicBezTo>
                  <a:pt x="170" y="176"/>
                  <a:pt x="165" y="181"/>
                  <a:pt x="160" y="181"/>
                </a:cubicBezTo>
                <a:cubicBezTo>
                  <a:pt x="151" y="181"/>
                  <a:pt x="146" y="183"/>
                  <a:pt x="142" y="187"/>
                </a:cubicBezTo>
                <a:cubicBezTo>
                  <a:pt x="141" y="188"/>
                  <a:pt x="140" y="190"/>
                  <a:pt x="139" y="192"/>
                </a:cubicBezTo>
                <a:cubicBezTo>
                  <a:pt x="160" y="192"/>
                  <a:pt x="160" y="192"/>
                  <a:pt x="160" y="192"/>
                </a:cubicBezTo>
                <a:cubicBezTo>
                  <a:pt x="166" y="192"/>
                  <a:pt x="170" y="196"/>
                  <a:pt x="170" y="202"/>
                </a:cubicBezTo>
                <a:cubicBezTo>
                  <a:pt x="170" y="277"/>
                  <a:pt x="170" y="277"/>
                  <a:pt x="170" y="277"/>
                </a:cubicBezTo>
                <a:cubicBezTo>
                  <a:pt x="170" y="277"/>
                  <a:pt x="170" y="278"/>
                  <a:pt x="170" y="278"/>
                </a:cubicBezTo>
                <a:cubicBezTo>
                  <a:pt x="170" y="278"/>
                  <a:pt x="168" y="301"/>
                  <a:pt x="182" y="316"/>
                </a:cubicBezTo>
                <a:cubicBezTo>
                  <a:pt x="191" y="325"/>
                  <a:pt x="205" y="330"/>
                  <a:pt x="224" y="330"/>
                </a:cubicBezTo>
                <a:cubicBezTo>
                  <a:pt x="256" y="330"/>
                  <a:pt x="256" y="330"/>
                  <a:pt x="256" y="330"/>
                </a:cubicBezTo>
                <a:cubicBezTo>
                  <a:pt x="262" y="330"/>
                  <a:pt x="266" y="335"/>
                  <a:pt x="266" y="341"/>
                </a:cubicBezTo>
                <a:cubicBezTo>
                  <a:pt x="266" y="405"/>
                  <a:pt x="266" y="405"/>
                  <a:pt x="266" y="405"/>
                </a:cubicBezTo>
                <a:cubicBezTo>
                  <a:pt x="266" y="411"/>
                  <a:pt x="262" y="416"/>
                  <a:pt x="256" y="416"/>
                </a:cubicBezTo>
                <a:cubicBezTo>
                  <a:pt x="250" y="416"/>
                  <a:pt x="245" y="411"/>
                  <a:pt x="245" y="405"/>
                </a:cubicBezTo>
                <a:cubicBezTo>
                  <a:pt x="245" y="352"/>
                  <a:pt x="245" y="352"/>
                  <a:pt x="245" y="352"/>
                </a:cubicBezTo>
                <a:cubicBezTo>
                  <a:pt x="224" y="352"/>
                  <a:pt x="224" y="352"/>
                  <a:pt x="224" y="352"/>
                </a:cubicBezTo>
                <a:cubicBezTo>
                  <a:pt x="199" y="352"/>
                  <a:pt x="179" y="344"/>
                  <a:pt x="166" y="330"/>
                </a:cubicBezTo>
                <a:cubicBezTo>
                  <a:pt x="147" y="309"/>
                  <a:pt x="149" y="281"/>
                  <a:pt x="149" y="277"/>
                </a:cubicBezTo>
                <a:cubicBezTo>
                  <a:pt x="149" y="213"/>
                  <a:pt x="149" y="213"/>
                  <a:pt x="149" y="213"/>
                </a:cubicBezTo>
                <a:cubicBezTo>
                  <a:pt x="128" y="213"/>
                  <a:pt x="128" y="213"/>
                  <a:pt x="128" y="213"/>
                </a:cubicBezTo>
                <a:cubicBezTo>
                  <a:pt x="122" y="213"/>
                  <a:pt x="118" y="209"/>
                  <a:pt x="117" y="204"/>
                </a:cubicBezTo>
                <a:cubicBezTo>
                  <a:pt x="117" y="202"/>
                  <a:pt x="115" y="185"/>
                  <a:pt x="126" y="173"/>
                </a:cubicBezTo>
                <a:cubicBezTo>
                  <a:pt x="132" y="166"/>
                  <a:pt x="140" y="162"/>
                  <a:pt x="150" y="160"/>
                </a:cubicBezTo>
                <a:cubicBezTo>
                  <a:pt x="154" y="142"/>
                  <a:pt x="168" y="117"/>
                  <a:pt x="202" y="117"/>
                </a:cubicBezTo>
                <a:cubicBezTo>
                  <a:pt x="243" y="117"/>
                  <a:pt x="256" y="152"/>
                  <a:pt x="256" y="170"/>
                </a:cubicBezTo>
                <a:cubicBezTo>
                  <a:pt x="256" y="192"/>
                  <a:pt x="256" y="192"/>
                  <a:pt x="256" y="192"/>
                </a:cubicBezTo>
                <a:cubicBezTo>
                  <a:pt x="272" y="194"/>
                  <a:pt x="286" y="199"/>
                  <a:pt x="286" y="200"/>
                </a:cubicBezTo>
                <a:cubicBezTo>
                  <a:pt x="408" y="246"/>
                  <a:pt x="408" y="246"/>
                  <a:pt x="408" y="246"/>
                </a:cubicBezTo>
                <a:cubicBezTo>
                  <a:pt x="412" y="248"/>
                  <a:pt x="415" y="252"/>
                  <a:pt x="415" y="257"/>
                </a:cubicBezTo>
                <a:cubicBezTo>
                  <a:pt x="415" y="261"/>
                  <a:pt x="412" y="265"/>
                  <a:pt x="407" y="267"/>
                </a:cubicBezTo>
                <a:close/>
                <a:moveTo>
                  <a:pt x="279" y="220"/>
                </a:moveTo>
                <a:cubicBezTo>
                  <a:pt x="370" y="254"/>
                  <a:pt x="370" y="254"/>
                  <a:pt x="370" y="254"/>
                </a:cubicBezTo>
                <a:cubicBezTo>
                  <a:pt x="354" y="258"/>
                  <a:pt x="335" y="263"/>
                  <a:pt x="318" y="267"/>
                </a:cubicBezTo>
                <a:cubicBezTo>
                  <a:pt x="281" y="275"/>
                  <a:pt x="244" y="278"/>
                  <a:pt x="245" y="278"/>
                </a:cubicBezTo>
                <a:cubicBezTo>
                  <a:pt x="223" y="278"/>
                  <a:pt x="213" y="268"/>
                  <a:pt x="213" y="245"/>
                </a:cubicBezTo>
                <a:cubicBezTo>
                  <a:pt x="213" y="223"/>
                  <a:pt x="223" y="213"/>
                  <a:pt x="245" y="213"/>
                </a:cubicBezTo>
                <a:cubicBezTo>
                  <a:pt x="262" y="213"/>
                  <a:pt x="278" y="220"/>
                  <a:pt x="279" y="22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8" name="Group 528">
            <a:extLst>
              <a:ext uri="{FF2B5EF4-FFF2-40B4-BE49-F238E27FC236}">
                <a16:creationId xmlns:a16="http://schemas.microsoft.com/office/drawing/2014/main" id="{0A8317D0-9316-4B56-AF0B-0C6D6E8726B1}"/>
              </a:ext>
            </a:extLst>
          </p:cNvPr>
          <p:cNvGrpSpPr>
            <a:grpSpLocks noChangeAspect="1"/>
          </p:cNvGrpSpPr>
          <p:nvPr/>
        </p:nvGrpSpPr>
        <p:grpSpPr bwMode="auto">
          <a:xfrm>
            <a:off x="9608818" y="1700213"/>
            <a:ext cx="369064" cy="367982"/>
            <a:chOff x="5046" y="2977"/>
            <a:chExt cx="341" cy="340"/>
          </a:xfrm>
          <a:solidFill>
            <a:schemeClr val="accent6"/>
          </a:solidFill>
        </p:grpSpPr>
        <p:sp>
          <p:nvSpPr>
            <p:cNvPr id="499" name="Freeform 326">
              <a:extLst>
                <a:ext uri="{FF2B5EF4-FFF2-40B4-BE49-F238E27FC236}">
                  <a16:creationId xmlns:a16="http://schemas.microsoft.com/office/drawing/2014/main" id="{0174A3CE-AE20-48F9-A673-DA55D4325F85}"/>
                </a:ext>
              </a:extLst>
            </p:cNvPr>
            <p:cNvSpPr>
              <a:spLocks noEditPoints="1"/>
            </p:cNvSpPr>
            <p:nvPr/>
          </p:nvSpPr>
          <p:spPr bwMode="auto">
            <a:xfrm>
              <a:off x="5046" y="297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0" name="Freeform 327">
              <a:extLst>
                <a:ext uri="{FF2B5EF4-FFF2-40B4-BE49-F238E27FC236}">
                  <a16:creationId xmlns:a16="http://schemas.microsoft.com/office/drawing/2014/main" id="{09EB902B-5DEF-4F86-8BCD-C2BB9AA97C99}"/>
                </a:ext>
              </a:extLst>
            </p:cNvPr>
            <p:cNvSpPr>
              <a:spLocks noEditPoints="1"/>
            </p:cNvSpPr>
            <p:nvPr/>
          </p:nvSpPr>
          <p:spPr bwMode="auto">
            <a:xfrm>
              <a:off x="5123" y="3055"/>
              <a:ext cx="199" cy="198"/>
            </a:xfrm>
            <a:custGeom>
              <a:avLst/>
              <a:gdLst>
                <a:gd name="T0" fmla="*/ 293 w 300"/>
                <a:gd name="T1" fmla="*/ 129 h 299"/>
                <a:gd name="T2" fmla="*/ 171 w 300"/>
                <a:gd name="T3" fmla="*/ 83 h 299"/>
                <a:gd name="T4" fmla="*/ 141 w 300"/>
                <a:gd name="T5" fmla="*/ 75 h 299"/>
                <a:gd name="T6" fmla="*/ 141 w 300"/>
                <a:gd name="T7" fmla="*/ 53 h 299"/>
                <a:gd name="T8" fmla="*/ 87 w 300"/>
                <a:gd name="T9" fmla="*/ 0 h 299"/>
                <a:gd name="T10" fmla="*/ 35 w 300"/>
                <a:gd name="T11" fmla="*/ 43 h 299"/>
                <a:gd name="T12" fmla="*/ 11 w 300"/>
                <a:gd name="T13" fmla="*/ 56 h 299"/>
                <a:gd name="T14" fmla="*/ 2 w 300"/>
                <a:gd name="T15" fmla="*/ 87 h 299"/>
                <a:gd name="T16" fmla="*/ 13 w 300"/>
                <a:gd name="T17" fmla="*/ 96 h 299"/>
                <a:gd name="T18" fmla="*/ 34 w 300"/>
                <a:gd name="T19" fmla="*/ 96 h 299"/>
                <a:gd name="T20" fmla="*/ 34 w 300"/>
                <a:gd name="T21" fmla="*/ 160 h 299"/>
                <a:gd name="T22" fmla="*/ 51 w 300"/>
                <a:gd name="T23" fmla="*/ 213 h 299"/>
                <a:gd name="T24" fmla="*/ 109 w 300"/>
                <a:gd name="T25" fmla="*/ 235 h 299"/>
                <a:gd name="T26" fmla="*/ 130 w 300"/>
                <a:gd name="T27" fmla="*/ 235 h 299"/>
                <a:gd name="T28" fmla="*/ 130 w 300"/>
                <a:gd name="T29" fmla="*/ 288 h 299"/>
                <a:gd name="T30" fmla="*/ 141 w 300"/>
                <a:gd name="T31" fmla="*/ 299 h 299"/>
                <a:gd name="T32" fmla="*/ 151 w 300"/>
                <a:gd name="T33" fmla="*/ 288 h 299"/>
                <a:gd name="T34" fmla="*/ 151 w 300"/>
                <a:gd name="T35" fmla="*/ 224 h 299"/>
                <a:gd name="T36" fmla="*/ 141 w 300"/>
                <a:gd name="T37" fmla="*/ 213 h 299"/>
                <a:gd name="T38" fmla="*/ 109 w 300"/>
                <a:gd name="T39" fmla="*/ 213 h 299"/>
                <a:gd name="T40" fmla="*/ 67 w 300"/>
                <a:gd name="T41" fmla="*/ 199 h 299"/>
                <a:gd name="T42" fmla="*/ 55 w 300"/>
                <a:gd name="T43" fmla="*/ 161 h 299"/>
                <a:gd name="T44" fmla="*/ 55 w 300"/>
                <a:gd name="T45" fmla="*/ 160 h 299"/>
                <a:gd name="T46" fmla="*/ 55 w 300"/>
                <a:gd name="T47" fmla="*/ 85 h 299"/>
                <a:gd name="T48" fmla="*/ 45 w 300"/>
                <a:gd name="T49" fmla="*/ 75 h 299"/>
                <a:gd name="T50" fmla="*/ 24 w 300"/>
                <a:gd name="T51" fmla="*/ 75 h 299"/>
                <a:gd name="T52" fmla="*/ 27 w 300"/>
                <a:gd name="T53" fmla="*/ 70 h 299"/>
                <a:gd name="T54" fmla="*/ 45 w 300"/>
                <a:gd name="T55" fmla="*/ 64 h 299"/>
                <a:gd name="T56" fmla="*/ 55 w 300"/>
                <a:gd name="T57" fmla="*/ 54 h 299"/>
                <a:gd name="T58" fmla="*/ 87 w 300"/>
                <a:gd name="T59" fmla="*/ 21 h 299"/>
                <a:gd name="T60" fmla="*/ 119 w 300"/>
                <a:gd name="T61" fmla="*/ 53 h 299"/>
                <a:gd name="T62" fmla="*/ 119 w 300"/>
                <a:gd name="T63" fmla="*/ 75 h 299"/>
                <a:gd name="T64" fmla="*/ 77 w 300"/>
                <a:gd name="T65" fmla="*/ 128 h 299"/>
                <a:gd name="T66" fmla="*/ 131 w 300"/>
                <a:gd name="T67" fmla="*/ 181 h 299"/>
                <a:gd name="T68" fmla="*/ 131 w 300"/>
                <a:gd name="T69" fmla="*/ 181 h 299"/>
                <a:gd name="T70" fmla="*/ 208 w 300"/>
                <a:gd name="T71" fmla="*/ 170 h 299"/>
                <a:gd name="T72" fmla="*/ 225 w 300"/>
                <a:gd name="T73" fmla="*/ 166 h 299"/>
                <a:gd name="T74" fmla="*/ 258 w 300"/>
                <a:gd name="T75" fmla="*/ 191 h 299"/>
                <a:gd name="T76" fmla="*/ 258 w 300"/>
                <a:gd name="T77" fmla="*/ 203 h 299"/>
                <a:gd name="T78" fmla="*/ 183 w 300"/>
                <a:gd name="T79" fmla="*/ 203 h 299"/>
                <a:gd name="T80" fmla="*/ 173 w 300"/>
                <a:gd name="T81" fmla="*/ 213 h 299"/>
                <a:gd name="T82" fmla="*/ 173 w 300"/>
                <a:gd name="T83" fmla="*/ 288 h 299"/>
                <a:gd name="T84" fmla="*/ 183 w 300"/>
                <a:gd name="T85" fmla="*/ 299 h 299"/>
                <a:gd name="T86" fmla="*/ 194 w 300"/>
                <a:gd name="T87" fmla="*/ 288 h 299"/>
                <a:gd name="T88" fmla="*/ 194 w 300"/>
                <a:gd name="T89" fmla="*/ 224 h 299"/>
                <a:gd name="T90" fmla="*/ 269 w 300"/>
                <a:gd name="T91" fmla="*/ 224 h 299"/>
                <a:gd name="T92" fmla="*/ 279 w 300"/>
                <a:gd name="T93" fmla="*/ 213 h 299"/>
                <a:gd name="T94" fmla="*/ 279 w 300"/>
                <a:gd name="T95" fmla="*/ 185 h 299"/>
                <a:gd name="T96" fmla="*/ 275 w 300"/>
                <a:gd name="T97" fmla="*/ 177 h 299"/>
                <a:gd name="T98" fmla="*/ 252 w 300"/>
                <a:gd name="T99" fmla="*/ 160 h 299"/>
                <a:gd name="T100" fmla="*/ 292 w 300"/>
                <a:gd name="T101" fmla="*/ 150 h 299"/>
                <a:gd name="T102" fmla="*/ 300 w 300"/>
                <a:gd name="T103" fmla="*/ 140 h 299"/>
                <a:gd name="T104" fmla="*/ 293 w 300"/>
                <a:gd name="T105" fmla="*/ 129 h 299"/>
                <a:gd name="T106" fmla="*/ 203 w 300"/>
                <a:gd name="T107" fmla="*/ 150 h 299"/>
                <a:gd name="T108" fmla="*/ 130 w 300"/>
                <a:gd name="T109" fmla="*/ 161 h 299"/>
                <a:gd name="T110" fmla="*/ 98 w 300"/>
                <a:gd name="T111" fmla="*/ 128 h 299"/>
                <a:gd name="T112" fmla="*/ 130 w 300"/>
                <a:gd name="T113" fmla="*/ 96 h 299"/>
                <a:gd name="T114" fmla="*/ 164 w 300"/>
                <a:gd name="T115" fmla="*/ 103 h 299"/>
                <a:gd name="T116" fmla="*/ 255 w 300"/>
                <a:gd name="T117" fmla="*/ 137 h 299"/>
                <a:gd name="T118" fmla="*/ 203 w 300"/>
                <a:gd name="T119" fmla="*/ 15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299">
                  <a:moveTo>
                    <a:pt x="293" y="129"/>
                  </a:moveTo>
                  <a:cubicBezTo>
                    <a:pt x="171" y="83"/>
                    <a:pt x="171" y="83"/>
                    <a:pt x="171" y="83"/>
                  </a:cubicBezTo>
                  <a:cubicBezTo>
                    <a:pt x="171" y="82"/>
                    <a:pt x="157" y="77"/>
                    <a:pt x="141" y="75"/>
                  </a:cubicBezTo>
                  <a:cubicBezTo>
                    <a:pt x="141" y="53"/>
                    <a:pt x="141" y="53"/>
                    <a:pt x="141" y="53"/>
                  </a:cubicBezTo>
                  <a:cubicBezTo>
                    <a:pt x="141" y="35"/>
                    <a:pt x="128" y="0"/>
                    <a:pt x="87" y="0"/>
                  </a:cubicBezTo>
                  <a:cubicBezTo>
                    <a:pt x="53" y="0"/>
                    <a:pt x="39" y="25"/>
                    <a:pt x="35" y="43"/>
                  </a:cubicBezTo>
                  <a:cubicBezTo>
                    <a:pt x="25" y="45"/>
                    <a:pt x="17" y="49"/>
                    <a:pt x="11" y="56"/>
                  </a:cubicBezTo>
                  <a:cubicBezTo>
                    <a:pt x="0" y="68"/>
                    <a:pt x="2" y="85"/>
                    <a:pt x="2" y="87"/>
                  </a:cubicBezTo>
                  <a:cubicBezTo>
                    <a:pt x="3" y="92"/>
                    <a:pt x="7" y="96"/>
                    <a:pt x="13" y="96"/>
                  </a:cubicBezTo>
                  <a:cubicBezTo>
                    <a:pt x="34" y="96"/>
                    <a:pt x="34" y="96"/>
                    <a:pt x="34" y="96"/>
                  </a:cubicBezTo>
                  <a:cubicBezTo>
                    <a:pt x="34" y="160"/>
                    <a:pt x="34" y="160"/>
                    <a:pt x="34" y="160"/>
                  </a:cubicBezTo>
                  <a:cubicBezTo>
                    <a:pt x="34" y="164"/>
                    <a:pt x="32" y="192"/>
                    <a:pt x="51" y="213"/>
                  </a:cubicBezTo>
                  <a:cubicBezTo>
                    <a:pt x="64" y="227"/>
                    <a:pt x="84" y="235"/>
                    <a:pt x="109" y="235"/>
                  </a:cubicBezTo>
                  <a:cubicBezTo>
                    <a:pt x="130" y="235"/>
                    <a:pt x="130" y="235"/>
                    <a:pt x="130" y="235"/>
                  </a:cubicBezTo>
                  <a:cubicBezTo>
                    <a:pt x="130" y="288"/>
                    <a:pt x="130" y="288"/>
                    <a:pt x="130" y="288"/>
                  </a:cubicBezTo>
                  <a:cubicBezTo>
                    <a:pt x="130" y="294"/>
                    <a:pt x="135" y="299"/>
                    <a:pt x="141" y="299"/>
                  </a:cubicBezTo>
                  <a:cubicBezTo>
                    <a:pt x="147" y="299"/>
                    <a:pt x="151" y="294"/>
                    <a:pt x="151" y="288"/>
                  </a:cubicBezTo>
                  <a:cubicBezTo>
                    <a:pt x="151" y="224"/>
                    <a:pt x="151" y="224"/>
                    <a:pt x="151" y="224"/>
                  </a:cubicBezTo>
                  <a:cubicBezTo>
                    <a:pt x="151" y="218"/>
                    <a:pt x="147" y="213"/>
                    <a:pt x="141" y="213"/>
                  </a:cubicBezTo>
                  <a:cubicBezTo>
                    <a:pt x="109" y="213"/>
                    <a:pt x="109" y="213"/>
                    <a:pt x="109" y="213"/>
                  </a:cubicBezTo>
                  <a:cubicBezTo>
                    <a:pt x="90" y="213"/>
                    <a:pt x="76" y="208"/>
                    <a:pt x="67" y="199"/>
                  </a:cubicBezTo>
                  <a:cubicBezTo>
                    <a:pt x="53" y="184"/>
                    <a:pt x="55" y="161"/>
                    <a:pt x="55" y="161"/>
                  </a:cubicBezTo>
                  <a:cubicBezTo>
                    <a:pt x="55" y="161"/>
                    <a:pt x="55" y="160"/>
                    <a:pt x="55" y="160"/>
                  </a:cubicBezTo>
                  <a:cubicBezTo>
                    <a:pt x="55" y="85"/>
                    <a:pt x="55" y="85"/>
                    <a:pt x="55" y="85"/>
                  </a:cubicBezTo>
                  <a:cubicBezTo>
                    <a:pt x="55" y="79"/>
                    <a:pt x="51" y="75"/>
                    <a:pt x="45" y="75"/>
                  </a:cubicBezTo>
                  <a:cubicBezTo>
                    <a:pt x="24" y="75"/>
                    <a:pt x="24" y="75"/>
                    <a:pt x="24" y="75"/>
                  </a:cubicBezTo>
                  <a:cubicBezTo>
                    <a:pt x="25" y="73"/>
                    <a:pt x="26" y="71"/>
                    <a:pt x="27" y="70"/>
                  </a:cubicBezTo>
                  <a:cubicBezTo>
                    <a:pt x="31" y="66"/>
                    <a:pt x="36" y="64"/>
                    <a:pt x="45" y="64"/>
                  </a:cubicBezTo>
                  <a:cubicBezTo>
                    <a:pt x="50" y="64"/>
                    <a:pt x="55" y="59"/>
                    <a:pt x="55" y="54"/>
                  </a:cubicBezTo>
                  <a:cubicBezTo>
                    <a:pt x="55" y="50"/>
                    <a:pt x="57" y="21"/>
                    <a:pt x="87" y="21"/>
                  </a:cubicBezTo>
                  <a:cubicBezTo>
                    <a:pt x="117" y="21"/>
                    <a:pt x="119" y="50"/>
                    <a:pt x="119" y="53"/>
                  </a:cubicBezTo>
                  <a:cubicBezTo>
                    <a:pt x="119" y="75"/>
                    <a:pt x="119" y="75"/>
                    <a:pt x="119" y="75"/>
                  </a:cubicBezTo>
                  <a:cubicBezTo>
                    <a:pt x="92" y="79"/>
                    <a:pt x="77" y="98"/>
                    <a:pt x="77" y="128"/>
                  </a:cubicBezTo>
                  <a:cubicBezTo>
                    <a:pt x="77" y="162"/>
                    <a:pt x="96" y="181"/>
                    <a:pt x="131" y="181"/>
                  </a:cubicBezTo>
                  <a:cubicBezTo>
                    <a:pt x="131" y="181"/>
                    <a:pt x="131" y="181"/>
                    <a:pt x="131" y="181"/>
                  </a:cubicBezTo>
                  <a:cubicBezTo>
                    <a:pt x="132" y="181"/>
                    <a:pt x="169" y="178"/>
                    <a:pt x="208" y="170"/>
                  </a:cubicBezTo>
                  <a:cubicBezTo>
                    <a:pt x="213" y="169"/>
                    <a:pt x="219" y="168"/>
                    <a:pt x="225" y="166"/>
                  </a:cubicBezTo>
                  <a:cubicBezTo>
                    <a:pt x="258" y="191"/>
                    <a:pt x="258" y="191"/>
                    <a:pt x="258" y="191"/>
                  </a:cubicBezTo>
                  <a:cubicBezTo>
                    <a:pt x="258" y="203"/>
                    <a:pt x="258" y="203"/>
                    <a:pt x="258" y="203"/>
                  </a:cubicBezTo>
                  <a:cubicBezTo>
                    <a:pt x="183" y="203"/>
                    <a:pt x="183" y="203"/>
                    <a:pt x="183" y="203"/>
                  </a:cubicBezTo>
                  <a:cubicBezTo>
                    <a:pt x="177" y="203"/>
                    <a:pt x="173" y="207"/>
                    <a:pt x="173" y="213"/>
                  </a:cubicBezTo>
                  <a:cubicBezTo>
                    <a:pt x="173" y="288"/>
                    <a:pt x="173" y="288"/>
                    <a:pt x="173" y="288"/>
                  </a:cubicBezTo>
                  <a:cubicBezTo>
                    <a:pt x="173" y="294"/>
                    <a:pt x="177" y="299"/>
                    <a:pt x="183" y="299"/>
                  </a:cubicBezTo>
                  <a:cubicBezTo>
                    <a:pt x="189" y="299"/>
                    <a:pt x="194" y="294"/>
                    <a:pt x="194" y="288"/>
                  </a:cubicBezTo>
                  <a:cubicBezTo>
                    <a:pt x="194" y="224"/>
                    <a:pt x="194" y="224"/>
                    <a:pt x="194" y="224"/>
                  </a:cubicBezTo>
                  <a:cubicBezTo>
                    <a:pt x="269" y="224"/>
                    <a:pt x="269" y="224"/>
                    <a:pt x="269" y="224"/>
                  </a:cubicBezTo>
                  <a:cubicBezTo>
                    <a:pt x="275" y="224"/>
                    <a:pt x="279" y="219"/>
                    <a:pt x="279" y="213"/>
                  </a:cubicBezTo>
                  <a:cubicBezTo>
                    <a:pt x="279" y="185"/>
                    <a:pt x="279" y="185"/>
                    <a:pt x="279" y="185"/>
                  </a:cubicBezTo>
                  <a:cubicBezTo>
                    <a:pt x="279" y="182"/>
                    <a:pt x="278" y="179"/>
                    <a:pt x="275" y="177"/>
                  </a:cubicBezTo>
                  <a:cubicBezTo>
                    <a:pt x="252" y="160"/>
                    <a:pt x="252" y="160"/>
                    <a:pt x="252" y="160"/>
                  </a:cubicBezTo>
                  <a:cubicBezTo>
                    <a:pt x="274" y="154"/>
                    <a:pt x="292" y="150"/>
                    <a:pt x="292" y="150"/>
                  </a:cubicBezTo>
                  <a:cubicBezTo>
                    <a:pt x="297" y="148"/>
                    <a:pt x="300" y="144"/>
                    <a:pt x="300" y="140"/>
                  </a:cubicBezTo>
                  <a:cubicBezTo>
                    <a:pt x="300" y="135"/>
                    <a:pt x="297" y="131"/>
                    <a:pt x="293" y="129"/>
                  </a:cubicBezTo>
                  <a:close/>
                  <a:moveTo>
                    <a:pt x="203" y="150"/>
                  </a:moveTo>
                  <a:cubicBezTo>
                    <a:pt x="166" y="158"/>
                    <a:pt x="129" y="161"/>
                    <a:pt x="130" y="161"/>
                  </a:cubicBezTo>
                  <a:cubicBezTo>
                    <a:pt x="108" y="161"/>
                    <a:pt x="98" y="151"/>
                    <a:pt x="98" y="128"/>
                  </a:cubicBezTo>
                  <a:cubicBezTo>
                    <a:pt x="98" y="106"/>
                    <a:pt x="108" y="96"/>
                    <a:pt x="130" y="96"/>
                  </a:cubicBezTo>
                  <a:cubicBezTo>
                    <a:pt x="147" y="96"/>
                    <a:pt x="163" y="103"/>
                    <a:pt x="164" y="103"/>
                  </a:cubicBezTo>
                  <a:cubicBezTo>
                    <a:pt x="255" y="137"/>
                    <a:pt x="255" y="137"/>
                    <a:pt x="255" y="137"/>
                  </a:cubicBezTo>
                  <a:cubicBezTo>
                    <a:pt x="239" y="141"/>
                    <a:pt x="220" y="146"/>
                    <a:pt x="203"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1" name="Freeform 859">
            <a:extLst>
              <a:ext uri="{FF2B5EF4-FFF2-40B4-BE49-F238E27FC236}">
                <a16:creationId xmlns:a16="http://schemas.microsoft.com/office/drawing/2014/main" id="{2E0931B0-268B-4DBB-B5A8-29AFA76936CC}"/>
              </a:ext>
            </a:extLst>
          </p:cNvPr>
          <p:cNvSpPr>
            <a:spLocks noChangeAspect="1" noEditPoints="1"/>
          </p:cNvSpPr>
          <p:nvPr/>
        </p:nvSpPr>
        <p:spPr bwMode="auto">
          <a:xfrm>
            <a:off x="10043908" y="1700213"/>
            <a:ext cx="367982" cy="367982"/>
          </a:xfrm>
          <a:custGeom>
            <a:avLst/>
            <a:gdLst>
              <a:gd name="T0" fmla="*/ 0 w 512"/>
              <a:gd name="T1" fmla="*/ 256 h 512"/>
              <a:gd name="T2" fmla="*/ 512 w 512"/>
              <a:gd name="T3" fmla="*/ 256 h 512"/>
              <a:gd name="T4" fmla="*/ 301 w 512"/>
              <a:gd name="T5" fmla="*/ 415 h 512"/>
              <a:gd name="T6" fmla="*/ 288 w 512"/>
              <a:gd name="T7" fmla="*/ 407 h 512"/>
              <a:gd name="T8" fmla="*/ 213 w 512"/>
              <a:gd name="T9" fmla="*/ 405 h 512"/>
              <a:gd name="T10" fmla="*/ 213 w 512"/>
              <a:gd name="T11" fmla="*/ 384 h 512"/>
              <a:gd name="T12" fmla="*/ 267 w 512"/>
              <a:gd name="T13" fmla="*/ 311 h 512"/>
              <a:gd name="T14" fmla="*/ 287 w 512"/>
              <a:gd name="T15" fmla="*/ 307 h 512"/>
              <a:gd name="T16" fmla="*/ 301 w 512"/>
              <a:gd name="T17" fmla="*/ 415 h 512"/>
              <a:gd name="T18" fmla="*/ 383 w 512"/>
              <a:gd name="T19" fmla="*/ 216 h 512"/>
              <a:gd name="T20" fmla="*/ 353 w 512"/>
              <a:gd name="T21" fmla="*/ 239 h 512"/>
              <a:gd name="T22" fmla="*/ 341 w 512"/>
              <a:gd name="T23" fmla="*/ 378 h 512"/>
              <a:gd name="T24" fmla="*/ 371 w 512"/>
              <a:gd name="T25" fmla="*/ 411 h 512"/>
              <a:gd name="T26" fmla="*/ 356 w 512"/>
              <a:gd name="T27" fmla="*/ 414 h 512"/>
              <a:gd name="T28" fmla="*/ 320 w 512"/>
              <a:gd name="T29" fmla="*/ 384 h 512"/>
              <a:gd name="T30" fmla="*/ 321 w 512"/>
              <a:gd name="T31" fmla="*/ 304 h 512"/>
              <a:gd name="T32" fmla="*/ 335 w 512"/>
              <a:gd name="T33" fmla="*/ 225 h 512"/>
              <a:gd name="T34" fmla="*/ 372 w 512"/>
              <a:gd name="T35" fmla="*/ 174 h 512"/>
              <a:gd name="T36" fmla="*/ 330 w 512"/>
              <a:gd name="T37" fmla="*/ 149 h 512"/>
              <a:gd name="T38" fmla="*/ 312 w 512"/>
              <a:gd name="T39" fmla="*/ 130 h 512"/>
              <a:gd name="T40" fmla="*/ 271 w 512"/>
              <a:gd name="T41" fmla="*/ 244 h 512"/>
              <a:gd name="T42" fmla="*/ 160 w 512"/>
              <a:gd name="T43" fmla="*/ 416 h 512"/>
              <a:gd name="T44" fmla="*/ 128 w 512"/>
              <a:gd name="T45" fmla="*/ 298 h 512"/>
              <a:gd name="T46" fmla="*/ 122 w 512"/>
              <a:gd name="T47" fmla="*/ 262 h 512"/>
              <a:gd name="T48" fmla="*/ 96 w 512"/>
              <a:gd name="T49" fmla="*/ 245 h 512"/>
              <a:gd name="T50" fmla="*/ 138 w 512"/>
              <a:gd name="T51" fmla="*/ 248 h 512"/>
              <a:gd name="T52" fmla="*/ 149 w 512"/>
              <a:gd name="T53" fmla="*/ 384 h 512"/>
              <a:gd name="T54" fmla="*/ 170 w 512"/>
              <a:gd name="T55" fmla="*/ 384 h 512"/>
              <a:gd name="T56" fmla="*/ 299 w 512"/>
              <a:gd name="T57" fmla="*/ 103 h 512"/>
              <a:gd name="T58" fmla="*/ 318 w 512"/>
              <a:gd name="T59" fmla="*/ 100 h 512"/>
              <a:gd name="T60" fmla="*/ 352 w 512"/>
              <a:gd name="T61" fmla="*/ 128 h 512"/>
              <a:gd name="T62" fmla="*/ 391 w 512"/>
              <a:gd name="T63"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1" y="415"/>
                </a:moveTo>
                <a:cubicBezTo>
                  <a:pt x="300" y="416"/>
                  <a:pt x="299" y="416"/>
                  <a:pt x="298" y="416"/>
                </a:cubicBezTo>
                <a:cubicBezTo>
                  <a:pt x="293" y="416"/>
                  <a:pt x="289" y="412"/>
                  <a:pt x="288" y="407"/>
                </a:cubicBezTo>
                <a:cubicBezTo>
                  <a:pt x="287" y="405"/>
                  <a:pt x="287" y="405"/>
                  <a:pt x="287" y="405"/>
                </a:cubicBezTo>
                <a:cubicBezTo>
                  <a:pt x="213" y="405"/>
                  <a:pt x="213" y="405"/>
                  <a:pt x="213" y="405"/>
                </a:cubicBezTo>
                <a:cubicBezTo>
                  <a:pt x="207" y="405"/>
                  <a:pt x="202" y="400"/>
                  <a:pt x="202" y="394"/>
                </a:cubicBezTo>
                <a:cubicBezTo>
                  <a:pt x="202" y="388"/>
                  <a:pt x="207" y="384"/>
                  <a:pt x="213" y="384"/>
                </a:cubicBezTo>
                <a:cubicBezTo>
                  <a:pt x="283" y="384"/>
                  <a:pt x="283" y="384"/>
                  <a:pt x="283" y="384"/>
                </a:cubicBezTo>
                <a:cubicBezTo>
                  <a:pt x="267" y="311"/>
                  <a:pt x="267" y="311"/>
                  <a:pt x="267" y="311"/>
                </a:cubicBezTo>
                <a:cubicBezTo>
                  <a:pt x="265" y="306"/>
                  <a:pt x="269" y="300"/>
                  <a:pt x="275" y="299"/>
                </a:cubicBezTo>
                <a:cubicBezTo>
                  <a:pt x="280" y="297"/>
                  <a:pt x="286" y="301"/>
                  <a:pt x="287" y="307"/>
                </a:cubicBezTo>
                <a:cubicBezTo>
                  <a:pt x="309" y="403"/>
                  <a:pt x="309" y="403"/>
                  <a:pt x="309" y="403"/>
                </a:cubicBezTo>
                <a:cubicBezTo>
                  <a:pt x="310" y="408"/>
                  <a:pt x="306" y="414"/>
                  <a:pt x="301" y="415"/>
                </a:cubicBezTo>
                <a:close/>
                <a:moveTo>
                  <a:pt x="394" y="173"/>
                </a:moveTo>
                <a:cubicBezTo>
                  <a:pt x="383" y="216"/>
                  <a:pt x="383" y="216"/>
                  <a:pt x="383" y="216"/>
                </a:cubicBezTo>
                <a:cubicBezTo>
                  <a:pt x="383" y="218"/>
                  <a:pt x="381" y="220"/>
                  <a:pt x="379" y="222"/>
                </a:cubicBezTo>
                <a:cubicBezTo>
                  <a:pt x="353" y="239"/>
                  <a:pt x="353" y="239"/>
                  <a:pt x="353" y="239"/>
                </a:cubicBezTo>
                <a:cubicBezTo>
                  <a:pt x="355" y="252"/>
                  <a:pt x="352" y="280"/>
                  <a:pt x="341" y="312"/>
                </a:cubicBezTo>
                <a:cubicBezTo>
                  <a:pt x="341" y="378"/>
                  <a:pt x="341" y="378"/>
                  <a:pt x="341" y="378"/>
                </a:cubicBezTo>
                <a:cubicBezTo>
                  <a:pt x="368" y="396"/>
                  <a:pt x="368" y="396"/>
                  <a:pt x="368" y="396"/>
                </a:cubicBezTo>
                <a:cubicBezTo>
                  <a:pt x="373" y="399"/>
                  <a:pt x="374" y="406"/>
                  <a:pt x="371" y="411"/>
                </a:cubicBezTo>
                <a:cubicBezTo>
                  <a:pt x="369" y="414"/>
                  <a:pt x="366" y="416"/>
                  <a:pt x="362" y="416"/>
                </a:cubicBezTo>
                <a:cubicBezTo>
                  <a:pt x="360" y="416"/>
                  <a:pt x="358" y="415"/>
                  <a:pt x="356" y="414"/>
                </a:cubicBezTo>
                <a:cubicBezTo>
                  <a:pt x="324" y="393"/>
                  <a:pt x="324" y="393"/>
                  <a:pt x="324" y="393"/>
                </a:cubicBezTo>
                <a:cubicBezTo>
                  <a:pt x="321" y="391"/>
                  <a:pt x="320" y="387"/>
                  <a:pt x="320" y="384"/>
                </a:cubicBezTo>
                <a:cubicBezTo>
                  <a:pt x="320" y="309"/>
                  <a:pt x="320" y="309"/>
                  <a:pt x="320" y="309"/>
                </a:cubicBezTo>
                <a:cubicBezTo>
                  <a:pt x="320" y="307"/>
                  <a:pt x="320" y="306"/>
                  <a:pt x="321" y="304"/>
                </a:cubicBezTo>
                <a:cubicBezTo>
                  <a:pt x="340" y="268"/>
                  <a:pt x="331" y="239"/>
                  <a:pt x="331" y="237"/>
                </a:cubicBezTo>
                <a:cubicBezTo>
                  <a:pt x="329" y="233"/>
                  <a:pt x="331" y="228"/>
                  <a:pt x="335" y="225"/>
                </a:cubicBezTo>
                <a:cubicBezTo>
                  <a:pt x="364" y="206"/>
                  <a:pt x="364" y="206"/>
                  <a:pt x="364" y="206"/>
                </a:cubicBezTo>
                <a:cubicBezTo>
                  <a:pt x="372" y="174"/>
                  <a:pt x="372" y="174"/>
                  <a:pt x="372" y="174"/>
                </a:cubicBezTo>
                <a:cubicBezTo>
                  <a:pt x="347" y="149"/>
                  <a:pt x="347" y="149"/>
                  <a:pt x="347" y="149"/>
                </a:cubicBezTo>
                <a:cubicBezTo>
                  <a:pt x="330" y="149"/>
                  <a:pt x="330" y="149"/>
                  <a:pt x="330" y="149"/>
                </a:cubicBezTo>
                <a:cubicBezTo>
                  <a:pt x="327" y="149"/>
                  <a:pt x="323" y="147"/>
                  <a:pt x="321" y="144"/>
                </a:cubicBezTo>
                <a:cubicBezTo>
                  <a:pt x="312" y="130"/>
                  <a:pt x="312" y="130"/>
                  <a:pt x="312" y="130"/>
                </a:cubicBezTo>
                <a:cubicBezTo>
                  <a:pt x="276" y="238"/>
                  <a:pt x="276" y="238"/>
                  <a:pt x="276" y="238"/>
                </a:cubicBezTo>
                <a:cubicBezTo>
                  <a:pt x="276" y="240"/>
                  <a:pt x="274" y="243"/>
                  <a:pt x="271" y="244"/>
                </a:cubicBezTo>
                <a:cubicBezTo>
                  <a:pt x="268" y="246"/>
                  <a:pt x="192" y="284"/>
                  <a:pt x="192" y="384"/>
                </a:cubicBezTo>
                <a:cubicBezTo>
                  <a:pt x="192" y="401"/>
                  <a:pt x="177" y="416"/>
                  <a:pt x="160" y="416"/>
                </a:cubicBezTo>
                <a:cubicBezTo>
                  <a:pt x="142" y="416"/>
                  <a:pt x="128" y="401"/>
                  <a:pt x="128" y="384"/>
                </a:cubicBezTo>
                <a:cubicBezTo>
                  <a:pt x="128" y="298"/>
                  <a:pt x="128" y="298"/>
                  <a:pt x="128" y="298"/>
                </a:cubicBezTo>
                <a:cubicBezTo>
                  <a:pt x="128" y="298"/>
                  <a:pt x="128" y="297"/>
                  <a:pt x="128" y="297"/>
                </a:cubicBezTo>
                <a:cubicBezTo>
                  <a:pt x="129" y="290"/>
                  <a:pt x="130" y="271"/>
                  <a:pt x="122" y="262"/>
                </a:cubicBezTo>
                <a:cubicBezTo>
                  <a:pt x="118" y="258"/>
                  <a:pt x="113" y="256"/>
                  <a:pt x="106" y="256"/>
                </a:cubicBezTo>
                <a:cubicBezTo>
                  <a:pt x="100" y="256"/>
                  <a:pt x="96" y="251"/>
                  <a:pt x="96" y="245"/>
                </a:cubicBezTo>
                <a:cubicBezTo>
                  <a:pt x="96" y="239"/>
                  <a:pt x="100" y="234"/>
                  <a:pt x="106" y="234"/>
                </a:cubicBezTo>
                <a:cubicBezTo>
                  <a:pt x="120" y="234"/>
                  <a:pt x="131" y="239"/>
                  <a:pt x="138" y="248"/>
                </a:cubicBezTo>
                <a:cubicBezTo>
                  <a:pt x="153" y="265"/>
                  <a:pt x="149" y="293"/>
                  <a:pt x="149" y="299"/>
                </a:cubicBezTo>
                <a:cubicBezTo>
                  <a:pt x="149" y="384"/>
                  <a:pt x="149" y="384"/>
                  <a:pt x="149" y="384"/>
                </a:cubicBezTo>
                <a:cubicBezTo>
                  <a:pt x="149" y="390"/>
                  <a:pt x="154" y="394"/>
                  <a:pt x="160" y="394"/>
                </a:cubicBezTo>
                <a:cubicBezTo>
                  <a:pt x="166" y="394"/>
                  <a:pt x="170" y="390"/>
                  <a:pt x="170" y="384"/>
                </a:cubicBezTo>
                <a:cubicBezTo>
                  <a:pt x="170" y="283"/>
                  <a:pt x="240" y="237"/>
                  <a:pt x="258" y="227"/>
                </a:cubicBezTo>
                <a:cubicBezTo>
                  <a:pt x="299" y="103"/>
                  <a:pt x="299" y="103"/>
                  <a:pt x="299" y="103"/>
                </a:cubicBezTo>
                <a:cubicBezTo>
                  <a:pt x="300" y="99"/>
                  <a:pt x="304" y="96"/>
                  <a:pt x="308" y="96"/>
                </a:cubicBezTo>
                <a:cubicBezTo>
                  <a:pt x="312" y="95"/>
                  <a:pt x="316" y="97"/>
                  <a:pt x="318" y="100"/>
                </a:cubicBezTo>
                <a:cubicBezTo>
                  <a:pt x="336" y="128"/>
                  <a:pt x="336" y="128"/>
                  <a:pt x="336" y="128"/>
                </a:cubicBezTo>
                <a:cubicBezTo>
                  <a:pt x="352" y="128"/>
                  <a:pt x="352" y="128"/>
                  <a:pt x="352" y="128"/>
                </a:cubicBezTo>
                <a:cubicBezTo>
                  <a:pt x="354" y="128"/>
                  <a:pt x="357" y="129"/>
                  <a:pt x="359" y="131"/>
                </a:cubicBezTo>
                <a:cubicBezTo>
                  <a:pt x="391" y="163"/>
                  <a:pt x="391" y="163"/>
                  <a:pt x="391" y="163"/>
                </a:cubicBezTo>
                <a:cubicBezTo>
                  <a:pt x="394" y="165"/>
                  <a:pt x="395" y="169"/>
                  <a:pt x="394" y="17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2" name="Group 862">
            <a:extLst>
              <a:ext uri="{FF2B5EF4-FFF2-40B4-BE49-F238E27FC236}">
                <a16:creationId xmlns:a16="http://schemas.microsoft.com/office/drawing/2014/main" id="{C00F18A7-11E1-4FE8-92FA-4E967B36C817}"/>
              </a:ext>
            </a:extLst>
          </p:cNvPr>
          <p:cNvGrpSpPr>
            <a:grpSpLocks noChangeAspect="1"/>
          </p:cNvGrpSpPr>
          <p:nvPr/>
        </p:nvGrpSpPr>
        <p:grpSpPr bwMode="auto">
          <a:xfrm>
            <a:off x="10477916" y="1700213"/>
            <a:ext cx="367982" cy="367982"/>
            <a:chOff x="4364" y="3872"/>
            <a:chExt cx="340" cy="340"/>
          </a:xfrm>
          <a:solidFill>
            <a:schemeClr val="accent4"/>
          </a:solidFill>
        </p:grpSpPr>
        <p:sp>
          <p:nvSpPr>
            <p:cNvPr id="503" name="Freeform 863">
              <a:extLst>
                <a:ext uri="{FF2B5EF4-FFF2-40B4-BE49-F238E27FC236}">
                  <a16:creationId xmlns:a16="http://schemas.microsoft.com/office/drawing/2014/main" id="{00437935-44D8-474A-AEFA-B4A683975080}"/>
                </a:ext>
              </a:extLst>
            </p:cNvPr>
            <p:cNvSpPr>
              <a:spLocks noEditPoints="1"/>
            </p:cNvSpPr>
            <p:nvPr/>
          </p:nvSpPr>
          <p:spPr bwMode="auto">
            <a:xfrm>
              <a:off x="4364" y="38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4" name="Freeform 864">
              <a:extLst>
                <a:ext uri="{FF2B5EF4-FFF2-40B4-BE49-F238E27FC236}">
                  <a16:creationId xmlns:a16="http://schemas.microsoft.com/office/drawing/2014/main" id="{6793CC27-C4B7-4BE2-8615-698A5B5DC44C}"/>
                </a:ext>
              </a:extLst>
            </p:cNvPr>
            <p:cNvSpPr>
              <a:spLocks/>
            </p:cNvSpPr>
            <p:nvPr/>
          </p:nvSpPr>
          <p:spPr bwMode="auto">
            <a:xfrm>
              <a:off x="4428" y="3935"/>
              <a:ext cx="198" cy="213"/>
            </a:xfrm>
            <a:custGeom>
              <a:avLst/>
              <a:gdLst>
                <a:gd name="T0" fmla="*/ 295 w 299"/>
                <a:gd name="T1" fmla="*/ 68 h 321"/>
                <a:gd name="T2" fmla="*/ 263 w 299"/>
                <a:gd name="T3" fmla="*/ 36 h 321"/>
                <a:gd name="T4" fmla="*/ 256 w 299"/>
                <a:gd name="T5" fmla="*/ 33 h 321"/>
                <a:gd name="T6" fmla="*/ 240 w 299"/>
                <a:gd name="T7" fmla="*/ 33 h 321"/>
                <a:gd name="T8" fmla="*/ 222 w 299"/>
                <a:gd name="T9" fmla="*/ 5 h 321"/>
                <a:gd name="T10" fmla="*/ 212 w 299"/>
                <a:gd name="T11" fmla="*/ 1 h 321"/>
                <a:gd name="T12" fmla="*/ 203 w 299"/>
                <a:gd name="T13" fmla="*/ 8 h 321"/>
                <a:gd name="T14" fmla="*/ 162 w 299"/>
                <a:gd name="T15" fmla="*/ 132 h 321"/>
                <a:gd name="T16" fmla="*/ 74 w 299"/>
                <a:gd name="T17" fmla="*/ 289 h 321"/>
                <a:gd name="T18" fmla="*/ 64 w 299"/>
                <a:gd name="T19" fmla="*/ 299 h 321"/>
                <a:gd name="T20" fmla="*/ 53 w 299"/>
                <a:gd name="T21" fmla="*/ 289 h 321"/>
                <a:gd name="T22" fmla="*/ 53 w 299"/>
                <a:gd name="T23" fmla="*/ 204 h 321"/>
                <a:gd name="T24" fmla="*/ 42 w 299"/>
                <a:gd name="T25" fmla="*/ 153 h 321"/>
                <a:gd name="T26" fmla="*/ 10 w 299"/>
                <a:gd name="T27" fmla="*/ 139 h 321"/>
                <a:gd name="T28" fmla="*/ 0 w 299"/>
                <a:gd name="T29" fmla="*/ 150 h 321"/>
                <a:gd name="T30" fmla="*/ 10 w 299"/>
                <a:gd name="T31" fmla="*/ 161 h 321"/>
                <a:gd name="T32" fmla="*/ 26 w 299"/>
                <a:gd name="T33" fmla="*/ 167 h 321"/>
                <a:gd name="T34" fmla="*/ 32 w 299"/>
                <a:gd name="T35" fmla="*/ 202 h 321"/>
                <a:gd name="T36" fmla="*/ 32 w 299"/>
                <a:gd name="T37" fmla="*/ 203 h 321"/>
                <a:gd name="T38" fmla="*/ 32 w 299"/>
                <a:gd name="T39" fmla="*/ 289 h 321"/>
                <a:gd name="T40" fmla="*/ 64 w 299"/>
                <a:gd name="T41" fmla="*/ 321 h 321"/>
                <a:gd name="T42" fmla="*/ 96 w 299"/>
                <a:gd name="T43" fmla="*/ 289 h 321"/>
                <a:gd name="T44" fmla="*/ 175 w 299"/>
                <a:gd name="T45" fmla="*/ 149 h 321"/>
                <a:gd name="T46" fmla="*/ 180 w 299"/>
                <a:gd name="T47" fmla="*/ 143 h 321"/>
                <a:gd name="T48" fmla="*/ 216 w 299"/>
                <a:gd name="T49" fmla="*/ 35 h 321"/>
                <a:gd name="T50" fmla="*/ 225 w 299"/>
                <a:gd name="T51" fmla="*/ 49 h 321"/>
                <a:gd name="T52" fmla="*/ 234 w 299"/>
                <a:gd name="T53" fmla="*/ 54 h 321"/>
                <a:gd name="T54" fmla="*/ 251 w 299"/>
                <a:gd name="T55" fmla="*/ 54 h 321"/>
                <a:gd name="T56" fmla="*/ 276 w 299"/>
                <a:gd name="T57" fmla="*/ 79 h 321"/>
                <a:gd name="T58" fmla="*/ 268 w 299"/>
                <a:gd name="T59" fmla="*/ 111 h 321"/>
                <a:gd name="T60" fmla="*/ 239 w 299"/>
                <a:gd name="T61" fmla="*/ 130 h 321"/>
                <a:gd name="T62" fmla="*/ 235 w 299"/>
                <a:gd name="T63" fmla="*/ 142 h 321"/>
                <a:gd name="T64" fmla="*/ 225 w 299"/>
                <a:gd name="T65" fmla="*/ 209 h 321"/>
                <a:gd name="T66" fmla="*/ 224 w 299"/>
                <a:gd name="T67" fmla="*/ 214 h 321"/>
                <a:gd name="T68" fmla="*/ 224 w 299"/>
                <a:gd name="T69" fmla="*/ 289 h 321"/>
                <a:gd name="T70" fmla="*/ 228 w 299"/>
                <a:gd name="T71" fmla="*/ 298 h 321"/>
                <a:gd name="T72" fmla="*/ 260 w 299"/>
                <a:gd name="T73" fmla="*/ 319 h 321"/>
                <a:gd name="T74" fmla="*/ 266 w 299"/>
                <a:gd name="T75" fmla="*/ 321 h 321"/>
                <a:gd name="T76" fmla="*/ 275 w 299"/>
                <a:gd name="T77" fmla="*/ 316 h 321"/>
                <a:gd name="T78" fmla="*/ 272 w 299"/>
                <a:gd name="T79" fmla="*/ 301 h 321"/>
                <a:gd name="T80" fmla="*/ 245 w 299"/>
                <a:gd name="T81" fmla="*/ 283 h 321"/>
                <a:gd name="T82" fmla="*/ 245 w 299"/>
                <a:gd name="T83" fmla="*/ 217 h 321"/>
                <a:gd name="T84" fmla="*/ 257 w 299"/>
                <a:gd name="T85" fmla="*/ 144 h 321"/>
                <a:gd name="T86" fmla="*/ 283 w 299"/>
                <a:gd name="T87" fmla="*/ 127 h 321"/>
                <a:gd name="T88" fmla="*/ 287 w 299"/>
                <a:gd name="T89" fmla="*/ 121 h 321"/>
                <a:gd name="T90" fmla="*/ 298 w 299"/>
                <a:gd name="T91" fmla="*/ 78 h 321"/>
                <a:gd name="T92" fmla="*/ 295 w 299"/>
                <a:gd name="T93" fmla="*/ 6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9" h="321">
                  <a:moveTo>
                    <a:pt x="295" y="68"/>
                  </a:moveTo>
                  <a:cubicBezTo>
                    <a:pt x="263" y="36"/>
                    <a:pt x="263" y="36"/>
                    <a:pt x="263" y="36"/>
                  </a:cubicBezTo>
                  <a:cubicBezTo>
                    <a:pt x="261" y="34"/>
                    <a:pt x="258" y="33"/>
                    <a:pt x="256" y="33"/>
                  </a:cubicBezTo>
                  <a:cubicBezTo>
                    <a:pt x="240" y="33"/>
                    <a:pt x="240" y="33"/>
                    <a:pt x="240" y="33"/>
                  </a:cubicBezTo>
                  <a:cubicBezTo>
                    <a:pt x="222" y="5"/>
                    <a:pt x="222" y="5"/>
                    <a:pt x="222" y="5"/>
                  </a:cubicBezTo>
                  <a:cubicBezTo>
                    <a:pt x="220" y="2"/>
                    <a:pt x="216" y="0"/>
                    <a:pt x="212" y="1"/>
                  </a:cubicBezTo>
                  <a:cubicBezTo>
                    <a:pt x="208" y="1"/>
                    <a:pt x="204" y="4"/>
                    <a:pt x="203" y="8"/>
                  </a:cubicBezTo>
                  <a:cubicBezTo>
                    <a:pt x="162" y="132"/>
                    <a:pt x="162" y="132"/>
                    <a:pt x="162" y="132"/>
                  </a:cubicBezTo>
                  <a:cubicBezTo>
                    <a:pt x="144" y="142"/>
                    <a:pt x="74" y="188"/>
                    <a:pt x="74" y="289"/>
                  </a:cubicBezTo>
                  <a:cubicBezTo>
                    <a:pt x="74" y="295"/>
                    <a:pt x="70" y="299"/>
                    <a:pt x="64" y="299"/>
                  </a:cubicBezTo>
                  <a:cubicBezTo>
                    <a:pt x="58" y="299"/>
                    <a:pt x="53" y="295"/>
                    <a:pt x="53" y="289"/>
                  </a:cubicBezTo>
                  <a:cubicBezTo>
                    <a:pt x="53" y="204"/>
                    <a:pt x="53" y="204"/>
                    <a:pt x="53" y="204"/>
                  </a:cubicBezTo>
                  <a:cubicBezTo>
                    <a:pt x="53" y="198"/>
                    <a:pt x="57" y="170"/>
                    <a:pt x="42" y="153"/>
                  </a:cubicBezTo>
                  <a:cubicBezTo>
                    <a:pt x="35" y="144"/>
                    <a:pt x="24" y="139"/>
                    <a:pt x="10" y="139"/>
                  </a:cubicBezTo>
                  <a:cubicBezTo>
                    <a:pt x="4" y="139"/>
                    <a:pt x="0" y="144"/>
                    <a:pt x="0" y="150"/>
                  </a:cubicBezTo>
                  <a:cubicBezTo>
                    <a:pt x="0" y="156"/>
                    <a:pt x="4" y="161"/>
                    <a:pt x="10" y="161"/>
                  </a:cubicBezTo>
                  <a:cubicBezTo>
                    <a:pt x="17" y="161"/>
                    <a:pt x="22" y="163"/>
                    <a:pt x="26" y="167"/>
                  </a:cubicBezTo>
                  <a:cubicBezTo>
                    <a:pt x="34" y="176"/>
                    <a:pt x="33" y="195"/>
                    <a:pt x="32" y="202"/>
                  </a:cubicBezTo>
                  <a:cubicBezTo>
                    <a:pt x="32" y="202"/>
                    <a:pt x="32" y="203"/>
                    <a:pt x="32" y="203"/>
                  </a:cubicBezTo>
                  <a:cubicBezTo>
                    <a:pt x="32" y="289"/>
                    <a:pt x="32" y="289"/>
                    <a:pt x="32" y="289"/>
                  </a:cubicBezTo>
                  <a:cubicBezTo>
                    <a:pt x="32" y="306"/>
                    <a:pt x="46" y="321"/>
                    <a:pt x="64" y="321"/>
                  </a:cubicBezTo>
                  <a:cubicBezTo>
                    <a:pt x="81" y="321"/>
                    <a:pt x="96" y="306"/>
                    <a:pt x="96" y="289"/>
                  </a:cubicBezTo>
                  <a:cubicBezTo>
                    <a:pt x="96" y="189"/>
                    <a:pt x="172" y="151"/>
                    <a:pt x="175" y="149"/>
                  </a:cubicBezTo>
                  <a:cubicBezTo>
                    <a:pt x="178" y="148"/>
                    <a:pt x="180" y="145"/>
                    <a:pt x="180" y="143"/>
                  </a:cubicBezTo>
                  <a:cubicBezTo>
                    <a:pt x="216" y="35"/>
                    <a:pt x="216" y="35"/>
                    <a:pt x="216" y="35"/>
                  </a:cubicBezTo>
                  <a:cubicBezTo>
                    <a:pt x="225" y="49"/>
                    <a:pt x="225" y="49"/>
                    <a:pt x="225" y="49"/>
                  </a:cubicBezTo>
                  <a:cubicBezTo>
                    <a:pt x="227" y="52"/>
                    <a:pt x="231" y="54"/>
                    <a:pt x="234" y="54"/>
                  </a:cubicBezTo>
                  <a:cubicBezTo>
                    <a:pt x="251" y="54"/>
                    <a:pt x="251" y="54"/>
                    <a:pt x="251" y="54"/>
                  </a:cubicBezTo>
                  <a:cubicBezTo>
                    <a:pt x="276" y="79"/>
                    <a:pt x="276" y="79"/>
                    <a:pt x="276" y="79"/>
                  </a:cubicBezTo>
                  <a:cubicBezTo>
                    <a:pt x="268" y="111"/>
                    <a:pt x="268" y="111"/>
                    <a:pt x="268" y="111"/>
                  </a:cubicBezTo>
                  <a:cubicBezTo>
                    <a:pt x="239" y="130"/>
                    <a:pt x="239" y="130"/>
                    <a:pt x="239" y="130"/>
                  </a:cubicBezTo>
                  <a:cubicBezTo>
                    <a:pt x="235" y="133"/>
                    <a:pt x="233" y="138"/>
                    <a:pt x="235" y="142"/>
                  </a:cubicBezTo>
                  <a:cubicBezTo>
                    <a:pt x="235" y="144"/>
                    <a:pt x="244" y="173"/>
                    <a:pt x="225" y="209"/>
                  </a:cubicBezTo>
                  <a:cubicBezTo>
                    <a:pt x="224" y="211"/>
                    <a:pt x="224" y="212"/>
                    <a:pt x="224" y="214"/>
                  </a:cubicBezTo>
                  <a:cubicBezTo>
                    <a:pt x="224" y="289"/>
                    <a:pt x="224" y="289"/>
                    <a:pt x="224" y="289"/>
                  </a:cubicBezTo>
                  <a:cubicBezTo>
                    <a:pt x="224" y="292"/>
                    <a:pt x="225" y="296"/>
                    <a:pt x="228" y="298"/>
                  </a:cubicBezTo>
                  <a:cubicBezTo>
                    <a:pt x="260" y="319"/>
                    <a:pt x="260" y="319"/>
                    <a:pt x="260" y="319"/>
                  </a:cubicBezTo>
                  <a:cubicBezTo>
                    <a:pt x="262" y="320"/>
                    <a:pt x="264" y="321"/>
                    <a:pt x="266" y="321"/>
                  </a:cubicBezTo>
                  <a:cubicBezTo>
                    <a:pt x="270" y="321"/>
                    <a:pt x="273" y="319"/>
                    <a:pt x="275" y="316"/>
                  </a:cubicBezTo>
                  <a:cubicBezTo>
                    <a:pt x="278" y="311"/>
                    <a:pt x="277" y="304"/>
                    <a:pt x="272" y="301"/>
                  </a:cubicBezTo>
                  <a:cubicBezTo>
                    <a:pt x="245" y="283"/>
                    <a:pt x="245" y="283"/>
                    <a:pt x="245" y="283"/>
                  </a:cubicBezTo>
                  <a:cubicBezTo>
                    <a:pt x="245" y="217"/>
                    <a:pt x="245" y="217"/>
                    <a:pt x="245" y="217"/>
                  </a:cubicBezTo>
                  <a:cubicBezTo>
                    <a:pt x="256" y="185"/>
                    <a:pt x="259" y="157"/>
                    <a:pt x="257" y="144"/>
                  </a:cubicBezTo>
                  <a:cubicBezTo>
                    <a:pt x="283" y="127"/>
                    <a:pt x="283" y="127"/>
                    <a:pt x="283" y="127"/>
                  </a:cubicBezTo>
                  <a:cubicBezTo>
                    <a:pt x="285" y="125"/>
                    <a:pt x="287" y="123"/>
                    <a:pt x="287" y="121"/>
                  </a:cubicBezTo>
                  <a:cubicBezTo>
                    <a:pt x="298" y="78"/>
                    <a:pt x="298" y="78"/>
                    <a:pt x="298" y="78"/>
                  </a:cubicBezTo>
                  <a:cubicBezTo>
                    <a:pt x="299" y="74"/>
                    <a:pt x="298" y="70"/>
                    <a:pt x="295"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5" name="Freeform 865">
              <a:extLst>
                <a:ext uri="{FF2B5EF4-FFF2-40B4-BE49-F238E27FC236}">
                  <a16:creationId xmlns:a16="http://schemas.microsoft.com/office/drawing/2014/main" id="{0900FCDD-1134-4444-A149-D201F9FB81A6}"/>
                </a:ext>
              </a:extLst>
            </p:cNvPr>
            <p:cNvSpPr>
              <a:spLocks/>
            </p:cNvSpPr>
            <p:nvPr/>
          </p:nvSpPr>
          <p:spPr bwMode="auto">
            <a:xfrm>
              <a:off x="4498" y="4069"/>
              <a:ext cx="72" cy="79"/>
            </a:xfrm>
            <a:custGeom>
              <a:avLst/>
              <a:gdLst>
                <a:gd name="T0" fmla="*/ 85 w 108"/>
                <a:gd name="T1" fmla="*/ 10 h 119"/>
                <a:gd name="T2" fmla="*/ 73 w 108"/>
                <a:gd name="T3" fmla="*/ 2 h 119"/>
                <a:gd name="T4" fmla="*/ 65 w 108"/>
                <a:gd name="T5" fmla="*/ 14 h 119"/>
                <a:gd name="T6" fmla="*/ 81 w 108"/>
                <a:gd name="T7" fmla="*/ 87 h 119"/>
                <a:gd name="T8" fmla="*/ 11 w 108"/>
                <a:gd name="T9" fmla="*/ 87 h 119"/>
                <a:gd name="T10" fmla="*/ 0 w 108"/>
                <a:gd name="T11" fmla="*/ 97 h 119"/>
                <a:gd name="T12" fmla="*/ 11 w 108"/>
                <a:gd name="T13" fmla="*/ 108 h 119"/>
                <a:gd name="T14" fmla="*/ 85 w 108"/>
                <a:gd name="T15" fmla="*/ 108 h 119"/>
                <a:gd name="T16" fmla="*/ 86 w 108"/>
                <a:gd name="T17" fmla="*/ 110 h 119"/>
                <a:gd name="T18" fmla="*/ 96 w 108"/>
                <a:gd name="T19" fmla="*/ 119 h 119"/>
                <a:gd name="T20" fmla="*/ 99 w 108"/>
                <a:gd name="T21" fmla="*/ 118 h 119"/>
                <a:gd name="T22" fmla="*/ 107 w 108"/>
                <a:gd name="T23" fmla="*/ 106 h 119"/>
                <a:gd name="T24" fmla="*/ 85 w 108"/>
                <a:gd name="T25" fmla="*/ 1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19">
                  <a:moveTo>
                    <a:pt x="85" y="10"/>
                  </a:moveTo>
                  <a:cubicBezTo>
                    <a:pt x="84" y="4"/>
                    <a:pt x="78" y="0"/>
                    <a:pt x="73" y="2"/>
                  </a:cubicBezTo>
                  <a:cubicBezTo>
                    <a:pt x="67" y="3"/>
                    <a:pt x="63" y="9"/>
                    <a:pt x="65" y="14"/>
                  </a:cubicBezTo>
                  <a:cubicBezTo>
                    <a:pt x="81" y="87"/>
                    <a:pt x="81" y="87"/>
                    <a:pt x="81" y="87"/>
                  </a:cubicBezTo>
                  <a:cubicBezTo>
                    <a:pt x="11" y="87"/>
                    <a:pt x="11" y="87"/>
                    <a:pt x="11" y="87"/>
                  </a:cubicBezTo>
                  <a:cubicBezTo>
                    <a:pt x="5" y="87"/>
                    <a:pt x="0" y="91"/>
                    <a:pt x="0" y="97"/>
                  </a:cubicBezTo>
                  <a:cubicBezTo>
                    <a:pt x="0" y="103"/>
                    <a:pt x="5" y="108"/>
                    <a:pt x="11" y="108"/>
                  </a:cubicBezTo>
                  <a:cubicBezTo>
                    <a:pt x="85" y="108"/>
                    <a:pt x="85" y="108"/>
                    <a:pt x="85" y="108"/>
                  </a:cubicBezTo>
                  <a:cubicBezTo>
                    <a:pt x="86" y="110"/>
                    <a:pt x="86" y="110"/>
                    <a:pt x="86" y="110"/>
                  </a:cubicBezTo>
                  <a:cubicBezTo>
                    <a:pt x="87" y="115"/>
                    <a:pt x="91" y="119"/>
                    <a:pt x="96" y="119"/>
                  </a:cubicBezTo>
                  <a:cubicBezTo>
                    <a:pt x="97" y="119"/>
                    <a:pt x="98" y="119"/>
                    <a:pt x="99" y="118"/>
                  </a:cubicBezTo>
                  <a:cubicBezTo>
                    <a:pt x="104" y="117"/>
                    <a:pt x="108" y="111"/>
                    <a:pt x="107" y="106"/>
                  </a:cubicBezTo>
                  <a:lnTo>
                    <a:pt x="85"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6" name="Freeform 366">
            <a:extLst>
              <a:ext uri="{FF2B5EF4-FFF2-40B4-BE49-F238E27FC236}">
                <a16:creationId xmlns:a16="http://schemas.microsoft.com/office/drawing/2014/main" id="{83CF46AA-68B9-4CBC-8E74-3A977E4872CD}"/>
              </a:ext>
            </a:extLst>
          </p:cNvPr>
          <p:cNvSpPr>
            <a:spLocks noChangeAspect="1" noEditPoints="1"/>
          </p:cNvSpPr>
          <p:nvPr/>
        </p:nvSpPr>
        <p:spPr bwMode="auto">
          <a:xfrm>
            <a:off x="10911924" y="1700213"/>
            <a:ext cx="367631" cy="367631"/>
          </a:xfrm>
          <a:custGeom>
            <a:avLst/>
            <a:gdLst>
              <a:gd name="T0" fmla="*/ 188 w 512"/>
              <a:gd name="T1" fmla="*/ 256 h 512"/>
              <a:gd name="T2" fmla="*/ 151 w 512"/>
              <a:gd name="T3" fmla="*/ 235 h 512"/>
              <a:gd name="T4" fmla="*/ 149 w 512"/>
              <a:gd name="T5" fmla="*/ 235 h 512"/>
              <a:gd name="T6" fmla="*/ 134 w 512"/>
              <a:gd name="T7" fmla="*/ 235 h 512"/>
              <a:gd name="T8" fmla="*/ 123 w 512"/>
              <a:gd name="T9" fmla="*/ 219 h 512"/>
              <a:gd name="T10" fmla="*/ 174 w 512"/>
              <a:gd name="T11" fmla="*/ 202 h 512"/>
              <a:gd name="T12" fmla="*/ 181 w 512"/>
              <a:gd name="T13" fmla="*/ 196 h 512"/>
              <a:gd name="T14" fmla="*/ 185 w 512"/>
              <a:gd name="T15" fmla="*/ 184 h 512"/>
              <a:gd name="T16" fmla="*/ 222 w 512"/>
              <a:gd name="T17" fmla="*/ 235 h 512"/>
              <a:gd name="T18" fmla="*/ 188 w 512"/>
              <a:gd name="T19" fmla="*/ 256 h 512"/>
              <a:gd name="T20" fmla="*/ 381 w 512"/>
              <a:gd name="T21" fmla="*/ 216 h 512"/>
              <a:gd name="T22" fmla="*/ 346 w 512"/>
              <a:gd name="T23" fmla="*/ 244 h 512"/>
              <a:gd name="T24" fmla="*/ 341 w 512"/>
              <a:gd name="T25" fmla="*/ 246 h 512"/>
              <a:gd name="T26" fmla="*/ 241 w 512"/>
              <a:gd name="T27" fmla="*/ 246 h 512"/>
              <a:gd name="T28" fmla="*/ 194 w 512"/>
              <a:gd name="T29" fmla="*/ 277 h 512"/>
              <a:gd name="T30" fmla="*/ 203 w 512"/>
              <a:gd name="T31" fmla="*/ 363 h 512"/>
              <a:gd name="T32" fmla="*/ 205 w 512"/>
              <a:gd name="T33" fmla="*/ 374 h 512"/>
              <a:gd name="T34" fmla="*/ 224 w 512"/>
              <a:gd name="T35" fmla="*/ 307 h 512"/>
              <a:gd name="T36" fmla="*/ 237 w 512"/>
              <a:gd name="T37" fmla="*/ 299 h 512"/>
              <a:gd name="T38" fmla="*/ 327 w 512"/>
              <a:gd name="T39" fmla="*/ 300 h 512"/>
              <a:gd name="T40" fmla="*/ 340 w 512"/>
              <a:gd name="T41" fmla="*/ 305 h 512"/>
              <a:gd name="T42" fmla="*/ 369 w 512"/>
              <a:gd name="T43" fmla="*/ 372 h 512"/>
              <a:gd name="T44" fmla="*/ 370 w 512"/>
              <a:gd name="T45" fmla="*/ 371 h 512"/>
              <a:gd name="T46" fmla="*/ 373 w 512"/>
              <a:gd name="T47" fmla="*/ 363 h 512"/>
              <a:gd name="T48" fmla="*/ 363 w 512"/>
              <a:gd name="T49" fmla="*/ 268 h 512"/>
              <a:gd name="T50" fmla="*/ 365 w 512"/>
              <a:gd name="T51" fmla="*/ 260 h 512"/>
              <a:gd name="T52" fmla="*/ 381 w 512"/>
              <a:gd name="T53" fmla="*/ 216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84 w 512"/>
              <a:gd name="T65" fmla="*/ 270 h 512"/>
              <a:gd name="T66" fmla="*/ 393 w 512"/>
              <a:gd name="T67" fmla="*/ 177 h 512"/>
              <a:gd name="T68" fmla="*/ 381 w 512"/>
              <a:gd name="T69" fmla="*/ 171 h 512"/>
              <a:gd name="T70" fmla="*/ 373 w 512"/>
              <a:gd name="T71" fmla="*/ 182 h 512"/>
              <a:gd name="T72" fmla="*/ 338 w 512"/>
              <a:gd name="T73" fmla="*/ 224 h 512"/>
              <a:gd name="T74" fmla="*/ 240 w 512"/>
              <a:gd name="T75" fmla="*/ 224 h 512"/>
              <a:gd name="T76" fmla="*/ 190 w 512"/>
              <a:gd name="T77" fmla="*/ 154 h 512"/>
              <a:gd name="T78" fmla="*/ 180 w 512"/>
              <a:gd name="T79" fmla="*/ 150 h 512"/>
              <a:gd name="T80" fmla="*/ 171 w 512"/>
              <a:gd name="T81" fmla="*/ 157 h 512"/>
              <a:gd name="T82" fmla="*/ 162 w 512"/>
              <a:gd name="T83" fmla="*/ 184 h 512"/>
              <a:gd name="T84" fmla="*/ 103 w 512"/>
              <a:gd name="T85" fmla="*/ 204 h 512"/>
              <a:gd name="T86" fmla="*/ 97 w 512"/>
              <a:gd name="T87" fmla="*/ 210 h 512"/>
              <a:gd name="T88" fmla="*/ 98 w 512"/>
              <a:gd name="T89" fmla="*/ 220 h 512"/>
              <a:gd name="T90" fmla="*/ 119 w 512"/>
              <a:gd name="T91" fmla="*/ 252 h 512"/>
              <a:gd name="T92" fmla="*/ 128 w 512"/>
              <a:gd name="T93" fmla="*/ 256 h 512"/>
              <a:gd name="T94" fmla="*/ 150 w 512"/>
              <a:gd name="T95" fmla="*/ 256 h 512"/>
              <a:gd name="T96" fmla="*/ 171 w 512"/>
              <a:gd name="T97" fmla="*/ 269 h 512"/>
              <a:gd name="T98" fmla="*/ 171 w 512"/>
              <a:gd name="T99" fmla="*/ 269 h 512"/>
              <a:gd name="T100" fmla="*/ 181 w 512"/>
              <a:gd name="T101" fmla="*/ 363 h 512"/>
              <a:gd name="T102" fmla="*/ 193 w 512"/>
              <a:gd name="T103" fmla="*/ 391 h 512"/>
              <a:gd name="T104" fmla="*/ 208 w 512"/>
              <a:gd name="T105" fmla="*/ 396 h 512"/>
              <a:gd name="T106" fmla="*/ 217 w 512"/>
              <a:gd name="T107" fmla="*/ 394 h 512"/>
              <a:gd name="T108" fmla="*/ 224 w 512"/>
              <a:gd name="T109" fmla="*/ 387 h 512"/>
              <a:gd name="T110" fmla="*/ 242 w 512"/>
              <a:gd name="T111" fmla="*/ 322 h 512"/>
              <a:gd name="T112" fmla="*/ 325 w 512"/>
              <a:gd name="T113" fmla="*/ 322 h 512"/>
              <a:gd name="T114" fmla="*/ 353 w 512"/>
              <a:gd name="T115" fmla="*/ 389 h 512"/>
              <a:gd name="T116" fmla="*/ 363 w 512"/>
              <a:gd name="T117" fmla="*/ 395 h 512"/>
              <a:gd name="T118" fmla="*/ 386 w 512"/>
              <a:gd name="T119" fmla="*/ 386 h 512"/>
              <a:gd name="T120" fmla="*/ 395 w 512"/>
              <a:gd name="T121" fmla="*/ 362 h 512"/>
              <a:gd name="T122" fmla="*/ 384 w 512"/>
              <a:gd name="T123" fmla="*/ 2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188" y="256"/>
                </a:moveTo>
                <a:cubicBezTo>
                  <a:pt x="183" y="246"/>
                  <a:pt x="172" y="235"/>
                  <a:pt x="151" y="235"/>
                </a:cubicBezTo>
                <a:cubicBezTo>
                  <a:pt x="150" y="235"/>
                  <a:pt x="150" y="235"/>
                  <a:pt x="149" y="235"/>
                </a:cubicBezTo>
                <a:cubicBezTo>
                  <a:pt x="134" y="235"/>
                  <a:pt x="134" y="235"/>
                  <a:pt x="134" y="235"/>
                </a:cubicBezTo>
                <a:cubicBezTo>
                  <a:pt x="123" y="219"/>
                  <a:pt x="123" y="219"/>
                  <a:pt x="123" y="219"/>
                </a:cubicBezTo>
                <a:cubicBezTo>
                  <a:pt x="174" y="202"/>
                  <a:pt x="174" y="202"/>
                  <a:pt x="174" y="202"/>
                </a:cubicBezTo>
                <a:cubicBezTo>
                  <a:pt x="177" y="201"/>
                  <a:pt x="180" y="199"/>
                  <a:pt x="181" y="196"/>
                </a:cubicBezTo>
                <a:cubicBezTo>
                  <a:pt x="185" y="184"/>
                  <a:pt x="185" y="184"/>
                  <a:pt x="185" y="184"/>
                </a:cubicBezTo>
                <a:cubicBezTo>
                  <a:pt x="222" y="235"/>
                  <a:pt x="222" y="235"/>
                  <a:pt x="222" y="235"/>
                </a:cubicBezTo>
                <a:cubicBezTo>
                  <a:pt x="217" y="242"/>
                  <a:pt x="206" y="254"/>
                  <a:pt x="188" y="256"/>
                </a:cubicBezTo>
                <a:close/>
                <a:moveTo>
                  <a:pt x="381" y="216"/>
                </a:moveTo>
                <a:cubicBezTo>
                  <a:pt x="368" y="232"/>
                  <a:pt x="350" y="243"/>
                  <a:pt x="346" y="244"/>
                </a:cubicBezTo>
                <a:cubicBezTo>
                  <a:pt x="345" y="245"/>
                  <a:pt x="343" y="246"/>
                  <a:pt x="341" y="246"/>
                </a:cubicBezTo>
                <a:cubicBezTo>
                  <a:pt x="241" y="246"/>
                  <a:pt x="241" y="246"/>
                  <a:pt x="241" y="246"/>
                </a:cubicBezTo>
                <a:cubicBezTo>
                  <a:pt x="234" y="255"/>
                  <a:pt x="219" y="273"/>
                  <a:pt x="194" y="277"/>
                </a:cubicBezTo>
                <a:cubicBezTo>
                  <a:pt x="197" y="298"/>
                  <a:pt x="203" y="341"/>
                  <a:pt x="203" y="363"/>
                </a:cubicBezTo>
                <a:cubicBezTo>
                  <a:pt x="203" y="369"/>
                  <a:pt x="204" y="373"/>
                  <a:pt x="205" y="374"/>
                </a:cubicBezTo>
                <a:cubicBezTo>
                  <a:pt x="224" y="307"/>
                  <a:pt x="224" y="307"/>
                  <a:pt x="224" y="307"/>
                </a:cubicBezTo>
                <a:cubicBezTo>
                  <a:pt x="226" y="301"/>
                  <a:pt x="232" y="298"/>
                  <a:pt x="237" y="299"/>
                </a:cubicBezTo>
                <a:cubicBezTo>
                  <a:pt x="287" y="313"/>
                  <a:pt x="327" y="300"/>
                  <a:pt x="327" y="300"/>
                </a:cubicBezTo>
                <a:cubicBezTo>
                  <a:pt x="332" y="298"/>
                  <a:pt x="338" y="300"/>
                  <a:pt x="340" y="305"/>
                </a:cubicBezTo>
                <a:cubicBezTo>
                  <a:pt x="369" y="372"/>
                  <a:pt x="369" y="372"/>
                  <a:pt x="369" y="372"/>
                </a:cubicBezTo>
                <a:cubicBezTo>
                  <a:pt x="370" y="372"/>
                  <a:pt x="370" y="371"/>
                  <a:pt x="370" y="371"/>
                </a:cubicBezTo>
                <a:cubicBezTo>
                  <a:pt x="373" y="369"/>
                  <a:pt x="373" y="365"/>
                  <a:pt x="373" y="363"/>
                </a:cubicBezTo>
                <a:cubicBezTo>
                  <a:pt x="363" y="268"/>
                  <a:pt x="363" y="268"/>
                  <a:pt x="363" y="268"/>
                </a:cubicBezTo>
                <a:cubicBezTo>
                  <a:pt x="362" y="265"/>
                  <a:pt x="363" y="263"/>
                  <a:pt x="365" y="260"/>
                </a:cubicBezTo>
                <a:cubicBezTo>
                  <a:pt x="377" y="245"/>
                  <a:pt x="381" y="229"/>
                  <a:pt x="381" y="21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84" y="270"/>
                </a:moveTo>
                <a:cubicBezTo>
                  <a:pt x="418" y="223"/>
                  <a:pt x="394" y="179"/>
                  <a:pt x="393" y="177"/>
                </a:cubicBezTo>
                <a:cubicBezTo>
                  <a:pt x="391" y="172"/>
                  <a:pt x="386" y="170"/>
                  <a:pt x="381" y="171"/>
                </a:cubicBezTo>
                <a:cubicBezTo>
                  <a:pt x="377" y="173"/>
                  <a:pt x="373" y="177"/>
                  <a:pt x="373" y="182"/>
                </a:cubicBezTo>
                <a:cubicBezTo>
                  <a:pt x="373" y="200"/>
                  <a:pt x="350" y="217"/>
                  <a:pt x="338" y="224"/>
                </a:cubicBezTo>
                <a:cubicBezTo>
                  <a:pt x="240" y="224"/>
                  <a:pt x="240" y="224"/>
                  <a:pt x="240" y="224"/>
                </a:cubicBezTo>
                <a:cubicBezTo>
                  <a:pt x="190" y="154"/>
                  <a:pt x="190" y="154"/>
                  <a:pt x="190" y="154"/>
                </a:cubicBezTo>
                <a:cubicBezTo>
                  <a:pt x="188" y="151"/>
                  <a:pt x="184" y="149"/>
                  <a:pt x="180" y="150"/>
                </a:cubicBezTo>
                <a:cubicBezTo>
                  <a:pt x="176" y="150"/>
                  <a:pt x="172" y="153"/>
                  <a:pt x="171" y="157"/>
                </a:cubicBezTo>
                <a:cubicBezTo>
                  <a:pt x="162" y="184"/>
                  <a:pt x="162" y="184"/>
                  <a:pt x="162" y="184"/>
                </a:cubicBezTo>
                <a:cubicBezTo>
                  <a:pt x="103" y="204"/>
                  <a:pt x="103" y="204"/>
                  <a:pt x="103" y="204"/>
                </a:cubicBezTo>
                <a:cubicBezTo>
                  <a:pt x="100" y="205"/>
                  <a:pt x="98" y="207"/>
                  <a:pt x="97" y="210"/>
                </a:cubicBezTo>
                <a:cubicBezTo>
                  <a:pt x="95" y="213"/>
                  <a:pt x="96" y="217"/>
                  <a:pt x="98" y="220"/>
                </a:cubicBezTo>
                <a:cubicBezTo>
                  <a:pt x="119" y="252"/>
                  <a:pt x="119" y="252"/>
                  <a:pt x="119" y="252"/>
                </a:cubicBezTo>
                <a:cubicBezTo>
                  <a:pt x="121" y="255"/>
                  <a:pt x="124" y="256"/>
                  <a:pt x="128" y="256"/>
                </a:cubicBezTo>
                <a:cubicBezTo>
                  <a:pt x="150" y="256"/>
                  <a:pt x="150" y="256"/>
                  <a:pt x="150" y="256"/>
                </a:cubicBezTo>
                <a:cubicBezTo>
                  <a:pt x="167" y="256"/>
                  <a:pt x="170" y="267"/>
                  <a:pt x="171" y="269"/>
                </a:cubicBezTo>
                <a:cubicBezTo>
                  <a:pt x="171" y="269"/>
                  <a:pt x="171" y="269"/>
                  <a:pt x="171" y="269"/>
                </a:cubicBezTo>
                <a:cubicBezTo>
                  <a:pt x="171" y="273"/>
                  <a:pt x="181" y="336"/>
                  <a:pt x="181" y="363"/>
                </a:cubicBezTo>
                <a:cubicBezTo>
                  <a:pt x="181" y="376"/>
                  <a:pt x="185" y="386"/>
                  <a:pt x="193" y="391"/>
                </a:cubicBezTo>
                <a:cubicBezTo>
                  <a:pt x="198" y="395"/>
                  <a:pt x="203" y="396"/>
                  <a:pt x="208" y="396"/>
                </a:cubicBezTo>
                <a:cubicBezTo>
                  <a:pt x="212" y="396"/>
                  <a:pt x="216" y="395"/>
                  <a:pt x="217" y="394"/>
                </a:cubicBezTo>
                <a:cubicBezTo>
                  <a:pt x="220" y="393"/>
                  <a:pt x="223" y="391"/>
                  <a:pt x="224" y="387"/>
                </a:cubicBezTo>
                <a:cubicBezTo>
                  <a:pt x="242" y="322"/>
                  <a:pt x="242" y="322"/>
                  <a:pt x="242" y="322"/>
                </a:cubicBezTo>
                <a:cubicBezTo>
                  <a:pt x="279" y="330"/>
                  <a:pt x="310" y="326"/>
                  <a:pt x="325" y="322"/>
                </a:cubicBezTo>
                <a:cubicBezTo>
                  <a:pt x="353" y="389"/>
                  <a:pt x="353" y="389"/>
                  <a:pt x="353" y="389"/>
                </a:cubicBezTo>
                <a:cubicBezTo>
                  <a:pt x="355" y="392"/>
                  <a:pt x="358" y="395"/>
                  <a:pt x="363" y="395"/>
                </a:cubicBezTo>
                <a:cubicBezTo>
                  <a:pt x="375" y="395"/>
                  <a:pt x="382" y="390"/>
                  <a:pt x="386" y="386"/>
                </a:cubicBezTo>
                <a:cubicBezTo>
                  <a:pt x="395" y="377"/>
                  <a:pt x="395" y="364"/>
                  <a:pt x="395" y="362"/>
                </a:cubicBezTo>
                <a:lnTo>
                  <a:pt x="384" y="2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7" name="Group 369">
            <a:extLst>
              <a:ext uri="{FF2B5EF4-FFF2-40B4-BE49-F238E27FC236}">
                <a16:creationId xmlns:a16="http://schemas.microsoft.com/office/drawing/2014/main" id="{57BF38A3-66F6-4711-ADCD-47B4974BC2AE}"/>
              </a:ext>
            </a:extLst>
          </p:cNvPr>
          <p:cNvGrpSpPr>
            <a:grpSpLocks noChangeAspect="1"/>
          </p:cNvGrpSpPr>
          <p:nvPr/>
        </p:nvGrpSpPr>
        <p:grpSpPr bwMode="auto">
          <a:xfrm>
            <a:off x="11345578" y="1700213"/>
            <a:ext cx="367631" cy="367631"/>
            <a:chOff x="6624" y="1193"/>
            <a:chExt cx="340" cy="340"/>
          </a:xfrm>
          <a:solidFill>
            <a:schemeClr val="accent4"/>
          </a:solidFill>
        </p:grpSpPr>
        <p:sp>
          <p:nvSpPr>
            <p:cNvPr id="508" name="Freeform 370">
              <a:extLst>
                <a:ext uri="{FF2B5EF4-FFF2-40B4-BE49-F238E27FC236}">
                  <a16:creationId xmlns:a16="http://schemas.microsoft.com/office/drawing/2014/main" id="{37CCC5CD-D55E-4B2A-8148-B8D968277BA7}"/>
                </a:ext>
              </a:extLst>
            </p:cNvPr>
            <p:cNvSpPr>
              <a:spLocks noEditPoints="1"/>
            </p:cNvSpPr>
            <p:nvPr/>
          </p:nvSpPr>
          <p:spPr bwMode="auto">
            <a:xfrm>
              <a:off x="6624" y="11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9" name="Freeform 371">
              <a:extLst>
                <a:ext uri="{FF2B5EF4-FFF2-40B4-BE49-F238E27FC236}">
                  <a16:creationId xmlns:a16="http://schemas.microsoft.com/office/drawing/2014/main" id="{377A13AA-D604-4DFD-8465-9A1A177C3EF9}"/>
                </a:ext>
              </a:extLst>
            </p:cNvPr>
            <p:cNvSpPr>
              <a:spLocks noEditPoints="1"/>
            </p:cNvSpPr>
            <p:nvPr/>
          </p:nvSpPr>
          <p:spPr bwMode="auto">
            <a:xfrm>
              <a:off x="6687" y="1292"/>
              <a:ext cx="215" cy="164"/>
            </a:xfrm>
            <a:custGeom>
              <a:avLst/>
              <a:gdLst>
                <a:gd name="T0" fmla="*/ 113 w 323"/>
                <a:gd name="T1" fmla="*/ 247 h 247"/>
                <a:gd name="T2" fmla="*/ 98 w 323"/>
                <a:gd name="T3" fmla="*/ 242 h 247"/>
                <a:gd name="T4" fmla="*/ 86 w 323"/>
                <a:gd name="T5" fmla="*/ 214 h 247"/>
                <a:gd name="T6" fmla="*/ 76 w 323"/>
                <a:gd name="T7" fmla="*/ 120 h 247"/>
                <a:gd name="T8" fmla="*/ 76 w 323"/>
                <a:gd name="T9" fmla="*/ 120 h 247"/>
                <a:gd name="T10" fmla="*/ 55 w 323"/>
                <a:gd name="T11" fmla="*/ 107 h 247"/>
                <a:gd name="T12" fmla="*/ 33 w 323"/>
                <a:gd name="T13" fmla="*/ 107 h 247"/>
                <a:gd name="T14" fmla="*/ 24 w 323"/>
                <a:gd name="T15" fmla="*/ 103 h 247"/>
                <a:gd name="T16" fmla="*/ 3 w 323"/>
                <a:gd name="T17" fmla="*/ 71 h 247"/>
                <a:gd name="T18" fmla="*/ 2 w 323"/>
                <a:gd name="T19" fmla="*/ 61 h 247"/>
                <a:gd name="T20" fmla="*/ 8 w 323"/>
                <a:gd name="T21" fmla="*/ 55 h 247"/>
                <a:gd name="T22" fmla="*/ 67 w 323"/>
                <a:gd name="T23" fmla="*/ 35 h 247"/>
                <a:gd name="T24" fmla="*/ 76 w 323"/>
                <a:gd name="T25" fmla="*/ 8 h 247"/>
                <a:gd name="T26" fmla="*/ 85 w 323"/>
                <a:gd name="T27" fmla="*/ 1 h 247"/>
                <a:gd name="T28" fmla="*/ 95 w 323"/>
                <a:gd name="T29" fmla="*/ 5 h 247"/>
                <a:gd name="T30" fmla="*/ 145 w 323"/>
                <a:gd name="T31" fmla="*/ 75 h 247"/>
                <a:gd name="T32" fmla="*/ 243 w 323"/>
                <a:gd name="T33" fmla="*/ 75 h 247"/>
                <a:gd name="T34" fmla="*/ 278 w 323"/>
                <a:gd name="T35" fmla="*/ 33 h 247"/>
                <a:gd name="T36" fmla="*/ 286 w 323"/>
                <a:gd name="T37" fmla="*/ 22 h 247"/>
                <a:gd name="T38" fmla="*/ 298 w 323"/>
                <a:gd name="T39" fmla="*/ 28 h 247"/>
                <a:gd name="T40" fmla="*/ 289 w 323"/>
                <a:gd name="T41" fmla="*/ 121 h 247"/>
                <a:gd name="T42" fmla="*/ 300 w 323"/>
                <a:gd name="T43" fmla="*/ 213 h 247"/>
                <a:gd name="T44" fmla="*/ 291 w 323"/>
                <a:gd name="T45" fmla="*/ 237 h 247"/>
                <a:gd name="T46" fmla="*/ 268 w 323"/>
                <a:gd name="T47" fmla="*/ 246 h 247"/>
                <a:gd name="T48" fmla="*/ 258 w 323"/>
                <a:gd name="T49" fmla="*/ 240 h 247"/>
                <a:gd name="T50" fmla="*/ 230 w 323"/>
                <a:gd name="T51" fmla="*/ 173 h 247"/>
                <a:gd name="T52" fmla="*/ 147 w 323"/>
                <a:gd name="T53" fmla="*/ 173 h 247"/>
                <a:gd name="T54" fmla="*/ 129 w 323"/>
                <a:gd name="T55" fmla="*/ 238 h 247"/>
                <a:gd name="T56" fmla="*/ 122 w 323"/>
                <a:gd name="T57" fmla="*/ 245 h 247"/>
                <a:gd name="T58" fmla="*/ 113 w 323"/>
                <a:gd name="T59" fmla="*/ 247 h 247"/>
                <a:gd name="T60" fmla="*/ 99 w 323"/>
                <a:gd name="T61" fmla="*/ 128 h 247"/>
                <a:gd name="T62" fmla="*/ 108 w 323"/>
                <a:gd name="T63" fmla="*/ 214 h 247"/>
                <a:gd name="T64" fmla="*/ 110 w 323"/>
                <a:gd name="T65" fmla="*/ 225 h 247"/>
                <a:gd name="T66" fmla="*/ 129 w 323"/>
                <a:gd name="T67" fmla="*/ 158 h 247"/>
                <a:gd name="T68" fmla="*/ 142 w 323"/>
                <a:gd name="T69" fmla="*/ 150 h 247"/>
                <a:gd name="T70" fmla="*/ 232 w 323"/>
                <a:gd name="T71" fmla="*/ 151 h 247"/>
                <a:gd name="T72" fmla="*/ 245 w 323"/>
                <a:gd name="T73" fmla="*/ 156 h 247"/>
                <a:gd name="T74" fmla="*/ 274 w 323"/>
                <a:gd name="T75" fmla="*/ 223 h 247"/>
                <a:gd name="T76" fmla="*/ 275 w 323"/>
                <a:gd name="T77" fmla="*/ 222 h 247"/>
                <a:gd name="T78" fmla="*/ 278 w 323"/>
                <a:gd name="T79" fmla="*/ 214 h 247"/>
                <a:gd name="T80" fmla="*/ 268 w 323"/>
                <a:gd name="T81" fmla="*/ 119 h 247"/>
                <a:gd name="T82" fmla="*/ 270 w 323"/>
                <a:gd name="T83" fmla="*/ 111 h 247"/>
                <a:gd name="T84" fmla="*/ 286 w 323"/>
                <a:gd name="T85" fmla="*/ 67 h 247"/>
                <a:gd name="T86" fmla="*/ 251 w 323"/>
                <a:gd name="T87" fmla="*/ 95 h 247"/>
                <a:gd name="T88" fmla="*/ 246 w 323"/>
                <a:gd name="T89" fmla="*/ 97 h 247"/>
                <a:gd name="T90" fmla="*/ 146 w 323"/>
                <a:gd name="T91" fmla="*/ 97 h 247"/>
                <a:gd name="T92" fmla="*/ 99 w 323"/>
                <a:gd name="T93" fmla="*/ 128 h 247"/>
                <a:gd name="T94" fmla="*/ 56 w 323"/>
                <a:gd name="T95" fmla="*/ 86 h 247"/>
                <a:gd name="T96" fmla="*/ 93 w 323"/>
                <a:gd name="T97" fmla="*/ 107 h 247"/>
                <a:gd name="T98" fmla="*/ 127 w 323"/>
                <a:gd name="T99" fmla="*/ 86 h 247"/>
                <a:gd name="T100" fmla="*/ 90 w 323"/>
                <a:gd name="T101" fmla="*/ 35 h 247"/>
                <a:gd name="T102" fmla="*/ 86 w 323"/>
                <a:gd name="T103" fmla="*/ 47 h 247"/>
                <a:gd name="T104" fmla="*/ 79 w 323"/>
                <a:gd name="T105" fmla="*/ 53 h 247"/>
                <a:gd name="T106" fmla="*/ 28 w 323"/>
                <a:gd name="T107" fmla="*/ 70 h 247"/>
                <a:gd name="T108" fmla="*/ 39 w 323"/>
                <a:gd name="T109" fmla="*/ 86 h 247"/>
                <a:gd name="T110" fmla="*/ 54 w 323"/>
                <a:gd name="T111" fmla="*/ 86 h 247"/>
                <a:gd name="T112" fmla="*/ 56 w 323"/>
                <a:gd name="T113" fmla="*/ 8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3" h="247">
                  <a:moveTo>
                    <a:pt x="113" y="247"/>
                  </a:moveTo>
                  <a:cubicBezTo>
                    <a:pt x="108" y="247"/>
                    <a:pt x="103" y="246"/>
                    <a:pt x="98" y="242"/>
                  </a:cubicBezTo>
                  <a:cubicBezTo>
                    <a:pt x="90" y="237"/>
                    <a:pt x="86" y="227"/>
                    <a:pt x="86" y="214"/>
                  </a:cubicBezTo>
                  <a:cubicBezTo>
                    <a:pt x="86" y="187"/>
                    <a:pt x="76" y="124"/>
                    <a:pt x="76" y="120"/>
                  </a:cubicBezTo>
                  <a:cubicBezTo>
                    <a:pt x="76" y="120"/>
                    <a:pt x="76" y="120"/>
                    <a:pt x="76" y="120"/>
                  </a:cubicBezTo>
                  <a:cubicBezTo>
                    <a:pt x="75" y="118"/>
                    <a:pt x="72" y="107"/>
                    <a:pt x="55" y="107"/>
                  </a:cubicBezTo>
                  <a:cubicBezTo>
                    <a:pt x="33" y="107"/>
                    <a:pt x="33" y="107"/>
                    <a:pt x="33" y="107"/>
                  </a:cubicBezTo>
                  <a:cubicBezTo>
                    <a:pt x="29" y="107"/>
                    <a:pt x="26" y="106"/>
                    <a:pt x="24" y="103"/>
                  </a:cubicBezTo>
                  <a:cubicBezTo>
                    <a:pt x="3" y="71"/>
                    <a:pt x="3" y="71"/>
                    <a:pt x="3" y="71"/>
                  </a:cubicBezTo>
                  <a:cubicBezTo>
                    <a:pt x="1" y="68"/>
                    <a:pt x="0" y="64"/>
                    <a:pt x="2" y="61"/>
                  </a:cubicBezTo>
                  <a:cubicBezTo>
                    <a:pt x="3" y="58"/>
                    <a:pt x="5" y="56"/>
                    <a:pt x="8" y="55"/>
                  </a:cubicBezTo>
                  <a:cubicBezTo>
                    <a:pt x="67" y="35"/>
                    <a:pt x="67" y="35"/>
                    <a:pt x="67" y="35"/>
                  </a:cubicBezTo>
                  <a:cubicBezTo>
                    <a:pt x="76" y="8"/>
                    <a:pt x="76" y="8"/>
                    <a:pt x="76" y="8"/>
                  </a:cubicBezTo>
                  <a:cubicBezTo>
                    <a:pt x="77" y="4"/>
                    <a:pt x="81" y="1"/>
                    <a:pt x="85" y="1"/>
                  </a:cubicBezTo>
                  <a:cubicBezTo>
                    <a:pt x="89" y="0"/>
                    <a:pt x="93" y="2"/>
                    <a:pt x="95" y="5"/>
                  </a:cubicBezTo>
                  <a:cubicBezTo>
                    <a:pt x="145" y="75"/>
                    <a:pt x="145" y="75"/>
                    <a:pt x="145" y="75"/>
                  </a:cubicBezTo>
                  <a:cubicBezTo>
                    <a:pt x="243" y="75"/>
                    <a:pt x="243" y="75"/>
                    <a:pt x="243" y="75"/>
                  </a:cubicBezTo>
                  <a:cubicBezTo>
                    <a:pt x="255" y="68"/>
                    <a:pt x="278" y="51"/>
                    <a:pt x="278" y="33"/>
                  </a:cubicBezTo>
                  <a:cubicBezTo>
                    <a:pt x="278" y="28"/>
                    <a:pt x="282" y="24"/>
                    <a:pt x="286" y="22"/>
                  </a:cubicBezTo>
                  <a:cubicBezTo>
                    <a:pt x="291" y="21"/>
                    <a:pt x="296" y="23"/>
                    <a:pt x="298" y="28"/>
                  </a:cubicBezTo>
                  <a:cubicBezTo>
                    <a:pt x="299" y="30"/>
                    <a:pt x="323" y="74"/>
                    <a:pt x="289" y="121"/>
                  </a:cubicBezTo>
                  <a:cubicBezTo>
                    <a:pt x="300" y="213"/>
                    <a:pt x="300" y="213"/>
                    <a:pt x="300" y="213"/>
                  </a:cubicBezTo>
                  <a:cubicBezTo>
                    <a:pt x="300" y="215"/>
                    <a:pt x="300" y="228"/>
                    <a:pt x="291" y="237"/>
                  </a:cubicBezTo>
                  <a:cubicBezTo>
                    <a:pt x="287" y="241"/>
                    <a:pt x="280" y="246"/>
                    <a:pt x="268" y="246"/>
                  </a:cubicBezTo>
                  <a:cubicBezTo>
                    <a:pt x="263" y="246"/>
                    <a:pt x="260" y="243"/>
                    <a:pt x="258" y="240"/>
                  </a:cubicBezTo>
                  <a:cubicBezTo>
                    <a:pt x="230" y="173"/>
                    <a:pt x="230" y="173"/>
                    <a:pt x="230" y="173"/>
                  </a:cubicBezTo>
                  <a:cubicBezTo>
                    <a:pt x="215" y="177"/>
                    <a:pt x="184" y="181"/>
                    <a:pt x="147" y="173"/>
                  </a:cubicBezTo>
                  <a:cubicBezTo>
                    <a:pt x="129" y="238"/>
                    <a:pt x="129" y="238"/>
                    <a:pt x="129" y="238"/>
                  </a:cubicBezTo>
                  <a:cubicBezTo>
                    <a:pt x="128" y="242"/>
                    <a:pt x="125" y="244"/>
                    <a:pt x="122" y="245"/>
                  </a:cubicBezTo>
                  <a:cubicBezTo>
                    <a:pt x="121" y="246"/>
                    <a:pt x="117" y="247"/>
                    <a:pt x="113" y="247"/>
                  </a:cubicBezTo>
                  <a:close/>
                  <a:moveTo>
                    <a:pt x="99" y="128"/>
                  </a:moveTo>
                  <a:cubicBezTo>
                    <a:pt x="102" y="149"/>
                    <a:pt x="108" y="192"/>
                    <a:pt x="108" y="214"/>
                  </a:cubicBezTo>
                  <a:cubicBezTo>
                    <a:pt x="108" y="220"/>
                    <a:pt x="109" y="224"/>
                    <a:pt x="110" y="225"/>
                  </a:cubicBezTo>
                  <a:cubicBezTo>
                    <a:pt x="129" y="158"/>
                    <a:pt x="129" y="158"/>
                    <a:pt x="129" y="158"/>
                  </a:cubicBezTo>
                  <a:cubicBezTo>
                    <a:pt x="131" y="152"/>
                    <a:pt x="137" y="149"/>
                    <a:pt x="142" y="150"/>
                  </a:cubicBezTo>
                  <a:cubicBezTo>
                    <a:pt x="192" y="164"/>
                    <a:pt x="232" y="151"/>
                    <a:pt x="232" y="151"/>
                  </a:cubicBezTo>
                  <a:cubicBezTo>
                    <a:pt x="237" y="149"/>
                    <a:pt x="243" y="151"/>
                    <a:pt x="245" y="156"/>
                  </a:cubicBezTo>
                  <a:cubicBezTo>
                    <a:pt x="274" y="223"/>
                    <a:pt x="274" y="223"/>
                    <a:pt x="274" y="223"/>
                  </a:cubicBezTo>
                  <a:cubicBezTo>
                    <a:pt x="275" y="223"/>
                    <a:pt x="275" y="222"/>
                    <a:pt x="275" y="222"/>
                  </a:cubicBezTo>
                  <a:cubicBezTo>
                    <a:pt x="278" y="220"/>
                    <a:pt x="278" y="216"/>
                    <a:pt x="278" y="214"/>
                  </a:cubicBezTo>
                  <a:cubicBezTo>
                    <a:pt x="268" y="119"/>
                    <a:pt x="268" y="119"/>
                    <a:pt x="268" y="119"/>
                  </a:cubicBezTo>
                  <a:cubicBezTo>
                    <a:pt x="267" y="116"/>
                    <a:pt x="268" y="114"/>
                    <a:pt x="270" y="111"/>
                  </a:cubicBezTo>
                  <a:cubicBezTo>
                    <a:pt x="282" y="96"/>
                    <a:pt x="286" y="80"/>
                    <a:pt x="286" y="67"/>
                  </a:cubicBezTo>
                  <a:cubicBezTo>
                    <a:pt x="273" y="83"/>
                    <a:pt x="255" y="94"/>
                    <a:pt x="251" y="95"/>
                  </a:cubicBezTo>
                  <a:cubicBezTo>
                    <a:pt x="250" y="96"/>
                    <a:pt x="248" y="97"/>
                    <a:pt x="246" y="97"/>
                  </a:cubicBezTo>
                  <a:cubicBezTo>
                    <a:pt x="146" y="97"/>
                    <a:pt x="146" y="97"/>
                    <a:pt x="146" y="97"/>
                  </a:cubicBezTo>
                  <a:cubicBezTo>
                    <a:pt x="139" y="106"/>
                    <a:pt x="124" y="124"/>
                    <a:pt x="99" y="128"/>
                  </a:cubicBezTo>
                  <a:close/>
                  <a:moveTo>
                    <a:pt x="56" y="86"/>
                  </a:moveTo>
                  <a:cubicBezTo>
                    <a:pt x="77" y="86"/>
                    <a:pt x="88" y="97"/>
                    <a:pt x="93" y="107"/>
                  </a:cubicBezTo>
                  <a:cubicBezTo>
                    <a:pt x="111" y="105"/>
                    <a:pt x="122" y="93"/>
                    <a:pt x="127" y="86"/>
                  </a:cubicBezTo>
                  <a:cubicBezTo>
                    <a:pt x="90" y="35"/>
                    <a:pt x="90" y="35"/>
                    <a:pt x="90" y="35"/>
                  </a:cubicBezTo>
                  <a:cubicBezTo>
                    <a:pt x="86" y="47"/>
                    <a:pt x="86" y="47"/>
                    <a:pt x="86" y="47"/>
                  </a:cubicBezTo>
                  <a:cubicBezTo>
                    <a:pt x="85" y="50"/>
                    <a:pt x="82" y="52"/>
                    <a:pt x="79" y="53"/>
                  </a:cubicBezTo>
                  <a:cubicBezTo>
                    <a:pt x="28" y="70"/>
                    <a:pt x="28" y="70"/>
                    <a:pt x="28" y="70"/>
                  </a:cubicBezTo>
                  <a:cubicBezTo>
                    <a:pt x="39" y="86"/>
                    <a:pt x="39" y="86"/>
                    <a:pt x="39" y="86"/>
                  </a:cubicBezTo>
                  <a:cubicBezTo>
                    <a:pt x="54" y="86"/>
                    <a:pt x="54" y="86"/>
                    <a:pt x="54" y="86"/>
                  </a:cubicBezTo>
                  <a:cubicBezTo>
                    <a:pt x="55" y="86"/>
                    <a:pt x="55" y="86"/>
                    <a:pt x="56"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0" name="Freeform 131">
            <a:extLst>
              <a:ext uri="{FF2B5EF4-FFF2-40B4-BE49-F238E27FC236}">
                <a16:creationId xmlns:a16="http://schemas.microsoft.com/office/drawing/2014/main" id="{553B053B-D8F3-4C7F-B8C8-69CD572AFF88}"/>
              </a:ext>
            </a:extLst>
          </p:cNvPr>
          <p:cNvSpPr>
            <a:spLocks noChangeAspect="1" noEditPoints="1"/>
          </p:cNvSpPr>
          <p:nvPr/>
        </p:nvSpPr>
        <p:spPr bwMode="auto">
          <a:xfrm>
            <a:off x="477228" y="2509882"/>
            <a:ext cx="369021" cy="369021"/>
          </a:xfrm>
          <a:custGeom>
            <a:avLst/>
            <a:gdLst>
              <a:gd name="T0" fmla="*/ 224 w 512"/>
              <a:gd name="T1" fmla="*/ 394 h 512"/>
              <a:gd name="T2" fmla="*/ 181 w 512"/>
              <a:gd name="T3" fmla="*/ 278 h 512"/>
              <a:gd name="T4" fmla="*/ 224 w 512"/>
              <a:gd name="T5" fmla="*/ 312 h 512"/>
              <a:gd name="T6" fmla="*/ 256 w 512"/>
              <a:gd name="T7" fmla="*/ 309 h 512"/>
              <a:gd name="T8" fmla="*/ 330 w 512"/>
              <a:gd name="T9" fmla="*/ 394 h 512"/>
              <a:gd name="T10" fmla="*/ 245 w 512"/>
              <a:gd name="T11" fmla="*/ 308 h 512"/>
              <a:gd name="T12" fmla="*/ 288 w 512"/>
              <a:gd name="T13" fmla="*/ 352 h 512"/>
              <a:gd name="T14" fmla="*/ 309 w 512"/>
              <a:gd name="T15" fmla="*/ 352 h 512"/>
              <a:gd name="T16" fmla="*/ 298 w 512"/>
              <a:gd name="T17" fmla="*/ 320 h 512"/>
              <a:gd name="T18" fmla="*/ 288 w 512"/>
              <a:gd name="T19" fmla="*/ 352 h 512"/>
              <a:gd name="T20" fmla="*/ 183 w 512"/>
              <a:gd name="T21" fmla="*/ 124 h 512"/>
              <a:gd name="T22" fmla="*/ 171 w 512"/>
              <a:gd name="T23" fmla="*/ 138 h 512"/>
              <a:gd name="T24" fmla="*/ 304 w 512"/>
              <a:gd name="T25" fmla="*/ 144 h 512"/>
              <a:gd name="T26" fmla="*/ 256 w 512"/>
              <a:gd name="T27" fmla="*/ 117 h 512"/>
              <a:gd name="T28" fmla="*/ 208 w 512"/>
              <a:gd name="T29" fmla="*/ 144 h 512"/>
              <a:gd name="T30" fmla="*/ 341 w 512"/>
              <a:gd name="T31" fmla="*/ 138 h 512"/>
              <a:gd name="T32" fmla="*/ 346 w 512"/>
              <a:gd name="T33" fmla="*/ 120 h 512"/>
              <a:gd name="T34" fmla="*/ 341 w 512"/>
              <a:gd name="T35" fmla="*/ 138 h 512"/>
              <a:gd name="T36" fmla="*/ 256 w 512"/>
              <a:gd name="T37" fmla="*/ 288 h 512"/>
              <a:gd name="T38" fmla="*/ 208 w 512"/>
              <a:gd name="T39" fmla="*/ 165 h 512"/>
              <a:gd name="T40" fmla="*/ 236 w 512"/>
              <a:gd name="T41" fmla="*/ 227 h 512"/>
              <a:gd name="T42" fmla="*/ 236 w 512"/>
              <a:gd name="T43" fmla="*/ 246 h 512"/>
              <a:gd name="T44" fmla="*/ 256 w 512"/>
              <a:gd name="T45" fmla="*/ 261 h 512"/>
              <a:gd name="T46" fmla="*/ 275 w 512"/>
              <a:gd name="T47" fmla="*/ 246 h 512"/>
              <a:gd name="T48" fmla="*/ 276 w 512"/>
              <a:gd name="T49" fmla="*/ 227 h 512"/>
              <a:gd name="T50" fmla="*/ 304 w 512"/>
              <a:gd name="T51" fmla="*/ 165 h 512"/>
              <a:gd name="T52" fmla="*/ 224 w 512"/>
              <a:gd name="T53" fmla="*/ 208 h 512"/>
              <a:gd name="T54" fmla="*/ 191 w 512"/>
              <a:gd name="T55" fmla="*/ 208 h 512"/>
              <a:gd name="T56" fmla="*/ 224 w 512"/>
              <a:gd name="T57" fmla="*/ 208 h 512"/>
              <a:gd name="T58" fmla="*/ 304 w 512"/>
              <a:gd name="T59" fmla="*/ 192 h 512"/>
              <a:gd name="T60" fmla="*/ 304 w 512"/>
              <a:gd name="T61" fmla="*/ 225 h 512"/>
              <a:gd name="T62" fmla="*/ 512 w 512"/>
              <a:gd name="T63" fmla="*/ 256 h 512"/>
              <a:gd name="T64" fmla="*/ 0 w 512"/>
              <a:gd name="T65" fmla="*/ 256 h 512"/>
              <a:gd name="T66" fmla="*/ 512 w 512"/>
              <a:gd name="T67" fmla="*/ 256 h 512"/>
              <a:gd name="T68" fmla="*/ 360 w 512"/>
              <a:gd name="T69" fmla="*/ 96 h 512"/>
              <a:gd name="T70" fmla="*/ 304 w 512"/>
              <a:gd name="T71" fmla="*/ 108 h 512"/>
              <a:gd name="T72" fmla="*/ 207 w 512"/>
              <a:gd name="T73" fmla="*/ 108 h 512"/>
              <a:gd name="T74" fmla="*/ 151 w 512"/>
              <a:gd name="T75" fmla="*/ 96 h 512"/>
              <a:gd name="T76" fmla="*/ 139 w 512"/>
              <a:gd name="T77" fmla="*/ 109 h 512"/>
              <a:gd name="T78" fmla="*/ 149 w 512"/>
              <a:gd name="T79" fmla="*/ 202 h 512"/>
              <a:gd name="T80" fmla="*/ 160 w 512"/>
              <a:gd name="T81" fmla="*/ 352 h 512"/>
              <a:gd name="T82" fmla="*/ 341 w 512"/>
              <a:gd name="T83" fmla="*/ 416 h 512"/>
              <a:gd name="T84" fmla="*/ 352 w 512"/>
              <a:gd name="T85" fmla="*/ 249 h 512"/>
              <a:gd name="T86" fmla="*/ 355 w 512"/>
              <a:gd name="T87" fmla="*/ 163 h 512"/>
              <a:gd name="T88" fmla="*/ 373 w 512"/>
              <a:gd name="T89" fmla="*/ 1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64" y="394"/>
                </a:moveTo>
                <a:cubicBezTo>
                  <a:pt x="224" y="394"/>
                  <a:pt x="224" y="394"/>
                  <a:pt x="224" y="394"/>
                </a:cubicBezTo>
                <a:cubicBezTo>
                  <a:pt x="200" y="394"/>
                  <a:pt x="181" y="375"/>
                  <a:pt x="181" y="352"/>
                </a:cubicBezTo>
                <a:cubicBezTo>
                  <a:pt x="181" y="278"/>
                  <a:pt x="181" y="278"/>
                  <a:pt x="181" y="278"/>
                </a:cubicBezTo>
                <a:cubicBezTo>
                  <a:pt x="193" y="290"/>
                  <a:pt x="207" y="299"/>
                  <a:pt x="224" y="304"/>
                </a:cubicBezTo>
                <a:cubicBezTo>
                  <a:pt x="224" y="312"/>
                  <a:pt x="224" y="312"/>
                  <a:pt x="224" y="312"/>
                </a:cubicBezTo>
                <a:cubicBezTo>
                  <a:pt x="224" y="347"/>
                  <a:pt x="239" y="376"/>
                  <a:pt x="264" y="394"/>
                </a:cubicBezTo>
                <a:close/>
                <a:moveTo>
                  <a:pt x="256" y="309"/>
                </a:moveTo>
                <a:cubicBezTo>
                  <a:pt x="285" y="309"/>
                  <a:pt x="311" y="297"/>
                  <a:pt x="330" y="278"/>
                </a:cubicBezTo>
                <a:cubicBezTo>
                  <a:pt x="330" y="394"/>
                  <a:pt x="330" y="394"/>
                  <a:pt x="330" y="394"/>
                </a:cubicBezTo>
                <a:cubicBezTo>
                  <a:pt x="279" y="393"/>
                  <a:pt x="245" y="360"/>
                  <a:pt x="245" y="312"/>
                </a:cubicBezTo>
                <a:cubicBezTo>
                  <a:pt x="245" y="308"/>
                  <a:pt x="245" y="308"/>
                  <a:pt x="245" y="308"/>
                </a:cubicBezTo>
                <a:cubicBezTo>
                  <a:pt x="249" y="309"/>
                  <a:pt x="252" y="309"/>
                  <a:pt x="256" y="309"/>
                </a:cubicBezTo>
                <a:close/>
                <a:moveTo>
                  <a:pt x="288" y="352"/>
                </a:moveTo>
                <a:cubicBezTo>
                  <a:pt x="288" y="358"/>
                  <a:pt x="292" y="362"/>
                  <a:pt x="298" y="362"/>
                </a:cubicBezTo>
                <a:cubicBezTo>
                  <a:pt x="304" y="362"/>
                  <a:pt x="309" y="358"/>
                  <a:pt x="309" y="352"/>
                </a:cubicBezTo>
                <a:cubicBezTo>
                  <a:pt x="309" y="330"/>
                  <a:pt x="309" y="330"/>
                  <a:pt x="309" y="330"/>
                </a:cubicBezTo>
                <a:cubicBezTo>
                  <a:pt x="309" y="324"/>
                  <a:pt x="304" y="320"/>
                  <a:pt x="298" y="320"/>
                </a:cubicBezTo>
                <a:cubicBezTo>
                  <a:pt x="292" y="320"/>
                  <a:pt x="288" y="324"/>
                  <a:pt x="288" y="330"/>
                </a:cubicBezTo>
                <a:lnTo>
                  <a:pt x="288" y="352"/>
                </a:lnTo>
                <a:close/>
                <a:moveTo>
                  <a:pt x="171" y="138"/>
                </a:moveTo>
                <a:cubicBezTo>
                  <a:pt x="175" y="133"/>
                  <a:pt x="179" y="128"/>
                  <a:pt x="183" y="124"/>
                </a:cubicBezTo>
                <a:cubicBezTo>
                  <a:pt x="165" y="120"/>
                  <a:pt x="165" y="120"/>
                  <a:pt x="165" y="120"/>
                </a:cubicBezTo>
                <a:cubicBezTo>
                  <a:pt x="171" y="138"/>
                  <a:pt x="171" y="138"/>
                  <a:pt x="171" y="138"/>
                </a:cubicBezTo>
                <a:close/>
                <a:moveTo>
                  <a:pt x="256" y="169"/>
                </a:moveTo>
                <a:cubicBezTo>
                  <a:pt x="266" y="154"/>
                  <a:pt x="284" y="144"/>
                  <a:pt x="304" y="144"/>
                </a:cubicBezTo>
                <a:cubicBezTo>
                  <a:pt x="309" y="144"/>
                  <a:pt x="314" y="144"/>
                  <a:pt x="320" y="146"/>
                </a:cubicBezTo>
                <a:cubicBezTo>
                  <a:pt x="304" y="128"/>
                  <a:pt x="281" y="117"/>
                  <a:pt x="256" y="117"/>
                </a:cubicBezTo>
                <a:cubicBezTo>
                  <a:pt x="230" y="117"/>
                  <a:pt x="207" y="128"/>
                  <a:pt x="192" y="146"/>
                </a:cubicBezTo>
                <a:cubicBezTo>
                  <a:pt x="197" y="144"/>
                  <a:pt x="202" y="144"/>
                  <a:pt x="208" y="144"/>
                </a:cubicBezTo>
                <a:cubicBezTo>
                  <a:pt x="228" y="144"/>
                  <a:pt x="245" y="154"/>
                  <a:pt x="256" y="169"/>
                </a:cubicBezTo>
                <a:close/>
                <a:moveTo>
                  <a:pt x="341" y="138"/>
                </a:moveTo>
                <a:cubicBezTo>
                  <a:pt x="341" y="138"/>
                  <a:pt x="341" y="138"/>
                  <a:pt x="341" y="138"/>
                </a:cubicBezTo>
                <a:cubicBezTo>
                  <a:pt x="346" y="120"/>
                  <a:pt x="346" y="120"/>
                  <a:pt x="346" y="120"/>
                </a:cubicBezTo>
                <a:cubicBezTo>
                  <a:pt x="328" y="124"/>
                  <a:pt x="328" y="124"/>
                  <a:pt x="328" y="124"/>
                </a:cubicBezTo>
                <a:cubicBezTo>
                  <a:pt x="333" y="128"/>
                  <a:pt x="337" y="133"/>
                  <a:pt x="341" y="138"/>
                </a:cubicBezTo>
                <a:close/>
                <a:moveTo>
                  <a:pt x="341" y="202"/>
                </a:moveTo>
                <a:cubicBezTo>
                  <a:pt x="341" y="249"/>
                  <a:pt x="303" y="288"/>
                  <a:pt x="256" y="288"/>
                </a:cubicBezTo>
                <a:cubicBezTo>
                  <a:pt x="209" y="288"/>
                  <a:pt x="170" y="249"/>
                  <a:pt x="170" y="202"/>
                </a:cubicBezTo>
                <a:cubicBezTo>
                  <a:pt x="170" y="182"/>
                  <a:pt x="187" y="165"/>
                  <a:pt x="208" y="165"/>
                </a:cubicBezTo>
                <a:cubicBezTo>
                  <a:pt x="228" y="165"/>
                  <a:pt x="245" y="182"/>
                  <a:pt x="245" y="202"/>
                </a:cubicBezTo>
                <a:cubicBezTo>
                  <a:pt x="245" y="211"/>
                  <a:pt x="242" y="220"/>
                  <a:pt x="236" y="227"/>
                </a:cubicBezTo>
                <a:cubicBezTo>
                  <a:pt x="233" y="230"/>
                  <a:pt x="233" y="233"/>
                  <a:pt x="233" y="236"/>
                </a:cubicBezTo>
                <a:cubicBezTo>
                  <a:pt x="233" y="240"/>
                  <a:pt x="233" y="243"/>
                  <a:pt x="236" y="246"/>
                </a:cubicBezTo>
                <a:cubicBezTo>
                  <a:pt x="248" y="258"/>
                  <a:pt x="248" y="258"/>
                  <a:pt x="248" y="258"/>
                </a:cubicBezTo>
                <a:cubicBezTo>
                  <a:pt x="250" y="260"/>
                  <a:pt x="253" y="261"/>
                  <a:pt x="256" y="261"/>
                </a:cubicBezTo>
                <a:cubicBezTo>
                  <a:pt x="258" y="261"/>
                  <a:pt x="261" y="260"/>
                  <a:pt x="263" y="258"/>
                </a:cubicBezTo>
                <a:cubicBezTo>
                  <a:pt x="275" y="246"/>
                  <a:pt x="275" y="246"/>
                  <a:pt x="275" y="246"/>
                </a:cubicBezTo>
                <a:cubicBezTo>
                  <a:pt x="278" y="243"/>
                  <a:pt x="279" y="240"/>
                  <a:pt x="278" y="236"/>
                </a:cubicBezTo>
                <a:cubicBezTo>
                  <a:pt x="279" y="233"/>
                  <a:pt x="278" y="230"/>
                  <a:pt x="276" y="227"/>
                </a:cubicBezTo>
                <a:cubicBezTo>
                  <a:pt x="270" y="220"/>
                  <a:pt x="266" y="211"/>
                  <a:pt x="266" y="202"/>
                </a:cubicBezTo>
                <a:cubicBezTo>
                  <a:pt x="266" y="182"/>
                  <a:pt x="283" y="165"/>
                  <a:pt x="304" y="165"/>
                </a:cubicBezTo>
                <a:cubicBezTo>
                  <a:pt x="324" y="165"/>
                  <a:pt x="341" y="182"/>
                  <a:pt x="341" y="202"/>
                </a:cubicBezTo>
                <a:close/>
                <a:moveTo>
                  <a:pt x="224" y="208"/>
                </a:moveTo>
                <a:cubicBezTo>
                  <a:pt x="224" y="199"/>
                  <a:pt x="217" y="192"/>
                  <a:pt x="208" y="192"/>
                </a:cubicBezTo>
                <a:cubicBezTo>
                  <a:pt x="198" y="192"/>
                  <a:pt x="191" y="199"/>
                  <a:pt x="191" y="208"/>
                </a:cubicBezTo>
                <a:cubicBezTo>
                  <a:pt x="191" y="218"/>
                  <a:pt x="198" y="225"/>
                  <a:pt x="208" y="225"/>
                </a:cubicBezTo>
                <a:cubicBezTo>
                  <a:pt x="217" y="225"/>
                  <a:pt x="224" y="218"/>
                  <a:pt x="224" y="208"/>
                </a:cubicBezTo>
                <a:close/>
                <a:moveTo>
                  <a:pt x="320" y="208"/>
                </a:moveTo>
                <a:cubicBezTo>
                  <a:pt x="320" y="199"/>
                  <a:pt x="313" y="192"/>
                  <a:pt x="304" y="192"/>
                </a:cubicBezTo>
                <a:cubicBezTo>
                  <a:pt x="294" y="192"/>
                  <a:pt x="287" y="199"/>
                  <a:pt x="287" y="208"/>
                </a:cubicBezTo>
                <a:cubicBezTo>
                  <a:pt x="287" y="218"/>
                  <a:pt x="294" y="225"/>
                  <a:pt x="304" y="225"/>
                </a:cubicBezTo>
                <a:cubicBezTo>
                  <a:pt x="313" y="225"/>
                  <a:pt x="320" y="218"/>
                  <a:pt x="320" y="20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4"/>
                </a:moveTo>
                <a:cubicBezTo>
                  <a:pt x="372" y="98"/>
                  <a:pt x="366" y="95"/>
                  <a:pt x="360" y="96"/>
                </a:cubicBezTo>
                <a:cubicBezTo>
                  <a:pt x="307" y="107"/>
                  <a:pt x="307" y="107"/>
                  <a:pt x="307" y="107"/>
                </a:cubicBezTo>
                <a:cubicBezTo>
                  <a:pt x="306" y="107"/>
                  <a:pt x="305" y="107"/>
                  <a:pt x="304" y="108"/>
                </a:cubicBezTo>
                <a:cubicBezTo>
                  <a:pt x="290" y="100"/>
                  <a:pt x="273" y="96"/>
                  <a:pt x="256" y="96"/>
                </a:cubicBezTo>
                <a:cubicBezTo>
                  <a:pt x="238" y="96"/>
                  <a:pt x="222" y="100"/>
                  <a:pt x="207" y="108"/>
                </a:cubicBezTo>
                <a:cubicBezTo>
                  <a:pt x="206" y="107"/>
                  <a:pt x="205" y="107"/>
                  <a:pt x="204" y="107"/>
                </a:cubicBezTo>
                <a:cubicBezTo>
                  <a:pt x="151" y="96"/>
                  <a:pt x="151" y="96"/>
                  <a:pt x="151" y="96"/>
                </a:cubicBezTo>
                <a:cubicBezTo>
                  <a:pt x="145" y="95"/>
                  <a:pt x="140" y="98"/>
                  <a:pt x="139" y="104"/>
                </a:cubicBezTo>
                <a:cubicBezTo>
                  <a:pt x="138" y="106"/>
                  <a:pt x="138" y="107"/>
                  <a:pt x="139" y="109"/>
                </a:cubicBezTo>
                <a:cubicBezTo>
                  <a:pt x="157" y="163"/>
                  <a:pt x="157" y="163"/>
                  <a:pt x="157" y="163"/>
                </a:cubicBezTo>
                <a:cubicBezTo>
                  <a:pt x="152" y="175"/>
                  <a:pt x="149" y="188"/>
                  <a:pt x="149" y="202"/>
                </a:cubicBezTo>
                <a:cubicBezTo>
                  <a:pt x="149" y="219"/>
                  <a:pt x="153" y="235"/>
                  <a:pt x="160" y="249"/>
                </a:cubicBezTo>
                <a:cubicBezTo>
                  <a:pt x="160" y="352"/>
                  <a:pt x="160" y="352"/>
                  <a:pt x="160" y="352"/>
                </a:cubicBezTo>
                <a:cubicBezTo>
                  <a:pt x="160" y="387"/>
                  <a:pt x="188" y="416"/>
                  <a:pt x="224" y="416"/>
                </a:cubicBezTo>
                <a:cubicBezTo>
                  <a:pt x="341" y="416"/>
                  <a:pt x="341" y="416"/>
                  <a:pt x="341" y="416"/>
                </a:cubicBezTo>
                <a:cubicBezTo>
                  <a:pt x="347" y="416"/>
                  <a:pt x="352" y="411"/>
                  <a:pt x="352" y="405"/>
                </a:cubicBezTo>
                <a:cubicBezTo>
                  <a:pt x="352" y="249"/>
                  <a:pt x="352" y="249"/>
                  <a:pt x="352" y="249"/>
                </a:cubicBezTo>
                <a:cubicBezTo>
                  <a:pt x="358" y="235"/>
                  <a:pt x="362" y="219"/>
                  <a:pt x="362" y="202"/>
                </a:cubicBezTo>
                <a:cubicBezTo>
                  <a:pt x="362" y="188"/>
                  <a:pt x="360" y="175"/>
                  <a:pt x="355" y="163"/>
                </a:cubicBezTo>
                <a:cubicBezTo>
                  <a:pt x="372" y="109"/>
                  <a:pt x="372" y="109"/>
                  <a:pt x="372" y="109"/>
                </a:cubicBezTo>
                <a:cubicBezTo>
                  <a:pt x="373" y="108"/>
                  <a:pt x="373" y="106"/>
                  <a:pt x="373" y="10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1" name="Group 134">
            <a:extLst>
              <a:ext uri="{FF2B5EF4-FFF2-40B4-BE49-F238E27FC236}">
                <a16:creationId xmlns:a16="http://schemas.microsoft.com/office/drawing/2014/main" id="{47E454A4-C236-484F-8D54-D952A26B24AA}"/>
              </a:ext>
            </a:extLst>
          </p:cNvPr>
          <p:cNvGrpSpPr>
            <a:grpSpLocks noChangeAspect="1"/>
          </p:cNvGrpSpPr>
          <p:nvPr/>
        </p:nvGrpSpPr>
        <p:grpSpPr bwMode="auto">
          <a:xfrm>
            <a:off x="909681" y="2509882"/>
            <a:ext cx="369021" cy="369021"/>
            <a:chOff x="2696" y="379"/>
            <a:chExt cx="340" cy="340"/>
          </a:xfrm>
          <a:solidFill>
            <a:schemeClr val="accent2"/>
          </a:solidFill>
        </p:grpSpPr>
        <p:sp>
          <p:nvSpPr>
            <p:cNvPr id="512" name="Freeform 135">
              <a:extLst>
                <a:ext uri="{FF2B5EF4-FFF2-40B4-BE49-F238E27FC236}">
                  <a16:creationId xmlns:a16="http://schemas.microsoft.com/office/drawing/2014/main" id="{E2E1341E-B027-4C12-A990-DF10B0B2565D}"/>
                </a:ext>
              </a:extLst>
            </p:cNvPr>
            <p:cNvSpPr>
              <a:spLocks noEditPoints="1"/>
            </p:cNvSpPr>
            <p:nvPr/>
          </p:nvSpPr>
          <p:spPr bwMode="auto">
            <a:xfrm>
              <a:off x="2696" y="3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3" name="Freeform 136">
              <a:extLst>
                <a:ext uri="{FF2B5EF4-FFF2-40B4-BE49-F238E27FC236}">
                  <a16:creationId xmlns:a16="http://schemas.microsoft.com/office/drawing/2014/main" id="{79066E70-39B9-4285-884B-4406F199DC41}"/>
                </a:ext>
              </a:extLst>
            </p:cNvPr>
            <p:cNvSpPr>
              <a:spLocks noEditPoints="1"/>
            </p:cNvSpPr>
            <p:nvPr/>
          </p:nvSpPr>
          <p:spPr bwMode="auto">
            <a:xfrm>
              <a:off x="2788" y="442"/>
              <a:ext cx="156" cy="213"/>
            </a:xfrm>
            <a:custGeom>
              <a:avLst/>
              <a:gdLst>
                <a:gd name="T0" fmla="*/ 150 w 235"/>
                <a:gd name="T1" fmla="*/ 235 h 321"/>
                <a:gd name="T2" fmla="*/ 171 w 235"/>
                <a:gd name="T3" fmla="*/ 235 h 321"/>
                <a:gd name="T4" fmla="*/ 160 w 235"/>
                <a:gd name="T5" fmla="*/ 267 h 321"/>
                <a:gd name="T6" fmla="*/ 234 w 235"/>
                <a:gd name="T7" fmla="*/ 14 h 321"/>
                <a:gd name="T8" fmla="*/ 224 w 235"/>
                <a:gd name="T9" fmla="*/ 107 h 321"/>
                <a:gd name="T10" fmla="*/ 214 w 235"/>
                <a:gd name="T11" fmla="*/ 310 h 321"/>
                <a:gd name="T12" fmla="*/ 86 w 235"/>
                <a:gd name="T13" fmla="*/ 321 h 321"/>
                <a:gd name="T14" fmla="*/ 22 w 235"/>
                <a:gd name="T15" fmla="*/ 154 h 321"/>
                <a:gd name="T16" fmla="*/ 19 w 235"/>
                <a:gd name="T17" fmla="*/ 68 h 321"/>
                <a:gd name="T18" fmla="*/ 1 w 235"/>
                <a:gd name="T19" fmla="*/ 14 h 321"/>
                <a:gd name="T20" fmla="*/ 13 w 235"/>
                <a:gd name="T21" fmla="*/ 1 h 321"/>
                <a:gd name="T22" fmla="*/ 69 w 235"/>
                <a:gd name="T23" fmla="*/ 13 h 321"/>
                <a:gd name="T24" fmla="*/ 166 w 235"/>
                <a:gd name="T25" fmla="*/ 13 h 321"/>
                <a:gd name="T26" fmla="*/ 222 w 235"/>
                <a:gd name="T27" fmla="*/ 1 h 321"/>
                <a:gd name="T28" fmla="*/ 234 w 235"/>
                <a:gd name="T29" fmla="*/ 14 h 321"/>
                <a:gd name="T30" fmla="*/ 70 w 235"/>
                <a:gd name="T31" fmla="*/ 49 h 321"/>
                <a:gd name="T32" fmla="*/ 166 w 235"/>
                <a:gd name="T33" fmla="*/ 49 h 321"/>
                <a:gd name="T34" fmla="*/ 118 w 235"/>
                <a:gd name="T35" fmla="*/ 22 h 321"/>
                <a:gd name="T36" fmla="*/ 27 w 235"/>
                <a:gd name="T37" fmla="*/ 25 h 321"/>
                <a:gd name="T38" fmla="*/ 33 w 235"/>
                <a:gd name="T39" fmla="*/ 43 h 321"/>
                <a:gd name="T40" fmla="*/ 27 w 235"/>
                <a:gd name="T41" fmla="*/ 25 h 321"/>
                <a:gd name="T42" fmla="*/ 86 w 235"/>
                <a:gd name="T43" fmla="*/ 217 h 321"/>
                <a:gd name="T44" fmla="*/ 43 w 235"/>
                <a:gd name="T45" fmla="*/ 183 h 321"/>
                <a:gd name="T46" fmla="*/ 86 w 235"/>
                <a:gd name="T47" fmla="*/ 299 h 321"/>
                <a:gd name="T48" fmla="*/ 192 w 235"/>
                <a:gd name="T49" fmla="*/ 183 h 321"/>
                <a:gd name="T50" fmla="*/ 107 w 235"/>
                <a:gd name="T51" fmla="*/ 213 h 321"/>
                <a:gd name="T52" fmla="*/ 192 w 235"/>
                <a:gd name="T53" fmla="*/ 299 h 321"/>
                <a:gd name="T54" fmla="*/ 203 w 235"/>
                <a:gd name="T55" fmla="*/ 107 h 321"/>
                <a:gd name="T56" fmla="*/ 128 w 235"/>
                <a:gd name="T57" fmla="*/ 107 h 321"/>
                <a:gd name="T58" fmla="*/ 140 w 235"/>
                <a:gd name="T59" fmla="*/ 141 h 321"/>
                <a:gd name="T60" fmla="*/ 125 w 235"/>
                <a:gd name="T61" fmla="*/ 163 h 321"/>
                <a:gd name="T62" fmla="*/ 110 w 235"/>
                <a:gd name="T63" fmla="*/ 163 h 321"/>
                <a:gd name="T64" fmla="*/ 95 w 235"/>
                <a:gd name="T65" fmla="*/ 141 h 321"/>
                <a:gd name="T66" fmla="*/ 107 w 235"/>
                <a:gd name="T67" fmla="*/ 107 h 321"/>
                <a:gd name="T68" fmla="*/ 32 w 235"/>
                <a:gd name="T69" fmla="*/ 107 h 321"/>
                <a:gd name="T70" fmla="*/ 203 w 235"/>
                <a:gd name="T71" fmla="*/ 107 h 321"/>
                <a:gd name="T72" fmla="*/ 190 w 235"/>
                <a:gd name="T73" fmla="*/ 29 h 321"/>
                <a:gd name="T74" fmla="*/ 203 w 235"/>
                <a:gd name="T75" fmla="*/ 43 h 321"/>
                <a:gd name="T76" fmla="*/ 182 w 235"/>
                <a:gd name="T77" fmla="*/ 113 h 321"/>
                <a:gd name="T78" fmla="*/ 149 w 235"/>
                <a:gd name="T79" fmla="*/ 113 h 321"/>
                <a:gd name="T80" fmla="*/ 182 w 235"/>
                <a:gd name="T81" fmla="*/ 113 h 321"/>
                <a:gd name="T82" fmla="*/ 70 w 235"/>
                <a:gd name="T83" fmla="*/ 130 h 321"/>
                <a:gd name="T84" fmla="*/ 70 w 235"/>
                <a:gd name="T85" fmla="*/ 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321">
                  <a:moveTo>
                    <a:pt x="150" y="257"/>
                  </a:moveTo>
                  <a:cubicBezTo>
                    <a:pt x="150" y="235"/>
                    <a:pt x="150" y="235"/>
                    <a:pt x="150" y="235"/>
                  </a:cubicBezTo>
                  <a:cubicBezTo>
                    <a:pt x="150" y="229"/>
                    <a:pt x="154" y="225"/>
                    <a:pt x="160" y="225"/>
                  </a:cubicBezTo>
                  <a:cubicBezTo>
                    <a:pt x="166" y="225"/>
                    <a:pt x="171" y="229"/>
                    <a:pt x="171" y="235"/>
                  </a:cubicBezTo>
                  <a:cubicBezTo>
                    <a:pt x="171" y="257"/>
                    <a:pt x="171" y="257"/>
                    <a:pt x="171" y="257"/>
                  </a:cubicBezTo>
                  <a:cubicBezTo>
                    <a:pt x="171" y="263"/>
                    <a:pt x="166" y="267"/>
                    <a:pt x="160" y="267"/>
                  </a:cubicBezTo>
                  <a:cubicBezTo>
                    <a:pt x="154" y="267"/>
                    <a:pt x="150" y="263"/>
                    <a:pt x="150" y="257"/>
                  </a:cubicBezTo>
                  <a:close/>
                  <a:moveTo>
                    <a:pt x="234" y="14"/>
                  </a:moveTo>
                  <a:cubicBezTo>
                    <a:pt x="217" y="68"/>
                    <a:pt x="217" y="68"/>
                    <a:pt x="217" y="68"/>
                  </a:cubicBezTo>
                  <a:cubicBezTo>
                    <a:pt x="222" y="80"/>
                    <a:pt x="224" y="93"/>
                    <a:pt x="224" y="107"/>
                  </a:cubicBezTo>
                  <a:cubicBezTo>
                    <a:pt x="224" y="124"/>
                    <a:pt x="220" y="140"/>
                    <a:pt x="214" y="154"/>
                  </a:cubicBezTo>
                  <a:cubicBezTo>
                    <a:pt x="214" y="310"/>
                    <a:pt x="214" y="310"/>
                    <a:pt x="214" y="310"/>
                  </a:cubicBezTo>
                  <a:cubicBezTo>
                    <a:pt x="214" y="316"/>
                    <a:pt x="209" y="321"/>
                    <a:pt x="203" y="321"/>
                  </a:cubicBezTo>
                  <a:cubicBezTo>
                    <a:pt x="86" y="321"/>
                    <a:pt x="86" y="321"/>
                    <a:pt x="86" y="321"/>
                  </a:cubicBezTo>
                  <a:cubicBezTo>
                    <a:pt x="50" y="321"/>
                    <a:pt x="22" y="292"/>
                    <a:pt x="22" y="257"/>
                  </a:cubicBezTo>
                  <a:cubicBezTo>
                    <a:pt x="22" y="154"/>
                    <a:pt x="22" y="154"/>
                    <a:pt x="22" y="154"/>
                  </a:cubicBezTo>
                  <a:cubicBezTo>
                    <a:pt x="15" y="140"/>
                    <a:pt x="11" y="124"/>
                    <a:pt x="11" y="107"/>
                  </a:cubicBezTo>
                  <a:cubicBezTo>
                    <a:pt x="11" y="93"/>
                    <a:pt x="14" y="80"/>
                    <a:pt x="19" y="68"/>
                  </a:cubicBezTo>
                  <a:cubicBezTo>
                    <a:pt x="1" y="14"/>
                    <a:pt x="1" y="14"/>
                    <a:pt x="1" y="14"/>
                  </a:cubicBezTo>
                  <a:cubicBezTo>
                    <a:pt x="1" y="14"/>
                    <a:pt x="1" y="14"/>
                    <a:pt x="1" y="14"/>
                  </a:cubicBezTo>
                  <a:cubicBezTo>
                    <a:pt x="0" y="12"/>
                    <a:pt x="0" y="11"/>
                    <a:pt x="1" y="9"/>
                  </a:cubicBezTo>
                  <a:cubicBezTo>
                    <a:pt x="2" y="3"/>
                    <a:pt x="7" y="0"/>
                    <a:pt x="13" y="1"/>
                  </a:cubicBezTo>
                  <a:cubicBezTo>
                    <a:pt x="66" y="12"/>
                    <a:pt x="66" y="12"/>
                    <a:pt x="66" y="12"/>
                  </a:cubicBezTo>
                  <a:cubicBezTo>
                    <a:pt x="67" y="12"/>
                    <a:pt x="68" y="12"/>
                    <a:pt x="69" y="13"/>
                  </a:cubicBezTo>
                  <a:cubicBezTo>
                    <a:pt x="84" y="5"/>
                    <a:pt x="100" y="1"/>
                    <a:pt x="118" y="1"/>
                  </a:cubicBezTo>
                  <a:cubicBezTo>
                    <a:pt x="135" y="1"/>
                    <a:pt x="152" y="5"/>
                    <a:pt x="166" y="13"/>
                  </a:cubicBezTo>
                  <a:cubicBezTo>
                    <a:pt x="167" y="12"/>
                    <a:pt x="168" y="12"/>
                    <a:pt x="169" y="12"/>
                  </a:cubicBezTo>
                  <a:cubicBezTo>
                    <a:pt x="222" y="1"/>
                    <a:pt x="222" y="1"/>
                    <a:pt x="222" y="1"/>
                  </a:cubicBezTo>
                  <a:cubicBezTo>
                    <a:pt x="228" y="0"/>
                    <a:pt x="234" y="3"/>
                    <a:pt x="235" y="9"/>
                  </a:cubicBezTo>
                  <a:cubicBezTo>
                    <a:pt x="235" y="11"/>
                    <a:pt x="235" y="13"/>
                    <a:pt x="234" y="14"/>
                  </a:cubicBezTo>
                  <a:close/>
                  <a:moveTo>
                    <a:pt x="54" y="51"/>
                  </a:moveTo>
                  <a:cubicBezTo>
                    <a:pt x="59" y="49"/>
                    <a:pt x="64" y="49"/>
                    <a:pt x="70" y="49"/>
                  </a:cubicBezTo>
                  <a:cubicBezTo>
                    <a:pt x="90" y="49"/>
                    <a:pt x="107" y="59"/>
                    <a:pt x="118" y="74"/>
                  </a:cubicBezTo>
                  <a:cubicBezTo>
                    <a:pt x="128" y="59"/>
                    <a:pt x="146" y="49"/>
                    <a:pt x="166" y="49"/>
                  </a:cubicBezTo>
                  <a:cubicBezTo>
                    <a:pt x="171" y="49"/>
                    <a:pt x="176" y="49"/>
                    <a:pt x="182" y="51"/>
                  </a:cubicBezTo>
                  <a:cubicBezTo>
                    <a:pt x="166" y="33"/>
                    <a:pt x="143" y="22"/>
                    <a:pt x="118" y="22"/>
                  </a:cubicBezTo>
                  <a:cubicBezTo>
                    <a:pt x="92" y="22"/>
                    <a:pt x="69" y="33"/>
                    <a:pt x="54" y="51"/>
                  </a:cubicBezTo>
                  <a:close/>
                  <a:moveTo>
                    <a:pt x="27" y="25"/>
                  </a:moveTo>
                  <a:cubicBezTo>
                    <a:pt x="33" y="43"/>
                    <a:pt x="33" y="43"/>
                    <a:pt x="33" y="43"/>
                  </a:cubicBezTo>
                  <a:cubicBezTo>
                    <a:pt x="33" y="43"/>
                    <a:pt x="33" y="43"/>
                    <a:pt x="33" y="43"/>
                  </a:cubicBezTo>
                  <a:cubicBezTo>
                    <a:pt x="37" y="38"/>
                    <a:pt x="41" y="33"/>
                    <a:pt x="45" y="29"/>
                  </a:cubicBezTo>
                  <a:lnTo>
                    <a:pt x="27" y="25"/>
                  </a:lnTo>
                  <a:close/>
                  <a:moveTo>
                    <a:pt x="126" y="299"/>
                  </a:moveTo>
                  <a:cubicBezTo>
                    <a:pt x="101" y="281"/>
                    <a:pt x="86" y="252"/>
                    <a:pt x="86" y="217"/>
                  </a:cubicBezTo>
                  <a:cubicBezTo>
                    <a:pt x="86" y="209"/>
                    <a:pt x="86" y="209"/>
                    <a:pt x="86" y="209"/>
                  </a:cubicBezTo>
                  <a:cubicBezTo>
                    <a:pt x="69" y="204"/>
                    <a:pt x="55" y="195"/>
                    <a:pt x="43" y="183"/>
                  </a:cubicBezTo>
                  <a:cubicBezTo>
                    <a:pt x="43" y="257"/>
                    <a:pt x="43" y="257"/>
                    <a:pt x="43" y="257"/>
                  </a:cubicBezTo>
                  <a:cubicBezTo>
                    <a:pt x="43" y="280"/>
                    <a:pt x="62" y="299"/>
                    <a:pt x="86" y="299"/>
                  </a:cubicBezTo>
                  <a:lnTo>
                    <a:pt x="126" y="299"/>
                  </a:lnTo>
                  <a:close/>
                  <a:moveTo>
                    <a:pt x="192" y="183"/>
                  </a:moveTo>
                  <a:cubicBezTo>
                    <a:pt x="173" y="202"/>
                    <a:pt x="147" y="214"/>
                    <a:pt x="118" y="214"/>
                  </a:cubicBezTo>
                  <a:cubicBezTo>
                    <a:pt x="114" y="214"/>
                    <a:pt x="111" y="214"/>
                    <a:pt x="107" y="213"/>
                  </a:cubicBezTo>
                  <a:cubicBezTo>
                    <a:pt x="107" y="217"/>
                    <a:pt x="107" y="217"/>
                    <a:pt x="107" y="217"/>
                  </a:cubicBezTo>
                  <a:cubicBezTo>
                    <a:pt x="107" y="265"/>
                    <a:pt x="141" y="298"/>
                    <a:pt x="192" y="299"/>
                  </a:cubicBezTo>
                  <a:lnTo>
                    <a:pt x="192" y="183"/>
                  </a:lnTo>
                  <a:close/>
                  <a:moveTo>
                    <a:pt x="203" y="107"/>
                  </a:moveTo>
                  <a:cubicBezTo>
                    <a:pt x="203" y="87"/>
                    <a:pt x="186" y="70"/>
                    <a:pt x="166" y="70"/>
                  </a:cubicBezTo>
                  <a:cubicBezTo>
                    <a:pt x="145" y="70"/>
                    <a:pt x="128" y="87"/>
                    <a:pt x="128" y="107"/>
                  </a:cubicBezTo>
                  <a:cubicBezTo>
                    <a:pt x="128" y="116"/>
                    <a:pt x="132" y="125"/>
                    <a:pt x="138" y="132"/>
                  </a:cubicBezTo>
                  <a:cubicBezTo>
                    <a:pt x="140" y="135"/>
                    <a:pt x="141" y="138"/>
                    <a:pt x="140" y="141"/>
                  </a:cubicBezTo>
                  <a:cubicBezTo>
                    <a:pt x="141" y="145"/>
                    <a:pt x="140" y="148"/>
                    <a:pt x="137" y="151"/>
                  </a:cubicBezTo>
                  <a:cubicBezTo>
                    <a:pt x="125" y="163"/>
                    <a:pt x="125" y="163"/>
                    <a:pt x="125" y="163"/>
                  </a:cubicBezTo>
                  <a:cubicBezTo>
                    <a:pt x="123" y="165"/>
                    <a:pt x="120" y="166"/>
                    <a:pt x="118" y="166"/>
                  </a:cubicBezTo>
                  <a:cubicBezTo>
                    <a:pt x="115" y="166"/>
                    <a:pt x="112" y="165"/>
                    <a:pt x="110" y="163"/>
                  </a:cubicBezTo>
                  <a:cubicBezTo>
                    <a:pt x="98" y="151"/>
                    <a:pt x="98" y="151"/>
                    <a:pt x="98" y="151"/>
                  </a:cubicBezTo>
                  <a:cubicBezTo>
                    <a:pt x="95" y="148"/>
                    <a:pt x="95" y="145"/>
                    <a:pt x="95" y="141"/>
                  </a:cubicBezTo>
                  <a:cubicBezTo>
                    <a:pt x="95" y="138"/>
                    <a:pt x="95" y="135"/>
                    <a:pt x="98" y="132"/>
                  </a:cubicBezTo>
                  <a:cubicBezTo>
                    <a:pt x="104" y="125"/>
                    <a:pt x="107" y="116"/>
                    <a:pt x="107" y="107"/>
                  </a:cubicBezTo>
                  <a:cubicBezTo>
                    <a:pt x="107" y="87"/>
                    <a:pt x="90" y="70"/>
                    <a:pt x="70" y="70"/>
                  </a:cubicBezTo>
                  <a:cubicBezTo>
                    <a:pt x="49" y="70"/>
                    <a:pt x="32" y="87"/>
                    <a:pt x="32" y="107"/>
                  </a:cubicBezTo>
                  <a:cubicBezTo>
                    <a:pt x="32" y="154"/>
                    <a:pt x="71" y="193"/>
                    <a:pt x="118" y="193"/>
                  </a:cubicBezTo>
                  <a:cubicBezTo>
                    <a:pt x="165" y="193"/>
                    <a:pt x="203" y="154"/>
                    <a:pt x="203" y="107"/>
                  </a:cubicBezTo>
                  <a:close/>
                  <a:moveTo>
                    <a:pt x="208" y="25"/>
                  </a:moveTo>
                  <a:cubicBezTo>
                    <a:pt x="190" y="29"/>
                    <a:pt x="190" y="29"/>
                    <a:pt x="190" y="29"/>
                  </a:cubicBezTo>
                  <a:cubicBezTo>
                    <a:pt x="195" y="33"/>
                    <a:pt x="199" y="38"/>
                    <a:pt x="203" y="43"/>
                  </a:cubicBezTo>
                  <a:cubicBezTo>
                    <a:pt x="203" y="43"/>
                    <a:pt x="203" y="43"/>
                    <a:pt x="203" y="43"/>
                  </a:cubicBezTo>
                  <a:lnTo>
                    <a:pt x="208" y="25"/>
                  </a:lnTo>
                  <a:close/>
                  <a:moveTo>
                    <a:pt x="182" y="113"/>
                  </a:moveTo>
                  <a:cubicBezTo>
                    <a:pt x="182" y="123"/>
                    <a:pt x="175" y="130"/>
                    <a:pt x="166" y="130"/>
                  </a:cubicBezTo>
                  <a:cubicBezTo>
                    <a:pt x="156" y="130"/>
                    <a:pt x="149" y="123"/>
                    <a:pt x="149" y="113"/>
                  </a:cubicBezTo>
                  <a:cubicBezTo>
                    <a:pt x="149" y="104"/>
                    <a:pt x="156" y="97"/>
                    <a:pt x="166" y="97"/>
                  </a:cubicBezTo>
                  <a:cubicBezTo>
                    <a:pt x="175" y="97"/>
                    <a:pt x="182" y="104"/>
                    <a:pt x="182" y="113"/>
                  </a:cubicBezTo>
                  <a:close/>
                  <a:moveTo>
                    <a:pt x="86" y="113"/>
                  </a:moveTo>
                  <a:cubicBezTo>
                    <a:pt x="86" y="123"/>
                    <a:pt x="79" y="130"/>
                    <a:pt x="70" y="130"/>
                  </a:cubicBezTo>
                  <a:cubicBezTo>
                    <a:pt x="60" y="130"/>
                    <a:pt x="53" y="123"/>
                    <a:pt x="53" y="113"/>
                  </a:cubicBezTo>
                  <a:cubicBezTo>
                    <a:pt x="53" y="104"/>
                    <a:pt x="60" y="97"/>
                    <a:pt x="70" y="97"/>
                  </a:cubicBezTo>
                  <a:cubicBezTo>
                    <a:pt x="79" y="97"/>
                    <a:pt x="86" y="104"/>
                    <a:pt x="86" y="1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4" name="Freeform 714">
            <a:extLst>
              <a:ext uri="{FF2B5EF4-FFF2-40B4-BE49-F238E27FC236}">
                <a16:creationId xmlns:a16="http://schemas.microsoft.com/office/drawing/2014/main" id="{6108293A-D7B5-4BE4-A5D6-FFBE4898F2EF}"/>
              </a:ext>
            </a:extLst>
          </p:cNvPr>
          <p:cNvSpPr>
            <a:spLocks noChangeAspect="1" noEditPoints="1"/>
          </p:cNvSpPr>
          <p:nvPr/>
        </p:nvSpPr>
        <p:spPr bwMode="auto">
          <a:xfrm>
            <a:off x="1342134" y="2509882"/>
            <a:ext cx="367982" cy="367982"/>
          </a:xfrm>
          <a:custGeom>
            <a:avLst/>
            <a:gdLst>
              <a:gd name="T0" fmla="*/ 188 w 512"/>
              <a:gd name="T1" fmla="*/ 226 h 512"/>
              <a:gd name="T2" fmla="*/ 245 w 512"/>
              <a:gd name="T3" fmla="*/ 226 h 512"/>
              <a:gd name="T4" fmla="*/ 245 w 512"/>
              <a:gd name="T5" fmla="*/ 359 h 512"/>
              <a:gd name="T6" fmla="*/ 181 w 512"/>
              <a:gd name="T7" fmla="*/ 269 h 512"/>
              <a:gd name="T8" fmla="*/ 188 w 512"/>
              <a:gd name="T9" fmla="*/ 226 h 512"/>
              <a:gd name="T10" fmla="*/ 256 w 512"/>
              <a:gd name="T11" fmla="*/ 130 h 512"/>
              <a:gd name="T12" fmla="*/ 215 w 512"/>
              <a:gd name="T13" fmla="*/ 162 h 512"/>
              <a:gd name="T14" fmla="*/ 296 w 512"/>
              <a:gd name="T15" fmla="*/ 162 h 512"/>
              <a:gd name="T16" fmla="*/ 256 w 512"/>
              <a:gd name="T17" fmla="*/ 130 h 512"/>
              <a:gd name="T18" fmla="*/ 266 w 512"/>
              <a:gd name="T19" fmla="*/ 226 h 512"/>
              <a:gd name="T20" fmla="*/ 266 w 512"/>
              <a:gd name="T21" fmla="*/ 359 h 512"/>
              <a:gd name="T22" fmla="*/ 330 w 512"/>
              <a:gd name="T23" fmla="*/ 269 h 512"/>
              <a:gd name="T24" fmla="*/ 324 w 512"/>
              <a:gd name="T25" fmla="*/ 226 h 512"/>
              <a:gd name="T26" fmla="*/ 266 w 512"/>
              <a:gd name="T27" fmla="*/ 226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192 w 512"/>
              <a:gd name="T39" fmla="*/ 173 h 512"/>
              <a:gd name="T40" fmla="*/ 202 w 512"/>
              <a:gd name="T41" fmla="*/ 184 h 512"/>
              <a:gd name="T42" fmla="*/ 309 w 512"/>
              <a:gd name="T43" fmla="*/ 184 h 512"/>
              <a:gd name="T44" fmla="*/ 320 w 512"/>
              <a:gd name="T45" fmla="*/ 173 h 512"/>
              <a:gd name="T46" fmla="*/ 256 w 512"/>
              <a:gd name="T47" fmla="*/ 109 h 512"/>
              <a:gd name="T48" fmla="*/ 192 w 512"/>
              <a:gd name="T49" fmla="*/ 173 h 512"/>
              <a:gd name="T50" fmla="*/ 384 w 512"/>
              <a:gd name="T51" fmla="*/ 280 h 512"/>
              <a:gd name="T52" fmla="*/ 373 w 512"/>
              <a:gd name="T53" fmla="*/ 269 h 512"/>
              <a:gd name="T54" fmla="*/ 352 w 512"/>
              <a:gd name="T55" fmla="*/ 269 h 512"/>
              <a:gd name="T56" fmla="*/ 343 w 512"/>
              <a:gd name="T57" fmla="*/ 218 h 512"/>
              <a:gd name="T58" fmla="*/ 365 w 512"/>
              <a:gd name="T59" fmla="*/ 197 h 512"/>
              <a:gd name="T60" fmla="*/ 365 w 512"/>
              <a:gd name="T61" fmla="*/ 181 h 512"/>
              <a:gd name="T62" fmla="*/ 349 w 512"/>
              <a:gd name="T63" fmla="*/ 181 h 512"/>
              <a:gd name="T64" fmla="*/ 326 w 512"/>
              <a:gd name="T65" fmla="*/ 205 h 512"/>
              <a:gd name="T66" fmla="*/ 185 w 512"/>
              <a:gd name="T67" fmla="*/ 205 h 512"/>
              <a:gd name="T68" fmla="*/ 162 w 512"/>
              <a:gd name="T69" fmla="*/ 181 h 512"/>
              <a:gd name="T70" fmla="*/ 147 w 512"/>
              <a:gd name="T71" fmla="*/ 181 h 512"/>
              <a:gd name="T72" fmla="*/ 147 w 512"/>
              <a:gd name="T73" fmla="*/ 197 h 512"/>
              <a:gd name="T74" fmla="*/ 168 w 512"/>
              <a:gd name="T75" fmla="*/ 218 h 512"/>
              <a:gd name="T76" fmla="*/ 160 w 512"/>
              <a:gd name="T77" fmla="*/ 269 h 512"/>
              <a:gd name="T78" fmla="*/ 138 w 512"/>
              <a:gd name="T79" fmla="*/ 269 h 512"/>
              <a:gd name="T80" fmla="*/ 128 w 512"/>
              <a:gd name="T81" fmla="*/ 280 h 512"/>
              <a:gd name="T82" fmla="*/ 138 w 512"/>
              <a:gd name="T83" fmla="*/ 290 h 512"/>
              <a:gd name="T84" fmla="*/ 161 w 512"/>
              <a:gd name="T85" fmla="*/ 290 h 512"/>
              <a:gd name="T86" fmla="*/ 175 w 512"/>
              <a:gd name="T87" fmla="*/ 329 h 512"/>
              <a:gd name="T88" fmla="*/ 152 w 512"/>
              <a:gd name="T89" fmla="*/ 352 h 512"/>
              <a:gd name="T90" fmla="*/ 152 w 512"/>
              <a:gd name="T91" fmla="*/ 367 h 512"/>
              <a:gd name="T92" fmla="*/ 160 w 512"/>
              <a:gd name="T93" fmla="*/ 370 h 512"/>
              <a:gd name="T94" fmla="*/ 167 w 512"/>
              <a:gd name="T95" fmla="*/ 367 h 512"/>
              <a:gd name="T96" fmla="*/ 187 w 512"/>
              <a:gd name="T97" fmla="*/ 347 h 512"/>
              <a:gd name="T98" fmla="*/ 256 w 512"/>
              <a:gd name="T99" fmla="*/ 381 h 512"/>
              <a:gd name="T100" fmla="*/ 324 w 512"/>
              <a:gd name="T101" fmla="*/ 347 h 512"/>
              <a:gd name="T102" fmla="*/ 344 w 512"/>
              <a:gd name="T103" fmla="*/ 367 h 512"/>
              <a:gd name="T104" fmla="*/ 352 w 512"/>
              <a:gd name="T105" fmla="*/ 370 h 512"/>
              <a:gd name="T106" fmla="*/ 359 w 512"/>
              <a:gd name="T107" fmla="*/ 367 h 512"/>
              <a:gd name="T108" fmla="*/ 359 w 512"/>
              <a:gd name="T109" fmla="*/ 352 h 512"/>
              <a:gd name="T110" fmla="*/ 336 w 512"/>
              <a:gd name="T111" fmla="*/ 329 h 512"/>
              <a:gd name="T112" fmla="*/ 350 w 512"/>
              <a:gd name="T113" fmla="*/ 290 h 512"/>
              <a:gd name="T114" fmla="*/ 373 w 512"/>
              <a:gd name="T115" fmla="*/ 290 h 512"/>
              <a:gd name="T116" fmla="*/ 384 w 512"/>
              <a:gd name="T117"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88" y="226"/>
                </a:moveTo>
                <a:cubicBezTo>
                  <a:pt x="245" y="226"/>
                  <a:pt x="245" y="226"/>
                  <a:pt x="245" y="226"/>
                </a:cubicBezTo>
                <a:cubicBezTo>
                  <a:pt x="245" y="359"/>
                  <a:pt x="245" y="359"/>
                  <a:pt x="245" y="359"/>
                </a:cubicBezTo>
                <a:cubicBezTo>
                  <a:pt x="209" y="352"/>
                  <a:pt x="181" y="315"/>
                  <a:pt x="181" y="269"/>
                </a:cubicBezTo>
                <a:cubicBezTo>
                  <a:pt x="181" y="255"/>
                  <a:pt x="184" y="238"/>
                  <a:pt x="188" y="226"/>
                </a:cubicBezTo>
                <a:close/>
                <a:moveTo>
                  <a:pt x="256" y="130"/>
                </a:moveTo>
                <a:cubicBezTo>
                  <a:pt x="237" y="130"/>
                  <a:pt x="221" y="148"/>
                  <a:pt x="215" y="162"/>
                </a:cubicBezTo>
                <a:cubicBezTo>
                  <a:pt x="296" y="162"/>
                  <a:pt x="296" y="162"/>
                  <a:pt x="296" y="162"/>
                </a:cubicBezTo>
                <a:cubicBezTo>
                  <a:pt x="290" y="148"/>
                  <a:pt x="275" y="130"/>
                  <a:pt x="256" y="130"/>
                </a:cubicBezTo>
                <a:close/>
                <a:moveTo>
                  <a:pt x="266" y="226"/>
                </a:moveTo>
                <a:cubicBezTo>
                  <a:pt x="266" y="359"/>
                  <a:pt x="266" y="359"/>
                  <a:pt x="266" y="359"/>
                </a:cubicBezTo>
                <a:cubicBezTo>
                  <a:pt x="302" y="352"/>
                  <a:pt x="330" y="315"/>
                  <a:pt x="330" y="269"/>
                </a:cubicBezTo>
                <a:cubicBezTo>
                  <a:pt x="330" y="255"/>
                  <a:pt x="328" y="238"/>
                  <a:pt x="324" y="226"/>
                </a:cubicBezTo>
                <a:lnTo>
                  <a:pt x="266" y="22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73"/>
                </a:moveTo>
                <a:cubicBezTo>
                  <a:pt x="192" y="179"/>
                  <a:pt x="196" y="184"/>
                  <a:pt x="202" y="184"/>
                </a:cubicBezTo>
                <a:cubicBezTo>
                  <a:pt x="309" y="184"/>
                  <a:pt x="309" y="184"/>
                  <a:pt x="309" y="184"/>
                </a:cubicBezTo>
                <a:cubicBezTo>
                  <a:pt x="315" y="184"/>
                  <a:pt x="320" y="179"/>
                  <a:pt x="320" y="173"/>
                </a:cubicBezTo>
                <a:cubicBezTo>
                  <a:pt x="320" y="148"/>
                  <a:pt x="292" y="109"/>
                  <a:pt x="256" y="109"/>
                </a:cubicBezTo>
                <a:cubicBezTo>
                  <a:pt x="219" y="109"/>
                  <a:pt x="192" y="148"/>
                  <a:pt x="192" y="173"/>
                </a:cubicBezTo>
                <a:close/>
                <a:moveTo>
                  <a:pt x="384" y="280"/>
                </a:moveTo>
                <a:cubicBezTo>
                  <a:pt x="384" y="274"/>
                  <a:pt x="379" y="269"/>
                  <a:pt x="373" y="269"/>
                </a:cubicBezTo>
                <a:cubicBezTo>
                  <a:pt x="352" y="269"/>
                  <a:pt x="352" y="269"/>
                  <a:pt x="352" y="269"/>
                </a:cubicBezTo>
                <a:cubicBezTo>
                  <a:pt x="352" y="252"/>
                  <a:pt x="348" y="232"/>
                  <a:pt x="343" y="218"/>
                </a:cubicBezTo>
                <a:cubicBezTo>
                  <a:pt x="365" y="197"/>
                  <a:pt x="365" y="197"/>
                  <a:pt x="365" y="197"/>
                </a:cubicBezTo>
                <a:cubicBezTo>
                  <a:pt x="369" y="192"/>
                  <a:pt x="369" y="186"/>
                  <a:pt x="365" y="181"/>
                </a:cubicBezTo>
                <a:cubicBezTo>
                  <a:pt x="360" y="177"/>
                  <a:pt x="354" y="177"/>
                  <a:pt x="349" y="181"/>
                </a:cubicBezTo>
                <a:cubicBezTo>
                  <a:pt x="326" y="205"/>
                  <a:pt x="326" y="205"/>
                  <a:pt x="326" y="205"/>
                </a:cubicBezTo>
                <a:cubicBezTo>
                  <a:pt x="185" y="205"/>
                  <a:pt x="185" y="205"/>
                  <a:pt x="185" y="205"/>
                </a:cubicBezTo>
                <a:cubicBezTo>
                  <a:pt x="162" y="181"/>
                  <a:pt x="162" y="181"/>
                  <a:pt x="162" y="181"/>
                </a:cubicBezTo>
                <a:cubicBezTo>
                  <a:pt x="158" y="177"/>
                  <a:pt x="151" y="177"/>
                  <a:pt x="147" y="181"/>
                </a:cubicBezTo>
                <a:cubicBezTo>
                  <a:pt x="143" y="186"/>
                  <a:pt x="143" y="192"/>
                  <a:pt x="147" y="197"/>
                </a:cubicBezTo>
                <a:cubicBezTo>
                  <a:pt x="168" y="218"/>
                  <a:pt x="168" y="218"/>
                  <a:pt x="168" y="218"/>
                </a:cubicBezTo>
                <a:cubicBezTo>
                  <a:pt x="163" y="232"/>
                  <a:pt x="160" y="252"/>
                  <a:pt x="160" y="269"/>
                </a:cubicBezTo>
                <a:cubicBezTo>
                  <a:pt x="138" y="269"/>
                  <a:pt x="138" y="269"/>
                  <a:pt x="138" y="269"/>
                </a:cubicBezTo>
                <a:cubicBezTo>
                  <a:pt x="132" y="269"/>
                  <a:pt x="128" y="274"/>
                  <a:pt x="128" y="280"/>
                </a:cubicBezTo>
                <a:cubicBezTo>
                  <a:pt x="128" y="286"/>
                  <a:pt x="132" y="290"/>
                  <a:pt x="138" y="290"/>
                </a:cubicBezTo>
                <a:cubicBezTo>
                  <a:pt x="161" y="290"/>
                  <a:pt x="161" y="290"/>
                  <a:pt x="161" y="290"/>
                </a:cubicBezTo>
                <a:cubicBezTo>
                  <a:pt x="164" y="304"/>
                  <a:pt x="168" y="318"/>
                  <a:pt x="175" y="329"/>
                </a:cubicBezTo>
                <a:cubicBezTo>
                  <a:pt x="152" y="352"/>
                  <a:pt x="152" y="352"/>
                  <a:pt x="152" y="352"/>
                </a:cubicBezTo>
                <a:cubicBezTo>
                  <a:pt x="148" y="356"/>
                  <a:pt x="148" y="363"/>
                  <a:pt x="152" y="367"/>
                </a:cubicBezTo>
                <a:cubicBezTo>
                  <a:pt x="154" y="369"/>
                  <a:pt x="157" y="370"/>
                  <a:pt x="160" y="370"/>
                </a:cubicBezTo>
                <a:cubicBezTo>
                  <a:pt x="162" y="370"/>
                  <a:pt x="165" y="369"/>
                  <a:pt x="167" y="367"/>
                </a:cubicBezTo>
                <a:cubicBezTo>
                  <a:pt x="187" y="347"/>
                  <a:pt x="187" y="347"/>
                  <a:pt x="187" y="347"/>
                </a:cubicBezTo>
                <a:cubicBezTo>
                  <a:pt x="205" y="368"/>
                  <a:pt x="229" y="381"/>
                  <a:pt x="256" y="381"/>
                </a:cubicBezTo>
                <a:cubicBezTo>
                  <a:pt x="282" y="381"/>
                  <a:pt x="307" y="368"/>
                  <a:pt x="324" y="347"/>
                </a:cubicBezTo>
                <a:cubicBezTo>
                  <a:pt x="344" y="367"/>
                  <a:pt x="344" y="367"/>
                  <a:pt x="344" y="367"/>
                </a:cubicBezTo>
                <a:cubicBezTo>
                  <a:pt x="346" y="369"/>
                  <a:pt x="349" y="370"/>
                  <a:pt x="352" y="370"/>
                </a:cubicBezTo>
                <a:cubicBezTo>
                  <a:pt x="354" y="370"/>
                  <a:pt x="357" y="369"/>
                  <a:pt x="359" y="367"/>
                </a:cubicBezTo>
                <a:cubicBezTo>
                  <a:pt x="363" y="363"/>
                  <a:pt x="363" y="356"/>
                  <a:pt x="359" y="352"/>
                </a:cubicBezTo>
                <a:cubicBezTo>
                  <a:pt x="336" y="329"/>
                  <a:pt x="336" y="329"/>
                  <a:pt x="336" y="329"/>
                </a:cubicBezTo>
                <a:cubicBezTo>
                  <a:pt x="343" y="318"/>
                  <a:pt x="348" y="304"/>
                  <a:pt x="350" y="290"/>
                </a:cubicBezTo>
                <a:cubicBezTo>
                  <a:pt x="373" y="290"/>
                  <a:pt x="373" y="290"/>
                  <a:pt x="373" y="290"/>
                </a:cubicBezTo>
                <a:cubicBezTo>
                  <a:pt x="379" y="290"/>
                  <a:pt x="384" y="286"/>
                  <a:pt x="384" y="2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5" name="Group 717">
            <a:extLst>
              <a:ext uri="{FF2B5EF4-FFF2-40B4-BE49-F238E27FC236}">
                <a16:creationId xmlns:a16="http://schemas.microsoft.com/office/drawing/2014/main" id="{E479ED97-3D18-4280-88B3-8A97622C0866}"/>
              </a:ext>
            </a:extLst>
          </p:cNvPr>
          <p:cNvGrpSpPr>
            <a:grpSpLocks noChangeAspect="1"/>
          </p:cNvGrpSpPr>
          <p:nvPr/>
        </p:nvGrpSpPr>
        <p:grpSpPr bwMode="auto">
          <a:xfrm>
            <a:off x="1773548" y="2509882"/>
            <a:ext cx="367982" cy="367982"/>
            <a:chOff x="5021" y="3113"/>
            <a:chExt cx="340" cy="340"/>
          </a:xfrm>
          <a:solidFill>
            <a:schemeClr val="accent2"/>
          </a:solidFill>
        </p:grpSpPr>
        <p:sp>
          <p:nvSpPr>
            <p:cNvPr id="516" name="Freeform 718">
              <a:extLst>
                <a:ext uri="{FF2B5EF4-FFF2-40B4-BE49-F238E27FC236}">
                  <a16:creationId xmlns:a16="http://schemas.microsoft.com/office/drawing/2014/main" id="{5C8296AF-C2DD-4C81-A397-E4F95D497A82}"/>
                </a:ext>
              </a:extLst>
            </p:cNvPr>
            <p:cNvSpPr>
              <a:spLocks noEditPoints="1"/>
            </p:cNvSpPr>
            <p:nvPr/>
          </p:nvSpPr>
          <p:spPr bwMode="auto">
            <a:xfrm>
              <a:off x="5021" y="31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719">
              <a:extLst>
                <a:ext uri="{FF2B5EF4-FFF2-40B4-BE49-F238E27FC236}">
                  <a16:creationId xmlns:a16="http://schemas.microsoft.com/office/drawing/2014/main" id="{94037AA2-22BF-401C-B1D1-5B2E04F12119}"/>
                </a:ext>
              </a:extLst>
            </p:cNvPr>
            <p:cNvSpPr>
              <a:spLocks noEditPoints="1"/>
            </p:cNvSpPr>
            <p:nvPr/>
          </p:nvSpPr>
          <p:spPr bwMode="auto">
            <a:xfrm>
              <a:off x="5106" y="3185"/>
              <a:ext cx="170" cy="181"/>
            </a:xfrm>
            <a:custGeom>
              <a:avLst/>
              <a:gdLst>
                <a:gd name="T0" fmla="*/ 74 w 256"/>
                <a:gd name="T1" fmla="*/ 75 h 272"/>
                <a:gd name="T2" fmla="*/ 181 w 256"/>
                <a:gd name="T3" fmla="*/ 75 h 272"/>
                <a:gd name="T4" fmla="*/ 192 w 256"/>
                <a:gd name="T5" fmla="*/ 64 h 272"/>
                <a:gd name="T6" fmla="*/ 128 w 256"/>
                <a:gd name="T7" fmla="*/ 0 h 272"/>
                <a:gd name="T8" fmla="*/ 64 w 256"/>
                <a:gd name="T9" fmla="*/ 64 h 272"/>
                <a:gd name="T10" fmla="*/ 74 w 256"/>
                <a:gd name="T11" fmla="*/ 75 h 272"/>
                <a:gd name="T12" fmla="*/ 128 w 256"/>
                <a:gd name="T13" fmla="*/ 21 h 272"/>
                <a:gd name="T14" fmla="*/ 168 w 256"/>
                <a:gd name="T15" fmla="*/ 53 h 272"/>
                <a:gd name="T16" fmla="*/ 87 w 256"/>
                <a:gd name="T17" fmla="*/ 53 h 272"/>
                <a:gd name="T18" fmla="*/ 128 w 256"/>
                <a:gd name="T19" fmla="*/ 21 h 272"/>
                <a:gd name="T20" fmla="*/ 245 w 256"/>
                <a:gd name="T21" fmla="*/ 160 h 272"/>
                <a:gd name="T22" fmla="*/ 224 w 256"/>
                <a:gd name="T23" fmla="*/ 160 h 272"/>
                <a:gd name="T24" fmla="*/ 215 w 256"/>
                <a:gd name="T25" fmla="*/ 109 h 272"/>
                <a:gd name="T26" fmla="*/ 237 w 256"/>
                <a:gd name="T27" fmla="*/ 88 h 272"/>
                <a:gd name="T28" fmla="*/ 237 w 256"/>
                <a:gd name="T29" fmla="*/ 72 h 272"/>
                <a:gd name="T30" fmla="*/ 221 w 256"/>
                <a:gd name="T31" fmla="*/ 72 h 272"/>
                <a:gd name="T32" fmla="*/ 198 w 256"/>
                <a:gd name="T33" fmla="*/ 96 h 272"/>
                <a:gd name="T34" fmla="*/ 57 w 256"/>
                <a:gd name="T35" fmla="*/ 96 h 272"/>
                <a:gd name="T36" fmla="*/ 34 w 256"/>
                <a:gd name="T37" fmla="*/ 72 h 272"/>
                <a:gd name="T38" fmla="*/ 19 w 256"/>
                <a:gd name="T39" fmla="*/ 72 h 272"/>
                <a:gd name="T40" fmla="*/ 19 w 256"/>
                <a:gd name="T41" fmla="*/ 88 h 272"/>
                <a:gd name="T42" fmla="*/ 40 w 256"/>
                <a:gd name="T43" fmla="*/ 109 h 272"/>
                <a:gd name="T44" fmla="*/ 32 w 256"/>
                <a:gd name="T45" fmla="*/ 160 h 272"/>
                <a:gd name="T46" fmla="*/ 10 w 256"/>
                <a:gd name="T47" fmla="*/ 160 h 272"/>
                <a:gd name="T48" fmla="*/ 0 w 256"/>
                <a:gd name="T49" fmla="*/ 171 h 272"/>
                <a:gd name="T50" fmla="*/ 10 w 256"/>
                <a:gd name="T51" fmla="*/ 181 h 272"/>
                <a:gd name="T52" fmla="*/ 33 w 256"/>
                <a:gd name="T53" fmla="*/ 181 h 272"/>
                <a:gd name="T54" fmla="*/ 47 w 256"/>
                <a:gd name="T55" fmla="*/ 220 h 272"/>
                <a:gd name="T56" fmla="*/ 24 w 256"/>
                <a:gd name="T57" fmla="*/ 243 h 272"/>
                <a:gd name="T58" fmla="*/ 24 w 256"/>
                <a:gd name="T59" fmla="*/ 258 h 272"/>
                <a:gd name="T60" fmla="*/ 32 w 256"/>
                <a:gd name="T61" fmla="*/ 261 h 272"/>
                <a:gd name="T62" fmla="*/ 39 w 256"/>
                <a:gd name="T63" fmla="*/ 258 h 272"/>
                <a:gd name="T64" fmla="*/ 59 w 256"/>
                <a:gd name="T65" fmla="*/ 238 h 272"/>
                <a:gd name="T66" fmla="*/ 128 w 256"/>
                <a:gd name="T67" fmla="*/ 272 h 272"/>
                <a:gd name="T68" fmla="*/ 196 w 256"/>
                <a:gd name="T69" fmla="*/ 238 h 272"/>
                <a:gd name="T70" fmla="*/ 216 w 256"/>
                <a:gd name="T71" fmla="*/ 258 h 272"/>
                <a:gd name="T72" fmla="*/ 224 w 256"/>
                <a:gd name="T73" fmla="*/ 261 h 272"/>
                <a:gd name="T74" fmla="*/ 231 w 256"/>
                <a:gd name="T75" fmla="*/ 258 h 272"/>
                <a:gd name="T76" fmla="*/ 231 w 256"/>
                <a:gd name="T77" fmla="*/ 243 h 272"/>
                <a:gd name="T78" fmla="*/ 208 w 256"/>
                <a:gd name="T79" fmla="*/ 220 h 272"/>
                <a:gd name="T80" fmla="*/ 222 w 256"/>
                <a:gd name="T81" fmla="*/ 181 h 272"/>
                <a:gd name="T82" fmla="*/ 245 w 256"/>
                <a:gd name="T83" fmla="*/ 181 h 272"/>
                <a:gd name="T84" fmla="*/ 256 w 256"/>
                <a:gd name="T85" fmla="*/ 171 h 272"/>
                <a:gd name="T86" fmla="*/ 245 w 256"/>
                <a:gd name="T87" fmla="*/ 160 h 272"/>
                <a:gd name="T88" fmla="*/ 53 w 256"/>
                <a:gd name="T89" fmla="*/ 160 h 272"/>
                <a:gd name="T90" fmla="*/ 60 w 256"/>
                <a:gd name="T91" fmla="*/ 117 h 272"/>
                <a:gd name="T92" fmla="*/ 117 w 256"/>
                <a:gd name="T93" fmla="*/ 117 h 272"/>
                <a:gd name="T94" fmla="*/ 117 w 256"/>
                <a:gd name="T95" fmla="*/ 250 h 272"/>
                <a:gd name="T96" fmla="*/ 53 w 256"/>
                <a:gd name="T97" fmla="*/ 160 h 272"/>
                <a:gd name="T98" fmla="*/ 138 w 256"/>
                <a:gd name="T99" fmla="*/ 250 h 272"/>
                <a:gd name="T100" fmla="*/ 138 w 256"/>
                <a:gd name="T101" fmla="*/ 117 h 272"/>
                <a:gd name="T102" fmla="*/ 196 w 256"/>
                <a:gd name="T103" fmla="*/ 117 h 272"/>
                <a:gd name="T104" fmla="*/ 202 w 256"/>
                <a:gd name="T105" fmla="*/ 160 h 272"/>
                <a:gd name="T106" fmla="*/ 138 w 256"/>
                <a:gd name="T107" fmla="*/ 25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6" h="272">
                  <a:moveTo>
                    <a:pt x="74" y="75"/>
                  </a:moveTo>
                  <a:cubicBezTo>
                    <a:pt x="181" y="75"/>
                    <a:pt x="181" y="75"/>
                    <a:pt x="181" y="75"/>
                  </a:cubicBezTo>
                  <a:cubicBezTo>
                    <a:pt x="187" y="75"/>
                    <a:pt x="192" y="70"/>
                    <a:pt x="192" y="64"/>
                  </a:cubicBezTo>
                  <a:cubicBezTo>
                    <a:pt x="192" y="39"/>
                    <a:pt x="164" y="0"/>
                    <a:pt x="128" y="0"/>
                  </a:cubicBezTo>
                  <a:cubicBezTo>
                    <a:pt x="91" y="0"/>
                    <a:pt x="64" y="39"/>
                    <a:pt x="64" y="64"/>
                  </a:cubicBezTo>
                  <a:cubicBezTo>
                    <a:pt x="64" y="70"/>
                    <a:pt x="68" y="75"/>
                    <a:pt x="74" y="75"/>
                  </a:cubicBezTo>
                  <a:close/>
                  <a:moveTo>
                    <a:pt x="128" y="21"/>
                  </a:moveTo>
                  <a:cubicBezTo>
                    <a:pt x="147" y="21"/>
                    <a:pt x="162" y="39"/>
                    <a:pt x="168" y="53"/>
                  </a:cubicBezTo>
                  <a:cubicBezTo>
                    <a:pt x="87" y="53"/>
                    <a:pt x="87" y="53"/>
                    <a:pt x="87" y="53"/>
                  </a:cubicBezTo>
                  <a:cubicBezTo>
                    <a:pt x="93" y="39"/>
                    <a:pt x="109" y="21"/>
                    <a:pt x="128" y="21"/>
                  </a:cubicBezTo>
                  <a:close/>
                  <a:moveTo>
                    <a:pt x="245" y="160"/>
                  </a:moveTo>
                  <a:cubicBezTo>
                    <a:pt x="224" y="160"/>
                    <a:pt x="224" y="160"/>
                    <a:pt x="224" y="160"/>
                  </a:cubicBezTo>
                  <a:cubicBezTo>
                    <a:pt x="224" y="143"/>
                    <a:pt x="220" y="123"/>
                    <a:pt x="215" y="109"/>
                  </a:cubicBezTo>
                  <a:cubicBezTo>
                    <a:pt x="237" y="88"/>
                    <a:pt x="237" y="88"/>
                    <a:pt x="237" y="88"/>
                  </a:cubicBezTo>
                  <a:cubicBezTo>
                    <a:pt x="241" y="83"/>
                    <a:pt x="241" y="77"/>
                    <a:pt x="237" y="72"/>
                  </a:cubicBezTo>
                  <a:cubicBezTo>
                    <a:pt x="232" y="68"/>
                    <a:pt x="226" y="68"/>
                    <a:pt x="221" y="72"/>
                  </a:cubicBezTo>
                  <a:cubicBezTo>
                    <a:pt x="198" y="96"/>
                    <a:pt x="198" y="96"/>
                    <a:pt x="198" y="96"/>
                  </a:cubicBezTo>
                  <a:cubicBezTo>
                    <a:pt x="57" y="96"/>
                    <a:pt x="57" y="96"/>
                    <a:pt x="57" y="96"/>
                  </a:cubicBezTo>
                  <a:cubicBezTo>
                    <a:pt x="34" y="72"/>
                    <a:pt x="34" y="72"/>
                    <a:pt x="34" y="72"/>
                  </a:cubicBezTo>
                  <a:cubicBezTo>
                    <a:pt x="30" y="68"/>
                    <a:pt x="23" y="68"/>
                    <a:pt x="19" y="72"/>
                  </a:cubicBezTo>
                  <a:cubicBezTo>
                    <a:pt x="15" y="77"/>
                    <a:pt x="15" y="83"/>
                    <a:pt x="19" y="88"/>
                  </a:cubicBezTo>
                  <a:cubicBezTo>
                    <a:pt x="40" y="109"/>
                    <a:pt x="40" y="109"/>
                    <a:pt x="40" y="109"/>
                  </a:cubicBezTo>
                  <a:cubicBezTo>
                    <a:pt x="35" y="123"/>
                    <a:pt x="32" y="143"/>
                    <a:pt x="32" y="160"/>
                  </a:cubicBezTo>
                  <a:cubicBezTo>
                    <a:pt x="10" y="160"/>
                    <a:pt x="10" y="160"/>
                    <a:pt x="10" y="160"/>
                  </a:cubicBezTo>
                  <a:cubicBezTo>
                    <a:pt x="4" y="160"/>
                    <a:pt x="0" y="165"/>
                    <a:pt x="0" y="171"/>
                  </a:cubicBezTo>
                  <a:cubicBezTo>
                    <a:pt x="0" y="177"/>
                    <a:pt x="4" y="181"/>
                    <a:pt x="10" y="181"/>
                  </a:cubicBezTo>
                  <a:cubicBezTo>
                    <a:pt x="33" y="181"/>
                    <a:pt x="33" y="181"/>
                    <a:pt x="33" y="181"/>
                  </a:cubicBezTo>
                  <a:cubicBezTo>
                    <a:pt x="36" y="195"/>
                    <a:pt x="40" y="209"/>
                    <a:pt x="47" y="220"/>
                  </a:cubicBezTo>
                  <a:cubicBezTo>
                    <a:pt x="24" y="243"/>
                    <a:pt x="24" y="243"/>
                    <a:pt x="24" y="243"/>
                  </a:cubicBezTo>
                  <a:cubicBezTo>
                    <a:pt x="20" y="247"/>
                    <a:pt x="20" y="254"/>
                    <a:pt x="24" y="258"/>
                  </a:cubicBezTo>
                  <a:cubicBezTo>
                    <a:pt x="26" y="260"/>
                    <a:pt x="29" y="261"/>
                    <a:pt x="32" y="261"/>
                  </a:cubicBezTo>
                  <a:cubicBezTo>
                    <a:pt x="34" y="261"/>
                    <a:pt x="37" y="260"/>
                    <a:pt x="39" y="258"/>
                  </a:cubicBezTo>
                  <a:cubicBezTo>
                    <a:pt x="59" y="238"/>
                    <a:pt x="59" y="238"/>
                    <a:pt x="59" y="238"/>
                  </a:cubicBezTo>
                  <a:cubicBezTo>
                    <a:pt x="77" y="259"/>
                    <a:pt x="101" y="272"/>
                    <a:pt x="128" y="272"/>
                  </a:cubicBezTo>
                  <a:cubicBezTo>
                    <a:pt x="154" y="272"/>
                    <a:pt x="179" y="259"/>
                    <a:pt x="196" y="238"/>
                  </a:cubicBezTo>
                  <a:cubicBezTo>
                    <a:pt x="216" y="258"/>
                    <a:pt x="216" y="258"/>
                    <a:pt x="216" y="258"/>
                  </a:cubicBezTo>
                  <a:cubicBezTo>
                    <a:pt x="218" y="260"/>
                    <a:pt x="221" y="261"/>
                    <a:pt x="224" y="261"/>
                  </a:cubicBezTo>
                  <a:cubicBezTo>
                    <a:pt x="226" y="261"/>
                    <a:pt x="229" y="260"/>
                    <a:pt x="231" y="258"/>
                  </a:cubicBezTo>
                  <a:cubicBezTo>
                    <a:pt x="235" y="254"/>
                    <a:pt x="235" y="247"/>
                    <a:pt x="231" y="243"/>
                  </a:cubicBezTo>
                  <a:cubicBezTo>
                    <a:pt x="208" y="220"/>
                    <a:pt x="208" y="220"/>
                    <a:pt x="208" y="220"/>
                  </a:cubicBezTo>
                  <a:cubicBezTo>
                    <a:pt x="215" y="209"/>
                    <a:pt x="220" y="195"/>
                    <a:pt x="222" y="181"/>
                  </a:cubicBezTo>
                  <a:cubicBezTo>
                    <a:pt x="245" y="181"/>
                    <a:pt x="245" y="181"/>
                    <a:pt x="245" y="181"/>
                  </a:cubicBezTo>
                  <a:cubicBezTo>
                    <a:pt x="251" y="181"/>
                    <a:pt x="256" y="177"/>
                    <a:pt x="256" y="171"/>
                  </a:cubicBezTo>
                  <a:cubicBezTo>
                    <a:pt x="256" y="165"/>
                    <a:pt x="251" y="160"/>
                    <a:pt x="245" y="160"/>
                  </a:cubicBezTo>
                  <a:close/>
                  <a:moveTo>
                    <a:pt x="53" y="160"/>
                  </a:moveTo>
                  <a:cubicBezTo>
                    <a:pt x="53" y="146"/>
                    <a:pt x="56" y="129"/>
                    <a:pt x="60" y="117"/>
                  </a:cubicBezTo>
                  <a:cubicBezTo>
                    <a:pt x="117" y="117"/>
                    <a:pt x="117" y="117"/>
                    <a:pt x="117" y="117"/>
                  </a:cubicBezTo>
                  <a:cubicBezTo>
                    <a:pt x="117" y="250"/>
                    <a:pt x="117" y="250"/>
                    <a:pt x="117" y="250"/>
                  </a:cubicBezTo>
                  <a:cubicBezTo>
                    <a:pt x="81" y="243"/>
                    <a:pt x="53" y="206"/>
                    <a:pt x="53" y="160"/>
                  </a:cubicBezTo>
                  <a:close/>
                  <a:moveTo>
                    <a:pt x="138" y="250"/>
                  </a:moveTo>
                  <a:cubicBezTo>
                    <a:pt x="138" y="117"/>
                    <a:pt x="138" y="117"/>
                    <a:pt x="138" y="117"/>
                  </a:cubicBezTo>
                  <a:cubicBezTo>
                    <a:pt x="196" y="117"/>
                    <a:pt x="196" y="117"/>
                    <a:pt x="196" y="117"/>
                  </a:cubicBezTo>
                  <a:cubicBezTo>
                    <a:pt x="200" y="129"/>
                    <a:pt x="202" y="146"/>
                    <a:pt x="202" y="160"/>
                  </a:cubicBezTo>
                  <a:cubicBezTo>
                    <a:pt x="202" y="206"/>
                    <a:pt x="174" y="243"/>
                    <a:pt x="138" y="2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8" name="Freeform 496">
            <a:extLst>
              <a:ext uri="{FF2B5EF4-FFF2-40B4-BE49-F238E27FC236}">
                <a16:creationId xmlns:a16="http://schemas.microsoft.com/office/drawing/2014/main" id="{06464F23-D7DD-4EE5-8ADE-D439C13DDBD6}"/>
              </a:ext>
            </a:extLst>
          </p:cNvPr>
          <p:cNvSpPr>
            <a:spLocks noChangeAspect="1" noEditPoints="1"/>
          </p:cNvSpPr>
          <p:nvPr/>
        </p:nvSpPr>
        <p:spPr bwMode="auto">
          <a:xfrm>
            <a:off x="2204962" y="2509882"/>
            <a:ext cx="367041" cy="36812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9" name="Group 499">
            <a:extLst>
              <a:ext uri="{FF2B5EF4-FFF2-40B4-BE49-F238E27FC236}">
                <a16:creationId xmlns:a16="http://schemas.microsoft.com/office/drawing/2014/main" id="{0B6D1EB8-2048-40FD-BDCA-6340D47F7C3B}"/>
              </a:ext>
            </a:extLst>
          </p:cNvPr>
          <p:cNvGrpSpPr>
            <a:grpSpLocks noChangeAspect="1"/>
          </p:cNvGrpSpPr>
          <p:nvPr/>
        </p:nvGrpSpPr>
        <p:grpSpPr bwMode="auto">
          <a:xfrm>
            <a:off x="2635435" y="2509882"/>
            <a:ext cx="367041" cy="368120"/>
            <a:chOff x="3166" y="2259"/>
            <a:chExt cx="340" cy="341"/>
          </a:xfrm>
          <a:solidFill>
            <a:schemeClr val="accent6"/>
          </a:solidFill>
        </p:grpSpPr>
        <p:sp>
          <p:nvSpPr>
            <p:cNvPr id="520" name="Freeform 500">
              <a:extLst>
                <a:ext uri="{FF2B5EF4-FFF2-40B4-BE49-F238E27FC236}">
                  <a16:creationId xmlns:a16="http://schemas.microsoft.com/office/drawing/2014/main" id="{F7F2CEED-428D-4948-ADED-05FB772EAFC1}"/>
                </a:ext>
              </a:extLst>
            </p:cNvPr>
            <p:cNvSpPr>
              <a:spLocks noEditPoints="1"/>
            </p:cNvSpPr>
            <p:nvPr/>
          </p:nvSpPr>
          <p:spPr bwMode="auto">
            <a:xfrm>
              <a:off x="3166" y="225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501">
              <a:extLst>
                <a:ext uri="{FF2B5EF4-FFF2-40B4-BE49-F238E27FC236}">
                  <a16:creationId xmlns:a16="http://schemas.microsoft.com/office/drawing/2014/main" id="{47AC4B4C-DDBA-4E3E-96E8-8CAE98D9440F}"/>
                </a:ext>
              </a:extLst>
            </p:cNvPr>
            <p:cNvSpPr>
              <a:spLocks noEditPoints="1"/>
            </p:cNvSpPr>
            <p:nvPr/>
          </p:nvSpPr>
          <p:spPr bwMode="auto">
            <a:xfrm>
              <a:off x="3259" y="2349"/>
              <a:ext cx="161" cy="160"/>
            </a:xfrm>
            <a:custGeom>
              <a:avLst/>
              <a:gdLst>
                <a:gd name="T0" fmla="*/ 227 w 242"/>
                <a:gd name="T1" fmla="*/ 9 h 241"/>
                <a:gd name="T2" fmla="*/ 221 w 242"/>
                <a:gd name="T3" fmla="*/ 1 h 241"/>
                <a:gd name="T4" fmla="*/ 210 w 242"/>
                <a:gd name="T5" fmla="*/ 3 h 241"/>
                <a:gd name="T6" fmla="*/ 113 w 242"/>
                <a:gd name="T7" fmla="*/ 35 h 241"/>
                <a:gd name="T8" fmla="*/ 42 w 242"/>
                <a:gd name="T9" fmla="*/ 54 h 241"/>
                <a:gd name="T10" fmla="*/ 4 w 242"/>
                <a:gd name="T11" fmla="*/ 121 h 241"/>
                <a:gd name="T12" fmla="*/ 24 w 242"/>
                <a:gd name="T13" fmla="*/ 188 h 241"/>
                <a:gd name="T14" fmla="*/ 0 w 242"/>
                <a:gd name="T15" fmla="*/ 230 h 241"/>
                <a:gd name="T16" fmla="*/ 11 w 242"/>
                <a:gd name="T17" fmla="*/ 241 h 241"/>
                <a:gd name="T18" fmla="*/ 11 w 242"/>
                <a:gd name="T19" fmla="*/ 241 h 241"/>
                <a:gd name="T20" fmla="*/ 21 w 242"/>
                <a:gd name="T21" fmla="*/ 230 h 241"/>
                <a:gd name="T22" fmla="*/ 39 w 242"/>
                <a:gd name="T23" fmla="*/ 203 h 241"/>
                <a:gd name="T24" fmla="*/ 100 w 242"/>
                <a:gd name="T25" fmla="*/ 225 h 241"/>
                <a:gd name="T26" fmla="*/ 174 w 242"/>
                <a:gd name="T27" fmla="*/ 193 h 241"/>
                <a:gd name="T28" fmla="*/ 227 w 242"/>
                <a:gd name="T29" fmla="*/ 9 h 241"/>
                <a:gd name="T30" fmla="*/ 159 w 242"/>
                <a:gd name="T31" fmla="*/ 178 h 241"/>
                <a:gd name="T32" fmla="*/ 47 w 242"/>
                <a:gd name="T33" fmla="*/ 181 h 241"/>
                <a:gd name="T34" fmla="*/ 25 w 242"/>
                <a:gd name="T35" fmla="*/ 123 h 241"/>
                <a:gd name="T36" fmla="*/ 55 w 242"/>
                <a:gd name="T37" fmla="*/ 71 h 241"/>
                <a:gd name="T38" fmla="*/ 114 w 242"/>
                <a:gd name="T39" fmla="*/ 56 h 241"/>
                <a:gd name="T40" fmla="*/ 209 w 242"/>
                <a:gd name="T41" fmla="*/ 30 h 241"/>
                <a:gd name="T42" fmla="*/ 159 w 242"/>
                <a:gd name="T43" fmla="*/ 178 h 241"/>
                <a:gd name="T44" fmla="*/ 160 w 242"/>
                <a:gd name="T45" fmla="*/ 90 h 241"/>
                <a:gd name="T46" fmla="*/ 151 w 242"/>
                <a:gd name="T47" fmla="*/ 102 h 241"/>
                <a:gd name="T48" fmla="*/ 76 w 242"/>
                <a:gd name="T49" fmla="*/ 163 h 241"/>
                <a:gd name="T50" fmla="*/ 66 w 242"/>
                <a:gd name="T51" fmla="*/ 170 h 241"/>
                <a:gd name="T52" fmla="*/ 62 w 242"/>
                <a:gd name="T53" fmla="*/ 169 h 241"/>
                <a:gd name="T54" fmla="*/ 56 w 242"/>
                <a:gd name="T55" fmla="*/ 156 h 241"/>
                <a:gd name="T56" fmla="*/ 148 w 242"/>
                <a:gd name="T57" fmla="*/ 81 h 241"/>
                <a:gd name="T58" fmla="*/ 160 w 242"/>
                <a:gd name="T59" fmla="*/ 9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2" h="241">
                  <a:moveTo>
                    <a:pt x="227" y="9"/>
                  </a:moveTo>
                  <a:cubicBezTo>
                    <a:pt x="226" y="5"/>
                    <a:pt x="224" y="2"/>
                    <a:pt x="221" y="1"/>
                  </a:cubicBezTo>
                  <a:cubicBezTo>
                    <a:pt x="217" y="0"/>
                    <a:pt x="213" y="0"/>
                    <a:pt x="210" y="3"/>
                  </a:cubicBezTo>
                  <a:cubicBezTo>
                    <a:pt x="171" y="33"/>
                    <a:pt x="141" y="34"/>
                    <a:pt x="113" y="35"/>
                  </a:cubicBezTo>
                  <a:cubicBezTo>
                    <a:pt x="90" y="36"/>
                    <a:pt x="67" y="37"/>
                    <a:pt x="42" y="54"/>
                  </a:cubicBezTo>
                  <a:cubicBezTo>
                    <a:pt x="20" y="69"/>
                    <a:pt x="6" y="94"/>
                    <a:pt x="4" y="121"/>
                  </a:cubicBezTo>
                  <a:cubicBezTo>
                    <a:pt x="2" y="145"/>
                    <a:pt x="9" y="169"/>
                    <a:pt x="24" y="188"/>
                  </a:cubicBezTo>
                  <a:cubicBezTo>
                    <a:pt x="1" y="209"/>
                    <a:pt x="0" y="228"/>
                    <a:pt x="0" y="230"/>
                  </a:cubicBezTo>
                  <a:cubicBezTo>
                    <a:pt x="0" y="236"/>
                    <a:pt x="5" y="241"/>
                    <a:pt x="11" y="241"/>
                  </a:cubicBezTo>
                  <a:cubicBezTo>
                    <a:pt x="11" y="241"/>
                    <a:pt x="11" y="241"/>
                    <a:pt x="11" y="241"/>
                  </a:cubicBezTo>
                  <a:cubicBezTo>
                    <a:pt x="17" y="241"/>
                    <a:pt x="21" y="236"/>
                    <a:pt x="21" y="230"/>
                  </a:cubicBezTo>
                  <a:cubicBezTo>
                    <a:pt x="22" y="230"/>
                    <a:pt x="22" y="218"/>
                    <a:pt x="39" y="203"/>
                  </a:cubicBezTo>
                  <a:cubicBezTo>
                    <a:pt x="57" y="218"/>
                    <a:pt x="78" y="225"/>
                    <a:pt x="100" y="225"/>
                  </a:cubicBezTo>
                  <a:cubicBezTo>
                    <a:pt x="127" y="225"/>
                    <a:pt x="153" y="214"/>
                    <a:pt x="174" y="193"/>
                  </a:cubicBezTo>
                  <a:cubicBezTo>
                    <a:pt x="212" y="156"/>
                    <a:pt x="242" y="80"/>
                    <a:pt x="227" y="9"/>
                  </a:cubicBezTo>
                  <a:close/>
                  <a:moveTo>
                    <a:pt x="159" y="178"/>
                  </a:moveTo>
                  <a:cubicBezTo>
                    <a:pt x="126" y="211"/>
                    <a:pt x="78" y="213"/>
                    <a:pt x="47" y="181"/>
                  </a:cubicBezTo>
                  <a:cubicBezTo>
                    <a:pt x="31" y="166"/>
                    <a:pt x="24" y="145"/>
                    <a:pt x="25" y="123"/>
                  </a:cubicBezTo>
                  <a:cubicBezTo>
                    <a:pt x="27" y="102"/>
                    <a:pt x="38" y="83"/>
                    <a:pt x="55" y="71"/>
                  </a:cubicBezTo>
                  <a:cubicBezTo>
                    <a:pt x="74" y="58"/>
                    <a:pt x="91" y="57"/>
                    <a:pt x="114" y="56"/>
                  </a:cubicBezTo>
                  <a:cubicBezTo>
                    <a:pt x="141" y="56"/>
                    <a:pt x="171" y="54"/>
                    <a:pt x="209" y="30"/>
                  </a:cubicBezTo>
                  <a:cubicBezTo>
                    <a:pt x="215" y="89"/>
                    <a:pt x="190" y="148"/>
                    <a:pt x="159" y="178"/>
                  </a:cubicBezTo>
                  <a:close/>
                  <a:moveTo>
                    <a:pt x="160" y="90"/>
                  </a:moveTo>
                  <a:cubicBezTo>
                    <a:pt x="161" y="95"/>
                    <a:pt x="157" y="101"/>
                    <a:pt x="151" y="102"/>
                  </a:cubicBezTo>
                  <a:cubicBezTo>
                    <a:pt x="97" y="112"/>
                    <a:pt x="76" y="163"/>
                    <a:pt x="76" y="163"/>
                  </a:cubicBezTo>
                  <a:cubicBezTo>
                    <a:pt x="75" y="168"/>
                    <a:pt x="71" y="170"/>
                    <a:pt x="66" y="170"/>
                  </a:cubicBezTo>
                  <a:cubicBezTo>
                    <a:pt x="65" y="170"/>
                    <a:pt x="64" y="170"/>
                    <a:pt x="62" y="169"/>
                  </a:cubicBezTo>
                  <a:cubicBezTo>
                    <a:pt x="57" y="167"/>
                    <a:pt x="54" y="161"/>
                    <a:pt x="56" y="156"/>
                  </a:cubicBezTo>
                  <a:cubicBezTo>
                    <a:pt x="57" y="153"/>
                    <a:pt x="81" y="93"/>
                    <a:pt x="148" y="81"/>
                  </a:cubicBezTo>
                  <a:cubicBezTo>
                    <a:pt x="154" y="80"/>
                    <a:pt x="159" y="84"/>
                    <a:pt x="160" y="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2" name="Group 531">
            <a:extLst>
              <a:ext uri="{FF2B5EF4-FFF2-40B4-BE49-F238E27FC236}">
                <a16:creationId xmlns:a16="http://schemas.microsoft.com/office/drawing/2014/main" id="{385843B5-A2E5-451C-8C93-C1CF220888DD}"/>
              </a:ext>
            </a:extLst>
          </p:cNvPr>
          <p:cNvGrpSpPr>
            <a:grpSpLocks noChangeAspect="1"/>
          </p:cNvGrpSpPr>
          <p:nvPr/>
        </p:nvGrpSpPr>
        <p:grpSpPr bwMode="auto">
          <a:xfrm>
            <a:off x="3065908" y="2509882"/>
            <a:ext cx="367982" cy="367983"/>
            <a:chOff x="3731" y="3177"/>
            <a:chExt cx="340" cy="340"/>
          </a:xfrm>
          <a:solidFill>
            <a:schemeClr val="accent1"/>
          </a:solidFill>
        </p:grpSpPr>
        <p:sp>
          <p:nvSpPr>
            <p:cNvPr id="533" name="Freeform 570">
              <a:extLst>
                <a:ext uri="{FF2B5EF4-FFF2-40B4-BE49-F238E27FC236}">
                  <a16:creationId xmlns:a16="http://schemas.microsoft.com/office/drawing/2014/main" id="{47C3E9C4-0490-432B-8965-0A147CB5F3E3}"/>
                </a:ext>
              </a:extLst>
            </p:cNvPr>
            <p:cNvSpPr>
              <a:spLocks noEditPoints="1"/>
            </p:cNvSpPr>
            <p:nvPr/>
          </p:nvSpPr>
          <p:spPr bwMode="auto">
            <a:xfrm>
              <a:off x="3731" y="317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9 w 512"/>
                <a:gd name="T11" fmla="*/ 361 h 512"/>
                <a:gd name="T12" fmla="*/ 373 w 512"/>
                <a:gd name="T13" fmla="*/ 372 h 512"/>
                <a:gd name="T14" fmla="*/ 372 w 512"/>
                <a:gd name="T15" fmla="*/ 372 h 512"/>
                <a:gd name="T16" fmla="*/ 372 w 512"/>
                <a:gd name="T17" fmla="*/ 373 h 512"/>
                <a:gd name="T18" fmla="*/ 361 w 512"/>
                <a:gd name="T19" fmla="*/ 399 h 512"/>
                <a:gd name="T20" fmla="*/ 335 w 512"/>
                <a:gd name="T21" fmla="*/ 410 h 512"/>
                <a:gd name="T22" fmla="*/ 308 w 512"/>
                <a:gd name="T23" fmla="*/ 399 h 512"/>
                <a:gd name="T24" fmla="*/ 298 w 512"/>
                <a:gd name="T25" fmla="*/ 373 h 512"/>
                <a:gd name="T26" fmla="*/ 302 w 512"/>
                <a:gd name="T27" fmla="*/ 355 h 512"/>
                <a:gd name="T28" fmla="*/ 157 w 512"/>
                <a:gd name="T29" fmla="*/ 209 h 512"/>
                <a:gd name="T30" fmla="*/ 112 w 512"/>
                <a:gd name="T31" fmla="*/ 203 h 512"/>
                <a:gd name="T32" fmla="*/ 101 w 512"/>
                <a:gd name="T33" fmla="*/ 176 h 512"/>
                <a:gd name="T34" fmla="*/ 112 w 512"/>
                <a:gd name="T35" fmla="*/ 150 h 512"/>
                <a:gd name="T36" fmla="*/ 139 w 512"/>
                <a:gd name="T37" fmla="*/ 140 h 512"/>
                <a:gd name="T38" fmla="*/ 139 w 512"/>
                <a:gd name="T39" fmla="*/ 139 h 512"/>
                <a:gd name="T40" fmla="*/ 150 w 512"/>
                <a:gd name="T41" fmla="*/ 112 h 512"/>
                <a:gd name="T42" fmla="*/ 203 w 512"/>
                <a:gd name="T43" fmla="*/ 112 h 512"/>
                <a:gd name="T44" fmla="*/ 214 w 512"/>
                <a:gd name="T45" fmla="*/ 139 h 512"/>
                <a:gd name="T46" fmla="*/ 209 w 512"/>
                <a:gd name="T47" fmla="*/ 157 h 512"/>
                <a:gd name="T48" fmla="*/ 355 w 512"/>
                <a:gd name="T49" fmla="*/ 302 h 512"/>
                <a:gd name="T50" fmla="*/ 399 w 512"/>
                <a:gd name="T51" fmla="*/ 308 h 512"/>
                <a:gd name="T52" fmla="*/ 410 w 512"/>
                <a:gd name="T53" fmla="*/ 335 h 512"/>
                <a:gd name="T54" fmla="*/ 399 w 512"/>
                <a:gd name="T55"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9" y="361"/>
                  </a:moveTo>
                  <a:cubicBezTo>
                    <a:pt x="392" y="368"/>
                    <a:pt x="383" y="372"/>
                    <a:pt x="373" y="372"/>
                  </a:cubicBezTo>
                  <a:cubicBezTo>
                    <a:pt x="372" y="372"/>
                    <a:pt x="372" y="372"/>
                    <a:pt x="372" y="372"/>
                  </a:cubicBezTo>
                  <a:cubicBezTo>
                    <a:pt x="372" y="372"/>
                    <a:pt x="372" y="372"/>
                    <a:pt x="372" y="373"/>
                  </a:cubicBezTo>
                  <a:cubicBezTo>
                    <a:pt x="372" y="383"/>
                    <a:pt x="368" y="392"/>
                    <a:pt x="361" y="399"/>
                  </a:cubicBezTo>
                  <a:cubicBezTo>
                    <a:pt x="354" y="406"/>
                    <a:pt x="345" y="410"/>
                    <a:pt x="335" y="410"/>
                  </a:cubicBezTo>
                  <a:cubicBezTo>
                    <a:pt x="325" y="410"/>
                    <a:pt x="316" y="406"/>
                    <a:pt x="308" y="399"/>
                  </a:cubicBezTo>
                  <a:cubicBezTo>
                    <a:pt x="301" y="392"/>
                    <a:pt x="298" y="383"/>
                    <a:pt x="298" y="373"/>
                  </a:cubicBezTo>
                  <a:cubicBezTo>
                    <a:pt x="298" y="366"/>
                    <a:pt x="299" y="360"/>
                    <a:pt x="302" y="355"/>
                  </a:cubicBezTo>
                  <a:cubicBezTo>
                    <a:pt x="157" y="209"/>
                    <a:pt x="157" y="209"/>
                    <a:pt x="157" y="209"/>
                  </a:cubicBezTo>
                  <a:cubicBezTo>
                    <a:pt x="143" y="217"/>
                    <a:pt x="124" y="214"/>
                    <a:pt x="112" y="203"/>
                  </a:cubicBezTo>
                  <a:cubicBezTo>
                    <a:pt x="105" y="196"/>
                    <a:pt x="101" y="186"/>
                    <a:pt x="101" y="176"/>
                  </a:cubicBezTo>
                  <a:cubicBezTo>
                    <a:pt x="101" y="166"/>
                    <a:pt x="105" y="157"/>
                    <a:pt x="112" y="150"/>
                  </a:cubicBezTo>
                  <a:cubicBezTo>
                    <a:pt x="120" y="143"/>
                    <a:pt x="129" y="139"/>
                    <a:pt x="139" y="140"/>
                  </a:cubicBezTo>
                  <a:cubicBezTo>
                    <a:pt x="139" y="139"/>
                    <a:pt x="139" y="139"/>
                    <a:pt x="139" y="139"/>
                  </a:cubicBezTo>
                  <a:cubicBezTo>
                    <a:pt x="139" y="129"/>
                    <a:pt x="143" y="119"/>
                    <a:pt x="150" y="112"/>
                  </a:cubicBezTo>
                  <a:cubicBezTo>
                    <a:pt x="164" y="98"/>
                    <a:pt x="189" y="98"/>
                    <a:pt x="203" y="112"/>
                  </a:cubicBezTo>
                  <a:cubicBezTo>
                    <a:pt x="210" y="119"/>
                    <a:pt x="214" y="129"/>
                    <a:pt x="214" y="139"/>
                  </a:cubicBezTo>
                  <a:cubicBezTo>
                    <a:pt x="214" y="145"/>
                    <a:pt x="212" y="151"/>
                    <a:pt x="209" y="157"/>
                  </a:cubicBezTo>
                  <a:cubicBezTo>
                    <a:pt x="355" y="302"/>
                    <a:pt x="355" y="302"/>
                    <a:pt x="355" y="302"/>
                  </a:cubicBezTo>
                  <a:cubicBezTo>
                    <a:pt x="369" y="294"/>
                    <a:pt x="387" y="297"/>
                    <a:pt x="399" y="308"/>
                  </a:cubicBezTo>
                  <a:cubicBezTo>
                    <a:pt x="406" y="316"/>
                    <a:pt x="410" y="325"/>
                    <a:pt x="410" y="335"/>
                  </a:cubicBezTo>
                  <a:cubicBezTo>
                    <a:pt x="410" y="345"/>
                    <a:pt x="406" y="354"/>
                    <a:pt x="399" y="3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4" name="Freeform 571">
              <a:extLst>
                <a:ext uri="{FF2B5EF4-FFF2-40B4-BE49-F238E27FC236}">
                  <a16:creationId xmlns:a16="http://schemas.microsoft.com/office/drawing/2014/main" id="{466CFFE4-CA2A-4348-92DC-C41BB9D2E556}"/>
                </a:ext>
              </a:extLst>
            </p:cNvPr>
            <p:cNvSpPr>
              <a:spLocks/>
            </p:cNvSpPr>
            <p:nvPr/>
          </p:nvSpPr>
          <p:spPr bwMode="auto">
            <a:xfrm>
              <a:off x="3813" y="3257"/>
              <a:ext cx="176" cy="179"/>
            </a:xfrm>
            <a:custGeom>
              <a:avLst/>
              <a:gdLst>
                <a:gd name="T0" fmla="*/ 238 w 266"/>
                <a:gd name="T1" fmla="*/ 203 h 269"/>
                <a:gd name="T2" fmla="*/ 223 w 266"/>
                <a:gd name="T3" fmla="*/ 203 h 269"/>
                <a:gd name="T4" fmla="*/ 65 w 266"/>
                <a:gd name="T5" fmla="*/ 44 h 269"/>
                <a:gd name="T6" fmla="*/ 65 w 266"/>
                <a:gd name="T7" fmla="*/ 29 h 269"/>
                <a:gd name="T8" fmla="*/ 69 w 266"/>
                <a:gd name="T9" fmla="*/ 18 h 269"/>
                <a:gd name="T10" fmla="*/ 65 w 266"/>
                <a:gd name="T11" fmla="*/ 6 h 269"/>
                <a:gd name="T12" fmla="*/ 42 w 266"/>
                <a:gd name="T13" fmla="*/ 6 h 269"/>
                <a:gd name="T14" fmla="*/ 37 w 266"/>
                <a:gd name="T15" fmla="*/ 18 h 269"/>
                <a:gd name="T16" fmla="*/ 42 w 266"/>
                <a:gd name="T17" fmla="*/ 29 h 269"/>
                <a:gd name="T18" fmla="*/ 42 w 266"/>
                <a:gd name="T19" fmla="*/ 44 h 269"/>
                <a:gd name="T20" fmla="*/ 27 w 266"/>
                <a:gd name="T21" fmla="*/ 44 h 269"/>
                <a:gd name="T22" fmla="*/ 4 w 266"/>
                <a:gd name="T23" fmla="*/ 44 h 269"/>
                <a:gd name="T24" fmla="*/ 0 w 266"/>
                <a:gd name="T25" fmla="*/ 55 h 269"/>
                <a:gd name="T26" fmla="*/ 4 w 266"/>
                <a:gd name="T27" fmla="*/ 67 h 269"/>
                <a:gd name="T28" fmla="*/ 27 w 266"/>
                <a:gd name="T29" fmla="*/ 67 h 269"/>
                <a:gd name="T30" fmla="*/ 42 w 266"/>
                <a:gd name="T31" fmla="*/ 67 h 269"/>
                <a:gd name="T32" fmla="*/ 201 w 266"/>
                <a:gd name="T33" fmla="*/ 225 h 269"/>
                <a:gd name="T34" fmla="*/ 201 w 266"/>
                <a:gd name="T35" fmla="*/ 240 h 269"/>
                <a:gd name="T36" fmla="*/ 196 w 266"/>
                <a:gd name="T37" fmla="*/ 252 h 269"/>
                <a:gd name="T38" fmla="*/ 201 w 266"/>
                <a:gd name="T39" fmla="*/ 263 h 269"/>
                <a:gd name="T40" fmla="*/ 223 w 266"/>
                <a:gd name="T41" fmla="*/ 263 h 269"/>
                <a:gd name="T42" fmla="*/ 228 w 266"/>
                <a:gd name="T43" fmla="*/ 252 h 269"/>
                <a:gd name="T44" fmla="*/ 223 w 266"/>
                <a:gd name="T45" fmla="*/ 240 h 269"/>
                <a:gd name="T46" fmla="*/ 223 w 266"/>
                <a:gd name="T47" fmla="*/ 225 h 269"/>
                <a:gd name="T48" fmla="*/ 238 w 266"/>
                <a:gd name="T49" fmla="*/ 225 h 269"/>
                <a:gd name="T50" fmla="*/ 261 w 266"/>
                <a:gd name="T51" fmla="*/ 225 h 269"/>
                <a:gd name="T52" fmla="*/ 266 w 266"/>
                <a:gd name="T53" fmla="*/ 214 h 269"/>
                <a:gd name="T54" fmla="*/ 261 w 266"/>
                <a:gd name="T55" fmla="*/ 203 h 269"/>
                <a:gd name="T56" fmla="*/ 238 w 266"/>
                <a:gd name="T57" fmla="*/ 203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6" h="269">
                  <a:moveTo>
                    <a:pt x="238" y="203"/>
                  </a:moveTo>
                  <a:cubicBezTo>
                    <a:pt x="234" y="207"/>
                    <a:pt x="227" y="207"/>
                    <a:pt x="223" y="203"/>
                  </a:cubicBezTo>
                  <a:cubicBezTo>
                    <a:pt x="65" y="44"/>
                    <a:pt x="65" y="44"/>
                    <a:pt x="65" y="44"/>
                  </a:cubicBezTo>
                  <a:cubicBezTo>
                    <a:pt x="61" y="40"/>
                    <a:pt x="61" y="33"/>
                    <a:pt x="65" y="29"/>
                  </a:cubicBezTo>
                  <a:cubicBezTo>
                    <a:pt x="68" y="26"/>
                    <a:pt x="69" y="22"/>
                    <a:pt x="69" y="18"/>
                  </a:cubicBezTo>
                  <a:cubicBezTo>
                    <a:pt x="69" y="13"/>
                    <a:pt x="68" y="9"/>
                    <a:pt x="65" y="6"/>
                  </a:cubicBezTo>
                  <a:cubicBezTo>
                    <a:pt x="59" y="0"/>
                    <a:pt x="48" y="0"/>
                    <a:pt x="42" y="6"/>
                  </a:cubicBezTo>
                  <a:cubicBezTo>
                    <a:pt x="39" y="9"/>
                    <a:pt x="37" y="13"/>
                    <a:pt x="37" y="18"/>
                  </a:cubicBezTo>
                  <a:cubicBezTo>
                    <a:pt x="37" y="22"/>
                    <a:pt x="39" y="26"/>
                    <a:pt x="42" y="29"/>
                  </a:cubicBezTo>
                  <a:cubicBezTo>
                    <a:pt x="46" y="33"/>
                    <a:pt x="46" y="40"/>
                    <a:pt x="42" y="44"/>
                  </a:cubicBezTo>
                  <a:cubicBezTo>
                    <a:pt x="38" y="48"/>
                    <a:pt x="31" y="48"/>
                    <a:pt x="27" y="44"/>
                  </a:cubicBezTo>
                  <a:cubicBezTo>
                    <a:pt x="21" y="38"/>
                    <a:pt x="10" y="38"/>
                    <a:pt x="4" y="44"/>
                  </a:cubicBezTo>
                  <a:cubicBezTo>
                    <a:pt x="1" y="47"/>
                    <a:pt x="0" y="51"/>
                    <a:pt x="0" y="55"/>
                  </a:cubicBezTo>
                  <a:cubicBezTo>
                    <a:pt x="0" y="60"/>
                    <a:pt x="1" y="64"/>
                    <a:pt x="4" y="67"/>
                  </a:cubicBezTo>
                  <a:cubicBezTo>
                    <a:pt x="10" y="73"/>
                    <a:pt x="21" y="73"/>
                    <a:pt x="27" y="67"/>
                  </a:cubicBezTo>
                  <a:cubicBezTo>
                    <a:pt x="31" y="63"/>
                    <a:pt x="38" y="63"/>
                    <a:pt x="42" y="67"/>
                  </a:cubicBezTo>
                  <a:cubicBezTo>
                    <a:pt x="201" y="225"/>
                    <a:pt x="201" y="225"/>
                    <a:pt x="201" y="225"/>
                  </a:cubicBezTo>
                  <a:cubicBezTo>
                    <a:pt x="205" y="229"/>
                    <a:pt x="205" y="236"/>
                    <a:pt x="201" y="240"/>
                  </a:cubicBezTo>
                  <a:cubicBezTo>
                    <a:pt x="198" y="243"/>
                    <a:pt x="196" y="247"/>
                    <a:pt x="196" y="252"/>
                  </a:cubicBezTo>
                  <a:cubicBezTo>
                    <a:pt x="196" y="256"/>
                    <a:pt x="198" y="260"/>
                    <a:pt x="201" y="263"/>
                  </a:cubicBezTo>
                  <a:cubicBezTo>
                    <a:pt x="207" y="269"/>
                    <a:pt x="217" y="269"/>
                    <a:pt x="223" y="263"/>
                  </a:cubicBezTo>
                  <a:cubicBezTo>
                    <a:pt x="226" y="260"/>
                    <a:pt x="228" y="256"/>
                    <a:pt x="228" y="252"/>
                  </a:cubicBezTo>
                  <a:cubicBezTo>
                    <a:pt x="228" y="247"/>
                    <a:pt x="226" y="243"/>
                    <a:pt x="223" y="240"/>
                  </a:cubicBezTo>
                  <a:cubicBezTo>
                    <a:pt x="219" y="236"/>
                    <a:pt x="219" y="229"/>
                    <a:pt x="223" y="225"/>
                  </a:cubicBezTo>
                  <a:cubicBezTo>
                    <a:pt x="227" y="221"/>
                    <a:pt x="234" y="221"/>
                    <a:pt x="238" y="225"/>
                  </a:cubicBezTo>
                  <a:cubicBezTo>
                    <a:pt x="244" y="231"/>
                    <a:pt x="255" y="231"/>
                    <a:pt x="261" y="225"/>
                  </a:cubicBezTo>
                  <a:cubicBezTo>
                    <a:pt x="264" y="222"/>
                    <a:pt x="266" y="218"/>
                    <a:pt x="266" y="214"/>
                  </a:cubicBezTo>
                  <a:cubicBezTo>
                    <a:pt x="266" y="210"/>
                    <a:pt x="264" y="206"/>
                    <a:pt x="261" y="203"/>
                  </a:cubicBezTo>
                  <a:cubicBezTo>
                    <a:pt x="255" y="197"/>
                    <a:pt x="244" y="197"/>
                    <a:pt x="238"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5" name="Group 574">
            <a:extLst>
              <a:ext uri="{FF2B5EF4-FFF2-40B4-BE49-F238E27FC236}">
                <a16:creationId xmlns:a16="http://schemas.microsoft.com/office/drawing/2014/main" id="{6FD63F86-99A6-4234-A72C-A362BF31CB50}"/>
              </a:ext>
            </a:extLst>
          </p:cNvPr>
          <p:cNvGrpSpPr>
            <a:grpSpLocks noChangeAspect="1"/>
          </p:cNvGrpSpPr>
          <p:nvPr/>
        </p:nvGrpSpPr>
        <p:grpSpPr bwMode="auto">
          <a:xfrm>
            <a:off x="3497322" y="2509882"/>
            <a:ext cx="367982" cy="367982"/>
            <a:chOff x="2538" y="2688"/>
            <a:chExt cx="340" cy="340"/>
          </a:xfrm>
          <a:solidFill>
            <a:schemeClr val="accent1"/>
          </a:solidFill>
        </p:grpSpPr>
        <p:sp>
          <p:nvSpPr>
            <p:cNvPr id="536" name="Freeform 353">
              <a:extLst>
                <a:ext uri="{FF2B5EF4-FFF2-40B4-BE49-F238E27FC236}">
                  <a16:creationId xmlns:a16="http://schemas.microsoft.com/office/drawing/2014/main" id="{84EF528C-D9A9-44B2-898F-0C34242DEED8}"/>
                </a:ext>
              </a:extLst>
            </p:cNvPr>
            <p:cNvSpPr>
              <a:spLocks noEditPoints="1"/>
            </p:cNvSpPr>
            <p:nvPr/>
          </p:nvSpPr>
          <p:spPr bwMode="auto">
            <a:xfrm>
              <a:off x="2538" y="26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7" name="Freeform 354">
              <a:extLst>
                <a:ext uri="{FF2B5EF4-FFF2-40B4-BE49-F238E27FC236}">
                  <a16:creationId xmlns:a16="http://schemas.microsoft.com/office/drawing/2014/main" id="{31330913-A657-42C6-8CE0-185D7C49D295}"/>
                </a:ext>
              </a:extLst>
            </p:cNvPr>
            <p:cNvSpPr>
              <a:spLocks noEditPoints="1"/>
            </p:cNvSpPr>
            <p:nvPr/>
          </p:nvSpPr>
          <p:spPr bwMode="auto">
            <a:xfrm>
              <a:off x="2605" y="2753"/>
              <a:ext cx="205" cy="207"/>
            </a:xfrm>
            <a:custGeom>
              <a:avLst/>
              <a:gdLst>
                <a:gd name="T0" fmla="*/ 298 w 309"/>
                <a:gd name="T1" fmla="*/ 210 h 312"/>
                <a:gd name="T2" fmla="*/ 254 w 309"/>
                <a:gd name="T3" fmla="*/ 204 h 312"/>
                <a:gd name="T4" fmla="*/ 108 w 309"/>
                <a:gd name="T5" fmla="*/ 59 h 312"/>
                <a:gd name="T6" fmla="*/ 113 w 309"/>
                <a:gd name="T7" fmla="*/ 41 h 312"/>
                <a:gd name="T8" fmla="*/ 102 w 309"/>
                <a:gd name="T9" fmla="*/ 14 h 312"/>
                <a:gd name="T10" fmla="*/ 49 w 309"/>
                <a:gd name="T11" fmla="*/ 14 h 312"/>
                <a:gd name="T12" fmla="*/ 38 w 309"/>
                <a:gd name="T13" fmla="*/ 41 h 312"/>
                <a:gd name="T14" fmla="*/ 38 w 309"/>
                <a:gd name="T15" fmla="*/ 42 h 312"/>
                <a:gd name="T16" fmla="*/ 11 w 309"/>
                <a:gd name="T17" fmla="*/ 52 h 312"/>
                <a:gd name="T18" fmla="*/ 0 w 309"/>
                <a:gd name="T19" fmla="*/ 78 h 312"/>
                <a:gd name="T20" fmla="*/ 11 w 309"/>
                <a:gd name="T21" fmla="*/ 105 h 312"/>
                <a:gd name="T22" fmla="*/ 56 w 309"/>
                <a:gd name="T23" fmla="*/ 111 h 312"/>
                <a:gd name="T24" fmla="*/ 201 w 309"/>
                <a:gd name="T25" fmla="*/ 257 h 312"/>
                <a:gd name="T26" fmla="*/ 197 w 309"/>
                <a:gd name="T27" fmla="*/ 275 h 312"/>
                <a:gd name="T28" fmla="*/ 207 w 309"/>
                <a:gd name="T29" fmla="*/ 301 h 312"/>
                <a:gd name="T30" fmla="*/ 234 w 309"/>
                <a:gd name="T31" fmla="*/ 312 h 312"/>
                <a:gd name="T32" fmla="*/ 260 w 309"/>
                <a:gd name="T33" fmla="*/ 301 h 312"/>
                <a:gd name="T34" fmla="*/ 271 w 309"/>
                <a:gd name="T35" fmla="*/ 275 h 312"/>
                <a:gd name="T36" fmla="*/ 271 w 309"/>
                <a:gd name="T37" fmla="*/ 274 h 312"/>
                <a:gd name="T38" fmla="*/ 272 w 309"/>
                <a:gd name="T39" fmla="*/ 274 h 312"/>
                <a:gd name="T40" fmla="*/ 298 w 309"/>
                <a:gd name="T41" fmla="*/ 263 h 312"/>
                <a:gd name="T42" fmla="*/ 309 w 309"/>
                <a:gd name="T43" fmla="*/ 237 h 312"/>
                <a:gd name="T44" fmla="*/ 298 w 309"/>
                <a:gd name="T45" fmla="*/ 210 h 312"/>
                <a:gd name="T46" fmla="*/ 283 w 309"/>
                <a:gd name="T47" fmla="*/ 248 h 312"/>
                <a:gd name="T48" fmla="*/ 260 w 309"/>
                <a:gd name="T49" fmla="*/ 248 h 312"/>
                <a:gd name="T50" fmla="*/ 245 w 309"/>
                <a:gd name="T51" fmla="*/ 248 h 312"/>
                <a:gd name="T52" fmla="*/ 245 w 309"/>
                <a:gd name="T53" fmla="*/ 263 h 312"/>
                <a:gd name="T54" fmla="*/ 250 w 309"/>
                <a:gd name="T55" fmla="*/ 275 h 312"/>
                <a:gd name="T56" fmla="*/ 245 w 309"/>
                <a:gd name="T57" fmla="*/ 286 h 312"/>
                <a:gd name="T58" fmla="*/ 223 w 309"/>
                <a:gd name="T59" fmla="*/ 286 h 312"/>
                <a:gd name="T60" fmla="*/ 218 w 309"/>
                <a:gd name="T61" fmla="*/ 275 h 312"/>
                <a:gd name="T62" fmla="*/ 223 w 309"/>
                <a:gd name="T63" fmla="*/ 263 h 312"/>
                <a:gd name="T64" fmla="*/ 223 w 309"/>
                <a:gd name="T65" fmla="*/ 248 h 312"/>
                <a:gd name="T66" fmla="*/ 64 w 309"/>
                <a:gd name="T67" fmla="*/ 90 h 312"/>
                <a:gd name="T68" fmla="*/ 49 w 309"/>
                <a:gd name="T69" fmla="*/ 90 h 312"/>
                <a:gd name="T70" fmla="*/ 26 w 309"/>
                <a:gd name="T71" fmla="*/ 90 h 312"/>
                <a:gd name="T72" fmla="*/ 22 w 309"/>
                <a:gd name="T73" fmla="*/ 78 h 312"/>
                <a:gd name="T74" fmla="*/ 26 w 309"/>
                <a:gd name="T75" fmla="*/ 67 h 312"/>
                <a:gd name="T76" fmla="*/ 49 w 309"/>
                <a:gd name="T77" fmla="*/ 67 h 312"/>
                <a:gd name="T78" fmla="*/ 64 w 309"/>
                <a:gd name="T79" fmla="*/ 67 h 312"/>
                <a:gd name="T80" fmla="*/ 64 w 309"/>
                <a:gd name="T81" fmla="*/ 52 h 312"/>
                <a:gd name="T82" fmla="*/ 59 w 309"/>
                <a:gd name="T83" fmla="*/ 41 h 312"/>
                <a:gd name="T84" fmla="*/ 64 w 309"/>
                <a:gd name="T85" fmla="*/ 29 h 312"/>
                <a:gd name="T86" fmla="*/ 87 w 309"/>
                <a:gd name="T87" fmla="*/ 29 h 312"/>
                <a:gd name="T88" fmla="*/ 91 w 309"/>
                <a:gd name="T89" fmla="*/ 41 h 312"/>
                <a:gd name="T90" fmla="*/ 87 w 309"/>
                <a:gd name="T91" fmla="*/ 52 h 312"/>
                <a:gd name="T92" fmla="*/ 87 w 309"/>
                <a:gd name="T93" fmla="*/ 67 h 312"/>
                <a:gd name="T94" fmla="*/ 245 w 309"/>
                <a:gd name="T95" fmla="*/ 226 h 312"/>
                <a:gd name="T96" fmla="*/ 260 w 309"/>
                <a:gd name="T97" fmla="*/ 226 h 312"/>
                <a:gd name="T98" fmla="*/ 283 w 309"/>
                <a:gd name="T99" fmla="*/ 226 h 312"/>
                <a:gd name="T100" fmla="*/ 288 w 309"/>
                <a:gd name="T101" fmla="*/ 237 h 312"/>
                <a:gd name="T102" fmla="*/ 283 w 309"/>
                <a:gd name="T103" fmla="*/ 248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9" h="312">
                  <a:moveTo>
                    <a:pt x="298" y="210"/>
                  </a:moveTo>
                  <a:cubicBezTo>
                    <a:pt x="286" y="199"/>
                    <a:pt x="268" y="196"/>
                    <a:pt x="254" y="204"/>
                  </a:cubicBezTo>
                  <a:cubicBezTo>
                    <a:pt x="108" y="59"/>
                    <a:pt x="108" y="59"/>
                    <a:pt x="108" y="59"/>
                  </a:cubicBezTo>
                  <a:cubicBezTo>
                    <a:pt x="111" y="53"/>
                    <a:pt x="113" y="47"/>
                    <a:pt x="113" y="41"/>
                  </a:cubicBezTo>
                  <a:cubicBezTo>
                    <a:pt x="113" y="31"/>
                    <a:pt x="109" y="21"/>
                    <a:pt x="102" y="14"/>
                  </a:cubicBezTo>
                  <a:cubicBezTo>
                    <a:pt x="88" y="0"/>
                    <a:pt x="63" y="0"/>
                    <a:pt x="49" y="14"/>
                  </a:cubicBezTo>
                  <a:cubicBezTo>
                    <a:pt x="42" y="21"/>
                    <a:pt x="38" y="31"/>
                    <a:pt x="38" y="41"/>
                  </a:cubicBezTo>
                  <a:cubicBezTo>
                    <a:pt x="38" y="41"/>
                    <a:pt x="38" y="41"/>
                    <a:pt x="38" y="42"/>
                  </a:cubicBezTo>
                  <a:cubicBezTo>
                    <a:pt x="28" y="41"/>
                    <a:pt x="19" y="45"/>
                    <a:pt x="11" y="52"/>
                  </a:cubicBezTo>
                  <a:cubicBezTo>
                    <a:pt x="4" y="59"/>
                    <a:pt x="0" y="68"/>
                    <a:pt x="0" y="78"/>
                  </a:cubicBezTo>
                  <a:cubicBezTo>
                    <a:pt x="0" y="88"/>
                    <a:pt x="4" y="98"/>
                    <a:pt x="11" y="105"/>
                  </a:cubicBezTo>
                  <a:cubicBezTo>
                    <a:pt x="23" y="116"/>
                    <a:pt x="42" y="119"/>
                    <a:pt x="56" y="111"/>
                  </a:cubicBezTo>
                  <a:cubicBezTo>
                    <a:pt x="201" y="257"/>
                    <a:pt x="201" y="257"/>
                    <a:pt x="201" y="257"/>
                  </a:cubicBezTo>
                  <a:cubicBezTo>
                    <a:pt x="198" y="262"/>
                    <a:pt x="197" y="268"/>
                    <a:pt x="197" y="275"/>
                  </a:cubicBezTo>
                  <a:cubicBezTo>
                    <a:pt x="197" y="285"/>
                    <a:pt x="200" y="294"/>
                    <a:pt x="207" y="301"/>
                  </a:cubicBezTo>
                  <a:cubicBezTo>
                    <a:pt x="215" y="308"/>
                    <a:pt x="224" y="312"/>
                    <a:pt x="234" y="312"/>
                  </a:cubicBezTo>
                  <a:cubicBezTo>
                    <a:pt x="244" y="312"/>
                    <a:pt x="253" y="308"/>
                    <a:pt x="260" y="301"/>
                  </a:cubicBezTo>
                  <a:cubicBezTo>
                    <a:pt x="267" y="294"/>
                    <a:pt x="271" y="285"/>
                    <a:pt x="271" y="275"/>
                  </a:cubicBezTo>
                  <a:cubicBezTo>
                    <a:pt x="271" y="274"/>
                    <a:pt x="271" y="274"/>
                    <a:pt x="271" y="274"/>
                  </a:cubicBezTo>
                  <a:cubicBezTo>
                    <a:pt x="271" y="274"/>
                    <a:pt x="271" y="274"/>
                    <a:pt x="272" y="274"/>
                  </a:cubicBezTo>
                  <a:cubicBezTo>
                    <a:pt x="282" y="274"/>
                    <a:pt x="291" y="270"/>
                    <a:pt x="298" y="263"/>
                  </a:cubicBezTo>
                  <a:cubicBezTo>
                    <a:pt x="305" y="256"/>
                    <a:pt x="309" y="247"/>
                    <a:pt x="309" y="237"/>
                  </a:cubicBezTo>
                  <a:cubicBezTo>
                    <a:pt x="309" y="227"/>
                    <a:pt x="305" y="218"/>
                    <a:pt x="298" y="210"/>
                  </a:cubicBezTo>
                  <a:close/>
                  <a:moveTo>
                    <a:pt x="283" y="248"/>
                  </a:moveTo>
                  <a:cubicBezTo>
                    <a:pt x="277" y="254"/>
                    <a:pt x="266" y="254"/>
                    <a:pt x="260" y="248"/>
                  </a:cubicBezTo>
                  <a:cubicBezTo>
                    <a:pt x="256" y="244"/>
                    <a:pt x="249" y="244"/>
                    <a:pt x="245" y="248"/>
                  </a:cubicBezTo>
                  <a:cubicBezTo>
                    <a:pt x="241" y="252"/>
                    <a:pt x="241" y="259"/>
                    <a:pt x="245" y="263"/>
                  </a:cubicBezTo>
                  <a:cubicBezTo>
                    <a:pt x="248" y="266"/>
                    <a:pt x="250" y="270"/>
                    <a:pt x="250" y="275"/>
                  </a:cubicBezTo>
                  <a:cubicBezTo>
                    <a:pt x="250" y="279"/>
                    <a:pt x="248" y="283"/>
                    <a:pt x="245" y="286"/>
                  </a:cubicBezTo>
                  <a:cubicBezTo>
                    <a:pt x="239" y="292"/>
                    <a:pt x="229" y="292"/>
                    <a:pt x="223" y="286"/>
                  </a:cubicBezTo>
                  <a:cubicBezTo>
                    <a:pt x="220" y="283"/>
                    <a:pt x="218" y="279"/>
                    <a:pt x="218" y="275"/>
                  </a:cubicBezTo>
                  <a:cubicBezTo>
                    <a:pt x="218" y="270"/>
                    <a:pt x="220" y="266"/>
                    <a:pt x="223" y="263"/>
                  </a:cubicBezTo>
                  <a:cubicBezTo>
                    <a:pt x="227" y="259"/>
                    <a:pt x="227" y="252"/>
                    <a:pt x="223" y="248"/>
                  </a:cubicBezTo>
                  <a:cubicBezTo>
                    <a:pt x="64" y="90"/>
                    <a:pt x="64" y="90"/>
                    <a:pt x="64" y="90"/>
                  </a:cubicBezTo>
                  <a:cubicBezTo>
                    <a:pt x="60" y="86"/>
                    <a:pt x="53" y="86"/>
                    <a:pt x="49" y="90"/>
                  </a:cubicBezTo>
                  <a:cubicBezTo>
                    <a:pt x="43" y="96"/>
                    <a:pt x="32" y="96"/>
                    <a:pt x="26" y="90"/>
                  </a:cubicBezTo>
                  <a:cubicBezTo>
                    <a:pt x="23" y="87"/>
                    <a:pt x="22" y="83"/>
                    <a:pt x="22" y="78"/>
                  </a:cubicBezTo>
                  <a:cubicBezTo>
                    <a:pt x="22" y="74"/>
                    <a:pt x="23" y="70"/>
                    <a:pt x="26" y="67"/>
                  </a:cubicBezTo>
                  <a:cubicBezTo>
                    <a:pt x="32" y="61"/>
                    <a:pt x="43" y="61"/>
                    <a:pt x="49" y="67"/>
                  </a:cubicBezTo>
                  <a:cubicBezTo>
                    <a:pt x="53" y="71"/>
                    <a:pt x="60" y="71"/>
                    <a:pt x="64" y="67"/>
                  </a:cubicBezTo>
                  <a:cubicBezTo>
                    <a:pt x="68" y="63"/>
                    <a:pt x="68" y="56"/>
                    <a:pt x="64" y="52"/>
                  </a:cubicBezTo>
                  <a:cubicBezTo>
                    <a:pt x="61" y="49"/>
                    <a:pt x="59" y="45"/>
                    <a:pt x="59" y="41"/>
                  </a:cubicBezTo>
                  <a:cubicBezTo>
                    <a:pt x="59" y="36"/>
                    <a:pt x="61" y="32"/>
                    <a:pt x="64" y="29"/>
                  </a:cubicBezTo>
                  <a:cubicBezTo>
                    <a:pt x="70" y="23"/>
                    <a:pt x="81" y="23"/>
                    <a:pt x="87" y="29"/>
                  </a:cubicBezTo>
                  <a:cubicBezTo>
                    <a:pt x="90" y="32"/>
                    <a:pt x="91" y="36"/>
                    <a:pt x="91" y="41"/>
                  </a:cubicBezTo>
                  <a:cubicBezTo>
                    <a:pt x="91" y="45"/>
                    <a:pt x="90" y="49"/>
                    <a:pt x="87" y="52"/>
                  </a:cubicBezTo>
                  <a:cubicBezTo>
                    <a:pt x="83" y="56"/>
                    <a:pt x="83" y="63"/>
                    <a:pt x="87" y="67"/>
                  </a:cubicBezTo>
                  <a:cubicBezTo>
                    <a:pt x="245" y="226"/>
                    <a:pt x="245" y="226"/>
                    <a:pt x="245" y="226"/>
                  </a:cubicBezTo>
                  <a:cubicBezTo>
                    <a:pt x="249" y="230"/>
                    <a:pt x="256" y="230"/>
                    <a:pt x="260" y="226"/>
                  </a:cubicBezTo>
                  <a:cubicBezTo>
                    <a:pt x="266" y="220"/>
                    <a:pt x="277" y="220"/>
                    <a:pt x="283" y="226"/>
                  </a:cubicBezTo>
                  <a:cubicBezTo>
                    <a:pt x="286" y="229"/>
                    <a:pt x="288" y="233"/>
                    <a:pt x="288" y="237"/>
                  </a:cubicBezTo>
                  <a:cubicBezTo>
                    <a:pt x="288" y="241"/>
                    <a:pt x="286" y="245"/>
                    <a:pt x="283" y="2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8" name="Freeform 547">
            <a:extLst>
              <a:ext uri="{FF2B5EF4-FFF2-40B4-BE49-F238E27FC236}">
                <a16:creationId xmlns:a16="http://schemas.microsoft.com/office/drawing/2014/main" id="{6EF86399-02CF-4150-ADAB-FE44B62F472F}"/>
              </a:ext>
            </a:extLst>
          </p:cNvPr>
          <p:cNvSpPr>
            <a:spLocks noChangeAspect="1" noEditPoints="1"/>
          </p:cNvSpPr>
          <p:nvPr/>
        </p:nvSpPr>
        <p:spPr bwMode="auto">
          <a:xfrm>
            <a:off x="3928736" y="2509882"/>
            <a:ext cx="367041" cy="368120"/>
          </a:xfrm>
          <a:custGeom>
            <a:avLst/>
            <a:gdLst>
              <a:gd name="T0" fmla="*/ 282 w 512"/>
              <a:gd name="T1" fmla="*/ 215 h 512"/>
              <a:gd name="T2" fmla="*/ 221 w 512"/>
              <a:gd name="T3" fmla="*/ 275 h 512"/>
              <a:gd name="T4" fmla="*/ 233 w 512"/>
              <a:gd name="T5" fmla="*/ 192 h 512"/>
              <a:gd name="T6" fmla="*/ 278 w 512"/>
              <a:gd name="T7" fmla="*/ 192 h 512"/>
              <a:gd name="T8" fmla="*/ 282 w 512"/>
              <a:gd name="T9" fmla="*/ 215 h 512"/>
              <a:gd name="T10" fmla="*/ 277 w 512"/>
              <a:gd name="T11" fmla="*/ 133 h 512"/>
              <a:gd name="T12" fmla="*/ 256 w 512"/>
              <a:gd name="T13" fmla="*/ 119 h 512"/>
              <a:gd name="T14" fmla="*/ 234 w 512"/>
              <a:gd name="T15" fmla="*/ 133 h 512"/>
              <a:gd name="T16" fmla="*/ 234 w 512"/>
              <a:gd name="T17" fmla="*/ 170 h 512"/>
              <a:gd name="T18" fmla="*/ 277 w 512"/>
              <a:gd name="T19" fmla="*/ 170 h 512"/>
              <a:gd name="T20" fmla="*/ 277 w 512"/>
              <a:gd name="T21" fmla="*/ 133 h 512"/>
              <a:gd name="T22" fmla="*/ 285 w 512"/>
              <a:gd name="T23" fmla="*/ 241 h 512"/>
              <a:gd name="T24" fmla="*/ 216 w 512"/>
              <a:gd name="T25" fmla="*/ 310 h 512"/>
              <a:gd name="T26" fmla="*/ 204 w 512"/>
              <a:gd name="T27" fmla="*/ 394 h 512"/>
              <a:gd name="T28" fmla="*/ 209 w 512"/>
              <a:gd name="T29" fmla="*/ 394 h 512"/>
              <a:gd name="T30" fmla="*/ 295 w 512"/>
              <a:gd name="T31" fmla="*/ 308 h 512"/>
              <a:gd name="T32" fmla="*/ 285 w 512"/>
              <a:gd name="T33" fmla="*/ 241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73 w 512"/>
              <a:gd name="T45" fmla="*/ 405 h 512"/>
              <a:gd name="T46" fmla="*/ 362 w 512"/>
              <a:gd name="T47" fmla="*/ 394 h 512"/>
              <a:gd name="T48" fmla="*/ 329 w 512"/>
              <a:gd name="T49" fmla="*/ 394 h 512"/>
              <a:gd name="T50" fmla="*/ 300 w 512"/>
              <a:gd name="T51" fmla="*/ 192 h 512"/>
              <a:gd name="T52" fmla="*/ 330 w 512"/>
              <a:gd name="T53" fmla="*/ 192 h 512"/>
              <a:gd name="T54" fmla="*/ 341 w 512"/>
              <a:gd name="T55" fmla="*/ 181 h 512"/>
              <a:gd name="T56" fmla="*/ 341 w 512"/>
              <a:gd name="T57" fmla="*/ 160 h 512"/>
              <a:gd name="T58" fmla="*/ 330 w 512"/>
              <a:gd name="T59" fmla="*/ 149 h 512"/>
              <a:gd name="T60" fmla="*/ 320 w 512"/>
              <a:gd name="T61" fmla="*/ 160 h 512"/>
              <a:gd name="T62" fmla="*/ 320 w 512"/>
              <a:gd name="T63" fmla="*/ 170 h 512"/>
              <a:gd name="T64" fmla="*/ 298 w 512"/>
              <a:gd name="T65" fmla="*/ 170 h 512"/>
              <a:gd name="T66" fmla="*/ 298 w 512"/>
              <a:gd name="T67" fmla="*/ 128 h 512"/>
              <a:gd name="T68" fmla="*/ 294 w 512"/>
              <a:gd name="T69" fmla="*/ 119 h 512"/>
              <a:gd name="T70" fmla="*/ 262 w 512"/>
              <a:gd name="T71" fmla="*/ 97 h 512"/>
              <a:gd name="T72" fmla="*/ 250 w 512"/>
              <a:gd name="T73" fmla="*/ 97 h 512"/>
              <a:gd name="T74" fmla="*/ 218 w 512"/>
              <a:gd name="T75" fmla="*/ 119 h 512"/>
              <a:gd name="T76" fmla="*/ 213 w 512"/>
              <a:gd name="T77" fmla="*/ 128 h 512"/>
              <a:gd name="T78" fmla="*/ 213 w 512"/>
              <a:gd name="T79" fmla="*/ 170 h 512"/>
              <a:gd name="T80" fmla="*/ 192 w 512"/>
              <a:gd name="T81" fmla="*/ 170 h 512"/>
              <a:gd name="T82" fmla="*/ 192 w 512"/>
              <a:gd name="T83" fmla="*/ 160 h 512"/>
              <a:gd name="T84" fmla="*/ 181 w 512"/>
              <a:gd name="T85" fmla="*/ 149 h 512"/>
              <a:gd name="T86" fmla="*/ 170 w 512"/>
              <a:gd name="T87" fmla="*/ 160 h 512"/>
              <a:gd name="T88" fmla="*/ 170 w 512"/>
              <a:gd name="T89" fmla="*/ 181 h 512"/>
              <a:gd name="T90" fmla="*/ 181 w 512"/>
              <a:gd name="T91" fmla="*/ 192 h 512"/>
              <a:gd name="T92" fmla="*/ 211 w 512"/>
              <a:gd name="T93" fmla="*/ 192 h 512"/>
              <a:gd name="T94" fmla="*/ 182 w 512"/>
              <a:gd name="T95" fmla="*/ 394 h 512"/>
              <a:gd name="T96" fmla="*/ 149 w 512"/>
              <a:gd name="T97" fmla="*/ 394 h 512"/>
              <a:gd name="T98" fmla="*/ 138 w 512"/>
              <a:gd name="T99" fmla="*/ 405 h 512"/>
              <a:gd name="T100" fmla="*/ 149 w 512"/>
              <a:gd name="T101" fmla="*/ 416 h 512"/>
              <a:gd name="T102" fmla="*/ 362 w 512"/>
              <a:gd name="T103" fmla="*/ 416 h 512"/>
              <a:gd name="T104" fmla="*/ 373 w 512"/>
              <a:gd name="T105" fmla="*/ 405 h 512"/>
              <a:gd name="T106" fmla="*/ 239 w 512"/>
              <a:gd name="T107" fmla="*/ 394 h 512"/>
              <a:gd name="T108" fmla="*/ 307 w 512"/>
              <a:gd name="T109" fmla="*/ 394 h 512"/>
              <a:gd name="T110" fmla="*/ 299 w 512"/>
              <a:gd name="T111" fmla="*/ 334 h 512"/>
              <a:gd name="T112" fmla="*/ 239 w 512"/>
              <a:gd name="T11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82" y="215"/>
                </a:moveTo>
                <a:cubicBezTo>
                  <a:pt x="221" y="275"/>
                  <a:pt x="221" y="275"/>
                  <a:pt x="221" y="275"/>
                </a:cubicBezTo>
                <a:cubicBezTo>
                  <a:pt x="233" y="192"/>
                  <a:pt x="233" y="192"/>
                  <a:pt x="233" y="192"/>
                </a:cubicBezTo>
                <a:cubicBezTo>
                  <a:pt x="278" y="192"/>
                  <a:pt x="278" y="192"/>
                  <a:pt x="278" y="192"/>
                </a:cubicBezTo>
                <a:lnTo>
                  <a:pt x="282" y="215"/>
                </a:lnTo>
                <a:close/>
                <a:moveTo>
                  <a:pt x="277" y="133"/>
                </a:moveTo>
                <a:cubicBezTo>
                  <a:pt x="256" y="119"/>
                  <a:pt x="256" y="119"/>
                  <a:pt x="256" y="119"/>
                </a:cubicBezTo>
                <a:cubicBezTo>
                  <a:pt x="234" y="133"/>
                  <a:pt x="234" y="133"/>
                  <a:pt x="234" y="133"/>
                </a:cubicBezTo>
                <a:cubicBezTo>
                  <a:pt x="234" y="170"/>
                  <a:pt x="234" y="170"/>
                  <a:pt x="234" y="170"/>
                </a:cubicBezTo>
                <a:cubicBezTo>
                  <a:pt x="277" y="170"/>
                  <a:pt x="277" y="170"/>
                  <a:pt x="277" y="170"/>
                </a:cubicBezTo>
                <a:lnTo>
                  <a:pt x="277" y="133"/>
                </a:lnTo>
                <a:close/>
                <a:moveTo>
                  <a:pt x="285" y="241"/>
                </a:moveTo>
                <a:cubicBezTo>
                  <a:pt x="216" y="310"/>
                  <a:pt x="216" y="310"/>
                  <a:pt x="216" y="310"/>
                </a:cubicBezTo>
                <a:cubicBezTo>
                  <a:pt x="204" y="394"/>
                  <a:pt x="204" y="394"/>
                  <a:pt x="204" y="394"/>
                </a:cubicBezTo>
                <a:cubicBezTo>
                  <a:pt x="209" y="394"/>
                  <a:pt x="209" y="394"/>
                  <a:pt x="209" y="394"/>
                </a:cubicBezTo>
                <a:cubicBezTo>
                  <a:pt x="295" y="308"/>
                  <a:pt x="295" y="308"/>
                  <a:pt x="295" y="308"/>
                </a:cubicBezTo>
                <a:lnTo>
                  <a:pt x="285" y="2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405"/>
                </a:moveTo>
                <a:cubicBezTo>
                  <a:pt x="373" y="399"/>
                  <a:pt x="368" y="394"/>
                  <a:pt x="362" y="394"/>
                </a:cubicBezTo>
                <a:cubicBezTo>
                  <a:pt x="329" y="394"/>
                  <a:pt x="329" y="394"/>
                  <a:pt x="329" y="394"/>
                </a:cubicBezTo>
                <a:cubicBezTo>
                  <a:pt x="300" y="192"/>
                  <a:pt x="300" y="192"/>
                  <a:pt x="300" y="192"/>
                </a:cubicBezTo>
                <a:cubicBezTo>
                  <a:pt x="330" y="192"/>
                  <a:pt x="330" y="192"/>
                  <a:pt x="330" y="192"/>
                </a:cubicBezTo>
                <a:cubicBezTo>
                  <a:pt x="336" y="192"/>
                  <a:pt x="341" y="187"/>
                  <a:pt x="341" y="181"/>
                </a:cubicBezTo>
                <a:cubicBezTo>
                  <a:pt x="341" y="160"/>
                  <a:pt x="341" y="160"/>
                  <a:pt x="341" y="160"/>
                </a:cubicBezTo>
                <a:cubicBezTo>
                  <a:pt x="341" y="154"/>
                  <a:pt x="336" y="149"/>
                  <a:pt x="330" y="149"/>
                </a:cubicBezTo>
                <a:cubicBezTo>
                  <a:pt x="324" y="149"/>
                  <a:pt x="320" y="154"/>
                  <a:pt x="320" y="160"/>
                </a:cubicBezTo>
                <a:cubicBezTo>
                  <a:pt x="320" y="170"/>
                  <a:pt x="320" y="170"/>
                  <a:pt x="320" y="170"/>
                </a:cubicBezTo>
                <a:cubicBezTo>
                  <a:pt x="298" y="170"/>
                  <a:pt x="298" y="170"/>
                  <a:pt x="298" y="170"/>
                </a:cubicBezTo>
                <a:cubicBezTo>
                  <a:pt x="298" y="128"/>
                  <a:pt x="298" y="128"/>
                  <a:pt x="298" y="128"/>
                </a:cubicBezTo>
                <a:cubicBezTo>
                  <a:pt x="298" y="124"/>
                  <a:pt x="297" y="121"/>
                  <a:pt x="294" y="119"/>
                </a:cubicBezTo>
                <a:cubicBezTo>
                  <a:pt x="262" y="97"/>
                  <a:pt x="262" y="97"/>
                  <a:pt x="262" y="97"/>
                </a:cubicBezTo>
                <a:cubicBezTo>
                  <a:pt x="258" y="95"/>
                  <a:pt x="253" y="95"/>
                  <a:pt x="250" y="97"/>
                </a:cubicBezTo>
                <a:cubicBezTo>
                  <a:pt x="218" y="119"/>
                  <a:pt x="218" y="119"/>
                  <a:pt x="218" y="119"/>
                </a:cubicBezTo>
                <a:cubicBezTo>
                  <a:pt x="215" y="121"/>
                  <a:pt x="213" y="124"/>
                  <a:pt x="213" y="128"/>
                </a:cubicBezTo>
                <a:cubicBezTo>
                  <a:pt x="213" y="170"/>
                  <a:pt x="213" y="170"/>
                  <a:pt x="213" y="170"/>
                </a:cubicBezTo>
                <a:cubicBezTo>
                  <a:pt x="192" y="170"/>
                  <a:pt x="192" y="170"/>
                  <a:pt x="192" y="170"/>
                </a:cubicBezTo>
                <a:cubicBezTo>
                  <a:pt x="192" y="160"/>
                  <a:pt x="192" y="160"/>
                  <a:pt x="192" y="160"/>
                </a:cubicBezTo>
                <a:cubicBezTo>
                  <a:pt x="192" y="154"/>
                  <a:pt x="187" y="149"/>
                  <a:pt x="181" y="149"/>
                </a:cubicBezTo>
                <a:cubicBezTo>
                  <a:pt x="175" y="149"/>
                  <a:pt x="170" y="154"/>
                  <a:pt x="170" y="160"/>
                </a:cubicBezTo>
                <a:cubicBezTo>
                  <a:pt x="170" y="181"/>
                  <a:pt x="170" y="181"/>
                  <a:pt x="170" y="181"/>
                </a:cubicBezTo>
                <a:cubicBezTo>
                  <a:pt x="170" y="187"/>
                  <a:pt x="175" y="192"/>
                  <a:pt x="181" y="192"/>
                </a:cubicBezTo>
                <a:cubicBezTo>
                  <a:pt x="211" y="192"/>
                  <a:pt x="211" y="192"/>
                  <a:pt x="211" y="192"/>
                </a:cubicBezTo>
                <a:cubicBezTo>
                  <a:pt x="182" y="394"/>
                  <a:pt x="182" y="394"/>
                  <a:pt x="182" y="394"/>
                </a:cubicBezTo>
                <a:cubicBezTo>
                  <a:pt x="149" y="394"/>
                  <a:pt x="149" y="394"/>
                  <a:pt x="149" y="394"/>
                </a:cubicBezTo>
                <a:cubicBezTo>
                  <a:pt x="143" y="394"/>
                  <a:pt x="138" y="399"/>
                  <a:pt x="138" y="405"/>
                </a:cubicBezTo>
                <a:cubicBezTo>
                  <a:pt x="138" y="411"/>
                  <a:pt x="143" y="416"/>
                  <a:pt x="149" y="416"/>
                </a:cubicBezTo>
                <a:cubicBezTo>
                  <a:pt x="362" y="416"/>
                  <a:pt x="362" y="416"/>
                  <a:pt x="362" y="416"/>
                </a:cubicBezTo>
                <a:cubicBezTo>
                  <a:pt x="368" y="416"/>
                  <a:pt x="373" y="411"/>
                  <a:pt x="373" y="405"/>
                </a:cubicBezTo>
                <a:close/>
                <a:moveTo>
                  <a:pt x="239" y="394"/>
                </a:moveTo>
                <a:cubicBezTo>
                  <a:pt x="307" y="394"/>
                  <a:pt x="307" y="394"/>
                  <a:pt x="307" y="394"/>
                </a:cubicBezTo>
                <a:cubicBezTo>
                  <a:pt x="299" y="334"/>
                  <a:pt x="299" y="334"/>
                  <a:pt x="299" y="334"/>
                </a:cubicBezTo>
                <a:lnTo>
                  <a:pt x="239" y="39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9" name="Group 550">
            <a:extLst>
              <a:ext uri="{FF2B5EF4-FFF2-40B4-BE49-F238E27FC236}">
                <a16:creationId xmlns:a16="http://schemas.microsoft.com/office/drawing/2014/main" id="{98CE9854-1711-4C27-B39A-2A4AB905628E}"/>
              </a:ext>
            </a:extLst>
          </p:cNvPr>
          <p:cNvGrpSpPr>
            <a:grpSpLocks noChangeAspect="1"/>
          </p:cNvGrpSpPr>
          <p:nvPr/>
        </p:nvGrpSpPr>
        <p:grpSpPr bwMode="auto">
          <a:xfrm>
            <a:off x="4359209" y="2509882"/>
            <a:ext cx="367041" cy="367041"/>
            <a:chOff x="5990" y="2438"/>
            <a:chExt cx="340" cy="340"/>
          </a:xfrm>
          <a:solidFill>
            <a:schemeClr val="accent6"/>
          </a:solidFill>
        </p:grpSpPr>
        <p:sp>
          <p:nvSpPr>
            <p:cNvPr id="540" name="Freeform 551">
              <a:extLst>
                <a:ext uri="{FF2B5EF4-FFF2-40B4-BE49-F238E27FC236}">
                  <a16:creationId xmlns:a16="http://schemas.microsoft.com/office/drawing/2014/main" id="{41C33CDE-156C-4135-B6BA-C3E5A7320535}"/>
                </a:ext>
              </a:extLst>
            </p:cNvPr>
            <p:cNvSpPr>
              <a:spLocks noEditPoints="1"/>
            </p:cNvSpPr>
            <p:nvPr/>
          </p:nvSpPr>
          <p:spPr bwMode="auto">
            <a:xfrm>
              <a:off x="5990" y="243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1" name="Freeform 552">
              <a:extLst>
                <a:ext uri="{FF2B5EF4-FFF2-40B4-BE49-F238E27FC236}">
                  <a16:creationId xmlns:a16="http://schemas.microsoft.com/office/drawing/2014/main" id="{05BBC530-E60B-4C71-94ED-9470A76385BB}"/>
                </a:ext>
              </a:extLst>
            </p:cNvPr>
            <p:cNvSpPr>
              <a:spLocks noEditPoints="1"/>
            </p:cNvSpPr>
            <p:nvPr/>
          </p:nvSpPr>
          <p:spPr bwMode="auto">
            <a:xfrm>
              <a:off x="6082" y="2501"/>
              <a:ext cx="156" cy="213"/>
            </a:xfrm>
            <a:custGeom>
              <a:avLst/>
              <a:gdLst>
                <a:gd name="T0" fmla="*/ 224 w 235"/>
                <a:gd name="T1" fmla="*/ 299 h 321"/>
                <a:gd name="T2" fmla="*/ 191 w 235"/>
                <a:gd name="T3" fmla="*/ 299 h 321"/>
                <a:gd name="T4" fmla="*/ 162 w 235"/>
                <a:gd name="T5" fmla="*/ 97 h 321"/>
                <a:gd name="T6" fmla="*/ 192 w 235"/>
                <a:gd name="T7" fmla="*/ 97 h 321"/>
                <a:gd name="T8" fmla="*/ 203 w 235"/>
                <a:gd name="T9" fmla="*/ 86 h 321"/>
                <a:gd name="T10" fmla="*/ 203 w 235"/>
                <a:gd name="T11" fmla="*/ 65 h 321"/>
                <a:gd name="T12" fmla="*/ 192 w 235"/>
                <a:gd name="T13" fmla="*/ 54 h 321"/>
                <a:gd name="T14" fmla="*/ 182 w 235"/>
                <a:gd name="T15" fmla="*/ 65 h 321"/>
                <a:gd name="T16" fmla="*/ 182 w 235"/>
                <a:gd name="T17" fmla="*/ 75 h 321"/>
                <a:gd name="T18" fmla="*/ 160 w 235"/>
                <a:gd name="T19" fmla="*/ 75 h 321"/>
                <a:gd name="T20" fmla="*/ 160 w 235"/>
                <a:gd name="T21" fmla="*/ 33 h 321"/>
                <a:gd name="T22" fmla="*/ 156 w 235"/>
                <a:gd name="T23" fmla="*/ 24 h 321"/>
                <a:gd name="T24" fmla="*/ 124 w 235"/>
                <a:gd name="T25" fmla="*/ 2 h 321"/>
                <a:gd name="T26" fmla="*/ 112 w 235"/>
                <a:gd name="T27" fmla="*/ 2 h 321"/>
                <a:gd name="T28" fmla="*/ 80 w 235"/>
                <a:gd name="T29" fmla="*/ 24 h 321"/>
                <a:gd name="T30" fmla="*/ 75 w 235"/>
                <a:gd name="T31" fmla="*/ 33 h 321"/>
                <a:gd name="T32" fmla="*/ 75 w 235"/>
                <a:gd name="T33" fmla="*/ 75 h 321"/>
                <a:gd name="T34" fmla="*/ 54 w 235"/>
                <a:gd name="T35" fmla="*/ 75 h 321"/>
                <a:gd name="T36" fmla="*/ 54 w 235"/>
                <a:gd name="T37" fmla="*/ 65 h 321"/>
                <a:gd name="T38" fmla="*/ 43 w 235"/>
                <a:gd name="T39" fmla="*/ 54 h 321"/>
                <a:gd name="T40" fmla="*/ 32 w 235"/>
                <a:gd name="T41" fmla="*/ 65 h 321"/>
                <a:gd name="T42" fmla="*/ 32 w 235"/>
                <a:gd name="T43" fmla="*/ 86 h 321"/>
                <a:gd name="T44" fmla="*/ 43 w 235"/>
                <a:gd name="T45" fmla="*/ 97 h 321"/>
                <a:gd name="T46" fmla="*/ 73 w 235"/>
                <a:gd name="T47" fmla="*/ 97 h 321"/>
                <a:gd name="T48" fmla="*/ 44 w 235"/>
                <a:gd name="T49" fmla="*/ 299 h 321"/>
                <a:gd name="T50" fmla="*/ 11 w 235"/>
                <a:gd name="T51" fmla="*/ 299 h 321"/>
                <a:gd name="T52" fmla="*/ 0 w 235"/>
                <a:gd name="T53" fmla="*/ 310 h 321"/>
                <a:gd name="T54" fmla="*/ 11 w 235"/>
                <a:gd name="T55" fmla="*/ 321 h 321"/>
                <a:gd name="T56" fmla="*/ 224 w 235"/>
                <a:gd name="T57" fmla="*/ 321 h 321"/>
                <a:gd name="T58" fmla="*/ 235 w 235"/>
                <a:gd name="T59" fmla="*/ 310 h 321"/>
                <a:gd name="T60" fmla="*/ 224 w 235"/>
                <a:gd name="T61" fmla="*/ 299 h 321"/>
                <a:gd name="T62" fmla="*/ 140 w 235"/>
                <a:gd name="T63" fmla="*/ 97 h 321"/>
                <a:gd name="T64" fmla="*/ 144 w 235"/>
                <a:gd name="T65" fmla="*/ 120 h 321"/>
                <a:gd name="T66" fmla="*/ 83 w 235"/>
                <a:gd name="T67" fmla="*/ 180 h 321"/>
                <a:gd name="T68" fmla="*/ 95 w 235"/>
                <a:gd name="T69" fmla="*/ 97 h 321"/>
                <a:gd name="T70" fmla="*/ 140 w 235"/>
                <a:gd name="T71" fmla="*/ 97 h 321"/>
                <a:gd name="T72" fmla="*/ 169 w 235"/>
                <a:gd name="T73" fmla="*/ 299 h 321"/>
                <a:gd name="T74" fmla="*/ 101 w 235"/>
                <a:gd name="T75" fmla="*/ 299 h 321"/>
                <a:gd name="T76" fmla="*/ 161 w 235"/>
                <a:gd name="T77" fmla="*/ 239 h 321"/>
                <a:gd name="T78" fmla="*/ 169 w 235"/>
                <a:gd name="T79" fmla="*/ 299 h 321"/>
                <a:gd name="T80" fmla="*/ 96 w 235"/>
                <a:gd name="T81" fmla="*/ 38 h 321"/>
                <a:gd name="T82" fmla="*/ 118 w 235"/>
                <a:gd name="T83" fmla="*/ 24 h 321"/>
                <a:gd name="T84" fmla="*/ 139 w 235"/>
                <a:gd name="T85" fmla="*/ 38 h 321"/>
                <a:gd name="T86" fmla="*/ 139 w 235"/>
                <a:gd name="T87" fmla="*/ 75 h 321"/>
                <a:gd name="T88" fmla="*/ 96 w 235"/>
                <a:gd name="T89" fmla="*/ 75 h 321"/>
                <a:gd name="T90" fmla="*/ 96 w 235"/>
                <a:gd name="T91" fmla="*/ 38 h 321"/>
                <a:gd name="T92" fmla="*/ 78 w 235"/>
                <a:gd name="T93" fmla="*/ 215 h 321"/>
                <a:gd name="T94" fmla="*/ 147 w 235"/>
                <a:gd name="T95" fmla="*/ 146 h 321"/>
                <a:gd name="T96" fmla="*/ 157 w 235"/>
                <a:gd name="T97" fmla="*/ 213 h 321"/>
                <a:gd name="T98" fmla="*/ 71 w 235"/>
                <a:gd name="T99" fmla="*/ 299 h 321"/>
                <a:gd name="T100" fmla="*/ 66 w 235"/>
                <a:gd name="T101" fmla="*/ 299 h 321"/>
                <a:gd name="T102" fmla="*/ 78 w 235"/>
                <a:gd name="T103" fmla="*/ 21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1">
                  <a:moveTo>
                    <a:pt x="224" y="299"/>
                  </a:moveTo>
                  <a:cubicBezTo>
                    <a:pt x="191" y="299"/>
                    <a:pt x="191" y="299"/>
                    <a:pt x="191" y="299"/>
                  </a:cubicBezTo>
                  <a:cubicBezTo>
                    <a:pt x="162" y="97"/>
                    <a:pt x="162" y="97"/>
                    <a:pt x="162" y="97"/>
                  </a:cubicBezTo>
                  <a:cubicBezTo>
                    <a:pt x="192" y="97"/>
                    <a:pt x="192" y="97"/>
                    <a:pt x="192" y="97"/>
                  </a:cubicBezTo>
                  <a:cubicBezTo>
                    <a:pt x="198" y="97"/>
                    <a:pt x="203" y="92"/>
                    <a:pt x="203" y="86"/>
                  </a:cubicBezTo>
                  <a:cubicBezTo>
                    <a:pt x="203" y="65"/>
                    <a:pt x="203" y="65"/>
                    <a:pt x="203" y="65"/>
                  </a:cubicBezTo>
                  <a:cubicBezTo>
                    <a:pt x="203" y="59"/>
                    <a:pt x="198" y="54"/>
                    <a:pt x="192" y="54"/>
                  </a:cubicBezTo>
                  <a:cubicBezTo>
                    <a:pt x="186" y="54"/>
                    <a:pt x="182" y="59"/>
                    <a:pt x="182" y="65"/>
                  </a:cubicBezTo>
                  <a:cubicBezTo>
                    <a:pt x="182" y="75"/>
                    <a:pt x="182" y="75"/>
                    <a:pt x="182" y="75"/>
                  </a:cubicBezTo>
                  <a:cubicBezTo>
                    <a:pt x="160" y="75"/>
                    <a:pt x="160" y="75"/>
                    <a:pt x="160" y="75"/>
                  </a:cubicBezTo>
                  <a:cubicBezTo>
                    <a:pt x="160" y="33"/>
                    <a:pt x="160" y="33"/>
                    <a:pt x="160" y="33"/>
                  </a:cubicBezTo>
                  <a:cubicBezTo>
                    <a:pt x="160" y="29"/>
                    <a:pt x="159" y="26"/>
                    <a:pt x="156" y="24"/>
                  </a:cubicBezTo>
                  <a:cubicBezTo>
                    <a:pt x="124" y="2"/>
                    <a:pt x="124" y="2"/>
                    <a:pt x="124" y="2"/>
                  </a:cubicBezTo>
                  <a:cubicBezTo>
                    <a:pt x="120" y="0"/>
                    <a:pt x="115" y="0"/>
                    <a:pt x="112" y="2"/>
                  </a:cubicBezTo>
                  <a:cubicBezTo>
                    <a:pt x="80" y="24"/>
                    <a:pt x="80" y="24"/>
                    <a:pt x="80" y="24"/>
                  </a:cubicBezTo>
                  <a:cubicBezTo>
                    <a:pt x="77" y="26"/>
                    <a:pt x="75" y="29"/>
                    <a:pt x="75" y="33"/>
                  </a:cubicBezTo>
                  <a:cubicBezTo>
                    <a:pt x="75" y="75"/>
                    <a:pt x="75" y="75"/>
                    <a:pt x="75" y="75"/>
                  </a:cubicBezTo>
                  <a:cubicBezTo>
                    <a:pt x="54" y="75"/>
                    <a:pt x="54" y="75"/>
                    <a:pt x="54" y="75"/>
                  </a:cubicBezTo>
                  <a:cubicBezTo>
                    <a:pt x="54" y="65"/>
                    <a:pt x="54" y="65"/>
                    <a:pt x="54" y="65"/>
                  </a:cubicBezTo>
                  <a:cubicBezTo>
                    <a:pt x="54" y="59"/>
                    <a:pt x="49" y="54"/>
                    <a:pt x="43" y="54"/>
                  </a:cubicBezTo>
                  <a:cubicBezTo>
                    <a:pt x="37" y="54"/>
                    <a:pt x="32" y="59"/>
                    <a:pt x="32" y="65"/>
                  </a:cubicBezTo>
                  <a:cubicBezTo>
                    <a:pt x="32" y="86"/>
                    <a:pt x="32" y="86"/>
                    <a:pt x="32" y="86"/>
                  </a:cubicBezTo>
                  <a:cubicBezTo>
                    <a:pt x="32" y="92"/>
                    <a:pt x="37" y="97"/>
                    <a:pt x="43" y="97"/>
                  </a:cubicBezTo>
                  <a:cubicBezTo>
                    <a:pt x="73" y="97"/>
                    <a:pt x="73" y="97"/>
                    <a:pt x="73" y="97"/>
                  </a:cubicBezTo>
                  <a:cubicBezTo>
                    <a:pt x="44" y="299"/>
                    <a:pt x="44" y="299"/>
                    <a:pt x="44" y="299"/>
                  </a:cubicBezTo>
                  <a:cubicBezTo>
                    <a:pt x="11" y="299"/>
                    <a:pt x="11" y="299"/>
                    <a:pt x="11" y="299"/>
                  </a:cubicBezTo>
                  <a:cubicBezTo>
                    <a:pt x="5" y="299"/>
                    <a:pt x="0" y="304"/>
                    <a:pt x="0" y="310"/>
                  </a:cubicBezTo>
                  <a:cubicBezTo>
                    <a:pt x="0" y="316"/>
                    <a:pt x="5" y="321"/>
                    <a:pt x="11" y="321"/>
                  </a:cubicBezTo>
                  <a:cubicBezTo>
                    <a:pt x="224" y="321"/>
                    <a:pt x="224" y="321"/>
                    <a:pt x="224" y="321"/>
                  </a:cubicBezTo>
                  <a:cubicBezTo>
                    <a:pt x="230" y="321"/>
                    <a:pt x="235" y="316"/>
                    <a:pt x="235" y="310"/>
                  </a:cubicBezTo>
                  <a:cubicBezTo>
                    <a:pt x="235" y="304"/>
                    <a:pt x="230" y="299"/>
                    <a:pt x="224" y="299"/>
                  </a:cubicBezTo>
                  <a:close/>
                  <a:moveTo>
                    <a:pt x="140" y="97"/>
                  </a:moveTo>
                  <a:cubicBezTo>
                    <a:pt x="144" y="120"/>
                    <a:pt x="144" y="120"/>
                    <a:pt x="144" y="120"/>
                  </a:cubicBezTo>
                  <a:cubicBezTo>
                    <a:pt x="83" y="180"/>
                    <a:pt x="83" y="180"/>
                    <a:pt x="83" y="180"/>
                  </a:cubicBezTo>
                  <a:cubicBezTo>
                    <a:pt x="95" y="97"/>
                    <a:pt x="95" y="97"/>
                    <a:pt x="95" y="97"/>
                  </a:cubicBezTo>
                  <a:lnTo>
                    <a:pt x="140" y="97"/>
                  </a:lnTo>
                  <a:close/>
                  <a:moveTo>
                    <a:pt x="169" y="299"/>
                  </a:moveTo>
                  <a:cubicBezTo>
                    <a:pt x="101" y="299"/>
                    <a:pt x="101" y="299"/>
                    <a:pt x="101" y="299"/>
                  </a:cubicBezTo>
                  <a:cubicBezTo>
                    <a:pt x="161" y="239"/>
                    <a:pt x="161" y="239"/>
                    <a:pt x="161" y="239"/>
                  </a:cubicBezTo>
                  <a:lnTo>
                    <a:pt x="169" y="299"/>
                  </a:lnTo>
                  <a:close/>
                  <a:moveTo>
                    <a:pt x="96" y="38"/>
                  </a:moveTo>
                  <a:cubicBezTo>
                    <a:pt x="118" y="24"/>
                    <a:pt x="118" y="24"/>
                    <a:pt x="118" y="24"/>
                  </a:cubicBezTo>
                  <a:cubicBezTo>
                    <a:pt x="139" y="38"/>
                    <a:pt x="139" y="38"/>
                    <a:pt x="139" y="38"/>
                  </a:cubicBezTo>
                  <a:cubicBezTo>
                    <a:pt x="139" y="75"/>
                    <a:pt x="139" y="75"/>
                    <a:pt x="139" y="75"/>
                  </a:cubicBezTo>
                  <a:cubicBezTo>
                    <a:pt x="96" y="75"/>
                    <a:pt x="96" y="75"/>
                    <a:pt x="96" y="75"/>
                  </a:cubicBezTo>
                  <a:lnTo>
                    <a:pt x="96" y="38"/>
                  </a:lnTo>
                  <a:close/>
                  <a:moveTo>
                    <a:pt x="78" y="215"/>
                  </a:moveTo>
                  <a:cubicBezTo>
                    <a:pt x="147" y="146"/>
                    <a:pt x="147" y="146"/>
                    <a:pt x="147" y="146"/>
                  </a:cubicBezTo>
                  <a:cubicBezTo>
                    <a:pt x="157" y="213"/>
                    <a:pt x="157" y="213"/>
                    <a:pt x="157" y="213"/>
                  </a:cubicBezTo>
                  <a:cubicBezTo>
                    <a:pt x="71" y="299"/>
                    <a:pt x="71" y="299"/>
                    <a:pt x="71" y="299"/>
                  </a:cubicBezTo>
                  <a:cubicBezTo>
                    <a:pt x="66" y="299"/>
                    <a:pt x="66" y="299"/>
                    <a:pt x="66" y="299"/>
                  </a:cubicBezTo>
                  <a:lnTo>
                    <a:pt x="78" y="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2" name="Freeform 556">
            <a:extLst>
              <a:ext uri="{FF2B5EF4-FFF2-40B4-BE49-F238E27FC236}">
                <a16:creationId xmlns:a16="http://schemas.microsoft.com/office/drawing/2014/main" id="{67E9F10D-EABF-41F6-806F-03B57E4F1D61}"/>
              </a:ext>
            </a:extLst>
          </p:cNvPr>
          <p:cNvSpPr>
            <a:spLocks noChangeAspect="1" noEditPoints="1"/>
          </p:cNvSpPr>
          <p:nvPr/>
        </p:nvSpPr>
        <p:spPr bwMode="auto">
          <a:xfrm>
            <a:off x="6519494" y="2509882"/>
            <a:ext cx="367041" cy="368120"/>
          </a:xfrm>
          <a:custGeom>
            <a:avLst/>
            <a:gdLst>
              <a:gd name="T0" fmla="*/ 298 w 512"/>
              <a:gd name="T1" fmla="*/ 213 h 512"/>
              <a:gd name="T2" fmla="*/ 349 w 512"/>
              <a:gd name="T3" fmla="*/ 213 h 512"/>
              <a:gd name="T4" fmla="*/ 215 w 512"/>
              <a:gd name="T5" fmla="*/ 363 h 512"/>
              <a:gd name="T6" fmla="*/ 245 w 512"/>
              <a:gd name="T7" fmla="*/ 259 h 512"/>
              <a:gd name="T8" fmla="*/ 243 w 512"/>
              <a:gd name="T9" fmla="*/ 249 h 512"/>
              <a:gd name="T10" fmla="*/ 234 w 512"/>
              <a:gd name="T11" fmla="*/ 245 h 512"/>
              <a:gd name="T12" fmla="*/ 187 w 512"/>
              <a:gd name="T13" fmla="*/ 245 h 512"/>
              <a:gd name="T14" fmla="*/ 241 w 512"/>
              <a:gd name="T15" fmla="*/ 117 h 512"/>
              <a:gd name="T16" fmla="*/ 325 w 512"/>
              <a:gd name="T17" fmla="*/ 117 h 512"/>
              <a:gd name="T18" fmla="*/ 289 w 512"/>
              <a:gd name="T19" fmla="*/ 198 h 512"/>
              <a:gd name="T20" fmla="*/ 289 w 512"/>
              <a:gd name="T21" fmla="*/ 208 h 512"/>
              <a:gd name="T22" fmla="*/ 298 w 512"/>
              <a:gd name="T23" fmla="*/ 213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83 w 512"/>
              <a:gd name="T35" fmla="*/ 198 h 512"/>
              <a:gd name="T36" fmla="*/ 373 w 512"/>
              <a:gd name="T37" fmla="*/ 192 h 512"/>
              <a:gd name="T38" fmla="*/ 315 w 512"/>
              <a:gd name="T39" fmla="*/ 192 h 512"/>
              <a:gd name="T40" fmla="*/ 351 w 512"/>
              <a:gd name="T41" fmla="*/ 111 h 512"/>
              <a:gd name="T42" fmla="*/ 350 w 512"/>
              <a:gd name="T43" fmla="*/ 101 h 512"/>
              <a:gd name="T44" fmla="*/ 341 w 512"/>
              <a:gd name="T45" fmla="*/ 96 h 512"/>
              <a:gd name="T46" fmla="*/ 234 w 512"/>
              <a:gd name="T47" fmla="*/ 96 h 512"/>
              <a:gd name="T48" fmla="*/ 225 w 512"/>
              <a:gd name="T49" fmla="*/ 102 h 512"/>
              <a:gd name="T50" fmla="*/ 161 w 512"/>
              <a:gd name="T51" fmla="*/ 251 h 512"/>
              <a:gd name="T52" fmla="*/ 161 w 512"/>
              <a:gd name="T53" fmla="*/ 262 h 512"/>
              <a:gd name="T54" fmla="*/ 170 w 512"/>
              <a:gd name="T55" fmla="*/ 266 h 512"/>
              <a:gd name="T56" fmla="*/ 220 w 512"/>
              <a:gd name="T57" fmla="*/ 266 h 512"/>
              <a:gd name="T58" fmla="*/ 181 w 512"/>
              <a:gd name="T59" fmla="*/ 402 h 512"/>
              <a:gd name="T60" fmla="*/ 187 w 512"/>
              <a:gd name="T61" fmla="*/ 414 h 512"/>
              <a:gd name="T62" fmla="*/ 192 w 512"/>
              <a:gd name="T63" fmla="*/ 416 h 512"/>
              <a:gd name="T64" fmla="*/ 200 w 512"/>
              <a:gd name="T65" fmla="*/ 412 h 512"/>
              <a:gd name="T66" fmla="*/ 381 w 512"/>
              <a:gd name="T67" fmla="*/ 209 h 512"/>
              <a:gd name="T68" fmla="*/ 383 w 512"/>
              <a:gd name="T69"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98" y="213"/>
                </a:moveTo>
                <a:cubicBezTo>
                  <a:pt x="349" y="213"/>
                  <a:pt x="349" y="213"/>
                  <a:pt x="349" y="213"/>
                </a:cubicBezTo>
                <a:cubicBezTo>
                  <a:pt x="215" y="363"/>
                  <a:pt x="215" y="363"/>
                  <a:pt x="215" y="363"/>
                </a:cubicBezTo>
                <a:cubicBezTo>
                  <a:pt x="245" y="259"/>
                  <a:pt x="245" y="259"/>
                  <a:pt x="245" y="259"/>
                </a:cubicBezTo>
                <a:cubicBezTo>
                  <a:pt x="246" y="255"/>
                  <a:pt x="245" y="252"/>
                  <a:pt x="243" y="249"/>
                </a:cubicBezTo>
                <a:cubicBezTo>
                  <a:pt x="241" y="247"/>
                  <a:pt x="238" y="245"/>
                  <a:pt x="234" y="245"/>
                </a:cubicBezTo>
                <a:cubicBezTo>
                  <a:pt x="187" y="245"/>
                  <a:pt x="187" y="245"/>
                  <a:pt x="187" y="245"/>
                </a:cubicBezTo>
                <a:cubicBezTo>
                  <a:pt x="241" y="117"/>
                  <a:pt x="241" y="117"/>
                  <a:pt x="241" y="117"/>
                </a:cubicBezTo>
                <a:cubicBezTo>
                  <a:pt x="325" y="117"/>
                  <a:pt x="325" y="117"/>
                  <a:pt x="325" y="117"/>
                </a:cubicBezTo>
                <a:cubicBezTo>
                  <a:pt x="289" y="198"/>
                  <a:pt x="289" y="198"/>
                  <a:pt x="289" y="198"/>
                </a:cubicBezTo>
                <a:cubicBezTo>
                  <a:pt x="287" y="201"/>
                  <a:pt x="287" y="205"/>
                  <a:pt x="289" y="208"/>
                </a:cubicBezTo>
                <a:cubicBezTo>
                  <a:pt x="291" y="211"/>
                  <a:pt x="295" y="213"/>
                  <a:pt x="29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3" y="198"/>
                </a:moveTo>
                <a:cubicBezTo>
                  <a:pt x="381" y="194"/>
                  <a:pt x="377" y="192"/>
                  <a:pt x="373" y="192"/>
                </a:cubicBezTo>
                <a:cubicBezTo>
                  <a:pt x="315" y="192"/>
                  <a:pt x="315" y="192"/>
                  <a:pt x="315" y="192"/>
                </a:cubicBezTo>
                <a:cubicBezTo>
                  <a:pt x="351" y="111"/>
                  <a:pt x="351" y="111"/>
                  <a:pt x="351" y="111"/>
                </a:cubicBezTo>
                <a:cubicBezTo>
                  <a:pt x="352" y="107"/>
                  <a:pt x="352" y="104"/>
                  <a:pt x="350" y="101"/>
                </a:cubicBezTo>
                <a:cubicBezTo>
                  <a:pt x="348" y="97"/>
                  <a:pt x="345" y="96"/>
                  <a:pt x="341" y="96"/>
                </a:cubicBezTo>
                <a:cubicBezTo>
                  <a:pt x="234" y="96"/>
                  <a:pt x="234" y="96"/>
                  <a:pt x="234" y="96"/>
                </a:cubicBezTo>
                <a:cubicBezTo>
                  <a:pt x="230" y="96"/>
                  <a:pt x="226" y="98"/>
                  <a:pt x="225" y="102"/>
                </a:cubicBezTo>
                <a:cubicBezTo>
                  <a:pt x="161" y="251"/>
                  <a:pt x="161" y="251"/>
                  <a:pt x="161" y="251"/>
                </a:cubicBezTo>
                <a:cubicBezTo>
                  <a:pt x="159" y="255"/>
                  <a:pt x="159" y="259"/>
                  <a:pt x="161" y="262"/>
                </a:cubicBezTo>
                <a:cubicBezTo>
                  <a:pt x="163" y="265"/>
                  <a:pt x="167" y="266"/>
                  <a:pt x="170" y="266"/>
                </a:cubicBezTo>
                <a:cubicBezTo>
                  <a:pt x="220" y="266"/>
                  <a:pt x="220" y="266"/>
                  <a:pt x="220" y="266"/>
                </a:cubicBezTo>
                <a:cubicBezTo>
                  <a:pt x="181" y="402"/>
                  <a:pt x="181" y="402"/>
                  <a:pt x="181" y="402"/>
                </a:cubicBezTo>
                <a:cubicBezTo>
                  <a:pt x="180" y="407"/>
                  <a:pt x="182" y="412"/>
                  <a:pt x="187" y="414"/>
                </a:cubicBezTo>
                <a:cubicBezTo>
                  <a:pt x="188" y="415"/>
                  <a:pt x="190" y="416"/>
                  <a:pt x="192" y="416"/>
                </a:cubicBezTo>
                <a:cubicBezTo>
                  <a:pt x="195" y="416"/>
                  <a:pt x="198" y="414"/>
                  <a:pt x="200" y="412"/>
                </a:cubicBezTo>
                <a:cubicBezTo>
                  <a:pt x="381" y="209"/>
                  <a:pt x="381" y="209"/>
                  <a:pt x="381" y="209"/>
                </a:cubicBezTo>
                <a:cubicBezTo>
                  <a:pt x="384" y="206"/>
                  <a:pt x="384" y="202"/>
                  <a:pt x="383" y="19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3" name="Group 559">
            <a:extLst>
              <a:ext uri="{FF2B5EF4-FFF2-40B4-BE49-F238E27FC236}">
                <a16:creationId xmlns:a16="http://schemas.microsoft.com/office/drawing/2014/main" id="{477D5808-9BD2-4AB1-9FFB-70C6E2E56E6C}"/>
              </a:ext>
            </a:extLst>
          </p:cNvPr>
          <p:cNvGrpSpPr>
            <a:grpSpLocks noChangeAspect="1"/>
          </p:cNvGrpSpPr>
          <p:nvPr/>
        </p:nvGrpSpPr>
        <p:grpSpPr bwMode="auto">
          <a:xfrm>
            <a:off x="6949967" y="2509882"/>
            <a:ext cx="367041" cy="367041"/>
            <a:chOff x="6726" y="2883"/>
            <a:chExt cx="340" cy="340"/>
          </a:xfrm>
          <a:solidFill>
            <a:schemeClr val="accent6"/>
          </a:solidFill>
        </p:grpSpPr>
        <p:sp>
          <p:nvSpPr>
            <p:cNvPr id="544" name="Freeform 560">
              <a:extLst>
                <a:ext uri="{FF2B5EF4-FFF2-40B4-BE49-F238E27FC236}">
                  <a16:creationId xmlns:a16="http://schemas.microsoft.com/office/drawing/2014/main" id="{08028FA1-26D5-4BA8-AF45-A2CF63A39107}"/>
                </a:ext>
              </a:extLst>
            </p:cNvPr>
            <p:cNvSpPr>
              <a:spLocks noEditPoints="1"/>
            </p:cNvSpPr>
            <p:nvPr/>
          </p:nvSpPr>
          <p:spPr bwMode="auto">
            <a:xfrm>
              <a:off x="6832" y="2947"/>
              <a:ext cx="149" cy="212"/>
            </a:xfrm>
            <a:custGeom>
              <a:avLst/>
              <a:gdLst>
                <a:gd name="T0" fmla="*/ 33 w 225"/>
                <a:gd name="T1" fmla="*/ 320 h 320"/>
                <a:gd name="T2" fmla="*/ 28 w 225"/>
                <a:gd name="T3" fmla="*/ 318 h 320"/>
                <a:gd name="T4" fmla="*/ 22 w 225"/>
                <a:gd name="T5" fmla="*/ 306 h 320"/>
                <a:gd name="T6" fmla="*/ 61 w 225"/>
                <a:gd name="T7" fmla="*/ 170 h 320"/>
                <a:gd name="T8" fmla="*/ 11 w 225"/>
                <a:gd name="T9" fmla="*/ 170 h 320"/>
                <a:gd name="T10" fmla="*/ 2 w 225"/>
                <a:gd name="T11" fmla="*/ 166 h 320"/>
                <a:gd name="T12" fmla="*/ 2 w 225"/>
                <a:gd name="T13" fmla="*/ 155 h 320"/>
                <a:gd name="T14" fmla="*/ 66 w 225"/>
                <a:gd name="T15" fmla="*/ 6 h 320"/>
                <a:gd name="T16" fmla="*/ 75 w 225"/>
                <a:gd name="T17" fmla="*/ 0 h 320"/>
                <a:gd name="T18" fmla="*/ 182 w 225"/>
                <a:gd name="T19" fmla="*/ 0 h 320"/>
                <a:gd name="T20" fmla="*/ 191 w 225"/>
                <a:gd name="T21" fmla="*/ 5 h 320"/>
                <a:gd name="T22" fmla="*/ 192 w 225"/>
                <a:gd name="T23" fmla="*/ 15 h 320"/>
                <a:gd name="T24" fmla="*/ 156 w 225"/>
                <a:gd name="T25" fmla="*/ 96 h 320"/>
                <a:gd name="T26" fmla="*/ 214 w 225"/>
                <a:gd name="T27" fmla="*/ 96 h 320"/>
                <a:gd name="T28" fmla="*/ 224 w 225"/>
                <a:gd name="T29" fmla="*/ 102 h 320"/>
                <a:gd name="T30" fmla="*/ 222 w 225"/>
                <a:gd name="T31" fmla="*/ 113 h 320"/>
                <a:gd name="T32" fmla="*/ 41 w 225"/>
                <a:gd name="T33" fmla="*/ 316 h 320"/>
                <a:gd name="T34" fmla="*/ 33 w 225"/>
                <a:gd name="T35" fmla="*/ 320 h 320"/>
                <a:gd name="T36" fmla="*/ 28 w 225"/>
                <a:gd name="T37" fmla="*/ 149 h 320"/>
                <a:gd name="T38" fmla="*/ 75 w 225"/>
                <a:gd name="T39" fmla="*/ 149 h 320"/>
                <a:gd name="T40" fmla="*/ 84 w 225"/>
                <a:gd name="T41" fmla="*/ 153 h 320"/>
                <a:gd name="T42" fmla="*/ 86 w 225"/>
                <a:gd name="T43" fmla="*/ 163 h 320"/>
                <a:gd name="T44" fmla="*/ 56 w 225"/>
                <a:gd name="T45" fmla="*/ 267 h 320"/>
                <a:gd name="T46" fmla="*/ 190 w 225"/>
                <a:gd name="T47" fmla="*/ 117 h 320"/>
                <a:gd name="T48" fmla="*/ 139 w 225"/>
                <a:gd name="T49" fmla="*/ 117 h 320"/>
                <a:gd name="T50" fmla="*/ 130 w 225"/>
                <a:gd name="T51" fmla="*/ 112 h 320"/>
                <a:gd name="T52" fmla="*/ 130 w 225"/>
                <a:gd name="T53" fmla="*/ 102 h 320"/>
                <a:gd name="T54" fmla="*/ 166 w 225"/>
                <a:gd name="T55" fmla="*/ 21 h 320"/>
                <a:gd name="T56" fmla="*/ 82 w 225"/>
                <a:gd name="T57" fmla="*/ 21 h 320"/>
                <a:gd name="T58" fmla="*/ 28 w 225"/>
                <a:gd name="T5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 h="320">
                  <a:moveTo>
                    <a:pt x="33" y="320"/>
                  </a:moveTo>
                  <a:cubicBezTo>
                    <a:pt x="31" y="320"/>
                    <a:pt x="29" y="319"/>
                    <a:pt x="28" y="318"/>
                  </a:cubicBezTo>
                  <a:cubicBezTo>
                    <a:pt x="23" y="316"/>
                    <a:pt x="21" y="311"/>
                    <a:pt x="22" y="306"/>
                  </a:cubicBezTo>
                  <a:cubicBezTo>
                    <a:pt x="61" y="170"/>
                    <a:pt x="61" y="170"/>
                    <a:pt x="61" y="170"/>
                  </a:cubicBezTo>
                  <a:cubicBezTo>
                    <a:pt x="11" y="170"/>
                    <a:pt x="11" y="170"/>
                    <a:pt x="11" y="170"/>
                  </a:cubicBezTo>
                  <a:cubicBezTo>
                    <a:pt x="8" y="170"/>
                    <a:pt x="4" y="169"/>
                    <a:pt x="2" y="166"/>
                  </a:cubicBezTo>
                  <a:cubicBezTo>
                    <a:pt x="0" y="163"/>
                    <a:pt x="0" y="159"/>
                    <a:pt x="2" y="155"/>
                  </a:cubicBezTo>
                  <a:cubicBezTo>
                    <a:pt x="66" y="6"/>
                    <a:pt x="66" y="6"/>
                    <a:pt x="66" y="6"/>
                  </a:cubicBezTo>
                  <a:cubicBezTo>
                    <a:pt x="67" y="2"/>
                    <a:pt x="71" y="0"/>
                    <a:pt x="75" y="0"/>
                  </a:cubicBezTo>
                  <a:cubicBezTo>
                    <a:pt x="182" y="0"/>
                    <a:pt x="182" y="0"/>
                    <a:pt x="182" y="0"/>
                  </a:cubicBezTo>
                  <a:cubicBezTo>
                    <a:pt x="186" y="0"/>
                    <a:pt x="189" y="1"/>
                    <a:pt x="191" y="5"/>
                  </a:cubicBezTo>
                  <a:cubicBezTo>
                    <a:pt x="193" y="8"/>
                    <a:pt x="193" y="11"/>
                    <a:pt x="192" y="15"/>
                  </a:cubicBezTo>
                  <a:cubicBezTo>
                    <a:pt x="156" y="96"/>
                    <a:pt x="156" y="96"/>
                    <a:pt x="156" y="96"/>
                  </a:cubicBezTo>
                  <a:cubicBezTo>
                    <a:pt x="214" y="96"/>
                    <a:pt x="214" y="96"/>
                    <a:pt x="214" y="96"/>
                  </a:cubicBezTo>
                  <a:cubicBezTo>
                    <a:pt x="218" y="96"/>
                    <a:pt x="222" y="98"/>
                    <a:pt x="224" y="102"/>
                  </a:cubicBezTo>
                  <a:cubicBezTo>
                    <a:pt x="225" y="106"/>
                    <a:pt x="225" y="110"/>
                    <a:pt x="222" y="113"/>
                  </a:cubicBezTo>
                  <a:cubicBezTo>
                    <a:pt x="41" y="316"/>
                    <a:pt x="41" y="316"/>
                    <a:pt x="41" y="316"/>
                  </a:cubicBezTo>
                  <a:cubicBezTo>
                    <a:pt x="39" y="318"/>
                    <a:pt x="36" y="320"/>
                    <a:pt x="33" y="320"/>
                  </a:cubicBezTo>
                  <a:close/>
                  <a:moveTo>
                    <a:pt x="28" y="149"/>
                  </a:moveTo>
                  <a:cubicBezTo>
                    <a:pt x="75" y="149"/>
                    <a:pt x="75" y="149"/>
                    <a:pt x="75" y="149"/>
                  </a:cubicBezTo>
                  <a:cubicBezTo>
                    <a:pt x="79" y="149"/>
                    <a:pt x="82" y="151"/>
                    <a:pt x="84" y="153"/>
                  </a:cubicBezTo>
                  <a:cubicBezTo>
                    <a:pt x="86" y="156"/>
                    <a:pt x="87" y="159"/>
                    <a:pt x="86" y="163"/>
                  </a:cubicBezTo>
                  <a:cubicBezTo>
                    <a:pt x="56" y="267"/>
                    <a:pt x="56" y="267"/>
                    <a:pt x="56" y="267"/>
                  </a:cubicBezTo>
                  <a:cubicBezTo>
                    <a:pt x="190" y="117"/>
                    <a:pt x="190" y="117"/>
                    <a:pt x="190" y="117"/>
                  </a:cubicBezTo>
                  <a:cubicBezTo>
                    <a:pt x="139" y="117"/>
                    <a:pt x="139" y="117"/>
                    <a:pt x="139" y="117"/>
                  </a:cubicBezTo>
                  <a:cubicBezTo>
                    <a:pt x="136" y="117"/>
                    <a:pt x="132" y="115"/>
                    <a:pt x="130" y="112"/>
                  </a:cubicBezTo>
                  <a:cubicBezTo>
                    <a:pt x="128" y="109"/>
                    <a:pt x="128" y="105"/>
                    <a:pt x="130" y="102"/>
                  </a:cubicBezTo>
                  <a:cubicBezTo>
                    <a:pt x="166" y="21"/>
                    <a:pt x="166" y="21"/>
                    <a:pt x="166" y="21"/>
                  </a:cubicBezTo>
                  <a:cubicBezTo>
                    <a:pt x="82" y="21"/>
                    <a:pt x="82" y="21"/>
                    <a:pt x="82" y="21"/>
                  </a:cubicBezTo>
                  <a:lnTo>
                    <a:pt x="2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5" name="Freeform 561">
              <a:extLst>
                <a:ext uri="{FF2B5EF4-FFF2-40B4-BE49-F238E27FC236}">
                  <a16:creationId xmlns:a16="http://schemas.microsoft.com/office/drawing/2014/main" id="{B7ECB4C5-74B6-4286-85E4-D201207A1ACF}"/>
                </a:ext>
              </a:extLst>
            </p:cNvPr>
            <p:cNvSpPr>
              <a:spLocks noEditPoints="1"/>
            </p:cNvSpPr>
            <p:nvPr/>
          </p:nvSpPr>
          <p:spPr bwMode="auto">
            <a:xfrm>
              <a:off x="6726" y="28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6" name="Freeform 565">
            <a:extLst>
              <a:ext uri="{FF2B5EF4-FFF2-40B4-BE49-F238E27FC236}">
                <a16:creationId xmlns:a16="http://schemas.microsoft.com/office/drawing/2014/main" id="{D2F61831-D298-4B67-925F-BFFF3D4A1483}"/>
              </a:ext>
            </a:extLst>
          </p:cNvPr>
          <p:cNvSpPr>
            <a:spLocks noChangeAspect="1" noEditPoints="1"/>
          </p:cNvSpPr>
          <p:nvPr/>
        </p:nvSpPr>
        <p:spPr bwMode="auto">
          <a:xfrm>
            <a:off x="7380440" y="2509882"/>
            <a:ext cx="403745" cy="367041"/>
          </a:xfrm>
          <a:custGeom>
            <a:avLst/>
            <a:gdLst>
              <a:gd name="T0" fmla="*/ 419 w 562"/>
              <a:gd name="T1" fmla="*/ 234 h 512"/>
              <a:gd name="T2" fmla="*/ 387 w 562"/>
              <a:gd name="T3" fmla="*/ 266 h 512"/>
              <a:gd name="T4" fmla="*/ 192 w 562"/>
              <a:gd name="T5" fmla="*/ 266 h 512"/>
              <a:gd name="T6" fmla="*/ 142 w 562"/>
              <a:gd name="T7" fmla="*/ 217 h 512"/>
              <a:gd name="T8" fmla="*/ 192 w 562"/>
              <a:gd name="T9" fmla="*/ 167 h 512"/>
              <a:gd name="T10" fmla="*/ 216 w 562"/>
              <a:gd name="T11" fmla="*/ 175 h 512"/>
              <a:gd name="T12" fmla="*/ 226 w 562"/>
              <a:gd name="T13" fmla="*/ 176 h 512"/>
              <a:gd name="T14" fmla="*/ 232 w 562"/>
              <a:gd name="T15" fmla="*/ 169 h 512"/>
              <a:gd name="T16" fmla="*/ 297 w 562"/>
              <a:gd name="T17" fmla="*/ 117 h 512"/>
              <a:gd name="T18" fmla="*/ 362 w 562"/>
              <a:gd name="T19" fmla="*/ 182 h 512"/>
              <a:gd name="T20" fmla="*/ 361 w 562"/>
              <a:gd name="T21" fmla="*/ 190 h 512"/>
              <a:gd name="T22" fmla="*/ 360 w 562"/>
              <a:gd name="T23" fmla="*/ 195 h 512"/>
              <a:gd name="T24" fmla="*/ 365 w 562"/>
              <a:gd name="T25" fmla="*/ 206 h 512"/>
              <a:gd name="T26" fmla="*/ 378 w 562"/>
              <a:gd name="T27" fmla="*/ 205 h 512"/>
              <a:gd name="T28" fmla="*/ 380 w 562"/>
              <a:gd name="T29" fmla="*/ 203 h 512"/>
              <a:gd name="T30" fmla="*/ 387 w 562"/>
              <a:gd name="T31" fmla="*/ 202 h 512"/>
              <a:gd name="T32" fmla="*/ 419 w 562"/>
              <a:gd name="T33" fmla="*/ 234 h 512"/>
              <a:gd name="T34" fmla="*/ 462 w 562"/>
              <a:gd name="T35" fmla="*/ 437 h 512"/>
              <a:gd name="T36" fmla="*/ 281 w 562"/>
              <a:gd name="T37" fmla="*/ 512 h 512"/>
              <a:gd name="T38" fmla="*/ 100 w 562"/>
              <a:gd name="T39" fmla="*/ 437 h 512"/>
              <a:gd name="T40" fmla="*/ 100 w 562"/>
              <a:gd name="T41" fmla="*/ 75 h 512"/>
              <a:gd name="T42" fmla="*/ 281 w 562"/>
              <a:gd name="T43" fmla="*/ 0 h 512"/>
              <a:gd name="T44" fmla="*/ 462 w 562"/>
              <a:gd name="T45" fmla="*/ 75 h 512"/>
              <a:gd name="T46" fmla="*/ 462 w 562"/>
              <a:gd name="T47" fmla="*/ 437 h 512"/>
              <a:gd name="T48" fmla="*/ 300 w 562"/>
              <a:gd name="T49" fmla="*/ 357 h 512"/>
              <a:gd name="T50" fmla="*/ 291 w 562"/>
              <a:gd name="T51" fmla="*/ 352 h 512"/>
              <a:gd name="T52" fmla="*/ 277 w 562"/>
              <a:gd name="T53" fmla="*/ 352 h 512"/>
              <a:gd name="T54" fmla="*/ 290 w 562"/>
              <a:gd name="T55" fmla="*/ 324 h 512"/>
              <a:gd name="T56" fmla="*/ 285 w 562"/>
              <a:gd name="T57" fmla="*/ 310 h 512"/>
              <a:gd name="T58" fmla="*/ 271 w 562"/>
              <a:gd name="T59" fmla="*/ 315 h 512"/>
              <a:gd name="T60" fmla="*/ 250 w 562"/>
              <a:gd name="T61" fmla="*/ 358 h 512"/>
              <a:gd name="T62" fmla="*/ 250 w 562"/>
              <a:gd name="T63" fmla="*/ 368 h 512"/>
              <a:gd name="T64" fmla="*/ 259 w 562"/>
              <a:gd name="T65" fmla="*/ 373 h 512"/>
              <a:gd name="T66" fmla="*/ 274 w 562"/>
              <a:gd name="T67" fmla="*/ 373 h 512"/>
              <a:gd name="T68" fmla="*/ 260 w 562"/>
              <a:gd name="T69" fmla="*/ 400 h 512"/>
              <a:gd name="T70" fmla="*/ 265 w 562"/>
              <a:gd name="T71" fmla="*/ 415 h 512"/>
              <a:gd name="T72" fmla="*/ 270 w 562"/>
              <a:gd name="T73" fmla="*/ 416 h 512"/>
              <a:gd name="T74" fmla="*/ 280 w 562"/>
              <a:gd name="T75" fmla="*/ 410 h 512"/>
              <a:gd name="T76" fmla="*/ 301 w 562"/>
              <a:gd name="T77" fmla="*/ 367 h 512"/>
              <a:gd name="T78" fmla="*/ 300 w 562"/>
              <a:gd name="T79" fmla="*/ 357 h 512"/>
              <a:gd name="T80" fmla="*/ 441 w 562"/>
              <a:gd name="T81" fmla="*/ 234 h 512"/>
              <a:gd name="T82" fmla="*/ 387 w 562"/>
              <a:gd name="T83" fmla="*/ 181 h 512"/>
              <a:gd name="T84" fmla="*/ 383 w 562"/>
              <a:gd name="T85" fmla="*/ 181 h 512"/>
              <a:gd name="T86" fmla="*/ 297 w 562"/>
              <a:gd name="T87" fmla="*/ 96 h 512"/>
              <a:gd name="T88" fmla="*/ 215 w 562"/>
              <a:gd name="T89" fmla="*/ 151 h 512"/>
              <a:gd name="T90" fmla="*/ 192 w 562"/>
              <a:gd name="T91" fmla="*/ 146 h 512"/>
              <a:gd name="T92" fmla="*/ 121 w 562"/>
              <a:gd name="T93" fmla="*/ 217 h 512"/>
              <a:gd name="T94" fmla="*/ 192 w 562"/>
              <a:gd name="T95" fmla="*/ 288 h 512"/>
              <a:gd name="T96" fmla="*/ 387 w 562"/>
              <a:gd name="T97" fmla="*/ 288 h 512"/>
              <a:gd name="T98" fmla="*/ 441 w 562"/>
              <a:gd name="T99"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2" h="512">
                <a:moveTo>
                  <a:pt x="419" y="234"/>
                </a:moveTo>
                <a:cubicBezTo>
                  <a:pt x="419" y="252"/>
                  <a:pt x="405" y="266"/>
                  <a:pt x="387" y="266"/>
                </a:cubicBezTo>
                <a:cubicBezTo>
                  <a:pt x="192" y="266"/>
                  <a:pt x="192" y="266"/>
                  <a:pt x="192" y="266"/>
                </a:cubicBezTo>
                <a:cubicBezTo>
                  <a:pt x="164" y="266"/>
                  <a:pt x="142" y="244"/>
                  <a:pt x="142" y="217"/>
                </a:cubicBezTo>
                <a:cubicBezTo>
                  <a:pt x="142" y="189"/>
                  <a:pt x="164" y="167"/>
                  <a:pt x="192" y="167"/>
                </a:cubicBezTo>
                <a:cubicBezTo>
                  <a:pt x="201" y="167"/>
                  <a:pt x="208" y="170"/>
                  <a:pt x="216" y="175"/>
                </a:cubicBezTo>
                <a:cubicBezTo>
                  <a:pt x="219" y="177"/>
                  <a:pt x="222" y="178"/>
                  <a:pt x="226" y="176"/>
                </a:cubicBezTo>
                <a:cubicBezTo>
                  <a:pt x="229" y="175"/>
                  <a:pt x="231" y="172"/>
                  <a:pt x="232" y="169"/>
                </a:cubicBezTo>
                <a:cubicBezTo>
                  <a:pt x="238" y="139"/>
                  <a:pt x="266" y="117"/>
                  <a:pt x="297" y="117"/>
                </a:cubicBezTo>
                <a:cubicBezTo>
                  <a:pt x="333" y="117"/>
                  <a:pt x="362" y="146"/>
                  <a:pt x="362" y="182"/>
                </a:cubicBezTo>
                <a:cubicBezTo>
                  <a:pt x="362" y="185"/>
                  <a:pt x="361" y="187"/>
                  <a:pt x="361" y="190"/>
                </a:cubicBezTo>
                <a:cubicBezTo>
                  <a:pt x="361" y="192"/>
                  <a:pt x="361" y="193"/>
                  <a:pt x="360" y="195"/>
                </a:cubicBezTo>
                <a:cubicBezTo>
                  <a:pt x="359" y="199"/>
                  <a:pt x="361" y="204"/>
                  <a:pt x="365" y="206"/>
                </a:cubicBezTo>
                <a:cubicBezTo>
                  <a:pt x="369" y="208"/>
                  <a:pt x="374" y="208"/>
                  <a:pt x="378" y="205"/>
                </a:cubicBezTo>
                <a:cubicBezTo>
                  <a:pt x="378" y="204"/>
                  <a:pt x="379" y="204"/>
                  <a:pt x="380" y="203"/>
                </a:cubicBezTo>
                <a:cubicBezTo>
                  <a:pt x="383" y="203"/>
                  <a:pt x="385" y="202"/>
                  <a:pt x="387" y="202"/>
                </a:cubicBezTo>
                <a:cubicBezTo>
                  <a:pt x="405" y="202"/>
                  <a:pt x="419" y="217"/>
                  <a:pt x="419"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300" y="357"/>
                </a:moveTo>
                <a:cubicBezTo>
                  <a:pt x="298" y="354"/>
                  <a:pt x="295" y="352"/>
                  <a:pt x="291" y="352"/>
                </a:cubicBezTo>
                <a:cubicBezTo>
                  <a:pt x="277" y="352"/>
                  <a:pt x="277" y="352"/>
                  <a:pt x="277" y="352"/>
                </a:cubicBezTo>
                <a:cubicBezTo>
                  <a:pt x="290" y="324"/>
                  <a:pt x="290" y="324"/>
                  <a:pt x="290" y="324"/>
                </a:cubicBezTo>
                <a:cubicBezTo>
                  <a:pt x="293" y="319"/>
                  <a:pt x="291" y="313"/>
                  <a:pt x="285" y="310"/>
                </a:cubicBezTo>
                <a:cubicBezTo>
                  <a:pt x="280" y="308"/>
                  <a:pt x="274" y="310"/>
                  <a:pt x="271" y="315"/>
                </a:cubicBezTo>
                <a:cubicBezTo>
                  <a:pt x="250" y="358"/>
                  <a:pt x="250" y="358"/>
                  <a:pt x="250" y="358"/>
                </a:cubicBezTo>
                <a:cubicBezTo>
                  <a:pt x="248" y="361"/>
                  <a:pt x="248" y="365"/>
                  <a:pt x="250" y="368"/>
                </a:cubicBezTo>
                <a:cubicBezTo>
                  <a:pt x="252" y="371"/>
                  <a:pt x="256" y="373"/>
                  <a:pt x="259" y="373"/>
                </a:cubicBezTo>
                <a:cubicBezTo>
                  <a:pt x="274" y="373"/>
                  <a:pt x="274" y="373"/>
                  <a:pt x="274" y="373"/>
                </a:cubicBezTo>
                <a:cubicBezTo>
                  <a:pt x="260" y="400"/>
                  <a:pt x="260" y="400"/>
                  <a:pt x="260" y="400"/>
                </a:cubicBezTo>
                <a:cubicBezTo>
                  <a:pt x="258" y="406"/>
                  <a:pt x="260" y="412"/>
                  <a:pt x="265" y="415"/>
                </a:cubicBezTo>
                <a:cubicBezTo>
                  <a:pt x="267" y="415"/>
                  <a:pt x="268" y="416"/>
                  <a:pt x="270" y="416"/>
                </a:cubicBezTo>
                <a:cubicBezTo>
                  <a:pt x="274" y="416"/>
                  <a:pt x="278" y="414"/>
                  <a:pt x="280" y="410"/>
                </a:cubicBezTo>
                <a:cubicBezTo>
                  <a:pt x="301" y="367"/>
                  <a:pt x="301" y="367"/>
                  <a:pt x="301" y="367"/>
                </a:cubicBezTo>
                <a:cubicBezTo>
                  <a:pt x="303" y="364"/>
                  <a:pt x="302" y="360"/>
                  <a:pt x="300" y="357"/>
                </a:cubicBezTo>
                <a:close/>
                <a:moveTo>
                  <a:pt x="441" y="234"/>
                </a:moveTo>
                <a:cubicBezTo>
                  <a:pt x="441" y="205"/>
                  <a:pt x="417" y="181"/>
                  <a:pt x="387" y="181"/>
                </a:cubicBezTo>
                <a:cubicBezTo>
                  <a:pt x="386" y="181"/>
                  <a:pt x="384" y="181"/>
                  <a:pt x="383" y="181"/>
                </a:cubicBezTo>
                <a:cubicBezTo>
                  <a:pt x="383" y="134"/>
                  <a:pt x="344" y="96"/>
                  <a:pt x="297" y="96"/>
                </a:cubicBezTo>
                <a:cubicBezTo>
                  <a:pt x="260" y="96"/>
                  <a:pt x="228" y="118"/>
                  <a:pt x="215" y="151"/>
                </a:cubicBezTo>
                <a:cubicBezTo>
                  <a:pt x="208" y="148"/>
                  <a:pt x="201" y="146"/>
                  <a:pt x="192" y="146"/>
                </a:cubicBezTo>
                <a:cubicBezTo>
                  <a:pt x="152" y="146"/>
                  <a:pt x="121" y="178"/>
                  <a:pt x="121" y="217"/>
                </a:cubicBezTo>
                <a:cubicBezTo>
                  <a:pt x="121" y="256"/>
                  <a:pt x="152" y="288"/>
                  <a:pt x="192" y="288"/>
                </a:cubicBezTo>
                <a:cubicBezTo>
                  <a:pt x="387" y="288"/>
                  <a:pt x="387" y="288"/>
                  <a:pt x="387" y="288"/>
                </a:cubicBezTo>
                <a:cubicBezTo>
                  <a:pt x="417" y="288"/>
                  <a:pt x="441" y="264"/>
                  <a:pt x="441" y="23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7" name="Group 568">
            <a:extLst>
              <a:ext uri="{FF2B5EF4-FFF2-40B4-BE49-F238E27FC236}">
                <a16:creationId xmlns:a16="http://schemas.microsoft.com/office/drawing/2014/main" id="{E5D3742B-5A65-4393-B6E0-C5F57E2AD6BD}"/>
              </a:ext>
            </a:extLst>
          </p:cNvPr>
          <p:cNvGrpSpPr>
            <a:grpSpLocks noChangeAspect="1"/>
          </p:cNvGrpSpPr>
          <p:nvPr/>
        </p:nvGrpSpPr>
        <p:grpSpPr bwMode="auto">
          <a:xfrm>
            <a:off x="7847617" y="2509882"/>
            <a:ext cx="404825" cy="367041"/>
            <a:chOff x="6616" y="2941"/>
            <a:chExt cx="375" cy="340"/>
          </a:xfrm>
          <a:solidFill>
            <a:schemeClr val="accent6"/>
          </a:solidFill>
        </p:grpSpPr>
        <p:sp>
          <p:nvSpPr>
            <p:cNvPr id="548" name="Freeform 365">
              <a:extLst>
                <a:ext uri="{FF2B5EF4-FFF2-40B4-BE49-F238E27FC236}">
                  <a16:creationId xmlns:a16="http://schemas.microsoft.com/office/drawing/2014/main" id="{3787EE82-69C8-460F-8CA1-494EA612078B}"/>
                </a:ext>
              </a:extLst>
            </p:cNvPr>
            <p:cNvSpPr>
              <a:spLocks noEditPoints="1"/>
            </p:cNvSpPr>
            <p:nvPr/>
          </p:nvSpPr>
          <p:spPr bwMode="auto">
            <a:xfrm>
              <a:off x="6616" y="2941"/>
              <a:ext cx="375" cy="34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9" name="Freeform 366">
              <a:extLst>
                <a:ext uri="{FF2B5EF4-FFF2-40B4-BE49-F238E27FC236}">
                  <a16:creationId xmlns:a16="http://schemas.microsoft.com/office/drawing/2014/main" id="{10B91E94-492B-4F8D-9804-94A2E426D41E}"/>
                </a:ext>
              </a:extLst>
            </p:cNvPr>
            <p:cNvSpPr>
              <a:spLocks noEditPoints="1"/>
            </p:cNvSpPr>
            <p:nvPr/>
          </p:nvSpPr>
          <p:spPr bwMode="auto">
            <a:xfrm>
              <a:off x="6697" y="3005"/>
              <a:ext cx="213" cy="127"/>
            </a:xfrm>
            <a:custGeom>
              <a:avLst/>
              <a:gdLst>
                <a:gd name="T0" fmla="*/ 266 w 320"/>
                <a:gd name="T1" fmla="*/ 85 h 192"/>
                <a:gd name="T2" fmla="*/ 262 w 320"/>
                <a:gd name="T3" fmla="*/ 85 h 192"/>
                <a:gd name="T4" fmla="*/ 176 w 320"/>
                <a:gd name="T5" fmla="*/ 0 h 192"/>
                <a:gd name="T6" fmla="*/ 94 w 320"/>
                <a:gd name="T7" fmla="*/ 55 h 192"/>
                <a:gd name="T8" fmla="*/ 71 w 320"/>
                <a:gd name="T9" fmla="*/ 50 h 192"/>
                <a:gd name="T10" fmla="*/ 0 w 320"/>
                <a:gd name="T11" fmla="*/ 121 h 192"/>
                <a:gd name="T12" fmla="*/ 71 w 320"/>
                <a:gd name="T13" fmla="*/ 192 h 192"/>
                <a:gd name="T14" fmla="*/ 266 w 320"/>
                <a:gd name="T15" fmla="*/ 192 h 192"/>
                <a:gd name="T16" fmla="*/ 320 w 320"/>
                <a:gd name="T17" fmla="*/ 138 h 192"/>
                <a:gd name="T18" fmla="*/ 266 w 320"/>
                <a:gd name="T19" fmla="*/ 85 h 192"/>
                <a:gd name="T20" fmla="*/ 266 w 320"/>
                <a:gd name="T21" fmla="*/ 170 h 192"/>
                <a:gd name="T22" fmla="*/ 71 w 320"/>
                <a:gd name="T23" fmla="*/ 170 h 192"/>
                <a:gd name="T24" fmla="*/ 21 w 320"/>
                <a:gd name="T25" fmla="*/ 121 h 192"/>
                <a:gd name="T26" fmla="*/ 71 w 320"/>
                <a:gd name="T27" fmla="*/ 71 h 192"/>
                <a:gd name="T28" fmla="*/ 95 w 320"/>
                <a:gd name="T29" fmla="*/ 79 h 192"/>
                <a:gd name="T30" fmla="*/ 105 w 320"/>
                <a:gd name="T31" fmla="*/ 80 h 192"/>
                <a:gd name="T32" fmla="*/ 111 w 320"/>
                <a:gd name="T33" fmla="*/ 73 h 192"/>
                <a:gd name="T34" fmla="*/ 176 w 320"/>
                <a:gd name="T35" fmla="*/ 21 h 192"/>
                <a:gd name="T36" fmla="*/ 241 w 320"/>
                <a:gd name="T37" fmla="*/ 86 h 192"/>
                <a:gd name="T38" fmla="*/ 240 w 320"/>
                <a:gd name="T39" fmla="*/ 94 h 192"/>
                <a:gd name="T40" fmla="*/ 239 w 320"/>
                <a:gd name="T41" fmla="*/ 99 h 192"/>
                <a:gd name="T42" fmla="*/ 244 w 320"/>
                <a:gd name="T43" fmla="*/ 110 h 192"/>
                <a:gd name="T44" fmla="*/ 257 w 320"/>
                <a:gd name="T45" fmla="*/ 109 h 192"/>
                <a:gd name="T46" fmla="*/ 259 w 320"/>
                <a:gd name="T47" fmla="*/ 107 h 192"/>
                <a:gd name="T48" fmla="*/ 266 w 320"/>
                <a:gd name="T49" fmla="*/ 106 h 192"/>
                <a:gd name="T50" fmla="*/ 298 w 320"/>
                <a:gd name="T51" fmla="*/ 138 h 192"/>
                <a:gd name="T52" fmla="*/ 266 w 320"/>
                <a:gd name="T53"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92">
                  <a:moveTo>
                    <a:pt x="266" y="85"/>
                  </a:moveTo>
                  <a:cubicBezTo>
                    <a:pt x="265" y="85"/>
                    <a:pt x="263"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266" y="192"/>
                    <a:pt x="266" y="192"/>
                    <a:pt x="266" y="192"/>
                  </a:cubicBezTo>
                  <a:cubicBezTo>
                    <a:pt x="296" y="192"/>
                    <a:pt x="320" y="168"/>
                    <a:pt x="320" y="138"/>
                  </a:cubicBezTo>
                  <a:cubicBezTo>
                    <a:pt x="320" y="109"/>
                    <a:pt x="296" y="85"/>
                    <a:pt x="266" y="85"/>
                  </a:cubicBezTo>
                  <a:close/>
                  <a:moveTo>
                    <a:pt x="266" y="170"/>
                  </a:move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8"/>
                    <a:pt x="244" y="110"/>
                  </a:cubicBezTo>
                  <a:cubicBezTo>
                    <a:pt x="248" y="112"/>
                    <a:pt x="253" y="112"/>
                    <a:pt x="257" y="109"/>
                  </a:cubicBezTo>
                  <a:cubicBezTo>
                    <a:pt x="257" y="108"/>
                    <a:pt x="258" y="108"/>
                    <a:pt x="259" y="107"/>
                  </a:cubicBezTo>
                  <a:cubicBezTo>
                    <a:pt x="262" y="107"/>
                    <a:pt x="264" y="106"/>
                    <a:pt x="266" y="106"/>
                  </a:cubicBezTo>
                  <a:cubicBezTo>
                    <a:pt x="284" y="106"/>
                    <a:pt x="298" y="121"/>
                    <a:pt x="298" y="138"/>
                  </a:cubicBezTo>
                  <a:cubicBezTo>
                    <a:pt x="298" y="156"/>
                    <a:pt x="284" y="170"/>
                    <a:pt x="26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0" name="Freeform 367">
              <a:extLst>
                <a:ext uri="{FF2B5EF4-FFF2-40B4-BE49-F238E27FC236}">
                  <a16:creationId xmlns:a16="http://schemas.microsoft.com/office/drawing/2014/main" id="{62811480-B18F-4FD6-80B9-7D1D5096B24C}"/>
                </a:ext>
              </a:extLst>
            </p:cNvPr>
            <p:cNvSpPr>
              <a:spLocks/>
            </p:cNvSpPr>
            <p:nvPr/>
          </p:nvSpPr>
          <p:spPr bwMode="auto">
            <a:xfrm>
              <a:off x="6782" y="3146"/>
              <a:ext cx="36" cy="71"/>
            </a:xfrm>
            <a:custGeom>
              <a:avLst/>
              <a:gdLst>
                <a:gd name="T0" fmla="*/ 43 w 55"/>
                <a:gd name="T1" fmla="*/ 44 h 108"/>
                <a:gd name="T2" fmla="*/ 29 w 55"/>
                <a:gd name="T3" fmla="*/ 44 h 108"/>
                <a:gd name="T4" fmla="*/ 42 w 55"/>
                <a:gd name="T5" fmla="*/ 16 h 108"/>
                <a:gd name="T6" fmla="*/ 37 w 55"/>
                <a:gd name="T7" fmla="*/ 2 h 108"/>
                <a:gd name="T8" fmla="*/ 23 w 55"/>
                <a:gd name="T9" fmla="*/ 7 h 108"/>
                <a:gd name="T10" fmla="*/ 2 w 55"/>
                <a:gd name="T11" fmla="*/ 50 h 108"/>
                <a:gd name="T12" fmla="*/ 2 w 55"/>
                <a:gd name="T13" fmla="*/ 60 h 108"/>
                <a:gd name="T14" fmla="*/ 11 w 55"/>
                <a:gd name="T15" fmla="*/ 65 h 108"/>
                <a:gd name="T16" fmla="*/ 26 w 55"/>
                <a:gd name="T17" fmla="*/ 65 h 108"/>
                <a:gd name="T18" fmla="*/ 12 w 55"/>
                <a:gd name="T19" fmla="*/ 92 h 108"/>
                <a:gd name="T20" fmla="*/ 17 w 55"/>
                <a:gd name="T21" fmla="*/ 107 h 108"/>
                <a:gd name="T22" fmla="*/ 22 w 55"/>
                <a:gd name="T23" fmla="*/ 108 h 108"/>
                <a:gd name="T24" fmla="*/ 32 w 55"/>
                <a:gd name="T25" fmla="*/ 102 h 108"/>
                <a:gd name="T26" fmla="*/ 53 w 55"/>
                <a:gd name="T27" fmla="*/ 59 h 108"/>
                <a:gd name="T28" fmla="*/ 52 w 55"/>
                <a:gd name="T29" fmla="*/ 49 h 108"/>
                <a:gd name="T30" fmla="*/ 43 w 55"/>
                <a:gd name="T3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08">
                  <a:moveTo>
                    <a:pt x="43" y="44"/>
                  </a:moveTo>
                  <a:cubicBezTo>
                    <a:pt x="29" y="44"/>
                    <a:pt x="29" y="44"/>
                    <a:pt x="29" y="44"/>
                  </a:cubicBezTo>
                  <a:cubicBezTo>
                    <a:pt x="42" y="16"/>
                    <a:pt x="42" y="16"/>
                    <a:pt x="42" y="16"/>
                  </a:cubicBezTo>
                  <a:cubicBezTo>
                    <a:pt x="45" y="11"/>
                    <a:pt x="43" y="5"/>
                    <a:pt x="37" y="2"/>
                  </a:cubicBezTo>
                  <a:cubicBezTo>
                    <a:pt x="32" y="0"/>
                    <a:pt x="26" y="2"/>
                    <a:pt x="23" y="7"/>
                  </a:cubicBezTo>
                  <a:cubicBezTo>
                    <a:pt x="2" y="50"/>
                    <a:pt x="2" y="50"/>
                    <a:pt x="2" y="50"/>
                  </a:cubicBezTo>
                  <a:cubicBezTo>
                    <a:pt x="0" y="53"/>
                    <a:pt x="0" y="57"/>
                    <a:pt x="2" y="60"/>
                  </a:cubicBezTo>
                  <a:cubicBezTo>
                    <a:pt x="4" y="63"/>
                    <a:pt x="8" y="65"/>
                    <a:pt x="11" y="65"/>
                  </a:cubicBezTo>
                  <a:cubicBezTo>
                    <a:pt x="26" y="65"/>
                    <a:pt x="26" y="65"/>
                    <a:pt x="26" y="65"/>
                  </a:cubicBezTo>
                  <a:cubicBezTo>
                    <a:pt x="12" y="92"/>
                    <a:pt x="12" y="92"/>
                    <a:pt x="12" y="92"/>
                  </a:cubicBezTo>
                  <a:cubicBezTo>
                    <a:pt x="10" y="98"/>
                    <a:pt x="12" y="104"/>
                    <a:pt x="17" y="107"/>
                  </a:cubicBezTo>
                  <a:cubicBezTo>
                    <a:pt x="19" y="107"/>
                    <a:pt x="20" y="108"/>
                    <a:pt x="22" y="108"/>
                  </a:cubicBezTo>
                  <a:cubicBezTo>
                    <a:pt x="26" y="108"/>
                    <a:pt x="30" y="106"/>
                    <a:pt x="32" y="102"/>
                  </a:cubicBezTo>
                  <a:cubicBezTo>
                    <a:pt x="53" y="59"/>
                    <a:pt x="53" y="59"/>
                    <a:pt x="53" y="59"/>
                  </a:cubicBezTo>
                  <a:cubicBezTo>
                    <a:pt x="55" y="56"/>
                    <a:pt x="54" y="52"/>
                    <a:pt x="52" y="49"/>
                  </a:cubicBezTo>
                  <a:cubicBezTo>
                    <a:pt x="50" y="46"/>
                    <a:pt x="47" y="44"/>
                    <a:pt x="43"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1" name="Group 422">
            <a:extLst>
              <a:ext uri="{FF2B5EF4-FFF2-40B4-BE49-F238E27FC236}">
                <a16:creationId xmlns:a16="http://schemas.microsoft.com/office/drawing/2014/main" id="{E4F05E22-5983-497E-93D1-51E5AA339C36}"/>
              </a:ext>
            </a:extLst>
          </p:cNvPr>
          <p:cNvGrpSpPr>
            <a:grpSpLocks noChangeAspect="1"/>
          </p:cNvGrpSpPr>
          <p:nvPr/>
        </p:nvGrpSpPr>
        <p:grpSpPr bwMode="auto">
          <a:xfrm>
            <a:off x="8315874" y="2509882"/>
            <a:ext cx="367631" cy="367631"/>
            <a:chOff x="3131" y="1617"/>
            <a:chExt cx="340" cy="340"/>
          </a:xfrm>
          <a:solidFill>
            <a:schemeClr val="accent5"/>
          </a:solidFill>
        </p:grpSpPr>
        <p:sp>
          <p:nvSpPr>
            <p:cNvPr id="552" name="Freeform 423">
              <a:extLst>
                <a:ext uri="{FF2B5EF4-FFF2-40B4-BE49-F238E27FC236}">
                  <a16:creationId xmlns:a16="http://schemas.microsoft.com/office/drawing/2014/main" id="{57B9FFE8-59CB-477D-93A5-9C960C1EC9CD}"/>
                </a:ext>
              </a:extLst>
            </p:cNvPr>
            <p:cNvSpPr>
              <a:spLocks noEditPoints="1"/>
            </p:cNvSpPr>
            <p:nvPr/>
          </p:nvSpPr>
          <p:spPr bwMode="auto">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3" name="Freeform 424">
              <a:extLst>
                <a:ext uri="{FF2B5EF4-FFF2-40B4-BE49-F238E27FC236}">
                  <a16:creationId xmlns:a16="http://schemas.microsoft.com/office/drawing/2014/main" id="{E8190E96-D1F9-4087-9A7D-22FBA869BC93}"/>
                </a:ext>
              </a:extLst>
            </p:cNvPr>
            <p:cNvSpPr>
              <a:spLocks/>
            </p:cNvSpPr>
            <p:nvPr/>
          </p:nvSpPr>
          <p:spPr bwMode="auto">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4" name="Group 427">
            <a:extLst>
              <a:ext uri="{FF2B5EF4-FFF2-40B4-BE49-F238E27FC236}">
                <a16:creationId xmlns:a16="http://schemas.microsoft.com/office/drawing/2014/main" id="{A18A084C-C131-4DC7-8E30-6B9FBBF393C3}"/>
              </a:ext>
            </a:extLst>
          </p:cNvPr>
          <p:cNvGrpSpPr>
            <a:grpSpLocks noChangeAspect="1"/>
          </p:cNvGrpSpPr>
          <p:nvPr/>
        </p:nvGrpSpPr>
        <p:grpSpPr bwMode="auto">
          <a:xfrm>
            <a:off x="8746937" y="2509882"/>
            <a:ext cx="367631" cy="367631"/>
            <a:chOff x="3492" y="1636"/>
            <a:chExt cx="340" cy="340"/>
          </a:xfrm>
          <a:solidFill>
            <a:schemeClr val="accent5"/>
          </a:solidFill>
        </p:grpSpPr>
        <p:sp>
          <p:nvSpPr>
            <p:cNvPr id="555" name="Freeform 428">
              <a:extLst>
                <a:ext uri="{FF2B5EF4-FFF2-40B4-BE49-F238E27FC236}">
                  <a16:creationId xmlns:a16="http://schemas.microsoft.com/office/drawing/2014/main" id="{EBC9E15C-4973-4BC5-8C7B-E77356A607E0}"/>
                </a:ext>
              </a:extLst>
            </p:cNvPr>
            <p:cNvSpPr>
              <a:spLocks noEditPoints="1"/>
            </p:cNvSpPr>
            <p:nvPr/>
          </p:nvSpPr>
          <p:spPr bwMode="auto">
            <a:xfrm>
              <a:off x="3586" y="1700"/>
              <a:ext cx="151" cy="212"/>
            </a:xfrm>
            <a:custGeom>
              <a:avLst/>
              <a:gdLst>
                <a:gd name="T0" fmla="*/ 114 w 227"/>
                <a:gd name="T1" fmla="*/ 320 h 320"/>
                <a:gd name="T2" fmla="*/ 102 w 227"/>
                <a:gd name="T3" fmla="*/ 319 h 320"/>
                <a:gd name="T4" fmla="*/ 0 w 227"/>
                <a:gd name="T5" fmla="*/ 209 h 320"/>
                <a:gd name="T6" fmla="*/ 9 w 227"/>
                <a:gd name="T7" fmla="*/ 167 h 320"/>
                <a:gd name="T8" fmla="*/ 22 w 227"/>
                <a:gd name="T9" fmla="*/ 145 h 320"/>
                <a:gd name="T10" fmla="*/ 29 w 227"/>
                <a:gd name="T11" fmla="*/ 136 h 320"/>
                <a:gd name="T12" fmla="*/ 62 w 227"/>
                <a:gd name="T13" fmla="*/ 93 h 320"/>
                <a:gd name="T14" fmla="*/ 92 w 227"/>
                <a:gd name="T15" fmla="*/ 20 h 320"/>
                <a:gd name="T16" fmla="*/ 112 w 227"/>
                <a:gd name="T17" fmla="*/ 0 h 320"/>
                <a:gd name="T18" fmla="*/ 113 w 227"/>
                <a:gd name="T19" fmla="*/ 0 h 320"/>
                <a:gd name="T20" fmla="*/ 115 w 227"/>
                <a:gd name="T21" fmla="*/ 0 h 320"/>
                <a:gd name="T22" fmla="*/ 116 w 227"/>
                <a:gd name="T23" fmla="*/ 0 h 320"/>
                <a:gd name="T24" fmla="*/ 135 w 227"/>
                <a:gd name="T25" fmla="*/ 20 h 320"/>
                <a:gd name="T26" fmla="*/ 165 w 227"/>
                <a:gd name="T27" fmla="*/ 93 h 320"/>
                <a:gd name="T28" fmla="*/ 199 w 227"/>
                <a:gd name="T29" fmla="*/ 136 h 320"/>
                <a:gd name="T30" fmla="*/ 206 w 227"/>
                <a:gd name="T31" fmla="*/ 145 h 320"/>
                <a:gd name="T32" fmla="*/ 219 w 227"/>
                <a:gd name="T33" fmla="*/ 167 h 320"/>
                <a:gd name="T34" fmla="*/ 227 w 227"/>
                <a:gd name="T35" fmla="*/ 209 h 320"/>
                <a:gd name="T36" fmla="*/ 125 w 227"/>
                <a:gd name="T37" fmla="*/ 319 h 320"/>
                <a:gd name="T38" fmla="*/ 114 w 227"/>
                <a:gd name="T39" fmla="*/ 320 h 320"/>
                <a:gd name="T40" fmla="*/ 113 w 227"/>
                <a:gd name="T41" fmla="*/ 21 h 320"/>
                <a:gd name="T42" fmla="*/ 113 w 227"/>
                <a:gd name="T43" fmla="*/ 22 h 320"/>
                <a:gd name="T44" fmla="*/ 80 w 227"/>
                <a:gd name="T45" fmla="*/ 105 h 320"/>
                <a:gd name="T46" fmla="*/ 45 w 227"/>
                <a:gd name="T47" fmla="*/ 150 h 320"/>
                <a:gd name="T48" fmla="*/ 39 w 227"/>
                <a:gd name="T49" fmla="*/ 158 h 320"/>
                <a:gd name="T50" fmla="*/ 28 w 227"/>
                <a:gd name="T51" fmla="*/ 175 h 320"/>
                <a:gd name="T52" fmla="*/ 21 w 227"/>
                <a:gd name="T53" fmla="*/ 209 h 320"/>
                <a:gd name="T54" fmla="*/ 104 w 227"/>
                <a:gd name="T55" fmla="*/ 298 h 320"/>
                <a:gd name="T56" fmla="*/ 114 w 227"/>
                <a:gd name="T57" fmla="*/ 298 h 320"/>
                <a:gd name="T58" fmla="*/ 123 w 227"/>
                <a:gd name="T59" fmla="*/ 298 h 320"/>
                <a:gd name="T60" fmla="*/ 206 w 227"/>
                <a:gd name="T61" fmla="*/ 209 h 320"/>
                <a:gd name="T62" fmla="*/ 199 w 227"/>
                <a:gd name="T63" fmla="*/ 175 h 320"/>
                <a:gd name="T64" fmla="*/ 189 w 227"/>
                <a:gd name="T65" fmla="*/ 158 h 320"/>
                <a:gd name="T66" fmla="*/ 182 w 227"/>
                <a:gd name="T67" fmla="*/ 150 h 320"/>
                <a:gd name="T68" fmla="*/ 148 w 227"/>
                <a:gd name="T69" fmla="*/ 105 h 320"/>
                <a:gd name="T70" fmla="*/ 114 w 227"/>
                <a:gd name="T71" fmla="*/ 22 h 320"/>
                <a:gd name="T72" fmla="*/ 114 w 227"/>
                <a:gd name="T73" fmla="*/ 21 h 320"/>
                <a:gd name="T74" fmla="*/ 113 w 227"/>
                <a:gd name="T75" fmla="*/ 21 h 320"/>
                <a:gd name="T76" fmla="*/ 118 w 227"/>
                <a:gd name="T77" fmla="*/ 21 h 320"/>
                <a:gd name="T78" fmla="*/ 118 w 227"/>
                <a:gd name="T7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320">
                  <a:moveTo>
                    <a:pt x="114" y="320"/>
                  </a:moveTo>
                  <a:cubicBezTo>
                    <a:pt x="107" y="320"/>
                    <a:pt x="102" y="319"/>
                    <a:pt x="102" y="319"/>
                  </a:cubicBezTo>
                  <a:cubicBezTo>
                    <a:pt x="44" y="313"/>
                    <a:pt x="0" y="266"/>
                    <a:pt x="0" y="209"/>
                  </a:cubicBezTo>
                  <a:cubicBezTo>
                    <a:pt x="0" y="194"/>
                    <a:pt x="6" y="174"/>
                    <a:pt x="9" y="167"/>
                  </a:cubicBezTo>
                  <a:cubicBezTo>
                    <a:pt x="11" y="160"/>
                    <a:pt x="16" y="153"/>
                    <a:pt x="22" y="145"/>
                  </a:cubicBezTo>
                  <a:cubicBezTo>
                    <a:pt x="23" y="143"/>
                    <a:pt x="25" y="140"/>
                    <a:pt x="29" y="136"/>
                  </a:cubicBezTo>
                  <a:cubicBezTo>
                    <a:pt x="37" y="126"/>
                    <a:pt x="50" y="110"/>
                    <a:pt x="62" y="93"/>
                  </a:cubicBezTo>
                  <a:cubicBezTo>
                    <a:pt x="74" y="75"/>
                    <a:pt x="88" y="47"/>
                    <a:pt x="92" y="20"/>
                  </a:cubicBezTo>
                  <a:cubicBezTo>
                    <a:pt x="92" y="8"/>
                    <a:pt x="101" y="0"/>
                    <a:pt x="112" y="0"/>
                  </a:cubicBezTo>
                  <a:cubicBezTo>
                    <a:pt x="112" y="0"/>
                    <a:pt x="112" y="0"/>
                    <a:pt x="113" y="0"/>
                  </a:cubicBezTo>
                  <a:cubicBezTo>
                    <a:pt x="113" y="0"/>
                    <a:pt x="114" y="0"/>
                    <a:pt x="115" y="0"/>
                  </a:cubicBezTo>
                  <a:cubicBezTo>
                    <a:pt x="115" y="0"/>
                    <a:pt x="115" y="0"/>
                    <a:pt x="116" y="0"/>
                  </a:cubicBezTo>
                  <a:cubicBezTo>
                    <a:pt x="127" y="0"/>
                    <a:pt x="135" y="8"/>
                    <a:pt x="135" y="20"/>
                  </a:cubicBezTo>
                  <a:cubicBezTo>
                    <a:pt x="139" y="47"/>
                    <a:pt x="154" y="75"/>
                    <a:pt x="165" y="93"/>
                  </a:cubicBezTo>
                  <a:cubicBezTo>
                    <a:pt x="177" y="110"/>
                    <a:pt x="191" y="126"/>
                    <a:pt x="199" y="136"/>
                  </a:cubicBezTo>
                  <a:cubicBezTo>
                    <a:pt x="202" y="140"/>
                    <a:pt x="204" y="143"/>
                    <a:pt x="206" y="145"/>
                  </a:cubicBezTo>
                  <a:cubicBezTo>
                    <a:pt x="212" y="153"/>
                    <a:pt x="216" y="160"/>
                    <a:pt x="219" y="167"/>
                  </a:cubicBezTo>
                  <a:cubicBezTo>
                    <a:pt x="222" y="174"/>
                    <a:pt x="227" y="194"/>
                    <a:pt x="227" y="209"/>
                  </a:cubicBezTo>
                  <a:cubicBezTo>
                    <a:pt x="227" y="266"/>
                    <a:pt x="184" y="313"/>
                    <a:pt x="125" y="319"/>
                  </a:cubicBezTo>
                  <a:cubicBezTo>
                    <a:pt x="125" y="319"/>
                    <a:pt x="120" y="320"/>
                    <a:pt x="114" y="320"/>
                  </a:cubicBezTo>
                  <a:close/>
                  <a:moveTo>
                    <a:pt x="113" y="21"/>
                  </a:moveTo>
                  <a:cubicBezTo>
                    <a:pt x="113" y="22"/>
                    <a:pt x="113" y="22"/>
                    <a:pt x="113" y="22"/>
                  </a:cubicBezTo>
                  <a:cubicBezTo>
                    <a:pt x="109" y="54"/>
                    <a:pt x="93" y="84"/>
                    <a:pt x="80" y="105"/>
                  </a:cubicBezTo>
                  <a:cubicBezTo>
                    <a:pt x="67" y="123"/>
                    <a:pt x="53" y="140"/>
                    <a:pt x="45" y="150"/>
                  </a:cubicBezTo>
                  <a:cubicBezTo>
                    <a:pt x="42" y="153"/>
                    <a:pt x="40" y="156"/>
                    <a:pt x="39" y="158"/>
                  </a:cubicBezTo>
                  <a:cubicBezTo>
                    <a:pt x="34" y="164"/>
                    <a:pt x="30" y="170"/>
                    <a:pt x="28" y="175"/>
                  </a:cubicBezTo>
                  <a:cubicBezTo>
                    <a:pt x="26" y="181"/>
                    <a:pt x="21" y="198"/>
                    <a:pt x="21" y="209"/>
                  </a:cubicBezTo>
                  <a:cubicBezTo>
                    <a:pt x="21" y="255"/>
                    <a:pt x="57" y="293"/>
                    <a:pt x="104" y="298"/>
                  </a:cubicBezTo>
                  <a:cubicBezTo>
                    <a:pt x="104" y="298"/>
                    <a:pt x="109" y="298"/>
                    <a:pt x="114" y="298"/>
                  </a:cubicBezTo>
                  <a:cubicBezTo>
                    <a:pt x="119" y="298"/>
                    <a:pt x="123" y="298"/>
                    <a:pt x="123" y="298"/>
                  </a:cubicBezTo>
                  <a:cubicBezTo>
                    <a:pt x="171" y="293"/>
                    <a:pt x="206" y="255"/>
                    <a:pt x="206" y="209"/>
                  </a:cubicBezTo>
                  <a:cubicBezTo>
                    <a:pt x="206" y="198"/>
                    <a:pt x="201" y="181"/>
                    <a:pt x="199" y="175"/>
                  </a:cubicBezTo>
                  <a:cubicBezTo>
                    <a:pt x="197" y="170"/>
                    <a:pt x="193" y="164"/>
                    <a:pt x="189" y="158"/>
                  </a:cubicBezTo>
                  <a:cubicBezTo>
                    <a:pt x="187" y="156"/>
                    <a:pt x="185" y="153"/>
                    <a:pt x="182" y="150"/>
                  </a:cubicBezTo>
                  <a:cubicBezTo>
                    <a:pt x="174" y="140"/>
                    <a:pt x="160" y="123"/>
                    <a:pt x="148" y="105"/>
                  </a:cubicBezTo>
                  <a:cubicBezTo>
                    <a:pt x="134" y="84"/>
                    <a:pt x="118" y="54"/>
                    <a:pt x="114" y="22"/>
                  </a:cubicBezTo>
                  <a:cubicBezTo>
                    <a:pt x="114" y="22"/>
                    <a:pt x="114" y="22"/>
                    <a:pt x="114" y="21"/>
                  </a:cubicBezTo>
                  <a:cubicBezTo>
                    <a:pt x="114" y="21"/>
                    <a:pt x="114" y="21"/>
                    <a:pt x="113" y="21"/>
                  </a:cubicBezTo>
                  <a:close/>
                  <a:moveTo>
                    <a:pt x="118" y="21"/>
                  </a:moveTo>
                  <a:cubicBezTo>
                    <a:pt x="118" y="21"/>
                    <a:pt x="118" y="21"/>
                    <a:pt x="118"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6" name="Freeform 429">
              <a:extLst>
                <a:ext uri="{FF2B5EF4-FFF2-40B4-BE49-F238E27FC236}">
                  <a16:creationId xmlns:a16="http://schemas.microsoft.com/office/drawing/2014/main" id="{5E8AAD2F-9BFA-4328-85F6-94766C069D96}"/>
                </a:ext>
              </a:extLst>
            </p:cNvPr>
            <p:cNvSpPr>
              <a:spLocks noEditPoints="1"/>
            </p:cNvSpPr>
            <p:nvPr/>
          </p:nvSpPr>
          <p:spPr bwMode="auto">
            <a:xfrm>
              <a:off x="3492" y="16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7" name="Group 620">
            <a:extLst>
              <a:ext uri="{FF2B5EF4-FFF2-40B4-BE49-F238E27FC236}">
                <a16:creationId xmlns:a16="http://schemas.microsoft.com/office/drawing/2014/main" id="{C3BCC29B-5A12-4344-8D25-06ABAC469CB4}"/>
              </a:ext>
            </a:extLst>
          </p:cNvPr>
          <p:cNvGrpSpPr>
            <a:grpSpLocks noChangeAspect="1"/>
          </p:cNvGrpSpPr>
          <p:nvPr/>
        </p:nvGrpSpPr>
        <p:grpSpPr bwMode="auto">
          <a:xfrm>
            <a:off x="9611108" y="2509882"/>
            <a:ext cx="369676" cy="369676"/>
            <a:chOff x="5828" y="2247"/>
            <a:chExt cx="340" cy="340"/>
          </a:xfrm>
          <a:solidFill>
            <a:schemeClr val="accent1"/>
          </a:solidFill>
        </p:grpSpPr>
        <p:sp>
          <p:nvSpPr>
            <p:cNvPr id="558" name="Freeform 621">
              <a:extLst>
                <a:ext uri="{FF2B5EF4-FFF2-40B4-BE49-F238E27FC236}">
                  <a16:creationId xmlns:a16="http://schemas.microsoft.com/office/drawing/2014/main" id="{C5362ED1-B9F6-4808-9B99-834FDD741240}"/>
                </a:ext>
              </a:extLst>
            </p:cNvPr>
            <p:cNvSpPr>
              <a:spLocks noEditPoints="1"/>
            </p:cNvSpPr>
            <p:nvPr/>
          </p:nvSpPr>
          <p:spPr bwMode="auto">
            <a:xfrm>
              <a:off x="5898" y="2311"/>
              <a:ext cx="199" cy="212"/>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9" name="Freeform 622">
              <a:extLst>
                <a:ext uri="{FF2B5EF4-FFF2-40B4-BE49-F238E27FC236}">
                  <a16:creationId xmlns:a16="http://schemas.microsoft.com/office/drawing/2014/main" id="{2EC56FC9-A290-46F7-B130-D216BC772225}"/>
                </a:ext>
              </a:extLst>
            </p:cNvPr>
            <p:cNvSpPr>
              <a:spLocks noEditPoints="1"/>
            </p:cNvSpPr>
            <p:nvPr/>
          </p:nvSpPr>
          <p:spPr bwMode="auto">
            <a:xfrm>
              <a:off x="5828" y="224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0" name="Freeform 626">
            <a:extLst>
              <a:ext uri="{FF2B5EF4-FFF2-40B4-BE49-F238E27FC236}">
                <a16:creationId xmlns:a16="http://schemas.microsoft.com/office/drawing/2014/main" id="{406CAB1C-7C2E-4B9A-8A73-D6EABBE35984}"/>
              </a:ext>
            </a:extLst>
          </p:cNvPr>
          <p:cNvSpPr>
            <a:spLocks noChangeAspect="1" noEditPoints="1"/>
          </p:cNvSpPr>
          <p:nvPr/>
        </p:nvSpPr>
        <p:spPr bwMode="auto">
          <a:xfrm>
            <a:off x="9178000" y="2509882"/>
            <a:ext cx="369676" cy="369676"/>
          </a:xfrm>
          <a:custGeom>
            <a:avLst/>
            <a:gdLst>
              <a:gd name="T0" fmla="*/ 381 w 512"/>
              <a:gd name="T1" fmla="*/ 227 h 512"/>
              <a:gd name="T2" fmla="*/ 319 w 512"/>
              <a:gd name="T3" fmla="*/ 230 h 512"/>
              <a:gd name="T4" fmla="*/ 287 w 512"/>
              <a:gd name="T5" fmla="*/ 142 h 512"/>
              <a:gd name="T6" fmla="*/ 381 w 512"/>
              <a:gd name="T7" fmla="*/ 227 h 512"/>
              <a:gd name="T8" fmla="*/ 256 w 512"/>
              <a:gd name="T9" fmla="*/ 140 h 512"/>
              <a:gd name="T10" fmla="*/ 214 w 512"/>
              <a:gd name="T11" fmla="*/ 225 h 512"/>
              <a:gd name="T12" fmla="*/ 259 w 512"/>
              <a:gd name="T13" fmla="*/ 213 h 512"/>
              <a:gd name="T14" fmla="*/ 297 w 512"/>
              <a:gd name="T15" fmla="*/ 223 h 512"/>
              <a:gd name="T16" fmla="*/ 256 w 512"/>
              <a:gd name="T17" fmla="*/ 140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405 w 512"/>
              <a:gd name="T29" fmla="*/ 244 h 512"/>
              <a:gd name="T30" fmla="*/ 266 w 512"/>
              <a:gd name="T31" fmla="*/ 117 h 512"/>
              <a:gd name="T32" fmla="*/ 266 w 512"/>
              <a:gd name="T33" fmla="*/ 106 h 512"/>
              <a:gd name="T34" fmla="*/ 256 w 512"/>
              <a:gd name="T35" fmla="*/ 96 h 512"/>
              <a:gd name="T36" fmla="*/ 245 w 512"/>
              <a:gd name="T37" fmla="*/ 106 h 512"/>
              <a:gd name="T38" fmla="*/ 245 w 512"/>
              <a:gd name="T39" fmla="*/ 117 h 512"/>
              <a:gd name="T40" fmla="*/ 106 w 512"/>
              <a:gd name="T41" fmla="*/ 244 h 512"/>
              <a:gd name="T42" fmla="*/ 111 w 512"/>
              <a:gd name="T43" fmla="*/ 254 h 512"/>
              <a:gd name="T44" fmla="*/ 122 w 512"/>
              <a:gd name="T45" fmla="*/ 255 h 512"/>
              <a:gd name="T46" fmla="*/ 197 w 512"/>
              <a:gd name="T47" fmla="*/ 254 h 512"/>
              <a:gd name="T48" fmla="*/ 209 w 512"/>
              <a:gd name="T49" fmla="*/ 254 h 512"/>
              <a:gd name="T50" fmla="*/ 245 w 512"/>
              <a:gd name="T51" fmla="*/ 236 h 512"/>
              <a:gd name="T52" fmla="*/ 245 w 512"/>
              <a:gd name="T53" fmla="*/ 384 h 512"/>
              <a:gd name="T54" fmla="*/ 234 w 512"/>
              <a:gd name="T55" fmla="*/ 394 h 512"/>
              <a:gd name="T56" fmla="*/ 224 w 512"/>
              <a:gd name="T57" fmla="*/ 384 h 512"/>
              <a:gd name="T58" fmla="*/ 213 w 512"/>
              <a:gd name="T59" fmla="*/ 373 h 512"/>
              <a:gd name="T60" fmla="*/ 202 w 512"/>
              <a:gd name="T61" fmla="*/ 384 h 512"/>
              <a:gd name="T62" fmla="*/ 234 w 512"/>
              <a:gd name="T63" fmla="*/ 416 h 512"/>
              <a:gd name="T64" fmla="*/ 266 w 512"/>
              <a:gd name="T65" fmla="*/ 384 h 512"/>
              <a:gd name="T66" fmla="*/ 266 w 512"/>
              <a:gd name="T67" fmla="*/ 235 h 512"/>
              <a:gd name="T68" fmla="*/ 301 w 512"/>
              <a:gd name="T69" fmla="*/ 252 h 512"/>
              <a:gd name="T70" fmla="*/ 309 w 512"/>
              <a:gd name="T71" fmla="*/ 256 h 512"/>
              <a:gd name="T72" fmla="*/ 313 w 512"/>
              <a:gd name="T73" fmla="*/ 255 h 512"/>
              <a:gd name="T74" fmla="*/ 388 w 512"/>
              <a:gd name="T75" fmla="*/ 253 h 512"/>
              <a:gd name="T76" fmla="*/ 399 w 512"/>
              <a:gd name="T77" fmla="*/ 254 h 512"/>
              <a:gd name="T78" fmla="*/ 405 w 512"/>
              <a:gd name="T79" fmla="*/ 244 h 512"/>
              <a:gd name="T80" fmla="*/ 131 w 512"/>
              <a:gd name="T81" fmla="*/ 228 h 512"/>
              <a:gd name="T82" fmla="*/ 192 w 512"/>
              <a:gd name="T83" fmla="*/ 228 h 512"/>
              <a:gd name="T84" fmla="*/ 224 w 512"/>
              <a:gd name="T85" fmla="*/ 142 h 512"/>
              <a:gd name="T86" fmla="*/ 131 w 512"/>
              <a:gd name="T87" fmla="*/ 2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81" y="227"/>
                </a:moveTo>
                <a:cubicBezTo>
                  <a:pt x="367" y="223"/>
                  <a:pt x="346" y="221"/>
                  <a:pt x="319" y="230"/>
                </a:cubicBezTo>
                <a:cubicBezTo>
                  <a:pt x="316" y="187"/>
                  <a:pt x="301" y="159"/>
                  <a:pt x="287" y="142"/>
                </a:cubicBezTo>
                <a:cubicBezTo>
                  <a:pt x="333" y="153"/>
                  <a:pt x="369" y="186"/>
                  <a:pt x="381" y="227"/>
                </a:cubicBezTo>
                <a:close/>
                <a:moveTo>
                  <a:pt x="256" y="140"/>
                </a:moveTo>
                <a:cubicBezTo>
                  <a:pt x="245" y="149"/>
                  <a:pt x="219" y="173"/>
                  <a:pt x="214" y="225"/>
                </a:cubicBezTo>
                <a:cubicBezTo>
                  <a:pt x="231" y="216"/>
                  <a:pt x="246" y="213"/>
                  <a:pt x="259" y="213"/>
                </a:cubicBezTo>
                <a:cubicBezTo>
                  <a:pt x="275" y="213"/>
                  <a:pt x="287" y="218"/>
                  <a:pt x="297" y="223"/>
                </a:cubicBezTo>
                <a:cubicBezTo>
                  <a:pt x="291" y="173"/>
                  <a:pt x="266" y="149"/>
                  <a:pt x="256" y="14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244"/>
                </a:moveTo>
                <a:cubicBezTo>
                  <a:pt x="400" y="176"/>
                  <a:pt x="340" y="122"/>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72" y="122"/>
                  <a:pt x="112" y="176"/>
                  <a:pt x="106" y="244"/>
                </a:cubicBezTo>
                <a:cubicBezTo>
                  <a:pt x="106" y="248"/>
                  <a:pt x="108" y="252"/>
                  <a:pt x="111" y="254"/>
                </a:cubicBezTo>
                <a:cubicBezTo>
                  <a:pt x="114" y="256"/>
                  <a:pt x="118" y="256"/>
                  <a:pt x="122" y="255"/>
                </a:cubicBezTo>
                <a:cubicBezTo>
                  <a:pt x="122" y="254"/>
                  <a:pt x="164" y="234"/>
                  <a:pt x="197" y="254"/>
                </a:cubicBezTo>
                <a:cubicBezTo>
                  <a:pt x="200" y="256"/>
                  <a:pt x="205" y="256"/>
                  <a:pt x="209" y="254"/>
                </a:cubicBezTo>
                <a:cubicBezTo>
                  <a:pt x="222" y="244"/>
                  <a:pt x="234" y="239"/>
                  <a:pt x="245" y="236"/>
                </a:cubicBezTo>
                <a:cubicBezTo>
                  <a:pt x="245" y="384"/>
                  <a:pt x="245" y="384"/>
                  <a:pt x="245" y="384"/>
                </a:cubicBezTo>
                <a:cubicBezTo>
                  <a:pt x="245" y="390"/>
                  <a:pt x="240" y="394"/>
                  <a:pt x="234" y="394"/>
                </a:cubicBezTo>
                <a:cubicBezTo>
                  <a:pt x="228" y="394"/>
                  <a:pt x="224" y="390"/>
                  <a:pt x="224" y="384"/>
                </a:cubicBezTo>
                <a:cubicBezTo>
                  <a:pt x="224" y="378"/>
                  <a:pt x="219" y="373"/>
                  <a:pt x="213" y="373"/>
                </a:cubicBezTo>
                <a:cubicBezTo>
                  <a:pt x="207" y="373"/>
                  <a:pt x="202" y="378"/>
                  <a:pt x="202" y="384"/>
                </a:cubicBezTo>
                <a:cubicBezTo>
                  <a:pt x="202" y="401"/>
                  <a:pt x="217" y="416"/>
                  <a:pt x="234" y="416"/>
                </a:cubicBezTo>
                <a:cubicBezTo>
                  <a:pt x="252" y="416"/>
                  <a:pt x="266" y="401"/>
                  <a:pt x="266" y="384"/>
                </a:cubicBezTo>
                <a:cubicBezTo>
                  <a:pt x="266" y="235"/>
                  <a:pt x="266" y="235"/>
                  <a:pt x="266" y="235"/>
                </a:cubicBezTo>
                <a:cubicBezTo>
                  <a:pt x="288" y="237"/>
                  <a:pt x="300" y="251"/>
                  <a:pt x="301" y="252"/>
                </a:cubicBezTo>
                <a:cubicBezTo>
                  <a:pt x="303" y="254"/>
                  <a:pt x="306" y="256"/>
                  <a:pt x="309" y="256"/>
                </a:cubicBezTo>
                <a:cubicBezTo>
                  <a:pt x="310" y="256"/>
                  <a:pt x="312" y="255"/>
                  <a:pt x="313" y="255"/>
                </a:cubicBezTo>
                <a:cubicBezTo>
                  <a:pt x="361" y="234"/>
                  <a:pt x="387" y="253"/>
                  <a:pt x="388" y="253"/>
                </a:cubicBezTo>
                <a:cubicBezTo>
                  <a:pt x="391" y="256"/>
                  <a:pt x="396" y="256"/>
                  <a:pt x="399" y="254"/>
                </a:cubicBezTo>
                <a:cubicBezTo>
                  <a:pt x="403" y="252"/>
                  <a:pt x="405" y="248"/>
                  <a:pt x="405" y="244"/>
                </a:cubicBezTo>
                <a:close/>
                <a:moveTo>
                  <a:pt x="131" y="228"/>
                </a:moveTo>
                <a:cubicBezTo>
                  <a:pt x="146" y="224"/>
                  <a:pt x="169" y="220"/>
                  <a:pt x="192" y="228"/>
                </a:cubicBezTo>
                <a:cubicBezTo>
                  <a:pt x="195" y="187"/>
                  <a:pt x="210" y="159"/>
                  <a:pt x="224" y="142"/>
                </a:cubicBezTo>
                <a:cubicBezTo>
                  <a:pt x="178" y="153"/>
                  <a:pt x="141" y="187"/>
                  <a:pt x="131" y="2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1" name="Group 565">
            <a:extLst>
              <a:ext uri="{FF2B5EF4-FFF2-40B4-BE49-F238E27FC236}">
                <a16:creationId xmlns:a16="http://schemas.microsoft.com/office/drawing/2014/main" id="{9A4DFE84-8929-4B07-9A9F-4018F146EDD6}"/>
              </a:ext>
            </a:extLst>
          </p:cNvPr>
          <p:cNvGrpSpPr>
            <a:grpSpLocks noChangeAspect="1"/>
          </p:cNvGrpSpPr>
          <p:nvPr/>
        </p:nvGrpSpPr>
        <p:grpSpPr bwMode="auto">
          <a:xfrm>
            <a:off x="10477324" y="2509882"/>
            <a:ext cx="369676" cy="369676"/>
            <a:chOff x="2724" y="1961"/>
            <a:chExt cx="340" cy="340"/>
          </a:xfrm>
          <a:solidFill>
            <a:schemeClr val="accent6"/>
          </a:solidFill>
        </p:grpSpPr>
        <p:sp>
          <p:nvSpPr>
            <p:cNvPr id="562" name="Freeform 566">
              <a:extLst>
                <a:ext uri="{FF2B5EF4-FFF2-40B4-BE49-F238E27FC236}">
                  <a16:creationId xmlns:a16="http://schemas.microsoft.com/office/drawing/2014/main" id="{6C40B7BE-8C7C-42B6-A0BC-2FCB1E3D4AF4}"/>
                </a:ext>
              </a:extLst>
            </p:cNvPr>
            <p:cNvSpPr>
              <a:spLocks noEditPoints="1"/>
            </p:cNvSpPr>
            <p:nvPr/>
          </p:nvSpPr>
          <p:spPr bwMode="auto">
            <a:xfrm>
              <a:off x="2724" y="19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3" name="Freeform 567">
              <a:extLst>
                <a:ext uri="{FF2B5EF4-FFF2-40B4-BE49-F238E27FC236}">
                  <a16:creationId xmlns:a16="http://schemas.microsoft.com/office/drawing/2014/main" id="{0AA0C493-FBD0-418B-AE11-A80351E5ABB1}"/>
                </a:ext>
              </a:extLst>
            </p:cNvPr>
            <p:cNvSpPr>
              <a:spLocks noEditPoints="1"/>
            </p:cNvSpPr>
            <p:nvPr/>
          </p:nvSpPr>
          <p:spPr bwMode="auto">
            <a:xfrm>
              <a:off x="2802" y="2039"/>
              <a:ext cx="184" cy="198"/>
            </a:xfrm>
            <a:custGeom>
              <a:avLst/>
              <a:gdLst>
                <a:gd name="T0" fmla="*/ 229 w 278"/>
                <a:gd name="T1" fmla="*/ 219 h 299"/>
                <a:gd name="T2" fmla="*/ 228 w 278"/>
                <a:gd name="T3" fmla="*/ 139 h 299"/>
                <a:gd name="T4" fmla="*/ 277 w 278"/>
                <a:gd name="T5" fmla="*/ 84 h 299"/>
                <a:gd name="T6" fmla="*/ 250 w 278"/>
                <a:gd name="T7" fmla="*/ 65 h 299"/>
                <a:gd name="T8" fmla="*/ 198 w 278"/>
                <a:gd name="T9" fmla="*/ 86 h 299"/>
                <a:gd name="T10" fmla="*/ 181 w 278"/>
                <a:gd name="T11" fmla="*/ 76 h 299"/>
                <a:gd name="T12" fmla="*/ 181 w 278"/>
                <a:gd name="T13" fmla="*/ 53 h 299"/>
                <a:gd name="T14" fmla="*/ 128 w 278"/>
                <a:gd name="T15" fmla="*/ 0 h 299"/>
                <a:gd name="T16" fmla="*/ 96 w 278"/>
                <a:gd name="T17" fmla="*/ 75 h 299"/>
                <a:gd name="T18" fmla="*/ 81 w 278"/>
                <a:gd name="T19" fmla="*/ 88 h 299"/>
                <a:gd name="T20" fmla="*/ 37 w 278"/>
                <a:gd name="T21" fmla="*/ 65 h 299"/>
                <a:gd name="T22" fmla="*/ 6 w 278"/>
                <a:gd name="T23" fmla="*/ 76 h 299"/>
                <a:gd name="T24" fmla="*/ 3 w 278"/>
                <a:gd name="T25" fmla="*/ 93 h 299"/>
                <a:gd name="T26" fmla="*/ 43 w 278"/>
                <a:gd name="T27" fmla="*/ 181 h 299"/>
                <a:gd name="T28" fmla="*/ 4 w 278"/>
                <a:gd name="T29" fmla="*/ 259 h 299"/>
                <a:gd name="T30" fmla="*/ 4 w 278"/>
                <a:gd name="T31" fmla="*/ 275 h 299"/>
                <a:gd name="T32" fmla="*/ 32 w 278"/>
                <a:gd name="T33" fmla="*/ 293 h 299"/>
                <a:gd name="T34" fmla="*/ 78 w 278"/>
                <a:gd name="T35" fmla="*/ 272 h 299"/>
                <a:gd name="T36" fmla="*/ 200 w 278"/>
                <a:gd name="T37" fmla="*/ 272 h 299"/>
                <a:gd name="T38" fmla="*/ 245 w 278"/>
                <a:gd name="T39" fmla="*/ 293 h 299"/>
                <a:gd name="T40" fmla="*/ 273 w 278"/>
                <a:gd name="T41" fmla="*/ 275 h 299"/>
                <a:gd name="T42" fmla="*/ 274 w 278"/>
                <a:gd name="T43" fmla="*/ 259 h 299"/>
                <a:gd name="T44" fmla="*/ 187 w 278"/>
                <a:gd name="T45" fmla="*/ 192 h 299"/>
                <a:gd name="T46" fmla="*/ 196 w 278"/>
                <a:gd name="T47" fmla="*/ 243 h 299"/>
                <a:gd name="T48" fmla="*/ 139 w 278"/>
                <a:gd name="T49" fmla="*/ 85 h 299"/>
                <a:gd name="T50" fmla="*/ 155 w 278"/>
                <a:gd name="T51" fmla="*/ 139 h 299"/>
                <a:gd name="T52" fmla="*/ 96 w 278"/>
                <a:gd name="T53" fmla="*/ 103 h 299"/>
                <a:gd name="T54" fmla="*/ 213 w 278"/>
                <a:gd name="T55" fmla="*/ 171 h 299"/>
                <a:gd name="T56" fmla="*/ 173 w 278"/>
                <a:gd name="T57" fmla="*/ 150 h 299"/>
                <a:gd name="T58" fmla="*/ 213 w 278"/>
                <a:gd name="T59" fmla="*/ 171 h 299"/>
                <a:gd name="T60" fmla="*/ 90 w 278"/>
                <a:gd name="T61" fmla="*/ 171 h 299"/>
                <a:gd name="T62" fmla="*/ 82 w 278"/>
                <a:gd name="T63" fmla="*/ 120 h 299"/>
                <a:gd name="T64" fmla="*/ 82 w 278"/>
                <a:gd name="T65" fmla="*/ 243 h 299"/>
                <a:gd name="T66" fmla="*/ 90 w 278"/>
                <a:gd name="T67" fmla="*/ 192 h 299"/>
                <a:gd name="T68" fmla="*/ 82 w 278"/>
                <a:gd name="T69" fmla="*/ 243 h 299"/>
                <a:gd name="T70" fmla="*/ 109 w 278"/>
                <a:gd name="T71" fmla="*/ 181 h 299"/>
                <a:gd name="T72" fmla="*/ 154 w 278"/>
                <a:gd name="T73" fmla="*/ 160 h 299"/>
                <a:gd name="T74" fmla="*/ 154 w 278"/>
                <a:gd name="T75" fmla="*/ 203 h 299"/>
                <a:gd name="T76" fmla="*/ 245 w 278"/>
                <a:gd name="T77" fmla="*/ 87 h 299"/>
                <a:gd name="T78" fmla="*/ 219 w 278"/>
                <a:gd name="T79" fmla="*/ 118 h 299"/>
                <a:gd name="T80" fmla="*/ 245 w 278"/>
                <a:gd name="T81" fmla="*/ 87 h 299"/>
                <a:gd name="T82" fmla="*/ 129 w 278"/>
                <a:gd name="T83" fmla="*/ 21 h 299"/>
                <a:gd name="T84" fmla="*/ 160 w 278"/>
                <a:gd name="T85" fmla="*/ 53 h 299"/>
                <a:gd name="T86" fmla="*/ 139 w 278"/>
                <a:gd name="T87" fmla="*/ 64 h 299"/>
                <a:gd name="T88" fmla="*/ 117 w 278"/>
                <a:gd name="T89" fmla="*/ 53 h 299"/>
                <a:gd name="T90" fmla="*/ 32 w 278"/>
                <a:gd name="T91" fmla="*/ 87 h 299"/>
                <a:gd name="T92" fmla="*/ 58 w 278"/>
                <a:gd name="T93" fmla="*/ 118 h 299"/>
                <a:gd name="T94" fmla="*/ 33 w 278"/>
                <a:gd name="T95" fmla="*/ 270 h 299"/>
                <a:gd name="T96" fmla="*/ 56 w 278"/>
                <a:gd name="T97" fmla="*/ 241 h 299"/>
                <a:gd name="T98" fmla="*/ 33 w 278"/>
                <a:gd name="T99" fmla="*/ 270 h 299"/>
                <a:gd name="T100" fmla="*/ 123 w 278"/>
                <a:gd name="T101" fmla="*/ 224 h 299"/>
                <a:gd name="T102" fmla="*/ 182 w 278"/>
                <a:gd name="T103" fmla="*/ 260 h 299"/>
                <a:gd name="T104" fmla="*/ 96 w 278"/>
                <a:gd name="T105" fmla="*/ 260 h 299"/>
                <a:gd name="T106" fmla="*/ 213 w 278"/>
                <a:gd name="T107" fmla="*/ 255 h 299"/>
                <a:gd name="T108" fmla="*/ 250 w 278"/>
                <a:gd name="T109" fmla="*/ 26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299">
                  <a:moveTo>
                    <a:pt x="274" y="259"/>
                  </a:moveTo>
                  <a:cubicBezTo>
                    <a:pt x="229" y="219"/>
                    <a:pt x="229" y="219"/>
                    <a:pt x="229" y="219"/>
                  </a:cubicBezTo>
                  <a:cubicBezTo>
                    <a:pt x="233" y="207"/>
                    <a:pt x="235" y="195"/>
                    <a:pt x="235" y="181"/>
                  </a:cubicBezTo>
                  <a:cubicBezTo>
                    <a:pt x="235" y="166"/>
                    <a:pt x="232" y="152"/>
                    <a:pt x="228" y="139"/>
                  </a:cubicBezTo>
                  <a:cubicBezTo>
                    <a:pt x="274" y="93"/>
                    <a:pt x="274" y="93"/>
                    <a:pt x="274" y="93"/>
                  </a:cubicBezTo>
                  <a:cubicBezTo>
                    <a:pt x="277" y="90"/>
                    <a:pt x="278" y="87"/>
                    <a:pt x="277" y="84"/>
                  </a:cubicBezTo>
                  <a:cubicBezTo>
                    <a:pt x="277" y="80"/>
                    <a:pt x="275" y="77"/>
                    <a:pt x="271" y="76"/>
                  </a:cubicBezTo>
                  <a:cubicBezTo>
                    <a:pt x="250" y="65"/>
                    <a:pt x="250" y="65"/>
                    <a:pt x="250" y="65"/>
                  </a:cubicBezTo>
                  <a:cubicBezTo>
                    <a:pt x="247" y="64"/>
                    <a:pt x="244" y="64"/>
                    <a:pt x="241" y="65"/>
                  </a:cubicBezTo>
                  <a:cubicBezTo>
                    <a:pt x="198" y="86"/>
                    <a:pt x="198" y="86"/>
                    <a:pt x="198" y="86"/>
                  </a:cubicBezTo>
                  <a:cubicBezTo>
                    <a:pt x="197" y="87"/>
                    <a:pt x="197" y="87"/>
                    <a:pt x="196" y="88"/>
                  </a:cubicBezTo>
                  <a:cubicBezTo>
                    <a:pt x="192" y="83"/>
                    <a:pt x="186" y="79"/>
                    <a:pt x="181" y="76"/>
                  </a:cubicBezTo>
                  <a:cubicBezTo>
                    <a:pt x="181" y="76"/>
                    <a:pt x="181" y="75"/>
                    <a:pt x="181" y="75"/>
                  </a:cubicBezTo>
                  <a:cubicBezTo>
                    <a:pt x="181" y="53"/>
                    <a:pt x="181" y="53"/>
                    <a:pt x="181" y="53"/>
                  </a:cubicBezTo>
                  <a:cubicBezTo>
                    <a:pt x="181" y="41"/>
                    <a:pt x="171" y="0"/>
                    <a:pt x="149" y="0"/>
                  </a:cubicBezTo>
                  <a:cubicBezTo>
                    <a:pt x="128" y="0"/>
                    <a:pt x="128" y="0"/>
                    <a:pt x="128" y="0"/>
                  </a:cubicBezTo>
                  <a:cubicBezTo>
                    <a:pt x="106" y="0"/>
                    <a:pt x="96" y="41"/>
                    <a:pt x="96" y="53"/>
                  </a:cubicBezTo>
                  <a:cubicBezTo>
                    <a:pt x="96" y="75"/>
                    <a:pt x="96" y="75"/>
                    <a:pt x="96" y="75"/>
                  </a:cubicBezTo>
                  <a:cubicBezTo>
                    <a:pt x="96" y="75"/>
                    <a:pt x="96" y="76"/>
                    <a:pt x="96" y="76"/>
                  </a:cubicBezTo>
                  <a:cubicBezTo>
                    <a:pt x="91" y="79"/>
                    <a:pt x="86" y="83"/>
                    <a:pt x="81" y="88"/>
                  </a:cubicBezTo>
                  <a:cubicBezTo>
                    <a:pt x="81" y="87"/>
                    <a:pt x="80" y="87"/>
                    <a:pt x="79" y="86"/>
                  </a:cubicBezTo>
                  <a:cubicBezTo>
                    <a:pt x="37" y="65"/>
                    <a:pt x="37" y="65"/>
                    <a:pt x="37" y="65"/>
                  </a:cubicBezTo>
                  <a:cubicBezTo>
                    <a:pt x="34" y="64"/>
                    <a:pt x="30" y="64"/>
                    <a:pt x="27" y="65"/>
                  </a:cubicBezTo>
                  <a:cubicBezTo>
                    <a:pt x="6" y="76"/>
                    <a:pt x="6" y="76"/>
                    <a:pt x="6" y="76"/>
                  </a:cubicBezTo>
                  <a:cubicBezTo>
                    <a:pt x="3" y="77"/>
                    <a:pt x="1" y="80"/>
                    <a:pt x="0" y="84"/>
                  </a:cubicBezTo>
                  <a:cubicBezTo>
                    <a:pt x="0" y="87"/>
                    <a:pt x="1" y="90"/>
                    <a:pt x="3" y="93"/>
                  </a:cubicBezTo>
                  <a:cubicBezTo>
                    <a:pt x="49" y="139"/>
                    <a:pt x="49" y="139"/>
                    <a:pt x="49" y="139"/>
                  </a:cubicBezTo>
                  <a:cubicBezTo>
                    <a:pt x="45" y="152"/>
                    <a:pt x="43" y="166"/>
                    <a:pt x="43" y="181"/>
                  </a:cubicBezTo>
                  <a:cubicBezTo>
                    <a:pt x="43" y="195"/>
                    <a:pt x="45" y="207"/>
                    <a:pt x="48" y="219"/>
                  </a:cubicBezTo>
                  <a:cubicBezTo>
                    <a:pt x="4" y="259"/>
                    <a:pt x="4" y="259"/>
                    <a:pt x="4" y="259"/>
                  </a:cubicBezTo>
                  <a:cubicBezTo>
                    <a:pt x="1" y="261"/>
                    <a:pt x="0" y="264"/>
                    <a:pt x="0" y="267"/>
                  </a:cubicBezTo>
                  <a:cubicBezTo>
                    <a:pt x="0" y="270"/>
                    <a:pt x="2" y="273"/>
                    <a:pt x="4" y="275"/>
                  </a:cubicBezTo>
                  <a:cubicBezTo>
                    <a:pt x="26" y="291"/>
                    <a:pt x="26" y="291"/>
                    <a:pt x="26" y="291"/>
                  </a:cubicBezTo>
                  <a:cubicBezTo>
                    <a:pt x="27" y="293"/>
                    <a:pt x="30" y="293"/>
                    <a:pt x="32" y="293"/>
                  </a:cubicBezTo>
                  <a:cubicBezTo>
                    <a:pt x="34" y="293"/>
                    <a:pt x="35" y="293"/>
                    <a:pt x="37" y="292"/>
                  </a:cubicBezTo>
                  <a:cubicBezTo>
                    <a:pt x="78" y="272"/>
                    <a:pt x="78" y="272"/>
                    <a:pt x="78" y="272"/>
                  </a:cubicBezTo>
                  <a:cubicBezTo>
                    <a:pt x="94" y="289"/>
                    <a:pt x="115" y="299"/>
                    <a:pt x="139" y="299"/>
                  </a:cubicBezTo>
                  <a:cubicBezTo>
                    <a:pt x="162" y="299"/>
                    <a:pt x="183" y="289"/>
                    <a:pt x="200" y="272"/>
                  </a:cubicBezTo>
                  <a:cubicBezTo>
                    <a:pt x="241" y="292"/>
                    <a:pt x="241" y="292"/>
                    <a:pt x="241" y="292"/>
                  </a:cubicBezTo>
                  <a:cubicBezTo>
                    <a:pt x="242" y="293"/>
                    <a:pt x="244" y="293"/>
                    <a:pt x="245" y="293"/>
                  </a:cubicBezTo>
                  <a:cubicBezTo>
                    <a:pt x="248" y="293"/>
                    <a:pt x="250" y="293"/>
                    <a:pt x="252" y="291"/>
                  </a:cubicBezTo>
                  <a:cubicBezTo>
                    <a:pt x="273" y="275"/>
                    <a:pt x="273" y="275"/>
                    <a:pt x="273" y="275"/>
                  </a:cubicBezTo>
                  <a:cubicBezTo>
                    <a:pt x="276" y="273"/>
                    <a:pt x="277" y="270"/>
                    <a:pt x="277" y="267"/>
                  </a:cubicBezTo>
                  <a:cubicBezTo>
                    <a:pt x="277" y="264"/>
                    <a:pt x="276" y="261"/>
                    <a:pt x="274" y="259"/>
                  </a:cubicBezTo>
                  <a:close/>
                  <a:moveTo>
                    <a:pt x="173" y="213"/>
                  </a:moveTo>
                  <a:cubicBezTo>
                    <a:pt x="187" y="192"/>
                    <a:pt x="187" y="192"/>
                    <a:pt x="187" y="192"/>
                  </a:cubicBezTo>
                  <a:cubicBezTo>
                    <a:pt x="213" y="192"/>
                    <a:pt x="213" y="192"/>
                    <a:pt x="213" y="192"/>
                  </a:cubicBezTo>
                  <a:cubicBezTo>
                    <a:pt x="211" y="211"/>
                    <a:pt x="205" y="229"/>
                    <a:pt x="196" y="243"/>
                  </a:cubicBezTo>
                  <a:lnTo>
                    <a:pt x="173" y="213"/>
                  </a:lnTo>
                  <a:close/>
                  <a:moveTo>
                    <a:pt x="139" y="85"/>
                  </a:moveTo>
                  <a:cubicBezTo>
                    <a:pt x="155" y="85"/>
                    <a:pt x="169" y="92"/>
                    <a:pt x="182" y="103"/>
                  </a:cubicBezTo>
                  <a:cubicBezTo>
                    <a:pt x="155" y="139"/>
                    <a:pt x="155" y="139"/>
                    <a:pt x="155" y="139"/>
                  </a:cubicBezTo>
                  <a:cubicBezTo>
                    <a:pt x="123" y="139"/>
                    <a:pt x="123" y="139"/>
                    <a:pt x="123" y="139"/>
                  </a:cubicBezTo>
                  <a:cubicBezTo>
                    <a:pt x="96" y="103"/>
                    <a:pt x="96" y="103"/>
                    <a:pt x="96" y="103"/>
                  </a:cubicBezTo>
                  <a:cubicBezTo>
                    <a:pt x="108" y="92"/>
                    <a:pt x="123" y="85"/>
                    <a:pt x="139" y="85"/>
                  </a:cubicBezTo>
                  <a:close/>
                  <a:moveTo>
                    <a:pt x="213" y="171"/>
                  </a:moveTo>
                  <a:cubicBezTo>
                    <a:pt x="187" y="171"/>
                    <a:pt x="187" y="171"/>
                    <a:pt x="187" y="171"/>
                  </a:cubicBezTo>
                  <a:cubicBezTo>
                    <a:pt x="173" y="150"/>
                    <a:pt x="173" y="150"/>
                    <a:pt x="173" y="150"/>
                  </a:cubicBezTo>
                  <a:cubicBezTo>
                    <a:pt x="196" y="120"/>
                    <a:pt x="196" y="120"/>
                    <a:pt x="196" y="120"/>
                  </a:cubicBezTo>
                  <a:cubicBezTo>
                    <a:pt x="205" y="134"/>
                    <a:pt x="211" y="151"/>
                    <a:pt x="213" y="171"/>
                  </a:cubicBezTo>
                  <a:close/>
                  <a:moveTo>
                    <a:pt x="104" y="150"/>
                  </a:moveTo>
                  <a:cubicBezTo>
                    <a:pt x="90" y="171"/>
                    <a:pt x="90" y="171"/>
                    <a:pt x="90" y="171"/>
                  </a:cubicBezTo>
                  <a:cubicBezTo>
                    <a:pt x="64" y="171"/>
                    <a:pt x="64" y="171"/>
                    <a:pt x="64" y="171"/>
                  </a:cubicBezTo>
                  <a:cubicBezTo>
                    <a:pt x="66" y="151"/>
                    <a:pt x="72" y="134"/>
                    <a:pt x="82" y="120"/>
                  </a:cubicBezTo>
                  <a:lnTo>
                    <a:pt x="104" y="150"/>
                  </a:lnTo>
                  <a:close/>
                  <a:moveTo>
                    <a:pt x="82" y="243"/>
                  </a:moveTo>
                  <a:cubicBezTo>
                    <a:pt x="72" y="229"/>
                    <a:pt x="66" y="211"/>
                    <a:pt x="64" y="192"/>
                  </a:cubicBezTo>
                  <a:cubicBezTo>
                    <a:pt x="90" y="192"/>
                    <a:pt x="90" y="192"/>
                    <a:pt x="90" y="192"/>
                  </a:cubicBezTo>
                  <a:cubicBezTo>
                    <a:pt x="104" y="213"/>
                    <a:pt x="104" y="213"/>
                    <a:pt x="104" y="213"/>
                  </a:cubicBezTo>
                  <a:lnTo>
                    <a:pt x="82" y="243"/>
                  </a:lnTo>
                  <a:close/>
                  <a:moveTo>
                    <a:pt x="123" y="203"/>
                  </a:moveTo>
                  <a:cubicBezTo>
                    <a:pt x="109" y="181"/>
                    <a:pt x="109" y="181"/>
                    <a:pt x="109" y="181"/>
                  </a:cubicBezTo>
                  <a:cubicBezTo>
                    <a:pt x="123" y="160"/>
                    <a:pt x="123" y="160"/>
                    <a:pt x="123" y="160"/>
                  </a:cubicBezTo>
                  <a:cubicBezTo>
                    <a:pt x="154" y="160"/>
                    <a:pt x="154" y="160"/>
                    <a:pt x="154" y="160"/>
                  </a:cubicBezTo>
                  <a:cubicBezTo>
                    <a:pt x="169" y="181"/>
                    <a:pt x="169" y="181"/>
                    <a:pt x="169" y="181"/>
                  </a:cubicBezTo>
                  <a:cubicBezTo>
                    <a:pt x="154" y="203"/>
                    <a:pt x="154" y="203"/>
                    <a:pt x="154" y="203"/>
                  </a:cubicBezTo>
                  <a:lnTo>
                    <a:pt x="123" y="203"/>
                  </a:lnTo>
                  <a:close/>
                  <a:moveTo>
                    <a:pt x="245" y="87"/>
                  </a:moveTo>
                  <a:cubicBezTo>
                    <a:pt x="249" y="88"/>
                    <a:pt x="249" y="88"/>
                    <a:pt x="249" y="88"/>
                  </a:cubicBezTo>
                  <a:cubicBezTo>
                    <a:pt x="219" y="118"/>
                    <a:pt x="219" y="118"/>
                    <a:pt x="219" y="118"/>
                  </a:cubicBezTo>
                  <a:cubicBezTo>
                    <a:pt x="217" y="113"/>
                    <a:pt x="214" y="108"/>
                    <a:pt x="211" y="104"/>
                  </a:cubicBezTo>
                  <a:lnTo>
                    <a:pt x="245" y="87"/>
                  </a:lnTo>
                  <a:close/>
                  <a:moveTo>
                    <a:pt x="117" y="53"/>
                  </a:moveTo>
                  <a:cubicBezTo>
                    <a:pt x="117" y="44"/>
                    <a:pt x="124" y="25"/>
                    <a:pt x="129" y="21"/>
                  </a:cubicBezTo>
                  <a:cubicBezTo>
                    <a:pt x="148" y="21"/>
                    <a:pt x="148" y="21"/>
                    <a:pt x="148" y="21"/>
                  </a:cubicBezTo>
                  <a:cubicBezTo>
                    <a:pt x="153" y="25"/>
                    <a:pt x="160" y="44"/>
                    <a:pt x="160" y="53"/>
                  </a:cubicBezTo>
                  <a:cubicBezTo>
                    <a:pt x="160" y="67"/>
                    <a:pt x="160" y="67"/>
                    <a:pt x="160" y="67"/>
                  </a:cubicBezTo>
                  <a:cubicBezTo>
                    <a:pt x="153" y="65"/>
                    <a:pt x="146" y="64"/>
                    <a:pt x="139" y="64"/>
                  </a:cubicBezTo>
                  <a:cubicBezTo>
                    <a:pt x="131" y="64"/>
                    <a:pt x="124" y="65"/>
                    <a:pt x="117" y="67"/>
                  </a:cubicBezTo>
                  <a:lnTo>
                    <a:pt x="117" y="53"/>
                  </a:lnTo>
                  <a:close/>
                  <a:moveTo>
                    <a:pt x="29" y="88"/>
                  </a:moveTo>
                  <a:cubicBezTo>
                    <a:pt x="32" y="87"/>
                    <a:pt x="32" y="87"/>
                    <a:pt x="32" y="87"/>
                  </a:cubicBezTo>
                  <a:cubicBezTo>
                    <a:pt x="67" y="104"/>
                    <a:pt x="67" y="104"/>
                    <a:pt x="67" y="104"/>
                  </a:cubicBezTo>
                  <a:cubicBezTo>
                    <a:pt x="64" y="108"/>
                    <a:pt x="61" y="113"/>
                    <a:pt x="58" y="118"/>
                  </a:cubicBezTo>
                  <a:lnTo>
                    <a:pt x="29" y="88"/>
                  </a:lnTo>
                  <a:close/>
                  <a:moveTo>
                    <a:pt x="33" y="270"/>
                  </a:moveTo>
                  <a:cubicBezTo>
                    <a:pt x="28" y="266"/>
                    <a:pt x="28" y="266"/>
                    <a:pt x="28" y="266"/>
                  </a:cubicBezTo>
                  <a:cubicBezTo>
                    <a:pt x="56" y="241"/>
                    <a:pt x="56" y="241"/>
                    <a:pt x="56" y="241"/>
                  </a:cubicBezTo>
                  <a:cubicBezTo>
                    <a:pt x="58" y="246"/>
                    <a:pt x="61" y="250"/>
                    <a:pt x="64" y="255"/>
                  </a:cubicBezTo>
                  <a:lnTo>
                    <a:pt x="33" y="270"/>
                  </a:lnTo>
                  <a:close/>
                  <a:moveTo>
                    <a:pt x="96" y="260"/>
                  </a:moveTo>
                  <a:cubicBezTo>
                    <a:pt x="123" y="224"/>
                    <a:pt x="123" y="224"/>
                    <a:pt x="123" y="224"/>
                  </a:cubicBezTo>
                  <a:cubicBezTo>
                    <a:pt x="155" y="224"/>
                    <a:pt x="155" y="224"/>
                    <a:pt x="155" y="224"/>
                  </a:cubicBezTo>
                  <a:cubicBezTo>
                    <a:pt x="182" y="260"/>
                    <a:pt x="182" y="260"/>
                    <a:pt x="182" y="260"/>
                  </a:cubicBezTo>
                  <a:cubicBezTo>
                    <a:pt x="169" y="271"/>
                    <a:pt x="155" y="277"/>
                    <a:pt x="139" y="277"/>
                  </a:cubicBezTo>
                  <a:cubicBezTo>
                    <a:pt x="123" y="277"/>
                    <a:pt x="108" y="271"/>
                    <a:pt x="96" y="260"/>
                  </a:cubicBezTo>
                  <a:close/>
                  <a:moveTo>
                    <a:pt x="244" y="270"/>
                  </a:moveTo>
                  <a:cubicBezTo>
                    <a:pt x="213" y="255"/>
                    <a:pt x="213" y="255"/>
                    <a:pt x="213" y="255"/>
                  </a:cubicBezTo>
                  <a:cubicBezTo>
                    <a:pt x="216" y="250"/>
                    <a:pt x="219" y="246"/>
                    <a:pt x="221" y="241"/>
                  </a:cubicBezTo>
                  <a:cubicBezTo>
                    <a:pt x="250" y="266"/>
                    <a:pt x="250" y="266"/>
                    <a:pt x="250" y="266"/>
                  </a:cubicBezTo>
                  <a:lnTo>
                    <a:pt x="244" y="2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4" name="Freeform 571">
            <a:extLst>
              <a:ext uri="{FF2B5EF4-FFF2-40B4-BE49-F238E27FC236}">
                <a16:creationId xmlns:a16="http://schemas.microsoft.com/office/drawing/2014/main" id="{3176228D-3041-4023-95ED-51104D3B03B4}"/>
              </a:ext>
            </a:extLst>
          </p:cNvPr>
          <p:cNvSpPr>
            <a:spLocks noChangeAspect="1" noEditPoints="1"/>
          </p:cNvSpPr>
          <p:nvPr/>
        </p:nvSpPr>
        <p:spPr bwMode="auto">
          <a:xfrm>
            <a:off x="10044216" y="2509882"/>
            <a:ext cx="369676" cy="369676"/>
          </a:xfrm>
          <a:custGeom>
            <a:avLst/>
            <a:gdLst>
              <a:gd name="T0" fmla="*/ 181 w 512"/>
              <a:gd name="T1" fmla="*/ 372 h 512"/>
              <a:gd name="T2" fmla="*/ 145 w 512"/>
              <a:gd name="T3" fmla="*/ 383 h 512"/>
              <a:gd name="T4" fmla="*/ 184 w 512"/>
              <a:gd name="T5" fmla="*/ 221 h 512"/>
              <a:gd name="T6" fmla="*/ 146 w 512"/>
              <a:gd name="T7" fmla="*/ 205 h 512"/>
              <a:gd name="T8" fmla="*/ 184 w 512"/>
              <a:gd name="T9" fmla="*/ 221 h 512"/>
              <a:gd name="T10" fmla="*/ 226 w 512"/>
              <a:gd name="T11" fmla="*/ 298 h 512"/>
              <a:gd name="T12" fmla="*/ 271 w 512"/>
              <a:gd name="T13" fmla="*/ 320 h 512"/>
              <a:gd name="T14" fmla="*/ 271 w 512"/>
              <a:gd name="T15" fmla="*/ 277 h 512"/>
              <a:gd name="T16" fmla="*/ 207 w 512"/>
              <a:gd name="T17" fmla="*/ 288 h 512"/>
              <a:gd name="T18" fmla="*/ 199 w 512"/>
              <a:gd name="T19" fmla="*/ 237 h 512"/>
              <a:gd name="T20" fmla="*/ 207 w 512"/>
              <a:gd name="T21" fmla="*/ 288 h 512"/>
              <a:gd name="T22" fmla="*/ 299 w 512"/>
              <a:gd name="T23" fmla="*/ 220 h 512"/>
              <a:gd name="T24" fmla="*/ 213 w 512"/>
              <a:gd name="T25" fmla="*/ 220 h 512"/>
              <a:gd name="T26" fmla="*/ 272 w 512"/>
              <a:gd name="T27" fmla="*/ 256 h 512"/>
              <a:gd name="T28" fmla="*/ 362 w 512"/>
              <a:gd name="T29" fmla="*/ 204 h 512"/>
              <a:gd name="T30" fmla="*/ 336 w 512"/>
              <a:gd name="T31" fmla="*/ 235 h 512"/>
              <a:gd name="T32" fmla="*/ 277 w 512"/>
              <a:gd name="T33" fmla="*/ 184 h 512"/>
              <a:gd name="T34" fmla="*/ 265 w 512"/>
              <a:gd name="T35" fmla="*/ 138 h 512"/>
              <a:gd name="T36" fmla="*/ 234 w 512"/>
              <a:gd name="T37" fmla="*/ 170 h 512"/>
              <a:gd name="T38" fmla="*/ 256 w 512"/>
              <a:gd name="T39" fmla="*/ 181 h 512"/>
              <a:gd name="T40" fmla="*/ 330 w 512"/>
              <a:gd name="T41" fmla="*/ 372 h 512"/>
              <a:gd name="T42" fmla="*/ 367 w 512"/>
              <a:gd name="T43" fmla="*/ 383 h 512"/>
              <a:gd name="T44" fmla="*/ 330 w 512"/>
              <a:gd name="T45" fmla="*/ 372 h 512"/>
              <a:gd name="T46" fmla="*/ 256 w 512"/>
              <a:gd name="T47" fmla="*/ 512 h 512"/>
              <a:gd name="T48" fmla="*/ 256 w 512"/>
              <a:gd name="T49" fmla="*/ 0 h 512"/>
              <a:gd name="T50" fmla="*/ 394 w 512"/>
              <a:gd name="T51" fmla="*/ 384 h 512"/>
              <a:gd name="T52" fmla="*/ 346 w 512"/>
              <a:gd name="T53" fmla="*/ 336 h 512"/>
              <a:gd name="T54" fmla="*/ 345 w 512"/>
              <a:gd name="T55" fmla="*/ 256 h 512"/>
              <a:gd name="T56" fmla="*/ 394 w 512"/>
              <a:gd name="T57" fmla="*/ 201 h 512"/>
              <a:gd name="T58" fmla="*/ 367 w 512"/>
              <a:gd name="T59" fmla="*/ 182 h 512"/>
              <a:gd name="T60" fmla="*/ 315 w 512"/>
              <a:gd name="T61" fmla="*/ 203 h 512"/>
              <a:gd name="T62" fmla="*/ 298 w 512"/>
              <a:gd name="T63" fmla="*/ 193 h 512"/>
              <a:gd name="T64" fmla="*/ 298 w 512"/>
              <a:gd name="T65" fmla="*/ 170 h 512"/>
              <a:gd name="T66" fmla="*/ 245 w 512"/>
              <a:gd name="T67" fmla="*/ 117 h 512"/>
              <a:gd name="T68" fmla="*/ 213 w 512"/>
              <a:gd name="T69" fmla="*/ 192 h 512"/>
              <a:gd name="T70" fmla="*/ 198 w 512"/>
              <a:gd name="T71" fmla="*/ 205 h 512"/>
              <a:gd name="T72" fmla="*/ 154 w 512"/>
              <a:gd name="T73" fmla="*/ 182 h 512"/>
              <a:gd name="T74" fmla="*/ 123 w 512"/>
              <a:gd name="T75" fmla="*/ 193 h 512"/>
              <a:gd name="T76" fmla="*/ 120 w 512"/>
              <a:gd name="T77" fmla="*/ 210 h 512"/>
              <a:gd name="T78" fmla="*/ 160 w 512"/>
              <a:gd name="T79" fmla="*/ 298 h 512"/>
              <a:gd name="T80" fmla="*/ 121 w 512"/>
              <a:gd name="T81" fmla="*/ 376 h 512"/>
              <a:gd name="T82" fmla="*/ 121 w 512"/>
              <a:gd name="T83" fmla="*/ 392 h 512"/>
              <a:gd name="T84" fmla="*/ 149 w 512"/>
              <a:gd name="T85" fmla="*/ 410 h 512"/>
              <a:gd name="T86" fmla="*/ 195 w 512"/>
              <a:gd name="T87" fmla="*/ 389 h 512"/>
              <a:gd name="T88" fmla="*/ 317 w 512"/>
              <a:gd name="T89" fmla="*/ 389 h 512"/>
              <a:gd name="T90" fmla="*/ 362 w 512"/>
              <a:gd name="T91" fmla="*/ 410 h 512"/>
              <a:gd name="T92" fmla="*/ 390 w 512"/>
              <a:gd name="T93" fmla="*/ 392 h 512"/>
              <a:gd name="T94" fmla="*/ 290 w 512"/>
              <a:gd name="T95" fmla="*/ 267 h 512"/>
              <a:gd name="T96" fmla="*/ 330 w 512"/>
              <a:gd name="T97" fmla="*/ 288 h 512"/>
              <a:gd name="T98" fmla="*/ 290 w 512"/>
              <a:gd name="T99" fmla="*/ 267 h 512"/>
              <a:gd name="T100" fmla="*/ 181 w 512"/>
              <a:gd name="T101" fmla="*/ 309 h 512"/>
              <a:gd name="T102" fmla="*/ 221 w 512"/>
              <a:gd name="T103" fmla="*/ 330 h 512"/>
              <a:gd name="T104" fmla="*/ 240 w 512"/>
              <a:gd name="T105" fmla="*/ 341 h 512"/>
              <a:gd name="T106" fmla="*/ 256 w 512"/>
              <a:gd name="T107" fmla="*/ 394 h 512"/>
              <a:gd name="T108" fmla="*/ 272 w 512"/>
              <a:gd name="T109" fmla="*/ 341 h 512"/>
              <a:gd name="T110" fmla="*/ 290 w 512"/>
              <a:gd name="T111" fmla="*/ 330 h 512"/>
              <a:gd name="T112" fmla="*/ 330 w 512"/>
              <a:gd name="T113" fmla="*/ 309 h 512"/>
              <a:gd name="T114" fmla="*/ 290 w 512"/>
              <a:gd name="T11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73" y="358"/>
                </a:moveTo>
                <a:cubicBezTo>
                  <a:pt x="175" y="363"/>
                  <a:pt x="178" y="367"/>
                  <a:pt x="181" y="372"/>
                </a:cubicBezTo>
                <a:cubicBezTo>
                  <a:pt x="150" y="387"/>
                  <a:pt x="150" y="387"/>
                  <a:pt x="150" y="387"/>
                </a:cubicBezTo>
                <a:cubicBezTo>
                  <a:pt x="145" y="383"/>
                  <a:pt x="145" y="383"/>
                  <a:pt x="145" y="383"/>
                </a:cubicBezTo>
                <a:lnTo>
                  <a:pt x="173" y="358"/>
                </a:lnTo>
                <a:close/>
                <a:moveTo>
                  <a:pt x="184" y="221"/>
                </a:moveTo>
                <a:cubicBezTo>
                  <a:pt x="149" y="204"/>
                  <a:pt x="149" y="204"/>
                  <a:pt x="149" y="204"/>
                </a:cubicBezTo>
                <a:cubicBezTo>
                  <a:pt x="146" y="205"/>
                  <a:pt x="146" y="205"/>
                  <a:pt x="146" y="205"/>
                </a:cubicBezTo>
                <a:cubicBezTo>
                  <a:pt x="175" y="235"/>
                  <a:pt x="175" y="235"/>
                  <a:pt x="175" y="235"/>
                </a:cubicBezTo>
                <a:cubicBezTo>
                  <a:pt x="178" y="230"/>
                  <a:pt x="181" y="225"/>
                  <a:pt x="184" y="221"/>
                </a:cubicBezTo>
                <a:close/>
                <a:moveTo>
                  <a:pt x="240" y="277"/>
                </a:moveTo>
                <a:cubicBezTo>
                  <a:pt x="226" y="298"/>
                  <a:pt x="226" y="298"/>
                  <a:pt x="226" y="298"/>
                </a:cubicBezTo>
                <a:cubicBezTo>
                  <a:pt x="240" y="320"/>
                  <a:pt x="240" y="320"/>
                  <a:pt x="240" y="320"/>
                </a:cubicBezTo>
                <a:cubicBezTo>
                  <a:pt x="271" y="320"/>
                  <a:pt x="271" y="320"/>
                  <a:pt x="271" y="320"/>
                </a:cubicBezTo>
                <a:cubicBezTo>
                  <a:pt x="286" y="298"/>
                  <a:pt x="286" y="298"/>
                  <a:pt x="286" y="298"/>
                </a:cubicBezTo>
                <a:cubicBezTo>
                  <a:pt x="271" y="277"/>
                  <a:pt x="271" y="277"/>
                  <a:pt x="271" y="277"/>
                </a:cubicBezTo>
                <a:lnTo>
                  <a:pt x="240" y="277"/>
                </a:lnTo>
                <a:close/>
                <a:moveTo>
                  <a:pt x="207" y="288"/>
                </a:moveTo>
                <a:cubicBezTo>
                  <a:pt x="221" y="267"/>
                  <a:pt x="221" y="267"/>
                  <a:pt x="221" y="267"/>
                </a:cubicBezTo>
                <a:cubicBezTo>
                  <a:pt x="199" y="237"/>
                  <a:pt x="199" y="237"/>
                  <a:pt x="199" y="237"/>
                </a:cubicBezTo>
                <a:cubicBezTo>
                  <a:pt x="189" y="251"/>
                  <a:pt x="183" y="268"/>
                  <a:pt x="181" y="288"/>
                </a:cubicBezTo>
                <a:lnTo>
                  <a:pt x="207" y="288"/>
                </a:lnTo>
                <a:close/>
                <a:moveTo>
                  <a:pt x="272" y="256"/>
                </a:moveTo>
                <a:cubicBezTo>
                  <a:pt x="299" y="220"/>
                  <a:pt x="299" y="220"/>
                  <a:pt x="299" y="220"/>
                </a:cubicBezTo>
                <a:cubicBezTo>
                  <a:pt x="286" y="209"/>
                  <a:pt x="272" y="202"/>
                  <a:pt x="256" y="202"/>
                </a:cubicBezTo>
                <a:cubicBezTo>
                  <a:pt x="240" y="202"/>
                  <a:pt x="225" y="209"/>
                  <a:pt x="213" y="220"/>
                </a:cubicBezTo>
                <a:cubicBezTo>
                  <a:pt x="240" y="256"/>
                  <a:pt x="240" y="256"/>
                  <a:pt x="240" y="256"/>
                </a:cubicBezTo>
                <a:lnTo>
                  <a:pt x="272" y="256"/>
                </a:lnTo>
                <a:close/>
                <a:moveTo>
                  <a:pt x="366" y="205"/>
                </a:moveTo>
                <a:cubicBezTo>
                  <a:pt x="362" y="204"/>
                  <a:pt x="362" y="204"/>
                  <a:pt x="362" y="204"/>
                </a:cubicBezTo>
                <a:cubicBezTo>
                  <a:pt x="328" y="221"/>
                  <a:pt x="328" y="221"/>
                  <a:pt x="328" y="221"/>
                </a:cubicBezTo>
                <a:cubicBezTo>
                  <a:pt x="331" y="225"/>
                  <a:pt x="334" y="230"/>
                  <a:pt x="336" y="235"/>
                </a:cubicBezTo>
                <a:lnTo>
                  <a:pt x="366" y="205"/>
                </a:lnTo>
                <a:close/>
                <a:moveTo>
                  <a:pt x="277" y="184"/>
                </a:moveTo>
                <a:cubicBezTo>
                  <a:pt x="277" y="170"/>
                  <a:pt x="277" y="170"/>
                  <a:pt x="277" y="170"/>
                </a:cubicBezTo>
                <a:cubicBezTo>
                  <a:pt x="277" y="161"/>
                  <a:pt x="270" y="142"/>
                  <a:pt x="265" y="138"/>
                </a:cubicBezTo>
                <a:cubicBezTo>
                  <a:pt x="246" y="138"/>
                  <a:pt x="246" y="138"/>
                  <a:pt x="246" y="138"/>
                </a:cubicBezTo>
                <a:cubicBezTo>
                  <a:pt x="241" y="142"/>
                  <a:pt x="234" y="161"/>
                  <a:pt x="234" y="170"/>
                </a:cubicBezTo>
                <a:cubicBezTo>
                  <a:pt x="234" y="184"/>
                  <a:pt x="234" y="184"/>
                  <a:pt x="234" y="184"/>
                </a:cubicBezTo>
                <a:cubicBezTo>
                  <a:pt x="241" y="182"/>
                  <a:pt x="248" y="181"/>
                  <a:pt x="256" y="181"/>
                </a:cubicBezTo>
                <a:cubicBezTo>
                  <a:pt x="263" y="181"/>
                  <a:pt x="270" y="182"/>
                  <a:pt x="277" y="184"/>
                </a:cubicBezTo>
                <a:close/>
                <a:moveTo>
                  <a:pt x="330" y="372"/>
                </a:moveTo>
                <a:cubicBezTo>
                  <a:pt x="361" y="387"/>
                  <a:pt x="361" y="387"/>
                  <a:pt x="361" y="387"/>
                </a:cubicBezTo>
                <a:cubicBezTo>
                  <a:pt x="367" y="383"/>
                  <a:pt x="367" y="383"/>
                  <a:pt x="367" y="383"/>
                </a:cubicBezTo>
                <a:cubicBezTo>
                  <a:pt x="338" y="358"/>
                  <a:pt x="338" y="358"/>
                  <a:pt x="338" y="358"/>
                </a:cubicBezTo>
                <a:cubicBezTo>
                  <a:pt x="336" y="363"/>
                  <a:pt x="333" y="367"/>
                  <a:pt x="330" y="37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81"/>
                  <a:pt x="393" y="378"/>
                  <a:pt x="391" y="376"/>
                </a:cubicBezTo>
                <a:cubicBezTo>
                  <a:pt x="346" y="336"/>
                  <a:pt x="346" y="336"/>
                  <a:pt x="346" y="336"/>
                </a:cubicBezTo>
                <a:cubicBezTo>
                  <a:pt x="350" y="324"/>
                  <a:pt x="352" y="312"/>
                  <a:pt x="352" y="298"/>
                </a:cubicBezTo>
                <a:cubicBezTo>
                  <a:pt x="352" y="283"/>
                  <a:pt x="349" y="269"/>
                  <a:pt x="345" y="256"/>
                </a:cubicBezTo>
                <a:cubicBezTo>
                  <a:pt x="391" y="210"/>
                  <a:pt x="391" y="210"/>
                  <a:pt x="391" y="210"/>
                </a:cubicBezTo>
                <a:cubicBezTo>
                  <a:pt x="394" y="207"/>
                  <a:pt x="395" y="204"/>
                  <a:pt x="394" y="201"/>
                </a:cubicBezTo>
                <a:cubicBezTo>
                  <a:pt x="394" y="197"/>
                  <a:pt x="392" y="194"/>
                  <a:pt x="388" y="193"/>
                </a:cubicBezTo>
                <a:cubicBezTo>
                  <a:pt x="367" y="182"/>
                  <a:pt x="367" y="182"/>
                  <a:pt x="367" y="182"/>
                </a:cubicBezTo>
                <a:cubicBezTo>
                  <a:pt x="364" y="181"/>
                  <a:pt x="361" y="181"/>
                  <a:pt x="358" y="182"/>
                </a:cubicBezTo>
                <a:cubicBezTo>
                  <a:pt x="315" y="203"/>
                  <a:pt x="315" y="203"/>
                  <a:pt x="315" y="203"/>
                </a:cubicBezTo>
                <a:cubicBezTo>
                  <a:pt x="314" y="204"/>
                  <a:pt x="314" y="204"/>
                  <a:pt x="313" y="205"/>
                </a:cubicBezTo>
                <a:cubicBezTo>
                  <a:pt x="309" y="200"/>
                  <a:pt x="303" y="196"/>
                  <a:pt x="298" y="193"/>
                </a:cubicBezTo>
                <a:cubicBezTo>
                  <a:pt x="298" y="193"/>
                  <a:pt x="298" y="192"/>
                  <a:pt x="298" y="192"/>
                </a:cubicBezTo>
                <a:cubicBezTo>
                  <a:pt x="298" y="170"/>
                  <a:pt x="298" y="170"/>
                  <a:pt x="298" y="170"/>
                </a:cubicBezTo>
                <a:cubicBezTo>
                  <a:pt x="298" y="158"/>
                  <a:pt x="288" y="117"/>
                  <a:pt x="266" y="117"/>
                </a:cubicBezTo>
                <a:cubicBezTo>
                  <a:pt x="245" y="117"/>
                  <a:pt x="245" y="117"/>
                  <a:pt x="245" y="117"/>
                </a:cubicBezTo>
                <a:cubicBezTo>
                  <a:pt x="223" y="117"/>
                  <a:pt x="213" y="158"/>
                  <a:pt x="213" y="170"/>
                </a:cubicBezTo>
                <a:cubicBezTo>
                  <a:pt x="213" y="192"/>
                  <a:pt x="213" y="192"/>
                  <a:pt x="213" y="192"/>
                </a:cubicBezTo>
                <a:cubicBezTo>
                  <a:pt x="213" y="192"/>
                  <a:pt x="213" y="193"/>
                  <a:pt x="213" y="193"/>
                </a:cubicBezTo>
                <a:cubicBezTo>
                  <a:pt x="208" y="196"/>
                  <a:pt x="203" y="200"/>
                  <a:pt x="198" y="205"/>
                </a:cubicBezTo>
                <a:cubicBezTo>
                  <a:pt x="198" y="204"/>
                  <a:pt x="197" y="204"/>
                  <a:pt x="196" y="203"/>
                </a:cubicBezTo>
                <a:cubicBezTo>
                  <a:pt x="154" y="182"/>
                  <a:pt x="154" y="182"/>
                  <a:pt x="154" y="182"/>
                </a:cubicBezTo>
                <a:cubicBezTo>
                  <a:pt x="151" y="181"/>
                  <a:pt x="147" y="181"/>
                  <a:pt x="144" y="182"/>
                </a:cubicBezTo>
                <a:cubicBezTo>
                  <a:pt x="123" y="193"/>
                  <a:pt x="123" y="193"/>
                  <a:pt x="123" y="193"/>
                </a:cubicBezTo>
                <a:cubicBezTo>
                  <a:pt x="120" y="194"/>
                  <a:pt x="118" y="197"/>
                  <a:pt x="117" y="201"/>
                </a:cubicBezTo>
                <a:cubicBezTo>
                  <a:pt x="117" y="204"/>
                  <a:pt x="118" y="207"/>
                  <a:pt x="120" y="210"/>
                </a:cubicBezTo>
                <a:cubicBezTo>
                  <a:pt x="166" y="256"/>
                  <a:pt x="166" y="256"/>
                  <a:pt x="166" y="256"/>
                </a:cubicBezTo>
                <a:cubicBezTo>
                  <a:pt x="162" y="269"/>
                  <a:pt x="160" y="283"/>
                  <a:pt x="160" y="298"/>
                </a:cubicBezTo>
                <a:cubicBezTo>
                  <a:pt x="160" y="312"/>
                  <a:pt x="162" y="324"/>
                  <a:pt x="165" y="336"/>
                </a:cubicBezTo>
                <a:cubicBezTo>
                  <a:pt x="121" y="376"/>
                  <a:pt x="121" y="376"/>
                  <a:pt x="121" y="376"/>
                </a:cubicBezTo>
                <a:cubicBezTo>
                  <a:pt x="118" y="378"/>
                  <a:pt x="117" y="381"/>
                  <a:pt x="117" y="384"/>
                </a:cubicBezTo>
                <a:cubicBezTo>
                  <a:pt x="117" y="387"/>
                  <a:pt x="119" y="390"/>
                  <a:pt x="121" y="392"/>
                </a:cubicBezTo>
                <a:cubicBezTo>
                  <a:pt x="143" y="408"/>
                  <a:pt x="143" y="408"/>
                  <a:pt x="143" y="408"/>
                </a:cubicBezTo>
                <a:cubicBezTo>
                  <a:pt x="144" y="410"/>
                  <a:pt x="147" y="410"/>
                  <a:pt x="149" y="410"/>
                </a:cubicBezTo>
                <a:cubicBezTo>
                  <a:pt x="151" y="410"/>
                  <a:pt x="152" y="410"/>
                  <a:pt x="154" y="409"/>
                </a:cubicBezTo>
                <a:cubicBezTo>
                  <a:pt x="195" y="389"/>
                  <a:pt x="195" y="389"/>
                  <a:pt x="195" y="389"/>
                </a:cubicBezTo>
                <a:cubicBezTo>
                  <a:pt x="211" y="406"/>
                  <a:pt x="232" y="416"/>
                  <a:pt x="256" y="416"/>
                </a:cubicBezTo>
                <a:cubicBezTo>
                  <a:pt x="279" y="416"/>
                  <a:pt x="300" y="406"/>
                  <a:pt x="317" y="389"/>
                </a:cubicBezTo>
                <a:cubicBezTo>
                  <a:pt x="358" y="409"/>
                  <a:pt x="358" y="409"/>
                  <a:pt x="358" y="409"/>
                </a:cubicBezTo>
                <a:cubicBezTo>
                  <a:pt x="359" y="410"/>
                  <a:pt x="361" y="410"/>
                  <a:pt x="362" y="410"/>
                </a:cubicBezTo>
                <a:cubicBezTo>
                  <a:pt x="365" y="410"/>
                  <a:pt x="367" y="410"/>
                  <a:pt x="369" y="408"/>
                </a:cubicBezTo>
                <a:cubicBezTo>
                  <a:pt x="390" y="392"/>
                  <a:pt x="390" y="392"/>
                  <a:pt x="390" y="392"/>
                </a:cubicBezTo>
                <a:cubicBezTo>
                  <a:pt x="393" y="390"/>
                  <a:pt x="394" y="387"/>
                  <a:pt x="394" y="384"/>
                </a:cubicBezTo>
                <a:close/>
                <a:moveTo>
                  <a:pt x="290" y="267"/>
                </a:moveTo>
                <a:cubicBezTo>
                  <a:pt x="304" y="288"/>
                  <a:pt x="304" y="288"/>
                  <a:pt x="304" y="288"/>
                </a:cubicBezTo>
                <a:cubicBezTo>
                  <a:pt x="330" y="288"/>
                  <a:pt x="330" y="288"/>
                  <a:pt x="330" y="288"/>
                </a:cubicBezTo>
                <a:cubicBezTo>
                  <a:pt x="328" y="268"/>
                  <a:pt x="322" y="251"/>
                  <a:pt x="313" y="237"/>
                </a:cubicBezTo>
                <a:lnTo>
                  <a:pt x="290" y="267"/>
                </a:lnTo>
                <a:close/>
                <a:moveTo>
                  <a:pt x="207" y="309"/>
                </a:moveTo>
                <a:cubicBezTo>
                  <a:pt x="181" y="309"/>
                  <a:pt x="181" y="309"/>
                  <a:pt x="181" y="309"/>
                </a:cubicBezTo>
                <a:cubicBezTo>
                  <a:pt x="183" y="328"/>
                  <a:pt x="189" y="346"/>
                  <a:pt x="199" y="360"/>
                </a:cubicBezTo>
                <a:cubicBezTo>
                  <a:pt x="221" y="330"/>
                  <a:pt x="221" y="330"/>
                  <a:pt x="221" y="330"/>
                </a:cubicBezTo>
                <a:lnTo>
                  <a:pt x="207" y="309"/>
                </a:lnTo>
                <a:close/>
                <a:moveTo>
                  <a:pt x="240" y="341"/>
                </a:moveTo>
                <a:cubicBezTo>
                  <a:pt x="213" y="377"/>
                  <a:pt x="213" y="377"/>
                  <a:pt x="213" y="377"/>
                </a:cubicBezTo>
                <a:cubicBezTo>
                  <a:pt x="225" y="388"/>
                  <a:pt x="240" y="394"/>
                  <a:pt x="256" y="394"/>
                </a:cubicBezTo>
                <a:cubicBezTo>
                  <a:pt x="272" y="394"/>
                  <a:pt x="286" y="388"/>
                  <a:pt x="299" y="377"/>
                </a:cubicBezTo>
                <a:cubicBezTo>
                  <a:pt x="272" y="341"/>
                  <a:pt x="272" y="341"/>
                  <a:pt x="272" y="341"/>
                </a:cubicBezTo>
                <a:lnTo>
                  <a:pt x="240" y="341"/>
                </a:lnTo>
                <a:close/>
                <a:moveTo>
                  <a:pt x="290" y="330"/>
                </a:moveTo>
                <a:cubicBezTo>
                  <a:pt x="313" y="360"/>
                  <a:pt x="313" y="360"/>
                  <a:pt x="313" y="360"/>
                </a:cubicBezTo>
                <a:cubicBezTo>
                  <a:pt x="322" y="346"/>
                  <a:pt x="328" y="328"/>
                  <a:pt x="330" y="309"/>
                </a:cubicBezTo>
                <a:cubicBezTo>
                  <a:pt x="304" y="309"/>
                  <a:pt x="304" y="309"/>
                  <a:pt x="304" y="309"/>
                </a:cubicBezTo>
                <a:lnTo>
                  <a:pt x="290" y="33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65" name="Group 691">
            <a:extLst>
              <a:ext uri="{FF2B5EF4-FFF2-40B4-BE49-F238E27FC236}">
                <a16:creationId xmlns:a16="http://schemas.microsoft.com/office/drawing/2014/main" id="{81018C98-B8CD-47C6-BFF4-5742EC1EB01A}"/>
              </a:ext>
            </a:extLst>
          </p:cNvPr>
          <p:cNvGrpSpPr>
            <a:grpSpLocks noChangeAspect="1"/>
          </p:cNvGrpSpPr>
          <p:nvPr/>
        </p:nvGrpSpPr>
        <p:grpSpPr bwMode="auto">
          <a:xfrm>
            <a:off x="11343533" y="2509882"/>
            <a:ext cx="369676" cy="369676"/>
            <a:chOff x="387" y="2314"/>
            <a:chExt cx="340" cy="340"/>
          </a:xfrm>
          <a:solidFill>
            <a:schemeClr val="accent1"/>
          </a:solidFill>
        </p:grpSpPr>
        <p:sp>
          <p:nvSpPr>
            <p:cNvPr id="566" name="Freeform 274">
              <a:extLst>
                <a:ext uri="{FF2B5EF4-FFF2-40B4-BE49-F238E27FC236}">
                  <a16:creationId xmlns:a16="http://schemas.microsoft.com/office/drawing/2014/main" id="{08B75302-EC88-46E5-98A1-36E54BDB4511}"/>
                </a:ext>
              </a:extLst>
            </p:cNvPr>
            <p:cNvSpPr>
              <a:spLocks noEditPoints="1"/>
            </p:cNvSpPr>
            <p:nvPr/>
          </p:nvSpPr>
          <p:spPr bwMode="auto">
            <a:xfrm>
              <a:off x="387"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7" name="Freeform 275">
              <a:extLst>
                <a:ext uri="{FF2B5EF4-FFF2-40B4-BE49-F238E27FC236}">
                  <a16:creationId xmlns:a16="http://schemas.microsoft.com/office/drawing/2014/main" id="{D167534E-9858-43DE-8A5A-14B63D67BFFC}"/>
                </a:ext>
              </a:extLst>
            </p:cNvPr>
            <p:cNvSpPr>
              <a:spLocks noEditPoints="1"/>
            </p:cNvSpPr>
            <p:nvPr/>
          </p:nvSpPr>
          <p:spPr bwMode="auto">
            <a:xfrm>
              <a:off x="461" y="2378"/>
              <a:ext cx="188" cy="212"/>
            </a:xfrm>
            <a:custGeom>
              <a:avLst/>
              <a:gdLst>
                <a:gd name="T0" fmla="*/ 257 w 282"/>
                <a:gd name="T1" fmla="*/ 116 h 320"/>
                <a:gd name="T2" fmla="*/ 261 w 282"/>
                <a:gd name="T3" fmla="*/ 96 h 320"/>
                <a:gd name="T4" fmla="*/ 213 w 282"/>
                <a:gd name="T5" fmla="*/ 43 h 320"/>
                <a:gd name="T6" fmla="*/ 143 w 282"/>
                <a:gd name="T7" fmla="*/ 0 h 320"/>
                <a:gd name="T8" fmla="*/ 69 w 282"/>
                <a:gd name="T9" fmla="*/ 55 h 320"/>
                <a:gd name="T10" fmla="*/ 26 w 282"/>
                <a:gd name="T11" fmla="*/ 112 h 320"/>
                <a:gd name="T12" fmla="*/ 30 w 282"/>
                <a:gd name="T13" fmla="*/ 133 h 320"/>
                <a:gd name="T14" fmla="*/ 0 w 282"/>
                <a:gd name="T15" fmla="*/ 181 h 320"/>
                <a:gd name="T16" fmla="*/ 53 w 282"/>
                <a:gd name="T17" fmla="*/ 234 h 320"/>
                <a:gd name="T18" fmla="*/ 91 w 282"/>
                <a:gd name="T19" fmla="*/ 218 h 320"/>
                <a:gd name="T20" fmla="*/ 112 w 282"/>
                <a:gd name="T21" fmla="*/ 230 h 320"/>
                <a:gd name="T22" fmla="*/ 112 w 282"/>
                <a:gd name="T23" fmla="*/ 309 h 320"/>
                <a:gd name="T24" fmla="*/ 122 w 282"/>
                <a:gd name="T25" fmla="*/ 320 h 320"/>
                <a:gd name="T26" fmla="*/ 165 w 282"/>
                <a:gd name="T27" fmla="*/ 320 h 320"/>
                <a:gd name="T28" fmla="*/ 176 w 282"/>
                <a:gd name="T29" fmla="*/ 309 h 320"/>
                <a:gd name="T30" fmla="*/ 176 w 282"/>
                <a:gd name="T31" fmla="*/ 221 h 320"/>
                <a:gd name="T32" fmla="*/ 216 w 282"/>
                <a:gd name="T33" fmla="*/ 234 h 320"/>
                <a:gd name="T34" fmla="*/ 282 w 282"/>
                <a:gd name="T35" fmla="*/ 168 h 320"/>
                <a:gd name="T36" fmla="*/ 257 w 282"/>
                <a:gd name="T37" fmla="*/ 116 h 320"/>
                <a:gd name="T38" fmla="*/ 133 w 282"/>
                <a:gd name="T39" fmla="*/ 298 h 320"/>
                <a:gd name="T40" fmla="*/ 133 w 282"/>
                <a:gd name="T41" fmla="*/ 234 h 320"/>
                <a:gd name="T42" fmla="*/ 154 w 282"/>
                <a:gd name="T43" fmla="*/ 231 h 320"/>
                <a:gd name="T44" fmla="*/ 154 w 282"/>
                <a:gd name="T45" fmla="*/ 298 h 320"/>
                <a:gd name="T46" fmla="*/ 133 w 282"/>
                <a:gd name="T47" fmla="*/ 298 h 320"/>
                <a:gd name="T48" fmla="*/ 216 w 282"/>
                <a:gd name="T49" fmla="*/ 213 h 320"/>
                <a:gd name="T50" fmla="*/ 182 w 282"/>
                <a:gd name="T51" fmla="*/ 197 h 320"/>
                <a:gd name="T52" fmla="*/ 174 w 282"/>
                <a:gd name="T53" fmla="*/ 194 h 320"/>
                <a:gd name="T54" fmla="*/ 174 w 282"/>
                <a:gd name="T55" fmla="*/ 194 h 320"/>
                <a:gd name="T56" fmla="*/ 166 w 282"/>
                <a:gd name="T57" fmla="*/ 198 h 320"/>
                <a:gd name="T58" fmla="*/ 133 w 282"/>
                <a:gd name="T59" fmla="*/ 213 h 320"/>
                <a:gd name="T60" fmla="*/ 99 w 282"/>
                <a:gd name="T61" fmla="*/ 195 h 320"/>
                <a:gd name="T62" fmla="*/ 89 w 282"/>
                <a:gd name="T63" fmla="*/ 191 h 320"/>
                <a:gd name="T64" fmla="*/ 81 w 282"/>
                <a:gd name="T65" fmla="*/ 197 h 320"/>
                <a:gd name="T66" fmla="*/ 53 w 282"/>
                <a:gd name="T67" fmla="*/ 213 h 320"/>
                <a:gd name="T68" fmla="*/ 21 w 282"/>
                <a:gd name="T69" fmla="*/ 181 h 320"/>
                <a:gd name="T70" fmla="*/ 47 w 282"/>
                <a:gd name="T71" fmla="*/ 150 h 320"/>
                <a:gd name="T72" fmla="*/ 56 w 282"/>
                <a:gd name="T73" fmla="*/ 143 h 320"/>
                <a:gd name="T74" fmla="*/ 54 w 282"/>
                <a:gd name="T75" fmla="*/ 133 h 320"/>
                <a:gd name="T76" fmla="*/ 48 w 282"/>
                <a:gd name="T77" fmla="*/ 112 h 320"/>
                <a:gd name="T78" fmla="*/ 79 w 282"/>
                <a:gd name="T79" fmla="*/ 75 h 320"/>
                <a:gd name="T80" fmla="*/ 88 w 282"/>
                <a:gd name="T81" fmla="*/ 66 h 320"/>
                <a:gd name="T82" fmla="*/ 143 w 282"/>
                <a:gd name="T83" fmla="*/ 21 h 320"/>
                <a:gd name="T84" fmla="*/ 196 w 282"/>
                <a:gd name="T85" fmla="*/ 57 h 320"/>
                <a:gd name="T86" fmla="*/ 206 w 282"/>
                <a:gd name="T87" fmla="*/ 64 h 320"/>
                <a:gd name="T88" fmla="*/ 208 w 282"/>
                <a:gd name="T89" fmla="*/ 64 h 320"/>
                <a:gd name="T90" fmla="*/ 240 w 282"/>
                <a:gd name="T91" fmla="*/ 96 h 320"/>
                <a:gd name="T92" fmla="*/ 234 w 282"/>
                <a:gd name="T93" fmla="*/ 113 h 320"/>
                <a:gd name="T94" fmla="*/ 233 w 282"/>
                <a:gd name="T95" fmla="*/ 122 h 320"/>
                <a:gd name="T96" fmla="*/ 238 w 282"/>
                <a:gd name="T97" fmla="*/ 128 h 320"/>
                <a:gd name="T98" fmla="*/ 261 w 282"/>
                <a:gd name="T99" fmla="*/ 168 h 320"/>
                <a:gd name="T100" fmla="*/ 216 w 282"/>
                <a:gd name="T101"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320">
                  <a:moveTo>
                    <a:pt x="257" y="116"/>
                  </a:moveTo>
                  <a:cubicBezTo>
                    <a:pt x="260" y="109"/>
                    <a:pt x="261" y="103"/>
                    <a:pt x="261" y="96"/>
                  </a:cubicBezTo>
                  <a:cubicBezTo>
                    <a:pt x="261" y="68"/>
                    <a:pt x="240" y="45"/>
                    <a:pt x="213" y="43"/>
                  </a:cubicBezTo>
                  <a:cubicBezTo>
                    <a:pt x="200" y="17"/>
                    <a:pt x="173" y="0"/>
                    <a:pt x="143" y="0"/>
                  </a:cubicBezTo>
                  <a:cubicBezTo>
                    <a:pt x="109" y="0"/>
                    <a:pt x="79" y="23"/>
                    <a:pt x="69" y="55"/>
                  </a:cubicBezTo>
                  <a:cubicBezTo>
                    <a:pt x="44" y="62"/>
                    <a:pt x="26" y="85"/>
                    <a:pt x="26" y="112"/>
                  </a:cubicBezTo>
                  <a:cubicBezTo>
                    <a:pt x="26" y="119"/>
                    <a:pt x="28" y="126"/>
                    <a:pt x="30" y="133"/>
                  </a:cubicBezTo>
                  <a:cubicBezTo>
                    <a:pt x="12" y="141"/>
                    <a:pt x="0" y="160"/>
                    <a:pt x="0" y="181"/>
                  </a:cubicBezTo>
                  <a:cubicBezTo>
                    <a:pt x="0" y="210"/>
                    <a:pt x="24" y="234"/>
                    <a:pt x="53" y="234"/>
                  </a:cubicBezTo>
                  <a:cubicBezTo>
                    <a:pt x="67" y="234"/>
                    <a:pt x="81" y="228"/>
                    <a:pt x="91" y="218"/>
                  </a:cubicBezTo>
                  <a:cubicBezTo>
                    <a:pt x="97" y="224"/>
                    <a:pt x="104" y="228"/>
                    <a:pt x="112" y="230"/>
                  </a:cubicBezTo>
                  <a:cubicBezTo>
                    <a:pt x="112" y="309"/>
                    <a:pt x="112" y="309"/>
                    <a:pt x="112" y="309"/>
                  </a:cubicBezTo>
                  <a:cubicBezTo>
                    <a:pt x="112" y="315"/>
                    <a:pt x="116" y="320"/>
                    <a:pt x="122" y="320"/>
                  </a:cubicBezTo>
                  <a:cubicBezTo>
                    <a:pt x="165" y="320"/>
                    <a:pt x="165" y="320"/>
                    <a:pt x="165" y="320"/>
                  </a:cubicBezTo>
                  <a:cubicBezTo>
                    <a:pt x="171" y="320"/>
                    <a:pt x="176" y="315"/>
                    <a:pt x="176" y="309"/>
                  </a:cubicBezTo>
                  <a:cubicBezTo>
                    <a:pt x="176" y="221"/>
                    <a:pt x="176" y="221"/>
                    <a:pt x="176" y="221"/>
                  </a:cubicBezTo>
                  <a:cubicBezTo>
                    <a:pt x="187" y="229"/>
                    <a:pt x="201" y="234"/>
                    <a:pt x="216" y="234"/>
                  </a:cubicBezTo>
                  <a:cubicBezTo>
                    <a:pt x="252" y="234"/>
                    <a:pt x="282" y="204"/>
                    <a:pt x="282" y="168"/>
                  </a:cubicBezTo>
                  <a:cubicBezTo>
                    <a:pt x="282" y="147"/>
                    <a:pt x="273" y="128"/>
                    <a:pt x="257" y="116"/>
                  </a:cubicBezTo>
                  <a:close/>
                  <a:moveTo>
                    <a:pt x="133" y="298"/>
                  </a:moveTo>
                  <a:cubicBezTo>
                    <a:pt x="133" y="234"/>
                    <a:pt x="133" y="234"/>
                    <a:pt x="133" y="234"/>
                  </a:cubicBezTo>
                  <a:cubicBezTo>
                    <a:pt x="140" y="234"/>
                    <a:pt x="148" y="233"/>
                    <a:pt x="154" y="231"/>
                  </a:cubicBezTo>
                  <a:cubicBezTo>
                    <a:pt x="154" y="298"/>
                    <a:pt x="154" y="298"/>
                    <a:pt x="154" y="298"/>
                  </a:cubicBezTo>
                  <a:lnTo>
                    <a:pt x="133" y="298"/>
                  </a:lnTo>
                  <a:close/>
                  <a:moveTo>
                    <a:pt x="216" y="213"/>
                  </a:moveTo>
                  <a:cubicBezTo>
                    <a:pt x="203" y="213"/>
                    <a:pt x="191" y="207"/>
                    <a:pt x="182" y="197"/>
                  </a:cubicBezTo>
                  <a:cubicBezTo>
                    <a:pt x="180" y="195"/>
                    <a:pt x="177" y="194"/>
                    <a:pt x="174" y="194"/>
                  </a:cubicBezTo>
                  <a:cubicBezTo>
                    <a:pt x="174" y="194"/>
                    <a:pt x="174" y="194"/>
                    <a:pt x="174" y="194"/>
                  </a:cubicBezTo>
                  <a:cubicBezTo>
                    <a:pt x="170" y="194"/>
                    <a:pt x="168" y="195"/>
                    <a:pt x="166" y="198"/>
                  </a:cubicBezTo>
                  <a:cubicBezTo>
                    <a:pt x="157" y="207"/>
                    <a:pt x="145" y="213"/>
                    <a:pt x="133" y="213"/>
                  </a:cubicBezTo>
                  <a:cubicBezTo>
                    <a:pt x="119" y="213"/>
                    <a:pt x="107" y="207"/>
                    <a:pt x="99" y="195"/>
                  </a:cubicBezTo>
                  <a:cubicBezTo>
                    <a:pt x="97" y="193"/>
                    <a:pt x="93" y="191"/>
                    <a:pt x="89" y="191"/>
                  </a:cubicBezTo>
                  <a:cubicBezTo>
                    <a:pt x="86" y="191"/>
                    <a:pt x="83" y="193"/>
                    <a:pt x="81" y="197"/>
                  </a:cubicBezTo>
                  <a:cubicBezTo>
                    <a:pt x="75" y="207"/>
                    <a:pt x="64" y="213"/>
                    <a:pt x="53" y="213"/>
                  </a:cubicBezTo>
                  <a:cubicBezTo>
                    <a:pt x="35" y="213"/>
                    <a:pt x="21" y="199"/>
                    <a:pt x="21" y="181"/>
                  </a:cubicBezTo>
                  <a:cubicBezTo>
                    <a:pt x="21" y="165"/>
                    <a:pt x="32" y="152"/>
                    <a:pt x="47" y="150"/>
                  </a:cubicBezTo>
                  <a:cubicBezTo>
                    <a:pt x="51" y="149"/>
                    <a:pt x="54" y="147"/>
                    <a:pt x="56" y="143"/>
                  </a:cubicBezTo>
                  <a:cubicBezTo>
                    <a:pt x="57" y="140"/>
                    <a:pt x="56" y="136"/>
                    <a:pt x="54" y="133"/>
                  </a:cubicBezTo>
                  <a:cubicBezTo>
                    <a:pt x="50" y="127"/>
                    <a:pt x="48" y="119"/>
                    <a:pt x="48" y="112"/>
                  </a:cubicBezTo>
                  <a:cubicBezTo>
                    <a:pt x="48" y="93"/>
                    <a:pt x="61" y="78"/>
                    <a:pt x="79" y="75"/>
                  </a:cubicBezTo>
                  <a:cubicBezTo>
                    <a:pt x="84" y="74"/>
                    <a:pt x="88" y="71"/>
                    <a:pt x="88" y="66"/>
                  </a:cubicBezTo>
                  <a:cubicBezTo>
                    <a:pt x="93" y="40"/>
                    <a:pt x="117" y="21"/>
                    <a:pt x="143" y="21"/>
                  </a:cubicBezTo>
                  <a:cubicBezTo>
                    <a:pt x="166" y="21"/>
                    <a:pt x="187" y="35"/>
                    <a:pt x="196" y="57"/>
                  </a:cubicBezTo>
                  <a:cubicBezTo>
                    <a:pt x="197" y="61"/>
                    <a:pt x="201" y="64"/>
                    <a:pt x="206" y="64"/>
                  </a:cubicBezTo>
                  <a:cubicBezTo>
                    <a:pt x="206" y="64"/>
                    <a:pt x="207" y="64"/>
                    <a:pt x="208" y="64"/>
                  </a:cubicBezTo>
                  <a:cubicBezTo>
                    <a:pt x="225" y="64"/>
                    <a:pt x="240" y="78"/>
                    <a:pt x="240" y="96"/>
                  </a:cubicBezTo>
                  <a:cubicBezTo>
                    <a:pt x="240" y="102"/>
                    <a:pt x="238" y="108"/>
                    <a:pt x="234" y="113"/>
                  </a:cubicBezTo>
                  <a:cubicBezTo>
                    <a:pt x="233" y="116"/>
                    <a:pt x="232" y="119"/>
                    <a:pt x="233" y="122"/>
                  </a:cubicBezTo>
                  <a:cubicBezTo>
                    <a:pt x="234" y="125"/>
                    <a:pt x="235" y="127"/>
                    <a:pt x="238" y="128"/>
                  </a:cubicBezTo>
                  <a:cubicBezTo>
                    <a:pt x="252" y="137"/>
                    <a:pt x="261" y="152"/>
                    <a:pt x="261" y="168"/>
                  </a:cubicBezTo>
                  <a:cubicBezTo>
                    <a:pt x="261" y="193"/>
                    <a:pt x="241" y="213"/>
                    <a:pt x="216"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8" name="Freeform 697">
            <a:extLst>
              <a:ext uri="{FF2B5EF4-FFF2-40B4-BE49-F238E27FC236}">
                <a16:creationId xmlns:a16="http://schemas.microsoft.com/office/drawing/2014/main" id="{E4C04C54-2260-45A1-81D5-ED41E6824ADE}"/>
              </a:ext>
            </a:extLst>
          </p:cNvPr>
          <p:cNvSpPr>
            <a:spLocks noChangeAspect="1" noEditPoints="1"/>
          </p:cNvSpPr>
          <p:nvPr/>
        </p:nvSpPr>
        <p:spPr bwMode="auto">
          <a:xfrm>
            <a:off x="10910432" y="2509882"/>
            <a:ext cx="369676" cy="369676"/>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69" name="Freeform 231">
            <a:extLst>
              <a:ext uri="{FF2B5EF4-FFF2-40B4-BE49-F238E27FC236}">
                <a16:creationId xmlns:a16="http://schemas.microsoft.com/office/drawing/2014/main" id="{AD5A749A-E80B-4727-9B16-DD7C188564A8}"/>
              </a:ext>
            </a:extLst>
          </p:cNvPr>
          <p:cNvSpPr>
            <a:spLocks noChangeAspect="1" noEditPoints="1"/>
          </p:cNvSpPr>
          <p:nvPr/>
        </p:nvSpPr>
        <p:spPr bwMode="auto">
          <a:xfrm>
            <a:off x="8304716" y="1700213"/>
            <a:ext cx="369021" cy="369021"/>
          </a:xfrm>
          <a:custGeom>
            <a:avLst/>
            <a:gdLst>
              <a:gd name="T0" fmla="*/ 307 w 512"/>
              <a:gd name="T1" fmla="*/ 373 h 512"/>
              <a:gd name="T2" fmla="*/ 256 w 512"/>
              <a:gd name="T3" fmla="*/ 336 h 512"/>
              <a:gd name="T4" fmla="*/ 204 w 512"/>
              <a:gd name="T5" fmla="*/ 373 h 512"/>
              <a:gd name="T6" fmla="*/ 256 w 512"/>
              <a:gd name="T7" fmla="*/ 266 h 512"/>
              <a:gd name="T8" fmla="*/ 211 w 512"/>
              <a:gd name="T9" fmla="*/ 202 h 512"/>
              <a:gd name="T10" fmla="*/ 218 w 512"/>
              <a:gd name="T11" fmla="*/ 202 h 512"/>
              <a:gd name="T12" fmla="*/ 207 w 512"/>
              <a:gd name="T13" fmla="*/ 148 h 512"/>
              <a:gd name="T14" fmla="*/ 195 w 512"/>
              <a:gd name="T15" fmla="*/ 154 h 512"/>
              <a:gd name="T16" fmla="*/ 211 w 512"/>
              <a:gd name="T17" fmla="*/ 202 h 512"/>
              <a:gd name="T18" fmla="*/ 292 w 512"/>
              <a:gd name="T19" fmla="*/ 202 h 512"/>
              <a:gd name="T20" fmla="*/ 317 w 512"/>
              <a:gd name="T21" fmla="*/ 177 h 512"/>
              <a:gd name="T22" fmla="*/ 306 w 512"/>
              <a:gd name="T23" fmla="*/ 149 h 512"/>
              <a:gd name="T24" fmla="*/ 288 w 512"/>
              <a:gd name="T25" fmla="*/ 173 h 512"/>
              <a:gd name="T26" fmla="*/ 151 w 512"/>
              <a:gd name="T27" fmla="*/ 229 h 512"/>
              <a:gd name="T28" fmla="*/ 131 w 512"/>
              <a:gd name="T29" fmla="*/ 223 h 512"/>
              <a:gd name="T30" fmla="*/ 138 w 512"/>
              <a:gd name="T31" fmla="*/ 242 h 512"/>
              <a:gd name="T32" fmla="*/ 162 w 512"/>
              <a:gd name="T33" fmla="*/ 247 h 512"/>
              <a:gd name="T34" fmla="*/ 358 w 512"/>
              <a:gd name="T35" fmla="*/ 229 h 512"/>
              <a:gd name="T36" fmla="*/ 350 w 512"/>
              <a:gd name="T37" fmla="*/ 248 h 512"/>
              <a:gd name="T38" fmla="*/ 380 w 512"/>
              <a:gd name="T39" fmla="*/ 229 h 512"/>
              <a:gd name="T40" fmla="*/ 358 w 512"/>
              <a:gd name="T41" fmla="*/ 229 h 512"/>
              <a:gd name="T42" fmla="*/ 256 w 512"/>
              <a:gd name="T43" fmla="*/ 512 h 512"/>
              <a:gd name="T44" fmla="*/ 256 w 512"/>
              <a:gd name="T45" fmla="*/ 0 h 512"/>
              <a:gd name="T46" fmla="*/ 284 w 512"/>
              <a:gd name="T47" fmla="*/ 222 h 512"/>
              <a:gd name="T48" fmla="*/ 309 w 512"/>
              <a:gd name="T49" fmla="*/ 221 h 512"/>
              <a:gd name="T50" fmla="*/ 334 w 512"/>
              <a:gd name="T51" fmla="*/ 143 h 512"/>
              <a:gd name="T52" fmla="*/ 267 w 512"/>
              <a:gd name="T53" fmla="*/ 167 h 512"/>
              <a:gd name="T54" fmla="*/ 173 w 512"/>
              <a:gd name="T55" fmla="*/ 182 h 512"/>
              <a:gd name="T56" fmla="*/ 216 w 512"/>
              <a:gd name="T57" fmla="*/ 224 h 512"/>
              <a:gd name="T58" fmla="*/ 243 w 512"/>
              <a:gd name="T59" fmla="*/ 167 h 512"/>
              <a:gd name="T60" fmla="*/ 177 w 512"/>
              <a:gd name="T61" fmla="*/ 143 h 512"/>
              <a:gd name="T62" fmla="*/ 156 w 512"/>
              <a:gd name="T63" fmla="*/ 270 h 512"/>
              <a:gd name="T64" fmla="*/ 181 w 512"/>
              <a:gd name="T65" fmla="*/ 257 h 512"/>
              <a:gd name="T66" fmla="*/ 164 w 512"/>
              <a:gd name="T67" fmla="*/ 212 h 512"/>
              <a:gd name="T68" fmla="*/ 108 w 512"/>
              <a:gd name="T69" fmla="*/ 231 h 512"/>
              <a:gd name="T70" fmla="*/ 156 w 512"/>
              <a:gd name="T71" fmla="*/ 270 h 512"/>
              <a:gd name="T72" fmla="*/ 256 w 512"/>
              <a:gd name="T73" fmla="*/ 245 h 512"/>
              <a:gd name="T74" fmla="*/ 201 w 512"/>
              <a:gd name="T75" fmla="*/ 394 h 512"/>
              <a:gd name="T76" fmla="*/ 245 w 512"/>
              <a:gd name="T77" fmla="*/ 369 h 512"/>
              <a:gd name="T78" fmla="*/ 266 w 512"/>
              <a:gd name="T79" fmla="*/ 369 h 512"/>
              <a:gd name="T80" fmla="*/ 348 w 512"/>
              <a:gd name="T81" fmla="*/ 333 h 512"/>
              <a:gd name="T82" fmla="*/ 395 w 512"/>
              <a:gd name="T83" fmla="*/ 209 h 512"/>
              <a:gd name="T84" fmla="*/ 329 w 512"/>
              <a:gd name="T85" fmla="*/ 257 h 512"/>
              <a:gd name="T86" fmla="*/ 346 w 512"/>
              <a:gd name="T87" fmla="*/ 269 h 512"/>
              <a:gd name="T88" fmla="*/ 385 w 512"/>
              <a:gd name="T89" fmla="*/ 2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27" y="333"/>
                </a:moveTo>
                <a:cubicBezTo>
                  <a:pt x="327" y="370"/>
                  <a:pt x="312" y="372"/>
                  <a:pt x="307" y="373"/>
                </a:cubicBezTo>
                <a:cubicBezTo>
                  <a:pt x="297" y="375"/>
                  <a:pt x="292" y="370"/>
                  <a:pt x="284" y="357"/>
                </a:cubicBezTo>
                <a:cubicBezTo>
                  <a:pt x="278" y="348"/>
                  <a:pt x="270" y="336"/>
                  <a:pt x="256" y="336"/>
                </a:cubicBezTo>
                <a:cubicBezTo>
                  <a:pt x="241" y="336"/>
                  <a:pt x="234" y="348"/>
                  <a:pt x="227" y="357"/>
                </a:cubicBezTo>
                <a:cubicBezTo>
                  <a:pt x="219" y="370"/>
                  <a:pt x="214" y="375"/>
                  <a:pt x="204" y="373"/>
                </a:cubicBezTo>
                <a:cubicBezTo>
                  <a:pt x="199" y="372"/>
                  <a:pt x="184" y="370"/>
                  <a:pt x="184" y="333"/>
                </a:cubicBezTo>
                <a:cubicBezTo>
                  <a:pt x="184" y="314"/>
                  <a:pt x="213" y="266"/>
                  <a:pt x="256" y="266"/>
                </a:cubicBezTo>
                <a:cubicBezTo>
                  <a:pt x="299" y="266"/>
                  <a:pt x="327" y="314"/>
                  <a:pt x="327" y="333"/>
                </a:cubicBezTo>
                <a:close/>
                <a:moveTo>
                  <a:pt x="211" y="202"/>
                </a:moveTo>
                <a:cubicBezTo>
                  <a:pt x="215" y="204"/>
                  <a:pt x="217" y="203"/>
                  <a:pt x="218" y="202"/>
                </a:cubicBezTo>
                <a:cubicBezTo>
                  <a:pt x="218" y="202"/>
                  <a:pt x="218" y="202"/>
                  <a:pt x="218" y="202"/>
                </a:cubicBezTo>
                <a:cubicBezTo>
                  <a:pt x="228" y="198"/>
                  <a:pt x="225" y="180"/>
                  <a:pt x="223" y="173"/>
                </a:cubicBezTo>
                <a:cubicBezTo>
                  <a:pt x="217" y="152"/>
                  <a:pt x="212" y="148"/>
                  <a:pt x="207" y="148"/>
                </a:cubicBezTo>
                <a:cubicBezTo>
                  <a:pt x="206" y="148"/>
                  <a:pt x="205" y="148"/>
                  <a:pt x="204" y="149"/>
                </a:cubicBezTo>
                <a:cubicBezTo>
                  <a:pt x="200" y="150"/>
                  <a:pt x="197" y="151"/>
                  <a:pt x="195" y="154"/>
                </a:cubicBezTo>
                <a:cubicBezTo>
                  <a:pt x="192" y="159"/>
                  <a:pt x="191" y="167"/>
                  <a:pt x="194" y="177"/>
                </a:cubicBezTo>
                <a:cubicBezTo>
                  <a:pt x="196" y="187"/>
                  <a:pt x="204" y="198"/>
                  <a:pt x="211" y="202"/>
                </a:cubicBezTo>
                <a:close/>
                <a:moveTo>
                  <a:pt x="292" y="202"/>
                </a:moveTo>
                <a:cubicBezTo>
                  <a:pt x="292" y="202"/>
                  <a:pt x="292" y="202"/>
                  <a:pt x="292" y="202"/>
                </a:cubicBezTo>
                <a:cubicBezTo>
                  <a:pt x="293" y="203"/>
                  <a:pt x="295" y="204"/>
                  <a:pt x="299" y="202"/>
                </a:cubicBezTo>
                <a:cubicBezTo>
                  <a:pt x="307" y="198"/>
                  <a:pt x="315" y="187"/>
                  <a:pt x="317" y="177"/>
                </a:cubicBezTo>
                <a:cubicBezTo>
                  <a:pt x="319" y="167"/>
                  <a:pt x="319" y="159"/>
                  <a:pt x="316" y="154"/>
                </a:cubicBezTo>
                <a:cubicBezTo>
                  <a:pt x="314" y="151"/>
                  <a:pt x="311" y="150"/>
                  <a:pt x="306" y="149"/>
                </a:cubicBezTo>
                <a:cubicBezTo>
                  <a:pt x="306" y="148"/>
                  <a:pt x="305" y="148"/>
                  <a:pt x="304" y="148"/>
                </a:cubicBezTo>
                <a:cubicBezTo>
                  <a:pt x="299" y="148"/>
                  <a:pt x="294" y="152"/>
                  <a:pt x="288" y="173"/>
                </a:cubicBezTo>
                <a:cubicBezTo>
                  <a:pt x="286" y="180"/>
                  <a:pt x="282" y="198"/>
                  <a:pt x="292" y="202"/>
                </a:cubicBezTo>
                <a:close/>
                <a:moveTo>
                  <a:pt x="151" y="229"/>
                </a:moveTo>
                <a:cubicBezTo>
                  <a:pt x="142" y="223"/>
                  <a:pt x="138" y="221"/>
                  <a:pt x="135" y="221"/>
                </a:cubicBezTo>
                <a:cubicBezTo>
                  <a:pt x="133" y="221"/>
                  <a:pt x="132" y="222"/>
                  <a:pt x="131" y="223"/>
                </a:cubicBezTo>
                <a:cubicBezTo>
                  <a:pt x="129" y="226"/>
                  <a:pt x="129" y="228"/>
                  <a:pt x="129" y="229"/>
                </a:cubicBezTo>
                <a:cubicBezTo>
                  <a:pt x="129" y="233"/>
                  <a:pt x="133" y="238"/>
                  <a:pt x="138" y="242"/>
                </a:cubicBezTo>
                <a:cubicBezTo>
                  <a:pt x="144" y="247"/>
                  <a:pt x="153" y="249"/>
                  <a:pt x="159" y="248"/>
                </a:cubicBezTo>
                <a:cubicBezTo>
                  <a:pt x="160" y="248"/>
                  <a:pt x="161" y="247"/>
                  <a:pt x="162" y="247"/>
                </a:cubicBezTo>
                <a:cubicBezTo>
                  <a:pt x="165" y="240"/>
                  <a:pt x="154" y="232"/>
                  <a:pt x="151" y="229"/>
                </a:cubicBezTo>
                <a:close/>
                <a:moveTo>
                  <a:pt x="358" y="229"/>
                </a:moveTo>
                <a:cubicBezTo>
                  <a:pt x="355" y="232"/>
                  <a:pt x="344" y="240"/>
                  <a:pt x="347" y="247"/>
                </a:cubicBezTo>
                <a:cubicBezTo>
                  <a:pt x="348" y="247"/>
                  <a:pt x="349" y="248"/>
                  <a:pt x="350" y="248"/>
                </a:cubicBezTo>
                <a:cubicBezTo>
                  <a:pt x="356" y="249"/>
                  <a:pt x="366" y="247"/>
                  <a:pt x="371" y="242"/>
                </a:cubicBezTo>
                <a:cubicBezTo>
                  <a:pt x="377" y="238"/>
                  <a:pt x="380" y="233"/>
                  <a:pt x="380" y="229"/>
                </a:cubicBezTo>
                <a:cubicBezTo>
                  <a:pt x="381" y="228"/>
                  <a:pt x="380" y="226"/>
                  <a:pt x="378" y="223"/>
                </a:cubicBezTo>
                <a:cubicBezTo>
                  <a:pt x="377" y="221"/>
                  <a:pt x="374" y="218"/>
                  <a:pt x="358" y="22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222"/>
                </a:moveTo>
                <a:cubicBezTo>
                  <a:pt x="287" y="223"/>
                  <a:pt x="291" y="224"/>
                  <a:pt x="295" y="224"/>
                </a:cubicBezTo>
                <a:cubicBezTo>
                  <a:pt x="299" y="224"/>
                  <a:pt x="304" y="223"/>
                  <a:pt x="309" y="221"/>
                </a:cubicBezTo>
                <a:cubicBezTo>
                  <a:pt x="322" y="214"/>
                  <a:pt x="334" y="198"/>
                  <a:pt x="338" y="182"/>
                </a:cubicBezTo>
                <a:cubicBezTo>
                  <a:pt x="341" y="166"/>
                  <a:pt x="340" y="153"/>
                  <a:pt x="334" y="143"/>
                </a:cubicBezTo>
                <a:cubicBezTo>
                  <a:pt x="329" y="135"/>
                  <a:pt x="321" y="130"/>
                  <a:pt x="311" y="128"/>
                </a:cubicBezTo>
                <a:cubicBezTo>
                  <a:pt x="280" y="121"/>
                  <a:pt x="270" y="156"/>
                  <a:pt x="267" y="167"/>
                </a:cubicBezTo>
                <a:cubicBezTo>
                  <a:pt x="260" y="194"/>
                  <a:pt x="266" y="214"/>
                  <a:pt x="284" y="222"/>
                </a:cubicBezTo>
                <a:close/>
                <a:moveTo>
                  <a:pt x="173" y="182"/>
                </a:moveTo>
                <a:cubicBezTo>
                  <a:pt x="177" y="198"/>
                  <a:pt x="188" y="214"/>
                  <a:pt x="202" y="221"/>
                </a:cubicBezTo>
                <a:cubicBezTo>
                  <a:pt x="207" y="223"/>
                  <a:pt x="211" y="224"/>
                  <a:pt x="216" y="224"/>
                </a:cubicBezTo>
                <a:cubicBezTo>
                  <a:pt x="220" y="224"/>
                  <a:pt x="223" y="223"/>
                  <a:pt x="227" y="222"/>
                </a:cubicBezTo>
                <a:cubicBezTo>
                  <a:pt x="245" y="214"/>
                  <a:pt x="251" y="194"/>
                  <a:pt x="243" y="167"/>
                </a:cubicBezTo>
                <a:cubicBezTo>
                  <a:pt x="240" y="156"/>
                  <a:pt x="231" y="121"/>
                  <a:pt x="200" y="128"/>
                </a:cubicBezTo>
                <a:cubicBezTo>
                  <a:pt x="190" y="130"/>
                  <a:pt x="182" y="135"/>
                  <a:pt x="177" y="143"/>
                </a:cubicBezTo>
                <a:cubicBezTo>
                  <a:pt x="171" y="153"/>
                  <a:pt x="169" y="166"/>
                  <a:pt x="173" y="182"/>
                </a:cubicBezTo>
                <a:close/>
                <a:moveTo>
                  <a:pt x="156" y="270"/>
                </a:moveTo>
                <a:cubicBezTo>
                  <a:pt x="158" y="270"/>
                  <a:pt x="161" y="270"/>
                  <a:pt x="163" y="269"/>
                </a:cubicBezTo>
                <a:cubicBezTo>
                  <a:pt x="171" y="267"/>
                  <a:pt x="177" y="263"/>
                  <a:pt x="181" y="257"/>
                </a:cubicBezTo>
                <a:cubicBezTo>
                  <a:pt x="181" y="257"/>
                  <a:pt x="181" y="257"/>
                  <a:pt x="181" y="257"/>
                </a:cubicBezTo>
                <a:cubicBezTo>
                  <a:pt x="188" y="242"/>
                  <a:pt x="182" y="226"/>
                  <a:pt x="164" y="212"/>
                </a:cubicBezTo>
                <a:cubicBezTo>
                  <a:pt x="143" y="196"/>
                  <a:pt x="126" y="196"/>
                  <a:pt x="115" y="209"/>
                </a:cubicBezTo>
                <a:cubicBezTo>
                  <a:pt x="109" y="216"/>
                  <a:pt x="107" y="223"/>
                  <a:pt x="108" y="231"/>
                </a:cubicBezTo>
                <a:cubicBezTo>
                  <a:pt x="109" y="241"/>
                  <a:pt x="114" y="251"/>
                  <a:pt x="125" y="259"/>
                </a:cubicBezTo>
                <a:cubicBezTo>
                  <a:pt x="133" y="266"/>
                  <a:pt x="145" y="270"/>
                  <a:pt x="156" y="270"/>
                </a:cubicBezTo>
                <a:close/>
                <a:moveTo>
                  <a:pt x="348" y="333"/>
                </a:moveTo>
                <a:cubicBezTo>
                  <a:pt x="348" y="302"/>
                  <a:pt x="310" y="245"/>
                  <a:pt x="256" y="245"/>
                </a:cubicBezTo>
                <a:cubicBezTo>
                  <a:pt x="201" y="245"/>
                  <a:pt x="163" y="302"/>
                  <a:pt x="163" y="333"/>
                </a:cubicBezTo>
                <a:cubicBezTo>
                  <a:pt x="163" y="378"/>
                  <a:pt x="183" y="391"/>
                  <a:pt x="201" y="394"/>
                </a:cubicBezTo>
                <a:cubicBezTo>
                  <a:pt x="203" y="394"/>
                  <a:pt x="205" y="395"/>
                  <a:pt x="208" y="395"/>
                </a:cubicBezTo>
                <a:cubicBezTo>
                  <a:pt x="228" y="395"/>
                  <a:pt x="238" y="379"/>
                  <a:pt x="245" y="369"/>
                </a:cubicBezTo>
                <a:cubicBezTo>
                  <a:pt x="249" y="363"/>
                  <a:pt x="253" y="358"/>
                  <a:pt x="256" y="358"/>
                </a:cubicBezTo>
                <a:cubicBezTo>
                  <a:pt x="259" y="358"/>
                  <a:pt x="262" y="363"/>
                  <a:pt x="266" y="369"/>
                </a:cubicBezTo>
                <a:cubicBezTo>
                  <a:pt x="274" y="381"/>
                  <a:pt x="286" y="398"/>
                  <a:pt x="311" y="394"/>
                </a:cubicBezTo>
                <a:cubicBezTo>
                  <a:pt x="328" y="391"/>
                  <a:pt x="348" y="378"/>
                  <a:pt x="348" y="333"/>
                </a:cubicBezTo>
                <a:close/>
                <a:moveTo>
                  <a:pt x="402" y="231"/>
                </a:moveTo>
                <a:cubicBezTo>
                  <a:pt x="402" y="223"/>
                  <a:pt x="400" y="216"/>
                  <a:pt x="395" y="209"/>
                </a:cubicBezTo>
                <a:cubicBezTo>
                  <a:pt x="383" y="196"/>
                  <a:pt x="367" y="196"/>
                  <a:pt x="346" y="212"/>
                </a:cubicBezTo>
                <a:cubicBezTo>
                  <a:pt x="327" y="226"/>
                  <a:pt x="321" y="242"/>
                  <a:pt x="329" y="257"/>
                </a:cubicBezTo>
                <a:cubicBezTo>
                  <a:pt x="329" y="257"/>
                  <a:pt x="329" y="257"/>
                  <a:pt x="329" y="257"/>
                </a:cubicBezTo>
                <a:cubicBezTo>
                  <a:pt x="332" y="263"/>
                  <a:pt x="338" y="267"/>
                  <a:pt x="346" y="269"/>
                </a:cubicBezTo>
                <a:cubicBezTo>
                  <a:pt x="348" y="270"/>
                  <a:pt x="351" y="270"/>
                  <a:pt x="353" y="270"/>
                </a:cubicBezTo>
                <a:cubicBezTo>
                  <a:pt x="364" y="270"/>
                  <a:pt x="376" y="266"/>
                  <a:pt x="385" y="259"/>
                </a:cubicBezTo>
                <a:cubicBezTo>
                  <a:pt x="395" y="251"/>
                  <a:pt x="401" y="241"/>
                  <a:pt x="402" y="23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0" name="Group 234">
            <a:extLst>
              <a:ext uri="{FF2B5EF4-FFF2-40B4-BE49-F238E27FC236}">
                <a16:creationId xmlns:a16="http://schemas.microsoft.com/office/drawing/2014/main" id="{AFC9184C-841B-4090-A354-7D955E294218}"/>
              </a:ext>
            </a:extLst>
          </p:cNvPr>
          <p:cNvGrpSpPr>
            <a:grpSpLocks noChangeAspect="1"/>
          </p:cNvGrpSpPr>
          <p:nvPr/>
        </p:nvGrpSpPr>
        <p:grpSpPr bwMode="auto">
          <a:xfrm>
            <a:off x="8739763" y="1700213"/>
            <a:ext cx="369021" cy="369021"/>
            <a:chOff x="2695" y="782"/>
            <a:chExt cx="340" cy="340"/>
          </a:xfrm>
          <a:solidFill>
            <a:schemeClr val="accent3"/>
          </a:solidFill>
        </p:grpSpPr>
        <p:sp>
          <p:nvSpPr>
            <p:cNvPr id="571" name="Freeform 235">
              <a:extLst>
                <a:ext uri="{FF2B5EF4-FFF2-40B4-BE49-F238E27FC236}">
                  <a16:creationId xmlns:a16="http://schemas.microsoft.com/office/drawing/2014/main" id="{E1217C5F-B7E0-4D79-BFFA-F555811D5D6A}"/>
                </a:ext>
              </a:extLst>
            </p:cNvPr>
            <p:cNvSpPr>
              <a:spLocks noEditPoints="1"/>
            </p:cNvSpPr>
            <p:nvPr/>
          </p:nvSpPr>
          <p:spPr bwMode="auto">
            <a:xfrm>
              <a:off x="2695" y="78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2" name="Freeform 236">
              <a:extLst>
                <a:ext uri="{FF2B5EF4-FFF2-40B4-BE49-F238E27FC236}">
                  <a16:creationId xmlns:a16="http://schemas.microsoft.com/office/drawing/2014/main" id="{7CD62443-852D-477D-88D6-ED20429C6100}"/>
                </a:ext>
              </a:extLst>
            </p:cNvPr>
            <p:cNvSpPr>
              <a:spLocks noEditPoints="1"/>
            </p:cNvSpPr>
            <p:nvPr/>
          </p:nvSpPr>
          <p:spPr bwMode="auto">
            <a:xfrm>
              <a:off x="2766" y="862"/>
              <a:ext cx="196" cy="184"/>
            </a:xfrm>
            <a:custGeom>
              <a:avLst/>
              <a:gdLst>
                <a:gd name="T0" fmla="*/ 95 w 295"/>
                <a:gd name="T1" fmla="*/ 100 h 277"/>
                <a:gd name="T2" fmla="*/ 70 w 295"/>
                <a:gd name="T3" fmla="*/ 22 h 277"/>
                <a:gd name="T4" fmla="*/ 136 w 295"/>
                <a:gd name="T5" fmla="*/ 46 h 277"/>
                <a:gd name="T6" fmla="*/ 109 w 295"/>
                <a:gd name="T7" fmla="*/ 103 h 277"/>
                <a:gd name="T8" fmla="*/ 97 w 295"/>
                <a:gd name="T9" fmla="*/ 28 h 277"/>
                <a:gd name="T10" fmla="*/ 87 w 295"/>
                <a:gd name="T11" fmla="*/ 56 h 277"/>
                <a:gd name="T12" fmla="*/ 111 w 295"/>
                <a:gd name="T13" fmla="*/ 81 h 277"/>
                <a:gd name="T14" fmla="*/ 116 w 295"/>
                <a:gd name="T15" fmla="*/ 52 h 277"/>
                <a:gd name="T16" fmla="*/ 101 w 295"/>
                <a:gd name="T17" fmla="*/ 274 h 277"/>
                <a:gd name="T18" fmla="*/ 56 w 295"/>
                <a:gd name="T19" fmla="*/ 212 h 277"/>
                <a:gd name="T20" fmla="*/ 241 w 295"/>
                <a:gd name="T21" fmla="*/ 212 h 277"/>
                <a:gd name="T22" fmla="*/ 159 w 295"/>
                <a:gd name="T23" fmla="*/ 248 h 277"/>
                <a:gd name="T24" fmla="*/ 138 w 295"/>
                <a:gd name="T25" fmla="*/ 248 h 277"/>
                <a:gd name="T26" fmla="*/ 149 w 295"/>
                <a:gd name="T27" fmla="*/ 145 h 277"/>
                <a:gd name="T28" fmla="*/ 97 w 295"/>
                <a:gd name="T29" fmla="*/ 252 h 277"/>
                <a:gd name="T30" fmla="*/ 149 w 295"/>
                <a:gd name="T31" fmla="*/ 215 h 277"/>
                <a:gd name="T32" fmla="*/ 200 w 295"/>
                <a:gd name="T33" fmla="*/ 252 h 277"/>
                <a:gd name="T34" fmla="*/ 149 w 295"/>
                <a:gd name="T35" fmla="*/ 145 h 277"/>
                <a:gd name="T36" fmla="*/ 177 w 295"/>
                <a:gd name="T37" fmla="*/ 101 h 277"/>
                <a:gd name="T38" fmla="*/ 160 w 295"/>
                <a:gd name="T39" fmla="*/ 46 h 277"/>
                <a:gd name="T40" fmla="*/ 227 w 295"/>
                <a:gd name="T41" fmla="*/ 22 h 277"/>
                <a:gd name="T42" fmla="*/ 202 w 295"/>
                <a:gd name="T43" fmla="*/ 100 h 277"/>
                <a:gd name="T44" fmla="*/ 197 w 295"/>
                <a:gd name="T45" fmla="*/ 27 h 277"/>
                <a:gd name="T46" fmla="*/ 185 w 295"/>
                <a:gd name="T47" fmla="*/ 81 h 277"/>
                <a:gd name="T48" fmla="*/ 192 w 295"/>
                <a:gd name="T49" fmla="*/ 81 h 277"/>
                <a:gd name="T50" fmla="*/ 209 w 295"/>
                <a:gd name="T51" fmla="*/ 33 h 277"/>
                <a:gd name="T52" fmla="*/ 197 w 295"/>
                <a:gd name="T53" fmla="*/ 27 h 277"/>
                <a:gd name="T54" fmla="*/ 239 w 295"/>
                <a:gd name="T55" fmla="*/ 148 h 277"/>
                <a:gd name="T56" fmla="*/ 222 w 295"/>
                <a:gd name="T57" fmla="*/ 136 h 277"/>
                <a:gd name="T58" fmla="*/ 288 w 295"/>
                <a:gd name="T59" fmla="*/ 88 h 277"/>
                <a:gd name="T60" fmla="*/ 278 w 295"/>
                <a:gd name="T61" fmla="*/ 138 h 277"/>
                <a:gd name="T62" fmla="*/ 240 w 295"/>
                <a:gd name="T63" fmla="*/ 126 h 277"/>
                <a:gd name="T64" fmla="*/ 264 w 295"/>
                <a:gd name="T65" fmla="*/ 121 h 277"/>
                <a:gd name="T66" fmla="*/ 271 w 295"/>
                <a:gd name="T67" fmla="*/ 102 h 277"/>
                <a:gd name="T68" fmla="*/ 240 w 295"/>
                <a:gd name="T69" fmla="*/ 126 h 277"/>
                <a:gd name="T70" fmla="*/ 18 w 295"/>
                <a:gd name="T71" fmla="*/ 138 h 277"/>
                <a:gd name="T72" fmla="*/ 8 w 295"/>
                <a:gd name="T73" fmla="*/ 88 h 277"/>
                <a:gd name="T74" fmla="*/ 74 w 295"/>
                <a:gd name="T75" fmla="*/ 136 h 277"/>
                <a:gd name="T76" fmla="*/ 56 w 295"/>
                <a:gd name="T77" fmla="*/ 148 h 277"/>
                <a:gd name="T78" fmla="*/ 64 w 295"/>
                <a:gd name="T79" fmla="*/ 131 h 277"/>
                <a:gd name="T80" fmla="*/ 28 w 295"/>
                <a:gd name="T81" fmla="*/ 100 h 277"/>
                <a:gd name="T82" fmla="*/ 22 w 295"/>
                <a:gd name="T83" fmla="*/ 108 h 277"/>
                <a:gd name="T84" fmla="*/ 52 w 295"/>
                <a:gd name="T85" fmla="*/ 127 h 277"/>
                <a:gd name="T86" fmla="*/ 55 w 295"/>
                <a:gd name="T87" fmla="*/ 126 h 277"/>
                <a:gd name="T88" fmla="*/ 28 w 295"/>
                <a:gd name="T89" fmla="*/ 10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5" h="277">
                  <a:moveTo>
                    <a:pt x="109" y="103"/>
                  </a:moveTo>
                  <a:cubicBezTo>
                    <a:pt x="104" y="103"/>
                    <a:pt x="100" y="102"/>
                    <a:pt x="95" y="100"/>
                  </a:cubicBezTo>
                  <a:cubicBezTo>
                    <a:pt x="81" y="93"/>
                    <a:pt x="70" y="77"/>
                    <a:pt x="66" y="61"/>
                  </a:cubicBezTo>
                  <a:cubicBezTo>
                    <a:pt x="62" y="45"/>
                    <a:pt x="64" y="32"/>
                    <a:pt x="70" y="22"/>
                  </a:cubicBezTo>
                  <a:cubicBezTo>
                    <a:pt x="75" y="14"/>
                    <a:pt x="83" y="9"/>
                    <a:pt x="93" y="7"/>
                  </a:cubicBezTo>
                  <a:cubicBezTo>
                    <a:pt x="124" y="0"/>
                    <a:pt x="133" y="35"/>
                    <a:pt x="136" y="46"/>
                  </a:cubicBezTo>
                  <a:cubicBezTo>
                    <a:pt x="144" y="73"/>
                    <a:pt x="138" y="93"/>
                    <a:pt x="120" y="101"/>
                  </a:cubicBezTo>
                  <a:cubicBezTo>
                    <a:pt x="116" y="102"/>
                    <a:pt x="113" y="103"/>
                    <a:pt x="109" y="103"/>
                  </a:cubicBezTo>
                  <a:close/>
                  <a:moveTo>
                    <a:pt x="100" y="27"/>
                  </a:moveTo>
                  <a:cubicBezTo>
                    <a:pt x="99" y="27"/>
                    <a:pt x="98" y="27"/>
                    <a:pt x="97" y="28"/>
                  </a:cubicBezTo>
                  <a:cubicBezTo>
                    <a:pt x="93" y="29"/>
                    <a:pt x="90" y="30"/>
                    <a:pt x="88" y="33"/>
                  </a:cubicBezTo>
                  <a:cubicBezTo>
                    <a:pt x="85" y="38"/>
                    <a:pt x="84" y="46"/>
                    <a:pt x="87" y="56"/>
                  </a:cubicBezTo>
                  <a:cubicBezTo>
                    <a:pt x="89" y="66"/>
                    <a:pt x="97" y="77"/>
                    <a:pt x="104" y="81"/>
                  </a:cubicBezTo>
                  <a:cubicBezTo>
                    <a:pt x="108" y="83"/>
                    <a:pt x="110" y="82"/>
                    <a:pt x="111" y="81"/>
                  </a:cubicBezTo>
                  <a:cubicBezTo>
                    <a:pt x="111" y="81"/>
                    <a:pt x="111" y="81"/>
                    <a:pt x="111" y="81"/>
                  </a:cubicBezTo>
                  <a:cubicBezTo>
                    <a:pt x="121" y="77"/>
                    <a:pt x="118" y="59"/>
                    <a:pt x="116" y="52"/>
                  </a:cubicBezTo>
                  <a:cubicBezTo>
                    <a:pt x="110" y="31"/>
                    <a:pt x="105" y="27"/>
                    <a:pt x="100" y="27"/>
                  </a:cubicBezTo>
                  <a:close/>
                  <a:moveTo>
                    <a:pt x="101" y="274"/>
                  </a:moveTo>
                  <a:cubicBezTo>
                    <a:pt x="98" y="274"/>
                    <a:pt x="96" y="273"/>
                    <a:pt x="94" y="273"/>
                  </a:cubicBezTo>
                  <a:cubicBezTo>
                    <a:pt x="76" y="270"/>
                    <a:pt x="56" y="257"/>
                    <a:pt x="56" y="212"/>
                  </a:cubicBezTo>
                  <a:cubicBezTo>
                    <a:pt x="56" y="181"/>
                    <a:pt x="94" y="124"/>
                    <a:pt x="149" y="124"/>
                  </a:cubicBezTo>
                  <a:cubicBezTo>
                    <a:pt x="203" y="124"/>
                    <a:pt x="241" y="181"/>
                    <a:pt x="241" y="212"/>
                  </a:cubicBezTo>
                  <a:cubicBezTo>
                    <a:pt x="241" y="257"/>
                    <a:pt x="221" y="270"/>
                    <a:pt x="204" y="273"/>
                  </a:cubicBezTo>
                  <a:cubicBezTo>
                    <a:pt x="179" y="277"/>
                    <a:pt x="167" y="260"/>
                    <a:pt x="159" y="248"/>
                  </a:cubicBezTo>
                  <a:cubicBezTo>
                    <a:pt x="155" y="242"/>
                    <a:pt x="152" y="237"/>
                    <a:pt x="149" y="237"/>
                  </a:cubicBezTo>
                  <a:cubicBezTo>
                    <a:pt x="146" y="237"/>
                    <a:pt x="142" y="242"/>
                    <a:pt x="138" y="248"/>
                  </a:cubicBezTo>
                  <a:cubicBezTo>
                    <a:pt x="131" y="258"/>
                    <a:pt x="121" y="274"/>
                    <a:pt x="101" y="274"/>
                  </a:cubicBezTo>
                  <a:close/>
                  <a:moveTo>
                    <a:pt x="149" y="145"/>
                  </a:moveTo>
                  <a:cubicBezTo>
                    <a:pt x="106" y="145"/>
                    <a:pt x="77" y="193"/>
                    <a:pt x="77" y="212"/>
                  </a:cubicBezTo>
                  <a:cubicBezTo>
                    <a:pt x="77" y="249"/>
                    <a:pt x="92" y="251"/>
                    <a:pt x="97" y="252"/>
                  </a:cubicBezTo>
                  <a:cubicBezTo>
                    <a:pt x="107" y="254"/>
                    <a:pt x="112" y="249"/>
                    <a:pt x="120" y="236"/>
                  </a:cubicBezTo>
                  <a:cubicBezTo>
                    <a:pt x="127" y="227"/>
                    <a:pt x="134" y="215"/>
                    <a:pt x="149" y="215"/>
                  </a:cubicBezTo>
                  <a:cubicBezTo>
                    <a:pt x="163" y="215"/>
                    <a:pt x="171" y="227"/>
                    <a:pt x="177" y="236"/>
                  </a:cubicBezTo>
                  <a:cubicBezTo>
                    <a:pt x="185" y="249"/>
                    <a:pt x="190" y="254"/>
                    <a:pt x="200" y="252"/>
                  </a:cubicBezTo>
                  <a:cubicBezTo>
                    <a:pt x="205" y="251"/>
                    <a:pt x="220" y="249"/>
                    <a:pt x="220" y="212"/>
                  </a:cubicBezTo>
                  <a:cubicBezTo>
                    <a:pt x="220" y="193"/>
                    <a:pt x="192" y="145"/>
                    <a:pt x="149" y="145"/>
                  </a:cubicBezTo>
                  <a:close/>
                  <a:moveTo>
                    <a:pt x="188" y="103"/>
                  </a:moveTo>
                  <a:cubicBezTo>
                    <a:pt x="184" y="103"/>
                    <a:pt x="180" y="102"/>
                    <a:pt x="177" y="101"/>
                  </a:cubicBezTo>
                  <a:cubicBezTo>
                    <a:pt x="177" y="101"/>
                    <a:pt x="177" y="101"/>
                    <a:pt x="177" y="101"/>
                  </a:cubicBezTo>
                  <a:cubicBezTo>
                    <a:pt x="159" y="93"/>
                    <a:pt x="153" y="73"/>
                    <a:pt x="160" y="46"/>
                  </a:cubicBezTo>
                  <a:cubicBezTo>
                    <a:pt x="163" y="35"/>
                    <a:pt x="173" y="0"/>
                    <a:pt x="204" y="7"/>
                  </a:cubicBezTo>
                  <a:cubicBezTo>
                    <a:pt x="214" y="9"/>
                    <a:pt x="222" y="14"/>
                    <a:pt x="227" y="22"/>
                  </a:cubicBezTo>
                  <a:cubicBezTo>
                    <a:pt x="233" y="32"/>
                    <a:pt x="234" y="45"/>
                    <a:pt x="231" y="61"/>
                  </a:cubicBezTo>
                  <a:cubicBezTo>
                    <a:pt x="227" y="77"/>
                    <a:pt x="215" y="93"/>
                    <a:pt x="202" y="100"/>
                  </a:cubicBezTo>
                  <a:cubicBezTo>
                    <a:pt x="197" y="102"/>
                    <a:pt x="192" y="103"/>
                    <a:pt x="188" y="103"/>
                  </a:cubicBezTo>
                  <a:close/>
                  <a:moveTo>
                    <a:pt x="197" y="27"/>
                  </a:moveTo>
                  <a:cubicBezTo>
                    <a:pt x="192" y="27"/>
                    <a:pt x="187" y="31"/>
                    <a:pt x="181" y="52"/>
                  </a:cubicBezTo>
                  <a:cubicBezTo>
                    <a:pt x="179" y="59"/>
                    <a:pt x="175" y="77"/>
                    <a:pt x="185" y="81"/>
                  </a:cubicBezTo>
                  <a:cubicBezTo>
                    <a:pt x="185" y="81"/>
                    <a:pt x="185" y="81"/>
                    <a:pt x="185" y="81"/>
                  </a:cubicBezTo>
                  <a:cubicBezTo>
                    <a:pt x="186" y="82"/>
                    <a:pt x="188" y="83"/>
                    <a:pt x="192" y="81"/>
                  </a:cubicBezTo>
                  <a:cubicBezTo>
                    <a:pt x="200" y="77"/>
                    <a:pt x="208" y="66"/>
                    <a:pt x="210" y="56"/>
                  </a:cubicBezTo>
                  <a:cubicBezTo>
                    <a:pt x="212" y="46"/>
                    <a:pt x="212" y="38"/>
                    <a:pt x="209" y="33"/>
                  </a:cubicBezTo>
                  <a:cubicBezTo>
                    <a:pt x="207" y="30"/>
                    <a:pt x="204" y="29"/>
                    <a:pt x="199" y="28"/>
                  </a:cubicBezTo>
                  <a:cubicBezTo>
                    <a:pt x="199" y="27"/>
                    <a:pt x="198" y="27"/>
                    <a:pt x="197" y="27"/>
                  </a:cubicBezTo>
                  <a:close/>
                  <a:moveTo>
                    <a:pt x="246" y="149"/>
                  </a:moveTo>
                  <a:cubicBezTo>
                    <a:pt x="244" y="149"/>
                    <a:pt x="241" y="149"/>
                    <a:pt x="239" y="148"/>
                  </a:cubicBezTo>
                  <a:cubicBezTo>
                    <a:pt x="231" y="146"/>
                    <a:pt x="225" y="142"/>
                    <a:pt x="222" y="136"/>
                  </a:cubicBezTo>
                  <a:cubicBezTo>
                    <a:pt x="222" y="136"/>
                    <a:pt x="222" y="136"/>
                    <a:pt x="222" y="136"/>
                  </a:cubicBezTo>
                  <a:cubicBezTo>
                    <a:pt x="214" y="121"/>
                    <a:pt x="220" y="105"/>
                    <a:pt x="239" y="91"/>
                  </a:cubicBezTo>
                  <a:cubicBezTo>
                    <a:pt x="260" y="75"/>
                    <a:pt x="276" y="75"/>
                    <a:pt x="288" y="88"/>
                  </a:cubicBezTo>
                  <a:cubicBezTo>
                    <a:pt x="293" y="95"/>
                    <a:pt x="295" y="102"/>
                    <a:pt x="295" y="110"/>
                  </a:cubicBezTo>
                  <a:cubicBezTo>
                    <a:pt x="294" y="120"/>
                    <a:pt x="288" y="130"/>
                    <a:pt x="278" y="138"/>
                  </a:cubicBezTo>
                  <a:cubicBezTo>
                    <a:pt x="269" y="145"/>
                    <a:pt x="257" y="149"/>
                    <a:pt x="246" y="149"/>
                  </a:cubicBezTo>
                  <a:close/>
                  <a:moveTo>
                    <a:pt x="240" y="126"/>
                  </a:moveTo>
                  <a:cubicBezTo>
                    <a:pt x="241" y="126"/>
                    <a:pt x="242" y="127"/>
                    <a:pt x="243" y="127"/>
                  </a:cubicBezTo>
                  <a:cubicBezTo>
                    <a:pt x="249" y="128"/>
                    <a:pt x="259" y="126"/>
                    <a:pt x="264" y="121"/>
                  </a:cubicBezTo>
                  <a:cubicBezTo>
                    <a:pt x="270" y="117"/>
                    <a:pt x="273" y="112"/>
                    <a:pt x="273" y="108"/>
                  </a:cubicBezTo>
                  <a:cubicBezTo>
                    <a:pt x="274" y="107"/>
                    <a:pt x="273" y="105"/>
                    <a:pt x="271" y="102"/>
                  </a:cubicBezTo>
                  <a:cubicBezTo>
                    <a:pt x="270" y="100"/>
                    <a:pt x="267" y="97"/>
                    <a:pt x="251" y="108"/>
                  </a:cubicBezTo>
                  <a:cubicBezTo>
                    <a:pt x="248" y="111"/>
                    <a:pt x="237" y="119"/>
                    <a:pt x="240" y="126"/>
                  </a:cubicBezTo>
                  <a:close/>
                  <a:moveTo>
                    <a:pt x="49" y="149"/>
                  </a:moveTo>
                  <a:cubicBezTo>
                    <a:pt x="38" y="149"/>
                    <a:pt x="26" y="145"/>
                    <a:pt x="18" y="138"/>
                  </a:cubicBezTo>
                  <a:cubicBezTo>
                    <a:pt x="7" y="130"/>
                    <a:pt x="2" y="120"/>
                    <a:pt x="1" y="110"/>
                  </a:cubicBezTo>
                  <a:cubicBezTo>
                    <a:pt x="0" y="102"/>
                    <a:pt x="2" y="95"/>
                    <a:pt x="8" y="88"/>
                  </a:cubicBezTo>
                  <a:cubicBezTo>
                    <a:pt x="19" y="75"/>
                    <a:pt x="36" y="75"/>
                    <a:pt x="57" y="91"/>
                  </a:cubicBezTo>
                  <a:cubicBezTo>
                    <a:pt x="75" y="105"/>
                    <a:pt x="81" y="121"/>
                    <a:pt x="74" y="136"/>
                  </a:cubicBezTo>
                  <a:cubicBezTo>
                    <a:pt x="74" y="136"/>
                    <a:pt x="74" y="136"/>
                    <a:pt x="74" y="136"/>
                  </a:cubicBezTo>
                  <a:cubicBezTo>
                    <a:pt x="70" y="142"/>
                    <a:pt x="64" y="146"/>
                    <a:pt x="56" y="148"/>
                  </a:cubicBezTo>
                  <a:cubicBezTo>
                    <a:pt x="54" y="149"/>
                    <a:pt x="51" y="149"/>
                    <a:pt x="49" y="149"/>
                  </a:cubicBezTo>
                  <a:close/>
                  <a:moveTo>
                    <a:pt x="64" y="131"/>
                  </a:moveTo>
                  <a:cubicBezTo>
                    <a:pt x="64" y="131"/>
                    <a:pt x="64" y="131"/>
                    <a:pt x="64" y="131"/>
                  </a:cubicBezTo>
                  <a:close/>
                  <a:moveTo>
                    <a:pt x="28" y="100"/>
                  </a:moveTo>
                  <a:cubicBezTo>
                    <a:pt x="26" y="100"/>
                    <a:pt x="25" y="101"/>
                    <a:pt x="24" y="102"/>
                  </a:cubicBezTo>
                  <a:cubicBezTo>
                    <a:pt x="22" y="105"/>
                    <a:pt x="22" y="107"/>
                    <a:pt x="22" y="108"/>
                  </a:cubicBezTo>
                  <a:cubicBezTo>
                    <a:pt x="22" y="112"/>
                    <a:pt x="26" y="117"/>
                    <a:pt x="31" y="121"/>
                  </a:cubicBezTo>
                  <a:cubicBezTo>
                    <a:pt x="37" y="126"/>
                    <a:pt x="46" y="128"/>
                    <a:pt x="52" y="127"/>
                  </a:cubicBezTo>
                  <a:cubicBezTo>
                    <a:pt x="53" y="127"/>
                    <a:pt x="54" y="126"/>
                    <a:pt x="55" y="126"/>
                  </a:cubicBezTo>
                  <a:cubicBezTo>
                    <a:pt x="55" y="126"/>
                    <a:pt x="55" y="126"/>
                    <a:pt x="55" y="126"/>
                  </a:cubicBezTo>
                  <a:cubicBezTo>
                    <a:pt x="58" y="119"/>
                    <a:pt x="47" y="111"/>
                    <a:pt x="44" y="108"/>
                  </a:cubicBezTo>
                  <a:cubicBezTo>
                    <a:pt x="35" y="102"/>
                    <a:pt x="31" y="100"/>
                    <a:pt x="28" y="10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73" name="Group 647">
            <a:extLst>
              <a:ext uri="{FF2B5EF4-FFF2-40B4-BE49-F238E27FC236}">
                <a16:creationId xmlns:a16="http://schemas.microsoft.com/office/drawing/2014/main" id="{244F4B2B-FD07-425D-8F8D-2A2E3C654BF6}"/>
              </a:ext>
            </a:extLst>
          </p:cNvPr>
          <p:cNvGrpSpPr>
            <a:grpSpLocks noChangeAspect="1"/>
          </p:cNvGrpSpPr>
          <p:nvPr/>
        </p:nvGrpSpPr>
        <p:grpSpPr bwMode="auto">
          <a:xfrm>
            <a:off x="5222135" y="2509882"/>
            <a:ext cx="369021" cy="369021"/>
            <a:chOff x="1136" y="2353"/>
            <a:chExt cx="340" cy="340"/>
          </a:xfrm>
          <a:solidFill>
            <a:schemeClr val="accent1"/>
          </a:solidFill>
        </p:grpSpPr>
        <p:sp>
          <p:nvSpPr>
            <p:cNvPr id="574" name="Freeform 648">
              <a:extLst>
                <a:ext uri="{FF2B5EF4-FFF2-40B4-BE49-F238E27FC236}">
                  <a16:creationId xmlns:a16="http://schemas.microsoft.com/office/drawing/2014/main" id="{304893EE-06E9-4D7C-9868-306BDBB96142}"/>
                </a:ext>
              </a:extLst>
            </p:cNvPr>
            <p:cNvSpPr>
              <a:spLocks noEditPoints="1"/>
            </p:cNvSpPr>
            <p:nvPr/>
          </p:nvSpPr>
          <p:spPr bwMode="auto">
            <a:xfrm>
              <a:off x="1136" y="235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5" name="Freeform 649">
              <a:extLst>
                <a:ext uri="{FF2B5EF4-FFF2-40B4-BE49-F238E27FC236}">
                  <a16:creationId xmlns:a16="http://schemas.microsoft.com/office/drawing/2014/main" id="{87748CBD-0D6D-4450-8DA0-1A5887CFDD30}"/>
                </a:ext>
              </a:extLst>
            </p:cNvPr>
            <p:cNvSpPr>
              <a:spLocks noEditPoints="1"/>
            </p:cNvSpPr>
            <p:nvPr/>
          </p:nvSpPr>
          <p:spPr bwMode="auto">
            <a:xfrm>
              <a:off x="1201" y="2431"/>
              <a:ext cx="211" cy="184"/>
            </a:xfrm>
            <a:custGeom>
              <a:avLst/>
              <a:gdLst>
                <a:gd name="T0" fmla="*/ 318 w 318"/>
                <a:gd name="T1" fmla="*/ 160 h 277"/>
                <a:gd name="T2" fmla="*/ 262 w 318"/>
                <a:gd name="T3" fmla="*/ 97 h 277"/>
                <a:gd name="T4" fmla="*/ 229 w 318"/>
                <a:gd name="T5" fmla="*/ 24 h 277"/>
                <a:gd name="T6" fmla="*/ 159 w 318"/>
                <a:gd name="T7" fmla="*/ 0 h 277"/>
                <a:gd name="T8" fmla="*/ 149 w 318"/>
                <a:gd name="T9" fmla="*/ 5 h 277"/>
                <a:gd name="T10" fmla="*/ 149 w 318"/>
                <a:gd name="T11" fmla="*/ 16 h 277"/>
                <a:gd name="T12" fmla="*/ 207 w 318"/>
                <a:gd name="T13" fmla="*/ 114 h 277"/>
                <a:gd name="T14" fmla="*/ 193 w 318"/>
                <a:gd name="T15" fmla="*/ 123 h 277"/>
                <a:gd name="T16" fmla="*/ 139 w 318"/>
                <a:gd name="T17" fmla="*/ 86 h 277"/>
                <a:gd name="T18" fmla="*/ 61 w 318"/>
                <a:gd name="T19" fmla="*/ 90 h 277"/>
                <a:gd name="T20" fmla="*/ 8 w 318"/>
                <a:gd name="T21" fmla="*/ 194 h 277"/>
                <a:gd name="T22" fmla="*/ 8 w 318"/>
                <a:gd name="T23" fmla="*/ 194 h 277"/>
                <a:gd name="T24" fmla="*/ 3 w 318"/>
                <a:gd name="T25" fmla="*/ 219 h 277"/>
                <a:gd name="T26" fmla="*/ 62 w 318"/>
                <a:gd name="T27" fmla="*/ 277 h 277"/>
                <a:gd name="T28" fmla="*/ 275 w 318"/>
                <a:gd name="T29" fmla="*/ 277 h 277"/>
                <a:gd name="T30" fmla="*/ 286 w 318"/>
                <a:gd name="T31" fmla="*/ 267 h 277"/>
                <a:gd name="T32" fmla="*/ 275 w 318"/>
                <a:gd name="T33" fmla="*/ 256 h 277"/>
                <a:gd name="T34" fmla="*/ 266 w 318"/>
                <a:gd name="T35" fmla="*/ 256 h 277"/>
                <a:gd name="T36" fmla="*/ 274 w 318"/>
                <a:gd name="T37" fmla="*/ 212 h 277"/>
                <a:gd name="T38" fmla="*/ 318 w 318"/>
                <a:gd name="T39" fmla="*/ 160 h 277"/>
                <a:gd name="T40" fmla="*/ 219 w 318"/>
                <a:gd name="T41" fmla="*/ 256 h 277"/>
                <a:gd name="T42" fmla="*/ 211 w 318"/>
                <a:gd name="T43" fmla="*/ 221 h 277"/>
                <a:gd name="T44" fmla="*/ 198 w 318"/>
                <a:gd name="T45" fmla="*/ 214 h 277"/>
                <a:gd name="T46" fmla="*/ 190 w 318"/>
                <a:gd name="T47" fmla="*/ 227 h 277"/>
                <a:gd name="T48" fmla="*/ 197 w 318"/>
                <a:gd name="T49" fmla="*/ 256 h 277"/>
                <a:gd name="T50" fmla="*/ 62 w 318"/>
                <a:gd name="T51" fmla="*/ 256 h 277"/>
                <a:gd name="T52" fmla="*/ 24 w 318"/>
                <a:gd name="T53" fmla="*/ 219 h 277"/>
                <a:gd name="T54" fmla="*/ 62 w 318"/>
                <a:gd name="T55" fmla="*/ 181 h 277"/>
                <a:gd name="T56" fmla="*/ 99 w 318"/>
                <a:gd name="T57" fmla="*/ 219 h 277"/>
                <a:gd name="T58" fmla="*/ 110 w 318"/>
                <a:gd name="T59" fmla="*/ 229 h 277"/>
                <a:gd name="T60" fmla="*/ 120 w 318"/>
                <a:gd name="T61" fmla="*/ 219 h 277"/>
                <a:gd name="T62" fmla="*/ 62 w 318"/>
                <a:gd name="T63" fmla="*/ 160 h 277"/>
                <a:gd name="T64" fmla="*/ 28 w 318"/>
                <a:gd name="T65" fmla="*/ 170 h 277"/>
                <a:gd name="T66" fmla="*/ 70 w 318"/>
                <a:gd name="T67" fmla="*/ 110 h 277"/>
                <a:gd name="T68" fmla="*/ 133 w 318"/>
                <a:gd name="T69" fmla="*/ 106 h 277"/>
                <a:gd name="T70" fmla="*/ 180 w 318"/>
                <a:gd name="T71" fmla="*/ 143 h 277"/>
                <a:gd name="T72" fmla="*/ 187 w 318"/>
                <a:gd name="T73" fmla="*/ 149 h 277"/>
                <a:gd name="T74" fmla="*/ 196 w 318"/>
                <a:gd name="T75" fmla="*/ 148 h 277"/>
                <a:gd name="T76" fmla="*/ 228 w 318"/>
                <a:gd name="T77" fmla="*/ 126 h 277"/>
                <a:gd name="T78" fmla="*/ 231 w 318"/>
                <a:gd name="T79" fmla="*/ 112 h 277"/>
                <a:gd name="T80" fmla="*/ 179 w 318"/>
                <a:gd name="T81" fmla="*/ 25 h 277"/>
                <a:gd name="T82" fmla="*/ 214 w 318"/>
                <a:gd name="T83" fmla="*/ 40 h 277"/>
                <a:gd name="T84" fmla="*/ 243 w 318"/>
                <a:gd name="T85" fmla="*/ 109 h 277"/>
                <a:gd name="T86" fmla="*/ 253 w 318"/>
                <a:gd name="T87" fmla="*/ 117 h 277"/>
                <a:gd name="T88" fmla="*/ 254 w 318"/>
                <a:gd name="T89" fmla="*/ 117 h 277"/>
                <a:gd name="T90" fmla="*/ 296 w 318"/>
                <a:gd name="T91" fmla="*/ 160 h 277"/>
                <a:gd name="T92" fmla="*/ 264 w 318"/>
                <a:gd name="T93" fmla="*/ 192 h 277"/>
                <a:gd name="T94" fmla="*/ 264 w 318"/>
                <a:gd name="T95" fmla="*/ 192 h 277"/>
                <a:gd name="T96" fmla="*/ 254 w 318"/>
                <a:gd name="T97" fmla="*/ 201 h 277"/>
                <a:gd name="T98" fmla="*/ 245 w 318"/>
                <a:gd name="T99" fmla="*/ 256 h 277"/>
                <a:gd name="T100" fmla="*/ 219 w 318"/>
                <a:gd name="T10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8" h="277">
                  <a:moveTo>
                    <a:pt x="318" y="160"/>
                  </a:moveTo>
                  <a:cubicBezTo>
                    <a:pt x="318" y="133"/>
                    <a:pt x="289" y="103"/>
                    <a:pt x="262" y="97"/>
                  </a:cubicBezTo>
                  <a:cubicBezTo>
                    <a:pt x="257" y="80"/>
                    <a:pt x="245" y="40"/>
                    <a:pt x="229" y="24"/>
                  </a:cubicBezTo>
                  <a:cubicBezTo>
                    <a:pt x="210" y="5"/>
                    <a:pt x="164" y="0"/>
                    <a:pt x="159" y="0"/>
                  </a:cubicBezTo>
                  <a:cubicBezTo>
                    <a:pt x="155" y="0"/>
                    <a:pt x="151" y="2"/>
                    <a:pt x="149" y="5"/>
                  </a:cubicBezTo>
                  <a:cubicBezTo>
                    <a:pt x="146" y="8"/>
                    <a:pt x="146" y="13"/>
                    <a:pt x="149" y="16"/>
                  </a:cubicBezTo>
                  <a:cubicBezTo>
                    <a:pt x="207" y="114"/>
                    <a:pt x="207" y="114"/>
                    <a:pt x="207" y="114"/>
                  </a:cubicBezTo>
                  <a:cubicBezTo>
                    <a:pt x="193" y="123"/>
                    <a:pt x="193" y="123"/>
                    <a:pt x="193" y="123"/>
                  </a:cubicBezTo>
                  <a:cubicBezTo>
                    <a:pt x="181" y="106"/>
                    <a:pt x="162" y="92"/>
                    <a:pt x="139" y="86"/>
                  </a:cubicBezTo>
                  <a:cubicBezTo>
                    <a:pt x="113" y="78"/>
                    <a:pt x="84" y="79"/>
                    <a:pt x="61" y="90"/>
                  </a:cubicBezTo>
                  <a:cubicBezTo>
                    <a:pt x="22" y="109"/>
                    <a:pt x="0" y="151"/>
                    <a:pt x="8" y="194"/>
                  </a:cubicBezTo>
                  <a:cubicBezTo>
                    <a:pt x="8" y="194"/>
                    <a:pt x="8" y="194"/>
                    <a:pt x="8" y="194"/>
                  </a:cubicBezTo>
                  <a:cubicBezTo>
                    <a:pt x="5" y="202"/>
                    <a:pt x="3" y="210"/>
                    <a:pt x="3" y="219"/>
                  </a:cubicBezTo>
                  <a:cubicBezTo>
                    <a:pt x="3" y="251"/>
                    <a:pt x="29" y="277"/>
                    <a:pt x="62" y="277"/>
                  </a:cubicBezTo>
                  <a:cubicBezTo>
                    <a:pt x="275" y="277"/>
                    <a:pt x="275" y="277"/>
                    <a:pt x="275" y="277"/>
                  </a:cubicBezTo>
                  <a:cubicBezTo>
                    <a:pt x="281" y="277"/>
                    <a:pt x="286" y="273"/>
                    <a:pt x="286" y="267"/>
                  </a:cubicBezTo>
                  <a:cubicBezTo>
                    <a:pt x="286" y="261"/>
                    <a:pt x="281" y="256"/>
                    <a:pt x="275" y="256"/>
                  </a:cubicBezTo>
                  <a:cubicBezTo>
                    <a:pt x="266" y="256"/>
                    <a:pt x="266" y="256"/>
                    <a:pt x="266" y="256"/>
                  </a:cubicBezTo>
                  <a:cubicBezTo>
                    <a:pt x="274" y="212"/>
                    <a:pt x="274" y="212"/>
                    <a:pt x="274" y="212"/>
                  </a:cubicBezTo>
                  <a:cubicBezTo>
                    <a:pt x="299" y="208"/>
                    <a:pt x="318" y="186"/>
                    <a:pt x="318" y="160"/>
                  </a:cubicBezTo>
                  <a:close/>
                  <a:moveTo>
                    <a:pt x="219" y="256"/>
                  </a:moveTo>
                  <a:cubicBezTo>
                    <a:pt x="211" y="221"/>
                    <a:pt x="211" y="221"/>
                    <a:pt x="211" y="221"/>
                  </a:cubicBezTo>
                  <a:cubicBezTo>
                    <a:pt x="209" y="216"/>
                    <a:pt x="203" y="212"/>
                    <a:pt x="198" y="214"/>
                  </a:cubicBezTo>
                  <a:cubicBezTo>
                    <a:pt x="192" y="215"/>
                    <a:pt x="189" y="221"/>
                    <a:pt x="190" y="227"/>
                  </a:cubicBezTo>
                  <a:cubicBezTo>
                    <a:pt x="197" y="256"/>
                    <a:pt x="197" y="256"/>
                    <a:pt x="197" y="256"/>
                  </a:cubicBezTo>
                  <a:cubicBezTo>
                    <a:pt x="62" y="256"/>
                    <a:pt x="62" y="256"/>
                    <a:pt x="62" y="256"/>
                  </a:cubicBezTo>
                  <a:cubicBezTo>
                    <a:pt x="41" y="256"/>
                    <a:pt x="24" y="239"/>
                    <a:pt x="24" y="219"/>
                  </a:cubicBezTo>
                  <a:cubicBezTo>
                    <a:pt x="24" y="198"/>
                    <a:pt x="41" y="181"/>
                    <a:pt x="62" y="181"/>
                  </a:cubicBezTo>
                  <a:cubicBezTo>
                    <a:pt x="82" y="181"/>
                    <a:pt x="99" y="198"/>
                    <a:pt x="99" y="219"/>
                  </a:cubicBezTo>
                  <a:cubicBezTo>
                    <a:pt x="99" y="225"/>
                    <a:pt x="104" y="229"/>
                    <a:pt x="110" y="229"/>
                  </a:cubicBezTo>
                  <a:cubicBezTo>
                    <a:pt x="116" y="229"/>
                    <a:pt x="120" y="225"/>
                    <a:pt x="120" y="219"/>
                  </a:cubicBezTo>
                  <a:cubicBezTo>
                    <a:pt x="120" y="186"/>
                    <a:pt x="94" y="160"/>
                    <a:pt x="62" y="160"/>
                  </a:cubicBezTo>
                  <a:cubicBezTo>
                    <a:pt x="49" y="160"/>
                    <a:pt x="38" y="164"/>
                    <a:pt x="28" y="170"/>
                  </a:cubicBezTo>
                  <a:cubicBezTo>
                    <a:pt x="31" y="145"/>
                    <a:pt x="46" y="121"/>
                    <a:pt x="70" y="110"/>
                  </a:cubicBezTo>
                  <a:cubicBezTo>
                    <a:pt x="89" y="101"/>
                    <a:pt x="112" y="100"/>
                    <a:pt x="133" y="106"/>
                  </a:cubicBezTo>
                  <a:cubicBezTo>
                    <a:pt x="155" y="113"/>
                    <a:pt x="172" y="126"/>
                    <a:pt x="180" y="143"/>
                  </a:cubicBezTo>
                  <a:cubicBezTo>
                    <a:pt x="181" y="146"/>
                    <a:pt x="184" y="148"/>
                    <a:pt x="187" y="149"/>
                  </a:cubicBezTo>
                  <a:cubicBezTo>
                    <a:pt x="190" y="150"/>
                    <a:pt x="193" y="149"/>
                    <a:pt x="196" y="148"/>
                  </a:cubicBezTo>
                  <a:cubicBezTo>
                    <a:pt x="228" y="126"/>
                    <a:pt x="228" y="126"/>
                    <a:pt x="228" y="126"/>
                  </a:cubicBezTo>
                  <a:cubicBezTo>
                    <a:pt x="232" y="123"/>
                    <a:pt x="234" y="117"/>
                    <a:pt x="231" y="112"/>
                  </a:cubicBezTo>
                  <a:cubicBezTo>
                    <a:pt x="179" y="25"/>
                    <a:pt x="179" y="25"/>
                    <a:pt x="179" y="25"/>
                  </a:cubicBezTo>
                  <a:cubicBezTo>
                    <a:pt x="193" y="28"/>
                    <a:pt x="207" y="33"/>
                    <a:pt x="214" y="40"/>
                  </a:cubicBezTo>
                  <a:cubicBezTo>
                    <a:pt x="225" y="51"/>
                    <a:pt x="238" y="88"/>
                    <a:pt x="243" y="109"/>
                  </a:cubicBezTo>
                  <a:cubicBezTo>
                    <a:pt x="245" y="114"/>
                    <a:pt x="249" y="117"/>
                    <a:pt x="253" y="117"/>
                  </a:cubicBezTo>
                  <a:cubicBezTo>
                    <a:pt x="253" y="117"/>
                    <a:pt x="254" y="117"/>
                    <a:pt x="254" y="117"/>
                  </a:cubicBezTo>
                  <a:cubicBezTo>
                    <a:pt x="271" y="117"/>
                    <a:pt x="296" y="142"/>
                    <a:pt x="296" y="160"/>
                  </a:cubicBezTo>
                  <a:cubicBezTo>
                    <a:pt x="296" y="178"/>
                    <a:pt x="282" y="192"/>
                    <a:pt x="264" y="192"/>
                  </a:cubicBezTo>
                  <a:cubicBezTo>
                    <a:pt x="264" y="192"/>
                    <a:pt x="264" y="192"/>
                    <a:pt x="264" y="192"/>
                  </a:cubicBezTo>
                  <a:cubicBezTo>
                    <a:pt x="259" y="192"/>
                    <a:pt x="255" y="196"/>
                    <a:pt x="254" y="201"/>
                  </a:cubicBezTo>
                  <a:cubicBezTo>
                    <a:pt x="245" y="256"/>
                    <a:pt x="245" y="256"/>
                    <a:pt x="245" y="256"/>
                  </a:cubicBezTo>
                  <a:lnTo>
                    <a:pt x="219"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6" name="Freeform 653">
            <a:extLst>
              <a:ext uri="{FF2B5EF4-FFF2-40B4-BE49-F238E27FC236}">
                <a16:creationId xmlns:a16="http://schemas.microsoft.com/office/drawing/2014/main" id="{2A709E41-786D-4803-9EEA-B4BA53C511D2}"/>
              </a:ext>
            </a:extLst>
          </p:cNvPr>
          <p:cNvSpPr>
            <a:spLocks noChangeAspect="1" noEditPoints="1"/>
          </p:cNvSpPr>
          <p:nvPr/>
        </p:nvSpPr>
        <p:spPr bwMode="auto">
          <a:xfrm>
            <a:off x="4789682" y="2509882"/>
            <a:ext cx="369021" cy="370106"/>
          </a:xfrm>
          <a:custGeom>
            <a:avLst/>
            <a:gdLst>
              <a:gd name="T0" fmla="*/ 394 w 512"/>
              <a:gd name="T1" fmla="*/ 277 h 512"/>
              <a:gd name="T2" fmla="*/ 362 w 512"/>
              <a:gd name="T3" fmla="*/ 309 h 512"/>
              <a:gd name="T4" fmla="*/ 362 w 512"/>
              <a:gd name="T5" fmla="*/ 309 h 512"/>
              <a:gd name="T6" fmla="*/ 352 w 512"/>
              <a:gd name="T7" fmla="*/ 318 h 512"/>
              <a:gd name="T8" fmla="*/ 343 w 512"/>
              <a:gd name="T9" fmla="*/ 373 h 512"/>
              <a:gd name="T10" fmla="*/ 317 w 512"/>
              <a:gd name="T11" fmla="*/ 373 h 512"/>
              <a:gd name="T12" fmla="*/ 309 w 512"/>
              <a:gd name="T13" fmla="*/ 338 h 512"/>
              <a:gd name="T14" fmla="*/ 296 w 512"/>
              <a:gd name="T15" fmla="*/ 331 h 512"/>
              <a:gd name="T16" fmla="*/ 288 w 512"/>
              <a:gd name="T17" fmla="*/ 344 h 512"/>
              <a:gd name="T18" fmla="*/ 295 w 512"/>
              <a:gd name="T19" fmla="*/ 373 h 512"/>
              <a:gd name="T20" fmla="*/ 160 w 512"/>
              <a:gd name="T21" fmla="*/ 373 h 512"/>
              <a:gd name="T22" fmla="*/ 122 w 512"/>
              <a:gd name="T23" fmla="*/ 336 h 512"/>
              <a:gd name="T24" fmla="*/ 160 w 512"/>
              <a:gd name="T25" fmla="*/ 298 h 512"/>
              <a:gd name="T26" fmla="*/ 197 w 512"/>
              <a:gd name="T27" fmla="*/ 336 h 512"/>
              <a:gd name="T28" fmla="*/ 208 w 512"/>
              <a:gd name="T29" fmla="*/ 346 h 512"/>
              <a:gd name="T30" fmla="*/ 218 w 512"/>
              <a:gd name="T31" fmla="*/ 336 h 512"/>
              <a:gd name="T32" fmla="*/ 160 w 512"/>
              <a:gd name="T33" fmla="*/ 277 h 512"/>
              <a:gd name="T34" fmla="*/ 126 w 512"/>
              <a:gd name="T35" fmla="*/ 287 h 512"/>
              <a:gd name="T36" fmla="*/ 168 w 512"/>
              <a:gd name="T37" fmla="*/ 227 h 512"/>
              <a:gd name="T38" fmla="*/ 231 w 512"/>
              <a:gd name="T39" fmla="*/ 223 h 512"/>
              <a:gd name="T40" fmla="*/ 278 w 512"/>
              <a:gd name="T41" fmla="*/ 260 h 512"/>
              <a:gd name="T42" fmla="*/ 285 w 512"/>
              <a:gd name="T43" fmla="*/ 266 h 512"/>
              <a:gd name="T44" fmla="*/ 294 w 512"/>
              <a:gd name="T45" fmla="*/ 265 h 512"/>
              <a:gd name="T46" fmla="*/ 326 w 512"/>
              <a:gd name="T47" fmla="*/ 243 h 512"/>
              <a:gd name="T48" fmla="*/ 329 w 512"/>
              <a:gd name="T49" fmla="*/ 229 h 512"/>
              <a:gd name="T50" fmla="*/ 277 w 512"/>
              <a:gd name="T51" fmla="*/ 142 h 512"/>
              <a:gd name="T52" fmla="*/ 312 w 512"/>
              <a:gd name="T53" fmla="*/ 157 h 512"/>
              <a:gd name="T54" fmla="*/ 341 w 512"/>
              <a:gd name="T55" fmla="*/ 226 h 512"/>
              <a:gd name="T56" fmla="*/ 351 w 512"/>
              <a:gd name="T57" fmla="*/ 234 h 512"/>
              <a:gd name="T58" fmla="*/ 352 w 512"/>
              <a:gd name="T59" fmla="*/ 234 h 512"/>
              <a:gd name="T60" fmla="*/ 394 w 512"/>
              <a:gd name="T61" fmla="*/ 277 h 512"/>
              <a:gd name="T62" fmla="*/ 512 w 512"/>
              <a:gd name="T63" fmla="*/ 256 h 512"/>
              <a:gd name="T64" fmla="*/ 256 w 512"/>
              <a:gd name="T65" fmla="*/ 512 h 512"/>
              <a:gd name="T66" fmla="*/ 0 w 512"/>
              <a:gd name="T67" fmla="*/ 256 h 512"/>
              <a:gd name="T68" fmla="*/ 256 w 512"/>
              <a:gd name="T69" fmla="*/ 0 h 512"/>
              <a:gd name="T70" fmla="*/ 512 w 512"/>
              <a:gd name="T71" fmla="*/ 256 h 512"/>
              <a:gd name="T72" fmla="*/ 416 w 512"/>
              <a:gd name="T73" fmla="*/ 277 h 512"/>
              <a:gd name="T74" fmla="*/ 360 w 512"/>
              <a:gd name="T75" fmla="*/ 214 h 512"/>
              <a:gd name="T76" fmla="*/ 327 w 512"/>
              <a:gd name="T77" fmla="*/ 141 h 512"/>
              <a:gd name="T78" fmla="*/ 257 w 512"/>
              <a:gd name="T79" fmla="*/ 117 h 512"/>
              <a:gd name="T80" fmla="*/ 247 w 512"/>
              <a:gd name="T81" fmla="*/ 122 h 512"/>
              <a:gd name="T82" fmla="*/ 247 w 512"/>
              <a:gd name="T83" fmla="*/ 133 h 512"/>
              <a:gd name="T84" fmla="*/ 305 w 512"/>
              <a:gd name="T85" fmla="*/ 231 h 512"/>
              <a:gd name="T86" fmla="*/ 291 w 512"/>
              <a:gd name="T87" fmla="*/ 240 h 512"/>
              <a:gd name="T88" fmla="*/ 237 w 512"/>
              <a:gd name="T89" fmla="*/ 203 h 512"/>
              <a:gd name="T90" fmla="*/ 159 w 512"/>
              <a:gd name="T91" fmla="*/ 207 h 512"/>
              <a:gd name="T92" fmla="*/ 106 w 512"/>
              <a:gd name="T93" fmla="*/ 311 h 512"/>
              <a:gd name="T94" fmla="*/ 106 w 512"/>
              <a:gd name="T95" fmla="*/ 311 h 512"/>
              <a:gd name="T96" fmla="*/ 101 w 512"/>
              <a:gd name="T97" fmla="*/ 336 h 512"/>
              <a:gd name="T98" fmla="*/ 160 w 512"/>
              <a:gd name="T99" fmla="*/ 394 h 512"/>
              <a:gd name="T100" fmla="*/ 373 w 512"/>
              <a:gd name="T101" fmla="*/ 394 h 512"/>
              <a:gd name="T102" fmla="*/ 384 w 512"/>
              <a:gd name="T103" fmla="*/ 384 h 512"/>
              <a:gd name="T104" fmla="*/ 373 w 512"/>
              <a:gd name="T105" fmla="*/ 373 h 512"/>
              <a:gd name="T106" fmla="*/ 364 w 512"/>
              <a:gd name="T107" fmla="*/ 373 h 512"/>
              <a:gd name="T108" fmla="*/ 372 w 512"/>
              <a:gd name="T109" fmla="*/ 329 h 512"/>
              <a:gd name="T110" fmla="*/ 416 w 512"/>
              <a:gd name="T11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4" y="277"/>
                </a:moveTo>
                <a:cubicBezTo>
                  <a:pt x="394" y="295"/>
                  <a:pt x="380" y="309"/>
                  <a:pt x="362" y="309"/>
                </a:cubicBezTo>
                <a:cubicBezTo>
                  <a:pt x="362" y="309"/>
                  <a:pt x="362" y="309"/>
                  <a:pt x="362" y="309"/>
                </a:cubicBezTo>
                <a:cubicBezTo>
                  <a:pt x="357" y="309"/>
                  <a:pt x="353" y="313"/>
                  <a:pt x="352" y="318"/>
                </a:cubicBezTo>
                <a:cubicBezTo>
                  <a:pt x="343" y="373"/>
                  <a:pt x="343" y="373"/>
                  <a:pt x="343" y="373"/>
                </a:cubicBezTo>
                <a:cubicBezTo>
                  <a:pt x="317" y="373"/>
                  <a:pt x="317" y="373"/>
                  <a:pt x="317" y="373"/>
                </a:cubicBezTo>
                <a:cubicBezTo>
                  <a:pt x="309" y="338"/>
                  <a:pt x="309" y="338"/>
                  <a:pt x="309" y="338"/>
                </a:cubicBezTo>
                <a:cubicBezTo>
                  <a:pt x="307" y="333"/>
                  <a:pt x="301" y="329"/>
                  <a:pt x="296" y="331"/>
                </a:cubicBezTo>
                <a:cubicBezTo>
                  <a:pt x="290" y="332"/>
                  <a:pt x="287" y="338"/>
                  <a:pt x="288" y="344"/>
                </a:cubicBezTo>
                <a:cubicBezTo>
                  <a:pt x="295" y="373"/>
                  <a:pt x="295" y="373"/>
                  <a:pt x="295" y="373"/>
                </a:cubicBezTo>
                <a:cubicBezTo>
                  <a:pt x="160" y="373"/>
                  <a:pt x="160" y="373"/>
                  <a:pt x="160" y="373"/>
                </a:cubicBezTo>
                <a:cubicBezTo>
                  <a:pt x="139" y="373"/>
                  <a:pt x="122" y="356"/>
                  <a:pt x="122" y="336"/>
                </a:cubicBezTo>
                <a:cubicBezTo>
                  <a:pt x="122" y="315"/>
                  <a:pt x="139" y="298"/>
                  <a:pt x="160" y="298"/>
                </a:cubicBezTo>
                <a:cubicBezTo>
                  <a:pt x="180" y="298"/>
                  <a:pt x="197" y="315"/>
                  <a:pt x="197" y="336"/>
                </a:cubicBezTo>
                <a:cubicBezTo>
                  <a:pt x="197" y="342"/>
                  <a:pt x="202" y="346"/>
                  <a:pt x="208" y="346"/>
                </a:cubicBezTo>
                <a:cubicBezTo>
                  <a:pt x="214" y="346"/>
                  <a:pt x="218" y="342"/>
                  <a:pt x="218" y="336"/>
                </a:cubicBezTo>
                <a:cubicBezTo>
                  <a:pt x="218" y="303"/>
                  <a:pt x="192" y="277"/>
                  <a:pt x="160" y="277"/>
                </a:cubicBezTo>
                <a:cubicBezTo>
                  <a:pt x="147" y="277"/>
                  <a:pt x="136" y="281"/>
                  <a:pt x="126" y="287"/>
                </a:cubicBezTo>
                <a:cubicBezTo>
                  <a:pt x="129" y="262"/>
                  <a:pt x="144" y="238"/>
                  <a:pt x="168" y="227"/>
                </a:cubicBezTo>
                <a:cubicBezTo>
                  <a:pt x="187" y="218"/>
                  <a:pt x="210" y="217"/>
                  <a:pt x="231" y="223"/>
                </a:cubicBezTo>
                <a:cubicBezTo>
                  <a:pt x="253" y="230"/>
                  <a:pt x="270" y="243"/>
                  <a:pt x="278" y="260"/>
                </a:cubicBezTo>
                <a:cubicBezTo>
                  <a:pt x="279" y="263"/>
                  <a:pt x="282" y="265"/>
                  <a:pt x="285" y="266"/>
                </a:cubicBezTo>
                <a:cubicBezTo>
                  <a:pt x="288" y="267"/>
                  <a:pt x="291" y="266"/>
                  <a:pt x="294" y="265"/>
                </a:cubicBezTo>
                <a:cubicBezTo>
                  <a:pt x="326" y="243"/>
                  <a:pt x="326" y="243"/>
                  <a:pt x="326" y="243"/>
                </a:cubicBezTo>
                <a:cubicBezTo>
                  <a:pt x="330" y="240"/>
                  <a:pt x="332" y="234"/>
                  <a:pt x="329" y="229"/>
                </a:cubicBezTo>
                <a:cubicBezTo>
                  <a:pt x="277" y="142"/>
                  <a:pt x="277" y="142"/>
                  <a:pt x="277" y="142"/>
                </a:cubicBezTo>
                <a:cubicBezTo>
                  <a:pt x="291" y="145"/>
                  <a:pt x="305" y="150"/>
                  <a:pt x="312" y="157"/>
                </a:cubicBezTo>
                <a:cubicBezTo>
                  <a:pt x="323" y="168"/>
                  <a:pt x="336" y="205"/>
                  <a:pt x="341" y="226"/>
                </a:cubicBezTo>
                <a:cubicBezTo>
                  <a:pt x="343" y="231"/>
                  <a:pt x="347" y="234"/>
                  <a:pt x="351" y="234"/>
                </a:cubicBezTo>
                <a:cubicBezTo>
                  <a:pt x="351" y="234"/>
                  <a:pt x="352" y="234"/>
                  <a:pt x="352" y="234"/>
                </a:cubicBezTo>
                <a:cubicBezTo>
                  <a:pt x="369" y="234"/>
                  <a:pt x="394" y="259"/>
                  <a:pt x="394"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77"/>
                </a:moveTo>
                <a:cubicBezTo>
                  <a:pt x="416" y="250"/>
                  <a:pt x="387" y="220"/>
                  <a:pt x="360" y="214"/>
                </a:cubicBezTo>
                <a:cubicBezTo>
                  <a:pt x="355" y="197"/>
                  <a:pt x="343" y="157"/>
                  <a:pt x="327" y="141"/>
                </a:cubicBezTo>
                <a:cubicBezTo>
                  <a:pt x="308" y="122"/>
                  <a:pt x="262" y="117"/>
                  <a:pt x="257" y="117"/>
                </a:cubicBezTo>
                <a:cubicBezTo>
                  <a:pt x="253" y="117"/>
                  <a:pt x="249" y="119"/>
                  <a:pt x="247" y="122"/>
                </a:cubicBezTo>
                <a:cubicBezTo>
                  <a:pt x="244" y="125"/>
                  <a:pt x="244" y="130"/>
                  <a:pt x="247" y="133"/>
                </a:cubicBezTo>
                <a:cubicBezTo>
                  <a:pt x="305" y="231"/>
                  <a:pt x="305" y="231"/>
                  <a:pt x="305" y="231"/>
                </a:cubicBezTo>
                <a:cubicBezTo>
                  <a:pt x="291" y="240"/>
                  <a:pt x="291" y="240"/>
                  <a:pt x="291" y="240"/>
                </a:cubicBezTo>
                <a:cubicBezTo>
                  <a:pt x="279" y="223"/>
                  <a:pt x="260" y="209"/>
                  <a:pt x="237" y="203"/>
                </a:cubicBezTo>
                <a:cubicBezTo>
                  <a:pt x="211" y="195"/>
                  <a:pt x="182" y="196"/>
                  <a:pt x="159" y="207"/>
                </a:cubicBezTo>
                <a:cubicBezTo>
                  <a:pt x="120" y="226"/>
                  <a:pt x="98" y="268"/>
                  <a:pt x="106" y="311"/>
                </a:cubicBezTo>
                <a:cubicBezTo>
                  <a:pt x="106" y="311"/>
                  <a:pt x="106" y="311"/>
                  <a:pt x="106" y="311"/>
                </a:cubicBezTo>
                <a:cubicBezTo>
                  <a:pt x="103" y="319"/>
                  <a:pt x="101" y="327"/>
                  <a:pt x="101" y="336"/>
                </a:cubicBezTo>
                <a:cubicBezTo>
                  <a:pt x="101" y="368"/>
                  <a:pt x="127" y="394"/>
                  <a:pt x="160" y="394"/>
                </a:cubicBezTo>
                <a:cubicBezTo>
                  <a:pt x="373" y="394"/>
                  <a:pt x="373" y="394"/>
                  <a:pt x="373" y="394"/>
                </a:cubicBezTo>
                <a:cubicBezTo>
                  <a:pt x="379" y="394"/>
                  <a:pt x="384" y="390"/>
                  <a:pt x="384" y="384"/>
                </a:cubicBezTo>
                <a:cubicBezTo>
                  <a:pt x="384" y="378"/>
                  <a:pt x="379" y="373"/>
                  <a:pt x="373" y="373"/>
                </a:cubicBezTo>
                <a:cubicBezTo>
                  <a:pt x="364" y="373"/>
                  <a:pt x="364" y="373"/>
                  <a:pt x="364" y="373"/>
                </a:cubicBezTo>
                <a:cubicBezTo>
                  <a:pt x="372" y="329"/>
                  <a:pt x="372" y="329"/>
                  <a:pt x="372" y="329"/>
                </a:cubicBezTo>
                <a:cubicBezTo>
                  <a:pt x="397" y="325"/>
                  <a:pt x="416" y="303"/>
                  <a:pt x="416" y="27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77" name="Group 1003">
            <a:extLst>
              <a:ext uri="{FF2B5EF4-FFF2-40B4-BE49-F238E27FC236}">
                <a16:creationId xmlns:a16="http://schemas.microsoft.com/office/drawing/2014/main" id="{25B226A0-5635-4EE9-9CBD-A8D76DBC16AD}"/>
              </a:ext>
            </a:extLst>
          </p:cNvPr>
          <p:cNvGrpSpPr>
            <a:grpSpLocks noChangeAspect="1"/>
          </p:cNvGrpSpPr>
          <p:nvPr/>
        </p:nvGrpSpPr>
        <p:grpSpPr bwMode="auto">
          <a:xfrm>
            <a:off x="6087041" y="2509882"/>
            <a:ext cx="369021" cy="369021"/>
            <a:chOff x="2647" y="3988"/>
            <a:chExt cx="340" cy="340"/>
          </a:xfrm>
          <a:solidFill>
            <a:schemeClr val="accent5"/>
          </a:solidFill>
        </p:grpSpPr>
        <p:sp>
          <p:nvSpPr>
            <p:cNvPr id="578" name="Freeform 1004">
              <a:extLst>
                <a:ext uri="{FF2B5EF4-FFF2-40B4-BE49-F238E27FC236}">
                  <a16:creationId xmlns:a16="http://schemas.microsoft.com/office/drawing/2014/main" id="{99DB6A67-6D5A-4F51-A979-171BEC9B44E7}"/>
                </a:ext>
              </a:extLst>
            </p:cNvPr>
            <p:cNvSpPr>
              <a:spLocks noEditPoints="1"/>
            </p:cNvSpPr>
            <p:nvPr/>
          </p:nvSpPr>
          <p:spPr bwMode="auto">
            <a:xfrm>
              <a:off x="2647" y="39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9" name="Freeform 1005">
              <a:extLst>
                <a:ext uri="{FF2B5EF4-FFF2-40B4-BE49-F238E27FC236}">
                  <a16:creationId xmlns:a16="http://schemas.microsoft.com/office/drawing/2014/main" id="{DDB7EE63-B611-4CD5-B68C-F41531F48429}"/>
                </a:ext>
              </a:extLst>
            </p:cNvPr>
            <p:cNvSpPr>
              <a:spLocks noEditPoints="1"/>
            </p:cNvSpPr>
            <p:nvPr/>
          </p:nvSpPr>
          <p:spPr bwMode="auto">
            <a:xfrm>
              <a:off x="2710" y="4078"/>
              <a:ext cx="213" cy="186"/>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0" name="Freeform 1009">
            <a:extLst>
              <a:ext uri="{FF2B5EF4-FFF2-40B4-BE49-F238E27FC236}">
                <a16:creationId xmlns:a16="http://schemas.microsoft.com/office/drawing/2014/main" id="{3C42929F-89BA-413C-ABB7-0561AC1918F3}"/>
              </a:ext>
            </a:extLst>
          </p:cNvPr>
          <p:cNvSpPr>
            <a:spLocks noChangeAspect="1" noEditPoints="1"/>
          </p:cNvSpPr>
          <p:nvPr/>
        </p:nvSpPr>
        <p:spPr bwMode="auto">
          <a:xfrm>
            <a:off x="5654588" y="2509882"/>
            <a:ext cx="369021" cy="369021"/>
          </a:xfrm>
          <a:custGeom>
            <a:avLst/>
            <a:gdLst>
              <a:gd name="T0" fmla="*/ 227 w 512"/>
              <a:gd name="T1" fmla="*/ 228 h 512"/>
              <a:gd name="T2" fmla="*/ 229 w 512"/>
              <a:gd name="T3" fmla="*/ 232 h 512"/>
              <a:gd name="T4" fmla="*/ 227 w 512"/>
              <a:gd name="T5" fmla="*/ 235 h 512"/>
              <a:gd name="T6" fmla="*/ 214 w 512"/>
              <a:gd name="T7" fmla="*/ 254 h 512"/>
              <a:gd name="T8" fmla="*/ 128 w 512"/>
              <a:gd name="T9" fmla="*/ 208 h 512"/>
              <a:gd name="T10" fmla="*/ 219 w 512"/>
              <a:gd name="T11" fmla="*/ 211 h 512"/>
              <a:gd name="T12" fmla="*/ 226 w 512"/>
              <a:gd name="T13" fmla="*/ 218 h 512"/>
              <a:gd name="T14" fmla="*/ 227 w 512"/>
              <a:gd name="T15" fmla="*/ 228 h 512"/>
              <a:gd name="T16" fmla="*/ 257 w 512"/>
              <a:gd name="T17" fmla="*/ 183 h 512"/>
              <a:gd name="T18" fmla="*/ 248 w 512"/>
              <a:gd name="T19" fmla="*/ 223 h 512"/>
              <a:gd name="T20" fmla="*/ 248 w 512"/>
              <a:gd name="T21" fmla="*/ 223 h 512"/>
              <a:gd name="T22" fmla="*/ 266 w 512"/>
              <a:gd name="T23" fmla="*/ 248 h 512"/>
              <a:gd name="T24" fmla="*/ 385 w 512"/>
              <a:gd name="T25" fmla="*/ 172 h 512"/>
              <a:gd name="T26" fmla="*/ 319 w 512"/>
              <a:gd name="T27" fmla="*/ 165 h 512"/>
              <a:gd name="T28" fmla="*/ 257 w 512"/>
              <a:gd name="T29" fmla="*/ 18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163 h 512"/>
              <a:gd name="T42" fmla="*/ 407 w 512"/>
              <a:gd name="T43" fmla="*/ 155 h 512"/>
              <a:gd name="T44" fmla="*/ 242 w 512"/>
              <a:gd name="T45" fmla="*/ 168 h 512"/>
              <a:gd name="T46" fmla="*/ 228 w 512"/>
              <a:gd name="T47" fmla="*/ 192 h 512"/>
              <a:gd name="T48" fmla="*/ 104 w 512"/>
              <a:gd name="T49" fmla="*/ 191 h 512"/>
              <a:gd name="T50" fmla="*/ 96 w 512"/>
              <a:gd name="T51" fmla="*/ 199 h 512"/>
              <a:gd name="T52" fmla="*/ 99 w 512"/>
              <a:gd name="T53" fmla="*/ 209 h 512"/>
              <a:gd name="T54" fmla="*/ 209 w 512"/>
              <a:gd name="T55" fmla="*/ 276 h 512"/>
              <a:gd name="T56" fmla="*/ 220 w 512"/>
              <a:gd name="T57" fmla="*/ 275 h 512"/>
              <a:gd name="T58" fmla="*/ 224 w 512"/>
              <a:gd name="T59" fmla="*/ 274 h 512"/>
              <a:gd name="T60" fmla="*/ 224 w 512"/>
              <a:gd name="T61" fmla="*/ 405 h 512"/>
              <a:gd name="T62" fmla="*/ 234 w 512"/>
              <a:gd name="T63" fmla="*/ 416 h 512"/>
              <a:gd name="T64" fmla="*/ 245 w 512"/>
              <a:gd name="T65" fmla="*/ 405 h 512"/>
              <a:gd name="T66" fmla="*/ 245 w 512"/>
              <a:gd name="T67" fmla="*/ 261 h 512"/>
              <a:gd name="T68" fmla="*/ 260 w 512"/>
              <a:gd name="T69" fmla="*/ 269 h 512"/>
              <a:gd name="T70" fmla="*/ 271 w 512"/>
              <a:gd name="T71" fmla="*/ 270 h 512"/>
              <a:gd name="T72" fmla="*/ 413 w 512"/>
              <a:gd name="T73" fmla="*/ 173 h 512"/>
              <a:gd name="T74" fmla="*/ 415 w 512"/>
              <a:gd name="T75"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27" y="228"/>
                </a:moveTo>
                <a:cubicBezTo>
                  <a:pt x="228" y="230"/>
                  <a:pt x="228" y="231"/>
                  <a:pt x="229" y="232"/>
                </a:cubicBezTo>
                <a:cubicBezTo>
                  <a:pt x="228" y="233"/>
                  <a:pt x="228" y="234"/>
                  <a:pt x="227" y="235"/>
                </a:cubicBezTo>
                <a:cubicBezTo>
                  <a:pt x="224" y="252"/>
                  <a:pt x="217" y="254"/>
                  <a:pt x="214" y="254"/>
                </a:cubicBezTo>
                <a:cubicBezTo>
                  <a:pt x="195" y="260"/>
                  <a:pt x="156" y="233"/>
                  <a:pt x="128" y="208"/>
                </a:cubicBezTo>
                <a:cubicBezTo>
                  <a:pt x="187" y="196"/>
                  <a:pt x="211" y="204"/>
                  <a:pt x="219" y="211"/>
                </a:cubicBezTo>
                <a:cubicBezTo>
                  <a:pt x="222" y="213"/>
                  <a:pt x="224" y="216"/>
                  <a:pt x="226" y="218"/>
                </a:cubicBezTo>
                <a:cubicBezTo>
                  <a:pt x="226" y="223"/>
                  <a:pt x="227" y="227"/>
                  <a:pt x="227" y="228"/>
                </a:cubicBezTo>
                <a:close/>
                <a:moveTo>
                  <a:pt x="257" y="183"/>
                </a:moveTo>
                <a:cubicBezTo>
                  <a:pt x="242" y="199"/>
                  <a:pt x="248" y="222"/>
                  <a:pt x="248" y="223"/>
                </a:cubicBezTo>
                <a:cubicBezTo>
                  <a:pt x="248" y="223"/>
                  <a:pt x="248" y="223"/>
                  <a:pt x="248" y="223"/>
                </a:cubicBezTo>
                <a:cubicBezTo>
                  <a:pt x="253" y="245"/>
                  <a:pt x="263" y="248"/>
                  <a:pt x="266" y="248"/>
                </a:cubicBezTo>
                <a:cubicBezTo>
                  <a:pt x="293" y="255"/>
                  <a:pt x="348" y="210"/>
                  <a:pt x="385" y="172"/>
                </a:cubicBezTo>
                <a:cubicBezTo>
                  <a:pt x="358" y="167"/>
                  <a:pt x="336" y="165"/>
                  <a:pt x="319" y="165"/>
                </a:cubicBezTo>
                <a:cubicBezTo>
                  <a:pt x="284" y="165"/>
                  <a:pt x="266" y="174"/>
                  <a:pt x="257" y="18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163"/>
                </a:moveTo>
                <a:cubicBezTo>
                  <a:pt x="414" y="159"/>
                  <a:pt x="411" y="156"/>
                  <a:pt x="407" y="155"/>
                </a:cubicBezTo>
                <a:cubicBezTo>
                  <a:pt x="324" y="136"/>
                  <a:pt x="268" y="140"/>
                  <a:pt x="242" y="168"/>
                </a:cubicBezTo>
                <a:cubicBezTo>
                  <a:pt x="235" y="176"/>
                  <a:pt x="231" y="184"/>
                  <a:pt x="228" y="192"/>
                </a:cubicBezTo>
                <a:cubicBezTo>
                  <a:pt x="205" y="177"/>
                  <a:pt x="163" y="177"/>
                  <a:pt x="104" y="191"/>
                </a:cubicBezTo>
                <a:cubicBezTo>
                  <a:pt x="100" y="192"/>
                  <a:pt x="97" y="195"/>
                  <a:pt x="96" y="199"/>
                </a:cubicBezTo>
                <a:cubicBezTo>
                  <a:pt x="95" y="202"/>
                  <a:pt x="96" y="206"/>
                  <a:pt x="99" y="209"/>
                </a:cubicBezTo>
                <a:cubicBezTo>
                  <a:pt x="106" y="217"/>
                  <a:pt x="166" y="276"/>
                  <a:pt x="209" y="276"/>
                </a:cubicBezTo>
                <a:cubicBezTo>
                  <a:pt x="213" y="276"/>
                  <a:pt x="217" y="276"/>
                  <a:pt x="220" y="275"/>
                </a:cubicBezTo>
                <a:cubicBezTo>
                  <a:pt x="221" y="275"/>
                  <a:pt x="222" y="274"/>
                  <a:pt x="224" y="274"/>
                </a:cubicBezTo>
                <a:cubicBezTo>
                  <a:pt x="224" y="405"/>
                  <a:pt x="224" y="405"/>
                  <a:pt x="224" y="405"/>
                </a:cubicBezTo>
                <a:cubicBezTo>
                  <a:pt x="224" y="411"/>
                  <a:pt x="228" y="416"/>
                  <a:pt x="234" y="416"/>
                </a:cubicBezTo>
                <a:cubicBezTo>
                  <a:pt x="240" y="416"/>
                  <a:pt x="245" y="411"/>
                  <a:pt x="245" y="405"/>
                </a:cubicBezTo>
                <a:cubicBezTo>
                  <a:pt x="245" y="261"/>
                  <a:pt x="245" y="261"/>
                  <a:pt x="245" y="261"/>
                </a:cubicBezTo>
                <a:cubicBezTo>
                  <a:pt x="249" y="265"/>
                  <a:pt x="255" y="268"/>
                  <a:pt x="260" y="269"/>
                </a:cubicBezTo>
                <a:cubicBezTo>
                  <a:pt x="264" y="270"/>
                  <a:pt x="268" y="270"/>
                  <a:pt x="271" y="270"/>
                </a:cubicBezTo>
                <a:cubicBezTo>
                  <a:pt x="325" y="270"/>
                  <a:pt x="404" y="183"/>
                  <a:pt x="413" y="173"/>
                </a:cubicBezTo>
                <a:cubicBezTo>
                  <a:pt x="415" y="170"/>
                  <a:pt x="416" y="166"/>
                  <a:pt x="415" y="16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81" name="Freeform 439">
            <a:extLst>
              <a:ext uri="{FF2B5EF4-FFF2-40B4-BE49-F238E27FC236}">
                <a16:creationId xmlns:a16="http://schemas.microsoft.com/office/drawing/2014/main" id="{B18F1591-AAC2-44CB-9636-75FB2FA46BD8}"/>
              </a:ext>
            </a:extLst>
          </p:cNvPr>
          <p:cNvSpPr>
            <a:spLocks noChangeAspect="1" noEditPoints="1"/>
          </p:cNvSpPr>
          <p:nvPr/>
        </p:nvSpPr>
        <p:spPr bwMode="auto">
          <a:xfrm>
            <a:off x="483496" y="3307694"/>
            <a:ext cx="367041" cy="367041"/>
          </a:xfrm>
          <a:custGeom>
            <a:avLst/>
            <a:gdLst>
              <a:gd name="T0" fmla="*/ 294 w 512"/>
              <a:gd name="T1" fmla="*/ 256 h 512"/>
              <a:gd name="T2" fmla="*/ 218 w 512"/>
              <a:gd name="T3" fmla="*/ 256 h 512"/>
              <a:gd name="T4" fmla="*/ 195 w 512"/>
              <a:gd name="T5" fmla="*/ 224 h 512"/>
              <a:gd name="T6" fmla="*/ 356 w 512"/>
              <a:gd name="T7" fmla="*/ 256 h 512"/>
              <a:gd name="T8" fmla="*/ 182 w 512"/>
              <a:gd name="T9" fmla="*/ 310 h 512"/>
              <a:gd name="T10" fmla="*/ 149 w 512"/>
              <a:gd name="T11" fmla="*/ 278 h 512"/>
              <a:gd name="T12" fmla="*/ 331 w 512"/>
              <a:gd name="T13" fmla="*/ 363 h 512"/>
              <a:gd name="T14" fmla="*/ 363 w 512"/>
              <a:gd name="T15" fmla="*/ 331 h 512"/>
              <a:gd name="T16" fmla="*/ 331 w 512"/>
              <a:gd name="T17" fmla="*/ 363 h 512"/>
              <a:gd name="T18" fmla="*/ 221 w 512"/>
              <a:gd name="T19" fmla="*/ 203 h 512"/>
              <a:gd name="T20" fmla="*/ 256 w 512"/>
              <a:gd name="T21" fmla="*/ 174 h 512"/>
              <a:gd name="T22" fmla="*/ 256 w 512"/>
              <a:gd name="T23" fmla="*/ 512 h 512"/>
              <a:gd name="T24" fmla="*/ 256 w 512"/>
              <a:gd name="T25" fmla="*/ 0 h 512"/>
              <a:gd name="T26" fmla="*/ 384 w 512"/>
              <a:gd name="T27" fmla="*/ 256 h 512"/>
              <a:gd name="T28" fmla="*/ 263 w 512"/>
              <a:gd name="T29" fmla="*/ 152 h 512"/>
              <a:gd name="T30" fmla="*/ 132 w 512"/>
              <a:gd name="T31" fmla="*/ 248 h 512"/>
              <a:gd name="T32" fmla="*/ 128 w 512"/>
              <a:gd name="T33" fmla="*/ 278 h 512"/>
              <a:gd name="T34" fmla="*/ 139 w 512"/>
              <a:gd name="T35" fmla="*/ 384 h 512"/>
              <a:gd name="T36" fmla="*/ 203 w 512"/>
              <a:gd name="T37" fmla="*/ 374 h 512"/>
              <a:gd name="T38" fmla="*/ 256 w 512"/>
              <a:gd name="T39" fmla="*/ 267 h 512"/>
              <a:gd name="T40" fmla="*/ 309 w 512"/>
              <a:gd name="T41" fmla="*/ 374 h 512"/>
              <a:gd name="T42" fmla="*/ 373 w 512"/>
              <a:gd name="T43" fmla="*/ 384 h 512"/>
              <a:gd name="T44" fmla="*/ 384 w 512"/>
              <a:gd name="T45" fmla="*/ 256 h 512"/>
              <a:gd name="T46" fmla="*/ 263 w 512"/>
              <a:gd name="T47" fmla="*/ 109 h 512"/>
              <a:gd name="T48" fmla="*/ 101 w 512"/>
              <a:gd name="T49" fmla="*/ 227 h 512"/>
              <a:gd name="T50" fmla="*/ 114 w 512"/>
              <a:gd name="T51" fmla="*/ 243 h 512"/>
              <a:gd name="T52" fmla="*/ 398 w 512"/>
              <a:gd name="T53" fmla="*/ 243 h 512"/>
              <a:gd name="T54" fmla="*/ 413 w 512"/>
              <a:gd name="T55" fmla="*/ 242 h 512"/>
              <a:gd name="T56" fmla="*/ 330 w 512"/>
              <a:gd name="T57" fmla="*/ 310 h 512"/>
              <a:gd name="T58" fmla="*/ 363 w 512"/>
              <a:gd name="T59" fmla="*/ 310 h 512"/>
              <a:gd name="T60" fmla="*/ 317 w 512"/>
              <a:gd name="T61" fmla="*/ 278 h 512"/>
              <a:gd name="T62" fmla="*/ 149 w 512"/>
              <a:gd name="T63" fmla="*/ 363 h 512"/>
              <a:gd name="T64" fmla="*/ 181 w 512"/>
              <a:gd name="T65" fmla="*/ 331 h 512"/>
              <a:gd name="T66" fmla="*/ 149 w 512"/>
              <a:gd name="T67"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356" y="256"/>
                </a:moveTo>
                <a:cubicBezTo>
                  <a:pt x="294" y="256"/>
                  <a:pt x="294" y="256"/>
                  <a:pt x="294" y="256"/>
                </a:cubicBezTo>
                <a:cubicBezTo>
                  <a:pt x="283" y="250"/>
                  <a:pt x="270" y="246"/>
                  <a:pt x="256" y="246"/>
                </a:cubicBezTo>
                <a:cubicBezTo>
                  <a:pt x="242" y="246"/>
                  <a:pt x="229" y="250"/>
                  <a:pt x="218" y="256"/>
                </a:cubicBezTo>
                <a:cubicBezTo>
                  <a:pt x="156" y="256"/>
                  <a:pt x="156" y="256"/>
                  <a:pt x="156" y="256"/>
                </a:cubicBezTo>
                <a:cubicBezTo>
                  <a:pt x="195" y="224"/>
                  <a:pt x="195" y="224"/>
                  <a:pt x="195" y="224"/>
                </a:cubicBezTo>
                <a:cubicBezTo>
                  <a:pt x="317" y="224"/>
                  <a:pt x="317" y="224"/>
                  <a:pt x="317" y="224"/>
                </a:cubicBezTo>
                <a:lnTo>
                  <a:pt x="356" y="256"/>
                </a:lnTo>
                <a:close/>
                <a:moveTo>
                  <a:pt x="149" y="310"/>
                </a:moveTo>
                <a:cubicBezTo>
                  <a:pt x="182" y="310"/>
                  <a:pt x="182" y="310"/>
                  <a:pt x="182" y="310"/>
                </a:cubicBezTo>
                <a:cubicBezTo>
                  <a:pt x="184" y="298"/>
                  <a:pt x="188" y="287"/>
                  <a:pt x="195" y="278"/>
                </a:cubicBezTo>
                <a:cubicBezTo>
                  <a:pt x="149" y="278"/>
                  <a:pt x="149" y="278"/>
                  <a:pt x="149" y="278"/>
                </a:cubicBezTo>
                <a:lnTo>
                  <a:pt x="149" y="310"/>
                </a:lnTo>
                <a:close/>
                <a:moveTo>
                  <a:pt x="331" y="363"/>
                </a:moveTo>
                <a:cubicBezTo>
                  <a:pt x="363" y="363"/>
                  <a:pt x="363" y="363"/>
                  <a:pt x="363" y="363"/>
                </a:cubicBezTo>
                <a:cubicBezTo>
                  <a:pt x="363" y="331"/>
                  <a:pt x="363" y="331"/>
                  <a:pt x="363" y="331"/>
                </a:cubicBezTo>
                <a:cubicBezTo>
                  <a:pt x="331" y="331"/>
                  <a:pt x="331" y="331"/>
                  <a:pt x="331" y="331"/>
                </a:cubicBezTo>
                <a:lnTo>
                  <a:pt x="331" y="363"/>
                </a:lnTo>
                <a:close/>
                <a:moveTo>
                  <a:pt x="256" y="174"/>
                </a:moveTo>
                <a:cubicBezTo>
                  <a:pt x="221" y="203"/>
                  <a:pt x="221" y="203"/>
                  <a:pt x="221" y="203"/>
                </a:cubicBezTo>
                <a:cubicBezTo>
                  <a:pt x="291" y="203"/>
                  <a:pt x="291" y="203"/>
                  <a:pt x="291" y="203"/>
                </a:cubicBezTo>
                <a:lnTo>
                  <a:pt x="256" y="174"/>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84" y="256"/>
                </a:moveTo>
                <a:cubicBezTo>
                  <a:pt x="384" y="253"/>
                  <a:pt x="383" y="250"/>
                  <a:pt x="380" y="248"/>
                </a:cubicBezTo>
                <a:cubicBezTo>
                  <a:pt x="263" y="152"/>
                  <a:pt x="263" y="152"/>
                  <a:pt x="263" y="152"/>
                </a:cubicBezTo>
                <a:cubicBezTo>
                  <a:pt x="259" y="149"/>
                  <a:pt x="253" y="149"/>
                  <a:pt x="249" y="152"/>
                </a:cubicBezTo>
                <a:cubicBezTo>
                  <a:pt x="132" y="248"/>
                  <a:pt x="132" y="248"/>
                  <a:pt x="132" y="248"/>
                </a:cubicBezTo>
                <a:cubicBezTo>
                  <a:pt x="129" y="250"/>
                  <a:pt x="128" y="253"/>
                  <a:pt x="128" y="256"/>
                </a:cubicBezTo>
                <a:cubicBezTo>
                  <a:pt x="128" y="278"/>
                  <a:pt x="128" y="278"/>
                  <a:pt x="128" y="278"/>
                </a:cubicBezTo>
                <a:cubicBezTo>
                  <a:pt x="128" y="374"/>
                  <a:pt x="128" y="374"/>
                  <a:pt x="128" y="374"/>
                </a:cubicBezTo>
                <a:cubicBezTo>
                  <a:pt x="128" y="380"/>
                  <a:pt x="133" y="384"/>
                  <a:pt x="139" y="384"/>
                </a:cubicBezTo>
                <a:cubicBezTo>
                  <a:pt x="192" y="384"/>
                  <a:pt x="192" y="384"/>
                  <a:pt x="192" y="384"/>
                </a:cubicBezTo>
                <a:cubicBezTo>
                  <a:pt x="198" y="384"/>
                  <a:pt x="203" y="380"/>
                  <a:pt x="203" y="374"/>
                </a:cubicBezTo>
                <a:cubicBezTo>
                  <a:pt x="203" y="320"/>
                  <a:pt x="203" y="320"/>
                  <a:pt x="203" y="320"/>
                </a:cubicBezTo>
                <a:cubicBezTo>
                  <a:pt x="203" y="291"/>
                  <a:pt x="227" y="267"/>
                  <a:pt x="256" y="267"/>
                </a:cubicBezTo>
                <a:cubicBezTo>
                  <a:pt x="285" y="267"/>
                  <a:pt x="309" y="291"/>
                  <a:pt x="309" y="320"/>
                </a:cubicBezTo>
                <a:cubicBezTo>
                  <a:pt x="309" y="374"/>
                  <a:pt x="309" y="374"/>
                  <a:pt x="309" y="374"/>
                </a:cubicBezTo>
                <a:cubicBezTo>
                  <a:pt x="309" y="380"/>
                  <a:pt x="314" y="384"/>
                  <a:pt x="320" y="384"/>
                </a:cubicBezTo>
                <a:cubicBezTo>
                  <a:pt x="373" y="384"/>
                  <a:pt x="373" y="384"/>
                  <a:pt x="373" y="384"/>
                </a:cubicBezTo>
                <a:cubicBezTo>
                  <a:pt x="379" y="384"/>
                  <a:pt x="384" y="380"/>
                  <a:pt x="384" y="374"/>
                </a:cubicBezTo>
                <a:lnTo>
                  <a:pt x="384" y="256"/>
                </a:lnTo>
                <a:close/>
                <a:moveTo>
                  <a:pt x="411" y="227"/>
                </a:moveTo>
                <a:cubicBezTo>
                  <a:pt x="263" y="109"/>
                  <a:pt x="263" y="109"/>
                  <a:pt x="263" y="109"/>
                </a:cubicBezTo>
                <a:cubicBezTo>
                  <a:pt x="259" y="106"/>
                  <a:pt x="253" y="106"/>
                  <a:pt x="249" y="109"/>
                </a:cubicBezTo>
                <a:cubicBezTo>
                  <a:pt x="101" y="227"/>
                  <a:pt x="101" y="227"/>
                  <a:pt x="101" y="227"/>
                </a:cubicBezTo>
                <a:cubicBezTo>
                  <a:pt x="97" y="230"/>
                  <a:pt x="96" y="237"/>
                  <a:pt x="99" y="242"/>
                </a:cubicBezTo>
                <a:cubicBezTo>
                  <a:pt x="103" y="246"/>
                  <a:pt x="110" y="247"/>
                  <a:pt x="114" y="243"/>
                </a:cubicBezTo>
                <a:cubicBezTo>
                  <a:pt x="256" y="131"/>
                  <a:pt x="256" y="131"/>
                  <a:pt x="256" y="131"/>
                </a:cubicBezTo>
                <a:cubicBezTo>
                  <a:pt x="398" y="243"/>
                  <a:pt x="398" y="243"/>
                  <a:pt x="398" y="243"/>
                </a:cubicBezTo>
                <a:cubicBezTo>
                  <a:pt x="399" y="245"/>
                  <a:pt x="402" y="246"/>
                  <a:pt x="404" y="246"/>
                </a:cubicBezTo>
                <a:cubicBezTo>
                  <a:pt x="407" y="246"/>
                  <a:pt x="410" y="244"/>
                  <a:pt x="413" y="242"/>
                </a:cubicBezTo>
                <a:cubicBezTo>
                  <a:pt x="416" y="237"/>
                  <a:pt x="415" y="230"/>
                  <a:pt x="411" y="227"/>
                </a:cubicBezTo>
                <a:close/>
                <a:moveTo>
                  <a:pt x="330" y="310"/>
                </a:moveTo>
                <a:cubicBezTo>
                  <a:pt x="330" y="310"/>
                  <a:pt x="330" y="310"/>
                  <a:pt x="331" y="310"/>
                </a:cubicBezTo>
                <a:cubicBezTo>
                  <a:pt x="363" y="310"/>
                  <a:pt x="363" y="310"/>
                  <a:pt x="363" y="310"/>
                </a:cubicBezTo>
                <a:cubicBezTo>
                  <a:pt x="363" y="278"/>
                  <a:pt x="363" y="278"/>
                  <a:pt x="363" y="278"/>
                </a:cubicBezTo>
                <a:cubicBezTo>
                  <a:pt x="317" y="278"/>
                  <a:pt x="317" y="278"/>
                  <a:pt x="317" y="278"/>
                </a:cubicBezTo>
                <a:cubicBezTo>
                  <a:pt x="324" y="287"/>
                  <a:pt x="328" y="298"/>
                  <a:pt x="330" y="310"/>
                </a:cubicBezTo>
                <a:close/>
                <a:moveTo>
                  <a:pt x="149" y="363"/>
                </a:moveTo>
                <a:cubicBezTo>
                  <a:pt x="181" y="363"/>
                  <a:pt x="181" y="363"/>
                  <a:pt x="181" y="363"/>
                </a:cubicBezTo>
                <a:cubicBezTo>
                  <a:pt x="181" y="331"/>
                  <a:pt x="181" y="331"/>
                  <a:pt x="181" y="331"/>
                </a:cubicBezTo>
                <a:cubicBezTo>
                  <a:pt x="149" y="331"/>
                  <a:pt x="149" y="331"/>
                  <a:pt x="149" y="331"/>
                </a:cubicBezTo>
                <a:lnTo>
                  <a:pt x="149" y="36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2" name="Group 442">
            <a:extLst>
              <a:ext uri="{FF2B5EF4-FFF2-40B4-BE49-F238E27FC236}">
                <a16:creationId xmlns:a16="http://schemas.microsoft.com/office/drawing/2014/main" id="{0FCA7F22-E3AA-443E-A269-851019BF8FA9}"/>
              </a:ext>
            </a:extLst>
          </p:cNvPr>
          <p:cNvGrpSpPr>
            <a:grpSpLocks noChangeAspect="1"/>
          </p:cNvGrpSpPr>
          <p:nvPr/>
        </p:nvGrpSpPr>
        <p:grpSpPr bwMode="auto">
          <a:xfrm>
            <a:off x="913393" y="3307694"/>
            <a:ext cx="367041" cy="367041"/>
            <a:chOff x="5294" y="1904"/>
            <a:chExt cx="340" cy="340"/>
          </a:xfrm>
          <a:solidFill>
            <a:schemeClr val="accent5"/>
          </a:solidFill>
        </p:grpSpPr>
        <p:sp>
          <p:nvSpPr>
            <p:cNvPr id="583" name="Freeform 443">
              <a:extLst>
                <a:ext uri="{FF2B5EF4-FFF2-40B4-BE49-F238E27FC236}">
                  <a16:creationId xmlns:a16="http://schemas.microsoft.com/office/drawing/2014/main" id="{973B00DD-83EE-461F-95C3-636D363AD38E}"/>
                </a:ext>
              </a:extLst>
            </p:cNvPr>
            <p:cNvSpPr>
              <a:spLocks noEditPoints="1"/>
            </p:cNvSpPr>
            <p:nvPr/>
          </p:nvSpPr>
          <p:spPr bwMode="auto">
            <a:xfrm>
              <a:off x="5358" y="1974"/>
              <a:ext cx="212" cy="185"/>
            </a:xfrm>
            <a:custGeom>
              <a:avLst/>
              <a:gdLst>
                <a:gd name="T0" fmla="*/ 317 w 320"/>
                <a:gd name="T1" fmla="*/ 136 h 278"/>
                <a:gd name="T2" fmla="*/ 308 w 320"/>
                <a:gd name="T3" fmla="*/ 140 h 278"/>
                <a:gd name="T4" fmla="*/ 302 w 320"/>
                <a:gd name="T5" fmla="*/ 137 h 278"/>
                <a:gd name="T6" fmla="*/ 160 w 320"/>
                <a:gd name="T7" fmla="*/ 25 h 278"/>
                <a:gd name="T8" fmla="*/ 18 w 320"/>
                <a:gd name="T9" fmla="*/ 137 h 278"/>
                <a:gd name="T10" fmla="*/ 3 w 320"/>
                <a:gd name="T11" fmla="*/ 136 h 278"/>
                <a:gd name="T12" fmla="*/ 5 w 320"/>
                <a:gd name="T13" fmla="*/ 121 h 278"/>
                <a:gd name="T14" fmla="*/ 153 w 320"/>
                <a:gd name="T15" fmla="*/ 3 h 278"/>
                <a:gd name="T16" fmla="*/ 167 w 320"/>
                <a:gd name="T17" fmla="*/ 3 h 278"/>
                <a:gd name="T18" fmla="*/ 315 w 320"/>
                <a:gd name="T19" fmla="*/ 121 h 278"/>
                <a:gd name="T20" fmla="*/ 317 w 320"/>
                <a:gd name="T21" fmla="*/ 136 h 278"/>
                <a:gd name="T22" fmla="*/ 284 w 320"/>
                <a:gd name="T23" fmla="*/ 142 h 278"/>
                <a:gd name="T24" fmla="*/ 288 w 320"/>
                <a:gd name="T25" fmla="*/ 150 h 278"/>
                <a:gd name="T26" fmla="*/ 288 w 320"/>
                <a:gd name="T27" fmla="*/ 268 h 278"/>
                <a:gd name="T28" fmla="*/ 277 w 320"/>
                <a:gd name="T29" fmla="*/ 278 h 278"/>
                <a:gd name="T30" fmla="*/ 224 w 320"/>
                <a:gd name="T31" fmla="*/ 278 h 278"/>
                <a:gd name="T32" fmla="*/ 213 w 320"/>
                <a:gd name="T33" fmla="*/ 268 h 278"/>
                <a:gd name="T34" fmla="*/ 213 w 320"/>
                <a:gd name="T35" fmla="*/ 214 h 278"/>
                <a:gd name="T36" fmla="*/ 160 w 320"/>
                <a:gd name="T37" fmla="*/ 161 h 278"/>
                <a:gd name="T38" fmla="*/ 107 w 320"/>
                <a:gd name="T39" fmla="*/ 214 h 278"/>
                <a:gd name="T40" fmla="*/ 107 w 320"/>
                <a:gd name="T41" fmla="*/ 268 h 278"/>
                <a:gd name="T42" fmla="*/ 96 w 320"/>
                <a:gd name="T43" fmla="*/ 278 h 278"/>
                <a:gd name="T44" fmla="*/ 43 w 320"/>
                <a:gd name="T45" fmla="*/ 278 h 278"/>
                <a:gd name="T46" fmla="*/ 32 w 320"/>
                <a:gd name="T47" fmla="*/ 268 h 278"/>
                <a:gd name="T48" fmla="*/ 32 w 320"/>
                <a:gd name="T49" fmla="*/ 172 h 278"/>
                <a:gd name="T50" fmla="*/ 32 w 320"/>
                <a:gd name="T51" fmla="*/ 150 h 278"/>
                <a:gd name="T52" fmla="*/ 36 w 320"/>
                <a:gd name="T53" fmla="*/ 142 h 278"/>
                <a:gd name="T54" fmla="*/ 153 w 320"/>
                <a:gd name="T55" fmla="*/ 46 h 278"/>
                <a:gd name="T56" fmla="*/ 167 w 320"/>
                <a:gd name="T57" fmla="*/ 46 h 278"/>
                <a:gd name="T58" fmla="*/ 284 w 320"/>
                <a:gd name="T59" fmla="*/ 142 h 278"/>
                <a:gd name="T60" fmla="*/ 235 w 320"/>
                <a:gd name="T61" fmla="*/ 204 h 278"/>
                <a:gd name="T62" fmla="*/ 267 w 320"/>
                <a:gd name="T63" fmla="*/ 204 h 278"/>
                <a:gd name="T64" fmla="*/ 267 w 320"/>
                <a:gd name="T65" fmla="*/ 172 h 278"/>
                <a:gd name="T66" fmla="*/ 221 w 320"/>
                <a:gd name="T67" fmla="*/ 172 h 278"/>
                <a:gd name="T68" fmla="*/ 234 w 320"/>
                <a:gd name="T69" fmla="*/ 204 h 278"/>
                <a:gd name="T70" fmla="*/ 235 w 320"/>
                <a:gd name="T71" fmla="*/ 204 h 278"/>
                <a:gd name="T72" fmla="*/ 125 w 320"/>
                <a:gd name="T73" fmla="*/ 97 h 278"/>
                <a:gd name="T74" fmla="*/ 195 w 320"/>
                <a:gd name="T75" fmla="*/ 97 h 278"/>
                <a:gd name="T76" fmla="*/ 160 w 320"/>
                <a:gd name="T77" fmla="*/ 68 h 278"/>
                <a:gd name="T78" fmla="*/ 125 w 320"/>
                <a:gd name="T79" fmla="*/ 97 h 278"/>
                <a:gd name="T80" fmla="*/ 53 w 320"/>
                <a:gd name="T81" fmla="*/ 172 h 278"/>
                <a:gd name="T82" fmla="*/ 53 w 320"/>
                <a:gd name="T83" fmla="*/ 204 h 278"/>
                <a:gd name="T84" fmla="*/ 86 w 320"/>
                <a:gd name="T85" fmla="*/ 204 h 278"/>
                <a:gd name="T86" fmla="*/ 99 w 320"/>
                <a:gd name="T87" fmla="*/ 172 h 278"/>
                <a:gd name="T88" fmla="*/ 53 w 320"/>
                <a:gd name="T89" fmla="*/ 172 h 278"/>
                <a:gd name="T90" fmla="*/ 53 w 320"/>
                <a:gd name="T91" fmla="*/ 257 h 278"/>
                <a:gd name="T92" fmla="*/ 85 w 320"/>
                <a:gd name="T93" fmla="*/ 257 h 278"/>
                <a:gd name="T94" fmla="*/ 85 w 320"/>
                <a:gd name="T95" fmla="*/ 225 h 278"/>
                <a:gd name="T96" fmla="*/ 53 w 320"/>
                <a:gd name="T97" fmla="*/ 225 h 278"/>
                <a:gd name="T98" fmla="*/ 53 w 320"/>
                <a:gd name="T99" fmla="*/ 257 h 278"/>
                <a:gd name="T100" fmla="*/ 160 w 320"/>
                <a:gd name="T101" fmla="*/ 140 h 278"/>
                <a:gd name="T102" fmla="*/ 198 w 320"/>
                <a:gd name="T103" fmla="*/ 150 h 278"/>
                <a:gd name="T104" fmla="*/ 260 w 320"/>
                <a:gd name="T105" fmla="*/ 150 h 278"/>
                <a:gd name="T106" fmla="*/ 221 w 320"/>
                <a:gd name="T107" fmla="*/ 118 h 278"/>
                <a:gd name="T108" fmla="*/ 99 w 320"/>
                <a:gd name="T109" fmla="*/ 118 h 278"/>
                <a:gd name="T110" fmla="*/ 60 w 320"/>
                <a:gd name="T111" fmla="*/ 150 h 278"/>
                <a:gd name="T112" fmla="*/ 122 w 320"/>
                <a:gd name="T113" fmla="*/ 150 h 278"/>
                <a:gd name="T114" fmla="*/ 160 w 320"/>
                <a:gd name="T115" fmla="*/ 140 h 278"/>
                <a:gd name="T116" fmla="*/ 267 w 320"/>
                <a:gd name="T117" fmla="*/ 257 h 278"/>
                <a:gd name="T118" fmla="*/ 267 w 320"/>
                <a:gd name="T119" fmla="*/ 225 h 278"/>
                <a:gd name="T120" fmla="*/ 235 w 320"/>
                <a:gd name="T121" fmla="*/ 225 h 278"/>
                <a:gd name="T122" fmla="*/ 235 w 320"/>
                <a:gd name="T123" fmla="*/ 257 h 278"/>
                <a:gd name="T124" fmla="*/ 267 w 320"/>
                <a:gd name="T125"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0" h="278">
                  <a:moveTo>
                    <a:pt x="317" y="136"/>
                  </a:moveTo>
                  <a:cubicBezTo>
                    <a:pt x="314" y="138"/>
                    <a:pt x="311" y="140"/>
                    <a:pt x="308" y="140"/>
                  </a:cubicBezTo>
                  <a:cubicBezTo>
                    <a:pt x="306" y="140"/>
                    <a:pt x="303" y="139"/>
                    <a:pt x="302" y="137"/>
                  </a:cubicBezTo>
                  <a:cubicBezTo>
                    <a:pt x="160" y="25"/>
                    <a:pt x="160" y="25"/>
                    <a:pt x="160" y="25"/>
                  </a:cubicBezTo>
                  <a:cubicBezTo>
                    <a:pt x="18" y="137"/>
                    <a:pt x="18" y="137"/>
                    <a:pt x="18" y="137"/>
                  </a:cubicBezTo>
                  <a:cubicBezTo>
                    <a:pt x="14" y="141"/>
                    <a:pt x="7" y="140"/>
                    <a:pt x="3" y="136"/>
                  </a:cubicBezTo>
                  <a:cubicBezTo>
                    <a:pt x="0" y="131"/>
                    <a:pt x="1" y="124"/>
                    <a:pt x="5" y="121"/>
                  </a:cubicBezTo>
                  <a:cubicBezTo>
                    <a:pt x="153" y="3"/>
                    <a:pt x="153" y="3"/>
                    <a:pt x="153" y="3"/>
                  </a:cubicBezTo>
                  <a:cubicBezTo>
                    <a:pt x="157" y="0"/>
                    <a:pt x="163" y="0"/>
                    <a:pt x="167" y="3"/>
                  </a:cubicBezTo>
                  <a:cubicBezTo>
                    <a:pt x="315" y="121"/>
                    <a:pt x="315" y="121"/>
                    <a:pt x="315" y="121"/>
                  </a:cubicBezTo>
                  <a:cubicBezTo>
                    <a:pt x="319" y="124"/>
                    <a:pt x="320" y="131"/>
                    <a:pt x="317" y="136"/>
                  </a:cubicBezTo>
                  <a:close/>
                  <a:moveTo>
                    <a:pt x="284" y="142"/>
                  </a:moveTo>
                  <a:cubicBezTo>
                    <a:pt x="287" y="144"/>
                    <a:pt x="288" y="147"/>
                    <a:pt x="288" y="150"/>
                  </a:cubicBezTo>
                  <a:cubicBezTo>
                    <a:pt x="288" y="268"/>
                    <a:pt x="288" y="268"/>
                    <a:pt x="288" y="268"/>
                  </a:cubicBezTo>
                  <a:cubicBezTo>
                    <a:pt x="288" y="274"/>
                    <a:pt x="283" y="278"/>
                    <a:pt x="277" y="278"/>
                  </a:cubicBezTo>
                  <a:cubicBezTo>
                    <a:pt x="224" y="278"/>
                    <a:pt x="224" y="278"/>
                    <a:pt x="224" y="278"/>
                  </a:cubicBezTo>
                  <a:cubicBezTo>
                    <a:pt x="218" y="278"/>
                    <a:pt x="213" y="274"/>
                    <a:pt x="213" y="268"/>
                  </a:cubicBezTo>
                  <a:cubicBezTo>
                    <a:pt x="213" y="214"/>
                    <a:pt x="213" y="214"/>
                    <a:pt x="213" y="214"/>
                  </a:cubicBezTo>
                  <a:cubicBezTo>
                    <a:pt x="213" y="185"/>
                    <a:pt x="189" y="161"/>
                    <a:pt x="160" y="161"/>
                  </a:cubicBezTo>
                  <a:cubicBezTo>
                    <a:pt x="131" y="161"/>
                    <a:pt x="107" y="185"/>
                    <a:pt x="107" y="214"/>
                  </a:cubicBezTo>
                  <a:cubicBezTo>
                    <a:pt x="107" y="268"/>
                    <a:pt x="107" y="268"/>
                    <a:pt x="107" y="268"/>
                  </a:cubicBezTo>
                  <a:cubicBezTo>
                    <a:pt x="107" y="274"/>
                    <a:pt x="102" y="278"/>
                    <a:pt x="96" y="278"/>
                  </a:cubicBezTo>
                  <a:cubicBezTo>
                    <a:pt x="43" y="278"/>
                    <a:pt x="43" y="278"/>
                    <a:pt x="43" y="278"/>
                  </a:cubicBezTo>
                  <a:cubicBezTo>
                    <a:pt x="37" y="278"/>
                    <a:pt x="32" y="274"/>
                    <a:pt x="32" y="268"/>
                  </a:cubicBezTo>
                  <a:cubicBezTo>
                    <a:pt x="32" y="172"/>
                    <a:pt x="32" y="172"/>
                    <a:pt x="32" y="172"/>
                  </a:cubicBezTo>
                  <a:cubicBezTo>
                    <a:pt x="32" y="150"/>
                    <a:pt x="32" y="150"/>
                    <a:pt x="32" y="150"/>
                  </a:cubicBezTo>
                  <a:cubicBezTo>
                    <a:pt x="32" y="147"/>
                    <a:pt x="33" y="144"/>
                    <a:pt x="36" y="142"/>
                  </a:cubicBezTo>
                  <a:cubicBezTo>
                    <a:pt x="153" y="46"/>
                    <a:pt x="153" y="46"/>
                    <a:pt x="153" y="46"/>
                  </a:cubicBezTo>
                  <a:cubicBezTo>
                    <a:pt x="157" y="43"/>
                    <a:pt x="163" y="43"/>
                    <a:pt x="167" y="46"/>
                  </a:cubicBezTo>
                  <a:lnTo>
                    <a:pt x="284" y="142"/>
                  </a:lnTo>
                  <a:close/>
                  <a:moveTo>
                    <a:pt x="235" y="204"/>
                  </a:moveTo>
                  <a:cubicBezTo>
                    <a:pt x="267" y="204"/>
                    <a:pt x="267" y="204"/>
                    <a:pt x="267" y="204"/>
                  </a:cubicBezTo>
                  <a:cubicBezTo>
                    <a:pt x="267" y="172"/>
                    <a:pt x="267" y="172"/>
                    <a:pt x="267" y="172"/>
                  </a:cubicBezTo>
                  <a:cubicBezTo>
                    <a:pt x="221" y="172"/>
                    <a:pt x="221" y="172"/>
                    <a:pt x="221" y="172"/>
                  </a:cubicBezTo>
                  <a:cubicBezTo>
                    <a:pt x="228" y="181"/>
                    <a:pt x="232" y="192"/>
                    <a:pt x="234" y="204"/>
                  </a:cubicBezTo>
                  <a:cubicBezTo>
                    <a:pt x="234" y="204"/>
                    <a:pt x="234" y="204"/>
                    <a:pt x="235" y="204"/>
                  </a:cubicBezTo>
                  <a:close/>
                  <a:moveTo>
                    <a:pt x="125" y="97"/>
                  </a:moveTo>
                  <a:cubicBezTo>
                    <a:pt x="195" y="97"/>
                    <a:pt x="195" y="97"/>
                    <a:pt x="195" y="97"/>
                  </a:cubicBezTo>
                  <a:cubicBezTo>
                    <a:pt x="160" y="68"/>
                    <a:pt x="160" y="68"/>
                    <a:pt x="160" y="68"/>
                  </a:cubicBezTo>
                  <a:lnTo>
                    <a:pt x="125" y="97"/>
                  </a:lnTo>
                  <a:close/>
                  <a:moveTo>
                    <a:pt x="53" y="172"/>
                  </a:moveTo>
                  <a:cubicBezTo>
                    <a:pt x="53" y="204"/>
                    <a:pt x="53" y="204"/>
                    <a:pt x="53" y="204"/>
                  </a:cubicBezTo>
                  <a:cubicBezTo>
                    <a:pt x="86" y="204"/>
                    <a:pt x="86" y="204"/>
                    <a:pt x="86" y="204"/>
                  </a:cubicBezTo>
                  <a:cubicBezTo>
                    <a:pt x="88" y="192"/>
                    <a:pt x="92" y="181"/>
                    <a:pt x="99" y="172"/>
                  </a:cubicBezTo>
                  <a:lnTo>
                    <a:pt x="53" y="172"/>
                  </a:lnTo>
                  <a:close/>
                  <a:moveTo>
                    <a:pt x="53" y="257"/>
                  </a:moveTo>
                  <a:cubicBezTo>
                    <a:pt x="85" y="257"/>
                    <a:pt x="85" y="257"/>
                    <a:pt x="85" y="257"/>
                  </a:cubicBezTo>
                  <a:cubicBezTo>
                    <a:pt x="85" y="225"/>
                    <a:pt x="85" y="225"/>
                    <a:pt x="85" y="225"/>
                  </a:cubicBezTo>
                  <a:cubicBezTo>
                    <a:pt x="53" y="225"/>
                    <a:pt x="53" y="225"/>
                    <a:pt x="53" y="225"/>
                  </a:cubicBezTo>
                  <a:lnTo>
                    <a:pt x="53" y="257"/>
                  </a:lnTo>
                  <a:close/>
                  <a:moveTo>
                    <a:pt x="160" y="140"/>
                  </a:moveTo>
                  <a:cubicBezTo>
                    <a:pt x="174" y="140"/>
                    <a:pt x="187" y="144"/>
                    <a:pt x="198" y="150"/>
                  </a:cubicBezTo>
                  <a:cubicBezTo>
                    <a:pt x="260" y="150"/>
                    <a:pt x="260" y="150"/>
                    <a:pt x="260" y="150"/>
                  </a:cubicBezTo>
                  <a:cubicBezTo>
                    <a:pt x="221" y="118"/>
                    <a:pt x="221" y="118"/>
                    <a:pt x="221" y="118"/>
                  </a:cubicBezTo>
                  <a:cubicBezTo>
                    <a:pt x="99" y="118"/>
                    <a:pt x="99" y="118"/>
                    <a:pt x="99" y="118"/>
                  </a:cubicBezTo>
                  <a:cubicBezTo>
                    <a:pt x="60" y="150"/>
                    <a:pt x="60" y="150"/>
                    <a:pt x="60" y="150"/>
                  </a:cubicBezTo>
                  <a:cubicBezTo>
                    <a:pt x="122" y="150"/>
                    <a:pt x="122" y="150"/>
                    <a:pt x="122" y="150"/>
                  </a:cubicBezTo>
                  <a:cubicBezTo>
                    <a:pt x="133" y="144"/>
                    <a:pt x="146" y="140"/>
                    <a:pt x="160" y="140"/>
                  </a:cubicBezTo>
                  <a:close/>
                  <a:moveTo>
                    <a:pt x="267" y="257"/>
                  </a:moveTo>
                  <a:cubicBezTo>
                    <a:pt x="267" y="225"/>
                    <a:pt x="267" y="225"/>
                    <a:pt x="267" y="225"/>
                  </a:cubicBezTo>
                  <a:cubicBezTo>
                    <a:pt x="235" y="225"/>
                    <a:pt x="235" y="225"/>
                    <a:pt x="235" y="225"/>
                  </a:cubicBezTo>
                  <a:cubicBezTo>
                    <a:pt x="235" y="257"/>
                    <a:pt x="235" y="257"/>
                    <a:pt x="235" y="257"/>
                  </a:cubicBezTo>
                  <a:lnTo>
                    <a:pt x="267" y="2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4" name="Freeform 444">
              <a:extLst>
                <a:ext uri="{FF2B5EF4-FFF2-40B4-BE49-F238E27FC236}">
                  <a16:creationId xmlns:a16="http://schemas.microsoft.com/office/drawing/2014/main" id="{E68736D2-FC7D-407E-B3E7-A37F0EABF766}"/>
                </a:ext>
              </a:extLst>
            </p:cNvPr>
            <p:cNvSpPr>
              <a:spLocks noEditPoints="1"/>
            </p:cNvSpPr>
            <p:nvPr/>
          </p:nvSpPr>
          <p:spPr bwMode="auto">
            <a:xfrm>
              <a:off x="5294" y="190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5" name="Freeform 876">
            <a:extLst>
              <a:ext uri="{FF2B5EF4-FFF2-40B4-BE49-F238E27FC236}">
                <a16:creationId xmlns:a16="http://schemas.microsoft.com/office/drawing/2014/main" id="{EE1B4835-5CB0-4AEE-BFB4-EFA28E0A24F1}"/>
              </a:ext>
            </a:extLst>
          </p:cNvPr>
          <p:cNvSpPr>
            <a:spLocks noChangeAspect="1" noEditPoints="1"/>
          </p:cNvSpPr>
          <p:nvPr/>
        </p:nvSpPr>
        <p:spPr bwMode="auto">
          <a:xfrm>
            <a:off x="1343290" y="3307694"/>
            <a:ext cx="367631" cy="367631"/>
          </a:xfrm>
          <a:custGeom>
            <a:avLst/>
            <a:gdLst>
              <a:gd name="T0" fmla="*/ 245 w 512"/>
              <a:gd name="T1" fmla="*/ 394 h 512"/>
              <a:gd name="T2" fmla="*/ 171 w 512"/>
              <a:gd name="T3" fmla="*/ 330 h 512"/>
              <a:gd name="T4" fmla="*/ 280 w 512"/>
              <a:gd name="T5" fmla="*/ 257 h 512"/>
              <a:gd name="T6" fmla="*/ 301 w 512"/>
              <a:gd name="T7" fmla="*/ 242 h 512"/>
              <a:gd name="T8" fmla="*/ 275 w 512"/>
              <a:gd name="T9" fmla="*/ 246 h 512"/>
              <a:gd name="T10" fmla="*/ 214 w 512"/>
              <a:gd name="T11" fmla="*/ 176 h 512"/>
              <a:gd name="T12" fmla="*/ 183 w 512"/>
              <a:gd name="T13" fmla="*/ 170 h 512"/>
              <a:gd name="T14" fmla="*/ 178 w 512"/>
              <a:gd name="T15" fmla="*/ 185 h 512"/>
              <a:gd name="T16" fmla="*/ 207 w 512"/>
              <a:gd name="T17" fmla="*/ 197 h 512"/>
              <a:gd name="T18" fmla="*/ 316 w 512"/>
              <a:gd name="T19" fmla="*/ 195 h 512"/>
              <a:gd name="T20" fmla="*/ 336 w 512"/>
              <a:gd name="T21" fmla="*/ 175 h 512"/>
              <a:gd name="T22" fmla="*/ 308 w 512"/>
              <a:gd name="T23" fmla="*/ 170 h 512"/>
              <a:gd name="T24" fmla="*/ 304 w 512"/>
              <a:gd name="T25" fmla="*/ 197 h 512"/>
              <a:gd name="T26" fmla="*/ 248 w 512"/>
              <a:gd name="T27" fmla="*/ 153 h 512"/>
              <a:gd name="T28" fmla="*/ 269 w 512"/>
              <a:gd name="T29" fmla="*/ 142 h 512"/>
              <a:gd name="T30" fmla="*/ 243 w 512"/>
              <a:gd name="T31" fmla="*/ 142 h 512"/>
              <a:gd name="T32" fmla="*/ 248 w 512"/>
              <a:gd name="T33" fmla="*/ 153 h 512"/>
              <a:gd name="T34" fmla="*/ 256 w 512"/>
              <a:gd name="T35" fmla="*/ 512 h 512"/>
              <a:gd name="T36" fmla="*/ 256 w 512"/>
              <a:gd name="T37" fmla="*/ 0 h 512"/>
              <a:gd name="T38" fmla="*/ 362 w 512"/>
              <a:gd name="T39" fmla="*/ 320 h 512"/>
              <a:gd name="T40" fmla="*/ 273 w 512"/>
              <a:gd name="T41" fmla="*/ 334 h 512"/>
              <a:gd name="T42" fmla="*/ 266 w 512"/>
              <a:gd name="T43" fmla="*/ 274 h 512"/>
              <a:gd name="T44" fmla="*/ 318 w 512"/>
              <a:gd name="T45" fmla="*/ 287 h 512"/>
              <a:gd name="T46" fmla="*/ 308 w 512"/>
              <a:gd name="T47" fmla="*/ 218 h 512"/>
              <a:gd name="T48" fmla="*/ 350 w 512"/>
              <a:gd name="T49" fmla="*/ 197 h 512"/>
              <a:gd name="T50" fmla="*/ 334 w 512"/>
              <a:gd name="T51" fmla="*/ 149 h 512"/>
              <a:gd name="T52" fmla="*/ 289 w 512"/>
              <a:gd name="T53" fmla="*/ 156 h 512"/>
              <a:gd name="T54" fmla="*/ 256 w 512"/>
              <a:gd name="T55" fmla="*/ 96 h 512"/>
              <a:gd name="T56" fmla="*/ 223 w 512"/>
              <a:gd name="T57" fmla="*/ 156 h 512"/>
              <a:gd name="T58" fmla="*/ 177 w 512"/>
              <a:gd name="T59" fmla="*/ 149 h 512"/>
              <a:gd name="T60" fmla="*/ 162 w 512"/>
              <a:gd name="T61" fmla="*/ 198 h 512"/>
              <a:gd name="T62" fmla="*/ 203 w 512"/>
              <a:gd name="T63" fmla="*/ 219 h 512"/>
              <a:gd name="T64" fmla="*/ 182 w 512"/>
              <a:gd name="T65" fmla="*/ 260 h 512"/>
              <a:gd name="T66" fmla="*/ 210 w 512"/>
              <a:gd name="T67" fmla="*/ 292 h 512"/>
              <a:gd name="T68" fmla="*/ 245 w 512"/>
              <a:gd name="T69" fmla="*/ 274 h 512"/>
              <a:gd name="T70" fmla="*/ 238 w 512"/>
              <a:gd name="T71" fmla="*/ 333 h 512"/>
              <a:gd name="T72" fmla="*/ 149 w 512"/>
              <a:gd name="T73" fmla="*/ 320 h 512"/>
              <a:gd name="T74" fmla="*/ 250 w 512"/>
              <a:gd name="T75" fmla="*/ 416 h 512"/>
              <a:gd name="T76" fmla="*/ 334 w 512"/>
              <a:gd name="T77" fmla="*/ 392 h 512"/>
              <a:gd name="T78" fmla="*/ 267 w 512"/>
              <a:gd name="T79" fmla="*/ 394 h 512"/>
              <a:gd name="T80" fmla="*/ 341 w 512"/>
              <a:gd name="T81" fmla="*/ 330 h 512"/>
              <a:gd name="T82" fmla="*/ 267 w 512"/>
              <a:gd name="T83" fmla="*/ 394 h 512"/>
              <a:gd name="T84" fmla="*/ 210 w 512"/>
              <a:gd name="T85" fmla="*/ 242 h 512"/>
              <a:gd name="T86" fmla="*/ 206 w 512"/>
              <a:gd name="T87" fmla="*/ 270 h 512"/>
              <a:gd name="T88" fmla="*/ 231 w 512"/>
              <a:gd name="T89" fmla="*/ 257 h 512"/>
              <a:gd name="T90" fmla="*/ 227 w 512"/>
              <a:gd name="T91" fmla="*/ 241 h 512"/>
              <a:gd name="T92" fmla="*/ 278 w 512"/>
              <a:gd name="T93" fmla="*/ 217 h 512"/>
              <a:gd name="T94" fmla="*/ 256 w 512"/>
              <a:gd name="T95" fmla="*/ 174 h 512"/>
              <a:gd name="T96" fmla="*/ 233 w 512"/>
              <a:gd name="T97" fmla="*/ 185 h 512"/>
              <a:gd name="T98" fmla="*/ 240 w 512"/>
              <a:gd name="T99" fmla="*/ 224 h 512"/>
              <a:gd name="T100" fmla="*/ 278 w 512"/>
              <a:gd name="T101" fmla="*/ 2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24" y="349"/>
                </a:moveTo>
                <a:cubicBezTo>
                  <a:pt x="236" y="359"/>
                  <a:pt x="243" y="375"/>
                  <a:pt x="245" y="394"/>
                </a:cubicBezTo>
                <a:cubicBezTo>
                  <a:pt x="231" y="394"/>
                  <a:pt x="208" y="390"/>
                  <a:pt x="191" y="375"/>
                </a:cubicBezTo>
                <a:cubicBezTo>
                  <a:pt x="179" y="364"/>
                  <a:pt x="173" y="349"/>
                  <a:pt x="171" y="330"/>
                </a:cubicBezTo>
                <a:cubicBezTo>
                  <a:pt x="184" y="330"/>
                  <a:pt x="207" y="334"/>
                  <a:pt x="224" y="349"/>
                </a:cubicBezTo>
                <a:close/>
                <a:moveTo>
                  <a:pt x="280" y="257"/>
                </a:moveTo>
                <a:cubicBezTo>
                  <a:pt x="289" y="268"/>
                  <a:pt x="301" y="273"/>
                  <a:pt x="306" y="270"/>
                </a:cubicBezTo>
                <a:cubicBezTo>
                  <a:pt x="310" y="266"/>
                  <a:pt x="310" y="253"/>
                  <a:pt x="301" y="242"/>
                </a:cubicBezTo>
                <a:cubicBezTo>
                  <a:pt x="299" y="238"/>
                  <a:pt x="296" y="235"/>
                  <a:pt x="292" y="233"/>
                </a:cubicBezTo>
                <a:cubicBezTo>
                  <a:pt x="288" y="239"/>
                  <a:pt x="282" y="243"/>
                  <a:pt x="275" y="246"/>
                </a:cubicBezTo>
                <a:cubicBezTo>
                  <a:pt x="276" y="250"/>
                  <a:pt x="278" y="254"/>
                  <a:pt x="280" y="257"/>
                </a:cubicBezTo>
                <a:close/>
                <a:moveTo>
                  <a:pt x="214" y="176"/>
                </a:moveTo>
                <a:cubicBezTo>
                  <a:pt x="211" y="174"/>
                  <a:pt x="207" y="172"/>
                  <a:pt x="203" y="171"/>
                </a:cubicBezTo>
                <a:cubicBezTo>
                  <a:pt x="196" y="168"/>
                  <a:pt x="189" y="168"/>
                  <a:pt x="183" y="170"/>
                </a:cubicBezTo>
                <a:cubicBezTo>
                  <a:pt x="181" y="170"/>
                  <a:pt x="176" y="172"/>
                  <a:pt x="175" y="175"/>
                </a:cubicBezTo>
                <a:cubicBezTo>
                  <a:pt x="174" y="179"/>
                  <a:pt x="177" y="183"/>
                  <a:pt x="178" y="185"/>
                </a:cubicBezTo>
                <a:cubicBezTo>
                  <a:pt x="182" y="189"/>
                  <a:pt x="188" y="193"/>
                  <a:pt x="195" y="196"/>
                </a:cubicBezTo>
                <a:cubicBezTo>
                  <a:pt x="199" y="197"/>
                  <a:pt x="203" y="197"/>
                  <a:pt x="207" y="197"/>
                </a:cubicBezTo>
                <a:cubicBezTo>
                  <a:pt x="208" y="190"/>
                  <a:pt x="210" y="183"/>
                  <a:pt x="214" y="176"/>
                </a:cubicBezTo>
                <a:close/>
                <a:moveTo>
                  <a:pt x="316" y="195"/>
                </a:moveTo>
                <a:cubicBezTo>
                  <a:pt x="323" y="193"/>
                  <a:pt x="329" y="189"/>
                  <a:pt x="333" y="184"/>
                </a:cubicBezTo>
                <a:cubicBezTo>
                  <a:pt x="334" y="183"/>
                  <a:pt x="337" y="178"/>
                  <a:pt x="336" y="175"/>
                </a:cubicBezTo>
                <a:cubicBezTo>
                  <a:pt x="335" y="171"/>
                  <a:pt x="330" y="170"/>
                  <a:pt x="328" y="169"/>
                </a:cubicBezTo>
                <a:cubicBezTo>
                  <a:pt x="322" y="168"/>
                  <a:pt x="315" y="168"/>
                  <a:pt x="308" y="170"/>
                </a:cubicBezTo>
                <a:cubicBezTo>
                  <a:pt x="304" y="172"/>
                  <a:pt x="300" y="174"/>
                  <a:pt x="297" y="176"/>
                </a:cubicBezTo>
                <a:cubicBezTo>
                  <a:pt x="301" y="182"/>
                  <a:pt x="303" y="190"/>
                  <a:pt x="304" y="197"/>
                </a:cubicBezTo>
                <a:cubicBezTo>
                  <a:pt x="308" y="197"/>
                  <a:pt x="312" y="197"/>
                  <a:pt x="316" y="195"/>
                </a:cubicBezTo>
                <a:close/>
                <a:moveTo>
                  <a:pt x="248" y="153"/>
                </a:moveTo>
                <a:cubicBezTo>
                  <a:pt x="254" y="152"/>
                  <a:pt x="261" y="153"/>
                  <a:pt x="267" y="154"/>
                </a:cubicBezTo>
                <a:cubicBezTo>
                  <a:pt x="268" y="150"/>
                  <a:pt x="269" y="146"/>
                  <a:pt x="269" y="142"/>
                </a:cubicBezTo>
                <a:cubicBezTo>
                  <a:pt x="269" y="128"/>
                  <a:pt x="262" y="117"/>
                  <a:pt x="256" y="117"/>
                </a:cubicBezTo>
                <a:cubicBezTo>
                  <a:pt x="250" y="117"/>
                  <a:pt x="243" y="128"/>
                  <a:pt x="243" y="142"/>
                </a:cubicBezTo>
                <a:cubicBezTo>
                  <a:pt x="243" y="146"/>
                  <a:pt x="243" y="150"/>
                  <a:pt x="245" y="154"/>
                </a:cubicBezTo>
                <a:cubicBezTo>
                  <a:pt x="246" y="154"/>
                  <a:pt x="247" y="154"/>
                  <a:pt x="248" y="15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320"/>
                </a:moveTo>
                <a:cubicBezTo>
                  <a:pt x="362" y="314"/>
                  <a:pt x="358" y="309"/>
                  <a:pt x="353" y="309"/>
                </a:cubicBezTo>
                <a:cubicBezTo>
                  <a:pt x="351" y="309"/>
                  <a:pt x="304" y="305"/>
                  <a:pt x="273" y="334"/>
                </a:cubicBezTo>
                <a:cubicBezTo>
                  <a:pt x="270" y="336"/>
                  <a:pt x="268" y="338"/>
                  <a:pt x="266" y="340"/>
                </a:cubicBezTo>
                <a:cubicBezTo>
                  <a:pt x="266" y="274"/>
                  <a:pt x="266" y="274"/>
                  <a:pt x="266" y="274"/>
                </a:cubicBezTo>
                <a:cubicBezTo>
                  <a:pt x="276" y="286"/>
                  <a:pt x="289" y="292"/>
                  <a:pt x="301" y="292"/>
                </a:cubicBezTo>
                <a:cubicBezTo>
                  <a:pt x="307" y="292"/>
                  <a:pt x="313" y="290"/>
                  <a:pt x="318" y="287"/>
                </a:cubicBezTo>
                <a:cubicBezTo>
                  <a:pt x="334" y="275"/>
                  <a:pt x="334" y="250"/>
                  <a:pt x="319" y="229"/>
                </a:cubicBezTo>
                <a:cubicBezTo>
                  <a:pt x="316" y="225"/>
                  <a:pt x="312" y="221"/>
                  <a:pt x="308" y="218"/>
                </a:cubicBezTo>
                <a:cubicBezTo>
                  <a:pt x="313" y="218"/>
                  <a:pt x="318" y="217"/>
                  <a:pt x="323" y="215"/>
                </a:cubicBezTo>
                <a:cubicBezTo>
                  <a:pt x="334" y="212"/>
                  <a:pt x="343" y="205"/>
                  <a:pt x="350" y="197"/>
                </a:cubicBezTo>
                <a:cubicBezTo>
                  <a:pt x="357" y="188"/>
                  <a:pt x="359" y="178"/>
                  <a:pt x="356" y="168"/>
                </a:cubicBezTo>
                <a:cubicBezTo>
                  <a:pt x="353" y="159"/>
                  <a:pt x="345" y="152"/>
                  <a:pt x="334" y="149"/>
                </a:cubicBezTo>
                <a:cubicBezTo>
                  <a:pt x="324" y="146"/>
                  <a:pt x="312" y="146"/>
                  <a:pt x="301" y="150"/>
                </a:cubicBezTo>
                <a:cubicBezTo>
                  <a:pt x="297" y="152"/>
                  <a:pt x="292" y="154"/>
                  <a:pt x="289" y="156"/>
                </a:cubicBezTo>
                <a:cubicBezTo>
                  <a:pt x="290" y="151"/>
                  <a:pt x="290" y="147"/>
                  <a:pt x="290" y="142"/>
                </a:cubicBezTo>
                <a:cubicBezTo>
                  <a:pt x="290" y="116"/>
                  <a:pt x="275" y="96"/>
                  <a:pt x="256" y="96"/>
                </a:cubicBezTo>
                <a:cubicBezTo>
                  <a:pt x="236" y="96"/>
                  <a:pt x="221" y="116"/>
                  <a:pt x="221" y="142"/>
                </a:cubicBezTo>
                <a:cubicBezTo>
                  <a:pt x="221" y="147"/>
                  <a:pt x="222" y="152"/>
                  <a:pt x="223" y="156"/>
                </a:cubicBezTo>
                <a:cubicBezTo>
                  <a:pt x="219" y="154"/>
                  <a:pt x="214" y="152"/>
                  <a:pt x="210" y="150"/>
                </a:cubicBezTo>
                <a:cubicBezTo>
                  <a:pt x="199" y="147"/>
                  <a:pt x="187" y="146"/>
                  <a:pt x="177" y="149"/>
                </a:cubicBezTo>
                <a:cubicBezTo>
                  <a:pt x="166" y="152"/>
                  <a:pt x="158" y="159"/>
                  <a:pt x="155" y="169"/>
                </a:cubicBezTo>
                <a:cubicBezTo>
                  <a:pt x="152" y="178"/>
                  <a:pt x="154" y="189"/>
                  <a:pt x="162" y="198"/>
                </a:cubicBezTo>
                <a:cubicBezTo>
                  <a:pt x="168" y="206"/>
                  <a:pt x="177" y="212"/>
                  <a:pt x="189" y="216"/>
                </a:cubicBezTo>
                <a:cubicBezTo>
                  <a:pt x="193" y="217"/>
                  <a:pt x="198" y="218"/>
                  <a:pt x="203" y="219"/>
                </a:cubicBezTo>
                <a:cubicBezTo>
                  <a:pt x="199" y="222"/>
                  <a:pt x="196" y="225"/>
                  <a:pt x="193" y="229"/>
                </a:cubicBezTo>
                <a:cubicBezTo>
                  <a:pt x="186" y="239"/>
                  <a:pt x="182" y="250"/>
                  <a:pt x="182" y="260"/>
                </a:cubicBezTo>
                <a:cubicBezTo>
                  <a:pt x="181" y="271"/>
                  <a:pt x="186" y="281"/>
                  <a:pt x="194" y="287"/>
                </a:cubicBezTo>
                <a:cubicBezTo>
                  <a:pt x="198" y="291"/>
                  <a:pt x="204" y="292"/>
                  <a:pt x="210" y="292"/>
                </a:cubicBezTo>
                <a:cubicBezTo>
                  <a:pt x="215" y="292"/>
                  <a:pt x="219" y="292"/>
                  <a:pt x="223" y="290"/>
                </a:cubicBezTo>
                <a:cubicBezTo>
                  <a:pt x="231" y="287"/>
                  <a:pt x="239" y="281"/>
                  <a:pt x="245" y="274"/>
                </a:cubicBezTo>
                <a:cubicBezTo>
                  <a:pt x="245" y="340"/>
                  <a:pt x="245" y="340"/>
                  <a:pt x="245" y="340"/>
                </a:cubicBezTo>
                <a:cubicBezTo>
                  <a:pt x="243" y="337"/>
                  <a:pt x="241" y="335"/>
                  <a:pt x="238" y="333"/>
                </a:cubicBezTo>
                <a:cubicBezTo>
                  <a:pt x="207" y="304"/>
                  <a:pt x="160" y="309"/>
                  <a:pt x="159" y="309"/>
                </a:cubicBezTo>
                <a:cubicBezTo>
                  <a:pt x="153" y="310"/>
                  <a:pt x="149" y="314"/>
                  <a:pt x="149" y="320"/>
                </a:cubicBezTo>
                <a:cubicBezTo>
                  <a:pt x="149" y="350"/>
                  <a:pt x="158" y="374"/>
                  <a:pt x="177" y="390"/>
                </a:cubicBezTo>
                <a:cubicBezTo>
                  <a:pt x="201" y="413"/>
                  <a:pt x="235" y="416"/>
                  <a:pt x="250" y="416"/>
                </a:cubicBezTo>
                <a:cubicBezTo>
                  <a:pt x="253" y="416"/>
                  <a:pt x="260" y="416"/>
                  <a:pt x="263" y="416"/>
                </a:cubicBezTo>
                <a:cubicBezTo>
                  <a:pt x="279" y="416"/>
                  <a:pt x="311" y="413"/>
                  <a:pt x="334" y="392"/>
                </a:cubicBezTo>
                <a:cubicBezTo>
                  <a:pt x="353" y="375"/>
                  <a:pt x="362" y="351"/>
                  <a:pt x="362" y="320"/>
                </a:cubicBezTo>
                <a:close/>
                <a:moveTo>
                  <a:pt x="267" y="394"/>
                </a:moveTo>
                <a:cubicBezTo>
                  <a:pt x="280" y="394"/>
                  <a:pt x="303" y="391"/>
                  <a:pt x="320" y="376"/>
                </a:cubicBezTo>
                <a:cubicBezTo>
                  <a:pt x="332" y="365"/>
                  <a:pt x="339" y="350"/>
                  <a:pt x="341" y="330"/>
                </a:cubicBezTo>
                <a:cubicBezTo>
                  <a:pt x="327" y="331"/>
                  <a:pt x="304" y="334"/>
                  <a:pt x="287" y="350"/>
                </a:cubicBezTo>
                <a:cubicBezTo>
                  <a:pt x="275" y="360"/>
                  <a:pt x="269" y="375"/>
                  <a:pt x="267" y="394"/>
                </a:cubicBezTo>
                <a:close/>
                <a:moveTo>
                  <a:pt x="219" y="233"/>
                </a:moveTo>
                <a:cubicBezTo>
                  <a:pt x="216" y="236"/>
                  <a:pt x="213" y="238"/>
                  <a:pt x="210" y="242"/>
                </a:cubicBezTo>
                <a:cubicBezTo>
                  <a:pt x="206" y="248"/>
                  <a:pt x="203" y="255"/>
                  <a:pt x="203" y="261"/>
                </a:cubicBezTo>
                <a:cubicBezTo>
                  <a:pt x="203" y="263"/>
                  <a:pt x="203" y="268"/>
                  <a:pt x="206" y="270"/>
                </a:cubicBezTo>
                <a:cubicBezTo>
                  <a:pt x="209" y="272"/>
                  <a:pt x="214" y="271"/>
                  <a:pt x="216" y="270"/>
                </a:cubicBezTo>
                <a:cubicBezTo>
                  <a:pt x="222" y="268"/>
                  <a:pt x="227" y="263"/>
                  <a:pt x="231" y="257"/>
                </a:cubicBezTo>
                <a:cubicBezTo>
                  <a:pt x="234" y="254"/>
                  <a:pt x="236" y="250"/>
                  <a:pt x="237" y="246"/>
                </a:cubicBezTo>
                <a:cubicBezTo>
                  <a:pt x="233" y="245"/>
                  <a:pt x="230" y="243"/>
                  <a:pt x="227" y="241"/>
                </a:cubicBezTo>
                <a:cubicBezTo>
                  <a:pt x="224" y="239"/>
                  <a:pt x="221" y="236"/>
                  <a:pt x="219" y="233"/>
                </a:cubicBezTo>
                <a:close/>
                <a:moveTo>
                  <a:pt x="278" y="217"/>
                </a:moveTo>
                <a:cubicBezTo>
                  <a:pt x="287" y="205"/>
                  <a:pt x="284" y="188"/>
                  <a:pt x="272" y="179"/>
                </a:cubicBezTo>
                <a:cubicBezTo>
                  <a:pt x="267" y="176"/>
                  <a:pt x="261" y="174"/>
                  <a:pt x="256" y="174"/>
                </a:cubicBezTo>
                <a:cubicBezTo>
                  <a:pt x="254" y="174"/>
                  <a:pt x="253" y="174"/>
                  <a:pt x="251" y="174"/>
                </a:cubicBezTo>
                <a:cubicBezTo>
                  <a:pt x="244" y="176"/>
                  <a:pt x="238" y="179"/>
                  <a:pt x="233" y="185"/>
                </a:cubicBezTo>
                <a:cubicBezTo>
                  <a:pt x="229" y="191"/>
                  <a:pt x="227" y="199"/>
                  <a:pt x="229" y="206"/>
                </a:cubicBezTo>
                <a:cubicBezTo>
                  <a:pt x="230" y="213"/>
                  <a:pt x="234" y="219"/>
                  <a:pt x="240" y="224"/>
                </a:cubicBezTo>
                <a:cubicBezTo>
                  <a:pt x="246" y="228"/>
                  <a:pt x="253" y="230"/>
                  <a:pt x="260" y="228"/>
                </a:cubicBezTo>
                <a:cubicBezTo>
                  <a:pt x="267" y="227"/>
                  <a:pt x="274" y="223"/>
                  <a:pt x="278" y="2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6" name="Group 879">
            <a:extLst>
              <a:ext uri="{FF2B5EF4-FFF2-40B4-BE49-F238E27FC236}">
                <a16:creationId xmlns:a16="http://schemas.microsoft.com/office/drawing/2014/main" id="{F3962645-B272-4076-896E-FC345001B2D8}"/>
              </a:ext>
            </a:extLst>
          </p:cNvPr>
          <p:cNvGrpSpPr>
            <a:grpSpLocks noChangeAspect="1"/>
          </p:cNvGrpSpPr>
          <p:nvPr/>
        </p:nvGrpSpPr>
        <p:grpSpPr bwMode="auto">
          <a:xfrm>
            <a:off x="1773777" y="3307694"/>
            <a:ext cx="367631" cy="367631"/>
            <a:chOff x="7362" y="3175"/>
            <a:chExt cx="340" cy="340"/>
          </a:xfrm>
          <a:solidFill>
            <a:schemeClr val="accent3"/>
          </a:solidFill>
        </p:grpSpPr>
        <p:sp>
          <p:nvSpPr>
            <p:cNvPr id="587" name="Freeform 880">
              <a:extLst>
                <a:ext uri="{FF2B5EF4-FFF2-40B4-BE49-F238E27FC236}">
                  <a16:creationId xmlns:a16="http://schemas.microsoft.com/office/drawing/2014/main" id="{34B37675-548A-41CA-A047-048DF044A847}"/>
                </a:ext>
              </a:extLst>
            </p:cNvPr>
            <p:cNvSpPr>
              <a:spLocks noEditPoints="1"/>
            </p:cNvSpPr>
            <p:nvPr/>
          </p:nvSpPr>
          <p:spPr bwMode="auto">
            <a:xfrm>
              <a:off x="7461" y="3239"/>
              <a:ext cx="141" cy="212"/>
            </a:xfrm>
            <a:custGeom>
              <a:avLst/>
              <a:gdLst>
                <a:gd name="T0" fmla="*/ 124 w 213"/>
                <a:gd name="T1" fmla="*/ 238 h 320"/>
                <a:gd name="T2" fmla="*/ 117 w 213"/>
                <a:gd name="T3" fmla="*/ 178 h 320"/>
                <a:gd name="T4" fmla="*/ 169 w 213"/>
                <a:gd name="T5" fmla="*/ 191 h 320"/>
                <a:gd name="T6" fmla="*/ 159 w 213"/>
                <a:gd name="T7" fmla="*/ 122 h 320"/>
                <a:gd name="T8" fmla="*/ 201 w 213"/>
                <a:gd name="T9" fmla="*/ 101 h 320"/>
                <a:gd name="T10" fmla="*/ 185 w 213"/>
                <a:gd name="T11" fmla="*/ 53 h 320"/>
                <a:gd name="T12" fmla="*/ 140 w 213"/>
                <a:gd name="T13" fmla="*/ 60 h 320"/>
                <a:gd name="T14" fmla="*/ 107 w 213"/>
                <a:gd name="T15" fmla="*/ 0 h 320"/>
                <a:gd name="T16" fmla="*/ 74 w 213"/>
                <a:gd name="T17" fmla="*/ 60 h 320"/>
                <a:gd name="T18" fmla="*/ 28 w 213"/>
                <a:gd name="T19" fmla="*/ 53 h 320"/>
                <a:gd name="T20" fmla="*/ 13 w 213"/>
                <a:gd name="T21" fmla="*/ 102 h 320"/>
                <a:gd name="T22" fmla="*/ 54 w 213"/>
                <a:gd name="T23" fmla="*/ 123 h 320"/>
                <a:gd name="T24" fmla="*/ 33 w 213"/>
                <a:gd name="T25" fmla="*/ 164 h 320"/>
                <a:gd name="T26" fmla="*/ 61 w 213"/>
                <a:gd name="T27" fmla="*/ 196 h 320"/>
                <a:gd name="T28" fmla="*/ 96 w 213"/>
                <a:gd name="T29" fmla="*/ 178 h 320"/>
                <a:gd name="T30" fmla="*/ 89 w 213"/>
                <a:gd name="T31" fmla="*/ 237 h 320"/>
                <a:gd name="T32" fmla="*/ 0 w 213"/>
                <a:gd name="T33" fmla="*/ 224 h 320"/>
                <a:gd name="T34" fmla="*/ 101 w 213"/>
                <a:gd name="T35" fmla="*/ 320 h 320"/>
                <a:gd name="T36" fmla="*/ 185 w 213"/>
                <a:gd name="T37" fmla="*/ 296 h 320"/>
                <a:gd name="T38" fmla="*/ 204 w 213"/>
                <a:gd name="T39" fmla="*/ 213 h 320"/>
                <a:gd name="T40" fmla="*/ 102 w 213"/>
                <a:gd name="T41" fmla="*/ 78 h 320"/>
                <a:gd name="T42" fmla="*/ 123 w 213"/>
                <a:gd name="T43" fmla="*/ 83 h 320"/>
                <a:gd name="T44" fmla="*/ 111 w 213"/>
                <a:gd name="T45" fmla="*/ 132 h 320"/>
                <a:gd name="T46" fmla="*/ 80 w 213"/>
                <a:gd name="T47" fmla="*/ 110 h 320"/>
                <a:gd name="T48" fmla="*/ 157 w 213"/>
                <a:gd name="T49" fmla="*/ 174 h 320"/>
                <a:gd name="T50" fmla="*/ 126 w 213"/>
                <a:gd name="T51" fmla="*/ 150 h 320"/>
                <a:gd name="T52" fmla="*/ 152 w 213"/>
                <a:gd name="T53" fmla="*/ 146 h 320"/>
                <a:gd name="T54" fmla="*/ 159 w 213"/>
                <a:gd name="T55" fmla="*/ 74 h 320"/>
                <a:gd name="T56" fmla="*/ 187 w 213"/>
                <a:gd name="T57" fmla="*/ 79 h 320"/>
                <a:gd name="T58" fmla="*/ 167 w 213"/>
                <a:gd name="T59" fmla="*/ 99 h 320"/>
                <a:gd name="T60" fmla="*/ 148 w 213"/>
                <a:gd name="T61" fmla="*/ 80 h 320"/>
                <a:gd name="T62" fmla="*/ 107 w 213"/>
                <a:gd name="T63" fmla="*/ 21 h 320"/>
                <a:gd name="T64" fmla="*/ 118 w 213"/>
                <a:gd name="T65" fmla="*/ 58 h 320"/>
                <a:gd name="T66" fmla="*/ 96 w 213"/>
                <a:gd name="T67" fmla="*/ 58 h 320"/>
                <a:gd name="T68" fmla="*/ 107 w 213"/>
                <a:gd name="T69" fmla="*/ 21 h 320"/>
                <a:gd name="T70" fmla="*/ 26 w 213"/>
                <a:gd name="T71" fmla="*/ 79 h 320"/>
                <a:gd name="T72" fmla="*/ 54 w 213"/>
                <a:gd name="T73" fmla="*/ 75 h 320"/>
                <a:gd name="T74" fmla="*/ 58 w 213"/>
                <a:gd name="T75" fmla="*/ 101 h 320"/>
                <a:gd name="T76" fmla="*/ 29 w 213"/>
                <a:gd name="T77" fmla="*/ 89 h 320"/>
                <a:gd name="T78" fmla="*/ 57 w 213"/>
                <a:gd name="T79" fmla="*/ 174 h 320"/>
                <a:gd name="T80" fmla="*/ 61 w 213"/>
                <a:gd name="T81" fmla="*/ 146 h 320"/>
                <a:gd name="T82" fmla="*/ 78 w 213"/>
                <a:gd name="T83" fmla="*/ 145 h 320"/>
                <a:gd name="T84" fmla="*/ 82 w 213"/>
                <a:gd name="T85" fmla="*/ 161 h 320"/>
                <a:gd name="T86" fmla="*/ 42 w 213"/>
                <a:gd name="T87" fmla="*/ 279 h 320"/>
                <a:gd name="T88" fmla="*/ 75 w 213"/>
                <a:gd name="T89" fmla="*/ 253 h 320"/>
                <a:gd name="T90" fmla="*/ 42 w 213"/>
                <a:gd name="T91" fmla="*/ 279 h 320"/>
                <a:gd name="T92" fmla="*/ 118 w 213"/>
                <a:gd name="T93" fmla="*/ 298 h 320"/>
                <a:gd name="T94" fmla="*/ 192 w 213"/>
                <a:gd name="T9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3" h="320">
                  <a:moveTo>
                    <a:pt x="204" y="213"/>
                  </a:moveTo>
                  <a:cubicBezTo>
                    <a:pt x="202" y="213"/>
                    <a:pt x="155" y="209"/>
                    <a:pt x="124" y="238"/>
                  </a:cubicBezTo>
                  <a:cubicBezTo>
                    <a:pt x="121" y="240"/>
                    <a:pt x="119" y="242"/>
                    <a:pt x="117" y="244"/>
                  </a:cubicBezTo>
                  <a:cubicBezTo>
                    <a:pt x="117" y="178"/>
                    <a:pt x="117" y="178"/>
                    <a:pt x="117" y="178"/>
                  </a:cubicBezTo>
                  <a:cubicBezTo>
                    <a:pt x="127" y="190"/>
                    <a:pt x="140" y="196"/>
                    <a:pt x="152" y="196"/>
                  </a:cubicBezTo>
                  <a:cubicBezTo>
                    <a:pt x="158" y="196"/>
                    <a:pt x="164" y="194"/>
                    <a:pt x="169" y="191"/>
                  </a:cubicBezTo>
                  <a:cubicBezTo>
                    <a:pt x="185" y="179"/>
                    <a:pt x="185" y="154"/>
                    <a:pt x="170" y="133"/>
                  </a:cubicBezTo>
                  <a:cubicBezTo>
                    <a:pt x="167" y="129"/>
                    <a:pt x="163" y="125"/>
                    <a:pt x="159" y="122"/>
                  </a:cubicBezTo>
                  <a:cubicBezTo>
                    <a:pt x="164" y="122"/>
                    <a:pt x="169" y="121"/>
                    <a:pt x="174" y="119"/>
                  </a:cubicBezTo>
                  <a:cubicBezTo>
                    <a:pt x="185" y="116"/>
                    <a:pt x="194" y="109"/>
                    <a:pt x="201" y="101"/>
                  </a:cubicBezTo>
                  <a:cubicBezTo>
                    <a:pt x="208" y="92"/>
                    <a:pt x="210" y="82"/>
                    <a:pt x="207" y="72"/>
                  </a:cubicBezTo>
                  <a:cubicBezTo>
                    <a:pt x="204" y="63"/>
                    <a:pt x="196" y="56"/>
                    <a:pt x="185" y="53"/>
                  </a:cubicBezTo>
                  <a:cubicBezTo>
                    <a:pt x="175" y="50"/>
                    <a:pt x="163" y="50"/>
                    <a:pt x="152" y="54"/>
                  </a:cubicBezTo>
                  <a:cubicBezTo>
                    <a:pt x="148" y="56"/>
                    <a:pt x="143" y="58"/>
                    <a:pt x="140" y="60"/>
                  </a:cubicBezTo>
                  <a:cubicBezTo>
                    <a:pt x="141" y="55"/>
                    <a:pt x="141" y="51"/>
                    <a:pt x="141" y="46"/>
                  </a:cubicBezTo>
                  <a:cubicBezTo>
                    <a:pt x="141" y="20"/>
                    <a:pt x="126" y="0"/>
                    <a:pt x="107" y="0"/>
                  </a:cubicBezTo>
                  <a:cubicBezTo>
                    <a:pt x="87" y="0"/>
                    <a:pt x="72" y="20"/>
                    <a:pt x="72" y="46"/>
                  </a:cubicBezTo>
                  <a:cubicBezTo>
                    <a:pt x="72" y="51"/>
                    <a:pt x="73" y="56"/>
                    <a:pt x="74" y="60"/>
                  </a:cubicBezTo>
                  <a:cubicBezTo>
                    <a:pt x="70" y="58"/>
                    <a:pt x="65" y="56"/>
                    <a:pt x="61" y="54"/>
                  </a:cubicBezTo>
                  <a:cubicBezTo>
                    <a:pt x="50" y="51"/>
                    <a:pt x="38" y="50"/>
                    <a:pt x="28" y="53"/>
                  </a:cubicBezTo>
                  <a:cubicBezTo>
                    <a:pt x="17" y="56"/>
                    <a:pt x="9" y="63"/>
                    <a:pt x="6" y="73"/>
                  </a:cubicBezTo>
                  <a:cubicBezTo>
                    <a:pt x="3" y="82"/>
                    <a:pt x="5" y="93"/>
                    <a:pt x="13" y="102"/>
                  </a:cubicBezTo>
                  <a:cubicBezTo>
                    <a:pt x="19" y="110"/>
                    <a:pt x="28" y="116"/>
                    <a:pt x="40" y="120"/>
                  </a:cubicBezTo>
                  <a:cubicBezTo>
                    <a:pt x="44" y="121"/>
                    <a:pt x="49" y="122"/>
                    <a:pt x="54" y="123"/>
                  </a:cubicBezTo>
                  <a:cubicBezTo>
                    <a:pt x="50" y="126"/>
                    <a:pt x="47" y="129"/>
                    <a:pt x="44" y="133"/>
                  </a:cubicBezTo>
                  <a:cubicBezTo>
                    <a:pt x="37" y="143"/>
                    <a:pt x="33" y="154"/>
                    <a:pt x="33" y="164"/>
                  </a:cubicBezTo>
                  <a:cubicBezTo>
                    <a:pt x="32" y="175"/>
                    <a:pt x="37" y="185"/>
                    <a:pt x="45" y="191"/>
                  </a:cubicBezTo>
                  <a:cubicBezTo>
                    <a:pt x="49" y="195"/>
                    <a:pt x="55" y="196"/>
                    <a:pt x="61" y="196"/>
                  </a:cubicBezTo>
                  <a:cubicBezTo>
                    <a:pt x="66" y="196"/>
                    <a:pt x="70" y="196"/>
                    <a:pt x="74" y="194"/>
                  </a:cubicBezTo>
                  <a:cubicBezTo>
                    <a:pt x="82" y="191"/>
                    <a:pt x="90" y="185"/>
                    <a:pt x="96" y="178"/>
                  </a:cubicBezTo>
                  <a:cubicBezTo>
                    <a:pt x="96" y="244"/>
                    <a:pt x="96" y="244"/>
                    <a:pt x="96" y="244"/>
                  </a:cubicBezTo>
                  <a:cubicBezTo>
                    <a:pt x="94" y="241"/>
                    <a:pt x="92" y="239"/>
                    <a:pt x="89" y="237"/>
                  </a:cubicBezTo>
                  <a:cubicBezTo>
                    <a:pt x="58" y="208"/>
                    <a:pt x="11" y="213"/>
                    <a:pt x="10" y="213"/>
                  </a:cubicBezTo>
                  <a:cubicBezTo>
                    <a:pt x="4" y="214"/>
                    <a:pt x="0" y="218"/>
                    <a:pt x="0" y="224"/>
                  </a:cubicBezTo>
                  <a:cubicBezTo>
                    <a:pt x="0" y="254"/>
                    <a:pt x="9" y="278"/>
                    <a:pt x="28" y="294"/>
                  </a:cubicBezTo>
                  <a:cubicBezTo>
                    <a:pt x="52" y="317"/>
                    <a:pt x="86" y="320"/>
                    <a:pt x="101" y="320"/>
                  </a:cubicBezTo>
                  <a:cubicBezTo>
                    <a:pt x="104" y="320"/>
                    <a:pt x="111" y="320"/>
                    <a:pt x="114" y="320"/>
                  </a:cubicBezTo>
                  <a:cubicBezTo>
                    <a:pt x="130" y="320"/>
                    <a:pt x="162" y="317"/>
                    <a:pt x="185" y="296"/>
                  </a:cubicBezTo>
                  <a:cubicBezTo>
                    <a:pt x="204" y="279"/>
                    <a:pt x="213" y="255"/>
                    <a:pt x="213" y="224"/>
                  </a:cubicBezTo>
                  <a:cubicBezTo>
                    <a:pt x="213" y="218"/>
                    <a:pt x="209" y="213"/>
                    <a:pt x="204" y="213"/>
                  </a:cubicBezTo>
                  <a:close/>
                  <a:moveTo>
                    <a:pt x="84" y="89"/>
                  </a:moveTo>
                  <a:cubicBezTo>
                    <a:pt x="89" y="83"/>
                    <a:pt x="95" y="80"/>
                    <a:pt x="102" y="78"/>
                  </a:cubicBezTo>
                  <a:cubicBezTo>
                    <a:pt x="104" y="78"/>
                    <a:pt x="105" y="78"/>
                    <a:pt x="107" y="78"/>
                  </a:cubicBezTo>
                  <a:cubicBezTo>
                    <a:pt x="112" y="78"/>
                    <a:pt x="118" y="80"/>
                    <a:pt x="123" y="83"/>
                  </a:cubicBezTo>
                  <a:cubicBezTo>
                    <a:pt x="135" y="92"/>
                    <a:pt x="138" y="109"/>
                    <a:pt x="129" y="121"/>
                  </a:cubicBezTo>
                  <a:cubicBezTo>
                    <a:pt x="125" y="127"/>
                    <a:pt x="118" y="131"/>
                    <a:pt x="111" y="132"/>
                  </a:cubicBezTo>
                  <a:cubicBezTo>
                    <a:pt x="104" y="134"/>
                    <a:pt x="97" y="132"/>
                    <a:pt x="91" y="128"/>
                  </a:cubicBezTo>
                  <a:cubicBezTo>
                    <a:pt x="85" y="123"/>
                    <a:pt x="81" y="117"/>
                    <a:pt x="80" y="110"/>
                  </a:cubicBezTo>
                  <a:cubicBezTo>
                    <a:pt x="78" y="103"/>
                    <a:pt x="80" y="95"/>
                    <a:pt x="84" y="89"/>
                  </a:cubicBezTo>
                  <a:close/>
                  <a:moveTo>
                    <a:pt x="157" y="174"/>
                  </a:moveTo>
                  <a:cubicBezTo>
                    <a:pt x="152" y="177"/>
                    <a:pt x="140" y="172"/>
                    <a:pt x="131" y="161"/>
                  </a:cubicBezTo>
                  <a:cubicBezTo>
                    <a:pt x="129" y="158"/>
                    <a:pt x="127" y="154"/>
                    <a:pt x="126" y="150"/>
                  </a:cubicBezTo>
                  <a:cubicBezTo>
                    <a:pt x="133" y="147"/>
                    <a:pt x="139" y="143"/>
                    <a:pt x="143" y="137"/>
                  </a:cubicBezTo>
                  <a:cubicBezTo>
                    <a:pt x="147" y="139"/>
                    <a:pt x="150" y="142"/>
                    <a:pt x="152" y="146"/>
                  </a:cubicBezTo>
                  <a:cubicBezTo>
                    <a:pt x="161" y="157"/>
                    <a:pt x="161" y="170"/>
                    <a:pt x="157" y="174"/>
                  </a:cubicBezTo>
                  <a:close/>
                  <a:moveTo>
                    <a:pt x="159" y="74"/>
                  </a:moveTo>
                  <a:cubicBezTo>
                    <a:pt x="166" y="72"/>
                    <a:pt x="173" y="72"/>
                    <a:pt x="179" y="73"/>
                  </a:cubicBezTo>
                  <a:cubicBezTo>
                    <a:pt x="181" y="74"/>
                    <a:pt x="186" y="75"/>
                    <a:pt x="187" y="79"/>
                  </a:cubicBezTo>
                  <a:cubicBezTo>
                    <a:pt x="188" y="82"/>
                    <a:pt x="185" y="87"/>
                    <a:pt x="184" y="88"/>
                  </a:cubicBezTo>
                  <a:cubicBezTo>
                    <a:pt x="180" y="93"/>
                    <a:pt x="174" y="97"/>
                    <a:pt x="167" y="99"/>
                  </a:cubicBezTo>
                  <a:cubicBezTo>
                    <a:pt x="163" y="101"/>
                    <a:pt x="159" y="101"/>
                    <a:pt x="155" y="101"/>
                  </a:cubicBezTo>
                  <a:cubicBezTo>
                    <a:pt x="154" y="94"/>
                    <a:pt x="152" y="86"/>
                    <a:pt x="148" y="80"/>
                  </a:cubicBezTo>
                  <a:cubicBezTo>
                    <a:pt x="151" y="78"/>
                    <a:pt x="155" y="76"/>
                    <a:pt x="159" y="74"/>
                  </a:cubicBezTo>
                  <a:close/>
                  <a:moveTo>
                    <a:pt x="107" y="21"/>
                  </a:moveTo>
                  <a:cubicBezTo>
                    <a:pt x="113" y="21"/>
                    <a:pt x="120" y="32"/>
                    <a:pt x="120" y="46"/>
                  </a:cubicBezTo>
                  <a:cubicBezTo>
                    <a:pt x="120" y="50"/>
                    <a:pt x="119" y="54"/>
                    <a:pt x="118" y="58"/>
                  </a:cubicBezTo>
                  <a:cubicBezTo>
                    <a:pt x="112" y="57"/>
                    <a:pt x="105" y="56"/>
                    <a:pt x="99" y="57"/>
                  </a:cubicBezTo>
                  <a:cubicBezTo>
                    <a:pt x="98" y="58"/>
                    <a:pt x="97" y="58"/>
                    <a:pt x="96" y="58"/>
                  </a:cubicBezTo>
                  <a:cubicBezTo>
                    <a:pt x="94" y="54"/>
                    <a:pt x="94" y="50"/>
                    <a:pt x="94" y="46"/>
                  </a:cubicBezTo>
                  <a:cubicBezTo>
                    <a:pt x="94" y="32"/>
                    <a:pt x="101" y="21"/>
                    <a:pt x="107" y="21"/>
                  </a:cubicBezTo>
                  <a:close/>
                  <a:moveTo>
                    <a:pt x="29" y="89"/>
                  </a:moveTo>
                  <a:cubicBezTo>
                    <a:pt x="28" y="87"/>
                    <a:pt x="25" y="83"/>
                    <a:pt x="26" y="79"/>
                  </a:cubicBezTo>
                  <a:cubicBezTo>
                    <a:pt x="27" y="76"/>
                    <a:pt x="32" y="74"/>
                    <a:pt x="34" y="74"/>
                  </a:cubicBezTo>
                  <a:cubicBezTo>
                    <a:pt x="40" y="72"/>
                    <a:pt x="47" y="72"/>
                    <a:pt x="54" y="75"/>
                  </a:cubicBezTo>
                  <a:cubicBezTo>
                    <a:pt x="58" y="76"/>
                    <a:pt x="62" y="78"/>
                    <a:pt x="65" y="80"/>
                  </a:cubicBezTo>
                  <a:cubicBezTo>
                    <a:pt x="61" y="87"/>
                    <a:pt x="59" y="94"/>
                    <a:pt x="58" y="101"/>
                  </a:cubicBezTo>
                  <a:cubicBezTo>
                    <a:pt x="54" y="101"/>
                    <a:pt x="50" y="101"/>
                    <a:pt x="46" y="100"/>
                  </a:cubicBezTo>
                  <a:cubicBezTo>
                    <a:pt x="39" y="97"/>
                    <a:pt x="33" y="93"/>
                    <a:pt x="29" y="89"/>
                  </a:cubicBezTo>
                  <a:close/>
                  <a:moveTo>
                    <a:pt x="67" y="174"/>
                  </a:moveTo>
                  <a:cubicBezTo>
                    <a:pt x="65" y="175"/>
                    <a:pt x="60" y="176"/>
                    <a:pt x="57" y="174"/>
                  </a:cubicBezTo>
                  <a:cubicBezTo>
                    <a:pt x="54" y="172"/>
                    <a:pt x="54" y="167"/>
                    <a:pt x="54" y="165"/>
                  </a:cubicBezTo>
                  <a:cubicBezTo>
                    <a:pt x="54" y="159"/>
                    <a:pt x="57" y="152"/>
                    <a:pt x="61" y="146"/>
                  </a:cubicBezTo>
                  <a:cubicBezTo>
                    <a:pt x="64" y="142"/>
                    <a:pt x="67" y="140"/>
                    <a:pt x="70" y="137"/>
                  </a:cubicBezTo>
                  <a:cubicBezTo>
                    <a:pt x="72" y="140"/>
                    <a:pt x="75" y="143"/>
                    <a:pt x="78" y="145"/>
                  </a:cubicBezTo>
                  <a:cubicBezTo>
                    <a:pt x="81" y="147"/>
                    <a:pt x="84" y="149"/>
                    <a:pt x="88" y="150"/>
                  </a:cubicBezTo>
                  <a:cubicBezTo>
                    <a:pt x="87" y="154"/>
                    <a:pt x="85" y="158"/>
                    <a:pt x="82" y="161"/>
                  </a:cubicBezTo>
                  <a:cubicBezTo>
                    <a:pt x="78" y="167"/>
                    <a:pt x="73" y="172"/>
                    <a:pt x="67" y="174"/>
                  </a:cubicBezTo>
                  <a:close/>
                  <a:moveTo>
                    <a:pt x="42" y="279"/>
                  </a:moveTo>
                  <a:cubicBezTo>
                    <a:pt x="30" y="268"/>
                    <a:pt x="24" y="253"/>
                    <a:pt x="22" y="234"/>
                  </a:cubicBezTo>
                  <a:cubicBezTo>
                    <a:pt x="35" y="234"/>
                    <a:pt x="58" y="238"/>
                    <a:pt x="75" y="253"/>
                  </a:cubicBezTo>
                  <a:cubicBezTo>
                    <a:pt x="87" y="263"/>
                    <a:pt x="94" y="279"/>
                    <a:pt x="96" y="298"/>
                  </a:cubicBezTo>
                  <a:cubicBezTo>
                    <a:pt x="82" y="298"/>
                    <a:pt x="59" y="294"/>
                    <a:pt x="42" y="279"/>
                  </a:cubicBezTo>
                  <a:close/>
                  <a:moveTo>
                    <a:pt x="171" y="280"/>
                  </a:moveTo>
                  <a:cubicBezTo>
                    <a:pt x="154" y="295"/>
                    <a:pt x="131" y="298"/>
                    <a:pt x="118" y="298"/>
                  </a:cubicBezTo>
                  <a:cubicBezTo>
                    <a:pt x="120" y="279"/>
                    <a:pt x="126" y="264"/>
                    <a:pt x="138" y="254"/>
                  </a:cubicBezTo>
                  <a:cubicBezTo>
                    <a:pt x="155" y="238"/>
                    <a:pt x="178" y="235"/>
                    <a:pt x="192" y="234"/>
                  </a:cubicBezTo>
                  <a:cubicBezTo>
                    <a:pt x="190" y="254"/>
                    <a:pt x="183" y="269"/>
                    <a:pt x="171" y="2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8" name="Freeform 881">
              <a:extLst>
                <a:ext uri="{FF2B5EF4-FFF2-40B4-BE49-F238E27FC236}">
                  <a16:creationId xmlns:a16="http://schemas.microsoft.com/office/drawing/2014/main" id="{DB909B55-71BE-4CFA-BA12-96A89AC5EC27}"/>
                </a:ext>
              </a:extLst>
            </p:cNvPr>
            <p:cNvSpPr>
              <a:spLocks noEditPoints="1"/>
            </p:cNvSpPr>
            <p:nvPr/>
          </p:nvSpPr>
          <p:spPr bwMode="auto">
            <a:xfrm>
              <a:off x="7362" y="317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89" name="Group 790">
            <a:extLst>
              <a:ext uri="{FF2B5EF4-FFF2-40B4-BE49-F238E27FC236}">
                <a16:creationId xmlns:a16="http://schemas.microsoft.com/office/drawing/2014/main" id="{15750036-B6DA-49FF-8AB8-A34419AB2F7D}"/>
              </a:ext>
            </a:extLst>
          </p:cNvPr>
          <p:cNvGrpSpPr>
            <a:grpSpLocks noChangeAspect="1"/>
          </p:cNvGrpSpPr>
          <p:nvPr/>
        </p:nvGrpSpPr>
        <p:grpSpPr bwMode="auto">
          <a:xfrm>
            <a:off x="2204264" y="3307694"/>
            <a:ext cx="367633" cy="368713"/>
            <a:chOff x="-11" y="3149"/>
            <a:chExt cx="340" cy="341"/>
          </a:xfrm>
          <a:solidFill>
            <a:schemeClr val="accent3"/>
          </a:solidFill>
        </p:grpSpPr>
        <p:sp>
          <p:nvSpPr>
            <p:cNvPr id="590" name="Freeform 791">
              <a:extLst>
                <a:ext uri="{FF2B5EF4-FFF2-40B4-BE49-F238E27FC236}">
                  <a16:creationId xmlns:a16="http://schemas.microsoft.com/office/drawing/2014/main" id="{C25A1FC4-8ED3-4740-A89C-FBDF47017E52}"/>
                </a:ext>
              </a:extLst>
            </p:cNvPr>
            <p:cNvSpPr>
              <a:spLocks/>
            </p:cNvSpPr>
            <p:nvPr/>
          </p:nvSpPr>
          <p:spPr bwMode="auto">
            <a:xfrm>
              <a:off x="102" y="3232"/>
              <a:ext cx="113" cy="179"/>
            </a:xfrm>
            <a:custGeom>
              <a:avLst/>
              <a:gdLst>
                <a:gd name="T0" fmla="*/ 119 w 171"/>
                <a:gd name="T1" fmla="*/ 154 h 270"/>
                <a:gd name="T2" fmla="*/ 119 w 171"/>
                <a:gd name="T3" fmla="*/ 153 h 270"/>
                <a:gd name="T4" fmla="*/ 129 w 171"/>
                <a:gd name="T5" fmla="*/ 142 h 270"/>
                <a:gd name="T6" fmla="*/ 150 w 171"/>
                <a:gd name="T7" fmla="*/ 142 h 270"/>
                <a:gd name="T8" fmla="*/ 98 w 171"/>
                <a:gd name="T9" fmla="*/ 74 h 270"/>
                <a:gd name="T10" fmla="*/ 97 w 171"/>
                <a:gd name="T11" fmla="*/ 63 h 270"/>
                <a:gd name="T12" fmla="*/ 107 w 171"/>
                <a:gd name="T13" fmla="*/ 57 h 270"/>
                <a:gd name="T14" fmla="*/ 128 w 171"/>
                <a:gd name="T15" fmla="*/ 57 h 270"/>
                <a:gd name="T16" fmla="*/ 86 w 171"/>
                <a:gd name="T17" fmla="*/ 0 h 270"/>
                <a:gd name="T18" fmla="*/ 43 w 171"/>
                <a:gd name="T19" fmla="*/ 57 h 270"/>
                <a:gd name="T20" fmla="*/ 64 w 171"/>
                <a:gd name="T21" fmla="*/ 57 h 270"/>
                <a:gd name="T22" fmla="*/ 74 w 171"/>
                <a:gd name="T23" fmla="*/ 63 h 270"/>
                <a:gd name="T24" fmla="*/ 73 w 171"/>
                <a:gd name="T25" fmla="*/ 74 h 270"/>
                <a:gd name="T26" fmla="*/ 22 w 171"/>
                <a:gd name="T27" fmla="*/ 142 h 270"/>
                <a:gd name="T28" fmla="*/ 43 w 171"/>
                <a:gd name="T29" fmla="*/ 142 h 270"/>
                <a:gd name="T30" fmla="*/ 53 w 171"/>
                <a:gd name="T31" fmla="*/ 148 h 270"/>
                <a:gd name="T32" fmla="*/ 52 w 171"/>
                <a:gd name="T33" fmla="*/ 159 h 270"/>
                <a:gd name="T34" fmla="*/ 0 w 171"/>
                <a:gd name="T35" fmla="*/ 228 h 270"/>
                <a:gd name="T36" fmla="*/ 64 w 171"/>
                <a:gd name="T37" fmla="*/ 228 h 270"/>
                <a:gd name="T38" fmla="*/ 75 w 171"/>
                <a:gd name="T39" fmla="*/ 238 h 270"/>
                <a:gd name="T40" fmla="*/ 75 w 171"/>
                <a:gd name="T41" fmla="*/ 270 h 270"/>
                <a:gd name="T42" fmla="*/ 96 w 171"/>
                <a:gd name="T43" fmla="*/ 270 h 270"/>
                <a:gd name="T44" fmla="*/ 96 w 171"/>
                <a:gd name="T45" fmla="*/ 238 h 270"/>
                <a:gd name="T46" fmla="*/ 107 w 171"/>
                <a:gd name="T47" fmla="*/ 228 h 270"/>
                <a:gd name="T48" fmla="*/ 171 w 171"/>
                <a:gd name="T49" fmla="*/ 228 h 270"/>
                <a:gd name="T50" fmla="*/ 121 w 171"/>
                <a:gd name="T51" fmla="*/ 161 h 270"/>
                <a:gd name="T52" fmla="*/ 119 w 171"/>
                <a:gd name="T53" fmla="*/ 15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1" h="270">
                  <a:moveTo>
                    <a:pt x="119" y="154"/>
                  </a:moveTo>
                  <a:cubicBezTo>
                    <a:pt x="119" y="153"/>
                    <a:pt x="119" y="153"/>
                    <a:pt x="119" y="153"/>
                  </a:cubicBezTo>
                  <a:cubicBezTo>
                    <a:pt x="119" y="147"/>
                    <a:pt x="124" y="142"/>
                    <a:pt x="129" y="142"/>
                  </a:cubicBezTo>
                  <a:cubicBezTo>
                    <a:pt x="150" y="142"/>
                    <a:pt x="150" y="142"/>
                    <a:pt x="150" y="142"/>
                  </a:cubicBezTo>
                  <a:cubicBezTo>
                    <a:pt x="98" y="74"/>
                    <a:pt x="98" y="74"/>
                    <a:pt x="98" y="74"/>
                  </a:cubicBezTo>
                  <a:cubicBezTo>
                    <a:pt x="96" y="71"/>
                    <a:pt x="96" y="67"/>
                    <a:pt x="97" y="63"/>
                  </a:cubicBezTo>
                  <a:cubicBezTo>
                    <a:pt x="99" y="59"/>
                    <a:pt x="103" y="57"/>
                    <a:pt x="107" y="57"/>
                  </a:cubicBezTo>
                  <a:cubicBezTo>
                    <a:pt x="128" y="57"/>
                    <a:pt x="128" y="57"/>
                    <a:pt x="128" y="57"/>
                  </a:cubicBezTo>
                  <a:cubicBezTo>
                    <a:pt x="86" y="0"/>
                    <a:pt x="86" y="0"/>
                    <a:pt x="86" y="0"/>
                  </a:cubicBezTo>
                  <a:cubicBezTo>
                    <a:pt x="43" y="57"/>
                    <a:pt x="43" y="57"/>
                    <a:pt x="43" y="57"/>
                  </a:cubicBezTo>
                  <a:cubicBezTo>
                    <a:pt x="64" y="57"/>
                    <a:pt x="64" y="57"/>
                    <a:pt x="64" y="57"/>
                  </a:cubicBezTo>
                  <a:cubicBezTo>
                    <a:pt x="68" y="57"/>
                    <a:pt x="72" y="59"/>
                    <a:pt x="74" y="63"/>
                  </a:cubicBezTo>
                  <a:cubicBezTo>
                    <a:pt x="76" y="67"/>
                    <a:pt x="75" y="71"/>
                    <a:pt x="73" y="74"/>
                  </a:cubicBezTo>
                  <a:cubicBezTo>
                    <a:pt x="22" y="142"/>
                    <a:pt x="22" y="142"/>
                    <a:pt x="22" y="142"/>
                  </a:cubicBezTo>
                  <a:cubicBezTo>
                    <a:pt x="43" y="142"/>
                    <a:pt x="43" y="142"/>
                    <a:pt x="43" y="142"/>
                  </a:cubicBezTo>
                  <a:cubicBezTo>
                    <a:pt x="47" y="142"/>
                    <a:pt x="51" y="145"/>
                    <a:pt x="53" y="148"/>
                  </a:cubicBezTo>
                  <a:cubicBezTo>
                    <a:pt x="54" y="152"/>
                    <a:pt x="54" y="156"/>
                    <a:pt x="52" y="159"/>
                  </a:cubicBezTo>
                  <a:cubicBezTo>
                    <a:pt x="0" y="228"/>
                    <a:pt x="0" y="228"/>
                    <a:pt x="0" y="228"/>
                  </a:cubicBezTo>
                  <a:cubicBezTo>
                    <a:pt x="64" y="228"/>
                    <a:pt x="64" y="228"/>
                    <a:pt x="64" y="228"/>
                  </a:cubicBezTo>
                  <a:cubicBezTo>
                    <a:pt x="70" y="228"/>
                    <a:pt x="75" y="232"/>
                    <a:pt x="75" y="238"/>
                  </a:cubicBezTo>
                  <a:cubicBezTo>
                    <a:pt x="75" y="270"/>
                    <a:pt x="75" y="270"/>
                    <a:pt x="75" y="270"/>
                  </a:cubicBezTo>
                  <a:cubicBezTo>
                    <a:pt x="96" y="270"/>
                    <a:pt x="96" y="270"/>
                    <a:pt x="96" y="270"/>
                  </a:cubicBezTo>
                  <a:cubicBezTo>
                    <a:pt x="96" y="238"/>
                    <a:pt x="96" y="238"/>
                    <a:pt x="96" y="238"/>
                  </a:cubicBezTo>
                  <a:cubicBezTo>
                    <a:pt x="96" y="232"/>
                    <a:pt x="101" y="228"/>
                    <a:pt x="107" y="228"/>
                  </a:cubicBezTo>
                  <a:cubicBezTo>
                    <a:pt x="171" y="228"/>
                    <a:pt x="171" y="228"/>
                    <a:pt x="171" y="228"/>
                  </a:cubicBezTo>
                  <a:cubicBezTo>
                    <a:pt x="121" y="161"/>
                    <a:pt x="121" y="161"/>
                    <a:pt x="121" y="161"/>
                  </a:cubicBezTo>
                  <a:cubicBezTo>
                    <a:pt x="119" y="159"/>
                    <a:pt x="119" y="156"/>
                    <a:pt x="119"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1" name="Freeform 792">
              <a:extLst>
                <a:ext uri="{FF2B5EF4-FFF2-40B4-BE49-F238E27FC236}">
                  <a16:creationId xmlns:a16="http://schemas.microsoft.com/office/drawing/2014/main" id="{6C0EAC3A-B014-4F2C-86C2-B3F4C7C210C3}"/>
                </a:ext>
              </a:extLst>
            </p:cNvPr>
            <p:cNvSpPr>
              <a:spLocks noEditPoints="1"/>
            </p:cNvSpPr>
            <p:nvPr/>
          </p:nvSpPr>
          <p:spPr bwMode="auto">
            <a:xfrm>
              <a:off x="-11" y="3149"/>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2 w 512"/>
                <a:gd name="T11" fmla="*/ 367 h 512"/>
                <a:gd name="T12" fmla="*/ 362 w 512"/>
                <a:gd name="T13" fmla="*/ 373 h 512"/>
                <a:gd name="T14" fmla="*/ 288 w 512"/>
                <a:gd name="T15" fmla="*/ 373 h 512"/>
                <a:gd name="T16" fmla="*/ 288 w 512"/>
                <a:gd name="T17" fmla="*/ 405 h 512"/>
                <a:gd name="T18" fmla="*/ 277 w 512"/>
                <a:gd name="T19" fmla="*/ 416 h 512"/>
                <a:gd name="T20" fmla="*/ 234 w 512"/>
                <a:gd name="T21" fmla="*/ 416 h 512"/>
                <a:gd name="T22" fmla="*/ 224 w 512"/>
                <a:gd name="T23" fmla="*/ 405 h 512"/>
                <a:gd name="T24" fmla="*/ 224 w 512"/>
                <a:gd name="T25" fmla="*/ 373 h 512"/>
                <a:gd name="T26" fmla="*/ 149 w 512"/>
                <a:gd name="T27" fmla="*/ 373 h 512"/>
                <a:gd name="T28" fmla="*/ 139 w 512"/>
                <a:gd name="T29" fmla="*/ 367 h 512"/>
                <a:gd name="T30" fmla="*/ 140 w 512"/>
                <a:gd name="T31" fmla="*/ 356 h 512"/>
                <a:gd name="T32" fmla="*/ 192 w 512"/>
                <a:gd name="T33" fmla="*/ 288 h 512"/>
                <a:gd name="T34" fmla="*/ 170 w 512"/>
                <a:gd name="T35" fmla="*/ 288 h 512"/>
                <a:gd name="T36" fmla="*/ 161 w 512"/>
                <a:gd name="T37" fmla="*/ 282 h 512"/>
                <a:gd name="T38" fmla="*/ 162 w 512"/>
                <a:gd name="T39" fmla="*/ 271 h 512"/>
                <a:gd name="T40" fmla="*/ 213 w 512"/>
                <a:gd name="T41" fmla="*/ 202 h 512"/>
                <a:gd name="T42" fmla="*/ 192 w 512"/>
                <a:gd name="T43" fmla="*/ 202 h 512"/>
                <a:gd name="T44" fmla="*/ 182 w 512"/>
                <a:gd name="T45" fmla="*/ 196 h 512"/>
                <a:gd name="T46" fmla="*/ 183 w 512"/>
                <a:gd name="T47" fmla="*/ 185 h 512"/>
                <a:gd name="T48" fmla="*/ 247 w 512"/>
                <a:gd name="T49" fmla="*/ 100 h 512"/>
                <a:gd name="T50" fmla="*/ 264 w 512"/>
                <a:gd name="T51" fmla="*/ 100 h 512"/>
                <a:gd name="T52" fmla="*/ 328 w 512"/>
                <a:gd name="T53" fmla="*/ 185 h 512"/>
                <a:gd name="T54" fmla="*/ 329 w 512"/>
                <a:gd name="T55" fmla="*/ 196 h 512"/>
                <a:gd name="T56" fmla="*/ 320 w 512"/>
                <a:gd name="T57" fmla="*/ 202 h 512"/>
                <a:gd name="T58" fmla="*/ 298 w 512"/>
                <a:gd name="T59" fmla="*/ 202 h 512"/>
                <a:gd name="T60" fmla="*/ 350 w 512"/>
                <a:gd name="T61" fmla="*/ 271 h 512"/>
                <a:gd name="T62" fmla="*/ 351 w 512"/>
                <a:gd name="T63" fmla="*/ 282 h 512"/>
                <a:gd name="T64" fmla="*/ 341 w 512"/>
                <a:gd name="T65" fmla="*/ 288 h 512"/>
                <a:gd name="T66" fmla="*/ 320 w 512"/>
                <a:gd name="T67" fmla="*/ 288 h 512"/>
                <a:gd name="T68" fmla="*/ 371 w 512"/>
                <a:gd name="T69" fmla="*/ 356 h 512"/>
                <a:gd name="T70" fmla="*/ 372 w 512"/>
                <a:gd name="T71" fmla="*/ 3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2" y="367"/>
                  </a:moveTo>
                  <a:cubicBezTo>
                    <a:pt x="370" y="371"/>
                    <a:pt x="366" y="373"/>
                    <a:pt x="362" y="373"/>
                  </a:cubicBezTo>
                  <a:cubicBezTo>
                    <a:pt x="288" y="373"/>
                    <a:pt x="288" y="373"/>
                    <a:pt x="288" y="373"/>
                  </a:cubicBezTo>
                  <a:cubicBezTo>
                    <a:pt x="288" y="405"/>
                    <a:pt x="288" y="405"/>
                    <a:pt x="288" y="405"/>
                  </a:cubicBezTo>
                  <a:cubicBezTo>
                    <a:pt x="288" y="411"/>
                    <a:pt x="283" y="416"/>
                    <a:pt x="277" y="416"/>
                  </a:cubicBezTo>
                  <a:cubicBezTo>
                    <a:pt x="234" y="416"/>
                    <a:pt x="234" y="416"/>
                    <a:pt x="234" y="416"/>
                  </a:cubicBezTo>
                  <a:cubicBezTo>
                    <a:pt x="228" y="416"/>
                    <a:pt x="224" y="411"/>
                    <a:pt x="224" y="405"/>
                  </a:cubicBezTo>
                  <a:cubicBezTo>
                    <a:pt x="224" y="373"/>
                    <a:pt x="224" y="373"/>
                    <a:pt x="224" y="373"/>
                  </a:cubicBezTo>
                  <a:cubicBezTo>
                    <a:pt x="149" y="373"/>
                    <a:pt x="149" y="373"/>
                    <a:pt x="149" y="373"/>
                  </a:cubicBezTo>
                  <a:cubicBezTo>
                    <a:pt x="145" y="373"/>
                    <a:pt x="141" y="371"/>
                    <a:pt x="139" y="367"/>
                  </a:cubicBezTo>
                  <a:cubicBezTo>
                    <a:pt x="138" y="363"/>
                    <a:pt x="138" y="359"/>
                    <a:pt x="140" y="356"/>
                  </a:cubicBezTo>
                  <a:cubicBezTo>
                    <a:pt x="192" y="288"/>
                    <a:pt x="192" y="288"/>
                    <a:pt x="192" y="288"/>
                  </a:cubicBezTo>
                  <a:cubicBezTo>
                    <a:pt x="170" y="288"/>
                    <a:pt x="170" y="288"/>
                    <a:pt x="170" y="288"/>
                  </a:cubicBezTo>
                  <a:cubicBezTo>
                    <a:pt x="166" y="288"/>
                    <a:pt x="163" y="285"/>
                    <a:pt x="161" y="282"/>
                  </a:cubicBezTo>
                  <a:cubicBezTo>
                    <a:pt x="159" y="278"/>
                    <a:pt x="159" y="274"/>
                    <a:pt x="162" y="271"/>
                  </a:cubicBezTo>
                  <a:cubicBezTo>
                    <a:pt x="213" y="202"/>
                    <a:pt x="213" y="202"/>
                    <a:pt x="213" y="202"/>
                  </a:cubicBezTo>
                  <a:cubicBezTo>
                    <a:pt x="192" y="202"/>
                    <a:pt x="192" y="202"/>
                    <a:pt x="192" y="202"/>
                  </a:cubicBezTo>
                  <a:cubicBezTo>
                    <a:pt x="188" y="202"/>
                    <a:pt x="184" y="200"/>
                    <a:pt x="182" y="196"/>
                  </a:cubicBezTo>
                  <a:cubicBezTo>
                    <a:pt x="180" y="193"/>
                    <a:pt x="181" y="188"/>
                    <a:pt x="183" y="185"/>
                  </a:cubicBezTo>
                  <a:cubicBezTo>
                    <a:pt x="247" y="100"/>
                    <a:pt x="247" y="100"/>
                    <a:pt x="247" y="100"/>
                  </a:cubicBezTo>
                  <a:cubicBezTo>
                    <a:pt x="251" y="95"/>
                    <a:pt x="260" y="95"/>
                    <a:pt x="264" y="100"/>
                  </a:cubicBezTo>
                  <a:cubicBezTo>
                    <a:pt x="328" y="185"/>
                    <a:pt x="328" y="185"/>
                    <a:pt x="328" y="185"/>
                  </a:cubicBezTo>
                  <a:cubicBezTo>
                    <a:pt x="331" y="188"/>
                    <a:pt x="331" y="193"/>
                    <a:pt x="329" y="196"/>
                  </a:cubicBezTo>
                  <a:cubicBezTo>
                    <a:pt x="327" y="200"/>
                    <a:pt x="324" y="202"/>
                    <a:pt x="320" y="202"/>
                  </a:cubicBezTo>
                  <a:cubicBezTo>
                    <a:pt x="298" y="202"/>
                    <a:pt x="298" y="202"/>
                    <a:pt x="298" y="202"/>
                  </a:cubicBezTo>
                  <a:cubicBezTo>
                    <a:pt x="350" y="271"/>
                    <a:pt x="350" y="271"/>
                    <a:pt x="350" y="271"/>
                  </a:cubicBezTo>
                  <a:cubicBezTo>
                    <a:pt x="352" y="274"/>
                    <a:pt x="352" y="278"/>
                    <a:pt x="351" y="282"/>
                  </a:cubicBezTo>
                  <a:cubicBezTo>
                    <a:pt x="349" y="285"/>
                    <a:pt x="345" y="288"/>
                    <a:pt x="341" y="288"/>
                  </a:cubicBezTo>
                  <a:cubicBezTo>
                    <a:pt x="320" y="288"/>
                    <a:pt x="320" y="288"/>
                    <a:pt x="320" y="288"/>
                  </a:cubicBezTo>
                  <a:cubicBezTo>
                    <a:pt x="371" y="356"/>
                    <a:pt x="371" y="356"/>
                    <a:pt x="371" y="356"/>
                  </a:cubicBezTo>
                  <a:cubicBezTo>
                    <a:pt x="373" y="359"/>
                    <a:pt x="374" y="363"/>
                    <a:pt x="372" y="3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92" name="Group 795">
            <a:extLst>
              <a:ext uri="{FF2B5EF4-FFF2-40B4-BE49-F238E27FC236}">
                <a16:creationId xmlns:a16="http://schemas.microsoft.com/office/drawing/2014/main" id="{F10482A9-B505-4EF2-A45A-8B21B796A07C}"/>
              </a:ext>
            </a:extLst>
          </p:cNvPr>
          <p:cNvGrpSpPr>
            <a:grpSpLocks noChangeAspect="1"/>
          </p:cNvGrpSpPr>
          <p:nvPr/>
        </p:nvGrpSpPr>
        <p:grpSpPr bwMode="auto">
          <a:xfrm>
            <a:off x="2634753" y="3307694"/>
            <a:ext cx="367631" cy="367631"/>
            <a:chOff x="390" y="3164"/>
            <a:chExt cx="340" cy="340"/>
          </a:xfrm>
          <a:solidFill>
            <a:schemeClr val="accent3"/>
          </a:solidFill>
        </p:grpSpPr>
        <p:sp>
          <p:nvSpPr>
            <p:cNvPr id="593" name="Freeform 796">
              <a:extLst>
                <a:ext uri="{FF2B5EF4-FFF2-40B4-BE49-F238E27FC236}">
                  <a16:creationId xmlns:a16="http://schemas.microsoft.com/office/drawing/2014/main" id="{263837B2-B76F-4B1C-8A31-76D2643D4372}"/>
                </a:ext>
              </a:extLst>
            </p:cNvPr>
            <p:cNvSpPr>
              <a:spLocks noEditPoints="1"/>
            </p:cNvSpPr>
            <p:nvPr/>
          </p:nvSpPr>
          <p:spPr bwMode="auto">
            <a:xfrm>
              <a:off x="482" y="3227"/>
              <a:ext cx="156" cy="213"/>
            </a:xfrm>
            <a:custGeom>
              <a:avLst/>
              <a:gdLst>
                <a:gd name="T0" fmla="*/ 139 w 236"/>
                <a:gd name="T1" fmla="*/ 321 h 321"/>
                <a:gd name="T2" fmla="*/ 96 w 236"/>
                <a:gd name="T3" fmla="*/ 321 h 321"/>
                <a:gd name="T4" fmla="*/ 86 w 236"/>
                <a:gd name="T5" fmla="*/ 310 h 321"/>
                <a:gd name="T6" fmla="*/ 86 w 236"/>
                <a:gd name="T7" fmla="*/ 278 h 321"/>
                <a:gd name="T8" fmla="*/ 11 w 236"/>
                <a:gd name="T9" fmla="*/ 278 h 321"/>
                <a:gd name="T10" fmla="*/ 1 w 236"/>
                <a:gd name="T11" fmla="*/ 272 h 321"/>
                <a:gd name="T12" fmla="*/ 2 w 236"/>
                <a:gd name="T13" fmla="*/ 261 h 321"/>
                <a:gd name="T14" fmla="*/ 54 w 236"/>
                <a:gd name="T15" fmla="*/ 193 h 321"/>
                <a:gd name="T16" fmla="*/ 32 w 236"/>
                <a:gd name="T17" fmla="*/ 193 h 321"/>
                <a:gd name="T18" fmla="*/ 23 w 236"/>
                <a:gd name="T19" fmla="*/ 187 h 321"/>
                <a:gd name="T20" fmla="*/ 24 w 236"/>
                <a:gd name="T21" fmla="*/ 176 h 321"/>
                <a:gd name="T22" fmla="*/ 75 w 236"/>
                <a:gd name="T23" fmla="*/ 107 h 321"/>
                <a:gd name="T24" fmla="*/ 54 w 236"/>
                <a:gd name="T25" fmla="*/ 107 h 321"/>
                <a:gd name="T26" fmla="*/ 44 w 236"/>
                <a:gd name="T27" fmla="*/ 101 h 321"/>
                <a:gd name="T28" fmla="*/ 45 w 236"/>
                <a:gd name="T29" fmla="*/ 90 h 321"/>
                <a:gd name="T30" fmla="*/ 109 w 236"/>
                <a:gd name="T31" fmla="*/ 5 h 321"/>
                <a:gd name="T32" fmla="*/ 126 w 236"/>
                <a:gd name="T33" fmla="*/ 5 h 321"/>
                <a:gd name="T34" fmla="*/ 190 w 236"/>
                <a:gd name="T35" fmla="*/ 90 h 321"/>
                <a:gd name="T36" fmla="*/ 191 w 236"/>
                <a:gd name="T37" fmla="*/ 101 h 321"/>
                <a:gd name="T38" fmla="*/ 182 w 236"/>
                <a:gd name="T39" fmla="*/ 107 h 321"/>
                <a:gd name="T40" fmla="*/ 160 w 236"/>
                <a:gd name="T41" fmla="*/ 107 h 321"/>
                <a:gd name="T42" fmla="*/ 212 w 236"/>
                <a:gd name="T43" fmla="*/ 176 h 321"/>
                <a:gd name="T44" fmla="*/ 213 w 236"/>
                <a:gd name="T45" fmla="*/ 187 h 321"/>
                <a:gd name="T46" fmla="*/ 203 w 236"/>
                <a:gd name="T47" fmla="*/ 193 h 321"/>
                <a:gd name="T48" fmla="*/ 182 w 236"/>
                <a:gd name="T49" fmla="*/ 193 h 321"/>
                <a:gd name="T50" fmla="*/ 233 w 236"/>
                <a:gd name="T51" fmla="*/ 261 h 321"/>
                <a:gd name="T52" fmla="*/ 234 w 236"/>
                <a:gd name="T53" fmla="*/ 272 h 321"/>
                <a:gd name="T54" fmla="*/ 224 w 236"/>
                <a:gd name="T55" fmla="*/ 278 h 321"/>
                <a:gd name="T56" fmla="*/ 150 w 236"/>
                <a:gd name="T57" fmla="*/ 278 h 321"/>
                <a:gd name="T58" fmla="*/ 150 w 236"/>
                <a:gd name="T59" fmla="*/ 310 h 321"/>
                <a:gd name="T60" fmla="*/ 139 w 236"/>
                <a:gd name="T61" fmla="*/ 321 h 321"/>
                <a:gd name="T62" fmla="*/ 107 w 236"/>
                <a:gd name="T63" fmla="*/ 299 h 321"/>
                <a:gd name="T64" fmla="*/ 128 w 236"/>
                <a:gd name="T65" fmla="*/ 299 h 321"/>
                <a:gd name="T66" fmla="*/ 128 w 236"/>
                <a:gd name="T67" fmla="*/ 267 h 321"/>
                <a:gd name="T68" fmla="*/ 139 w 236"/>
                <a:gd name="T69" fmla="*/ 257 h 321"/>
                <a:gd name="T70" fmla="*/ 203 w 236"/>
                <a:gd name="T71" fmla="*/ 257 h 321"/>
                <a:gd name="T72" fmla="*/ 153 w 236"/>
                <a:gd name="T73" fmla="*/ 190 h 321"/>
                <a:gd name="T74" fmla="*/ 151 w 236"/>
                <a:gd name="T75" fmla="*/ 183 h 321"/>
                <a:gd name="T76" fmla="*/ 151 w 236"/>
                <a:gd name="T77" fmla="*/ 182 h 321"/>
                <a:gd name="T78" fmla="*/ 161 w 236"/>
                <a:gd name="T79" fmla="*/ 171 h 321"/>
                <a:gd name="T80" fmla="*/ 182 w 236"/>
                <a:gd name="T81" fmla="*/ 171 h 321"/>
                <a:gd name="T82" fmla="*/ 130 w 236"/>
                <a:gd name="T83" fmla="*/ 103 h 321"/>
                <a:gd name="T84" fmla="*/ 129 w 236"/>
                <a:gd name="T85" fmla="*/ 92 h 321"/>
                <a:gd name="T86" fmla="*/ 139 w 236"/>
                <a:gd name="T87" fmla="*/ 86 h 321"/>
                <a:gd name="T88" fmla="*/ 160 w 236"/>
                <a:gd name="T89" fmla="*/ 86 h 321"/>
                <a:gd name="T90" fmla="*/ 118 w 236"/>
                <a:gd name="T91" fmla="*/ 29 h 321"/>
                <a:gd name="T92" fmla="*/ 75 w 236"/>
                <a:gd name="T93" fmla="*/ 86 h 321"/>
                <a:gd name="T94" fmla="*/ 96 w 236"/>
                <a:gd name="T95" fmla="*/ 86 h 321"/>
                <a:gd name="T96" fmla="*/ 106 w 236"/>
                <a:gd name="T97" fmla="*/ 92 h 321"/>
                <a:gd name="T98" fmla="*/ 105 w 236"/>
                <a:gd name="T99" fmla="*/ 103 h 321"/>
                <a:gd name="T100" fmla="*/ 54 w 236"/>
                <a:gd name="T101" fmla="*/ 171 h 321"/>
                <a:gd name="T102" fmla="*/ 75 w 236"/>
                <a:gd name="T103" fmla="*/ 171 h 321"/>
                <a:gd name="T104" fmla="*/ 85 w 236"/>
                <a:gd name="T105" fmla="*/ 177 h 321"/>
                <a:gd name="T106" fmla="*/ 84 w 236"/>
                <a:gd name="T107" fmla="*/ 188 h 321"/>
                <a:gd name="T108" fmla="*/ 32 w 236"/>
                <a:gd name="T109" fmla="*/ 257 h 321"/>
                <a:gd name="T110" fmla="*/ 96 w 236"/>
                <a:gd name="T111" fmla="*/ 257 h 321"/>
                <a:gd name="T112" fmla="*/ 107 w 236"/>
                <a:gd name="T113" fmla="*/ 267 h 321"/>
                <a:gd name="T114" fmla="*/ 107 w 236"/>
                <a:gd name="T115" fmla="*/ 29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6" h="321">
                  <a:moveTo>
                    <a:pt x="139" y="321"/>
                  </a:moveTo>
                  <a:cubicBezTo>
                    <a:pt x="96" y="321"/>
                    <a:pt x="96" y="321"/>
                    <a:pt x="96" y="321"/>
                  </a:cubicBezTo>
                  <a:cubicBezTo>
                    <a:pt x="90" y="321"/>
                    <a:pt x="86" y="316"/>
                    <a:pt x="86" y="310"/>
                  </a:cubicBezTo>
                  <a:cubicBezTo>
                    <a:pt x="86" y="278"/>
                    <a:pt x="86" y="278"/>
                    <a:pt x="86" y="278"/>
                  </a:cubicBezTo>
                  <a:cubicBezTo>
                    <a:pt x="11" y="278"/>
                    <a:pt x="11" y="278"/>
                    <a:pt x="11" y="278"/>
                  </a:cubicBezTo>
                  <a:cubicBezTo>
                    <a:pt x="7" y="278"/>
                    <a:pt x="3" y="276"/>
                    <a:pt x="1" y="272"/>
                  </a:cubicBezTo>
                  <a:cubicBezTo>
                    <a:pt x="0" y="268"/>
                    <a:pt x="0" y="264"/>
                    <a:pt x="2" y="261"/>
                  </a:cubicBezTo>
                  <a:cubicBezTo>
                    <a:pt x="54" y="193"/>
                    <a:pt x="54" y="193"/>
                    <a:pt x="54" y="193"/>
                  </a:cubicBezTo>
                  <a:cubicBezTo>
                    <a:pt x="32" y="193"/>
                    <a:pt x="32" y="193"/>
                    <a:pt x="32" y="193"/>
                  </a:cubicBezTo>
                  <a:cubicBezTo>
                    <a:pt x="28" y="193"/>
                    <a:pt x="25" y="190"/>
                    <a:pt x="23" y="187"/>
                  </a:cubicBezTo>
                  <a:cubicBezTo>
                    <a:pt x="21" y="183"/>
                    <a:pt x="21" y="179"/>
                    <a:pt x="24" y="176"/>
                  </a:cubicBezTo>
                  <a:cubicBezTo>
                    <a:pt x="75" y="107"/>
                    <a:pt x="75" y="107"/>
                    <a:pt x="75" y="107"/>
                  </a:cubicBezTo>
                  <a:cubicBezTo>
                    <a:pt x="54" y="107"/>
                    <a:pt x="54" y="107"/>
                    <a:pt x="54" y="107"/>
                  </a:cubicBezTo>
                  <a:cubicBezTo>
                    <a:pt x="50" y="107"/>
                    <a:pt x="46" y="105"/>
                    <a:pt x="44" y="101"/>
                  </a:cubicBezTo>
                  <a:cubicBezTo>
                    <a:pt x="42" y="98"/>
                    <a:pt x="43" y="93"/>
                    <a:pt x="45" y="90"/>
                  </a:cubicBezTo>
                  <a:cubicBezTo>
                    <a:pt x="109" y="5"/>
                    <a:pt x="109" y="5"/>
                    <a:pt x="109" y="5"/>
                  </a:cubicBezTo>
                  <a:cubicBezTo>
                    <a:pt x="113" y="0"/>
                    <a:pt x="122" y="0"/>
                    <a:pt x="126" y="5"/>
                  </a:cubicBezTo>
                  <a:cubicBezTo>
                    <a:pt x="190" y="90"/>
                    <a:pt x="190" y="90"/>
                    <a:pt x="190" y="90"/>
                  </a:cubicBezTo>
                  <a:cubicBezTo>
                    <a:pt x="193" y="93"/>
                    <a:pt x="193" y="98"/>
                    <a:pt x="191" y="101"/>
                  </a:cubicBezTo>
                  <a:cubicBezTo>
                    <a:pt x="189" y="105"/>
                    <a:pt x="186" y="107"/>
                    <a:pt x="182" y="107"/>
                  </a:cubicBezTo>
                  <a:cubicBezTo>
                    <a:pt x="160" y="107"/>
                    <a:pt x="160" y="107"/>
                    <a:pt x="160" y="107"/>
                  </a:cubicBezTo>
                  <a:cubicBezTo>
                    <a:pt x="212" y="176"/>
                    <a:pt x="212" y="176"/>
                    <a:pt x="212" y="176"/>
                  </a:cubicBezTo>
                  <a:cubicBezTo>
                    <a:pt x="214" y="179"/>
                    <a:pt x="214" y="183"/>
                    <a:pt x="213" y="187"/>
                  </a:cubicBezTo>
                  <a:cubicBezTo>
                    <a:pt x="211" y="190"/>
                    <a:pt x="207" y="193"/>
                    <a:pt x="203" y="193"/>
                  </a:cubicBezTo>
                  <a:cubicBezTo>
                    <a:pt x="182" y="193"/>
                    <a:pt x="182" y="193"/>
                    <a:pt x="182" y="193"/>
                  </a:cubicBezTo>
                  <a:cubicBezTo>
                    <a:pt x="233" y="261"/>
                    <a:pt x="233" y="261"/>
                    <a:pt x="233" y="261"/>
                  </a:cubicBezTo>
                  <a:cubicBezTo>
                    <a:pt x="235" y="264"/>
                    <a:pt x="236" y="268"/>
                    <a:pt x="234" y="272"/>
                  </a:cubicBezTo>
                  <a:cubicBezTo>
                    <a:pt x="232" y="276"/>
                    <a:pt x="228" y="278"/>
                    <a:pt x="224" y="278"/>
                  </a:cubicBezTo>
                  <a:cubicBezTo>
                    <a:pt x="150" y="278"/>
                    <a:pt x="150" y="278"/>
                    <a:pt x="150" y="278"/>
                  </a:cubicBezTo>
                  <a:cubicBezTo>
                    <a:pt x="150" y="310"/>
                    <a:pt x="150" y="310"/>
                    <a:pt x="150" y="310"/>
                  </a:cubicBezTo>
                  <a:cubicBezTo>
                    <a:pt x="150" y="316"/>
                    <a:pt x="145" y="321"/>
                    <a:pt x="139" y="321"/>
                  </a:cubicBezTo>
                  <a:close/>
                  <a:moveTo>
                    <a:pt x="107" y="299"/>
                  </a:moveTo>
                  <a:cubicBezTo>
                    <a:pt x="128" y="299"/>
                    <a:pt x="128" y="299"/>
                    <a:pt x="128" y="299"/>
                  </a:cubicBezTo>
                  <a:cubicBezTo>
                    <a:pt x="128" y="267"/>
                    <a:pt x="128" y="267"/>
                    <a:pt x="128" y="267"/>
                  </a:cubicBezTo>
                  <a:cubicBezTo>
                    <a:pt x="128" y="261"/>
                    <a:pt x="133" y="257"/>
                    <a:pt x="139" y="257"/>
                  </a:cubicBezTo>
                  <a:cubicBezTo>
                    <a:pt x="203" y="257"/>
                    <a:pt x="203" y="257"/>
                    <a:pt x="203" y="257"/>
                  </a:cubicBezTo>
                  <a:cubicBezTo>
                    <a:pt x="153" y="190"/>
                    <a:pt x="153" y="190"/>
                    <a:pt x="153" y="190"/>
                  </a:cubicBezTo>
                  <a:cubicBezTo>
                    <a:pt x="151" y="188"/>
                    <a:pt x="151" y="185"/>
                    <a:pt x="151" y="183"/>
                  </a:cubicBezTo>
                  <a:cubicBezTo>
                    <a:pt x="151" y="182"/>
                    <a:pt x="151" y="182"/>
                    <a:pt x="151" y="182"/>
                  </a:cubicBezTo>
                  <a:cubicBezTo>
                    <a:pt x="151" y="176"/>
                    <a:pt x="156" y="171"/>
                    <a:pt x="161" y="171"/>
                  </a:cubicBezTo>
                  <a:cubicBezTo>
                    <a:pt x="182" y="171"/>
                    <a:pt x="182" y="171"/>
                    <a:pt x="182" y="171"/>
                  </a:cubicBezTo>
                  <a:cubicBezTo>
                    <a:pt x="130" y="103"/>
                    <a:pt x="130" y="103"/>
                    <a:pt x="130" y="103"/>
                  </a:cubicBezTo>
                  <a:cubicBezTo>
                    <a:pt x="128" y="100"/>
                    <a:pt x="128" y="96"/>
                    <a:pt x="129" y="92"/>
                  </a:cubicBezTo>
                  <a:cubicBezTo>
                    <a:pt x="131" y="88"/>
                    <a:pt x="135" y="86"/>
                    <a:pt x="139" y="86"/>
                  </a:cubicBezTo>
                  <a:cubicBezTo>
                    <a:pt x="160" y="86"/>
                    <a:pt x="160" y="86"/>
                    <a:pt x="160" y="86"/>
                  </a:cubicBezTo>
                  <a:cubicBezTo>
                    <a:pt x="118" y="29"/>
                    <a:pt x="118" y="29"/>
                    <a:pt x="118" y="29"/>
                  </a:cubicBezTo>
                  <a:cubicBezTo>
                    <a:pt x="75" y="86"/>
                    <a:pt x="75" y="86"/>
                    <a:pt x="75" y="86"/>
                  </a:cubicBezTo>
                  <a:cubicBezTo>
                    <a:pt x="96" y="86"/>
                    <a:pt x="96" y="86"/>
                    <a:pt x="96" y="86"/>
                  </a:cubicBezTo>
                  <a:cubicBezTo>
                    <a:pt x="100" y="86"/>
                    <a:pt x="104" y="88"/>
                    <a:pt x="106" y="92"/>
                  </a:cubicBezTo>
                  <a:cubicBezTo>
                    <a:pt x="108" y="96"/>
                    <a:pt x="107" y="100"/>
                    <a:pt x="105" y="103"/>
                  </a:cubicBezTo>
                  <a:cubicBezTo>
                    <a:pt x="54" y="171"/>
                    <a:pt x="54" y="171"/>
                    <a:pt x="54" y="171"/>
                  </a:cubicBezTo>
                  <a:cubicBezTo>
                    <a:pt x="75" y="171"/>
                    <a:pt x="75" y="171"/>
                    <a:pt x="75" y="171"/>
                  </a:cubicBezTo>
                  <a:cubicBezTo>
                    <a:pt x="79" y="171"/>
                    <a:pt x="83" y="174"/>
                    <a:pt x="85" y="177"/>
                  </a:cubicBezTo>
                  <a:cubicBezTo>
                    <a:pt x="86" y="181"/>
                    <a:pt x="86" y="185"/>
                    <a:pt x="84" y="188"/>
                  </a:cubicBezTo>
                  <a:cubicBezTo>
                    <a:pt x="32" y="257"/>
                    <a:pt x="32" y="257"/>
                    <a:pt x="32" y="257"/>
                  </a:cubicBezTo>
                  <a:cubicBezTo>
                    <a:pt x="96" y="257"/>
                    <a:pt x="96" y="257"/>
                    <a:pt x="96" y="257"/>
                  </a:cubicBezTo>
                  <a:cubicBezTo>
                    <a:pt x="102" y="257"/>
                    <a:pt x="107" y="261"/>
                    <a:pt x="107" y="267"/>
                  </a:cubicBezTo>
                  <a:lnTo>
                    <a:pt x="107"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4" name="Freeform 797">
              <a:extLst>
                <a:ext uri="{FF2B5EF4-FFF2-40B4-BE49-F238E27FC236}">
                  <a16:creationId xmlns:a16="http://schemas.microsoft.com/office/drawing/2014/main" id="{E558DEAE-4145-40DA-98E8-D72DCA65AC57}"/>
                </a:ext>
              </a:extLst>
            </p:cNvPr>
            <p:cNvSpPr>
              <a:spLocks noEditPoints="1"/>
            </p:cNvSpPr>
            <p:nvPr/>
          </p:nvSpPr>
          <p:spPr bwMode="auto">
            <a:xfrm>
              <a:off x="390" y="31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95" name="Group 547">
            <a:extLst>
              <a:ext uri="{FF2B5EF4-FFF2-40B4-BE49-F238E27FC236}">
                <a16:creationId xmlns:a16="http://schemas.microsoft.com/office/drawing/2014/main" id="{36623E64-3C18-44FF-A4F0-C0BE6AE501E4}"/>
              </a:ext>
            </a:extLst>
          </p:cNvPr>
          <p:cNvGrpSpPr>
            <a:grpSpLocks noChangeAspect="1"/>
          </p:cNvGrpSpPr>
          <p:nvPr/>
        </p:nvGrpSpPr>
        <p:grpSpPr bwMode="auto">
          <a:xfrm>
            <a:off x="3497772" y="3307694"/>
            <a:ext cx="369676" cy="370763"/>
            <a:chOff x="4310" y="1908"/>
            <a:chExt cx="340" cy="341"/>
          </a:xfrm>
          <a:solidFill>
            <a:schemeClr val="accent6"/>
          </a:solidFill>
        </p:grpSpPr>
        <p:sp>
          <p:nvSpPr>
            <p:cNvPr id="596" name="Freeform 548">
              <a:extLst>
                <a:ext uri="{FF2B5EF4-FFF2-40B4-BE49-F238E27FC236}">
                  <a16:creationId xmlns:a16="http://schemas.microsoft.com/office/drawing/2014/main" id="{8E042705-BB8D-4835-B0A1-DD543AA876F1}"/>
                </a:ext>
              </a:extLst>
            </p:cNvPr>
            <p:cNvSpPr>
              <a:spLocks noEditPoints="1"/>
            </p:cNvSpPr>
            <p:nvPr/>
          </p:nvSpPr>
          <p:spPr bwMode="auto">
            <a:xfrm>
              <a:off x="4310" y="190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7" name="Freeform 549">
              <a:extLst>
                <a:ext uri="{FF2B5EF4-FFF2-40B4-BE49-F238E27FC236}">
                  <a16:creationId xmlns:a16="http://schemas.microsoft.com/office/drawing/2014/main" id="{26B5E45A-0CFE-47E9-9E9F-F372BF23CCA9}"/>
                </a:ext>
              </a:extLst>
            </p:cNvPr>
            <p:cNvSpPr>
              <a:spLocks noEditPoints="1"/>
            </p:cNvSpPr>
            <p:nvPr/>
          </p:nvSpPr>
          <p:spPr bwMode="auto">
            <a:xfrm>
              <a:off x="4388" y="1972"/>
              <a:ext cx="184" cy="198"/>
            </a:xfrm>
            <a:custGeom>
              <a:avLst/>
              <a:gdLst>
                <a:gd name="T0" fmla="*/ 267 w 277"/>
                <a:gd name="T1" fmla="*/ 277 h 298"/>
                <a:gd name="T2" fmla="*/ 245 w 277"/>
                <a:gd name="T3" fmla="*/ 277 h 298"/>
                <a:gd name="T4" fmla="*/ 245 w 277"/>
                <a:gd name="T5" fmla="*/ 274 h 298"/>
                <a:gd name="T6" fmla="*/ 159 w 277"/>
                <a:gd name="T7" fmla="*/ 7 h 298"/>
                <a:gd name="T8" fmla="*/ 149 w 277"/>
                <a:gd name="T9" fmla="*/ 0 h 298"/>
                <a:gd name="T10" fmla="*/ 128 w 277"/>
                <a:gd name="T11" fmla="*/ 0 h 298"/>
                <a:gd name="T12" fmla="*/ 118 w 277"/>
                <a:gd name="T13" fmla="*/ 7 h 298"/>
                <a:gd name="T14" fmla="*/ 33 w 277"/>
                <a:gd name="T15" fmla="*/ 274 h 298"/>
                <a:gd name="T16" fmla="*/ 32 w 277"/>
                <a:gd name="T17" fmla="*/ 277 h 298"/>
                <a:gd name="T18" fmla="*/ 11 w 277"/>
                <a:gd name="T19" fmla="*/ 277 h 298"/>
                <a:gd name="T20" fmla="*/ 0 w 277"/>
                <a:gd name="T21" fmla="*/ 288 h 298"/>
                <a:gd name="T22" fmla="*/ 11 w 277"/>
                <a:gd name="T23" fmla="*/ 298 h 298"/>
                <a:gd name="T24" fmla="*/ 267 w 277"/>
                <a:gd name="T25" fmla="*/ 298 h 298"/>
                <a:gd name="T26" fmla="*/ 277 w 277"/>
                <a:gd name="T27" fmla="*/ 288 h 298"/>
                <a:gd name="T28" fmla="*/ 267 w 277"/>
                <a:gd name="T29" fmla="*/ 277 h 298"/>
                <a:gd name="T30" fmla="*/ 108 w 277"/>
                <a:gd name="T31" fmla="*/ 106 h 298"/>
                <a:gd name="T32" fmla="*/ 169 w 277"/>
                <a:gd name="T33" fmla="*/ 106 h 298"/>
                <a:gd name="T34" fmla="*/ 193 w 277"/>
                <a:gd name="T35" fmla="*/ 181 h 298"/>
                <a:gd name="T36" fmla="*/ 85 w 277"/>
                <a:gd name="T37" fmla="*/ 181 h 298"/>
                <a:gd name="T38" fmla="*/ 108 w 277"/>
                <a:gd name="T39" fmla="*/ 106 h 298"/>
                <a:gd name="T40" fmla="*/ 136 w 277"/>
                <a:gd name="T41" fmla="*/ 21 h 298"/>
                <a:gd name="T42" fmla="*/ 142 w 277"/>
                <a:gd name="T43" fmla="*/ 21 h 298"/>
                <a:gd name="T44" fmla="*/ 162 w 277"/>
                <a:gd name="T45" fmla="*/ 85 h 298"/>
                <a:gd name="T46" fmla="*/ 115 w 277"/>
                <a:gd name="T47" fmla="*/ 85 h 298"/>
                <a:gd name="T48" fmla="*/ 136 w 277"/>
                <a:gd name="T49" fmla="*/ 21 h 298"/>
                <a:gd name="T50" fmla="*/ 78 w 277"/>
                <a:gd name="T51" fmla="*/ 202 h 298"/>
                <a:gd name="T52" fmla="*/ 200 w 277"/>
                <a:gd name="T53" fmla="*/ 202 h 298"/>
                <a:gd name="T54" fmla="*/ 223 w 277"/>
                <a:gd name="T55" fmla="*/ 277 h 298"/>
                <a:gd name="T56" fmla="*/ 54 w 277"/>
                <a:gd name="T57" fmla="*/ 277 h 298"/>
                <a:gd name="T58" fmla="*/ 78 w 277"/>
                <a:gd name="T59" fmla="*/ 20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7" h="298">
                  <a:moveTo>
                    <a:pt x="267" y="277"/>
                  </a:moveTo>
                  <a:cubicBezTo>
                    <a:pt x="245" y="277"/>
                    <a:pt x="245" y="277"/>
                    <a:pt x="245" y="277"/>
                  </a:cubicBezTo>
                  <a:cubicBezTo>
                    <a:pt x="245" y="277"/>
                    <a:pt x="245" y="275"/>
                    <a:pt x="245" y="274"/>
                  </a:cubicBezTo>
                  <a:cubicBezTo>
                    <a:pt x="159" y="7"/>
                    <a:pt x="159" y="7"/>
                    <a:pt x="159" y="7"/>
                  </a:cubicBezTo>
                  <a:cubicBezTo>
                    <a:pt x="158" y="3"/>
                    <a:pt x="154" y="0"/>
                    <a:pt x="149" y="0"/>
                  </a:cubicBezTo>
                  <a:cubicBezTo>
                    <a:pt x="128" y="0"/>
                    <a:pt x="128" y="0"/>
                    <a:pt x="128" y="0"/>
                  </a:cubicBezTo>
                  <a:cubicBezTo>
                    <a:pt x="123" y="0"/>
                    <a:pt x="119" y="3"/>
                    <a:pt x="118" y="7"/>
                  </a:cubicBezTo>
                  <a:cubicBezTo>
                    <a:pt x="33" y="274"/>
                    <a:pt x="33" y="274"/>
                    <a:pt x="33" y="274"/>
                  </a:cubicBezTo>
                  <a:cubicBezTo>
                    <a:pt x="32" y="275"/>
                    <a:pt x="32" y="277"/>
                    <a:pt x="32" y="277"/>
                  </a:cubicBezTo>
                  <a:cubicBezTo>
                    <a:pt x="11" y="277"/>
                    <a:pt x="11" y="277"/>
                    <a:pt x="11" y="277"/>
                  </a:cubicBezTo>
                  <a:cubicBezTo>
                    <a:pt x="5" y="277"/>
                    <a:pt x="0" y="282"/>
                    <a:pt x="0" y="288"/>
                  </a:cubicBezTo>
                  <a:cubicBezTo>
                    <a:pt x="0" y="294"/>
                    <a:pt x="5" y="298"/>
                    <a:pt x="11" y="298"/>
                  </a:cubicBezTo>
                  <a:cubicBezTo>
                    <a:pt x="267" y="298"/>
                    <a:pt x="267" y="298"/>
                    <a:pt x="267" y="298"/>
                  </a:cubicBezTo>
                  <a:cubicBezTo>
                    <a:pt x="273" y="298"/>
                    <a:pt x="277" y="294"/>
                    <a:pt x="277" y="288"/>
                  </a:cubicBezTo>
                  <a:cubicBezTo>
                    <a:pt x="277" y="282"/>
                    <a:pt x="273" y="277"/>
                    <a:pt x="267" y="277"/>
                  </a:cubicBezTo>
                  <a:close/>
                  <a:moveTo>
                    <a:pt x="108" y="106"/>
                  </a:moveTo>
                  <a:cubicBezTo>
                    <a:pt x="169" y="106"/>
                    <a:pt x="169" y="106"/>
                    <a:pt x="169" y="106"/>
                  </a:cubicBezTo>
                  <a:cubicBezTo>
                    <a:pt x="193" y="181"/>
                    <a:pt x="193" y="181"/>
                    <a:pt x="193" y="181"/>
                  </a:cubicBezTo>
                  <a:cubicBezTo>
                    <a:pt x="85" y="181"/>
                    <a:pt x="85" y="181"/>
                    <a:pt x="85" y="181"/>
                  </a:cubicBezTo>
                  <a:lnTo>
                    <a:pt x="108" y="106"/>
                  </a:lnTo>
                  <a:close/>
                  <a:moveTo>
                    <a:pt x="136" y="21"/>
                  </a:moveTo>
                  <a:cubicBezTo>
                    <a:pt x="142" y="21"/>
                    <a:pt x="142" y="21"/>
                    <a:pt x="142" y="21"/>
                  </a:cubicBezTo>
                  <a:cubicBezTo>
                    <a:pt x="162" y="85"/>
                    <a:pt x="162" y="85"/>
                    <a:pt x="162" y="85"/>
                  </a:cubicBezTo>
                  <a:cubicBezTo>
                    <a:pt x="115" y="85"/>
                    <a:pt x="115" y="85"/>
                    <a:pt x="115" y="85"/>
                  </a:cubicBezTo>
                  <a:lnTo>
                    <a:pt x="136" y="21"/>
                  </a:lnTo>
                  <a:close/>
                  <a:moveTo>
                    <a:pt x="78" y="202"/>
                  </a:moveTo>
                  <a:cubicBezTo>
                    <a:pt x="200" y="202"/>
                    <a:pt x="200" y="202"/>
                    <a:pt x="200" y="202"/>
                  </a:cubicBezTo>
                  <a:cubicBezTo>
                    <a:pt x="223" y="277"/>
                    <a:pt x="223" y="277"/>
                    <a:pt x="223" y="277"/>
                  </a:cubicBezTo>
                  <a:cubicBezTo>
                    <a:pt x="54" y="277"/>
                    <a:pt x="54" y="277"/>
                    <a:pt x="54" y="277"/>
                  </a:cubicBezTo>
                  <a:lnTo>
                    <a:pt x="78" y="2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8" name="Freeform 553">
            <a:extLst>
              <a:ext uri="{FF2B5EF4-FFF2-40B4-BE49-F238E27FC236}">
                <a16:creationId xmlns:a16="http://schemas.microsoft.com/office/drawing/2014/main" id="{1515CF97-8FA4-416E-B4C8-0AD614F72771}"/>
              </a:ext>
            </a:extLst>
          </p:cNvPr>
          <p:cNvSpPr>
            <a:spLocks noChangeAspect="1" noEditPoints="1"/>
          </p:cNvSpPr>
          <p:nvPr/>
        </p:nvSpPr>
        <p:spPr bwMode="auto">
          <a:xfrm>
            <a:off x="3065240" y="3307694"/>
            <a:ext cx="369676" cy="369676"/>
          </a:xfrm>
          <a:custGeom>
            <a:avLst/>
            <a:gdLst>
              <a:gd name="T0" fmla="*/ 310 w 512"/>
              <a:gd name="T1" fmla="*/ 277 h 512"/>
              <a:gd name="T2" fmla="*/ 202 w 512"/>
              <a:gd name="T3" fmla="*/ 277 h 512"/>
              <a:gd name="T4" fmla="*/ 225 w 512"/>
              <a:gd name="T5" fmla="*/ 202 h 512"/>
              <a:gd name="T6" fmla="*/ 286 w 512"/>
              <a:gd name="T7" fmla="*/ 202 h 512"/>
              <a:gd name="T8" fmla="*/ 310 w 512"/>
              <a:gd name="T9" fmla="*/ 277 h 512"/>
              <a:gd name="T10" fmla="*/ 259 w 512"/>
              <a:gd name="T11" fmla="*/ 117 h 512"/>
              <a:gd name="T12" fmla="*/ 253 w 512"/>
              <a:gd name="T13" fmla="*/ 117 h 512"/>
              <a:gd name="T14" fmla="*/ 232 w 512"/>
              <a:gd name="T15" fmla="*/ 181 h 512"/>
              <a:gd name="T16" fmla="*/ 279 w 512"/>
              <a:gd name="T17" fmla="*/ 181 h 512"/>
              <a:gd name="T18" fmla="*/ 259 w 512"/>
              <a:gd name="T19" fmla="*/ 11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384 h 512"/>
              <a:gd name="T32" fmla="*/ 384 w 512"/>
              <a:gd name="T33" fmla="*/ 373 h 512"/>
              <a:gd name="T34" fmla="*/ 362 w 512"/>
              <a:gd name="T35" fmla="*/ 373 h 512"/>
              <a:gd name="T36" fmla="*/ 362 w 512"/>
              <a:gd name="T37" fmla="*/ 370 h 512"/>
              <a:gd name="T38" fmla="*/ 276 w 512"/>
              <a:gd name="T39" fmla="*/ 103 h 512"/>
              <a:gd name="T40" fmla="*/ 266 w 512"/>
              <a:gd name="T41" fmla="*/ 96 h 512"/>
              <a:gd name="T42" fmla="*/ 245 w 512"/>
              <a:gd name="T43" fmla="*/ 96 h 512"/>
              <a:gd name="T44" fmla="*/ 235 w 512"/>
              <a:gd name="T45" fmla="*/ 103 h 512"/>
              <a:gd name="T46" fmla="*/ 150 w 512"/>
              <a:gd name="T47" fmla="*/ 370 h 512"/>
              <a:gd name="T48" fmla="*/ 149 w 512"/>
              <a:gd name="T49" fmla="*/ 373 h 512"/>
              <a:gd name="T50" fmla="*/ 128 w 512"/>
              <a:gd name="T51" fmla="*/ 373 h 512"/>
              <a:gd name="T52" fmla="*/ 117 w 512"/>
              <a:gd name="T53" fmla="*/ 384 h 512"/>
              <a:gd name="T54" fmla="*/ 128 w 512"/>
              <a:gd name="T55" fmla="*/ 394 h 512"/>
              <a:gd name="T56" fmla="*/ 384 w 512"/>
              <a:gd name="T57" fmla="*/ 394 h 512"/>
              <a:gd name="T58" fmla="*/ 394 w 512"/>
              <a:gd name="T59" fmla="*/ 384 h 512"/>
              <a:gd name="T60" fmla="*/ 195 w 512"/>
              <a:gd name="T61" fmla="*/ 298 h 512"/>
              <a:gd name="T62" fmla="*/ 171 w 512"/>
              <a:gd name="T63" fmla="*/ 373 h 512"/>
              <a:gd name="T64" fmla="*/ 340 w 512"/>
              <a:gd name="T65" fmla="*/ 373 h 512"/>
              <a:gd name="T66" fmla="*/ 317 w 512"/>
              <a:gd name="T67" fmla="*/ 298 h 512"/>
              <a:gd name="T68" fmla="*/ 195 w 512"/>
              <a:gd name="T69"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10" y="277"/>
                </a:moveTo>
                <a:cubicBezTo>
                  <a:pt x="202" y="277"/>
                  <a:pt x="202" y="277"/>
                  <a:pt x="202" y="277"/>
                </a:cubicBezTo>
                <a:cubicBezTo>
                  <a:pt x="225" y="202"/>
                  <a:pt x="225" y="202"/>
                  <a:pt x="225" y="202"/>
                </a:cubicBezTo>
                <a:cubicBezTo>
                  <a:pt x="286" y="202"/>
                  <a:pt x="286" y="202"/>
                  <a:pt x="286" y="202"/>
                </a:cubicBezTo>
                <a:lnTo>
                  <a:pt x="310" y="277"/>
                </a:lnTo>
                <a:close/>
                <a:moveTo>
                  <a:pt x="259" y="117"/>
                </a:moveTo>
                <a:cubicBezTo>
                  <a:pt x="253" y="117"/>
                  <a:pt x="253" y="117"/>
                  <a:pt x="253" y="117"/>
                </a:cubicBezTo>
                <a:cubicBezTo>
                  <a:pt x="232" y="181"/>
                  <a:pt x="232" y="181"/>
                  <a:pt x="232" y="181"/>
                </a:cubicBezTo>
                <a:cubicBezTo>
                  <a:pt x="279" y="181"/>
                  <a:pt x="279" y="181"/>
                  <a:pt x="279" y="181"/>
                </a:cubicBezTo>
                <a:lnTo>
                  <a:pt x="259"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78"/>
                  <a:pt x="390" y="373"/>
                  <a:pt x="384" y="373"/>
                </a:cubicBezTo>
                <a:cubicBezTo>
                  <a:pt x="362" y="373"/>
                  <a:pt x="362" y="373"/>
                  <a:pt x="362" y="373"/>
                </a:cubicBezTo>
                <a:cubicBezTo>
                  <a:pt x="362" y="373"/>
                  <a:pt x="362" y="371"/>
                  <a:pt x="362" y="370"/>
                </a:cubicBezTo>
                <a:cubicBezTo>
                  <a:pt x="276" y="103"/>
                  <a:pt x="276" y="103"/>
                  <a:pt x="276" y="103"/>
                </a:cubicBezTo>
                <a:cubicBezTo>
                  <a:pt x="275" y="99"/>
                  <a:pt x="271" y="96"/>
                  <a:pt x="266" y="96"/>
                </a:cubicBezTo>
                <a:cubicBezTo>
                  <a:pt x="245" y="96"/>
                  <a:pt x="245" y="96"/>
                  <a:pt x="245" y="96"/>
                </a:cubicBezTo>
                <a:cubicBezTo>
                  <a:pt x="240" y="96"/>
                  <a:pt x="236" y="99"/>
                  <a:pt x="235" y="103"/>
                </a:cubicBezTo>
                <a:cubicBezTo>
                  <a:pt x="150" y="370"/>
                  <a:pt x="150" y="370"/>
                  <a:pt x="150" y="370"/>
                </a:cubicBezTo>
                <a:cubicBezTo>
                  <a:pt x="149" y="371"/>
                  <a:pt x="149" y="373"/>
                  <a:pt x="149"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lose/>
                <a:moveTo>
                  <a:pt x="195" y="298"/>
                </a:moveTo>
                <a:cubicBezTo>
                  <a:pt x="171" y="373"/>
                  <a:pt x="171" y="373"/>
                  <a:pt x="171" y="373"/>
                </a:cubicBezTo>
                <a:cubicBezTo>
                  <a:pt x="340" y="373"/>
                  <a:pt x="340" y="373"/>
                  <a:pt x="340" y="373"/>
                </a:cubicBezTo>
                <a:cubicBezTo>
                  <a:pt x="317" y="298"/>
                  <a:pt x="317" y="298"/>
                  <a:pt x="317" y="298"/>
                </a:cubicBezTo>
                <a:lnTo>
                  <a:pt x="195" y="29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9" name="Group 477">
            <a:extLst>
              <a:ext uri="{FF2B5EF4-FFF2-40B4-BE49-F238E27FC236}">
                <a16:creationId xmlns:a16="http://schemas.microsoft.com/office/drawing/2014/main" id="{0BFA510C-4851-45F6-80B0-F8949CB5C322}"/>
              </a:ext>
            </a:extLst>
          </p:cNvPr>
          <p:cNvGrpSpPr>
            <a:grpSpLocks noChangeAspect="1"/>
          </p:cNvGrpSpPr>
          <p:nvPr/>
        </p:nvGrpSpPr>
        <p:grpSpPr bwMode="auto">
          <a:xfrm>
            <a:off x="4362836" y="3307694"/>
            <a:ext cx="369676" cy="369676"/>
            <a:chOff x="373" y="1548"/>
            <a:chExt cx="340" cy="340"/>
          </a:xfrm>
          <a:solidFill>
            <a:schemeClr val="accent5"/>
          </a:solidFill>
        </p:grpSpPr>
        <p:sp>
          <p:nvSpPr>
            <p:cNvPr id="600" name="Freeform 400">
              <a:extLst>
                <a:ext uri="{FF2B5EF4-FFF2-40B4-BE49-F238E27FC236}">
                  <a16:creationId xmlns:a16="http://schemas.microsoft.com/office/drawing/2014/main" id="{C5ED4E9C-D29D-4BA6-BFAE-6E8C651D9048}"/>
                </a:ext>
              </a:extLst>
            </p:cNvPr>
            <p:cNvSpPr>
              <a:spLocks noEditPoints="1"/>
            </p:cNvSpPr>
            <p:nvPr/>
          </p:nvSpPr>
          <p:spPr bwMode="auto">
            <a:xfrm>
              <a:off x="373" y="15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1" name="Freeform 401">
              <a:extLst>
                <a:ext uri="{FF2B5EF4-FFF2-40B4-BE49-F238E27FC236}">
                  <a16:creationId xmlns:a16="http://schemas.microsoft.com/office/drawing/2014/main" id="{EF44B9F0-132C-4E21-8973-09D6CCB68F7F}"/>
                </a:ext>
              </a:extLst>
            </p:cNvPr>
            <p:cNvSpPr>
              <a:spLocks noEditPoints="1"/>
            </p:cNvSpPr>
            <p:nvPr/>
          </p:nvSpPr>
          <p:spPr bwMode="auto">
            <a:xfrm>
              <a:off x="479" y="1654"/>
              <a:ext cx="128" cy="128"/>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70 h 192"/>
                <a:gd name="T12" fmla="*/ 21 w 192"/>
                <a:gd name="T13" fmla="*/ 96 h 192"/>
                <a:gd name="T14" fmla="*/ 96 w 192"/>
                <a:gd name="T15" fmla="*/ 21 h 192"/>
                <a:gd name="T16" fmla="*/ 170 w 192"/>
                <a:gd name="T17" fmla="*/ 96 h 192"/>
                <a:gd name="T18" fmla="*/ 96 w 192"/>
                <a:gd name="T19"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70"/>
                  </a:moveTo>
                  <a:cubicBezTo>
                    <a:pt x="54" y="170"/>
                    <a:pt x="21" y="137"/>
                    <a:pt x="21" y="96"/>
                  </a:cubicBezTo>
                  <a:cubicBezTo>
                    <a:pt x="21" y="54"/>
                    <a:pt x="54" y="21"/>
                    <a:pt x="96" y="21"/>
                  </a:cubicBezTo>
                  <a:cubicBezTo>
                    <a:pt x="137" y="21"/>
                    <a:pt x="170" y="54"/>
                    <a:pt x="170" y="96"/>
                  </a:cubicBezTo>
                  <a:cubicBezTo>
                    <a:pt x="170" y="137"/>
                    <a:pt x="137" y="170"/>
                    <a:pt x="96"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2" name="Freeform 402">
              <a:extLst>
                <a:ext uri="{FF2B5EF4-FFF2-40B4-BE49-F238E27FC236}">
                  <a16:creationId xmlns:a16="http://schemas.microsoft.com/office/drawing/2014/main" id="{23BEB8B9-506A-4C05-830B-5865491E9843}"/>
                </a:ext>
              </a:extLst>
            </p:cNvPr>
            <p:cNvSpPr>
              <a:spLocks/>
            </p:cNvSpPr>
            <p:nvPr/>
          </p:nvSpPr>
          <p:spPr bwMode="auto">
            <a:xfrm>
              <a:off x="621" y="1711"/>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3" name="Freeform 403">
              <a:extLst>
                <a:ext uri="{FF2B5EF4-FFF2-40B4-BE49-F238E27FC236}">
                  <a16:creationId xmlns:a16="http://schemas.microsoft.com/office/drawing/2014/main" id="{A970F039-1B7C-4EE1-A55D-4635B6877792}"/>
                </a:ext>
              </a:extLst>
            </p:cNvPr>
            <p:cNvSpPr>
              <a:spLocks/>
            </p:cNvSpPr>
            <p:nvPr/>
          </p:nvSpPr>
          <p:spPr bwMode="auto">
            <a:xfrm>
              <a:off x="437" y="1711"/>
              <a:ext cx="28" cy="14"/>
            </a:xfrm>
            <a:custGeom>
              <a:avLst/>
              <a:gdLst>
                <a:gd name="T0" fmla="*/ 32 w 42"/>
                <a:gd name="T1" fmla="*/ 0 h 21"/>
                <a:gd name="T2" fmla="*/ 10 w 42"/>
                <a:gd name="T3" fmla="*/ 0 h 21"/>
                <a:gd name="T4" fmla="*/ 0 w 42"/>
                <a:gd name="T5" fmla="*/ 11 h 21"/>
                <a:gd name="T6" fmla="*/ 10 w 42"/>
                <a:gd name="T7" fmla="*/ 21 h 21"/>
                <a:gd name="T8" fmla="*/ 32 w 42"/>
                <a:gd name="T9" fmla="*/ 21 h 21"/>
                <a:gd name="T10" fmla="*/ 42 w 42"/>
                <a:gd name="T11" fmla="*/ 11 h 21"/>
                <a:gd name="T12" fmla="*/ 32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32" y="0"/>
                  </a:moveTo>
                  <a:cubicBezTo>
                    <a:pt x="10" y="0"/>
                    <a:pt x="10" y="0"/>
                    <a:pt x="10" y="0"/>
                  </a:cubicBezTo>
                  <a:cubicBezTo>
                    <a:pt x="4" y="0"/>
                    <a:pt x="0" y="5"/>
                    <a:pt x="0" y="11"/>
                  </a:cubicBezTo>
                  <a:cubicBezTo>
                    <a:pt x="0" y="17"/>
                    <a:pt x="4" y="21"/>
                    <a:pt x="10" y="21"/>
                  </a:cubicBezTo>
                  <a:cubicBezTo>
                    <a:pt x="32" y="21"/>
                    <a:pt x="32" y="21"/>
                    <a:pt x="32" y="21"/>
                  </a:cubicBezTo>
                  <a:cubicBezTo>
                    <a:pt x="38" y="21"/>
                    <a:pt x="42" y="17"/>
                    <a:pt x="42" y="11"/>
                  </a:cubicBezTo>
                  <a:cubicBezTo>
                    <a:pt x="42"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4" name="Freeform 404">
              <a:extLst>
                <a:ext uri="{FF2B5EF4-FFF2-40B4-BE49-F238E27FC236}">
                  <a16:creationId xmlns:a16="http://schemas.microsoft.com/office/drawing/2014/main" id="{0F8DBB07-E16A-4202-829A-9B6E415B7C17}"/>
                </a:ext>
              </a:extLst>
            </p:cNvPr>
            <p:cNvSpPr>
              <a:spLocks/>
            </p:cNvSpPr>
            <p:nvPr/>
          </p:nvSpPr>
          <p:spPr bwMode="auto">
            <a:xfrm>
              <a:off x="536" y="1612"/>
              <a:ext cx="14" cy="28"/>
            </a:xfrm>
            <a:custGeom>
              <a:avLst/>
              <a:gdLst>
                <a:gd name="T0" fmla="*/ 11 w 21"/>
                <a:gd name="T1" fmla="*/ 42 h 42"/>
                <a:gd name="T2" fmla="*/ 21 w 21"/>
                <a:gd name="T3" fmla="*/ 32 h 42"/>
                <a:gd name="T4" fmla="*/ 21 w 21"/>
                <a:gd name="T5" fmla="*/ 10 h 42"/>
                <a:gd name="T6" fmla="*/ 11 w 21"/>
                <a:gd name="T7" fmla="*/ 0 h 42"/>
                <a:gd name="T8" fmla="*/ 0 w 21"/>
                <a:gd name="T9" fmla="*/ 10 h 42"/>
                <a:gd name="T10" fmla="*/ 0 w 21"/>
                <a:gd name="T11" fmla="*/ 32 h 42"/>
                <a:gd name="T12" fmla="*/ 11 w 2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11" y="42"/>
                  </a:moveTo>
                  <a:cubicBezTo>
                    <a:pt x="17" y="42"/>
                    <a:pt x="21" y="38"/>
                    <a:pt x="21" y="32"/>
                  </a:cubicBezTo>
                  <a:cubicBezTo>
                    <a:pt x="21" y="10"/>
                    <a:pt x="21" y="10"/>
                    <a:pt x="21" y="10"/>
                  </a:cubicBezTo>
                  <a:cubicBezTo>
                    <a:pt x="21"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5" name="Freeform 405">
              <a:extLst>
                <a:ext uri="{FF2B5EF4-FFF2-40B4-BE49-F238E27FC236}">
                  <a16:creationId xmlns:a16="http://schemas.microsoft.com/office/drawing/2014/main" id="{488E5B5D-4E24-4BC7-BD7C-037CD8C63CA5}"/>
                </a:ext>
              </a:extLst>
            </p:cNvPr>
            <p:cNvSpPr>
              <a:spLocks/>
            </p:cNvSpPr>
            <p:nvPr/>
          </p:nvSpPr>
          <p:spPr bwMode="auto">
            <a:xfrm>
              <a:off x="536" y="1796"/>
              <a:ext cx="14" cy="28"/>
            </a:xfrm>
            <a:custGeom>
              <a:avLst/>
              <a:gdLst>
                <a:gd name="T0" fmla="*/ 11 w 21"/>
                <a:gd name="T1" fmla="*/ 0 h 43"/>
                <a:gd name="T2" fmla="*/ 0 w 21"/>
                <a:gd name="T3" fmla="*/ 11 h 43"/>
                <a:gd name="T4" fmla="*/ 0 w 21"/>
                <a:gd name="T5" fmla="*/ 32 h 43"/>
                <a:gd name="T6" fmla="*/ 11 w 21"/>
                <a:gd name="T7" fmla="*/ 43 h 43"/>
                <a:gd name="T8" fmla="*/ 21 w 21"/>
                <a:gd name="T9" fmla="*/ 32 h 43"/>
                <a:gd name="T10" fmla="*/ 21 w 21"/>
                <a:gd name="T11" fmla="*/ 11 h 43"/>
                <a:gd name="T12" fmla="*/ 11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11" y="0"/>
                  </a:moveTo>
                  <a:cubicBezTo>
                    <a:pt x="5" y="0"/>
                    <a:pt x="0" y="5"/>
                    <a:pt x="0" y="11"/>
                  </a:cubicBezTo>
                  <a:cubicBezTo>
                    <a:pt x="0" y="32"/>
                    <a:pt x="0" y="32"/>
                    <a:pt x="0" y="32"/>
                  </a:cubicBezTo>
                  <a:cubicBezTo>
                    <a:pt x="0" y="38"/>
                    <a:pt x="5" y="43"/>
                    <a:pt x="11" y="43"/>
                  </a:cubicBezTo>
                  <a:cubicBezTo>
                    <a:pt x="17" y="43"/>
                    <a:pt x="21" y="38"/>
                    <a:pt x="21" y="32"/>
                  </a:cubicBezTo>
                  <a:cubicBezTo>
                    <a:pt x="21" y="11"/>
                    <a:pt x="21" y="11"/>
                    <a:pt x="21" y="11"/>
                  </a:cubicBezTo>
                  <a:cubicBezTo>
                    <a:pt x="21" y="5"/>
                    <a:pt x="17"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6" name="Freeform 406">
              <a:extLst>
                <a:ext uri="{FF2B5EF4-FFF2-40B4-BE49-F238E27FC236}">
                  <a16:creationId xmlns:a16="http://schemas.microsoft.com/office/drawing/2014/main" id="{68CADFFE-2CEF-4D7C-BFAD-4F4FF3EDF3F1}"/>
                </a:ext>
              </a:extLst>
            </p:cNvPr>
            <p:cNvSpPr>
              <a:spLocks/>
            </p:cNvSpPr>
            <p:nvPr/>
          </p:nvSpPr>
          <p:spPr bwMode="auto">
            <a:xfrm>
              <a:off x="595" y="1640"/>
              <a:ext cx="26" cy="25"/>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5"/>
                    <a:pt x="39" y="9"/>
                    <a:pt x="35" y="5"/>
                  </a:cubicBezTo>
                  <a:cubicBezTo>
                    <a:pt x="31" y="0"/>
                    <a:pt x="24" y="0"/>
                    <a:pt x="2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7" name="Freeform 407">
              <a:extLst>
                <a:ext uri="{FF2B5EF4-FFF2-40B4-BE49-F238E27FC236}">
                  <a16:creationId xmlns:a16="http://schemas.microsoft.com/office/drawing/2014/main" id="{09B5CA9C-3EE2-4781-9AAC-C3EA297112E7}"/>
                </a:ext>
              </a:extLst>
            </p:cNvPr>
            <p:cNvSpPr>
              <a:spLocks/>
            </p:cNvSpPr>
            <p:nvPr/>
          </p:nvSpPr>
          <p:spPr bwMode="auto">
            <a:xfrm>
              <a:off x="465" y="1770"/>
              <a:ext cx="26" cy="25"/>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6"/>
                    <a:pt x="39" y="9"/>
                    <a:pt x="35" y="5"/>
                  </a:cubicBezTo>
                  <a:cubicBezTo>
                    <a:pt x="31" y="0"/>
                    <a:pt x="24" y="0"/>
                    <a:pt x="2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8" name="Freeform 408">
              <a:extLst>
                <a:ext uri="{FF2B5EF4-FFF2-40B4-BE49-F238E27FC236}">
                  <a16:creationId xmlns:a16="http://schemas.microsoft.com/office/drawing/2014/main" id="{8F1242D8-0DAB-415C-97E5-E32EED65B62B}"/>
                </a:ext>
              </a:extLst>
            </p:cNvPr>
            <p:cNvSpPr>
              <a:spLocks/>
            </p:cNvSpPr>
            <p:nvPr/>
          </p:nvSpPr>
          <p:spPr bwMode="auto">
            <a:xfrm>
              <a:off x="465" y="1640"/>
              <a:ext cx="26" cy="25"/>
            </a:xfrm>
            <a:custGeom>
              <a:avLst/>
              <a:gdLst>
                <a:gd name="T0" fmla="*/ 20 w 39"/>
                <a:gd name="T1" fmla="*/ 35 h 38"/>
                <a:gd name="T2" fmla="*/ 27 w 39"/>
                <a:gd name="T3" fmla="*/ 38 h 38"/>
                <a:gd name="T4" fmla="*/ 35 w 39"/>
                <a:gd name="T5" fmla="*/ 35 h 38"/>
                <a:gd name="T6" fmla="*/ 35 w 39"/>
                <a:gd name="T7" fmla="*/ 20 h 38"/>
                <a:gd name="T8" fmla="*/ 20 w 39"/>
                <a:gd name="T9" fmla="*/ 5 h 38"/>
                <a:gd name="T10" fmla="*/ 5 w 39"/>
                <a:gd name="T11" fmla="*/ 5 h 38"/>
                <a:gd name="T12" fmla="*/ 5 w 39"/>
                <a:gd name="T13" fmla="*/ 20 h 38"/>
                <a:gd name="T14" fmla="*/ 20 w 39"/>
                <a:gd name="T15" fmla="*/ 3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35"/>
                  </a:moveTo>
                  <a:cubicBezTo>
                    <a:pt x="22" y="37"/>
                    <a:pt x="24" y="38"/>
                    <a:pt x="27" y="38"/>
                  </a:cubicBezTo>
                  <a:cubicBezTo>
                    <a:pt x="30" y="38"/>
                    <a:pt x="33" y="37"/>
                    <a:pt x="35" y="35"/>
                  </a:cubicBezTo>
                  <a:cubicBezTo>
                    <a:pt x="39" y="31"/>
                    <a:pt x="39" y="24"/>
                    <a:pt x="35" y="20"/>
                  </a:cubicBezTo>
                  <a:cubicBezTo>
                    <a:pt x="20" y="5"/>
                    <a:pt x="20" y="5"/>
                    <a:pt x="20" y="5"/>
                  </a:cubicBezTo>
                  <a:cubicBezTo>
                    <a:pt x="15" y="0"/>
                    <a:pt x="9" y="0"/>
                    <a:pt x="5" y="5"/>
                  </a:cubicBezTo>
                  <a:cubicBezTo>
                    <a:pt x="0" y="9"/>
                    <a:pt x="0" y="15"/>
                    <a:pt x="5" y="20"/>
                  </a:cubicBezTo>
                  <a:lnTo>
                    <a:pt x="20" y="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9" name="Freeform 409">
              <a:extLst>
                <a:ext uri="{FF2B5EF4-FFF2-40B4-BE49-F238E27FC236}">
                  <a16:creationId xmlns:a16="http://schemas.microsoft.com/office/drawing/2014/main" id="{C60470B9-98A1-42BC-A3A9-F40EBF349EF0}"/>
                </a:ext>
              </a:extLst>
            </p:cNvPr>
            <p:cNvSpPr>
              <a:spLocks/>
            </p:cNvSpPr>
            <p:nvPr/>
          </p:nvSpPr>
          <p:spPr bwMode="auto">
            <a:xfrm>
              <a:off x="595" y="1770"/>
              <a:ext cx="26" cy="25"/>
            </a:xfrm>
            <a:custGeom>
              <a:avLst/>
              <a:gdLst>
                <a:gd name="T0" fmla="*/ 20 w 39"/>
                <a:gd name="T1" fmla="*/ 5 h 38"/>
                <a:gd name="T2" fmla="*/ 5 w 39"/>
                <a:gd name="T3" fmla="*/ 5 h 38"/>
                <a:gd name="T4" fmla="*/ 5 w 39"/>
                <a:gd name="T5" fmla="*/ 20 h 38"/>
                <a:gd name="T6" fmla="*/ 20 w 39"/>
                <a:gd name="T7" fmla="*/ 35 h 38"/>
                <a:gd name="T8" fmla="*/ 27 w 39"/>
                <a:gd name="T9" fmla="*/ 38 h 38"/>
                <a:gd name="T10" fmla="*/ 35 w 39"/>
                <a:gd name="T11" fmla="*/ 35 h 38"/>
                <a:gd name="T12" fmla="*/ 35 w 39"/>
                <a:gd name="T13" fmla="*/ 20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16" y="0"/>
                    <a:pt x="9" y="0"/>
                    <a:pt x="5" y="5"/>
                  </a:cubicBezTo>
                  <a:cubicBezTo>
                    <a:pt x="0" y="9"/>
                    <a:pt x="0" y="16"/>
                    <a:pt x="5" y="20"/>
                  </a:cubicBezTo>
                  <a:cubicBezTo>
                    <a:pt x="20" y="35"/>
                    <a:pt x="20" y="35"/>
                    <a:pt x="20" y="35"/>
                  </a:cubicBezTo>
                  <a:cubicBezTo>
                    <a:pt x="22" y="37"/>
                    <a:pt x="25" y="38"/>
                    <a:pt x="27" y="38"/>
                  </a:cubicBezTo>
                  <a:cubicBezTo>
                    <a:pt x="30" y="38"/>
                    <a:pt x="33" y="37"/>
                    <a:pt x="35" y="35"/>
                  </a:cubicBezTo>
                  <a:cubicBezTo>
                    <a:pt x="39" y="31"/>
                    <a:pt x="39" y="24"/>
                    <a:pt x="35" y="20"/>
                  </a:cubicBezTo>
                  <a:lnTo>
                    <a:pt x="20" y="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10" name="Group 490">
            <a:extLst>
              <a:ext uri="{FF2B5EF4-FFF2-40B4-BE49-F238E27FC236}">
                <a16:creationId xmlns:a16="http://schemas.microsoft.com/office/drawing/2014/main" id="{1DF93808-33E0-4F7A-A433-1D7CBA6EBBA2}"/>
              </a:ext>
            </a:extLst>
          </p:cNvPr>
          <p:cNvGrpSpPr>
            <a:grpSpLocks noChangeAspect="1"/>
          </p:cNvGrpSpPr>
          <p:nvPr/>
        </p:nvGrpSpPr>
        <p:grpSpPr bwMode="auto">
          <a:xfrm>
            <a:off x="3930304" y="3307694"/>
            <a:ext cx="369676" cy="369676"/>
            <a:chOff x="-10" y="1542"/>
            <a:chExt cx="340" cy="340"/>
          </a:xfrm>
          <a:solidFill>
            <a:schemeClr val="accent5"/>
          </a:solidFill>
        </p:grpSpPr>
        <p:sp>
          <p:nvSpPr>
            <p:cNvPr id="611" name="Freeform 491">
              <a:extLst>
                <a:ext uri="{FF2B5EF4-FFF2-40B4-BE49-F238E27FC236}">
                  <a16:creationId xmlns:a16="http://schemas.microsoft.com/office/drawing/2014/main" id="{59624CBA-B627-4192-9691-BDD46678CB51}"/>
                </a:ext>
              </a:extLst>
            </p:cNvPr>
            <p:cNvSpPr>
              <a:spLocks noEditPoints="1"/>
            </p:cNvSpPr>
            <p:nvPr/>
          </p:nvSpPr>
          <p:spPr bwMode="auto">
            <a:xfrm>
              <a:off x="-10" y="1542"/>
              <a:ext cx="340" cy="340"/>
            </a:xfrm>
            <a:custGeom>
              <a:avLst/>
              <a:gdLst>
                <a:gd name="T0" fmla="*/ 0 w 512"/>
                <a:gd name="T1" fmla="*/ 256 h 512"/>
                <a:gd name="T2" fmla="*/ 512 w 512"/>
                <a:gd name="T3" fmla="*/ 256 h 512"/>
                <a:gd name="T4" fmla="*/ 245 w 512"/>
                <a:gd name="T5" fmla="*/ 106 h 512"/>
                <a:gd name="T6" fmla="*/ 266 w 512"/>
                <a:gd name="T7" fmla="*/ 106 h 512"/>
                <a:gd name="T8" fmla="*/ 256 w 512"/>
                <a:gd name="T9" fmla="*/ 138 h 512"/>
                <a:gd name="T10" fmla="*/ 245 w 512"/>
                <a:gd name="T11" fmla="*/ 106 h 512"/>
                <a:gd name="T12" fmla="*/ 158 w 512"/>
                <a:gd name="T13" fmla="*/ 143 h 512"/>
                <a:gd name="T14" fmla="*/ 173 w 512"/>
                <a:gd name="T15" fmla="*/ 173 h 512"/>
                <a:gd name="T16" fmla="*/ 158 w 512"/>
                <a:gd name="T17" fmla="*/ 173 h 512"/>
                <a:gd name="T18" fmla="*/ 143 w 512"/>
                <a:gd name="T19" fmla="*/ 143 h 512"/>
                <a:gd name="T20" fmla="*/ 106 w 512"/>
                <a:gd name="T21" fmla="*/ 266 h 512"/>
                <a:gd name="T22" fmla="*/ 106 w 512"/>
                <a:gd name="T23" fmla="*/ 245 h 512"/>
                <a:gd name="T24" fmla="*/ 138 w 512"/>
                <a:gd name="T25" fmla="*/ 256 h 512"/>
                <a:gd name="T26" fmla="*/ 173 w 512"/>
                <a:gd name="T27" fmla="*/ 354 h 512"/>
                <a:gd name="T28" fmla="*/ 150 w 512"/>
                <a:gd name="T29" fmla="*/ 372 h 512"/>
                <a:gd name="T30" fmla="*/ 143 w 512"/>
                <a:gd name="T31" fmla="*/ 354 h 512"/>
                <a:gd name="T32" fmla="*/ 173 w 512"/>
                <a:gd name="T33" fmla="*/ 339 h 512"/>
                <a:gd name="T34" fmla="*/ 266 w 512"/>
                <a:gd name="T35" fmla="*/ 405 h 512"/>
                <a:gd name="T36" fmla="*/ 245 w 512"/>
                <a:gd name="T37" fmla="*/ 405 h 512"/>
                <a:gd name="T38" fmla="*/ 256 w 512"/>
                <a:gd name="T39" fmla="*/ 373 h 512"/>
                <a:gd name="T40" fmla="*/ 266 w 512"/>
                <a:gd name="T41" fmla="*/ 405 h 512"/>
                <a:gd name="T42" fmla="*/ 160 w 512"/>
                <a:gd name="T43" fmla="*/ 256 h 512"/>
                <a:gd name="T44" fmla="*/ 352 w 512"/>
                <a:gd name="T45" fmla="*/ 256 h 512"/>
                <a:gd name="T46" fmla="*/ 369 w 512"/>
                <a:gd name="T47" fmla="*/ 369 h 512"/>
                <a:gd name="T48" fmla="*/ 354 w 512"/>
                <a:gd name="T49" fmla="*/ 369 h 512"/>
                <a:gd name="T50" fmla="*/ 339 w 512"/>
                <a:gd name="T51" fmla="*/ 339 h 512"/>
                <a:gd name="T52" fmla="*/ 369 w 512"/>
                <a:gd name="T53" fmla="*/ 354 h 512"/>
                <a:gd name="T54" fmla="*/ 369 w 512"/>
                <a:gd name="T55" fmla="*/ 158 h 512"/>
                <a:gd name="T56" fmla="*/ 346 w 512"/>
                <a:gd name="T57" fmla="*/ 176 h 512"/>
                <a:gd name="T58" fmla="*/ 339 w 512"/>
                <a:gd name="T59" fmla="*/ 158 h 512"/>
                <a:gd name="T60" fmla="*/ 369 w 512"/>
                <a:gd name="T61" fmla="*/ 143 h 512"/>
                <a:gd name="T62" fmla="*/ 405 w 512"/>
                <a:gd name="T63" fmla="*/ 266 h 512"/>
                <a:gd name="T64" fmla="*/ 373 w 512"/>
                <a:gd name="T65" fmla="*/ 256 h 512"/>
                <a:gd name="T66" fmla="*/ 405 w 512"/>
                <a:gd name="T67" fmla="*/ 245 h 512"/>
                <a:gd name="T68" fmla="*/ 405 w 512"/>
                <a:gd name="T6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106"/>
                  </a:moveTo>
                  <a:cubicBezTo>
                    <a:pt x="245" y="100"/>
                    <a:pt x="250" y="96"/>
                    <a:pt x="256" y="96"/>
                  </a:cubicBezTo>
                  <a:cubicBezTo>
                    <a:pt x="262" y="96"/>
                    <a:pt x="266" y="100"/>
                    <a:pt x="266" y="106"/>
                  </a:cubicBezTo>
                  <a:cubicBezTo>
                    <a:pt x="266" y="128"/>
                    <a:pt x="266" y="128"/>
                    <a:pt x="266" y="128"/>
                  </a:cubicBezTo>
                  <a:cubicBezTo>
                    <a:pt x="266" y="134"/>
                    <a:pt x="262" y="138"/>
                    <a:pt x="256" y="138"/>
                  </a:cubicBezTo>
                  <a:cubicBezTo>
                    <a:pt x="250" y="138"/>
                    <a:pt x="245" y="134"/>
                    <a:pt x="245" y="128"/>
                  </a:cubicBezTo>
                  <a:lnTo>
                    <a:pt x="245" y="106"/>
                  </a:lnTo>
                  <a:close/>
                  <a:moveTo>
                    <a:pt x="143" y="143"/>
                  </a:moveTo>
                  <a:cubicBezTo>
                    <a:pt x="147" y="138"/>
                    <a:pt x="153" y="138"/>
                    <a:pt x="158" y="143"/>
                  </a:cubicBezTo>
                  <a:cubicBezTo>
                    <a:pt x="173" y="158"/>
                    <a:pt x="173" y="158"/>
                    <a:pt x="173" y="158"/>
                  </a:cubicBezTo>
                  <a:cubicBezTo>
                    <a:pt x="177" y="162"/>
                    <a:pt x="177" y="169"/>
                    <a:pt x="173" y="173"/>
                  </a:cubicBezTo>
                  <a:cubicBezTo>
                    <a:pt x="171" y="175"/>
                    <a:pt x="168" y="176"/>
                    <a:pt x="165" y="176"/>
                  </a:cubicBezTo>
                  <a:cubicBezTo>
                    <a:pt x="162" y="176"/>
                    <a:pt x="160" y="175"/>
                    <a:pt x="158" y="173"/>
                  </a:cubicBezTo>
                  <a:cubicBezTo>
                    <a:pt x="143" y="158"/>
                    <a:pt x="143" y="158"/>
                    <a:pt x="143" y="158"/>
                  </a:cubicBezTo>
                  <a:cubicBezTo>
                    <a:pt x="138" y="153"/>
                    <a:pt x="138" y="147"/>
                    <a:pt x="143" y="143"/>
                  </a:cubicBezTo>
                  <a:close/>
                  <a:moveTo>
                    <a:pt x="128" y="266"/>
                  </a:move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4" y="245"/>
                    <a:pt x="138" y="250"/>
                    <a:pt x="138" y="256"/>
                  </a:cubicBezTo>
                  <a:cubicBezTo>
                    <a:pt x="138" y="262"/>
                    <a:pt x="134" y="266"/>
                    <a:pt x="128" y="266"/>
                  </a:cubicBezTo>
                  <a:close/>
                  <a:moveTo>
                    <a:pt x="173" y="354"/>
                  </a:moveTo>
                  <a:cubicBezTo>
                    <a:pt x="158" y="369"/>
                    <a:pt x="158" y="369"/>
                    <a:pt x="158" y="369"/>
                  </a:cubicBezTo>
                  <a:cubicBezTo>
                    <a:pt x="156" y="371"/>
                    <a:pt x="153" y="372"/>
                    <a:pt x="150" y="372"/>
                  </a:cubicBezTo>
                  <a:cubicBezTo>
                    <a:pt x="147" y="372"/>
                    <a:pt x="145" y="371"/>
                    <a:pt x="143" y="369"/>
                  </a:cubicBezTo>
                  <a:cubicBezTo>
                    <a:pt x="138" y="365"/>
                    <a:pt x="138" y="358"/>
                    <a:pt x="143" y="354"/>
                  </a:cubicBezTo>
                  <a:cubicBezTo>
                    <a:pt x="158" y="339"/>
                    <a:pt x="158" y="339"/>
                    <a:pt x="158" y="339"/>
                  </a:cubicBezTo>
                  <a:cubicBezTo>
                    <a:pt x="162" y="334"/>
                    <a:pt x="169" y="334"/>
                    <a:pt x="173" y="339"/>
                  </a:cubicBezTo>
                  <a:cubicBezTo>
                    <a:pt x="177" y="343"/>
                    <a:pt x="177" y="350"/>
                    <a:pt x="173" y="354"/>
                  </a:cubicBezTo>
                  <a:close/>
                  <a:moveTo>
                    <a:pt x="266" y="405"/>
                  </a:moveTo>
                  <a:cubicBezTo>
                    <a:pt x="266" y="411"/>
                    <a:pt x="262" y="416"/>
                    <a:pt x="256" y="416"/>
                  </a:cubicBezTo>
                  <a:cubicBezTo>
                    <a:pt x="250" y="416"/>
                    <a:pt x="245" y="411"/>
                    <a:pt x="245" y="405"/>
                  </a:cubicBezTo>
                  <a:cubicBezTo>
                    <a:pt x="245" y="384"/>
                    <a:pt x="245" y="384"/>
                    <a:pt x="245" y="384"/>
                  </a:cubicBezTo>
                  <a:cubicBezTo>
                    <a:pt x="245" y="378"/>
                    <a:pt x="250" y="373"/>
                    <a:pt x="256" y="373"/>
                  </a:cubicBezTo>
                  <a:cubicBezTo>
                    <a:pt x="262" y="373"/>
                    <a:pt x="266" y="378"/>
                    <a:pt x="266" y="384"/>
                  </a:cubicBezTo>
                  <a:lnTo>
                    <a:pt x="266" y="405"/>
                  </a:lnTo>
                  <a:close/>
                  <a:moveTo>
                    <a:pt x="256" y="352"/>
                  </a:moveTo>
                  <a:cubicBezTo>
                    <a:pt x="203" y="352"/>
                    <a:pt x="160" y="309"/>
                    <a:pt x="160" y="256"/>
                  </a:cubicBezTo>
                  <a:cubicBezTo>
                    <a:pt x="160" y="203"/>
                    <a:pt x="203" y="160"/>
                    <a:pt x="256" y="160"/>
                  </a:cubicBezTo>
                  <a:cubicBezTo>
                    <a:pt x="309" y="160"/>
                    <a:pt x="352" y="203"/>
                    <a:pt x="352" y="256"/>
                  </a:cubicBezTo>
                  <a:cubicBezTo>
                    <a:pt x="352" y="309"/>
                    <a:pt x="309" y="352"/>
                    <a:pt x="256" y="352"/>
                  </a:cubicBezTo>
                  <a:close/>
                  <a:moveTo>
                    <a:pt x="369" y="369"/>
                  </a:moveTo>
                  <a:cubicBezTo>
                    <a:pt x="367" y="371"/>
                    <a:pt x="364" y="372"/>
                    <a:pt x="361" y="372"/>
                  </a:cubicBezTo>
                  <a:cubicBezTo>
                    <a:pt x="359" y="372"/>
                    <a:pt x="356" y="371"/>
                    <a:pt x="354" y="369"/>
                  </a:cubicBezTo>
                  <a:cubicBezTo>
                    <a:pt x="339" y="354"/>
                    <a:pt x="339" y="354"/>
                    <a:pt x="339" y="354"/>
                  </a:cubicBezTo>
                  <a:cubicBezTo>
                    <a:pt x="334" y="350"/>
                    <a:pt x="334" y="343"/>
                    <a:pt x="339" y="339"/>
                  </a:cubicBezTo>
                  <a:cubicBezTo>
                    <a:pt x="343" y="334"/>
                    <a:pt x="350" y="334"/>
                    <a:pt x="354" y="339"/>
                  </a:cubicBezTo>
                  <a:cubicBezTo>
                    <a:pt x="369" y="354"/>
                    <a:pt x="369" y="354"/>
                    <a:pt x="369" y="354"/>
                  </a:cubicBezTo>
                  <a:cubicBezTo>
                    <a:pt x="373" y="358"/>
                    <a:pt x="373" y="365"/>
                    <a:pt x="369" y="369"/>
                  </a:cubicBezTo>
                  <a:close/>
                  <a:moveTo>
                    <a:pt x="369" y="158"/>
                  </a:moveTo>
                  <a:cubicBezTo>
                    <a:pt x="354" y="173"/>
                    <a:pt x="354" y="173"/>
                    <a:pt x="354" y="173"/>
                  </a:cubicBezTo>
                  <a:cubicBezTo>
                    <a:pt x="352" y="175"/>
                    <a:pt x="349" y="176"/>
                    <a:pt x="346" y="176"/>
                  </a:cubicBezTo>
                  <a:cubicBezTo>
                    <a:pt x="343" y="176"/>
                    <a:pt x="341" y="175"/>
                    <a:pt x="339" y="173"/>
                  </a:cubicBezTo>
                  <a:cubicBezTo>
                    <a:pt x="334" y="169"/>
                    <a:pt x="334" y="162"/>
                    <a:pt x="339" y="158"/>
                  </a:cubicBezTo>
                  <a:cubicBezTo>
                    <a:pt x="354" y="143"/>
                    <a:pt x="354" y="143"/>
                    <a:pt x="354" y="143"/>
                  </a:cubicBezTo>
                  <a:cubicBezTo>
                    <a:pt x="358" y="138"/>
                    <a:pt x="365" y="138"/>
                    <a:pt x="369" y="143"/>
                  </a:cubicBezTo>
                  <a:cubicBezTo>
                    <a:pt x="373" y="147"/>
                    <a:pt x="373" y="153"/>
                    <a:pt x="369" y="158"/>
                  </a:cubicBezTo>
                  <a:close/>
                  <a:moveTo>
                    <a:pt x="405" y="266"/>
                  </a:moveTo>
                  <a:cubicBezTo>
                    <a:pt x="384" y="266"/>
                    <a:pt x="384" y="266"/>
                    <a:pt x="384" y="266"/>
                  </a:cubicBezTo>
                  <a:cubicBezTo>
                    <a:pt x="378" y="266"/>
                    <a:pt x="373" y="262"/>
                    <a:pt x="373" y="256"/>
                  </a:cubicBezTo>
                  <a:cubicBezTo>
                    <a:pt x="373" y="250"/>
                    <a:pt x="378" y="245"/>
                    <a:pt x="384"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2" name="Oval 492">
              <a:extLst>
                <a:ext uri="{FF2B5EF4-FFF2-40B4-BE49-F238E27FC236}">
                  <a16:creationId xmlns:a16="http://schemas.microsoft.com/office/drawing/2014/main" id="{4DE4B8FA-1D64-4F7E-85CF-289D9B34A122}"/>
                </a:ext>
              </a:extLst>
            </p:cNvPr>
            <p:cNvSpPr>
              <a:spLocks noChangeArrowheads="1"/>
            </p:cNvSpPr>
            <p:nvPr/>
          </p:nvSpPr>
          <p:spPr bwMode="auto">
            <a:xfrm>
              <a:off x="110" y="1662"/>
              <a:ext cx="99" cy="9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3" name="Freeform 919">
            <a:extLst>
              <a:ext uri="{FF2B5EF4-FFF2-40B4-BE49-F238E27FC236}">
                <a16:creationId xmlns:a16="http://schemas.microsoft.com/office/drawing/2014/main" id="{FB5D323C-3D8E-4754-93AB-C46E102CB7DE}"/>
              </a:ext>
            </a:extLst>
          </p:cNvPr>
          <p:cNvSpPr>
            <a:spLocks noChangeAspect="1" noEditPoints="1"/>
          </p:cNvSpPr>
          <p:nvPr/>
        </p:nvSpPr>
        <p:spPr bwMode="auto">
          <a:xfrm>
            <a:off x="4795368" y="3307694"/>
            <a:ext cx="367041" cy="367041"/>
          </a:xfrm>
          <a:custGeom>
            <a:avLst/>
            <a:gdLst>
              <a:gd name="T0" fmla="*/ 385 w 512"/>
              <a:gd name="T1" fmla="*/ 206 h 512"/>
              <a:gd name="T2" fmla="*/ 305 w 512"/>
              <a:gd name="T3" fmla="*/ 385 h 512"/>
              <a:gd name="T4" fmla="*/ 149 w 512"/>
              <a:gd name="T5" fmla="*/ 345 h 512"/>
              <a:gd name="T6" fmla="*/ 232 w 512"/>
              <a:gd name="T7" fmla="*/ 344 h 512"/>
              <a:gd name="T8" fmla="*/ 304 w 512"/>
              <a:gd name="T9" fmla="*/ 277 h 512"/>
              <a:gd name="T10" fmla="*/ 307 w 512"/>
              <a:gd name="T11" fmla="*/ 179 h 512"/>
              <a:gd name="T12" fmla="*/ 251 w 512"/>
              <a:gd name="T13" fmla="*/ 117 h 512"/>
              <a:gd name="T14" fmla="*/ 385 w 512"/>
              <a:gd name="T15" fmla="*/ 206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05 w 512"/>
              <a:gd name="T27" fmla="*/ 199 h 512"/>
              <a:gd name="T28" fmla="*/ 209 w 512"/>
              <a:gd name="T29" fmla="*/ 102 h 512"/>
              <a:gd name="T30" fmla="*/ 202 w 512"/>
              <a:gd name="T31" fmla="*/ 112 h 512"/>
              <a:gd name="T32" fmla="*/ 210 w 512"/>
              <a:gd name="T33" fmla="*/ 123 h 512"/>
              <a:gd name="T34" fmla="*/ 287 w 512"/>
              <a:gd name="T35" fmla="*/ 187 h 512"/>
              <a:gd name="T36" fmla="*/ 284 w 512"/>
              <a:gd name="T37" fmla="*/ 268 h 512"/>
              <a:gd name="T38" fmla="*/ 225 w 512"/>
              <a:gd name="T39" fmla="*/ 324 h 512"/>
              <a:gd name="T40" fmla="*/ 126 w 512"/>
              <a:gd name="T41" fmla="*/ 310 h 512"/>
              <a:gd name="T42" fmla="*/ 113 w 512"/>
              <a:gd name="T43" fmla="*/ 311 h 512"/>
              <a:gd name="T44" fmla="*/ 110 w 512"/>
              <a:gd name="T45" fmla="*/ 323 h 512"/>
              <a:gd name="T46" fmla="*/ 256 w 512"/>
              <a:gd name="T47" fmla="*/ 416 h 512"/>
              <a:gd name="T48" fmla="*/ 312 w 512"/>
              <a:gd name="T49" fmla="*/ 405 h 512"/>
              <a:gd name="T50" fmla="*/ 405 w 512"/>
              <a:gd name="T51"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385" y="206"/>
                </a:moveTo>
                <a:cubicBezTo>
                  <a:pt x="412" y="278"/>
                  <a:pt x="376" y="358"/>
                  <a:pt x="305" y="385"/>
                </a:cubicBezTo>
                <a:cubicBezTo>
                  <a:pt x="249" y="407"/>
                  <a:pt x="187" y="389"/>
                  <a:pt x="149" y="345"/>
                </a:cubicBezTo>
                <a:cubicBezTo>
                  <a:pt x="177" y="354"/>
                  <a:pt x="207" y="354"/>
                  <a:pt x="232" y="344"/>
                </a:cubicBezTo>
                <a:cubicBezTo>
                  <a:pt x="264" y="332"/>
                  <a:pt x="290" y="308"/>
                  <a:pt x="304" y="277"/>
                </a:cubicBezTo>
                <a:cubicBezTo>
                  <a:pt x="318" y="246"/>
                  <a:pt x="319" y="211"/>
                  <a:pt x="307" y="179"/>
                </a:cubicBezTo>
                <a:cubicBezTo>
                  <a:pt x="297" y="154"/>
                  <a:pt x="277" y="132"/>
                  <a:pt x="251" y="117"/>
                </a:cubicBezTo>
                <a:cubicBezTo>
                  <a:pt x="308" y="116"/>
                  <a:pt x="365" y="152"/>
                  <a:pt x="385" y="20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99"/>
                </a:moveTo>
                <a:cubicBezTo>
                  <a:pt x="376" y="122"/>
                  <a:pt x="287" y="78"/>
                  <a:pt x="209" y="102"/>
                </a:cubicBezTo>
                <a:cubicBezTo>
                  <a:pt x="205" y="103"/>
                  <a:pt x="202" y="108"/>
                  <a:pt x="202" y="112"/>
                </a:cubicBezTo>
                <a:cubicBezTo>
                  <a:pt x="202" y="117"/>
                  <a:pt x="205" y="121"/>
                  <a:pt x="210" y="123"/>
                </a:cubicBezTo>
                <a:cubicBezTo>
                  <a:pt x="238" y="130"/>
                  <a:pt x="273" y="151"/>
                  <a:pt x="287" y="187"/>
                </a:cubicBezTo>
                <a:cubicBezTo>
                  <a:pt x="297" y="214"/>
                  <a:pt x="296" y="243"/>
                  <a:pt x="284" y="268"/>
                </a:cubicBezTo>
                <a:cubicBezTo>
                  <a:pt x="272" y="294"/>
                  <a:pt x="251" y="314"/>
                  <a:pt x="225" y="324"/>
                </a:cubicBezTo>
                <a:cubicBezTo>
                  <a:pt x="189" y="338"/>
                  <a:pt x="150" y="326"/>
                  <a:pt x="126" y="310"/>
                </a:cubicBezTo>
                <a:cubicBezTo>
                  <a:pt x="122" y="307"/>
                  <a:pt x="116" y="307"/>
                  <a:pt x="113" y="311"/>
                </a:cubicBezTo>
                <a:cubicBezTo>
                  <a:pt x="109" y="314"/>
                  <a:pt x="108" y="319"/>
                  <a:pt x="110" y="323"/>
                </a:cubicBezTo>
                <a:cubicBezTo>
                  <a:pt x="138" y="381"/>
                  <a:pt x="196" y="416"/>
                  <a:pt x="256" y="416"/>
                </a:cubicBezTo>
                <a:cubicBezTo>
                  <a:pt x="275" y="416"/>
                  <a:pt x="294" y="412"/>
                  <a:pt x="312" y="405"/>
                </a:cubicBezTo>
                <a:cubicBezTo>
                  <a:pt x="395" y="374"/>
                  <a:pt x="437" y="281"/>
                  <a:pt x="405" y="19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4" name="Group 922">
            <a:extLst>
              <a:ext uri="{FF2B5EF4-FFF2-40B4-BE49-F238E27FC236}">
                <a16:creationId xmlns:a16="http://schemas.microsoft.com/office/drawing/2014/main" id="{959E04C5-D865-4691-A451-8AAE0EB562CD}"/>
              </a:ext>
            </a:extLst>
          </p:cNvPr>
          <p:cNvGrpSpPr>
            <a:grpSpLocks noChangeAspect="1"/>
          </p:cNvGrpSpPr>
          <p:nvPr/>
        </p:nvGrpSpPr>
        <p:grpSpPr bwMode="auto">
          <a:xfrm>
            <a:off x="5225265" y="3307694"/>
            <a:ext cx="367041" cy="368121"/>
            <a:chOff x="5045" y="3564"/>
            <a:chExt cx="340" cy="341"/>
          </a:xfrm>
          <a:solidFill>
            <a:schemeClr val="accent4"/>
          </a:solidFill>
        </p:grpSpPr>
        <p:sp>
          <p:nvSpPr>
            <p:cNvPr id="615" name="Freeform 923">
              <a:extLst>
                <a:ext uri="{FF2B5EF4-FFF2-40B4-BE49-F238E27FC236}">
                  <a16:creationId xmlns:a16="http://schemas.microsoft.com/office/drawing/2014/main" id="{B2479778-B2AE-4BAF-A5AA-C49165AE048B}"/>
                </a:ext>
              </a:extLst>
            </p:cNvPr>
            <p:cNvSpPr>
              <a:spLocks noEditPoints="1"/>
            </p:cNvSpPr>
            <p:nvPr/>
          </p:nvSpPr>
          <p:spPr bwMode="auto">
            <a:xfrm>
              <a:off x="5117" y="3616"/>
              <a:ext cx="218" cy="225"/>
            </a:xfrm>
            <a:custGeom>
              <a:avLst/>
              <a:gdLst>
                <a:gd name="T0" fmla="*/ 148 w 329"/>
                <a:gd name="T1" fmla="*/ 338 h 338"/>
                <a:gd name="T2" fmla="*/ 2 w 329"/>
                <a:gd name="T3" fmla="*/ 245 h 338"/>
                <a:gd name="T4" fmla="*/ 5 w 329"/>
                <a:gd name="T5" fmla="*/ 233 h 338"/>
                <a:gd name="T6" fmla="*/ 18 w 329"/>
                <a:gd name="T7" fmla="*/ 232 h 338"/>
                <a:gd name="T8" fmla="*/ 117 w 329"/>
                <a:gd name="T9" fmla="*/ 246 h 338"/>
                <a:gd name="T10" fmla="*/ 176 w 329"/>
                <a:gd name="T11" fmla="*/ 190 h 338"/>
                <a:gd name="T12" fmla="*/ 179 w 329"/>
                <a:gd name="T13" fmla="*/ 109 h 338"/>
                <a:gd name="T14" fmla="*/ 102 w 329"/>
                <a:gd name="T15" fmla="*/ 45 h 338"/>
                <a:gd name="T16" fmla="*/ 94 w 329"/>
                <a:gd name="T17" fmla="*/ 34 h 338"/>
                <a:gd name="T18" fmla="*/ 101 w 329"/>
                <a:gd name="T19" fmla="*/ 24 h 338"/>
                <a:gd name="T20" fmla="*/ 297 w 329"/>
                <a:gd name="T21" fmla="*/ 121 h 338"/>
                <a:gd name="T22" fmla="*/ 204 w 329"/>
                <a:gd name="T23" fmla="*/ 327 h 338"/>
                <a:gd name="T24" fmla="*/ 148 w 329"/>
                <a:gd name="T25" fmla="*/ 338 h 338"/>
                <a:gd name="T26" fmla="*/ 41 w 329"/>
                <a:gd name="T27" fmla="*/ 267 h 338"/>
                <a:gd name="T28" fmla="*/ 197 w 329"/>
                <a:gd name="T29" fmla="*/ 307 h 338"/>
                <a:gd name="T30" fmla="*/ 277 w 329"/>
                <a:gd name="T31" fmla="*/ 128 h 338"/>
                <a:gd name="T32" fmla="*/ 143 w 329"/>
                <a:gd name="T33" fmla="*/ 39 h 338"/>
                <a:gd name="T34" fmla="*/ 199 w 329"/>
                <a:gd name="T35" fmla="*/ 101 h 338"/>
                <a:gd name="T36" fmla="*/ 196 w 329"/>
                <a:gd name="T37" fmla="*/ 199 h 338"/>
                <a:gd name="T38" fmla="*/ 124 w 329"/>
                <a:gd name="T39" fmla="*/ 266 h 338"/>
                <a:gd name="T40" fmla="*/ 41 w 329"/>
                <a:gd name="T41" fmla="*/ 2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9" h="338">
                  <a:moveTo>
                    <a:pt x="148" y="338"/>
                  </a:moveTo>
                  <a:cubicBezTo>
                    <a:pt x="88" y="338"/>
                    <a:pt x="30" y="303"/>
                    <a:pt x="2" y="245"/>
                  </a:cubicBezTo>
                  <a:cubicBezTo>
                    <a:pt x="0" y="241"/>
                    <a:pt x="1" y="236"/>
                    <a:pt x="5" y="233"/>
                  </a:cubicBezTo>
                  <a:cubicBezTo>
                    <a:pt x="8" y="229"/>
                    <a:pt x="14" y="229"/>
                    <a:pt x="18" y="232"/>
                  </a:cubicBezTo>
                  <a:cubicBezTo>
                    <a:pt x="42" y="248"/>
                    <a:pt x="81" y="260"/>
                    <a:pt x="117" y="246"/>
                  </a:cubicBezTo>
                  <a:cubicBezTo>
                    <a:pt x="143" y="236"/>
                    <a:pt x="164" y="216"/>
                    <a:pt x="176" y="190"/>
                  </a:cubicBezTo>
                  <a:cubicBezTo>
                    <a:pt x="188" y="165"/>
                    <a:pt x="189" y="136"/>
                    <a:pt x="179" y="109"/>
                  </a:cubicBezTo>
                  <a:cubicBezTo>
                    <a:pt x="165" y="73"/>
                    <a:pt x="130" y="52"/>
                    <a:pt x="102" y="45"/>
                  </a:cubicBezTo>
                  <a:cubicBezTo>
                    <a:pt x="97" y="43"/>
                    <a:pt x="94" y="39"/>
                    <a:pt x="94" y="34"/>
                  </a:cubicBezTo>
                  <a:cubicBezTo>
                    <a:pt x="94" y="30"/>
                    <a:pt x="97" y="25"/>
                    <a:pt x="101" y="24"/>
                  </a:cubicBezTo>
                  <a:cubicBezTo>
                    <a:pt x="179" y="0"/>
                    <a:pt x="268" y="44"/>
                    <a:pt x="297" y="121"/>
                  </a:cubicBezTo>
                  <a:cubicBezTo>
                    <a:pt x="329" y="203"/>
                    <a:pt x="287" y="296"/>
                    <a:pt x="204" y="327"/>
                  </a:cubicBezTo>
                  <a:cubicBezTo>
                    <a:pt x="186" y="334"/>
                    <a:pt x="167" y="338"/>
                    <a:pt x="148" y="338"/>
                  </a:cubicBezTo>
                  <a:close/>
                  <a:moveTo>
                    <a:pt x="41" y="267"/>
                  </a:moveTo>
                  <a:cubicBezTo>
                    <a:pt x="79" y="311"/>
                    <a:pt x="141" y="329"/>
                    <a:pt x="197" y="307"/>
                  </a:cubicBezTo>
                  <a:cubicBezTo>
                    <a:pt x="268" y="280"/>
                    <a:pt x="304" y="200"/>
                    <a:pt x="277" y="128"/>
                  </a:cubicBezTo>
                  <a:cubicBezTo>
                    <a:pt x="257" y="74"/>
                    <a:pt x="200" y="38"/>
                    <a:pt x="143" y="39"/>
                  </a:cubicBezTo>
                  <a:cubicBezTo>
                    <a:pt x="169" y="54"/>
                    <a:pt x="189" y="76"/>
                    <a:pt x="199" y="101"/>
                  </a:cubicBezTo>
                  <a:cubicBezTo>
                    <a:pt x="211" y="133"/>
                    <a:pt x="210" y="168"/>
                    <a:pt x="196" y="199"/>
                  </a:cubicBezTo>
                  <a:cubicBezTo>
                    <a:pt x="182" y="230"/>
                    <a:pt x="156" y="254"/>
                    <a:pt x="124" y="266"/>
                  </a:cubicBezTo>
                  <a:cubicBezTo>
                    <a:pt x="99" y="276"/>
                    <a:pt x="69" y="276"/>
                    <a:pt x="41" y="2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6" name="Freeform 924">
              <a:extLst>
                <a:ext uri="{FF2B5EF4-FFF2-40B4-BE49-F238E27FC236}">
                  <a16:creationId xmlns:a16="http://schemas.microsoft.com/office/drawing/2014/main" id="{98EF0E62-04C0-49C4-A8CF-FD92FEDB6F31}"/>
                </a:ext>
              </a:extLst>
            </p:cNvPr>
            <p:cNvSpPr>
              <a:spLocks noEditPoints="1"/>
            </p:cNvSpPr>
            <p:nvPr/>
          </p:nvSpPr>
          <p:spPr bwMode="auto">
            <a:xfrm>
              <a:off x="5045" y="356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7" name="Freeform 587">
            <a:extLst>
              <a:ext uri="{FF2B5EF4-FFF2-40B4-BE49-F238E27FC236}">
                <a16:creationId xmlns:a16="http://schemas.microsoft.com/office/drawing/2014/main" id="{7317F745-74FB-4D8B-838A-18122B9520F3}"/>
              </a:ext>
            </a:extLst>
          </p:cNvPr>
          <p:cNvSpPr>
            <a:spLocks noChangeAspect="1" noEditPoints="1"/>
          </p:cNvSpPr>
          <p:nvPr/>
        </p:nvSpPr>
        <p:spPr bwMode="auto">
          <a:xfrm>
            <a:off x="6087041" y="3307694"/>
            <a:ext cx="369021" cy="36902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265 w 512"/>
              <a:gd name="T11" fmla="*/ 207 h 512"/>
              <a:gd name="T12" fmla="*/ 315 w 512"/>
              <a:gd name="T13" fmla="*/ 227 h 512"/>
              <a:gd name="T14" fmla="*/ 327 w 512"/>
              <a:gd name="T15" fmla="*/ 219 h 512"/>
              <a:gd name="T16" fmla="*/ 326 w 512"/>
              <a:gd name="T17" fmla="*/ 165 h 512"/>
              <a:gd name="T18" fmla="*/ 311 w 512"/>
              <a:gd name="T19" fmla="*/ 187 h 512"/>
              <a:gd name="T20" fmla="*/ 264 w 512"/>
              <a:gd name="T21" fmla="*/ 117 h 512"/>
              <a:gd name="T22" fmla="*/ 247 w 512"/>
              <a:gd name="T23" fmla="*/ 116 h 512"/>
              <a:gd name="T24" fmla="*/ 188 w 512"/>
              <a:gd name="T25" fmla="*/ 207 h 512"/>
              <a:gd name="T26" fmla="*/ 206 w 512"/>
              <a:gd name="T27" fmla="*/ 218 h 512"/>
              <a:gd name="T28" fmla="*/ 258 w 512"/>
              <a:gd name="T29" fmla="*/ 138 h 512"/>
              <a:gd name="T30" fmla="*/ 277 w 512"/>
              <a:gd name="T31" fmla="*/ 199 h 512"/>
              <a:gd name="T32" fmla="*/ 130 w 512"/>
              <a:gd name="T33" fmla="*/ 352 h 512"/>
              <a:gd name="T34" fmla="*/ 166 w 512"/>
              <a:gd name="T35" fmla="*/ 283 h 512"/>
              <a:gd name="T36" fmla="*/ 184 w 512"/>
              <a:gd name="T37" fmla="*/ 309 h 512"/>
              <a:gd name="T38" fmla="*/ 194 w 512"/>
              <a:gd name="T39" fmla="*/ 295 h 512"/>
              <a:gd name="T40" fmla="*/ 166 w 512"/>
              <a:gd name="T41" fmla="*/ 249 h 512"/>
              <a:gd name="T42" fmla="*/ 120 w 512"/>
              <a:gd name="T43" fmla="*/ 277 h 512"/>
              <a:gd name="T44" fmla="*/ 143 w 512"/>
              <a:gd name="T45" fmla="*/ 280 h 512"/>
              <a:gd name="T46" fmla="*/ 107 w 512"/>
              <a:gd name="T47" fmla="*/ 354 h 512"/>
              <a:gd name="T48" fmla="*/ 124 w 512"/>
              <a:gd name="T49" fmla="*/ 373 h 512"/>
              <a:gd name="T50" fmla="*/ 234 w 512"/>
              <a:gd name="T51" fmla="*/ 362 h 512"/>
              <a:gd name="T52" fmla="*/ 405 w 512"/>
              <a:gd name="T53" fmla="*/ 343 h 512"/>
              <a:gd name="T54" fmla="*/ 341 w 512"/>
              <a:gd name="T55" fmla="*/ 254 h 512"/>
              <a:gd name="T56" fmla="*/ 383 w 512"/>
              <a:gd name="T57" fmla="*/ 348 h 512"/>
              <a:gd name="T58" fmla="*/ 304 w 512"/>
              <a:gd name="T59" fmla="*/ 352 h 512"/>
              <a:gd name="T60" fmla="*/ 311 w 512"/>
              <a:gd name="T61" fmla="*/ 330 h 512"/>
              <a:gd name="T62" fmla="*/ 266 w 512"/>
              <a:gd name="T63" fmla="*/ 359 h 512"/>
              <a:gd name="T64" fmla="*/ 296 w 512"/>
              <a:gd name="T65" fmla="*/ 404 h 512"/>
              <a:gd name="T66" fmla="*/ 311 w 512"/>
              <a:gd name="T67" fmla="*/ 404 h 512"/>
              <a:gd name="T68" fmla="*/ 295 w 512"/>
              <a:gd name="T69" fmla="*/ 373 h 512"/>
              <a:gd name="T70" fmla="*/ 396 w 512"/>
              <a:gd name="T71" fmla="*/ 368 h 512"/>
              <a:gd name="T72" fmla="*/ 405 w 512"/>
              <a:gd name="T73"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199"/>
                </a:moveTo>
                <a:cubicBezTo>
                  <a:pt x="271" y="198"/>
                  <a:pt x="266" y="202"/>
                  <a:pt x="265" y="207"/>
                </a:cubicBezTo>
                <a:cubicBezTo>
                  <a:pt x="264" y="213"/>
                  <a:pt x="268" y="219"/>
                  <a:pt x="274" y="220"/>
                </a:cubicBezTo>
                <a:cubicBezTo>
                  <a:pt x="315" y="227"/>
                  <a:pt x="315" y="227"/>
                  <a:pt x="315" y="227"/>
                </a:cubicBezTo>
                <a:cubicBezTo>
                  <a:pt x="315" y="227"/>
                  <a:pt x="316" y="227"/>
                  <a:pt x="317" y="227"/>
                </a:cubicBezTo>
                <a:cubicBezTo>
                  <a:pt x="322" y="227"/>
                  <a:pt x="326" y="224"/>
                  <a:pt x="327" y="219"/>
                </a:cubicBezTo>
                <a:cubicBezTo>
                  <a:pt x="335" y="177"/>
                  <a:pt x="335" y="177"/>
                  <a:pt x="335" y="177"/>
                </a:cubicBezTo>
                <a:cubicBezTo>
                  <a:pt x="336" y="171"/>
                  <a:pt x="332" y="166"/>
                  <a:pt x="326" y="165"/>
                </a:cubicBezTo>
                <a:cubicBezTo>
                  <a:pt x="320" y="164"/>
                  <a:pt x="315" y="168"/>
                  <a:pt x="314" y="174"/>
                </a:cubicBezTo>
                <a:cubicBezTo>
                  <a:pt x="311" y="187"/>
                  <a:pt x="311" y="187"/>
                  <a:pt x="311" y="187"/>
                </a:cubicBezTo>
                <a:cubicBezTo>
                  <a:pt x="273" y="122"/>
                  <a:pt x="273" y="122"/>
                  <a:pt x="273" y="122"/>
                </a:cubicBezTo>
                <a:cubicBezTo>
                  <a:pt x="271" y="118"/>
                  <a:pt x="267" y="117"/>
                  <a:pt x="264" y="117"/>
                </a:cubicBezTo>
                <a:cubicBezTo>
                  <a:pt x="264" y="117"/>
                  <a:pt x="264" y="117"/>
                  <a:pt x="264" y="117"/>
                </a:cubicBezTo>
                <a:cubicBezTo>
                  <a:pt x="247" y="116"/>
                  <a:pt x="247" y="116"/>
                  <a:pt x="247" y="116"/>
                </a:cubicBezTo>
                <a:cubicBezTo>
                  <a:pt x="243" y="116"/>
                  <a:pt x="239" y="118"/>
                  <a:pt x="237" y="121"/>
                </a:cubicBezTo>
                <a:cubicBezTo>
                  <a:pt x="188" y="207"/>
                  <a:pt x="188" y="207"/>
                  <a:pt x="188" y="207"/>
                </a:cubicBezTo>
                <a:cubicBezTo>
                  <a:pt x="185" y="212"/>
                  <a:pt x="186" y="219"/>
                  <a:pt x="192" y="222"/>
                </a:cubicBezTo>
                <a:cubicBezTo>
                  <a:pt x="197" y="225"/>
                  <a:pt x="203" y="224"/>
                  <a:pt x="206" y="218"/>
                </a:cubicBezTo>
                <a:cubicBezTo>
                  <a:pt x="253" y="138"/>
                  <a:pt x="253" y="138"/>
                  <a:pt x="253" y="138"/>
                </a:cubicBezTo>
                <a:cubicBezTo>
                  <a:pt x="258" y="138"/>
                  <a:pt x="258" y="138"/>
                  <a:pt x="258" y="138"/>
                </a:cubicBezTo>
                <a:cubicBezTo>
                  <a:pt x="295" y="202"/>
                  <a:pt x="295" y="202"/>
                  <a:pt x="295" y="202"/>
                </a:cubicBezTo>
                <a:lnTo>
                  <a:pt x="277" y="199"/>
                </a:lnTo>
                <a:close/>
                <a:moveTo>
                  <a:pt x="224" y="352"/>
                </a:moveTo>
                <a:cubicBezTo>
                  <a:pt x="130" y="352"/>
                  <a:pt x="130" y="352"/>
                  <a:pt x="130" y="352"/>
                </a:cubicBezTo>
                <a:cubicBezTo>
                  <a:pt x="128" y="348"/>
                  <a:pt x="128" y="348"/>
                  <a:pt x="128" y="348"/>
                </a:cubicBezTo>
                <a:cubicBezTo>
                  <a:pt x="166" y="283"/>
                  <a:pt x="166" y="283"/>
                  <a:pt x="166" y="283"/>
                </a:cubicBezTo>
                <a:cubicBezTo>
                  <a:pt x="174" y="302"/>
                  <a:pt x="174" y="302"/>
                  <a:pt x="174" y="302"/>
                </a:cubicBezTo>
                <a:cubicBezTo>
                  <a:pt x="175" y="307"/>
                  <a:pt x="179" y="309"/>
                  <a:pt x="184" y="309"/>
                </a:cubicBezTo>
                <a:cubicBezTo>
                  <a:pt x="185" y="309"/>
                  <a:pt x="186" y="309"/>
                  <a:pt x="187" y="309"/>
                </a:cubicBezTo>
                <a:cubicBezTo>
                  <a:pt x="193" y="307"/>
                  <a:pt x="196" y="301"/>
                  <a:pt x="194" y="295"/>
                </a:cubicBezTo>
                <a:cubicBezTo>
                  <a:pt x="180" y="256"/>
                  <a:pt x="180" y="256"/>
                  <a:pt x="180" y="256"/>
                </a:cubicBezTo>
                <a:cubicBezTo>
                  <a:pt x="178" y="250"/>
                  <a:pt x="171" y="247"/>
                  <a:pt x="166" y="249"/>
                </a:cubicBezTo>
                <a:cubicBezTo>
                  <a:pt x="126" y="263"/>
                  <a:pt x="126" y="263"/>
                  <a:pt x="126" y="263"/>
                </a:cubicBezTo>
                <a:cubicBezTo>
                  <a:pt x="121" y="265"/>
                  <a:pt x="118" y="271"/>
                  <a:pt x="120" y="277"/>
                </a:cubicBezTo>
                <a:cubicBezTo>
                  <a:pt x="122" y="282"/>
                  <a:pt x="128" y="285"/>
                  <a:pt x="134" y="283"/>
                </a:cubicBezTo>
                <a:cubicBezTo>
                  <a:pt x="143" y="280"/>
                  <a:pt x="143" y="280"/>
                  <a:pt x="143" y="280"/>
                </a:cubicBezTo>
                <a:cubicBezTo>
                  <a:pt x="107" y="343"/>
                  <a:pt x="107" y="343"/>
                  <a:pt x="107" y="343"/>
                </a:cubicBezTo>
                <a:cubicBezTo>
                  <a:pt x="105" y="347"/>
                  <a:pt x="105" y="351"/>
                  <a:pt x="107" y="354"/>
                </a:cubicBezTo>
                <a:cubicBezTo>
                  <a:pt x="115" y="368"/>
                  <a:pt x="115" y="368"/>
                  <a:pt x="115" y="368"/>
                </a:cubicBezTo>
                <a:cubicBezTo>
                  <a:pt x="117" y="371"/>
                  <a:pt x="121" y="373"/>
                  <a:pt x="124" y="373"/>
                </a:cubicBezTo>
                <a:cubicBezTo>
                  <a:pt x="224" y="373"/>
                  <a:pt x="224" y="373"/>
                  <a:pt x="224" y="373"/>
                </a:cubicBezTo>
                <a:cubicBezTo>
                  <a:pt x="230" y="373"/>
                  <a:pt x="234" y="368"/>
                  <a:pt x="234" y="362"/>
                </a:cubicBezTo>
                <a:cubicBezTo>
                  <a:pt x="234" y="356"/>
                  <a:pt x="230" y="352"/>
                  <a:pt x="224" y="352"/>
                </a:cubicBezTo>
                <a:close/>
                <a:moveTo>
                  <a:pt x="405" y="343"/>
                </a:moveTo>
                <a:cubicBezTo>
                  <a:pt x="355" y="258"/>
                  <a:pt x="355" y="258"/>
                  <a:pt x="355" y="258"/>
                </a:cubicBezTo>
                <a:cubicBezTo>
                  <a:pt x="352" y="253"/>
                  <a:pt x="346" y="251"/>
                  <a:pt x="341" y="254"/>
                </a:cubicBezTo>
                <a:cubicBezTo>
                  <a:pt x="335" y="257"/>
                  <a:pt x="334" y="263"/>
                  <a:pt x="337" y="268"/>
                </a:cubicBezTo>
                <a:cubicBezTo>
                  <a:pt x="383" y="348"/>
                  <a:pt x="383" y="348"/>
                  <a:pt x="383" y="348"/>
                </a:cubicBezTo>
                <a:cubicBezTo>
                  <a:pt x="381" y="352"/>
                  <a:pt x="381" y="352"/>
                  <a:pt x="381" y="352"/>
                </a:cubicBezTo>
                <a:cubicBezTo>
                  <a:pt x="304" y="352"/>
                  <a:pt x="304" y="352"/>
                  <a:pt x="304" y="352"/>
                </a:cubicBezTo>
                <a:cubicBezTo>
                  <a:pt x="311" y="345"/>
                  <a:pt x="311" y="345"/>
                  <a:pt x="311" y="345"/>
                </a:cubicBezTo>
                <a:cubicBezTo>
                  <a:pt x="315" y="341"/>
                  <a:pt x="315" y="334"/>
                  <a:pt x="311" y="330"/>
                </a:cubicBezTo>
                <a:cubicBezTo>
                  <a:pt x="307" y="325"/>
                  <a:pt x="300" y="325"/>
                  <a:pt x="296" y="330"/>
                </a:cubicBezTo>
                <a:cubicBezTo>
                  <a:pt x="266" y="359"/>
                  <a:pt x="266" y="359"/>
                  <a:pt x="266" y="359"/>
                </a:cubicBezTo>
                <a:cubicBezTo>
                  <a:pt x="262" y="363"/>
                  <a:pt x="262" y="370"/>
                  <a:pt x="266" y="374"/>
                </a:cubicBezTo>
                <a:cubicBezTo>
                  <a:pt x="296" y="404"/>
                  <a:pt x="296" y="404"/>
                  <a:pt x="296" y="404"/>
                </a:cubicBezTo>
                <a:cubicBezTo>
                  <a:pt x="298" y="406"/>
                  <a:pt x="300" y="407"/>
                  <a:pt x="303" y="407"/>
                </a:cubicBezTo>
                <a:cubicBezTo>
                  <a:pt x="306" y="407"/>
                  <a:pt x="309" y="406"/>
                  <a:pt x="311" y="404"/>
                </a:cubicBezTo>
                <a:cubicBezTo>
                  <a:pt x="315" y="400"/>
                  <a:pt x="315" y="393"/>
                  <a:pt x="311" y="389"/>
                </a:cubicBezTo>
                <a:cubicBezTo>
                  <a:pt x="295" y="373"/>
                  <a:pt x="295" y="373"/>
                  <a:pt x="295" y="373"/>
                </a:cubicBezTo>
                <a:cubicBezTo>
                  <a:pt x="387" y="373"/>
                  <a:pt x="387" y="373"/>
                  <a:pt x="387" y="373"/>
                </a:cubicBezTo>
                <a:cubicBezTo>
                  <a:pt x="391" y="373"/>
                  <a:pt x="394" y="371"/>
                  <a:pt x="396" y="368"/>
                </a:cubicBezTo>
                <a:cubicBezTo>
                  <a:pt x="405" y="354"/>
                  <a:pt x="405" y="354"/>
                  <a:pt x="405" y="354"/>
                </a:cubicBezTo>
                <a:cubicBezTo>
                  <a:pt x="407" y="351"/>
                  <a:pt x="407" y="347"/>
                  <a:pt x="405" y="34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8" name="Freeform 591">
            <a:extLst>
              <a:ext uri="{FF2B5EF4-FFF2-40B4-BE49-F238E27FC236}">
                <a16:creationId xmlns:a16="http://schemas.microsoft.com/office/drawing/2014/main" id="{EB983E2B-9F32-468A-89B2-8F717FAB140A}"/>
              </a:ext>
            </a:extLst>
          </p:cNvPr>
          <p:cNvSpPr>
            <a:spLocks noChangeAspect="1" noEditPoints="1"/>
          </p:cNvSpPr>
          <p:nvPr/>
        </p:nvSpPr>
        <p:spPr bwMode="auto">
          <a:xfrm>
            <a:off x="5655162" y="3307694"/>
            <a:ext cx="369021" cy="369021"/>
          </a:xfrm>
          <a:custGeom>
            <a:avLst/>
            <a:gdLst>
              <a:gd name="T0" fmla="*/ 0 w 512"/>
              <a:gd name="T1" fmla="*/ 256 h 512"/>
              <a:gd name="T2" fmla="*/ 512 w 512"/>
              <a:gd name="T3" fmla="*/ 256 h 512"/>
              <a:gd name="T4" fmla="*/ 295 w 512"/>
              <a:gd name="T5" fmla="*/ 202 h 512"/>
              <a:gd name="T6" fmla="*/ 253 w 512"/>
              <a:gd name="T7" fmla="*/ 138 h 512"/>
              <a:gd name="T8" fmla="*/ 192 w 512"/>
              <a:gd name="T9" fmla="*/ 222 h 512"/>
              <a:gd name="T10" fmla="*/ 237 w 512"/>
              <a:gd name="T11" fmla="*/ 121 h 512"/>
              <a:gd name="T12" fmla="*/ 264 w 512"/>
              <a:gd name="T13" fmla="*/ 117 h 512"/>
              <a:gd name="T14" fmla="*/ 273 w 512"/>
              <a:gd name="T15" fmla="*/ 122 h 512"/>
              <a:gd name="T16" fmla="*/ 314 w 512"/>
              <a:gd name="T17" fmla="*/ 174 h 512"/>
              <a:gd name="T18" fmla="*/ 335 w 512"/>
              <a:gd name="T19" fmla="*/ 177 h 512"/>
              <a:gd name="T20" fmla="*/ 317 w 512"/>
              <a:gd name="T21" fmla="*/ 227 h 512"/>
              <a:gd name="T22" fmla="*/ 274 w 512"/>
              <a:gd name="T23" fmla="*/ 220 h 512"/>
              <a:gd name="T24" fmla="*/ 277 w 512"/>
              <a:gd name="T25" fmla="*/ 199 h 512"/>
              <a:gd name="T26" fmla="*/ 234 w 512"/>
              <a:gd name="T27" fmla="*/ 362 h 512"/>
              <a:gd name="T28" fmla="*/ 124 w 512"/>
              <a:gd name="T29" fmla="*/ 373 h 512"/>
              <a:gd name="T30" fmla="*/ 107 w 512"/>
              <a:gd name="T31" fmla="*/ 354 h 512"/>
              <a:gd name="T32" fmla="*/ 143 w 512"/>
              <a:gd name="T33" fmla="*/ 280 h 512"/>
              <a:gd name="T34" fmla="*/ 120 w 512"/>
              <a:gd name="T35" fmla="*/ 277 h 512"/>
              <a:gd name="T36" fmla="*/ 166 w 512"/>
              <a:gd name="T37" fmla="*/ 249 h 512"/>
              <a:gd name="T38" fmla="*/ 194 w 512"/>
              <a:gd name="T39" fmla="*/ 295 h 512"/>
              <a:gd name="T40" fmla="*/ 184 w 512"/>
              <a:gd name="T41" fmla="*/ 309 h 512"/>
              <a:gd name="T42" fmla="*/ 166 w 512"/>
              <a:gd name="T43" fmla="*/ 283 h 512"/>
              <a:gd name="T44" fmla="*/ 130 w 512"/>
              <a:gd name="T45" fmla="*/ 352 h 512"/>
              <a:gd name="T46" fmla="*/ 234 w 512"/>
              <a:gd name="T47" fmla="*/ 362 h 512"/>
              <a:gd name="T48" fmla="*/ 396 w 512"/>
              <a:gd name="T49" fmla="*/ 368 h 512"/>
              <a:gd name="T50" fmla="*/ 295 w 512"/>
              <a:gd name="T51" fmla="*/ 373 h 512"/>
              <a:gd name="T52" fmla="*/ 311 w 512"/>
              <a:gd name="T53" fmla="*/ 404 h 512"/>
              <a:gd name="T54" fmla="*/ 296 w 512"/>
              <a:gd name="T55" fmla="*/ 404 h 512"/>
              <a:gd name="T56" fmla="*/ 266 w 512"/>
              <a:gd name="T57" fmla="*/ 359 h 512"/>
              <a:gd name="T58" fmla="*/ 311 w 512"/>
              <a:gd name="T59" fmla="*/ 330 h 512"/>
              <a:gd name="T60" fmla="*/ 304 w 512"/>
              <a:gd name="T61" fmla="*/ 352 h 512"/>
              <a:gd name="T62" fmla="*/ 383 w 512"/>
              <a:gd name="T63" fmla="*/ 348 h 512"/>
              <a:gd name="T64" fmla="*/ 341 w 512"/>
              <a:gd name="T65" fmla="*/ 254 h 512"/>
              <a:gd name="T66" fmla="*/ 405 w 512"/>
              <a:gd name="T67"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202"/>
                </a:moveTo>
                <a:cubicBezTo>
                  <a:pt x="258" y="138"/>
                  <a:pt x="258" y="138"/>
                  <a:pt x="258" y="138"/>
                </a:cubicBezTo>
                <a:cubicBezTo>
                  <a:pt x="253" y="138"/>
                  <a:pt x="253" y="138"/>
                  <a:pt x="253" y="138"/>
                </a:cubicBezTo>
                <a:cubicBezTo>
                  <a:pt x="206" y="218"/>
                  <a:pt x="206" y="218"/>
                  <a:pt x="206" y="218"/>
                </a:cubicBezTo>
                <a:cubicBezTo>
                  <a:pt x="203" y="224"/>
                  <a:pt x="197" y="225"/>
                  <a:pt x="192" y="222"/>
                </a:cubicBezTo>
                <a:cubicBezTo>
                  <a:pt x="186" y="219"/>
                  <a:pt x="185" y="212"/>
                  <a:pt x="188" y="207"/>
                </a:cubicBezTo>
                <a:cubicBezTo>
                  <a:pt x="237" y="121"/>
                  <a:pt x="237" y="121"/>
                  <a:pt x="237" y="121"/>
                </a:cubicBezTo>
                <a:cubicBezTo>
                  <a:pt x="239" y="118"/>
                  <a:pt x="243" y="116"/>
                  <a:pt x="247" y="116"/>
                </a:cubicBezTo>
                <a:cubicBezTo>
                  <a:pt x="264" y="117"/>
                  <a:pt x="264" y="117"/>
                  <a:pt x="264" y="117"/>
                </a:cubicBezTo>
                <a:cubicBezTo>
                  <a:pt x="264" y="117"/>
                  <a:pt x="264" y="117"/>
                  <a:pt x="264" y="117"/>
                </a:cubicBezTo>
                <a:cubicBezTo>
                  <a:pt x="267" y="117"/>
                  <a:pt x="271" y="118"/>
                  <a:pt x="273" y="122"/>
                </a:cubicBezTo>
                <a:cubicBezTo>
                  <a:pt x="311" y="187"/>
                  <a:pt x="311" y="187"/>
                  <a:pt x="311" y="187"/>
                </a:cubicBezTo>
                <a:cubicBezTo>
                  <a:pt x="314" y="174"/>
                  <a:pt x="314" y="174"/>
                  <a:pt x="314" y="174"/>
                </a:cubicBezTo>
                <a:cubicBezTo>
                  <a:pt x="315" y="168"/>
                  <a:pt x="320" y="164"/>
                  <a:pt x="326" y="165"/>
                </a:cubicBezTo>
                <a:cubicBezTo>
                  <a:pt x="332" y="166"/>
                  <a:pt x="336" y="171"/>
                  <a:pt x="335" y="177"/>
                </a:cubicBezTo>
                <a:cubicBezTo>
                  <a:pt x="327" y="219"/>
                  <a:pt x="327" y="219"/>
                  <a:pt x="327" y="219"/>
                </a:cubicBezTo>
                <a:cubicBezTo>
                  <a:pt x="326" y="224"/>
                  <a:pt x="322" y="227"/>
                  <a:pt x="317" y="227"/>
                </a:cubicBezTo>
                <a:cubicBezTo>
                  <a:pt x="316" y="227"/>
                  <a:pt x="315" y="227"/>
                  <a:pt x="315" y="227"/>
                </a:cubicBezTo>
                <a:cubicBezTo>
                  <a:pt x="274" y="220"/>
                  <a:pt x="274" y="220"/>
                  <a:pt x="274" y="220"/>
                </a:cubicBezTo>
                <a:cubicBezTo>
                  <a:pt x="268" y="219"/>
                  <a:pt x="264" y="213"/>
                  <a:pt x="265" y="207"/>
                </a:cubicBezTo>
                <a:cubicBezTo>
                  <a:pt x="266" y="202"/>
                  <a:pt x="271" y="198"/>
                  <a:pt x="277" y="199"/>
                </a:cubicBezTo>
                <a:lnTo>
                  <a:pt x="295" y="202"/>
                </a:lnTo>
                <a:close/>
                <a:moveTo>
                  <a:pt x="234" y="362"/>
                </a:moveTo>
                <a:cubicBezTo>
                  <a:pt x="234" y="368"/>
                  <a:pt x="230" y="373"/>
                  <a:pt x="224" y="373"/>
                </a:cubicBezTo>
                <a:cubicBezTo>
                  <a:pt x="124" y="373"/>
                  <a:pt x="124" y="373"/>
                  <a:pt x="124" y="373"/>
                </a:cubicBezTo>
                <a:cubicBezTo>
                  <a:pt x="121" y="373"/>
                  <a:pt x="117" y="371"/>
                  <a:pt x="115" y="368"/>
                </a:cubicBezTo>
                <a:cubicBezTo>
                  <a:pt x="107" y="354"/>
                  <a:pt x="107" y="354"/>
                  <a:pt x="107" y="354"/>
                </a:cubicBezTo>
                <a:cubicBezTo>
                  <a:pt x="105" y="351"/>
                  <a:pt x="105" y="347"/>
                  <a:pt x="107" y="343"/>
                </a:cubicBezTo>
                <a:cubicBezTo>
                  <a:pt x="143" y="280"/>
                  <a:pt x="143" y="280"/>
                  <a:pt x="143" y="280"/>
                </a:cubicBezTo>
                <a:cubicBezTo>
                  <a:pt x="134" y="283"/>
                  <a:pt x="134" y="283"/>
                  <a:pt x="134" y="283"/>
                </a:cubicBezTo>
                <a:cubicBezTo>
                  <a:pt x="128" y="285"/>
                  <a:pt x="122" y="282"/>
                  <a:pt x="120" y="277"/>
                </a:cubicBezTo>
                <a:cubicBezTo>
                  <a:pt x="118" y="271"/>
                  <a:pt x="121" y="265"/>
                  <a:pt x="126" y="263"/>
                </a:cubicBezTo>
                <a:cubicBezTo>
                  <a:pt x="166" y="249"/>
                  <a:pt x="166" y="249"/>
                  <a:pt x="166" y="249"/>
                </a:cubicBezTo>
                <a:cubicBezTo>
                  <a:pt x="171" y="247"/>
                  <a:pt x="178" y="250"/>
                  <a:pt x="180" y="256"/>
                </a:cubicBezTo>
                <a:cubicBezTo>
                  <a:pt x="194" y="295"/>
                  <a:pt x="194" y="295"/>
                  <a:pt x="194" y="295"/>
                </a:cubicBezTo>
                <a:cubicBezTo>
                  <a:pt x="196" y="301"/>
                  <a:pt x="193" y="307"/>
                  <a:pt x="187" y="309"/>
                </a:cubicBezTo>
                <a:cubicBezTo>
                  <a:pt x="186" y="309"/>
                  <a:pt x="185" y="309"/>
                  <a:pt x="184" y="309"/>
                </a:cubicBezTo>
                <a:cubicBezTo>
                  <a:pt x="179" y="309"/>
                  <a:pt x="175" y="307"/>
                  <a:pt x="174" y="302"/>
                </a:cubicBezTo>
                <a:cubicBezTo>
                  <a:pt x="166" y="283"/>
                  <a:pt x="166" y="283"/>
                  <a:pt x="166" y="283"/>
                </a:cubicBezTo>
                <a:cubicBezTo>
                  <a:pt x="128" y="348"/>
                  <a:pt x="128" y="348"/>
                  <a:pt x="128" y="348"/>
                </a:cubicBezTo>
                <a:cubicBezTo>
                  <a:pt x="130" y="352"/>
                  <a:pt x="130" y="352"/>
                  <a:pt x="130" y="352"/>
                </a:cubicBezTo>
                <a:cubicBezTo>
                  <a:pt x="224" y="352"/>
                  <a:pt x="224" y="352"/>
                  <a:pt x="224" y="352"/>
                </a:cubicBezTo>
                <a:cubicBezTo>
                  <a:pt x="230" y="352"/>
                  <a:pt x="234" y="356"/>
                  <a:pt x="234" y="362"/>
                </a:cubicBezTo>
                <a:close/>
                <a:moveTo>
                  <a:pt x="405" y="354"/>
                </a:moveTo>
                <a:cubicBezTo>
                  <a:pt x="396" y="368"/>
                  <a:pt x="396" y="368"/>
                  <a:pt x="396" y="368"/>
                </a:cubicBezTo>
                <a:cubicBezTo>
                  <a:pt x="394" y="371"/>
                  <a:pt x="391" y="373"/>
                  <a:pt x="387" y="373"/>
                </a:cubicBezTo>
                <a:cubicBezTo>
                  <a:pt x="295" y="373"/>
                  <a:pt x="295" y="373"/>
                  <a:pt x="295" y="373"/>
                </a:cubicBezTo>
                <a:cubicBezTo>
                  <a:pt x="311" y="389"/>
                  <a:pt x="311" y="389"/>
                  <a:pt x="311" y="389"/>
                </a:cubicBezTo>
                <a:cubicBezTo>
                  <a:pt x="315" y="393"/>
                  <a:pt x="315" y="400"/>
                  <a:pt x="311" y="404"/>
                </a:cubicBezTo>
                <a:cubicBezTo>
                  <a:pt x="309" y="406"/>
                  <a:pt x="306" y="407"/>
                  <a:pt x="303" y="407"/>
                </a:cubicBezTo>
                <a:cubicBezTo>
                  <a:pt x="300" y="407"/>
                  <a:pt x="298" y="406"/>
                  <a:pt x="296" y="404"/>
                </a:cubicBezTo>
                <a:cubicBezTo>
                  <a:pt x="266" y="374"/>
                  <a:pt x="266" y="374"/>
                  <a:pt x="266" y="374"/>
                </a:cubicBezTo>
                <a:cubicBezTo>
                  <a:pt x="262" y="370"/>
                  <a:pt x="262" y="363"/>
                  <a:pt x="266" y="359"/>
                </a:cubicBezTo>
                <a:cubicBezTo>
                  <a:pt x="296" y="330"/>
                  <a:pt x="296" y="330"/>
                  <a:pt x="296" y="330"/>
                </a:cubicBezTo>
                <a:cubicBezTo>
                  <a:pt x="300" y="325"/>
                  <a:pt x="307" y="325"/>
                  <a:pt x="311" y="330"/>
                </a:cubicBezTo>
                <a:cubicBezTo>
                  <a:pt x="315" y="334"/>
                  <a:pt x="315" y="341"/>
                  <a:pt x="311" y="345"/>
                </a:cubicBezTo>
                <a:cubicBezTo>
                  <a:pt x="304" y="352"/>
                  <a:pt x="304" y="352"/>
                  <a:pt x="304" y="352"/>
                </a:cubicBezTo>
                <a:cubicBezTo>
                  <a:pt x="381" y="352"/>
                  <a:pt x="381" y="352"/>
                  <a:pt x="381" y="352"/>
                </a:cubicBezTo>
                <a:cubicBezTo>
                  <a:pt x="383" y="348"/>
                  <a:pt x="383" y="348"/>
                  <a:pt x="383" y="348"/>
                </a:cubicBezTo>
                <a:cubicBezTo>
                  <a:pt x="337" y="268"/>
                  <a:pt x="337" y="268"/>
                  <a:pt x="337" y="268"/>
                </a:cubicBezTo>
                <a:cubicBezTo>
                  <a:pt x="334" y="263"/>
                  <a:pt x="335" y="257"/>
                  <a:pt x="341" y="254"/>
                </a:cubicBezTo>
                <a:cubicBezTo>
                  <a:pt x="346" y="251"/>
                  <a:pt x="352" y="253"/>
                  <a:pt x="355" y="258"/>
                </a:cubicBezTo>
                <a:cubicBezTo>
                  <a:pt x="405" y="343"/>
                  <a:pt x="405" y="343"/>
                  <a:pt x="405" y="343"/>
                </a:cubicBezTo>
                <a:cubicBezTo>
                  <a:pt x="407" y="347"/>
                  <a:pt x="407" y="351"/>
                  <a:pt x="405" y="35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7" name="Group 246">
            <a:extLst>
              <a:ext uri="{FF2B5EF4-FFF2-40B4-BE49-F238E27FC236}">
                <a16:creationId xmlns:a16="http://schemas.microsoft.com/office/drawing/2014/main" id="{8A441C9E-1CF1-4108-AF20-21F1A21B753E}"/>
              </a:ext>
            </a:extLst>
          </p:cNvPr>
          <p:cNvGrpSpPr/>
          <p:nvPr/>
        </p:nvGrpSpPr>
        <p:grpSpPr>
          <a:xfrm>
            <a:off x="6979423" y="3307694"/>
            <a:ext cx="366988" cy="368407"/>
            <a:chOff x="6259513" y="1784350"/>
            <a:chExt cx="3286125" cy="3298825"/>
          </a:xfrm>
          <a:solidFill>
            <a:schemeClr val="bg2"/>
          </a:solidFill>
        </p:grpSpPr>
        <p:sp>
          <p:nvSpPr>
            <p:cNvPr id="248" name="Freeform 5">
              <a:extLst>
                <a:ext uri="{FF2B5EF4-FFF2-40B4-BE49-F238E27FC236}">
                  <a16:creationId xmlns:a16="http://schemas.microsoft.com/office/drawing/2014/main" id="{53C9BD69-E6F9-4B76-9B8E-D628AF99B4B4}"/>
                </a:ext>
              </a:extLst>
            </p:cNvPr>
            <p:cNvSpPr>
              <a:spLocks/>
            </p:cNvSpPr>
            <p:nvPr/>
          </p:nvSpPr>
          <p:spPr bwMode="auto">
            <a:xfrm>
              <a:off x="6800850" y="2622550"/>
              <a:ext cx="2179638" cy="879475"/>
            </a:xfrm>
            <a:custGeom>
              <a:avLst/>
              <a:gdLst>
                <a:gd name="T0" fmla="*/ 1824 w 2283"/>
                <a:gd name="T1" fmla="*/ 0 h 918"/>
                <a:gd name="T2" fmla="*/ 1824 w 2283"/>
                <a:gd name="T3" fmla="*/ 0 h 918"/>
                <a:gd name="T4" fmla="*/ 1365 w 2283"/>
                <a:gd name="T5" fmla="*/ 459 h 918"/>
                <a:gd name="T6" fmla="*/ 1434 w 2283"/>
                <a:gd name="T7" fmla="*/ 528 h 918"/>
                <a:gd name="T8" fmla="*/ 1503 w 2283"/>
                <a:gd name="T9" fmla="*/ 459 h 918"/>
                <a:gd name="T10" fmla="*/ 1824 w 2283"/>
                <a:gd name="T11" fmla="*/ 138 h 918"/>
                <a:gd name="T12" fmla="*/ 2145 w 2283"/>
                <a:gd name="T13" fmla="*/ 459 h 918"/>
                <a:gd name="T14" fmla="*/ 1824 w 2283"/>
                <a:gd name="T15" fmla="*/ 780 h 918"/>
                <a:gd name="T16" fmla="*/ 69 w 2283"/>
                <a:gd name="T17" fmla="*/ 780 h 918"/>
                <a:gd name="T18" fmla="*/ 0 w 2283"/>
                <a:gd name="T19" fmla="*/ 849 h 918"/>
                <a:gd name="T20" fmla="*/ 69 w 2283"/>
                <a:gd name="T21" fmla="*/ 918 h 918"/>
                <a:gd name="T22" fmla="*/ 1824 w 2283"/>
                <a:gd name="T23" fmla="*/ 918 h 918"/>
                <a:gd name="T24" fmla="*/ 2283 w 2283"/>
                <a:gd name="T25" fmla="*/ 459 h 918"/>
                <a:gd name="T26" fmla="*/ 1824 w 2283"/>
                <a:gd name="T27" fmla="*/ 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3" h="918">
                  <a:moveTo>
                    <a:pt x="1824" y="0"/>
                  </a:moveTo>
                  <a:lnTo>
                    <a:pt x="1824" y="0"/>
                  </a:lnTo>
                  <a:cubicBezTo>
                    <a:pt x="1571" y="0"/>
                    <a:pt x="1365" y="206"/>
                    <a:pt x="1365" y="459"/>
                  </a:cubicBezTo>
                  <a:cubicBezTo>
                    <a:pt x="1365" y="497"/>
                    <a:pt x="1396" y="528"/>
                    <a:pt x="1434" y="528"/>
                  </a:cubicBezTo>
                  <a:cubicBezTo>
                    <a:pt x="1472" y="528"/>
                    <a:pt x="1503" y="497"/>
                    <a:pt x="1503" y="459"/>
                  </a:cubicBezTo>
                  <a:cubicBezTo>
                    <a:pt x="1503" y="282"/>
                    <a:pt x="1647" y="138"/>
                    <a:pt x="1824" y="138"/>
                  </a:cubicBezTo>
                  <a:cubicBezTo>
                    <a:pt x="2001" y="138"/>
                    <a:pt x="2145" y="282"/>
                    <a:pt x="2145" y="459"/>
                  </a:cubicBezTo>
                  <a:cubicBezTo>
                    <a:pt x="2145" y="636"/>
                    <a:pt x="2001" y="780"/>
                    <a:pt x="1824" y="780"/>
                  </a:cubicBezTo>
                  <a:lnTo>
                    <a:pt x="69" y="780"/>
                  </a:lnTo>
                  <a:cubicBezTo>
                    <a:pt x="31" y="780"/>
                    <a:pt x="0" y="811"/>
                    <a:pt x="0" y="849"/>
                  </a:cubicBezTo>
                  <a:cubicBezTo>
                    <a:pt x="0" y="887"/>
                    <a:pt x="31" y="918"/>
                    <a:pt x="69" y="918"/>
                  </a:cubicBezTo>
                  <a:lnTo>
                    <a:pt x="1824" y="918"/>
                  </a:lnTo>
                  <a:cubicBezTo>
                    <a:pt x="2077" y="918"/>
                    <a:pt x="2283" y="712"/>
                    <a:pt x="2283" y="459"/>
                  </a:cubicBezTo>
                  <a:cubicBezTo>
                    <a:pt x="2283" y="206"/>
                    <a:pt x="2077" y="0"/>
                    <a:pt x="182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6">
              <a:extLst>
                <a:ext uri="{FF2B5EF4-FFF2-40B4-BE49-F238E27FC236}">
                  <a16:creationId xmlns:a16="http://schemas.microsoft.com/office/drawing/2014/main" id="{02BFA69A-C3D1-4BEC-9DFF-03DDA03FD78B}"/>
                </a:ext>
              </a:extLst>
            </p:cNvPr>
            <p:cNvSpPr>
              <a:spLocks/>
            </p:cNvSpPr>
            <p:nvPr/>
          </p:nvSpPr>
          <p:spPr bwMode="auto">
            <a:xfrm>
              <a:off x="6800850" y="2530475"/>
              <a:ext cx="1201738" cy="690563"/>
            </a:xfrm>
            <a:custGeom>
              <a:avLst/>
              <a:gdLst>
                <a:gd name="T0" fmla="*/ 69 w 1259"/>
                <a:gd name="T1" fmla="*/ 722 h 722"/>
                <a:gd name="T2" fmla="*/ 69 w 1259"/>
                <a:gd name="T3" fmla="*/ 722 h 722"/>
                <a:gd name="T4" fmla="*/ 898 w 1259"/>
                <a:gd name="T5" fmla="*/ 722 h 722"/>
                <a:gd name="T6" fmla="*/ 1259 w 1259"/>
                <a:gd name="T7" fmla="*/ 361 h 722"/>
                <a:gd name="T8" fmla="*/ 898 w 1259"/>
                <a:gd name="T9" fmla="*/ 0 h 722"/>
                <a:gd name="T10" fmla="*/ 536 w 1259"/>
                <a:gd name="T11" fmla="*/ 361 h 722"/>
                <a:gd name="T12" fmla="*/ 605 w 1259"/>
                <a:gd name="T13" fmla="*/ 430 h 722"/>
                <a:gd name="T14" fmla="*/ 674 w 1259"/>
                <a:gd name="T15" fmla="*/ 361 h 722"/>
                <a:gd name="T16" fmla="*/ 898 w 1259"/>
                <a:gd name="T17" fmla="*/ 137 h 722"/>
                <a:gd name="T18" fmla="*/ 1121 w 1259"/>
                <a:gd name="T19" fmla="*/ 361 h 722"/>
                <a:gd name="T20" fmla="*/ 898 w 1259"/>
                <a:gd name="T21" fmla="*/ 585 h 722"/>
                <a:gd name="T22" fmla="*/ 69 w 1259"/>
                <a:gd name="T23" fmla="*/ 585 h 722"/>
                <a:gd name="T24" fmla="*/ 0 w 1259"/>
                <a:gd name="T25" fmla="*/ 653 h 722"/>
                <a:gd name="T26" fmla="*/ 69 w 1259"/>
                <a:gd name="T27"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9" h="722">
                  <a:moveTo>
                    <a:pt x="69" y="722"/>
                  </a:moveTo>
                  <a:lnTo>
                    <a:pt x="69" y="722"/>
                  </a:lnTo>
                  <a:lnTo>
                    <a:pt x="898" y="722"/>
                  </a:lnTo>
                  <a:cubicBezTo>
                    <a:pt x="1097" y="722"/>
                    <a:pt x="1259" y="560"/>
                    <a:pt x="1259" y="361"/>
                  </a:cubicBezTo>
                  <a:cubicBezTo>
                    <a:pt x="1259" y="162"/>
                    <a:pt x="1097" y="0"/>
                    <a:pt x="898" y="0"/>
                  </a:cubicBezTo>
                  <a:cubicBezTo>
                    <a:pt x="699" y="0"/>
                    <a:pt x="536" y="162"/>
                    <a:pt x="536" y="361"/>
                  </a:cubicBezTo>
                  <a:cubicBezTo>
                    <a:pt x="536" y="399"/>
                    <a:pt x="567" y="430"/>
                    <a:pt x="605" y="430"/>
                  </a:cubicBezTo>
                  <a:cubicBezTo>
                    <a:pt x="643" y="430"/>
                    <a:pt x="674" y="399"/>
                    <a:pt x="674" y="361"/>
                  </a:cubicBezTo>
                  <a:cubicBezTo>
                    <a:pt x="674" y="238"/>
                    <a:pt x="774" y="137"/>
                    <a:pt x="898" y="137"/>
                  </a:cubicBezTo>
                  <a:cubicBezTo>
                    <a:pt x="1021" y="137"/>
                    <a:pt x="1121" y="238"/>
                    <a:pt x="1121" y="361"/>
                  </a:cubicBezTo>
                  <a:cubicBezTo>
                    <a:pt x="1121" y="484"/>
                    <a:pt x="1021" y="585"/>
                    <a:pt x="898" y="585"/>
                  </a:cubicBezTo>
                  <a:lnTo>
                    <a:pt x="69" y="585"/>
                  </a:lnTo>
                  <a:cubicBezTo>
                    <a:pt x="31" y="585"/>
                    <a:pt x="0" y="616"/>
                    <a:pt x="0" y="653"/>
                  </a:cubicBezTo>
                  <a:cubicBezTo>
                    <a:pt x="0" y="691"/>
                    <a:pt x="31" y="722"/>
                    <a:pt x="69" y="72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7">
              <a:extLst>
                <a:ext uri="{FF2B5EF4-FFF2-40B4-BE49-F238E27FC236}">
                  <a16:creationId xmlns:a16="http://schemas.microsoft.com/office/drawing/2014/main" id="{C0F21A62-065A-466E-922A-5E5FFBE6C8E0}"/>
                </a:ext>
              </a:extLst>
            </p:cNvPr>
            <p:cNvSpPr>
              <a:spLocks/>
            </p:cNvSpPr>
            <p:nvPr/>
          </p:nvSpPr>
          <p:spPr bwMode="auto">
            <a:xfrm>
              <a:off x="6800850" y="3651250"/>
              <a:ext cx="1993900" cy="690563"/>
            </a:xfrm>
            <a:custGeom>
              <a:avLst/>
              <a:gdLst>
                <a:gd name="T0" fmla="*/ 1726 w 2088"/>
                <a:gd name="T1" fmla="*/ 0 h 722"/>
                <a:gd name="T2" fmla="*/ 1726 w 2088"/>
                <a:gd name="T3" fmla="*/ 0 h 722"/>
                <a:gd name="T4" fmla="*/ 69 w 2088"/>
                <a:gd name="T5" fmla="*/ 0 h 722"/>
                <a:gd name="T6" fmla="*/ 0 w 2088"/>
                <a:gd name="T7" fmla="*/ 68 h 722"/>
                <a:gd name="T8" fmla="*/ 69 w 2088"/>
                <a:gd name="T9" fmla="*/ 137 h 722"/>
                <a:gd name="T10" fmla="*/ 1726 w 2088"/>
                <a:gd name="T11" fmla="*/ 137 h 722"/>
                <a:gd name="T12" fmla="*/ 1950 w 2088"/>
                <a:gd name="T13" fmla="*/ 361 h 722"/>
                <a:gd name="T14" fmla="*/ 1726 w 2088"/>
                <a:gd name="T15" fmla="*/ 585 h 722"/>
                <a:gd name="T16" fmla="*/ 1503 w 2088"/>
                <a:gd name="T17" fmla="*/ 361 h 722"/>
                <a:gd name="T18" fmla="*/ 1434 w 2088"/>
                <a:gd name="T19" fmla="*/ 292 h 722"/>
                <a:gd name="T20" fmla="*/ 1365 w 2088"/>
                <a:gd name="T21" fmla="*/ 361 h 722"/>
                <a:gd name="T22" fmla="*/ 1726 w 2088"/>
                <a:gd name="T23" fmla="*/ 722 h 722"/>
                <a:gd name="T24" fmla="*/ 2088 w 2088"/>
                <a:gd name="T25" fmla="*/ 361 h 722"/>
                <a:gd name="T26" fmla="*/ 1726 w 2088"/>
                <a:gd name="T2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8" h="722">
                  <a:moveTo>
                    <a:pt x="1726" y="0"/>
                  </a:moveTo>
                  <a:lnTo>
                    <a:pt x="1726" y="0"/>
                  </a:lnTo>
                  <a:lnTo>
                    <a:pt x="69" y="0"/>
                  </a:lnTo>
                  <a:cubicBezTo>
                    <a:pt x="31" y="0"/>
                    <a:pt x="0" y="30"/>
                    <a:pt x="0" y="68"/>
                  </a:cubicBezTo>
                  <a:cubicBezTo>
                    <a:pt x="0" y="106"/>
                    <a:pt x="31" y="137"/>
                    <a:pt x="69" y="137"/>
                  </a:cubicBezTo>
                  <a:lnTo>
                    <a:pt x="1726" y="137"/>
                  </a:lnTo>
                  <a:cubicBezTo>
                    <a:pt x="1850" y="137"/>
                    <a:pt x="1950" y="237"/>
                    <a:pt x="1950" y="361"/>
                  </a:cubicBezTo>
                  <a:cubicBezTo>
                    <a:pt x="1950" y="484"/>
                    <a:pt x="1850" y="585"/>
                    <a:pt x="1726" y="585"/>
                  </a:cubicBezTo>
                  <a:cubicBezTo>
                    <a:pt x="1603" y="585"/>
                    <a:pt x="1503" y="484"/>
                    <a:pt x="1503" y="361"/>
                  </a:cubicBezTo>
                  <a:cubicBezTo>
                    <a:pt x="1503" y="323"/>
                    <a:pt x="1472" y="292"/>
                    <a:pt x="1434" y="292"/>
                  </a:cubicBezTo>
                  <a:cubicBezTo>
                    <a:pt x="1396" y="292"/>
                    <a:pt x="1365" y="323"/>
                    <a:pt x="1365" y="361"/>
                  </a:cubicBezTo>
                  <a:cubicBezTo>
                    <a:pt x="1365" y="560"/>
                    <a:pt x="1527" y="722"/>
                    <a:pt x="1726" y="722"/>
                  </a:cubicBezTo>
                  <a:cubicBezTo>
                    <a:pt x="1926" y="722"/>
                    <a:pt x="2088" y="560"/>
                    <a:pt x="2088" y="361"/>
                  </a:cubicBezTo>
                  <a:cubicBezTo>
                    <a:pt x="2088" y="162"/>
                    <a:pt x="1926" y="0"/>
                    <a:pt x="17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8">
              <a:extLst>
                <a:ext uri="{FF2B5EF4-FFF2-40B4-BE49-F238E27FC236}">
                  <a16:creationId xmlns:a16="http://schemas.microsoft.com/office/drawing/2014/main" id="{3B390FA5-FB1C-444B-8012-EEEEB4B69117}"/>
                </a:ext>
              </a:extLst>
            </p:cNvPr>
            <p:cNvSpPr>
              <a:spLocks noEditPoints="1"/>
            </p:cNvSpPr>
            <p:nvPr/>
          </p:nvSpPr>
          <p:spPr bwMode="auto">
            <a:xfrm>
              <a:off x="6259513" y="1784350"/>
              <a:ext cx="3286125" cy="3298825"/>
            </a:xfrm>
            <a:custGeom>
              <a:avLst/>
              <a:gdLst>
                <a:gd name="T0" fmla="*/ 1722 w 3444"/>
                <a:gd name="T1" fmla="*/ 0 h 3445"/>
                <a:gd name="T2" fmla="*/ 1722 w 3444"/>
                <a:gd name="T3" fmla="*/ 0 h 3445"/>
                <a:gd name="T4" fmla="*/ 0 w 3444"/>
                <a:gd name="T5" fmla="*/ 1722 h 3445"/>
                <a:gd name="T6" fmla="*/ 1722 w 3444"/>
                <a:gd name="T7" fmla="*/ 3445 h 3445"/>
                <a:gd name="T8" fmla="*/ 3444 w 3444"/>
                <a:gd name="T9" fmla="*/ 1722 h 3445"/>
                <a:gd name="T10" fmla="*/ 1722 w 3444"/>
                <a:gd name="T11" fmla="*/ 0 h 3445"/>
                <a:gd name="T12" fmla="*/ 1722 w 3444"/>
                <a:gd name="T13" fmla="*/ 142 h 3445"/>
                <a:gd name="T14" fmla="*/ 1722 w 3444"/>
                <a:gd name="T15" fmla="*/ 142 h 3445"/>
                <a:gd name="T16" fmla="*/ 3297 w 3444"/>
                <a:gd name="T17" fmla="*/ 1722 h 3445"/>
                <a:gd name="T18" fmla="*/ 1722 w 3444"/>
                <a:gd name="T19" fmla="*/ 3297 h 3445"/>
                <a:gd name="T20" fmla="*/ 142 w 3444"/>
                <a:gd name="T21" fmla="*/ 1722 h 3445"/>
                <a:gd name="T22" fmla="*/ 1722 w 3444"/>
                <a:gd name="T23" fmla="*/ 142 h 3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44" h="3445">
                  <a:moveTo>
                    <a:pt x="1722" y="0"/>
                  </a:moveTo>
                  <a:lnTo>
                    <a:pt x="1722" y="0"/>
                  </a:lnTo>
                  <a:cubicBezTo>
                    <a:pt x="767" y="0"/>
                    <a:pt x="0" y="767"/>
                    <a:pt x="0" y="1722"/>
                  </a:cubicBezTo>
                  <a:cubicBezTo>
                    <a:pt x="0" y="2670"/>
                    <a:pt x="767" y="3445"/>
                    <a:pt x="1722" y="3445"/>
                  </a:cubicBezTo>
                  <a:cubicBezTo>
                    <a:pt x="2670" y="3445"/>
                    <a:pt x="3444" y="2670"/>
                    <a:pt x="3444" y="1722"/>
                  </a:cubicBezTo>
                  <a:cubicBezTo>
                    <a:pt x="3444" y="767"/>
                    <a:pt x="2670" y="0"/>
                    <a:pt x="1722" y="0"/>
                  </a:cubicBezTo>
                  <a:close/>
                  <a:moveTo>
                    <a:pt x="1722" y="142"/>
                  </a:moveTo>
                  <a:lnTo>
                    <a:pt x="1722" y="142"/>
                  </a:lnTo>
                  <a:cubicBezTo>
                    <a:pt x="2591" y="142"/>
                    <a:pt x="3297" y="848"/>
                    <a:pt x="3297" y="1722"/>
                  </a:cubicBezTo>
                  <a:cubicBezTo>
                    <a:pt x="3297" y="2591"/>
                    <a:pt x="2591" y="3297"/>
                    <a:pt x="1722" y="3297"/>
                  </a:cubicBezTo>
                  <a:cubicBezTo>
                    <a:pt x="848" y="3297"/>
                    <a:pt x="142" y="2591"/>
                    <a:pt x="142" y="1722"/>
                  </a:cubicBezTo>
                  <a:cubicBezTo>
                    <a:pt x="142" y="848"/>
                    <a:pt x="848" y="142"/>
                    <a:pt x="1722" y="14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52" name="Freeform 9">
            <a:extLst>
              <a:ext uri="{FF2B5EF4-FFF2-40B4-BE49-F238E27FC236}">
                <a16:creationId xmlns:a16="http://schemas.microsoft.com/office/drawing/2014/main" id="{9AB71828-77A5-4927-8B74-8DDD1DBCD8AF}"/>
              </a:ext>
            </a:extLst>
          </p:cNvPr>
          <p:cNvSpPr>
            <a:spLocks noEditPoints="1"/>
          </p:cNvSpPr>
          <p:nvPr/>
        </p:nvSpPr>
        <p:spPr bwMode="auto">
          <a:xfrm>
            <a:off x="6576090" y="3307694"/>
            <a:ext cx="366988" cy="368407"/>
          </a:xfrm>
          <a:custGeom>
            <a:avLst/>
            <a:gdLst>
              <a:gd name="T0" fmla="*/ 2391 w 3444"/>
              <a:gd name="T1" fmla="*/ 1794 h 3445"/>
              <a:gd name="T2" fmla="*/ 2391 w 3444"/>
              <a:gd name="T3" fmla="*/ 1794 h 3445"/>
              <a:gd name="T4" fmla="*/ 636 w 3444"/>
              <a:gd name="T5" fmla="*/ 1794 h 3445"/>
              <a:gd name="T6" fmla="*/ 568 w 3444"/>
              <a:gd name="T7" fmla="*/ 1725 h 3445"/>
              <a:gd name="T8" fmla="*/ 636 w 3444"/>
              <a:gd name="T9" fmla="*/ 1656 h 3445"/>
              <a:gd name="T10" fmla="*/ 2391 w 3444"/>
              <a:gd name="T11" fmla="*/ 1656 h 3445"/>
              <a:gd name="T12" fmla="*/ 2712 w 3444"/>
              <a:gd name="T13" fmla="*/ 1335 h 3445"/>
              <a:gd name="T14" fmla="*/ 2391 w 3444"/>
              <a:gd name="T15" fmla="*/ 1014 h 3445"/>
              <a:gd name="T16" fmla="*/ 2070 w 3444"/>
              <a:gd name="T17" fmla="*/ 1335 h 3445"/>
              <a:gd name="T18" fmla="*/ 2001 w 3444"/>
              <a:gd name="T19" fmla="*/ 1404 h 3445"/>
              <a:gd name="T20" fmla="*/ 1932 w 3444"/>
              <a:gd name="T21" fmla="*/ 1335 h 3445"/>
              <a:gd name="T22" fmla="*/ 2391 w 3444"/>
              <a:gd name="T23" fmla="*/ 876 h 3445"/>
              <a:gd name="T24" fmla="*/ 2850 w 3444"/>
              <a:gd name="T25" fmla="*/ 1335 h 3445"/>
              <a:gd name="T26" fmla="*/ 2391 w 3444"/>
              <a:gd name="T27" fmla="*/ 1794 h 3445"/>
              <a:gd name="T28" fmla="*/ 2391 w 3444"/>
              <a:gd name="T29" fmla="*/ 1794 h 3445"/>
              <a:gd name="T30" fmla="*/ 2294 w 3444"/>
              <a:gd name="T31" fmla="*/ 2671 h 3445"/>
              <a:gd name="T32" fmla="*/ 2294 w 3444"/>
              <a:gd name="T33" fmla="*/ 2671 h 3445"/>
              <a:gd name="T34" fmla="*/ 1932 w 3444"/>
              <a:gd name="T35" fmla="*/ 2310 h 3445"/>
              <a:gd name="T36" fmla="*/ 2001 w 3444"/>
              <a:gd name="T37" fmla="*/ 2241 h 3445"/>
              <a:gd name="T38" fmla="*/ 2070 w 3444"/>
              <a:gd name="T39" fmla="*/ 2310 h 3445"/>
              <a:gd name="T40" fmla="*/ 2294 w 3444"/>
              <a:gd name="T41" fmla="*/ 2534 h 3445"/>
              <a:gd name="T42" fmla="*/ 2517 w 3444"/>
              <a:gd name="T43" fmla="*/ 2310 h 3445"/>
              <a:gd name="T44" fmla="*/ 2294 w 3444"/>
              <a:gd name="T45" fmla="*/ 2086 h 3445"/>
              <a:gd name="T46" fmla="*/ 636 w 3444"/>
              <a:gd name="T47" fmla="*/ 2086 h 3445"/>
              <a:gd name="T48" fmla="*/ 568 w 3444"/>
              <a:gd name="T49" fmla="*/ 2017 h 3445"/>
              <a:gd name="T50" fmla="*/ 636 w 3444"/>
              <a:gd name="T51" fmla="*/ 1949 h 3445"/>
              <a:gd name="T52" fmla="*/ 2294 w 3444"/>
              <a:gd name="T53" fmla="*/ 1949 h 3445"/>
              <a:gd name="T54" fmla="*/ 2655 w 3444"/>
              <a:gd name="T55" fmla="*/ 2310 h 3445"/>
              <a:gd name="T56" fmla="*/ 2294 w 3444"/>
              <a:gd name="T57" fmla="*/ 2671 h 3445"/>
              <a:gd name="T58" fmla="*/ 2294 w 3444"/>
              <a:gd name="T59" fmla="*/ 2671 h 3445"/>
              <a:gd name="T60" fmla="*/ 636 w 3444"/>
              <a:gd name="T61" fmla="*/ 1364 h 3445"/>
              <a:gd name="T62" fmla="*/ 636 w 3444"/>
              <a:gd name="T63" fmla="*/ 1364 h 3445"/>
              <a:gd name="T64" fmla="*/ 1465 w 3444"/>
              <a:gd name="T65" fmla="*/ 1364 h 3445"/>
              <a:gd name="T66" fmla="*/ 1689 w 3444"/>
              <a:gd name="T67" fmla="*/ 1140 h 3445"/>
              <a:gd name="T68" fmla="*/ 1465 w 3444"/>
              <a:gd name="T69" fmla="*/ 916 h 3445"/>
              <a:gd name="T70" fmla="*/ 1241 w 3444"/>
              <a:gd name="T71" fmla="*/ 1140 h 3445"/>
              <a:gd name="T72" fmla="*/ 1173 w 3444"/>
              <a:gd name="T73" fmla="*/ 1209 h 3445"/>
              <a:gd name="T74" fmla="*/ 1104 w 3444"/>
              <a:gd name="T75" fmla="*/ 1140 h 3445"/>
              <a:gd name="T76" fmla="*/ 1465 w 3444"/>
              <a:gd name="T77" fmla="*/ 779 h 3445"/>
              <a:gd name="T78" fmla="*/ 1826 w 3444"/>
              <a:gd name="T79" fmla="*/ 1140 h 3445"/>
              <a:gd name="T80" fmla="*/ 1465 w 3444"/>
              <a:gd name="T81" fmla="*/ 1501 h 3445"/>
              <a:gd name="T82" fmla="*/ 636 w 3444"/>
              <a:gd name="T83" fmla="*/ 1501 h 3445"/>
              <a:gd name="T84" fmla="*/ 568 w 3444"/>
              <a:gd name="T85" fmla="*/ 1432 h 3445"/>
              <a:gd name="T86" fmla="*/ 636 w 3444"/>
              <a:gd name="T87" fmla="*/ 1364 h 3445"/>
              <a:gd name="T88" fmla="*/ 636 w 3444"/>
              <a:gd name="T89" fmla="*/ 1364 h 3445"/>
              <a:gd name="T90" fmla="*/ 1722 w 3444"/>
              <a:gd name="T91" fmla="*/ 0 h 3445"/>
              <a:gd name="T92" fmla="*/ 1722 w 3444"/>
              <a:gd name="T93" fmla="*/ 0 h 3445"/>
              <a:gd name="T94" fmla="*/ 0 w 3444"/>
              <a:gd name="T95" fmla="*/ 1722 h 3445"/>
              <a:gd name="T96" fmla="*/ 1722 w 3444"/>
              <a:gd name="T97" fmla="*/ 3445 h 3445"/>
              <a:gd name="T98" fmla="*/ 3444 w 3444"/>
              <a:gd name="T99" fmla="*/ 1722 h 3445"/>
              <a:gd name="T100" fmla="*/ 1722 w 3444"/>
              <a:gd name="T101" fmla="*/ 0 h 3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44" h="3445">
                <a:moveTo>
                  <a:pt x="2391" y="1794"/>
                </a:moveTo>
                <a:lnTo>
                  <a:pt x="2391" y="1794"/>
                </a:lnTo>
                <a:lnTo>
                  <a:pt x="636" y="1794"/>
                </a:lnTo>
                <a:cubicBezTo>
                  <a:pt x="598" y="1794"/>
                  <a:pt x="568" y="1763"/>
                  <a:pt x="568" y="1725"/>
                </a:cubicBezTo>
                <a:cubicBezTo>
                  <a:pt x="568" y="1687"/>
                  <a:pt x="598" y="1656"/>
                  <a:pt x="636" y="1656"/>
                </a:cubicBezTo>
                <a:lnTo>
                  <a:pt x="2391" y="1656"/>
                </a:lnTo>
                <a:cubicBezTo>
                  <a:pt x="2568" y="1656"/>
                  <a:pt x="2712" y="1512"/>
                  <a:pt x="2712" y="1335"/>
                </a:cubicBezTo>
                <a:cubicBezTo>
                  <a:pt x="2712" y="1158"/>
                  <a:pt x="2568" y="1014"/>
                  <a:pt x="2391" y="1014"/>
                </a:cubicBezTo>
                <a:cubicBezTo>
                  <a:pt x="2214" y="1014"/>
                  <a:pt x="2070" y="1158"/>
                  <a:pt x="2070" y="1335"/>
                </a:cubicBezTo>
                <a:cubicBezTo>
                  <a:pt x="2070" y="1373"/>
                  <a:pt x="2039" y="1404"/>
                  <a:pt x="2001" y="1404"/>
                </a:cubicBezTo>
                <a:cubicBezTo>
                  <a:pt x="1963" y="1404"/>
                  <a:pt x="1932" y="1373"/>
                  <a:pt x="1932" y="1335"/>
                </a:cubicBezTo>
                <a:cubicBezTo>
                  <a:pt x="1932" y="1082"/>
                  <a:pt x="2138" y="876"/>
                  <a:pt x="2391" y="876"/>
                </a:cubicBezTo>
                <a:cubicBezTo>
                  <a:pt x="2644" y="876"/>
                  <a:pt x="2850" y="1082"/>
                  <a:pt x="2850" y="1335"/>
                </a:cubicBezTo>
                <a:cubicBezTo>
                  <a:pt x="2850" y="1588"/>
                  <a:pt x="2644" y="1794"/>
                  <a:pt x="2391" y="1794"/>
                </a:cubicBezTo>
                <a:lnTo>
                  <a:pt x="2391" y="1794"/>
                </a:lnTo>
                <a:close/>
                <a:moveTo>
                  <a:pt x="2294" y="2671"/>
                </a:moveTo>
                <a:lnTo>
                  <a:pt x="2294" y="2671"/>
                </a:lnTo>
                <a:cubicBezTo>
                  <a:pt x="2095" y="2671"/>
                  <a:pt x="1932" y="2509"/>
                  <a:pt x="1932" y="2310"/>
                </a:cubicBezTo>
                <a:cubicBezTo>
                  <a:pt x="1932" y="2272"/>
                  <a:pt x="1963" y="2241"/>
                  <a:pt x="2001" y="2241"/>
                </a:cubicBezTo>
                <a:cubicBezTo>
                  <a:pt x="2039" y="2241"/>
                  <a:pt x="2070" y="2272"/>
                  <a:pt x="2070" y="2310"/>
                </a:cubicBezTo>
                <a:cubicBezTo>
                  <a:pt x="2070" y="2433"/>
                  <a:pt x="2170" y="2534"/>
                  <a:pt x="2294" y="2534"/>
                </a:cubicBezTo>
                <a:cubicBezTo>
                  <a:pt x="2417" y="2534"/>
                  <a:pt x="2517" y="2433"/>
                  <a:pt x="2517" y="2310"/>
                </a:cubicBezTo>
                <a:cubicBezTo>
                  <a:pt x="2517" y="2186"/>
                  <a:pt x="2417" y="2086"/>
                  <a:pt x="2294" y="2086"/>
                </a:cubicBezTo>
                <a:lnTo>
                  <a:pt x="636" y="2086"/>
                </a:lnTo>
                <a:cubicBezTo>
                  <a:pt x="598" y="2086"/>
                  <a:pt x="568" y="2055"/>
                  <a:pt x="568" y="2017"/>
                </a:cubicBezTo>
                <a:cubicBezTo>
                  <a:pt x="568" y="1979"/>
                  <a:pt x="598" y="1949"/>
                  <a:pt x="636" y="1949"/>
                </a:cubicBezTo>
                <a:lnTo>
                  <a:pt x="2294" y="1949"/>
                </a:lnTo>
                <a:cubicBezTo>
                  <a:pt x="2493" y="1949"/>
                  <a:pt x="2655" y="2111"/>
                  <a:pt x="2655" y="2310"/>
                </a:cubicBezTo>
                <a:cubicBezTo>
                  <a:pt x="2655" y="2509"/>
                  <a:pt x="2493" y="2671"/>
                  <a:pt x="2294" y="2671"/>
                </a:cubicBezTo>
                <a:lnTo>
                  <a:pt x="2294" y="2671"/>
                </a:lnTo>
                <a:close/>
                <a:moveTo>
                  <a:pt x="636" y="1364"/>
                </a:moveTo>
                <a:lnTo>
                  <a:pt x="636" y="1364"/>
                </a:lnTo>
                <a:lnTo>
                  <a:pt x="1465" y="1364"/>
                </a:lnTo>
                <a:cubicBezTo>
                  <a:pt x="1588" y="1364"/>
                  <a:pt x="1689" y="1263"/>
                  <a:pt x="1689" y="1140"/>
                </a:cubicBezTo>
                <a:cubicBezTo>
                  <a:pt x="1689" y="1017"/>
                  <a:pt x="1588" y="916"/>
                  <a:pt x="1465" y="916"/>
                </a:cubicBezTo>
                <a:cubicBezTo>
                  <a:pt x="1342" y="916"/>
                  <a:pt x="1241" y="1017"/>
                  <a:pt x="1241" y="1140"/>
                </a:cubicBezTo>
                <a:cubicBezTo>
                  <a:pt x="1241" y="1178"/>
                  <a:pt x="1210" y="1209"/>
                  <a:pt x="1173" y="1209"/>
                </a:cubicBezTo>
                <a:cubicBezTo>
                  <a:pt x="1135" y="1209"/>
                  <a:pt x="1104" y="1178"/>
                  <a:pt x="1104" y="1140"/>
                </a:cubicBezTo>
                <a:cubicBezTo>
                  <a:pt x="1104" y="941"/>
                  <a:pt x="1266" y="779"/>
                  <a:pt x="1465" y="779"/>
                </a:cubicBezTo>
                <a:cubicBezTo>
                  <a:pt x="1664" y="779"/>
                  <a:pt x="1826" y="941"/>
                  <a:pt x="1826" y="1140"/>
                </a:cubicBezTo>
                <a:cubicBezTo>
                  <a:pt x="1826" y="1339"/>
                  <a:pt x="1664" y="1501"/>
                  <a:pt x="1465" y="1501"/>
                </a:cubicBezTo>
                <a:lnTo>
                  <a:pt x="636" y="1501"/>
                </a:lnTo>
                <a:cubicBezTo>
                  <a:pt x="598" y="1501"/>
                  <a:pt x="568" y="1470"/>
                  <a:pt x="568" y="1432"/>
                </a:cubicBezTo>
                <a:cubicBezTo>
                  <a:pt x="568" y="1395"/>
                  <a:pt x="598" y="1364"/>
                  <a:pt x="636" y="1364"/>
                </a:cubicBezTo>
                <a:lnTo>
                  <a:pt x="636" y="1364"/>
                </a:lnTo>
                <a:close/>
                <a:moveTo>
                  <a:pt x="1722" y="0"/>
                </a:moveTo>
                <a:lnTo>
                  <a:pt x="1722" y="0"/>
                </a:lnTo>
                <a:cubicBezTo>
                  <a:pt x="767" y="0"/>
                  <a:pt x="0" y="767"/>
                  <a:pt x="0" y="1722"/>
                </a:cubicBezTo>
                <a:cubicBezTo>
                  <a:pt x="0" y="2670"/>
                  <a:pt x="767" y="3445"/>
                  <a:pt x="1722" y="3445"/>
                </a:cubicBezTo>
                <a:cubicBezTo>
                  <a:pt x="2670" y="3445"/>
                  <a:pt x="3444" y="2670"/>
                  <a:pt x="3444" y="1722"/>
                </a:cubicBezTo>
                <a:cubicBezTo>
                  <a:pt x="3444" y="767"/>
                  <a:pt x="2670" y="0"/>
                  <a:pt x="1722" y="0"/>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TextBox 252">
            <a:extLst>
              <a:ext uri="{FF2B5EF4-FFF2-40B4-BE49-F238E27FC236}">
                <a16:creationId xmlns:a16="http://schemas.microsoft.com/office/drawing/2014/main" id="{D8D47067-C57A-4AB3-8F8E-C835E59A1B05}"/>
              </a:ext>
            </a:extLst>
          </p:cNvPr>
          <p:cNvSpPr txBox="1"/>
          <p:nvPr/>
        </p:nvSpPr>
        <p:spPr>
          <a:xfrm>
            <a:off x="6556891" y="373901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Wind</a:t>
            </a:r>
          </a:p>
        </p:txBody>
      </p:sp>
    </p:spTree>
    <p:extLst>
      <p:ext uri="{BB962C8B-B14F-4D97-AF65-F5344CB8AC3E}">
        <p14:creationId xmlns:p14="http://schemas.microsoft.com/office/powerpoint/2010/main" val="7373632"/>
      </p:ext>
    </p:extLst>
  </p:cSld>
  <p:clrMapOvr>
    <a:masterClrMapping/>
  </p:clrMapOvr>
  <p:transition>
    <p:fade/>
  </p:transition>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Media/technology</a:t>
            </a:r>
          </a:p>
        </p:txBody>
      </p:sp>
      <p:sp>
        <p:nvSpPr>
          <p:cNvPr id="4" name="Title 3"/>
          <p:cNvSpPr>
            <a:spLocks noGrp="1"/>
          </p:cNvSpPr>
          <p:nvPr>
            <p:ph type="title"/>
          </p:nvPr>
        </p:nvSpPr>
        <p:spPr/>
        <p:txBody>
          <a:bodyPr/>
          <a:lstStyle/>
          <a:p>
            <a:r>
              <a:rPr lang="en-GB" dirty="0"/>
              <a:t>Iconography</a:t>
            </a:r>
          </a:p>
        </p:txBody>
      </p:sp>
      <p:sp>
        <p:nvSpPr>
          <p:cNvPr id="435" name="TextBox 434">
            <a:extLst>
              <a:ext uri="{FF2B5EF4-FFF2-40B4-BE49-F238E27FC236}">
                <a16:creationId xmlns:a16="http://schemas.microsoft.com/office/drawing/2014/main" id="{44AB52F8-E313-47EC-BAC7-D51289D4D2A6}"/>
              </a:ext>
            </a:extLst>
          </p:cNvPr>
          <p:cNvSpPr txBox="1"/>
          <p:nvPr/>
        </p:nvSpPr>
        <p:spPr>
          <a:xfrm>
            <a:off x="464676" y="211430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ifi</a:t>
            </a:r>
          </a:p>
        </p:txBody>
      </p:sp>
      <p:sp>
        <p:nvSpPr>
          <p:cNvPr id="436" name="TextBox 435">
            <a:extLst>
              <a:ext uri="{FF2B5EF4-FFF2-40B4-BE49-F238E27FC236}">
                <a16:creationId xmlns:a16="http://schemas.microsoft.com/office/drawing/2014/main" id="{900A7B70-AB4B-4A82-97D8-5FBE931102E1}"/>
              </a:ext>
            </a:extLst>
          </p:cNvPr>
          <p:cNvSpPr txBox="1"/>
          <p:nvPr/>
        </p:nvSpPr>
        <p:spPr>
          <a:xfrm>
            <a:off x="1324927" y="2114306"/>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Video</a:t>
            </a:r>
          </a:p>
        </p:txBody>
      </p:sp>
      <p:sp>
        <p:nvSpPr>
          <p:cNvPr id="437" name="TextBox 436">
            <a:extLst>
              <a:ext uri="{FF2B5EF4-FFF2-40B4-BE49-F238E27FC236}">
                <a16:creationId xmlns:a16="http://schemas.microsoft.com/office/drawing/2014/main" id="{28767485-AF82-4724-BE96-9C6568F61198}"/>
              </a:ext>
            </a:extLst>
          </p:cNvPr>
          <p:cNvSpPr txBox="1"/>
          <p:nvPr/>
        </p:nvSpPr>
        <p:spPr>
          <a:xfrm>
            <a:off x="2199995"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elevision</a:t>
            </a:r>
          </a:p>
        </p:txBody>
      </p:sp>
      <p:sp>
        <p:nvSpPr>
          <p:cNvPr id="438" name="TextBox 437">
            <a:extLst>
              <a:ext uri="{FF2B5EF4-FFF2-40B4-BE49-F238E27FC236}">
                <a16:creationId xmlns:a16="http://schemas.microsoft.com/office/drawing/2014/main" id="{0F4592C5-101A-4642-BA33-0BFBD80332A2}"/>
              </a:ext>
            </a:extLst>
          </p:cNvPr>
          <p:cNvSpPr txBox="1"/>
          <p:nvPr/>
        </p:nvSpPr>
        <p:spPr>
          <a:xfrm>
            <a:off x="3943781"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lider</a:t>
            </a:r>
          </a:p>
        </p:txBody>
      </p:sp>
      <p:sp>
        <p:nvSpPr>
          <p:cNvPr id="439" name="TextBox 438">
            <a:extLst>
              <a:ext uri="{FF2B5EF4-FFF2-40B4-BE49-F238E27FC236}">
                <a16:creationId xmlns:a16="http://schemas.microsoft.com/office/drawing/2014/main" id="{30F79A9A-225F-4CAA-828D-500B45FA3FFB}"/>
              </a:ext>
            </a:extLst>
          </p:cNvPr>
          <p:cNvSpPr txBox="1"/>
          <p:nvPr/>
        </p:nvSpPr>
        <p:spPr>
          <a:xfrm>
            <a:off x="4815674"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hone</a:t>
            </a:r>
          </a:p>
        </p:txBody>
      </p:sp>
      <p:sp>
        <p:nvSpPr>
          <p:cNvPr id="440" name="TextBox 439">
            <a:extLst>
              <a:ext uri="{FF2B5EF4-FFF2-40B4-BE49-F238E27FC236}">
                <a16:creationId xmlns:a16="http://schemas.microsoft.com/office/drawing/2014/main" id="{4DF99B17-5580-4391-B854-FBA8E8C958AE}"/>
              </a:ext>
            </a:extLst>
          </p:cNvPr>
          <p:cNvSpPr txBox="1"/>
          <p:nvPr/>
        </p:nvSpPr>
        <p:spPr>
          <a:xfrm>
            <a:off x="3071888"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ablet</a:t>
            </a:r>
          </a:p>
        </p:txBody>
      </p:sp>
      <p:sp>
        <p:nvSpPr>
          <p:cNvPr id="441" name="TextBox 440">
            <a:extLst>
              <a:ext uri="{FF2B5EF4-FFF2-40B4-BE49-F238E27FC236}">
                <a16:creationId xmlns:a16="http://schemas.microsoft.com/office/drawing/2014/main" id="{A8303448-B74D-4895-B560-6F3DB423F414}"/>
              </a:ext>
            </a:extLst>
          </p:cNvPr>
          <p:cNvSpPr txBox="1"/>
          <p:nvPr/>
        </p:nvSpPr>
        <p:spPr>
          <a:xfrm>
            <a:off x="5687567"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adphones</a:t>
            </a:r>
          </a:p>
        </p:txBody>
      </p:sp>
      <p:sp>
        <p:nvSpPr>
          <p:cNvPr id="442" name="TextBox 441">
            <a:extLst>
              <a:ext uri="{FF2B5EF4-FFF2-40B4-BE49-F238E27FC236}">
                <a16:creationId xmlns:a16="http://schemas.microsoft.com/office/drawing/2014/main" id="{FDE9C6DA-E0E3-4F72-8F0A-91E3F8C7CE33}"/>
              </a:ext>
            </a:extLst>
          </p:cNvPr>
          <p:cNvSpPr txBox="1"/>
          <p:nvPr/>
        </p:nvSpPr>
        <p:spPr>
          <a:xfrm>
            <a:off x="8303246"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oadcast</a:t>
            </a:r>
          </a:p>
        </p:txBody>
      </p:sp>
      <p:sp>
        <p:nvSpPr>
          <p:cNvPr id="443" name="TextBox 442">
            <a:extLst>
              <a:ext uri="{FF2B5EF4-FFF2-40B4-BE49-F238E27FC236}">
                <a16:creationId xmlns:a16="http://schemas.microsoft.com/office/drawing/2014/main" id="{820CE5A7-B6F5-4A01-BB1E-54B6562D1C13}"/>
              </a:ext>
            </a:extLst>
          </p:cNvPr>
          <p:cNvSpPr txBox="1"/>
          <p:nvPr/>
        </p:nvSpPr>
        <p:spPr>
          <a:xfrm>
            <a:off x="7431353"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udio waves</a:t>
            </a:r>
          </a:p>
        </p:txBody>
      </p:sp>
      <p:sp>
        <p:nvSpPr>
          <p:cNvPr id="444" name="TextBox 443">
            <a:extLst>
              <a:ext uri="{FF2B5EF4-FFF2-40B4-BE49-F238E27FC236}">
                <a16:creationId xmlns:a16="http://schemas.microsoft.com/office/drawing/2014/main" id="{FB9B22C6-45A3-4A29-B5BC-DB62C685D62A}"/>
              </a:ext>
            </a:extLst>
          </p:cNvPr>
          <p:cNvSpPr txBox="1"/>
          <p:nvPr/>
        </p:nvSpPr>
        <p:spPr>
          <a:xfrm>
            <a:off x="6559460"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udio</a:t>
            </a:r>
          </a:p>
        </p:txBody>
      </p:sp>
      <p:sp>
        <p:nvSpPr>
          <p:cNvPr id="445" name="TextBox 444">
            <a:extLst>
              <a:ext uri="{FF2B5EF4-FFF2-40B4-BE49-F238E27FC236}">
                <a16:creationId xmlns:a16="http://schemas.microsoft.com/office/drawing/2014/main" id="{03BCFBE5-46DA-423E-B6E3-F87FB3237406}"/>
              </a:ext>
            </a:extLst>
          </p:cNvPr>
          <p:cNvSpPr txBox="1"/>
          <p:nvPr/>
        </p:nvSpPr>
        <p:spPr>
          <a:xfrm>
            <a:off x="9175139" y="211430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lapper board</a:t>
            </a:r>
          </a:p>
        </p:txBody>
      </p:sp>
      <p:sp>
        <p:nvSpPr>
          <p:cNvPr id="446" name="TextBox 445">
            <a:extLst>
              <a:ext uri="{FF2B5EF4-FFF2-40B4-BE49-F238E27FC236}">
                <a16:creationId xmlns:a16="http://schemas.microsoft.com/office/drawing/2014/main" id="{8C30F918-285C-4D62-A465-87B9D2BC2AC8}"/>
              </a:ext>
            </a:extLst>
          </p:cNvPr>
          <p:cNvSpPr txBox="1"/>
          <p:nvPr/>
        </p:nvSpPr>
        <p:spPr>
          <a:xfrm>
            <a:off x="10035390" y="2114306"/>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Virtual reality</a:t>
            </a:r>
          </a:p>
        </p:txBody>
      </p:sp>
      <p:sp>
        <p:nvSpPr>
          <p:cNvPr id="447" name="TextBox 446">
            <a:extLst>
              <a:ext uri="{FF2B5EF4-FFF2-40B4-BE49-F238E27FC236}">
                <a16:creationId xmlns:a16="http://schemas.microsoft.com/office/drawing/2014/main" id="{098D091B-6C7E-4534-B28C-4BB5BEC2A7CE}"/>
              </a:ext>
            </a:extLst>
          </p:cNvPr>
          <p:cNvSpPr txBox="1"/>
          <p:nvPr/>
        </p:nvSpPr>
        <p:spPr>
          <a:xfrm>
            <a:off x="10910459" y="21143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mart watch</a:t>
            </a:r>
          </a:p>
        </p:txBody>
      </p:sp>
      <p:sp>
        <p:nvSpPr>
          <p:cNvPr id="448" name="TextBox 447">
            <a:extLst>
              <a:ext uri="{FF2B5EF4-FFF2-40B4-BE49-F238E27FC236}">
                <a16:creationId xmlns:a16="http://schemas.microsoft.com/office/drawing/2014/main" id="{CBB434DB-E3F6-472E-9D8E-0795B1FECD01}"/>
              </a:ext>
            </a:extLst>
          </p:cNvPr>
          <p:cNvSpPr txBox="1"/>
          <p:nvPr/>
        </p:nvSpPr>
        <p:spPr>
          <a:xfrm>
            <a:off x="1317422"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bile</a:t>
            </a:r>
          </a:p>
        </p:txBody>
      </p:sp>
      <p:sp>
        <p:nvSpPr>
          <p:cNvPr id="449" name="TextBox 448">
            <a:extLst>
              <a:ext uri="{FF2B5EF4-FFF2-40B4-BE49-F238E27FC236}">
                <a16:creationId xmlns:a16="http://schemas.microsoft.com/office/drawing/2014/main" id="{23E962F2-2C2D-4FD8-8EA4-D90D4FD178A4}"/>
              </a:ext>
            </a:extLst>
          </p:cNvPr>
          <p:cNvSpPr txBox="1"/>
          <p:nvPr/>
        </p:nvSpPr>
        <p:spPr>
          <a:xfrm>
            <a:off x="2188545"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aptop</a:t>
            </a:r>
          </a:p>
        </p:txBody>
      </p:sp>
      <p:sp>
        <p:nvSpPr>
          <p:cNvPr id="450" name="TextBox 449">
            <a:extLst>
              <a:ext uri="{FF2B5EF4-FFF2-40B4-BE49-F238E27FC236}">
                <a16:creationId xmlns:a16="http://schemas.microsoft.com/office/drawing/2014/main" id="{196AA8BE-9AE8-4E17-A6DA-0205AEBE662A}"/>
              </a:ext>
            </a:extLst>
          </p:cNvPr>
          <p:cNvSpPr txBox="1"/>
          <p:nvPr/>
        </p:nvSpPr>
        <p:spPr>
          <a:xfrm>
            <a:off x="446299"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adset</a:t>
            </a:r>
          </a:p>
        </p:txBody>
      </p:sp>
      <p:sp>
        <p:nvSpPr>
          <p:cNvPr id="451" name="TextBox 450">
            <a:extLst>
              <a:ext uri="{FF2B5EF4-FFF2-40B4-BE49-F238E27FC236}">
                <a16:creationId xmlns:a16="http://schemas.microsoft.com/office/drawing/2014/main" id="{EBD1CE58-00B6-4522-8CCE-0B2D649D6EB9}"/>
              </a:ext>
            </a:extLst>
          </p:cNvPr>
          <p:cNvSpPr txBox="1"/>
          <p:nvPr/>
        </p:nvSpPr>
        <p:spPr>
          <a:xfrm>
            <a:off x="3059668"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vie reel</a:t>
            </a:r>
          </a:p>
        </p:txBody>
      </p:sp>
      <p:sp>
        <p:nvSpPr>
          <p:cNvPr id="452" name="TextBox 451">
            <a:extLst>
              <a:ext uri="{FF2B5EF4-FFF2-40B4-BE49-F238E27FC236}">
                <a16:creationId xmlns:a16="http://schemas.microsoft.com/office/drawing/2014/main" id="{8A708577-F557-4EB8-AA43-A2FAD67B1F69}"/>
              </a:ext>
            </a:extLst>
          </p:cNvPr>
          <p:cNvSpPr txBox="1"/>
          <p:nvPr/>
        </p:nvSpPr>
        <p:spPr>
          <a:xfrm>
            <a:off x="5673037"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evices</a:t>
            </a:r>
          </a:p>
        </p:txBody>
      </p:sp>
      <p:sp>
        <p:nvSpPr>
          <p:cNvPr id="453" name="TextBox 452">
            <a:extLst>
              <a:ext uri="{FF2B5EF4-FFF2-40B4-BE49-F238E27FC236}">
                <a16:creationId xmlns:a16="http://schemas.microsoft.com/office/drawing/2014/main" id="{B00C3CA0-ADFD-47DC-9C86-10C1CAE0ED5B}"/>
              </a:ext>
            </a:extLst>
          </p:cNvPr>
          <p:cNvSpPr txBox="1"/>
          <p:nvPr/>
        </p:nvSpPr>
        <p:spPr>
          <a:xfrm>
            <a:off x="4801914"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aker</a:t>
            </a:r>
          </a:p>
        </p:txBody>
      </p:sp>
      <p:sp>
        <p:nvSpPr>
          <p:cNvPr id="454" name="TextBox 453">
            <a:extLst>
              <a:ext uri="{FF2B5EF4-FFF2-40B4-BE49-F238E27FC236}">
                <a16:creationId xmlns:a16="http://schemas.microsoft.com/office/drawing/2014/main" id="{B31C91CD-AD8B-49C3-A804-02E58E1E66FE}"/>
              </a:ext>
            </a:extLst>
          </p:cNvPr>
          <p:cNvSpPr txBox="1"/>
          <p:nvPr/>
        </p:nvSpPr>
        <p:spPr>
          <a:xfrm>
            <a:off x="3930791"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mera</a:t>
            </a:r>
          </a:p>
        </p:txBody>
      </p:sp>
      <p:sp>
        <p:nvSpPr>
          <p:cNvPr id="455" name="TextBox 454">
            <a:extLst>
              <a:ext uri="{FF2B5EF4-FFF2-40B4-BE49-F238E27FC236}">
                <a16:creationId xmlns:a16="http://schemas.microsoft.com/office/drawing/2014/main" id="{D8851F2C-2C14-460B-924B-25C83E2E46EF}"/>
              </a:ext>
            </a:extLst>
          </p:cNvPr>
          <p:cNvSpPr txBox="1"/>
          <p:nvPr/>
        </p:nvSpPr>
        <p:spPr>
          <a:xfrm>
            <a:off x="6544160" y="2966412"/>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luetooth</a:t>
            </a:r>
          </a:p>
        </p:txBody>
      </p:sp>
      <p:sp>
        <p:nvSpPr>
          <p:cNvPr id="456" name="TextBox 455">
            <a:extLst>
              <a:ext uri="{FF2B5EF4-FFF2-40B4-BE49-F238E27FC236}">
                <a16:creationId xmlns:a16="http://schemas.microsoft.com/office/drawing/2014/main" id="{613F21EA-6459-440F-8032-C4CF2014895E}"/>
              </a:ext>
            </a:extLst>
          </p:cNvPr>
          <p:cNvSpPr txBox="1"/>
          <p:nvPr/>
        </p:nvSpPr>
        <p:spPr>
          <a:xfrm>
            <a:off x="7403641" y="2966412"/>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SB</a:t>
            </a:r>
          </a:p>
        </p:txBody>
      </p:sp>
      <p:sp>
        <p:nvSpPr>
          <p:cNvPr id="457" name="TextBox 456">
            <a:extLst>
              <a:ext uri="{FF2B5EF4-FFF2-40B4-BE49-F238E27FC236}">
                <a16:creationId xmlns:a16="http://schemas.microsoft.com/office/drawing/2014/main" id="{97AC7A0B-1AF3-4710-982E-7D2EC3A119E2}"/>
              </a:ext>
            </a:extLst>
          </p:cNvPr>
          <p:cNvSpPr txBox="1"/>
          <p:nvPr/>
        </p:nvSpPr>
        <p:spPr>
          <a:xfrm>
            <a:off x="8277939" y="2966412"/>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ack overflow</a:t>
            </a:r>
          </a:p>
        </p:txBody>
      </p:sp>
      <p:sp>
        <p:nvSpPr>
          <p:cNvPr id="458" name="TextBox 457">
            <a:extLst>
              <a:ext uri="{FF2B5EF4-FFF2-40B4-BE49-F238E27FC236}">
                <a16:creationId xmlns:a16="http://schemas.microsoft.com/office/drawing/2014/main" id="{B0C89A72-128F-4D5A-9A83-5033E73DE85D}"/>
              </a:ext>
            </a:extLst>
          </p:cNvPr>
          <p:cNvSpPr txBox="1"/>
          <p:nvPr/>
        </p:nvSpPr>
        <p:spPr>
          <a:xfrm>
            <a:off x="10020185"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dcast</a:t>
            </a:r>
          </a:p>
        </p:txBody>
      </p:sp>
      <p:sp>
        <p:nvSpPr>
          <p:cNvPr id="459" name="TextBox 458">
            <a:extLst>
              <a:ext uri="{FF2B5EF4-FFF2-40B4-BE49-F238E27FC236}">
                <a16:creationId xmlns:a16="http://schemas.microsoft.com/office/drawing/2014/main" id="{9CE3277A-6338-4771-BA88-0552501B3C1A}"/>
              </a:ext>
            </a:extLst>
          </p:cNvPr>
          <p:cNvSpPr txBox="1"/>
          <p:nvPr/>
        </p:nvSpPr>
        <p:spPr>
          <a:xfrm>
            <a:off x="10891308" y="296641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adio</a:t>
            </a:r>
          </a:p>
        </p:txBody>
      </p:sp>
      <p:sp>
        <p:nvSpPr>
          <p:cNvPr id="460" name="TextBox 459">
            <a:extLst>
              <a:ext uri="{FF2B5EF4-FFF2-40B4-BE49-F238E27FC236}">
                <a16:creationId xmlns:a16="http://schemas.microsoft.com/office/drawing/2014/main" id="{0137D92D-7B6A-4FA6-96BE-0C447E4A9694}"/>
              </a:ext>
            </a:extLst>
          </p:cNvPr>
          <p:cNvSpPr txBox="1"/>
          <p:nvPr/>
        </p:nvSpPr>
        <p:spPr>
          <a:xfrm>
            <a:off x="9149062" y="2966412"/>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pload to Cloud</a:t>
            </a:r>
          </a:p>
        </p:txBody>
      </p:sp>
      <p:sp>
        <p:nvSpPr>
          <p:cNvPr id="461" name="TextBox 460">
            <a:extLst>
              <a:ext uri="{FF2B5EF4-FFF2-40B4-BE49-F238E27FC236}">
                <a16:creationId xmlns:a16="http://schemas.microsoft.com/office/drawing/2014/main" id="{E9763C82-B98C-47AD-91D4-D7672CE4ECA6}"/>
              </a:ext>
            </a:extLst>
          </p:cNvPr>
          <p:cNvSpPr txBox="1"/>
          <p:nvPr/>
        </p:nvSpPr>
        <p:spPr>
          <a:xfrm>
            <a:off x="446299"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tellite dish</a:t>
            </a:r>
          </a:p>
        </p:txBody>
      </p:sp>
      <p:sp>
        <p:nvSpPr>
          <p:cNvPr id="462" name="TextBox 461">
            <a:extLst>
              <a:ext uri="{FF2B5EF4-FFF2-40B4-BE49-F238E27FC236}">
                <a16:creationId xmlns:a16="http://schemas.microsoft.com/office/drawing/2014/main" id="{CB2F92E9-A916-460E-8E03-961CB8C2C091}"/>
              </a:ext>
            </a:extLst>
          </p:cNvPr>
          <p:cNvSpPr txBox="1"/>
          <p:nvPr/>
        </p:nvSpPr>
        <p:spPr>
          <a:xfrm>
            <a:off x="3064456"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istory</a:t>
            </a:r>
          </a:p>
        </p:txBody>
      </p:sp>
      <p:sp>
        <p:nvSpPr>
          <p:cNvPr id="463" name="TextBox 462">
            <a:extLst>
              <a:ext uri="{FF2B5EF4-FFF2-40B4-BE49-F238E27FC236}">
                <a16:creationId xmlns:a16="http://schemas.microsoft.com/office/drawing/2014/main" id="{C0C90776-A885-46CD-905B-30411F26A637}"/>
              </a:ext>
            </a:extLst>
          </p:cNvPr>
          <p:cNvSpPr txBox="1"/>
          <p:nvPr/>
        </p:nvSpPr>
        <p:spPr>
          <a:xfrm>
            <a:off x="2191737"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QR Code</a:t>
            </a:r>
          </a:p>
        </p:txBody>
      </p:sp>
      <p:sp>
        <p:nvSpPr>
          <p:cNvPr id="464" name="TextBox 463">
            <a:extLst>
              <a:ext uri="{FF2B5EF4-FFF2-40B4-BE49-F238E27FC236}">
                <a16:creationId xmlns:a16="http://schemas.microsoft.com/office/drawing/2014/main" id="{BBE33BA3-8531-4B86-A620-8C4FB8F9697E}"/>
              </a:ext>
            </a:extLst>
          </p:cNvPr>
          <p:cNvSpPr txBox="1"/>
          <p:nvPr/>
        </p:nvSpPr>
        <p:spPr>
          <a:xfrm>
            <a:off x="1319018"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tellite</a:t>
            </a:r>
          </a:p>
        </p:txBody>
      </p:sp>
      <p:grpSp>
        <p:nvGrpSpPr>
          <p:cNvPr id="465" name="Group 872">
            <a:extLst>
              <a:ext uri="{FF2B5EF4-FFF2-40B4-BE49-F238E27FC236}">
                <a16:creationId xmlns:a16="http://schemas.microsoft.com/office/drawing/2014/main" id="{A7400E58-4A6B-4E8B-B54D-03FE598D7194}"/>
              </a:ext>
            </a:extLst>
          </p:cNvPr>
          <p:cNvGrpSpPr>
            <a:grpSpLocks noChangeAspect="1"/>
          </p:cNvGrpSpPr>
          <p:nvPr/>
        </p:nvGrpSpPr>
        <p:grpSpPr bwMode="auto">
          <a:xfrm>
            <a:off x="921543" y="1697119"/>
            <a:ext cx="370763" cy="369676"/>
            <a:chOff x="2723" y="3051"/>
            <a:chExt cx="341" cy="340"/>
          </a:xfrm>
          <a:solidFill>
            <a:schemeClr val="accent3"/>
          </a:solidFill>
        </p:grpSpPr>
        <p:sp>
          <p:nvSpPr>
            <p:cNvPr id="466" name="Freeform 873">
              <a:extLst>
                <a:ext uri="{FF2B5EF4-FFF2-40B4-BE49-F238E27FC236}">
                  <a16:creationId xmlns:a16="http://schemas.microsoft.com/office/drawing/2014/main" id="{2B0B554F-0727-4690-A0AC-828468CB3966}"/>
                </a:ext>
              </a:extLst>
            </p:cNvPr>
            <p:cNvSpPr>
              <a:spLocks noEditPoints="1"/>
            </p:cNvSpPr>
            <p:nvPr/>
          </p:nvSpPr>
          <p:spPr bwMode="auto">
            <a:xfrm>
              <a:off x="2723" y="305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7" name="Freeform 874">
              <a:extLst>
                <a:ext uri="{FF2B5EF4-FFF2-40B4-BE49-F238E27FC236}">
                  <a16:creationId xmlns:a16="http://schemas.microsoft.com/office/drawing/2014/main" id="{E56441FC-187E-42B7-A538-64913142BA79}"/>
                </a:ext>
              </a:extLst>
            </p:cNvPr>
            <p:cNvSpPr>
              <a:spLocks noEditPoints="1"/>
            </p:cNvSpPr>
            <p:nvPr/>
          </p:nvSpPr>
          <p:spPr bwMode="auto">
            <a:xfrm>
              <a:off x="2786" y="3143"/>
              <a:ext cx="215" cy="170"/>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8" name="Freeform 878">
            <a:extLst>
              <a:ext uri="{FF2B5EF4-FFF2-40B4-BE49-F238E27FC236}">
                <a16:creationId xmlns:a16="http://schemas.microsoft.com/office/drawing/2014/main" id="{E91DEDFA-85B7-4245-9BB4-F9F1942A6E6B}"/>
              </a:ext>
            </a:extLst>
          </p:cNvPr>
          <p:cNvSpPr>
            <a:spLocks noChangeAspect="1" noEditPoints="1"/>
          </p:cNvSpPr>
          <p:nvPr/>
        </p:nvSpPr>
        <p:spPr bwMode="auto">
          <a:xfrm>
            <a:off x="485942" y="1697119"/>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94 h 512"/>
              <a:gd name="T12" fmla="*/ 234 w 512"/>
              <a:gd name="T13" fmla="*/ 373 h 512"/>
              <a:gd name="T14" fmla="*/ 256 w 512"/>
              <a:gd name="T15" fmla="*/ 352 h 512"/>
              <a:gd name="T16" fmla="*/ 277 w 512"/>
              <a:gd name="T17" fmla="*/ 373 h 512"/>
              <a:gd name="T18" fmla="*/ 256 w 512"/>
              <a:gd name="T19" fmla="*/ 394 h 512"/>
              <a:gd name="T20" fmla="*/ 317 w 512"/>
              <a:gd name="T21" fmla="*/ 327 h 512"/>
              <a:gd name="T22" fmla="*/ 301 w 512"/>
              <a:gd name="T23" fmla="*/ 327 h 512"/>
              <a:gd name="T24" fmla="*/ 256 w 512"/>
              <a:gd name="T25" fmla="*/ 309 h 512"/>
              <a:gd name="T26" fmla="*/ 210 w 512"/>
              <a:gd name="T27" fmla="*/ 327 h 512"/>
              <a:gd name="T28" fmla="*/ 202 w 512"/>
              <a:gd name="T29" fmla="*/ 330 h 512"/>
              <a:gd name="T30" fmla="*/ 195 w 512"/>
              <a:gd name="T31" fmla="*/ 327 h 512"/>
              <a:gd name="T32" fmla="*/ 195 w 512"/>
              <a:gd name="T33" fmla="*/ 312 h 512"/>
              <a:gd name="T34" fmla="*/ 256 w 512"/>
              <a:gd name="T35" fmla="*/ 288 h 512"/>
              <a:gd name="T36" fmla="*/ 317 w 512"/>
              <a:gd name="T37" fmla="*/ 312 h 512"/>
              <a:gd name="T38" fmla="*/ 317 w 512"/>
              <a:gd name="T39" fmla="*/ 327 h 512"/>
              <a:gd name="T40" fmla="*/ 370 w 512"/>
              <a:gd name="T41" fmla="*/ 274 h 512"/>
              <a:gd name="T42" fmla="*/ 355 w 512"/>
              <a:gd name="T43" fmla="*/ 274 h 512"/>
              <a:gd name="T44" fmla="*/ 256 w 512"/>
              <a:gd name="T45" fmla="*/ 234 h 512"/>
              <a:gd name="T46" fmla="*/ 167 w 512"/>
              <a:gd name="T47" fmla="*/ 274 h 512"/>
              <a:gd name="T48" fmla="*/ 160 w 512"/>
              <a:gd name="T49" fmla="*/ 277 h 512"/>
              <a:gd name="T50" fmla="*/ 152 w 512"/>
              <a:gd name="T51" fmla="*/ 274 h 512"/>
              <a:gd name="T52" fmla="*/ 152 w 512"/>
              <a:gd name="T53" fmla="*/ 259 h 512"/>
              <a:gd name="T54" fmla="*/ 256 w 512"/>
              <a:gd name="T55" fmla="*/ 213 h 512"/>
              <a:gd name="T56" fmla="*/ 370 w 512"/>
              <a:gd name="T57" fmla="*/ 259 h 512"/>
              <a:gd name="T58" fmla="*/ 370 w 512"/>
              <a:gd name="T59" fmla="*/ 274 h 512"/>
              <a:gd name="T60" fmla="*/ 413 w 512"/>
              <a:gd name="T61" fmla="*/ 221 h 512"/>
              <a:gd name="T62" fmla="*/ 405 w 512"/>
              <a:gd name="T63" fmla="*/ 224 h 512"/>
              <a:gd name="T64" fmla="*/ 397 w 512"/>
              <a:gd name="T65" fmla="*/ 221 h 512"/>
              <a:gd name="T66" fmla="*/ 256 w 512"/>
              <a:gd name="T67" fmla="*/ 160 h 512"/>
              <a:gd name="T68" fmla="*/ 114 w 512"/>
              <a:gd name="T69" fmla="*/ 221 h 512"/>
              <a:gd name="T70" fmla="*/ 99 w 512"/>
              <a:gd name="T71" fmla="*/ 221 h 512"/>
              <a:gd name="T72" fmla="*/ 99 w 512"/>
              <a:gd name="T73" fmla="*/ 205 h 512"/>
              <a:gd name="T74" fmla="*/ 256 w 512"/>
              <a:gd name="T75" fmla="*/ 138 h 512"/>
              <a:gd name="T76" fmla="*/ 413 w 512"/>
              <a:gd name="T77" fmla="*/ 205 h 512"/>
              <a:gd name="T78" fmla="*/ 413 w 512"/>
              <a:gd name="T7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94"/>
                </a:moveTo>
                <a:cubicBezTo>
                  <a:pt x="244" y="394"/>
                  <a:pt x="234" y="385"/>
                  <a:pt x="234" y="373"/>
                </a:cubicBezTo>
                <a:cubicBezTo>
                  <a:pt x="234" y="361"/>
                  <a:pt x="244" y="352"/>
                  <a:pt x="256" y="352"/>
                </a:cubicBezTo>
                <a:cubicBezTo>
                  <a:pt x="267" y="352"/>
                  <a:pt x="277" y="361"/>
                  <a:pt x="277" y="373"/>
                </a:cubicBezTo>
                <a:cubicBezTo>
                  <a:pt x="277" y="385"/>
                  <a:pt x="267" y="394"/>
                  <a:pt x="256" y="394"/>
                </a:cubicBezTo>
                <a:close/>
                <a:moveTo>
                  <a:pt x="317" y="327"/>
                </a:moveTo>
                <a:cubicBezTo>
                  <a:pt x="312" y="331"/>
                  <a:pt x="306" y="331"/>
                  <a:pt x="301" y="327"/>
                </a:cubicBezTo>
                <a:cubicBezTo>
                  <a:pt x="290" y="316"/>
                  <a:pt x="273" y="309"/>
                  <a:pt x="256" y="309"/>
                </a:cubicBezTo>
                <a:cubicBezTo>
                  <a:pt x="239" y="309"/>
                  <a:pt x="221" y="316"/>
                  <a:pt x="210" y="327"/>
                </a:cubicBezTo>
                <a:cubicBezTo>
                  <a:pt x="208" y="329"/>
                  <a:pt x="205" y="330"/>
                  <a:pt x="202" y="330"/>
                </a:cubicBezTo>
                <a:cubicBezTo>
                  <a:pt x="200" y="330"/>
                  <a:pt x="197" y="329"/>
                  <a:pt x="195" y="327"/>
                </a:cubicBezTo>
                <a:cubicBezTo>
                  <a:pt x="191" y="323"/>
                  <a:pt x="191" y="316"/>
                  <a:pt x="195" y="312"/>
                </a:cubicBezTo>
                <a:cubicBezTo>
                  <a:pt x="210" y="297"/>
                  <a:pt x="233" y="288"/>
                  <a:pt x="256" y="288"/>
                </a:cubicBezTo>
                <a:cubicBezTo>
                  <a:pt x="278" y="288"/>
                  <a:pt x="301" y="297"/>
                  <a:pt x="317" y="312"/>
                </a:cubicBezTo>
                <a:cubicBezTo>
                  <a:pt x="321" y="316"/>
                  <a:pt x="321" y="323"/>
                  <a:pt x="317" y="327"/>
                </a:cubicBezTo>
                <a:close/>
                <a:moveTo>
                  <a:pt x="370" y="274"/>
                </a:moveTo>
                <a:cubicBezTo>
                  <a:pt x="366" y="278"/>
                  <a:pt x="359" y="278"/>
                  <a:pt x="355" y="274"/>
                </a:cubicBezTo>
                <a:cubicBezTo>
                  <a:pt x="330" y="249"/>
                  <a:pt x="292" y="234"/>
                  <a:pt x="256" y="234"/>
                </a:cubicBezTo>
                <a:cubicBezTo>
                  <a:pt x="222" y="234"/>
                  <a:pt x="194" y="247"/>
                  <a:pt x="167" y="274"/>
                </a:cubicBezTo>
                <a:cubicBezTo>
                  <a:pt x="165" y="276"/>
                  <a:pt x="162" y="277"/>
                  <a:pt x="160" y="277"/>
                </a:cubicBezTo>
                <a:cubicBezTo>
                  <a:pt x="157" y="277"/>
                  <a:pt x="154" y="276"/>
                  <a:pt x="152" y="274"/>
                </a:cubicBezTo>
                <a:cubicBezTo>
                  <a:pt x="148" y="270"/>
                  <a:pt x="148" y="263"/>
                  <a:pt x="152" y="259"/>
                </a:cubicBezTo>
                <a:cubicBezTo>
                  <a:pt x="183" y="228"/>
                  <a:pt x="216" y="213"/>
                  <a:pt x="256" y="213"/>
                </a:cubicBezTo>
                <a:cubicBezTo>
                  <a:pt x="298" y="213"/>
                  <a:pt x="342" y="231"/>
                  <a:pt x="370" y="259"/>
                </a:cubicBezTo>
                <a:cubicBezTo>
                  <a:pt x="374" y="263"/>
                  <a:pt x="374" y="270"/>
                  <a:pt x="370" y="274"/>
                </a:cubicBezTo>
                <a:close/>
                <a:moveTo>
                  <a:pt x="413" y="221"/>
                </a:moveTo>
                <a:cubicBezTo>
                  <a:pt x="410" y="223"/>
                  <a:pt x="408" y="224"/>
                  <a:pt x="405" y="224"/>
                </a:cubicBezTo>
                <a:cubicBezTo>
                  <a:pt x="402" y="224"/>
                  <a:pt x="400" y="223"/>
                  <a:pt x="397" y="221"/>
                </a:cubicBezTo>
                <a:cubicBezTo>
                  <a:pt x="358" y="181"/>
                  <a:pt x="309" y="160"/>
                  <a:pt x="256" y="160"/>
                </a:cubicBezTo>
                <a:cubicBezTo>
                  <a:pt x="203" y="160"/>
                  <a:pt x="154" y="181"/>
                  <a:pt x="114" y="221"/>
                </a:cubicBezTo>
                <a:cubicBezTo>
                  <a:pt x="110" y="225"/>
                  <a:pt x="103" y="225"/>
                  <a:pt x="99" y="221"/>
                </a:cubicBezTo>
                <a:cubicBezTo>
                  <a:pt x="95" y="216"/>
                  <a:pt x="95" y="210"/>
                  <a:pt x="99" y="205"/>
                </a:cubicBezTo>
                <a:cubicBezTo>
                  <a:pt x="143" y="162"/>
                  <a:pt x="197" y="138"/>
                  <a:pt x="256" y="138"/>
                </a:cubicBezTo>
                <a:cubicBezTo>
                  <a:pt x="314" y="138"/>
                  <a:pt x="369" y="162"/>
                  <a:pt x="413" y="205"/>
                </a:cubicBezTo>
                <a:cubicBezTo>
                  <a:pt x="417" y="210"/>
                  <a:pt x="417" y="216"/>
                  <a:pt x="413" y="22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9" name="Group 740">
            <a:extLst>
              <a:ext uri="{FF2B5EF4-FFF2-40B4-BE49-F238E27FC236}">
                <a16:creationId xmlns:a16="http://schemas.microsoft.com/office/drawing/2014/main" id="{1973BF46-639B-493F-8A49-91D3E08ED5D5}"/>
              </a:ext>
            </a:extLst>
          </p:cNvPr>
          <p:cNvGrpSpPr>
            <a:grpSpLocks noChangeAspect="1"/>
          </p:cNvGrpSpPr>
          <p:nvPr/>
        </p:nvGrpSpPr>
        <p:grpSpPr bwMode="auto">
          <a:xfrm>
            <a:off x="1793832" y="1697119"/>
            <a:ext cx="369676" cy="370763"/>
            <a:chOff x="4293" y="2651"/>
            <a:chExt cx="340" cy="341"/>
          </a:xfrm>
          <a:solidFill>
            <a:schemeClr val="accent2"/>
          </a:solidFill>
        </p:grpSpPr>
        <p:sp>
          <p:nvSpPr>
            <p:cNvPr id="470" name="Freeform 741">
              <a:extLst>
                <a:ext uri="{FF2B5EF4-FFF2-40B4-BE49-F238E27FC236}">
                  <a16:creationId xmlns:a16="http://schemas.microsoft.com/office/drawing/2014/main" id="{D2F10D07-DC8F-44CB-9113-E928E09A3164}"/>
                </a:ext>
              </a:extLst>
            </p:cNvPr>
            <p:cNvSpPr>
              <a:spLocks noEditPoints="1"/>
            </p:cNvSpPr>
            <p:nvPr/>
          </p:nvSpPr>
          <p:spPr bwMode="auto">
            <a:xfrm>
              <a:off x="4293" y="26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1" name="Freeform 742">
              <a:extLst>
                <a:ext uri="{FF2B5EF4-FFF2-40B4-BE49-F238E27FC236}">
                  <a16:creationId xmlns:a16="http://schemas.microsoft.com/office/drawing/2014/main" id="{206398D3-0A04-4A11-AEF0-8069CBB1322F}"/>
                </a:ext>
              </a:extLst>
            </p:cNvPr>
            <p:cNvSpPr>
              <a:spLocks noEditPoints="1"/>
            </p:cNvSpPr>
            <p:nvPr/>
          </p:nvSpPr>
          <p:spPr bwMode="auto">
            <a:xfrm>
              <a:off x="4357" y="2743"/>
              <a:ext cx="212" cy="156"/>
            </a:xfrm>
            <a:custGeom>
              <a:avLst/>
              <a:gdLst>
                <a:gd name="T0" fmla="*/ 224 w 320"/>
                <a:gd name="T1" fmla="*/ 235 h 235"/>
                <a:gd name="T2" fmla="*/ 10 w 320"/>
                <a:gd name="T3" fmla="*/ 235 h 235"/>
                <a:gd name="T4" fmla="*/ 0 w 320"/>
                <a:gd name="T5" fmla="*/ 224 h 235"/>
                <a:gd name="T6" fmla="*/ 0 w 320"/>
                <a:gd name="T7" fmla="*/ 11 h 235"/>
                <a:gd name="T8" fmla="*/ 10 w 320"/>
                <a:gd name="T9" fmla="*/ 0 h 235"/>
                <a:gd name="T10" fmla="*/ 224 w 320"/>
                <a:gd name="T11" fmla="*/ 0 h 235"/>
                <a:gd name="T12" fmla="*/ 234 w 320"/>
                <a:gd name="T13" fmla="*/ 11 h 235"/>
                <a:gd name="T14" fmla="*/ 234 w 320"/>
                <a:gd name="T15" fmla="*/ 58 h 235"/>
                <a:gd name="T16" fmla="*/ 304 w 320"/>
                <a:gd name="T17" fmla="*/ 23 h 235"/>
                <a:gd name="T18" fmla="*/ 315 w 320"/>
                <a:gd name="T19" fmla="*/ 23 h 235"/>
                <a:gd name="T20" fmla="*/ 320 w 320"/>
                <a:gd name="T21" fmla="*/ 32 h 235"/>
                <a:gd name="T22" fmla="*/ 320 w 320"/>
                <a:gd name="T23" fmla="*/ 203 h 235"/>
                <a:gd name="T24" fmla="*/ 315 w 320"/>
                <a:gd name="T25" fmla="*/ 212 h 235"/>
                <a:gd name="T26" fmla="*/ 304 w 320"/>
                <a:gd name="T27" fmla="*/ 213 h 235"/>
                <a:gd name="T28" fmla="*/ 234 w 320"/>
                <a:gd name="T29" fmla="*/ 178 h 235"/>
                <a:gd name="T30" fmla="*/ 234 w 320"/>
                <a:gd name="T31" fmla="*/ 224 h 235"/>
                <a:gd name="T32" fmla="*/ 224 w 320"/>
                <a:gd name="T33" fmla="*/ 235 h 235"/>
                <a:gd name="T34" fmla="*/ 21 w 320"/>
                <a:gd name="T35" fmla="*/ 214 h 235"/>
                <a:gd name="T36" fmla="*/ 213 w 320"/>
                <a:gd name="T37" fmla="*/ 214 h 235"/>
                <a:gd name="T38" fmla="*/ 213 w 320"/>
                <a:gd name="T39" fmla="*/ 160 h 235"/>
                <a:gd name="T40" fmla="*/ 218 w 320"/>
                <a:gd name="T41" fmla="*/ 151 h 235"/>
                <a:gd name="T42" fmla="*/ 228 w 320"/>
                <a:gd name="T43" fmla="*/ 151 h 235"/>
                <a:gd name="T44" fmla="*/ 298 w 320"/>
                <a:gd name="T45" fmla="*/ 186 h 235"/>
                <a:gd name="T46" fmla="*/ 298 w 320"/>
                <a:gd name="T47" fmla="*/ 50 h 235"/>
                <a:gd name="T48" fmla="*/ 228 w 320"/>
                <a:gd name="T49" fmla="*/ 85 h 235"/>
                <a:gd name="T50" fmla="*/ 218 w 320"/>
                <a:gd name="T51" fmla="*/ 84 h 235"/>
                <a:gd name="T52" fmla="*/ 213 w 320"/>
                <a:gd name="T53" fmla="*/ 75 h 235"/>
                <a:gd name="T54" fmla="*/ 213 w 320"/>
                <a:gd name="T55" fmla="*/ 22 h 235"/>
                <a:gd name="T56" fmla="*/ 21 w 320"/>
                <a:gd name="T57" fmla="*/ 22 h 235"/>
                <a:gd name="T58" fmla="*/ 21 w 320"/>
                <a:gd name="T5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235">
                  <a:moveTo>
                    <a:pt x="224" y="235"/>
                  </a:moveTo>
                  <a:cubicBezTo>
                    <a:pt x="10" y="235"/>
                    <a:pt x="10" y="235"/>
                    <a:pt x="10" y="235"/>
                  </a:cubicBezTo>
                  <a:cubicBezTo>
                    <a:pt x="4" y="235"/>
                    <a:pt x="0" y="230"/>
                    <a:pt x="0" y="224"/>
                  </a:cubicBezTo>
                  <a:cubicBezTo>
                    <a:pt x="0" y="11"/>
                    <a:pt x="0" y="11"/>
                    <a:pt x="0" y="11"/>
                  </a:cubicBezTo>
                  <a:cubicBezTo>
                    <a:pt x="0" y="5"/>
                    <a:pt x="4" y="0"/>
                    <a:pt x="10" y="0"/>
                  </a:cubicBezTo>
                  <a:cubicBezTo>
                    <a:pt x="224" y="0"/>
                    <a:pt x="224" y="0"/>
                    <a:pt x="224" y="0"/>
                  </a:cubicBezTo>
                  <a:cubicBezTo>
                    <a:pt x="230" y="0"/>
                    <a:pt x="234" y="5"/>
                    <a:pt x="234" y="11"/>
                  </a:cubicBezTo>
                  <a:cubicBezTo>
                    <a:pt x="234" y="58"/>
                    <a:pt x="234" y="58"/>
                    <a:pt x="234" y="58"/>
                  </a:cubicBezTo>
                  <a:cubicBezTo>
                    <a:pt x="304" y="23"/>
                    <a:pt x="304" y="23"/>
                    <a:pt x="304" y="23"/>
                  </a:cubicBezTo>
                  <a:cubicBezTo>
                    <a:pt x="308" y="21"/>
                    <a:pt x="311" y="21"/>
                    <a:pt x="315" y="23"/>
                  </a:cubicBezTo>
                  <a:cubicBezTo>
                    <a:pt x="318" y="25"/>
                    <a:pt x="320" y="29"/>
                    <a:pt x="320" y="32"/>
                  </a:cubicBezTo>
                  <a:cubicBezTo>
                    <a:pt x="320" y="203"/>
                    <a:pt x="320" y="203"/>
                    <a:pt x="320" y="203"/>
                  </a:cubicBezTo>
                  <a:cubicBezTo>
                    <a:pt x="320" y="207"/>
                    <a:pt x="318" y="210"/>
                    <a:pt x="315" y="212"/>
                  </a:cubicBezTo>
                  <a:cubicBezTo>
                    <a:pt x="311" y="214"/>
                    <a:pt x="308" y="214"/>
                    <a:pt x="304" y="213"/>
                  </a:cubicBezTo>
                  <a:cubicBezTo>
                    <a:pt x="234" y="178"/>
                    <a:pt x="234" y="178"/>
                    <a:pt x="234" y="178"/>
                  </a:cubicBezTo>
                  <a:cubicBezTo>
                    <a:pt x="234" y="224"/>
                    <a:pt x="234" y="224"/>
                    <a:pt x="234" y="224"/>
                  </a:cubicBezTo>
                  <a:cubicBezTo>
                    <a:pt x="234" y="230"/>
                    <a:pt x="230" y="235"/>
                    <a:pt x="224" y="235"/>
                  </a:cubicBezTo>
                  <a:close/>
                  <a:moveTo>
                    <a:pt x="21" y="214"/>
                  </a:moveTo>
                  <a:cubicBezTo>
                    <a:pt x="213" y="214"/>
                    <a:pt x="213" y="214"/>
                    <a:pt x="213" y="214"/>
                  </a:cubicBezTo>
                  <a:cubicBezTo>
                    <a:pt x="213" y="160"/>
                    <a:pt x="213" y="160"/>
                    <a:pt x="213" y="160"/>
                  </a:cubicBezTo>
                  <a:cubicBezTo>
                    <a:pt x="213" y="157"/>
                    <a:pt x="215" y="153"/>
                    <a:pt x="218" y="151"/>
                  </a:cubicBezTo>
                  <a:cubicBezTo>
                    <a:pt x="221" y="149"/>
                    <a:pt x="225" y="149"/>
                    <a:pt x="228" y="151"/>
                  </a:cubicBezTo>
                  <a:cubicBezTo>
                    <a:pt x="298" y="186"/>
                    <a:pt x="298" y="186"/>
                    <a:pt x="298" y="186"/>
                  </a:cubicBezTo>
                  <a:cubicBezTo>
                    <a:pt x="298" y="50"/>
                    <a:pt x="298" y="50"/>
                    <a:pt x="298" y="50"/>
                  </a:cubicBezTo>
                  <a:cubicBezTo>
                    <a:pt x="228" y="85"/>
                    <a:pt x="228" y="85"/>
                    <a:pt x="228" y="85"/>
                  </a:cubicBezTo>
                  <a:cubicBezTo>
                    <a:pt x="225" y="86"/>
                    <a:pt x="221" y="86"/>
                    <a:pt x="218" y="84"/>
                  </a:cubicBezTo>
                  <a:cubicBezTo>
                    <a:pt x="215" y="82"/>
                    <a:pt x="213" y="79"/>
                    <a:pt x="213" y="75"/>
                  </a:cubicBezTo>
                  <a:cubicBezTo>
                    <a:pt x="213" y="22"/>
                    <a:pt x="213" y="22"/>
                    <a:pt x="213" y="22"/>
                  </a:cubicBezTo>
                  <a:cubicBezTo>
                    <a:pt x="21" y="22"/>
                    <a:pt x="21" y="22"/>
                    <a:pt x="21" y="22"/>
                  </a:cubicBezTo>
                  <a:lnTo>
                    <a:pt x="21"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2" name="Freeform 746">
            <a:extLst>
              <a:ext uri="{FF2B5EF4-FFF2-40B4-BE49-F238E27FC236}">
                <a16:creationId xmlns:a16="http://schemas.microsoft.com/office/drawing/2014/main" id="{C32654EF-66AB-40A0-A0F9-1BB7D81105EB}"/>
              </a:ext>
            </a:extLst>
          </p:cNvPr>
          <p:cNvSpPr>
            <a:spLocks noChangeAspect="1" noEditPoints="1"/>
          </p:cNvSpPr>
          <p:nvPr/>
        </p:nvSpPr>
        <p:spPr bwMode="auto">
          <a:xfrm>
            <a:off x="1358231" y="1697119"/>
            <a:ext cx="369676" cy="369676"/>
          </a:xfrm>
          <a:custGeom>
            <a:avLst/>
            <a:gdLst>
              <a:gd name="T0" fmla="*/ 324 w 512"/>
              <a:gd name="T1" fmla="*/ 223 h 512"/>
              <a:gd name="T2" fmla="*/ 394 w 512"/>
              <a:gd name="T3" fmla="*/ 188 h 512"/>
              <a:gd name="T4" fmla="*/ 394 w 512"/>
              <a:gd name="T5" fmla="*/ 324 h 512"/>
              <a:gd name="T6" fmla="*/ 324 w 512"/>
              <a:gd name="T7" fmla="*/ 289 h 512"/>
              <a:gd name="T8" fmla="*/ 314 w 512"/>
              <a:gd name="T9" fmla="*/ 289 h 512"/>
              <a:gd name="T10" fmla="*/ 309 w 512"/>
              <a:gd name="T11" fmla="*/ 298 h 512"/>
              <a:gd name="T12" fmla="*/ 309 w 512"/>
              <a:gd name="T13" fmla="*/ 352 h 512"/>
              <a:gd name="T14" fmla="*/ 117 w 512"/>
              <a:gd name="T15" fmla="*/ 352 h 512"/>
              <a:gd name="T16" fmla="*/ 117 w 512"/>
              <a:gd name="T17" fmla="*/ 160 h 512"/>
              <a:gd name="T18" fmla="*/ 309 w 512"/>
              <a:gd name="T19" fmla="*/ 160 h 512"/>
              <a:gd name="T20" fmla="*/ 309 w 512"/>
              <a:gd name="T21" fmla="*/ 213 h 512"/>
              <a:gd name="T22" fmla="*/ 314 w 512"/>
              <a:gd name="T23" fmla="*/ 222 h 512"/>
              <a:gd name="T24" fmla="*/ 324 w 512"/>
              <a:gd name="T25" fmla="*/ 223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70 h 512"/>
              <a:gd name="T38" fmla="*/ 411 w 512"/>
              <a:gd name="T39" fmla="*/ 161 h 512"/>
              <a:gd name="T40" fmla="*/ 400 w 512"/>
              <a:gd name="T41" fmla="*/ 161 h 512"/>
              <a:gd name="T42" fmla="*/ 330 w 512"/>
              <a:gd name="T43" fmla="*/ 196 h 512"/>
              <a:gd name="T44" fmla="*/ 330 w 512"/>
              <a:gd name="T45" fmla="*/ 149 h 512"/>
              <a:gd name="T46" fmla="*/ 320 w 512"/>
              <a:gd name="T47" fmla="*/ 138 h 512"/>
              <a:gd name="T48" fmla="*/ 106 w 512"/>
              <a:gd name="T49" fmla="*/ 138 h 512"/>
              <a:gd name="T50" fmla="*/ 96 w 512"/>
              <a:gd name="T51" fmla="*/ 149 h 512"/>
              <a:gd name="T52" fmla="*/ 96 w 512"/>
              <a:gd name="T53" fmla="*/ 362 h 512"/>
              <a:gd name="T54" fmla="*/ 106 w 512"/>
              <a:gd name="T55" fmla="*/ 373 h 512"/>
              <a:gd name="T56" fmla="*/ 320 w 512"/>
              <a:gd name="T57" fmla="*/ 373 h 512"/>
              <a:gd name="T58" fmla="*/ 330 w 512"/>
              <a:gd name="T59" fmla="*/ 362 h 512"/>
              <a:gd name="T60" fmla="*/ 330 w 512"/>
              <a:gd name="T61" fmla="*/ 316 h 512"/>
              <a:gd name="T62" fmla="*/ 400 w 512"/>
              <a:gd name="T63" fmla="*/ 351 h 512"/>
              <a:gd name="T64" fmla="*/ 411 w 512"/>
              <a:gd name="T65" fmla="*/ 350 h 512"/>
              <a:gd name="T66" fmla="*/ 416 w 512"/>
              <a:gd name="T67" fmla="*/ 341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24" y="223"/>
                </a:moveTo>
                <a:cubicBezTo>
                  <a:pt x="394" y="188"/>
                  <a:pt x="394" y="188"/>
                  <a:pt x="394" y="188"/>
                </a:cubicBezTo>
                <a:cubicBezTo>
                  <a:pt x="394" y="324"/>
                  <a:pt x="394" y="324"/>
                  <a:pt x="394" y="324"/>
                </a:cubicBezTo>
                <a:cubicBezTo>
                  <a:pt x="324" y="289"/>
                  <a:pt x="324" y="289"/>
                  <a:pt x="324" y="289"/>
                </a:cubicBezTo>
                <a:cubicBezTo>
                  <a:pt x="321" y="287"/>
                  <a:pt x="317" y="287"/>
                  <a:pt x="314" y="289"/>
                </a:cubicBezTo>
                <a:cubicBezTo>
                  <a:pt x="311" y="291"/>
                  <a:pt x="309" y="295"/>
                  <a:pt x="309" y="298"/>
                </a:cubicBezTo>
                <a:cubicBezTo>
                  <a:pt x="309" y="352"/>
                  <a:pt x="309" y="352"/>
                  <a:pt x="309" y="352"/>
                </a:cubicBezTo>
                <a:cubicBezTo>
                  <a:pt x="117" y="352"/>
                  <a:pt x="117" y="352"/>
                  <a:pt x="117" y="352"/>
                </a:cubicBezTo>
                <a:cubicBezTo>
                  <a:pt x="117" y="160"/>
                  <a:pt x="117" y="160"/>
                  <a:pt x="117" y="160"/>
                </a:cubicBezTo>
                <a:cubicBezTo>
                  <a:pt x="309" y="160"/>
                  <a:pt x="309" y="160"/>
                  <a:pt x="309" y="160"/>
                </a:cubicBezTo>
                <a:cubicBezTo>
                  <a:pt x="309" y="213"/>
                  <a:pt x="309" y="213"/>
                  <a:pt x="309" y="213"/>
                </a:cubicBezTo>
                <a:cubicBezTo>
                  <a:pt x="309" y="217"/>
                  <a:pt x="311" y="220"/>
                  <a:pt x="314" y="222"/>
                </a:cubicBezTo>
                <a:cubicBezTo>
                  <a:pt x="317" y="224"/>
                  <a:pt x="321" y="224"/>
                  <a:pt x="324" y="2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7"/>
                  <a:pt x="414" y="163"/>
                  <a:pt x="411" y="161"/>
                </a:cubicBezTo>
                <a:cubicBezTo>
                  <a:pt x="407" y="159"/>
                  <a:pt x="404" y="159"/>
                  <a:pt x="400" y="161"/>
                </a:cubicBezTo>
                <a:cubicBezTo>
                  <a:pt x="330" y="196"/>
                  <a:pt x="330" y="196"/>
                  <a:pt x="330" y="196"/>
                </a:cubicBezTo>
                <a:cubicBezTo>
                  <a:pt x="330" y="149"/>
                  <a:pt x="330" y="149"/>
                  <a:pt x="330" y="149"/>
                </a:cubicBezTo>
                <a:cubicBezTo>
                  <a:pt x="330" y="143"/>
                  <a:pt x="326" y="138"/>
                  <a:pt x="32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320" y="373"/>
                  <a:pt x="320" y="373"/>
                  <a:pt x="320" y="373"/>
                </a:cubicBezTo>
                <a:cubicBezTo>
                  <a:pt x="326" y="373"/>
                  <a:pt x="330" y="368"/>
                  <a:pt x="330" y="362"/>
                </a:cubicBezTo>
                <a:cubicBezTo>
                  <a:pt x="330" y="316"/>
                  <a:pt x="330" y="316"/>
                  <a:pt x="330" y="316"/>
                </a:cubicBezTo>
                <a:cubicBezTo>
                  <a:pt x="400" y="351"/>
                  <a:pt x="400" y="351"/>
                  <a:pt x="400" y="351"/>
                </a:cubicBezTo>
                <a:cubicBezTo>
                  <a:pt x="404" y="352"/>
                  <a:pt x="407" y="352"/>
                  <a:pt x="411" y="350"/>
                </a:cubicBezTo>
                <a:cubicBezTo>
                  <a:pt x="414" y="348"/>
                  <a:pt x="416" y="345"/>
                  <a:pt x="416" y="341"/>
                </a:cubicBezTo>
                <a:lnTo>
                  <a:pt x="416" y="17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3" name="Group 414">
            <a:extLst>
              <a:ext uri="{FF2B5EF4-FFF2-40B4-BE49-F238E27FC236}">
                <a16:creationId xmlns:a16="http://schemas.microsoft.com/office/drawing/2014/main" id="{9D923DEB-460D-4DF5-B09A-B4FF60B1C035}"/>
              </a:ext>
            </a:extLst>
          </p:cNvPr>
          <p:cNvGrpSpPr>
            <a:grpSpLocks noChangeAspect="1"/>
          </p:cNvGrpSpPr>
          <p:nvPr/>
        </p:nvGrpSpPr>
        <p:grpSpPr bwMode="auto">
          <a:xfrm>
            <a:off x="2665034" y="1697119"/>
            <a:ext cx="369676" cy="370763"/>
            <a:chOff x="5060" y="1524"/>
            <a:chExt cx="340" cy="341"/>
          </a:xfrm>
          <a:solidFill>
            <a:schemeClr val="accent5"/>
          </a:solidFill>
        </p:grpSpPr>
        <p:sp>
          <p:nvSpPr>
            <p:cNvPr id="484" name="Freeform 415">
              <a:extLst>
                <a:ext uri="{FF2B5EF4-FFF2-40B4-BE49-F238E27FC236}">
                  <a16:creationId xmlns:a16="http://schemas.microsoft.com/office/drawing/2014/main" id="{96E53F48-2189-46FD-8869-00104858457A}"/>
                </a:ext>
              </a:extLst>
            </p:cNvPr>
            <p:cNvSpPr>
              <a:spLocks noEditPoints="1"/>
            </p:cNvSpPr>
            <p:nvPr/>
          </p:nvSpPr>
          <p:spPr bwMode="auto">
            <a:xfrm>
              <a:off x="5124" y="1623"/>
              <a:ext cx="212" cy="157"/>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5" name="Freeform 416">
              <a:extLst>
                <a:ext uri="{FF2B5EF4-FFF2-40B4-BE49-F238E27FC236}">
                  <a16:creationId xmlns:a16="http://schemas.microsoft.com/office/drawing/2014/main" id="{65C9E199-2DB0-4B1B-91C6-45947BDC0A28}"/>
                </a:ext>
              </a:extLst>
            </p:cNvPr>
            <p:cNvSpPr>
              <a:spLocks noEditPoints="1"/>
            </p:cNvSpPr>
            <p:nvPr/>
          </p:nvSpPr>
          <p:spPr bwMode="auto">
            <a:xfrm>
              <a:off x="5060" y="152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6" name="Freeform 420">
            <a:extLst>
              <a:ext uri="{FF2B5EF4-FFF2-40B4-BE49-F238E27FC236}">
                <a16:creationId xmlns:a16="http://schemas.microsoft.com/office/drawing/2014/main" id="{7874335E-0D8F-48B6-9480-0B7B2C77B74C}"/>
              </a:ext>
            </a:extLst>
          </p:cNvPr>
          <p:cNvSpPr>
            <a:spLocks noChangeAspect="1" noEditPoints="1"/>
          </p:cNvSpPr>
          <p:nvPr/>
        </p:nvSpPr>
        <p:spPr bwMode="auto">
          <a:xfrm>
            <a:off x="2229433" y="1697119"/>
            <a:ext cx="369676" cy="369676"/>
          </a:xfrm>
          <a:custGeom>
            <a:avLst/>
            <a:gdLst>
              <a:gd name="T0" fmla="*/ 117 w 512"/>
              <a:gd name="T1" fmla="*/ 170 h 512"/>
              <a:gd name="T2" fmla="*/ 394 w 512"/>
              <a:gd name="T3" fmla="*/ 170 h 512"/>
              <a:gd name="T4" fmla="*/ 394 w 512"/>
              <a:gd name="T5" fmla="*/ 341 h 512"/>
              <a:gd name="T6" fmla="*/ 117 w 512"/>
              <a:gd name="T7" fmla="*/ 341 h 512"/>
              <a:gd name="T8" fmla="*/ 117 w 512"/>
              <a:gd name="T9" fmla="*/ 17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160 h 512"/>
              <a:gd name="T22" fmla="*/ 405 w 512"/>
              <a:gd name="T23" fmla="*/ 149 h 512"/>
              <a:gd name="T24" fmla="*/ 106 w 512"/>
              <a:gd name="T25" fmla="*/ 149 h 512"/>
              <a:gd name="T26" fmla="*/ 96 w 512"/>
              <a:gd name="T27" fmla="*/ 160 h 512"/>
              <a:gd name="T28" fmla="*/ 96 w 512"/>
              <a:gd name="T29" fmla="*/ 352 h 512"/>
              <a:gd name="T30" fmla="*/ 106 w 512"/>
              <a:gd name="T31" fmla="*/ 362 h 512"/>
              <a:gd name="T32" fmla="*/ 192 w 512"/>
              <a:gd name="T33" fmla="*/ 362 h 512"/>
              <a:gd name="T34" fmla="*/ 181 w 512"/>
              <a:gd name="T35" fmla="*/ 373 h 512"/>
              <a:gd name="T36" fmla="*/ 192 w 512"/>
              <a:gd name="T37" fmla="*/ 384 h 512"/>
              <a:gd name="T38" fmla="*/ 320 w 512"/>
              <a:gd name="T39" fmla="*/ 384 h 512"/>
              <a:gd name="T40" fmla="*/ 330 w 512"/>
              <a:gd name="T41" fmla="*/ 373 h 512"/>
              <a:gd name="T42" fmla="*/ 320 w 512"/>
              <a:gd name="T43" fmla="*/ 362 h 512"/>
              <a:gd name="T44" fmla="*/ 405 w 512"/>
              <a:gd name="T45" fmla="*/ 362 h 512"/>
              <a:gd name="T46" fmla="*/ 416 w 512"/>
              <a:gd name="T47" fmla="*/ 352 h 512"/>
              <a:gd name="T48" fmla="*/ 416 w 512"/>
              <a:gd name="T4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117" y="170"/>
                </a:moveTo>
                <a:cubicBezTo>
                  <a:pt x="394" y="170"/>
                  <a:pt x="394" y="170"/>
                  <a:pt x="394" y="170"/>
                </a:cubicBezTo>
                <a:cubicBezTo>
                  <a:pt x="394" y="341"/>
                  <a:pt x="394" y="341"/>
                  <a:pt x="394" y="341"/>
                </a:cubicBezTo>
                <a:cubicBezTo>
                  <a:pt x="117" y="341"/>
                  <a:pt x="117" y="341"/>
                  <a:pt x="117" y="341"/>
                </a:cubicBezTo>
                <a:lnTo>
                  <a:pt x="117"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4"/>
                  <a:pt x="411" y="149"/>
                  <a:pt x="405" y="149"/>
                </a:cubicBezTo>
                <a:cubicBezTo>
                  <a:pt x="106" y="149"/>
                  <a:pt x="106" y="149"/>
                  <a:pt x="106" y="149"/>
                </a:cubicBezTo>
                <a:cubicBezTo>
                  <a:pt x="100" y="149"/>
                  <a:pt x="96" y="154"/>
                  <a:pt x="96" y="160"/>
                </a:cubicBezTo>
                <a:cubicBezTo>
                  <a:pt x="96" y="352"/>
                  <a:pt x="96" y="352"/>
                  <a:pt x="96" y="352"/>
                </a:cubicBezTo>
                <a:cubicBezTo>
                  <a:pt x="96" y="358"/>
                  <a:pt x="100" y="362"/>
                  <a:pt x="106" y="362"/>
                </a:cubicBezTo>
                <a:cubicBezTo>
                  <a:pt x="192" y="362"/>
                  <a:pt x="192" y="362"/>
                  <a:pt x="192" y="362"/>
                </a:cubicBezTo>
                <a:cubicBezTo>
                  <a:pt x="186" y="362"/>
                  <a:pt x="181" y="367"/>
                  <a:pt x="181" y="373"/>
                </a:cubicBezTo>
                <a:cubicBezTo>
                  <a:pt x="181" y="379"/>
                  <a:pt x="186" y="384"/>
                  <a:pt x="192" y="384"/>
                </a:cubicBezTo>
                <a:cubicBezTo>
                  <a:pt x="320" y="384"/>
                  <a:pt x="320" y="384"/>
                  <a:pt x="320" y="384"/>
                </a:cubicBezTo>
                <a:cubicBezTo>
                  <a:pt x="326" y="384"/>
                  <a:pt x="330" y="379"/>
                  <a:pt x="330" y="373"/>
                </a:cubicBezTo>
                <a:cubicBezTo>
                  <a:pt x="330" y="367"/>
                  <a:pt x="326" y="362"/>
                  <a:pt x="320" y="362"/>
                </a:cubicBezTo>
                <a:cubicBezTo>
                  <a:pt x="405" y="362"/>
                  <a:pt x="405" y="362"/>
                  <a:pt x="405" y="362"/>
                </a:cubicBezTo>
                <a:cubicBezTo>
                  <a:pt x="411" y="362"/>
                  <a:pt x="416" y="358"/>
                  <a:pt x="416" y="352"/>
                </a:cubicBezTo>
                <a:lnTo>
                  <a:pt x="416" y="16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7" name="Group 459">
            <a:extLst>
              <a:ext uri="{FF2B5EF4-FFF2-40B4-BE49-F238E27FC236}">
                <a16:creationId xmlns:a16="http://schemas.microsoft.com/office/drawing/2014/main" id="{EA100AE7-0054-40F9-B0E7-E3AF1734C13D}"/>
              </a:ext>
            </a:extLst>
          </p:cNvPr>
          <p:cNvGrpSpPr>
            <a:grpSpLocks noChangeAspect="1"/>
          </p:cNvGrpSpPr>
          <p:nvPr/>
        </p:nvGrpSpPr>
        <p:grpSpPr bwMode="auto">
          <a:xfrm>
            <a:off x="3536236" y="1697119"/>
            <a:ext cx="369676" cy="369676"/>
            <a:chOff x="1918" y="1565"/>
            <a:chExt cx="340" cy="340"/>
          </a:xfrm>
          <a:solidFill>
            <a:schemeClr val="accent5"/>
          </a:solidFill>
        </p:grpSpPr>
        <p:sp>
          <p:nvSpPr>
            <p:cNvPr id="488" name="Freeform 460">
              <a:extLst>
                <a:ext uri="{FF2B5EF4-FFF2-40B4-BE49-F238E27FC236}">
                  <a16:creationId xmlns:a16="http://schemas.microsoft.com/office/drawing/2014/main" id="{D26ABAD5-8AA2-4443-A873-CB6396AC1179}"/>
                </a:ext>
              </a:extLst>
            </p:cNvPr>
            <p:cNvSpPr>
              <a:spLocks noEditPoints="1"/>
            </p:cNvSpPr>
            <p:nvPr/>
          </p:nvSpPr>
          <p:spPr bwMode="auto">
            <a:xfrm>
              <a:off x="2010" y="1636"/>
              <a:ext cx="156" cy="199"/>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9" name="Freeform 461">
              <a:extLst>
                <a:ext uri="{FF2B5EF4-FFF2-40B4-BE49-F238E27FC236}">
                  <a16:creationId xmlns:a16="http://schemas.microsoft.com/office/drawing/2014/main" id="{521BF5FC-0677-4BF0-A9B1-BFE48AF347EA}"/>
                </a:ext>
              </a:extLst>
            </p:cNvPr>
            <p:cNvSpPr>
              <a:spLocks noEditPoints="1"/>
            </p:cNvSpPr>
            <p:nvPr/>
          </p:nvSpPr>
          <p:spPr bwMode="auto">
            <a:xfrm>
              <a:off x="1918" y="156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0" name="Freeform 465">
            <a:extLst>
              <a:ext uri="{FF2B5EF4-FFF2-40B4-BE49-F238E27FC236}">
                <a16:creationId xmlns:a16="http://schemas.microsoft.com/office/drawing/2014/main" id="{1277A01F-FD02-4D7D-AA0D-75288DCDF662}"/>
              </a:ext>
            </a:extLst>
          </p:cNvPr>
          <p:cNvSpPr>
            <a:spLocks noChangeAspect="1" noEditPoints="1"/>
          </p:cNvSpPr>
          <p:nvPr/>
        </p:nvSpPr>
        <p:spPr bwMode="auto">
          <a:xfrm>
            <a:off x="3100635" y="1697119"/>
            <a:ext cx="369676" cy="369676"/>
          </a:xfrm>
          <a:custGeom>
            <a:avLst/>
            <a:gdLst>
              <a:gd name="T0" fmla="*/ 160 w 512"/>
              <a:gd name="T1" fmla="*/ 384 h 512"/>
              <a:gd name="T2" fmla="*/ 352 w 512"/>
              <a:gd name="T3" fmla="*/ 384 h 512"/>
              <a:gd name="T4" fmla="*/ 352 w 512"/>
              <a:gd name="T5" fmla="*/ 128 h 512"/>
              <a:gd name="T6" fmla="*/ 160 w 512"/>
              <a:gd name="T7" fmla="*/ 128 h 512"/>
              <a:gd name="T8" fmla="*/ 160 w 512"/>
              <a:gd name="T9" fmla="*/ 384 h 512"/>
              <a:gd name="T10" fmla="*/ 256 w 512"/>
              <a:gd name="T11" fmla="*/ 363 h 512"/>
              <a:gd name="T12" fmla="*/ 245 w 512"/>
              <a:gd name="T13" fmla="*/ 352 h 512"/>
              <a:gd name="T14" fmla="*/ 256 w 512"/>
              <a:gd name="T15" fmla="*/ 342 h 512"/>
              <a:gd name="T16" fmla="*/ 267 w 512"/>
              <a:gd name="T17" fmla="*/ 352 h 512"/>
              <a:gd name="T18" fmla="*/ 256 w 512"/>
              <a:gd name="T19" fmla="*/ 363 h 512"/>
              <a:gd name="T20" fmla="*/ 171 w 512"/>
              <a:gd name="T21" fmla="*/ 150 h 512"/>
              <a:gd name="T22" fmla="*/ 181 w 512"/>
              <a:gd name="T23" fmla="*/ 139 h 512"/>
              <a:gd name="T24" fmla="*/ 331 w 512"/>
              <a:gd name="T25" fmla="*/ 139 h 512"/>
              <a:gd name="T26" fmla="*/ 341 w 512"/>
              <a:gd name="T27" fmla="*/ 150 h 512"/>
              <a:gd name="T28" fmla="*/ 341 w 512"/>
              <a:gd name="T29" fmla="*/ 310 h 512"/>
              <a:gd name="T30" fmla="*/ 331 w 512"/>
              <a:gd name="T31" fmla="*/ 320 h 512"/>
              <a:gd name="T32" fmla="*/ 181 w 512"/>
              <a:gd name="T33" fmla="*/ 320 h 512"/>
              <a:gd name="T34" fmla="*/ 171 w 512"/>
              <a:gd name="T35" fmla="*/ 310 h 512"/>
              <a:gd name="T36" fmla="*/ 171 w 512"/>
              <a:gd name="T37" fmla="*/ 150 h 512"/>
              <a:gd name="T38" fmla="*/ 320 w 512"/>
              <a:gd name="T39" fmla="*/ 299 h 512"/>
              <a:gd name="T40" fmla="*/ 192 w 512"/>
              <a:gd name="T41" fmla="*/ 299 h 512"/>
              <a:gd name="T42" fmla="*/ 192 w 512"/>
              <a:gd name="T43" fmla="*/ 160 h 512"/>
              <a:gd name="T44" fmla="*/ 320 w 512"/>
              <a:gd name="T45" fmla="*/ 160 h 512"/>
              <a:gd name="T46" fmla="*/ 320 w 512"/>
              <a:gd name="T47" fmla="*/ 299 h 512"/>
              <a:gd name="T48" fmla="*/ 256 w 512"/>
              <a:gd name="T49" fmla="*/ 0 h 512"/>
              <a:gd name="T50" fmla="*/ 0 w 512"/>
              <a:gd name="T51" fmla="*/ 256 h 512"/>
              <a:gd name="T52" fmla="*/ 256 w 512"/>
              <a:gd name="T53" fmla="*/ 512 h 512"/>
              <a:gd name="T54" fmla="*/ 512 w 512"/>
              <a:gd name="T55" fmla="*/ 256 h 512"/>
              <a:gd name="T56" fmla="*/ 256 w 512"/>
              <a:gd name="T57" fmla="*/ 0 h 512"/>
              <a:gd name="T58" fmla="*/ 373 w 512"/>
              <a:gd name="T59" fmla="*/ 395 h 512"/>
              <a:gd name="T60" fmla="*/ 363 w 512"/>
              <a:gd name="T61" fmla="*/ 406 h 512"/>
              <a:gd name="T62" fmla="*/ 149 w 512"/>
              <a:gd name="T63" fmla="*/ 406 h 512"/>
              <a:gd name="T64" fmla="*/ 139 w 512"/>
              <a:gd name="T65" fmla="*/ 395 h 512"/>
              <a:gd name="T66" fmla="*/ 139 w 512"/>
              <a:gd name="T67" fmla="*/ 118 h 512"/>
              <a:gd name="T68" fmla="*/ 149 w 512"/>
              <a:gd name="T69" fmla="*/ 107 h 512"/>
              <a:gd name="T70" fmla="*/ 363 w 512"/>
              <a:gd name="T71" fmla="*/ 107 h 512"/>
              <a:gd name="T72" fmla="*/ 373 w 512"/>
              <a:gd name="T73" fmla="*/ 118 h 512"/>
              <a:gd name="T74" fmla="*/ 373 w 512"/>
              <a:gd name="T75"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160" y="384"/>
                </a:moveTo>
                <a:cubicBezTo>
                  <a:pt x="352" y="384"/>
                  <a:pt x="352" y="384"/>
                  <a:pt x="352" y="384"/>
                </a:cubicBezTo>
                <a:cubicBezTo>
                  <a:pt x="352" y="128"/>
                  <a:pt x="352" y="128"/>
                  <a:pt x="352" y="128"/>
                </a:cubicBezTo>
                <a:cubicBezTo>
                  <a:pt x="160" y="128"/>
                  <a:pt x="160" y="128"/>
                  <a:pt x="160" y="128"/>
                </a:cubicBezTo>
                <a:lnTo>
                  <a:pt x="160" y="384"/>
                </a:lnTo>
                <a:close/>
                <a:moveTo>
                  <a:pt x="256" y="363"/>
                </a:moveTo>
                <a:cubicBezTo>
                  <a:pt x="250" y="363"/>
                  <a:pt x="245" y="358"/>
                  <a:pt x="245" y="352"/>
                </a:cubicBezTo>
                <a:cubicBezTo>
                  <a:pt x="245" y="346"/>
                  <a:pt x="250" y="342"/>
                  <a:pt x="256" y="342"/>
                </a:cubicBezTo>
                <a:cubicBezTo>
                  <a:pt x="262" y="342"/>
                  <a:pt x="267" y="346"/>
                  <a:pt x="267" y="352"/>
                </a:cubicBezTo>
                <a:cubicBezTo>
                  <a:pt x="267" y="358"/>
                  <a:pt x="262" y="363"/>
                  <a:pt x="256" y="363"/>
                </a:cubicBezTo>
                <a:close/>
                <a:moveTo>
                  <a:pt x="171" y="150"/>
                </a:moveTo>
                <a:cubicBezTo>
                  <a:pt x="171" y="144"/>
                  <a:pt x="175" y="139"/>
                  <a:pt x="181" y="139"/>
                </a:cubicBezTo>
                <a:cubicBezTo>
                  <a:pt x="331" y="139"/>
                  <a:pt x="331" y="139"/>
                  <a:pt x="331" y="139"/>
                </a:cubicBezTo>
                <a:cubicBezTo>
                  <a:pt x="337" y="139"/>
                  <a:pt x="341" y="144"/>
                  <a:pt x="341" y="150"/>
                </a:cubicBezTo>
                <a:cubicBezTo>
                  <a:pt x="341" y="310"/>
                  <a:pt x="341" y="310"/>
                  <a:pt x="341" y="310"/>
                </a:cubicBezTo>
                <a:cubicBezTo>
                  <a:pt x="341" y="316"/>
                  <a:pt x="337" y="320"/>
                  <a:pt x="331" y="320"/>
                </a:cubicBezTo>
                <a:cubicBezTo>
                  <a:pt x="181" y="320"/>
                  <a:pt x="181" y="320"/>
                  <a:pt x="181" y="320"/>
                </a:cubicBezTo>
                <a:cubicBezTo>
                  <a:pt x="175" y="320"/>
                  <a:pt x="171" y="316"/>
                  <a:pt x="171" y="310"/>
                </a:cubicBezTo>
                <a:lnTo>
                  <a:pt x="171" y="150"/>
                </a:lnTo>
                <a:close/>
                <a:moveTo>
                  <a:pt x="320" y="299"/>
                </a:moveTo>
                <a:cubicBezTo>
                  <a:pt x="192" y="299"/>
                  <a:pt x="192" y="299"/>
                  <a:pt x="192" y="299"/>
                </a:cubicBezTo>
                <a:cubicBezTo>
                  <a:pt x="192" y="160"/>
                  <a:pt x="192" y="160"/>
                  <a:pt x="192" y="160"/>
                </a:cubicBezTo>
                <a:cubicBezTo>
                  <a:pt x="320" y="160"/>
                  <a:pt x="320" y="160"/>
                  <a:pt x="320" y="160"/>
                </a:cubicBezTo>
                <a:lnTo>
                  <a:pt x="320" y="299"/>
                </a:lnTo>
                <a:close/>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73" y="395"/>
                </a:moveTo>
                <a:cubicBezTo>
                  <a:pt x="373" y="401"/>
                  <a:pt x="369" y="406"/>
                  <a:pt x="363" y="406"/>
                </a:cubicBezTo>
                <a:cubicBezTo>
                  <a:pt x="149" y="406"/>
                  <a:pt x="149" y="406"/>
                  <a:pt x="149" y="406"/>
                </a:cubicBezTo>
                <a:cubicBezTo>
                  <a:pt x="143" y="406"/>
                  <a:pt x="139" y="401"/>
                  <a:pt x="139" y="395"/>
                </a:cubicBezTo>
                <a:cubicBezTo>
                  <a:pt x="139" y="118"/>
                  <a:pt x="139" y="118"/>
                  <a:pt x="139" y="118"/>
                </a:cubicBezTo>
                <a:cubicBezTo>
                  <a:pt x="139" y="112"/>
                  <a:pt x="143" y="107"/>
                  <a:pt x="149" y="107"/>
                </a:cubicBezTo>
                <a:cubicBezTo>
                  <a:pt x="363" y="107"/>
                  <a:pt x="363" y="107"/>
                  <a:pt x="363" y="107"/>
                </a:cubicBezTo>
                <a:cubicBezTo>
                  <a:pt x="369" y="107"/>
                  <a:pt x="373" y="112"/>
                  <a:pt x="373" y="118"/>
                </a:cubicBezTo>
                <a:lnTo>
                  <a:pt x="373" y="39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1" name="Group 188">
            <a:extLst>
              <a:ext uri="{FF2B5EF4-FFF2-40B4-BE49-F238E27FC236}">
                <a16:creationId xmlns:a16="http://schemas.microsoft.com/office/drawing/2014/main" id="{392F5623-BFE2-47A9-8F8F-55125CDD2CFB}"/>
              </a:ext>
            </a:extLst>
          </p:cNvPr>
          <p:cNvGrpSpPr>
            <a:grpSpLocks noChangeAspect="1"/>
          </p:cNvGrpSpPr>
          <p:nvPr/>
        </p:nvGrpSpPr>
        <p:grpSpPr bwMode="auto">
          <a:xfrm>
            <a:off x="4407438" y="1697119"/>
            <a:ext cx="370763" cy="369676"/>
            <a:chOff x="394" y="389"/>
            <a:chExt cx="341" cy="340"/>
          </a:xfrm>
          <a:solidFill>
            <a:schemeClr val="accent2"/>
          </a:solidFill>
        </p:grpSpPr>
        <p:sp>
          <p:nvSpPr>
            <p:cNvPr id="492" name="Freeform 189">
              <a:extLst>
                <a:ext uri="{FF2B5EF4-FFF2-40B4-BE49-F238E27FC236}">
                  <a16:creationId xmlns:a16="http://schemas.microsoft.com/office/drawing/2014/main" id="{9D1C1D62-F95F-4C1A-8930-833F755E6DA6}"/>
                </a:ext>
              </a:extLst>
            </p:cNvPr>
            <p:cNvSpPr>
              <a:spLocks noEditPoints="1"/>
            </p:cNvSpPr>
            <p:nvPr/>
          </p:nvSpPr>
          <p:spPr bwMode="auto">
            <a:xfrm>
              <a:off x="394" y="38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3" name="Freeform 190">
              <a:extLst>
                <a:ext uri="{FF2B5EF4-FFF2-40B4-BE49-F238E27FC236}">
                  <a16:creationId xmlns:a16="http://schemas.microsoft.com/office/drawing/2014/main" id="{DF46E1AF-39C8-4CE9-AD60-8795BF3ADFA6}"/>
                </a:ext>
              </a:extLst>
            </p:cNvPr>
            <p:cNvSpPr>
              <a:spLocks noEditPoints="1"/>
            </p:cNvSpPr>
            <p:nvPr/>
          </p:nvSpPr>
          <p:spPr bwMode="auto">
            <a:xfrm>
              <a:off x="536" y="453"/>
              <a:ext cx="56" cy="212"/>
            </a:xfrm>
            <a:custGeom>
              <a:avLst/>
              <a:gdLst>
                <a:gd name="T0" fmla="*/ 53 w 85"/>
                <a:gd name="T1" fmla="*/ 193 h 320"/>
                <a:gd name="T2" fmla="*/ 53 w 85"/>
                <a:gd name="T3" fmla="*/ 10 h 320"/>
                <a:gd name="T4" fmla="*/ 43 w 85"/>
                <a:gd name="T5" fmla="*/ 0 h 320"/>
                <a:gd name="T6" fmla="*/ 32 w 85"/>
                <a:gd name="T7" fmla="*/ 10 h 320"/>
                <a:gd name="T8" fmla="*/ 32 w 85"/>
                <a:gd name="T9" fmla="*/ 193 h 320"/>
                <a:gd name="T10" fmla="*/ 0 w 85"/>
                <a:gd name="T11" fmla="*/ 234 h 320"/>
                <a:gd name="T12" fmla="*/ 32 w 85"/>
                <a:gd name="T13" fmla="*/ 275 h 320"/>
                <a:gd name="T14" fmla="*/ 32 w 85"/>
                <a:gd name="T15" fmla="*/ 309 h 320"/>
                <a:gd name="T16" fmla="*/ 43 w 85"/>
                <a:gd name="T17" fmla="*/ 320 h 320"/>
                <a:gd name="T18" fmla="*/ 53 w 85"/>
                <a:gd name="T19" fmla="*/ 309 h 320"/>
                <a:gd name="T20" fmla="*/ 53 w 85"/>
                <a:gd name="T21" fmla="*/ 275 h 320"/>
                <a:gd name="T22" fmla="*/ 85 w 85"/>
                <a:gd name="T23" fmla="*/ 234 h 320"/>
                <a:gd name="T24" fmla="*/ 53 w 85"/>
                <a:gd name="T25" fmla="*/ 193 h 320"/>
                <a:gd name="T26" fmla="*/ 43 w 85"/>
                <a:gd name="T27" fmla="*/ 256 h 320"/>
                <a:gd name="T28" fmla="*/ 21 w 85"/>
                <a:gd name="T29" fmla="*/ 234 h 320"/>
                <a:gd name="T30" fmla="*/ 43 w 85"/>
                <a:gd name="T31" fmla="*/ 213 h 320"/>
                <a:gd name="T32" fmla="*/ 64 w 85"/>
                <a:gd name="T33" fmla="*/ 234 h 320"/>
                <a:gd name="T34" fmla="*/ 43 w 85"/>
                <a:gd name="T35"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193"/>
                  </a:moveTo>
                  <a:cubicBezTo>
                    <a:pt x="53" y="10"/>
                    <a:pt x="53" y="10"/>
                    <a:pt x="53" y="10"/>
                  </a:cubicBezTo>
                  <a:cubicBezTo>
                    <a:pt x="53" y="4"/>
                    <a:pt x="49" y="0"/>
                    <a:pt x="43" y="0"/>
                  </a:cubicBezTo>
                  <a:cubicBezTo>
                    <a:pt x="37" y="0"/>
                    <a:pt x="32" y="4"/>
                    <a:pt x="32" y="10"/>
                  </a:cubicBezTo>
                  <a:cubicBezTo>
                    <a:pt x="32" y="193"/>
                    <a:pt x="32" y="193"/>
                    <a:pt x="32" y="193"/>
                  </a:cubicBezTo>
                  <a:cubicBezTo>
                    <a:pt x="14" y="198"/>
                    <a:pt x="0" y="215"/>
                    <a:pt x="0" y="234"/>
                  </a:cubicBezTo>
                  <a:cubicBezTo>
                    <a:pt x="0" y="254"/>
                    <a:pt x="14" y="271"/>
                    <a:pt x="32" y="275"/>
                  </a:cubicBezTo>
                  <a:cubicBezTo>
                    <a:pt x="32" y="309"/>
                    <a:pt x="32" y="309"/>
                    <a:pt x="32" y="309"/>
                  </a:cubicBezTo>
                  <a:cubicBezTo>
                    <a:pt x="32" y="315"/>
                    <a:pt x="37" y="320"/>
                    <a:pt x="43" y="320"/>
                  </a:cubicBezTo>
                  <a:cubicBezTo>
                    <a:pt x="49" y="320"/>
                    <a:pt x="53" y="315"/>
                    <a:pt x="53" y="309"/>
                  </a:cubicBezTo>
                  <a:cubicBezTo>
                    <a:pt x="53" y="275"/>
                    <a:pt x="53" y="275"/>
                    <a:pt x="53" y="275"/>
                  </a:cubicBezTo>
                  <a:cubicBezTo>
                    <a:pt x="72" y="271"/>
                    <a:pt x="85" y="254"/>
                    <a:pt x="85" y="234"/>
                  </a:cubicBezTo>
                  <a:cubicBezTo>
                    <a:pt x="85" y="215"/>
                    <a:pt x="72" y="198"/>
                    <a:pt x="53" y="193"/>
                  </a:cubicBezTo>
                  <a:close/>
                  <a:moveTo>
                    <a:pt x="43" y="256"/>
                  </a:moveTo>
                  <a:cubicBezTo>
                    <a:pt x="31" y="256"/>
                    <a:pt x="21" y="246"/>
                    <a:pt x="21" y="234"/>
                  </a:cubicBezTo>
                  <a:cubicBezTo>
                    <a:pt x="21" y="223"/>
                    <a:pt x="31" y="213"/>
                    <a:pt x="43" y="213"/>
                  </a:cubicBezTo>
                  <a:cubicBezTo>
                    <a:pt x="54" y="213"/>
                    <a:pt x="64" y="223"/>
                    <a:pt x="64" y="234"/>
                  </a:cubicBezTo>
                  <a:cubicBezTo>
                    <a:pt x="64" y="246"/>
                    <a:pt x="54" y="256"/>
                    <a:pt x="43"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4" name="Freeform 191">
              <a:extLst>
                <a:ext uri="{FF2B5EF4-FFF2-40B4-BE49-F238E27FC236}">
                  <a16:creationId xmlns:a16="http://schemas.microsoft.com/office/drawing/2014/main" id="{152D64BF-6BE3-491E-81D7-3F422504CE06}"/>
                </a:ext>
              </a:extLst>
            </p:cNvPr>
            <p:cNvSpPr>
              <a:spLocks noEditPoints="1"/>
            </p:cNvSpPr>
            <p:nvPr/>
          </p:nvSpPr>
          <p:spPr bwMode="auto">
            <a:xfrm>
              <a:off x="472" y="453"/>
              <a:ext cx="57" cy="212"/>
            </a:xfrm>
            <a:custGeom>
              <a:avLst/>
              <a:gdLst>
                <a:gd name="T0" fmla="*/ 53 w 85"/>
                <a:gd name="T1" fmla="*/ 44 h 320"/>
                <a:gd name="T2" fmla="*/ 53 w 85"/>
                <a:gd name="T3" fmla="*/ 10 h 320"/>
                <a:gd name="T4" fmla="*/ 43 w 85"/>
                <a:gd name="T5" fmla="*/ 0 h 320"/>
                <a:gd name="T6" fmla="*/ 32 w 85"/>
                <a:gd name="T7" fmla="*/ 10 h 320"/>
                <a:gd name="T8" fmla="*/ 32 w 85"/>
                <a:gd name="T9" fmla="*/ 44 h 320"/>
                <a:gd name="T10" fmla="*/ 0 w 85"/>
                <a:gd name="T11" fmla="*/ 85 h 320"/>
                <a:gd name="T12" fmla="*/ 32 w 85"/>
                <a:gd name="T13" fmla="*/ 126 h 320"/>
                <a:gd name="T14" fmla="*/ 32 w 85"/>
                <a:gd name="T15" fmla="*/ 309 h 320"/>
                <a:gd name="T16" fmla="*/ 43 w 85"/>
                <a:gd name="T17" fmla="*/ 320 h 320"/>
                <a:gd name="T18" fmla="*/ 53 w 85"/>
                <a:gd name="T19" fmla="*/ 309 h 320"/>
                <a:gd name="T20" fmla="*/ 53 w 85"/>
                <a:gd name="T21" fmla="*/ 126 h 320"/>
                <a:gd name="T22" fmla="*/ 85 w 85"/>
                <a:gd name="T23" fmla="*/ 85 h 320"/>
                <a:gd name="T24" fmla="*/ 53 w 85"/>
                <a:gd name="T25" fmla="*/ 44 h 320"/>
                <a:gd name="T26" fmla="*/ 43 w 85"/>
                <a:gd name="T27" fmla="*/ 106 h 320"/>
                <a:gd name="T28" fmla="*/ 21 w 85"/>
                <a:gd name="T29" fmla="*/ 85 h 320"/>
                <a:gd name="T30" fmla="*/ 43 w 85"/>
                <a:gd name="T31" fmla="*/ 64 h 320"/>
                <a:gd name="T32" fmla="*/ 64 w 85"/>
                <a:gd name="T33" fmla="*/ 85 h 320"/>
                <a:gd name="T34" fmla="*/ 43 w 85"/>
                <a:gd name="T35" fmla="*/ 10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44"/>
                  </a:moveTo>
                  <a:cubicBezTo>
                    <a:pt x="53" y="10"/>
                    <a:pt x="53" y="10"/>
                    <a:pt x="53" y="10"/>
                  </a:cubicBezTo>
                  <a:cubicBezTo>
                    <a:pt x="53" y="4"/>
                    <a:pt x="49" y="0"/>
                    <a:pt x="43" y="0"/>
                  </a:cubicBezTo>
                  <a:cubicBezTo>
                    <a:pt x="37" y="0"/>
                    <a:pt x="32" y="4"/>
                    <a:pt x="32" y="10"/>
                  </a:cubicBezTo>
                  <a:cubicBezTo>
                    <a:pt x="32" y="44"/>
                    <a:pt x="32" y="44"/>
                    <a:pt x="32" y="44"/>
                  </a:cubicBezTo>
                  <a:cubicBezTo>
                    <a:pt x="14" y="49"/>
                    <a:pt x="0" y="65"/>
                    <a:pt x="0" y="85"/>
                  </a:cubicBezTo>
                  <a:cubicBezTo>
                    <a:pt x="0" y="105"/>
                    <a:pt x="14" y="121"/>
                    <a:pt x="32" y="126"/>
                  </a:cubicBezTo>
                  <a:cubicBezTo>
                    <a:pt x="32" y="309"/>
                    <a:pt x="32" y="309"/>
                    <a:pt x="32" y="309"/>
                  </a:cubicBezTo>
                  <a:cubicBezTo>
                    <a:pt x="32" y="315"/>
                    <a:pt x="37" y="320"/>
                    <a:pt x="43" y="320"/>
                  </a:cubicBezTo>
                  <a:cubicBezTo>
                    <a:pt x="49" y="320"/>
                    <a:pt x="53" y="315"/>
                    <a:pt x="53" y="309"/>
                  </a:cubicBezTo>
                  <a:cubicBezTo>
                    <a:pt x="53" y="126"/>
                    <a:pt x="53" y="126"/>
                    <a:pt x="53" y="126"/>
                  </a:cubicBezTo>
                  <a:cubicBezTo>
                    <a:pt x="72" y="121"/>
                    <a:pt x="85" y="105"/>
                    <a:pt x="85" y="85"/>
                  </a:cubicBezTo>
                  <a:cubicBezTo>
                    <a:pt x="85" y="65"/>
                    <a:pt x="72" y="49"/>
                    <a:pt x="53" y="44"/>
                  </a:cubicBezTo>
                  <a:close/>
                  <a:moveTo>
                    <a:pt x="43" y="106"/>
                  </a:moveTo>
                  <a:cubicBezTo>
                    <a:pt x="31" y="106"/>
                    <a:pt x="21" y="97"/>
                    <a:pt x="21" y="85"/>
                  </a:cubicBezTo>
                  <a:cubicBezTo>
                    <a:pt x="21" y="73"/>
                    <a:pt x="31" y="64"/>
                    <a:pt x="43" y="64"/>
                  </a:cubicBezTo>
                  <a:cubicBezTo>
                    <a:pt x="54" y="64"/>
                    <a:pt x="64" y="73"/>
                    <a:pt x="64" y="85"/>
                  </a:cubicBezTo>
                  <a:cubicBezTo>
                    <a:pt x="64" y="97"/>
                    <a:pt x="54" y="106"/>
                    <a:pt x="43"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5" name="Freeform 192">
              <a:extLst>
                <a:ext uri="{FF2B5EF4-FFF2-40B4-BE49-F238E27FC236}">
                  <a16:creationId xmlns:a16="http://schemas.microsoft.com/office/drawing/2014/main" id="{480D18A4-2D1F-4A2E-9BB8-47362CA096A5}"/>
                </a:ext>
              </a:extLst>
            </p:cNvPr>
            <p:cNvSpPr>
              <a:spLocks noEditPoints="1"/>
            </p:cNvSpPr>
            <p:nvPr/>
          </p:nvSpPr>
          <p:spPr bwMode="auto">
            <a:xfrm>
              <a:off x="600" y="453"/>
              <a:ext cx="56" cy="212"/>
            </a:xfrm>
            <a:custGeom>
              <a:avLst/>
              <a:gdLst>
                <a:gd name="T0" fmla="*/ 53 w 85"/>
                <a:gd name="T1" fmla="*/ 97 h 320"/>
                <a:gd name="T2" fmla="*/ 53 w 85"/>
                <a:gd name="T3" fmla="*/ 10 h 320"/>
                <a:gd name="T4" fmla="*/ 43 w 85"/>
                <a:gd name="T5" fmla="*/ 0 h 320"/>
                <a:gd name="T6" fmla="*/ 32 w 85"/>
                <a:gd name="T7" fmla="*/ 10 h 320"/>
                <a:gd name="T8" fmla="*/ 32 w 85"/>
                <a:gd name="T9" fmla="*/ 97 h 320"/>
                <a:gd name="T10" fmla="*/ 0 w 85"/>
                <a:gd name="T11" fmla="*/ 138 h 320"/>
                <a:gd name="T12" fmla="*/ 32 w 85"/>
                <a:gd name="T13" fmla="*/ 179 h 320"/>
                <a:gd name="T14" fmla="*/ 32 w 85"/>
                <a:gd name="T15" fmla="*/ 309 h 320"/>
                <a:gd name="T16" fmla="*/ 43 w 85"/>
                <a:gd name="T17" fmla="*/ 320 h 320"/>
                <a:gd name="T18" fmla="*/ 53 w 85"/>
                <a:gd name="T19" fmla="*/ 309 h 320"/>
                <a:gd name="T20" fmla="*/ 53 w 85"/>
                <a:gd name="T21" fmla="*/ 179 h 320"/>
                <a:gd name="T22" fmla="*/ 85 w 85"/>
                <a:gd name="T23" fmla="*/ 138 h 320"/>
                <a:gd name="T24" fmla="*/ 53 w 85"/>
                <a:gd name="T25" fmla="*/ 97 h 320"/>
                <a:gd name="T26" fmla="*/ 43 w 85"/>
                <a:gd name="T27" fmla="*/ 160 h 320"/>
                <a:gd name="T28" fmla="*/ 21 w 85"/>
                <a:gd name="T29" fmla="*/ 138 h 320"/>
                <a:gd name="T30" fmla="*/ 43 w 85"/>
                <a:gd name="T31" fmla="*/ 117 h 320"/>
                <a:gd name="T32" fmla="*/ 64 w 85"/>
                <a:gd name="T33" fmla="*/ 138 h 320"/>
                <a:gd name="T34" fmla="*/ 43 w 85"/>
                <a:gd name="T35"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97"/>
                  </a:moveTo>
                  <a:cubicBezTo>
                    <a:pt x="53" y="10"/>
                    <a:pt x="53" y="10"/>
                    <a:pt x="53" y="10"/>
                  </a:cubicBezTo>
                  <a:cubicBezTo>
                    <a:pt x="53" y="4"/>
                    <a:pt x="49" y="0"/>
                    <a:pt x="43" y="0"/>
                  </a:cubicBezTo>
                  <a:cubicBezTo>
                    <a:pt x="37" y="0"/>
                    <a:pt x="32" y="4"/>
                    <a:pt x="32" y="10"/>
                  </a:cubicBezTo>
                  <a:cubicBezTo>
                    <a:pt x="32" y="97"/>
                    <a:pt x="32" y="97"/>
                    <a:pt x="32" y="97"/>
                  </a:cubicBezTo>
                  <a:cubicBezTo>
                    <a:pt x="14" y="102"/>
                    <a:pt x="0" y="119"/>
                    <a:pt x="0" y="138"/>
                  </a:cubicBezTo>
                  <a:cubicBezTo>
                    <a:pt x="0" y="158"/>
                    <a:pt x="14" y="175"/>
                    <a:pt x="32" y="179"/>
                  </a:cubicBezTo>
                  <a:cubicBezTo>
                    <a:pt x="32" y="309"/>
                    <a:pt x="32" y="309"/>
                    <a:pt x="32" y="309"/>
                  </a:cubicBezTo>
                  <a:cubicBezTo>
                    <a:pt x="32" y="315"/>
                    <a:pt x="37" y="320"/>
                    <a:pt x="43" y="320"/>
                  </a:cubicBezTo>
                  <a:cubicBezTo>
                    <a:pt x="49" y="320"/>
                    <a:pt x="53" y="315"/>
                    <a:pt x="53" y="309"/>
                  </a:cubicBezTo>
                  <a:cubicBezTo>
                    <a:pt x="53" y="179"/>
                    <a:pt x="53" y="179"/>
                    <a:pt x="53" y="179"/>
                  </a:cubicBezTo>
                  <a:cubicBezTo>
                    <a:pt x="72" y="175"/>
                    <a:pt x="85" y="158"/>
                    <a:pt x="85" y="138"/>
                  </a:cubicBezTo>
                  <a:cubicBezTo>
                    <a:pt x="85" y="119"/>
                    <a:pt x="72" y="102"/>
                    <a:pt x="53" y="97"/>
                  </a:cubicBezTo>
                  <a:close/>
                  <a:moveTo>
                    <a:pt x="43" y="160"/>
                  </a:moveTo>
                  <a:cubicBezTo>
                    <a:pt x="31" y="160"/>
                    <a:pt x="21" y="150"/>
                    <a:pt x="21" y="138"/>
                  </a:cubicBezTo>
                  <a:cubicBezTo>
                    <a:pt x="21" y="127"/>
                    <a:pt x="31" y="117"/>
                    <a:pt x="43" y="117"/>
                  </a:cubicBezTo>
                  <a:cubicBezTo>
                    <a:pt x="54" y="117"/>
                    <a:pt x="64" y="127"/>
                    <a:pt x="64" y="138"/>
                  </a:cubicBezTo>
                  <a:cubicBezTo>
                    <a:pt x="64" y="150"/>
                    <a:pt x="54" y="160"/>
                    <a:pt x="43"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6" name="Freeform 196">
            <a:extLst>
              <a:ext uri="{FF2B5EF4-FFF2-40B4-BE49-F238E27FC236}">
                <a16:creationId xmlns:a16="http://schemas.microsoft.com/office/drawing/2014/main" id="{44CD9A1F-59A7-41D2-A53D-A1345937A2ED}"/>
              </a:ext>
            </a:extLst>
          </p:cNvPr>
          <p:cNvSpPr>
            <a:spLocks noChangeAspect="1" noEditPoints="1"/>
          </p:cNvSpPr>
          <p:nvPr/>
        </p:nvSpPr>
        <p:spPr bwMode="auto">
          <a:xfrm>
            <a:off x="3971837" y="1697119"/>
            <a:ext cx="369676" cy="369676"/>
          </a:xfrm>
          <a:custGeom>
            <a:avLst/>
            <a:gdLst>
              <a:gd name="T0" fmla="*/ 181 w 512"/>
              <a:gd name="T1" fmla="*/ 181 h 512"/>
              <a:gd name="T2" fmla="*/ 160 w 512"/>
              <a:gd name="T3" fmla="*/ 202 h 512"/>
              <a:gd name="T4" fmla="*/ 138 w 512"/>
              <a:gd name="T5" fmla="*/ 181 h 512"/>
              <a:gd name="T6" fmla="*/ 160 w 512"/>
              <a:gd name="T7" fmla="*/ 160 h 512"/>
              <a:gd name="T8" fmla="*/ 181 w 512"/>
              <a:gd name="T9" fmla="*/ 181 h 512"/>
              <a:gd name="T10" fmla="*/ 256 w 512"/>
              <a:gd name="T11" fmla="*/ 309 h 512"/>
              <a:gd name="T12" fmla="*/ 234 w 512"/>
              <a:gd name="T13" fmla="*/ 330 h 512"/>
              <a:gd name="T14" fmla="*/ 256 w 512"/>
              <a:gd name="T15" fmla="*/ 352 h 512"/>
              <a:gd name="T16" fmla="*/ 277 w 512"/>
              <a:gd name="T17" fmla="*/ 330 h 512"/>
              <a:gd name="T18" fmla="*/ 256 w 512"/>
              <a:gd name="T19" fmla="*/ 309 h 512"/>
              <a:gd name="T20" fmla="*/ 352 w 512"/>
              <a:gd name="T21" fmla="*/ 213 h 512"/>
              <a:gd name="T22" fmla="*/ 330 w 512"/>
              <a:gd name="T23" fmla="*/ 234 h 512"/>
              <a:gd name="T24" fmla="*/ 352 w 512"/>
              <a:gd name="T25" fmla="*/ 256 h 512"/>
              <a:gd name="T26" fmla="*/ 373 w 512"/>
              <a:gd name="T27" fmla="*/ 234 h 512"/>
              <a:gd name="T28" fmla="*/ 352 w 512"/>
              <a:gd name="T29" fmla="*/ 21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02 w 512"/>
              <a:gd name="T41" fmla="*/ 181 h 512"/>
              <a:gd name="T42" fmla="*/ 170 w 512"/>
              <a:gd name="T43" fmla="*/ 140 h 512"/>
              <a:gd name="T44" fmla="*/ 170 w 512"/>
              <a:gd name="T45" fmla="*/ 106 h 512"/>
              <a:gd name="T46" fmla="*/ 160 w 512"/>
              <a:gd name="T47" fmla="*/ 96 h 512"/>
              <a:gd name="T48" fmla="*/ 149 w 512"/>
              <a:gd name="T49" fmla="*/ 106 h 512"/>
              <a:gd name="T50" fmla="*/ 149 w 512"/>
              <a:gd name="T51" fmla="*/ 140 h 512"/>
              <a:gd name="T52" fmla="*/ 117 w 512"/>
              <a:gd name="T53" fmla="*/ 181 h 512"/>
              <a:gd name="T54" fmla="*/ 149 w 512"/>
              <a:gd name="T55" fmla="*/ 222 h 512"/>
              <a:gd name="T56" fmla="*/ 149 w 512"/>
              <a:gd name="T57" fmla="*/ 405 h 512"/>
              <a:gd name="T58" fmla="*/ 160 w 512"/>
              <a:gd name="T59" fmla="*/ 416 h 512"/>
              <a:gd name="T60" fmla="*/ 170 w 512"/>
              <a:gd name="T61" fmla="*/ 405 h 512"/>
              <a:gd name="T62" fmla="*/ 170 w 512"/>
              <a:gd name="T63" fmla="*/ 222 h 512"/>
              <a:gd name="T64" fmla="*/ 202 w 512"/>
              <a:gd name="T65" fmla="*/ 181 h 512"/>
              <a:gd name="T66" fmla="*/ 298 w 512"/>
              <a:gd name="T67" fmla="*/ 330 h 512"/>
              <a:gd name="T68" fmla="*/ 266 w 512"/>
              <a:gd name="T69" fmla="*/ 289 h 512"/>
              <a:gd name="T70" fmla="*/ 266 w 512"/>
              <a:gd name="T71" fmla="*/ 106 h 512"/>
              <a:gd name="T72" fmla="*/ 256 w 512"/>
              <a:gd name="T73" fmla="*/ 96 h 512"/>
              <a:gd name="T74" fmla="*/ 245 w 512"/>
              <a:gd name="T75" fmla="*/ 106 h 512"/>
              <a:gd name="T76" fmla="*/ 245 w 512"/>
              <a:gd name="T77" fmla="*/ 289 h 512"/>
              <a:gd name="T78" fmla="*/ 213 w 512"/>
              <a:gd name="T79" fmla="*/ 330 h 512"/>
              <a:gd name="T80" fmla="*/ 245 w 512"/>
              <a:gd name="T81" fmla="*/ 371 h 512"/>
              <a:gd name="T82" fmla="*/ 245 w 512"/>
              <a:gd name="T83" fmla="*/ 405 h 512"/>
              <a:gd name="T84" fmla="*/ 256 w 512"/>
              <a:gd name="T85" fmla="*/ 416 h 512"/>
              <a:gd name="T86" fmla="*/ 266 w 512"/>
              <a:gd name="T87" fmla="*/ 405 h 512"/>
              <a:gd name="T88" fmla="*/ 266 w 512"/>
              <a:gd name="T89" fmla="*/ 371 h 512"/>
              <a:gd name="T90" fmla="*/ 298 w 512"/>
              <a:gd name="T91" fmla="*/ 330 h 512"/>
              <a:gd name="T92" fmla="*/ 394 w 512"/>
              <a:gd name="T93" fmla="*/ 234 h 512"/>
              <a:gd name="T94" fmla="*/ 362 w 512"/>
              <a:gd name="T95" fmla="*/ 193 h 512"/>
              <a:gd name="T96" fmla="*/ 362 w 512"/>
              <a:gd name="T97" fmla="*/ 106 h 512"/>
              <a:gd name="T98" fmla="*/ 352 w 512"/>
              <a:gd name="T99" fmla="*/ 96 h 512"/>
              <a:gd name="T100" fmla="*/ 341 w 512"/>
              <a:gd name="T101" fmla="*/ 106 h 512"/>
              <a:gd name="T102" fmla="*/ 341 w 512"/>
              <a:gd name="T103" fmla="*/ 193 h 512"/>
              <a:gd name="T104" fmla="*/ 309 w 512"/>
              <a:gd name="T105" fmla="*/ 234 h 512"/>
              <a:gd name="T106" fmla="*/ 341 w 512"/>
              <a:gd name="T107" fmla="*/ 275 h 512"/>
              <a:gd name="T108" fmla="*/ 341 w 512"/>
              <a:gd name="T109" fmla="*/ 405 h 512"/>
              <a:gd name="T110" fmla="*/ 352 w 512"/>
              <a:gd name="T111" fmla="*/ 416 h 512"/>
              <a:gd name="T112" fmla="*/ 362 w 512"/>
              <a:gd name="T113" fmla="*/ 405 h 512"/>
              <a:gd name="T114" fmla="*/ 362 w 512"/>
              <a:gd name="T115" fmla="*/ 275 h 512"/>
              <a:gd name="T116" fmla="*/ 394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81" y="181"/>
                </a:moveTo>
                <a:cubicBezTo>
                  <a:pt x="181" y="193"/>
                  <a:pt x="171" y="202"/>
                  <a:pt x="160" y="202"/>
                </a:cubicBezTo>
                <a:cubicBezTo>
                  <a:pt x="148" y="202"/>
                  <a:pt x="138" y="193"/>
                  <a:pt x="138" y="181"/>
                </a:cubicBezTo>
                <a:cubicBezTo>
                  <a:pt x="138" y="169"/>
                  <a:pt x="148" y="160"/>
                  <a:pt x="160" y="160"/>
                </a:cubicBezTo>
                <a:cubicBezTo>
                  <a:pt x="171" y="160"/>
                  <a:pt x="181" y="169"/>
                  <a:pt x="181" y="181"/>
                </a:cubicBezTo>
                <a:close/>
                <a:moveTo>
                  <a:pt x="256" y="309"/>
                </a:moveTo>
                <a:cubicBezTo>
                  <a:pt x="244" y="309"/>
                  <a:pt x="234" y="319"/>
                  <a:pt x="234" y="330"/>
                </a:cubicBezTo>
                <a:cubicBezTo>
                  <a:pt x="234" y="342"/>
                  <a:pt x="244" y="352"/>
                  <a:pt x="256" y="352"/>
                </a:cubicBezTo>
                <a:cubicBezTo>
                  <a:pt x="267" y="352"/>
                  <a:pt x="277" y="342"/>
                  <a:pt x="277" y="330"/>
                </a:cubicBezTo>
                <a:cubicBezTo>
                  <a:pt x="277" y="319"/>
                  <a:pt x="267" y="309"/>
                  <a:pt x="256" y="309"/>
                </a:cubicBezTo>
                <a:close/>
                <a:moveTo>
                  <a:pt x="352" y="213"/>
                </a:moveTo>
                <a:cubicBezTo>
                  <a:pt x="340" y="213"/>
                  <a:pt x="330" y="223"/>
                  <a:pt x="330" y="234"/>
                </a:cubicBezTo>
                <a:cubicBezTo>
                  <a:pt x="330" y="246"/>
                  <a:pt x="340" y="256"/>
                  <a:pt x="352" y="256"/>
                </a:cubicBezTo>
                <a:cubicBezTo>
                  <a:pt x="363" y="256"/>
                  <a:pt x="373" y="246"/>
                  <a:pt x="373" y="234"/>
                </a:cubicBezTo>
                <a:cubicBezTo>
                  <a:pt x="373" y="223"/>
                  <a:pt x="363" y="213"/>
                  <a:pt x="352"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02" y="181"/>
                </a:moveTo>
                <a:cubicBezTo>
                  <a:pt x="202" y="161"/>
                  <a:pt x="189" y="145"/>
                  <a:pt x="170" y="140"/>
                </a:cubicBezTo>
                <a:cubicBezTo>
                  <a:pt x="170" y="106"/>
                  <a:pt x="170" y="106"/>
                  <a:pt x="170" y="106"/>
                </a:cubicBezTo>
                <a:cubicBezTo>
                  <a:pt x="170" y="100"/>
                  <a:pt x="166" y="96"/>
                  <a:pt x="160" y="96"/>
                </a:cubicBezTo>
                <a:cubicBezTo>
                  <a:pt x="154" y="96"/>
                  <a:pt x="149" y="100"/>
                  <a:pt x="149" y="106"/>
                </a:cubicBezTo>
                <a:cubicBezTo>
                  <a:pt x="149" y="140"/>
                  <a:pt x="149" y="140"/>
                  <a:pt x="149" y="140"/>
                </a:cubicBezTo>
                <a:cubicBezTo>
                  <a:pt x="131" y="145"/>
                  <a:pt x="117" y="161"/>
                  <a:pt x="117" y="181"/>
                </a:cubicBezTo>
                <a:cubicBezTo>
                  <a:pt x="117" y="201"/>
                  <a:pt x="131" y="217"/>
                  <a:pt x="149" y="222"/>
                </a:cubicBezTo>
                <a:cubicBezTo>
                  <a:pt x="149" y="405"/>
                  <a:pt x="149" y="405"/>
                  <a:pt x="149" y="405"/>
                </a:cubicBezTo>
                <a:cubicBezTo>
                  <a:pt x="149" y="411"/>
                  <a:pt x="154" y="416"/>
                  <a:pt x="160" y="416"/>
                </a:cubicBezTo>
                <a:cubicBezTo>
                  <a:pt x="166" y="416"/>
                  <a:pt x="170" y="411"/>
                  <a:pt x="170" y="405"/>
                </a:cubicBezTo>
                <a:cubicBezTo>
                  <a:pt x="170" y="222"/>
                  <a:pt x="170" y="222"/>
                  <a:pt x="170" y="222"/>
                </a:cubicBezTo>
                <a:cubicBezTo>
                  <a:pt x="189" y="217"/>
                  <a:pt x="202" y="201"/>
                  <a:pt x="202" y="181"/>
                </a:cubicBezTo>
                <a:close/>
                <a:moveTo>
                  <a:pt x="298" y="330"/>
                </a:moveTo>
                <a:cubicBezTo>
                  <a:pt x="298" y="311"/>
                  <a:pt x="285" y="294"/>
                  <a:pt x="266" y="289"/>
                </a:cubicBezTo>
                <a:cubicBezTo>
                  <a:pt x="266" y="106"/>
                  <a:pt x="266" y="106"/>
                  <a:pt x="266" y="106"/>
                </a:cubicBezTo>
                <a:cubicBezTo>
                  <a:pt x="266" y="100"/>
                  <a:pt x="262" y="96"/>
                  <a:pt x="256" y="96"/>
                </a:cubicBezTo>
                <a:cubicBezTo>
                  <a:pt x="250" y="96"/>
                  <a:pt x="245" y="100"/>
                  <a:pt x="245" y="106"/>
                </a:cubicBezTo>
                <a:cubicBezTo>
                  <a:pt x="245" y="289"/>
                  <a:pt x="245" y="289"/>
                  <a:pt x="245" y="289"/>
                </a:cubicBezTo>
                <a:cubicBezTo>
                  <a:pt x="227" y="294"/>
                  <a:pt x="213" y="311"/>
                  <a:pt x="213" y="330"/>
                </a:cubicBezTo>
                <a:cubicBezTo>
                  <a:pt x="213" y="350"/>
                  <a:pt x="227" y="367"/>
                  <a:pt x="245" y="371"/>
                </a:cubicBezTo>
                <a:cubicBezTo>
                  <a:pt x="245" y="405"/>
                  <a:pt x="245" y="405"/>
                  <a:pt x="245" y="405"/>
                </a:cubicBezTo>
                <a:cubicBezTo>
                  <a:pt x="245" y="411"/>
                  <a:pt x="250" y="416"/>
                  <a:pt x="256" y="416"/>
                </a:cubicBezTo>
                <a:cubicBezTo>
                  <a:pt x="262" y="416"/>
                  <a:pt x="266" y="411"/>
                  <a:pt x="266" y="405"/>
                </a:cubicBezTo>
                <a:cubicBezTo>
                  <a:pt x="266" y="371"/>
                  <a:pt x="266" y="371"/>
                  <a:pt x="266" y="371"/>
                </a:cubicBezTo>
                <a:cubicBezTo>
                  <a:pt x="285" y="367"/>
                  <a:pt x="298" y="350"/>
                  <a:pt x="298" y="330"/>
                </a:cubicBezTo>
                <a:close/>
                <a:moveTo>
                  <a:pt x="394" y="234"/>
                </a:moveTo>
                <a:cubicBezTo>
                  <a:pt x="394" y="215"/>
                  <a:pt x="381" y="198"/>
                  <a:pt x="362" y="193"/>
                </a:cubicBezTo>
                <a:cubicBezTo>
                  <a:pt x="362" y="106"/>
                  <a:pt x="362" y="106"/>
                  <a:pt x="362" y="106"/>
                </a:cubicBezTo>
                <a:cubicBezTo>
                  <a:pt x="362" y="100"/>
                  <a:pt x="358" y="96"/>
                  <a:pt x="352" y="96"/>
                </a:cubicBezTo>
                <a:cubicBezTo>
                  <a:pt x="346" y="96"/>
                  <a:pt x="341" y="100"/>
                  <a:pt x="341" y="106"/>
                </a:cubicBezTo>
                <a:cubicBezTo>
                  <a:pt x="341" y="193"/>
                  <a:pt x="341" y="193"/>
                  <a:pt x="341" y="193"/>
                </a:cubicBezTo>
                <a:cubicBezTo>
                  <a:pt x="323" y="198"/>
                  <a:pt x="309" y="215"/>
                  <a:pt x="309" y="234"/>
                </a:cubicBezTo>
                <a:cubicBezTo>
                  <a:pt x="309" y="254"/>
                  <a:pt x="323" y="271"/>
                  <a:pt x="341" y="275"/>
                </a:cubicBezTo>
                <a:cubicBezTo>
                  <a:pt x="341" y="405"/>
                  <a:pt x="341" y="405"/>
                  <a:pt x="341" y="405"/>
                </a:cubicBezTo>
                <a:cubicBezTo>
                  <a:pt x="341" y="411"/>
                  <a:pt x="346" y="416"/>
                  <a:pt x="352" y="416"/>
                </a:cubicBezTo>
                <a:cubicBezTo>
                  <a:pt x="358" y="416"/>
                  <a:pt x="362" y="411"/>
                  <a:pt x="362" y="405"/>
                </a:cubicBezTo>
                <a:cubicBezTo>
                  <a:pt x="362" y="275"/>
                  <a:pt x="362" y="275"/>
                  <a:pt x="362" y="275"/>
                </a:cubicBezTo>
                <a:cubicBezTo>
                  <a:pt x="381" y="271"/>
                  <a:pt x="394" y="254"/>
                  <a:pt x="394" y="2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7" name="Group 382">
            <a:extLst>
              <a:ext uri="{FF2B5EF4-FFF2-40B4-BE49-F238E27FC236}">
                <a16:creationId xmlns:a16="http://schemas.microsoft.com/office/drawing/2014/main" id="{86394F8A-8D10-4A59-95DA-9A6A5B3801A6}"/>
              </a:ext>
            </a:extLst>
          </p:cNvPr>
          <p:cNvGrpSpPr>
            <a:grpSpLocks noChangeAspect="1"/>
          </p:cNvGrpSpPr>
          <p:nvPr/>
        </p:nvGrpSpPr>
        <p:grpSpPr bwMode="auto">
          <a:xfrm>
            <a:off x="5279938" y="1697119"/>
            <a:ext cx="369021" cy="369021"/>
            <a:chOff x="390" y="1196"/>
            <a:chExt cx="340" cy="340"/>
          </a:xfrm>
          <a:solidFill>
            <a:schemeClr val="accent4"/>
          </a:solidFill>
        </p:grpSpPr>
        <p:sp>
          <p:nvSpPr>
            <p:cNvPr id="498" name="Freeform 383">
              <a:extLst>
                <a:ext uri="{FF2B5EF4-FFF2-40B4-BE49-F238E27FC236}">
                  <a16:creationId xmlns:a16="http://schemas.microsoft.com/office/drawing/2014/main" id="{44A02E98-1E0F-4C6A-8778-2A39378DB95A}"/>
                </a:ext>
              </a:extLst>
            </p:cNvPr>
            <p:cNvSpPr>
              <a:spLocks noEditPoints="1"/>
            </p:cNvSpPr>
            <p:nvPr/>
          </p:nvSpPr>
          <p:spPr bwMode="auto">
            <a:xfrm>
              <a:off x="465" y="1266"/>
              <a:ext cx="195" cy="192"/>
            </a:xfrm>
            <a:custGeom>
              <a:avLst/>
              <a:gdLst>
                <a:gd name="T0" fmla="*/ 238 w 293"/>
                <a:gd name="T1" fmla="*/ 288 h 288"/>
                <a:gd name="T2" fmla="*/ 225 w 293"/>
                <a:gd name="T3" fmla="*/ 287 h 288"/>
                <a:gd name="T4" fmla="*/ 82 w 293"/>
                <a:gd name="T5" fmla="*/ 210 h 288"/>
                <a:gd name="T6" fmla="*/ 6 w 293"/>
                <a:gd name="T7" fmla="*/ 67 h 288"/>
                <a:gd name="T8" fmla="*/ 18 w 293"/>
                <a:gd name="T9" fmla="*/ 26 h 288"/>
                <a:gd name="T10" fmla="*/ 20 w 293"/>
                <a:gd name="T11" fmla="*/ 23 h 288"/>
                <a:gd name="T12" fmla="*/ 47 w 293"/>
                <a:gd name="T13" fmla="*/ 1 h 288"/>
                <a:gd name="T14" fmla="*/ 47 w 293"/>
                <a:gd name="T15" fmla="*/ 1 h 288"/>
                <a:gd name="T16" fmla="*/ 76 w 293"/>
                <a:gd name="T17" fmla="*/ 9 h 288"/>
                <a:gd name="T18" fmla="*/ 125 w 293"/>
                <a:gd name="T19" fmla="*/ 71 h 288"/>
                <a:gd name="T20" fmla="*/ 123 w 293"/>
                <a:gd name="T21" fmla="*/ 80 h 288"/>
                <a:gd name="T22" fmla="*/ 99 w 293"/>
                <a:gd name="T23" fmla="*/ 104 h 288"/>
                <a:gd name="T24" fmla="*/ 106 w 293"/>
                <a:gd name="T25" fmla="*/ 116 h 288"/>
                <a:gd name="T26" fmla="*/ 138 w 293"/>
                <a:gd name="T27" fmla="*/ 155 h 288"/>
                <a:gd name="T28" fmla="*/ 177 w 293"/>
                <a:gd name="T29" fmla="*/ 186 h 288"/>
                <a:gd name="T30" fmla="*/ 189 w 293"/>
                <a:gd name="T31" fmla="*/ 193 h 288"/>
                <a:gd name="T32" fmla="*/ 213 w 293"/>
                <a:gd name="T33" fmla="*/ 170 h 288"/>
                <a:gd name="T34" fmla="*/ 222 w 293"/>
                <a:gd name="T35" fmla="*/ 167 h 288"/>
                <a:gd name="T36" fmla="*/ 284 w 293"/>
                <a:gd name="T37" fmla="*/ 216 h 288"/>
                <a:gd name="T38" fmla="*/ 291 w 293"/>
                <a:gd name="T39" fmla="*/ 244 h 288"/>
                <a:gd name="T40" fmla="*/ 291 w 293"/>
                <a:gd name="T41" fmla="*/ 244 h 288"/>
                <a:gd name="T42" fmla="*/ 269 w 293"/>
                <a:gd name="T43" fmla="*/ 272 h 288"/>
                <a:gd name="T44" fmla="*/ 266 w 293"/>
                <a:gd name="T45" fmla="*/ 275 h 288"/>
                <a:gd name="T46" fmla="*/ 238 w 293"/>
                <a:gd name="T47" fmla="*/ 288 h 288"/>
                <a:gd name="T48" fmla="*/ 53 w 293"/>
                <a:gd name="T49" fmla="*/ 22 h 288"/>
                <a:gd name="T50" fmla="*/ 36 w 293"/>
                <a:gd name="T51" fmla="*/ 38 h 288"/>
                <a:gd name="T52" fmla="*/ 33 w 293"/>
                <a:gd name="T53" fmla="*/ 41 h 288"/>
                <a:gd name="T54" fmla="*/ 27 w 293"/>
                <a:gd name="T55" fmla="*/ 63 h 288"/>
                <a:gd name="T56" fmla="*/ 27 w 293"/>
                <a:gd name="T57" fmla="*/ 65 h 288"/>
                <a:gd name="T58" fmla="*/ 97 w 293"/>
                <a:gd name="T59" fmla="*/ 195 h 288"/>
                <a:gd name="T60" fmla="*/ 228 w 293"/>
                <a:gd name="T61" fmla="*/ 266 h 288"/>
                <a:gd name="T62" fmla="*/ 229 w 293"/>
                <a:gd name="T63" fmla="*/ 266 h 288"/>
                <a:gd name="T64" fmla="*/ 251 w 293"/>
                <a:gd name="T65" fmla="*/ 259 h 288"/>
                <a:gd name="T66" fmla="*/ 255 w 293"/>
                <a:gd name="T67" fmla="*/ 256 h 288"/>
                <a:gd name="T68" fmla="*/ 270 w 293"/>
                <a:gd name="T69" fmla="*/ 240 h 288"/>
                <a:gd name="T70" fmla="*/ 224 w 293"/>
                <a:gd name="T71" fmla="*/ 189 h 288"/>
                <a:gd name="T72" fmla="*/ 198 w 293"/>
                <a:gd name="T73" fmla="*/ 215 h 288"/>
                <a:gd name="T74" fmla="*/ 184 w 293"/>
                <a:gd name="T75" fmla="*/ 216 h 288"/>
                <a:gd name="T76" fmla="*/ 166 w 293"/>
                <a:gd name="T77" fmla="*/ 204 h 288"/>
                <a:gd name="T78" fmla="*/ 122 w 293"/>
                <a:gd name="T79" fmla="*/ 170 h 288"/>
                <a:gd name="T80" fmla="*/ 88 w 293"/>
                <a:gd name="T81" fmla="*/ 127 h 288"/>
                <a:gd name="T82" fmla="*/ 76 w 293"/>
                <a:gd name="T83" fmla="*/ 108 h 288"/>
                <a:gd name="T84" fmla="*/ 78 w 293"/>
                <a:gd name="T85" fmla="*/ 95 h 288"/>
                <a:gd name="T86" fmla="*/ 104 w 293"/>
                <a:gd name="T87" fmla="*/ 69 h 288"/>
                <a:gd name="T88" fmla="*/ 53 w 293"/>
                <a:gd name="T89" fmla="*/ 2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 h="288">
                  <a:moveTo>
                    <a:pt x="238" y="288"/>
                  </a:moveTo>
                  <a:cubicBezTo>
                    <a:pt x="234" y="288"/>
                    <a:pt x="230" y="288"/>
                    <a:pt x="225" y="287"/>
                  </a:cubicBezTo>
                  <a:cubicBezTo>
                    <a:pt x="216" y="286"/>
                    <a:pt x="144" y="275"/>
                    <a:pt x="82" y="210"/>
                  </a:cubicBezTo>
                  <a:cubicBezTo>
                    <a:pt x="17" y="148"/>
                    <a:pt x="7" y="76"/>
                    <a:pt x="6" y="67"/>
                  </a:cubicBezTo>
                  <a:cubicBezTo>
                    <a:pt x="0" y="44"/>
                    <a:pt x="9" y="35"/>
                    <a:pt x="18" y="26"/>
                  </a:cubicBezTo>
                  <a:cubicBezTo>
                    <a:pt x="20" y="23"/>
                    <a:pt x="20" y="23"/>
                    <a:pt x="20" y="23"/>
                  </a:cubicBezTo>
                  <a:cubicBezTo>
                    <a:pt x="30" y="13"/>
                    <a:pt x="36" y="4"/>
                    <a:pt x="47" y="1"/>
                  </a:cubicBezTo>
                  <a:cubicBezTo>
                    <a:pt x="47" y="1"/>
                    <a:pt x="47" y="1"/>
                    <a:pt x="47" y="1"/>
                  </a:cubicBezTo>
                  <a:cubicBezTo>
                    <a:pt x="47" y="0"/>
                    <a:pt x="58" y="0"/>
                    <a:pt x="76" y="9"/>
                  </a:cubicBezTo>
                  <a:cubicBezTo>
                    <a:pt x="103" y="23"/>
                    <a:pt x="121" y="45"/>
                    <a:pt x="125" y="71"/>
                  </a:cubicBezTo>
                  <a:cubicBezTo>
                    <a:pt x="126" y="74"/>
                    <a:pt x="125" y="77"/>
                    <a:pt x="123" y="80"/>
                  </a:cubicBezTo>
                  <a:cubicBezTo>
                    <a:pt x="99" y="104"/>
                    <a:pt x="99" y="104"/>
                    <a:pt x="99" y="104"/>
                  </a:cubicBezTo>
                  <a:cubicBezTo>
                    <a:pt x="102" y="108"/>
                    <a:pt x="104" y="112"/>
                    <a:pt x="106" y="116"/>
                  </a:cubicBezTo>
                  <a:cubicBezTo>
                    <a:pt x="114" y="127"/>
                    <a:pt x="119" y="136"/>
                    <a:pt x="138" y="155"/>
                  </a:cubicBezTo>
                  <a:cubicBezTo>
                    <a:pt x="156" y="174"/>
                    <a:pt x="165" y="179"/>
                    <a:pt x="177" y="186"/>
                  </a:cubicBezTo>
                  <a:cubicBezTo>
                    <a:pt x="180" y="188"/>
                    <a:pt x="184" y="191"/>
                    <a:pt x="189" y="193"/>
                  </a:cubicBezTo>
                  <a:cubicBezTo>
                    <a:pt x="213" y="170"/>
                    <a:pt x="213" y="170"/>
                    <a:pt x="213" y="170"/>
                  </a:cubicBezTo>
                  <a:cubicBezTo>
                    <a:pt x="215" y="167"/>
                    <a:pt x="218" y="166"/>
                    <a:pt x="222" y="167"/>
                  </a:cubicBezTo>
                  <a:cubicBezTo>
                    <a:pt x="248" y="170"/>
                    <a:pt x="270" y="188"/>
                    <a:pt x="284" y="216"/>
                  </a:cubicBezTo>
                  <a:cubicBezTo>
                    <a:pt x="290" y="229"/>
                    <a:pt x="293" y="239"/>
                    <a:pt x="291" y="244"/>
                  </a:cubicBezTo>
                  <a:cubicBezTo>
                    <a:pt x="291" y="244"/>
                    <a:pt x="291" y="244"/>
                    <a:pt x="291" y="244"/>
                  </a:cubicBezTo>
                  <a:cubicBezTo>
                    <a:pt x="289" y="253"/>
                    <a:pt x="280" y="262"/>
                    <a:pt x="269" y="272"/>
                  </a:cubicBezTo>
                  <a:cubicBezTo>
                    <a:pt x="266" y="275"/>
                    <a:pt x="266" y="275"/>
                    <a:pt x="266" y="275"/>
                  </a:cubicBezTo>
                  <a:cubicBezTo>
                    <a:pt x="259" y="281"/>
                    <a:pt x="252" y="288"/>
                    <a:pt x="238" y="288"/>
                  </a:cubicBezTo>
                  <a:close/>
                  <a:moveTo>
                    <a:pt x="53" y="22"/>
                  </a:moveTo>
                  <a:cubicBezTo>
                    <a:pt x="48" y="25"/>
                    <a:pt x="40" y="34"/>
                    <a:pt x="36" y="38"/>
                  </a:cubicBezTo>
                  <a:cubicBezTo>
                    <a:pt x="33" y="41"/>
                    <a:pt x="33" y="41"/>
                    <a:pt x="33" y="41"/>
                  </a:cubicBezTo>
                  <a:cubicBezTo>
                    <a:pt x="26" y="49"/>
                    <a:pt x="24" y="51"/>
                    <a:pt x="27" y="63"/>
                  </a:cubicBezTo>
                  <a:cubicBezTo>
                    <a:pt x="27" y="64"/>
                    <a:pt x="27" y="64"/>
                    <a:pt x="27" y="65"/>
                  </a:cubicBezTo>
                  <a:cubicBezTo>
                    <a:pt x="27" y="65"/>
                    <a:pt x="35" y="136"/>
                    <a:pt x="97" y="195"/>
                  </a:cubicBezTo>
                  <a:cubicBezTo>
                    <a:pt x="157" y="258"/>
                    <a:pt x="227" y="265"/>
                    <a:pt x="228" y="266"/>
                  </a:cubicBezTo>
                  <a:cubicBezTo>
                    <a:pt x="228" y="266"/>
                    <a:pt x="229" y="266"/>
                    <a:pt x="229" y="266"/>
                  </a:cubicBezTo>
                  <a:cubicBezTo>
                    <a:pt x="242" y="269"/>
                    <a:pt x="244" y="267"/>
                    <a:pt x="251" y="259"/>
                  </a:cubicBezTo>
                  <a:cubicBezTo>
                    <a:pt x="255" y="256"/>
                    <a:pt x="255" y="256"/>
                    <a:pt x="255" y="256"/>
                  </a:cubicBezTo>
                  <a:cubicBezTo>
                    <a:pt x="258" y="253"/>
                    <a:pt x="267" y="244"/>
                    <a:pt x="270" y="240"/>
                  </a:cubicBezTo>
                  <a:cubicBezTo>
                    <a:pt x="267" y="230"/>
                    <a:pt x="255" y="197"/>
                    <a:pt x="224" y="189"/>
                  </a:cubicBezTo>
                  <a:cubicBezTo>
                    <a:pt x="198" y="215"/>
                    <a:pt x="198" y="215"/>
                    <a:pt x="198" y="215"/>
                  </a:cubicBezTo>
                  <a:cubicBezTo>
                    <a:pt x="194" y="218"/>
                    <a:pt x="188" y="219"/>
                    <a:pt x="184" y="216"/>
                  </a:cubicBezTo>
                  <a:cubicBezTo>
                    <a:pt x="177" y="211"/>
                    <a:pt x="171" y="207"/>
                    <a:pt x="166" y="204"/>
                  </a:cubicBezTo>
                  <a:cubicBezTo>
                    <a:pt x="154" y="197"/>
                    <a:pt x="143" y="190"/>
                    <a:pt x="122" y="170"/>
                  </a:cubicBezTo>
                  <a:cubicBezTo>
                    <a:pt x="102" y="149"/>
                    <a:pt x="96" y="139"/>
                    <a:pt x="88" y="127"/>
                  </a:cubicBezTo>
                  <a:cubicBezTo>
                    <a:pt x="85" y="121"/>
                    <a:pt x="81" y="116"/>
                    <a:pt x="76" y="108"/>
                  </a:cubicBezTo>
                  <a:cubicBezTo>
                    <a:pt x="73" y="104"/>
                    <a:pt x="74" y="98"/>
                    <a:pt x="78" y="95"/>
                  </a:cubicBezTo>
                  <a:cubicBezTo>
                    <a:pt x="104" y="69"/>
                    <a:pt x="104" y="69"/>
                    <a:pt x="104" y="69"/>
                  </a:cubicBezTo>
                  <a:cubicBezTo>
                    <a:pt x="96" y="38"/>
                    <a:pt x="62" y="25"/>
                    <a:pt x="5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9" name="Freeform 384">
              <a:extLst>
                <a:ext uri="{FF2B5EF4-FFF2-40B4-BE49-F238E27FC236}">
                  <a16:creationId xmlns:a16="http://schemas.microsoft.com/office/drawing/2014/main" id="{25F2E786-D245-496E-9C8C-52E04D0FD7E9}"/>
                </a:ext>
              </a:extLst>
            </p:cNvPr>
            <p:cNvSpPr>
              <a:spLocks noEditPoints="1"/>
            </p:cNvSpPr>
            <p:nvPr/>
          </p:nvSpPr>
          <p:spPr bwMode="auto">
            <a:xfrm>
              <a:off x="390" y="11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0" name="Freeform 5">
            <a:extLst>
              <a:ext uri="{FF2B5EF4-FFF2-40B4-BE49-F238E27FC236}">
                <a16:creationId xmlns:a16="http://schemas.microsoft.com/office/drawing/2014/main" id="{C8743C08-4502-4F8F-B010-C79A7AF9E4D3}"/>
              </a:ext>
            </a:extLst>
          </p:cNvPr>
          <p:cNvSpPr>
            <a:spLocks noChangeAspect="1" noEditPoints="1"/>
          </p:cNvSpPr>
          <p:nvPr/>
        </p:nvSpPr>
        <p:spPr bwMode="auto">
          <a:xfrm>
            <a:off x="4844126" y="1697119"/>
            <a:ext cx="369887" cy="3683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1 w 512"/>
              <a:gd name="T11" fmla="*/ 394 h 512"/>
              <a:gd name="T12" fmla="*/ 338 w 512"/>
              <a:gd name="T13" fmla="*/ 393 h 512"/>
              <a:gd name="T14" fmla="*/ 195 w 512"/>
              <a:gd name="T15" fmla="*/ 316 h 512"/>
              <a:gd name="T16" fmla="*/ 119 w 512"/>
              <a:gd name="T17" fmla="*/ 173 h 512"/>
              <a:gd name="T18" fmla="*/ 131 w 512"/>
              <a:gd name="T19" fmla="*/ 132 h 512"/>
              <a:gd name="T20" fmla="*/ 133 w 512"/>
              <a:gd name="T21" fmla="*/ 129 h 512"/>
              <a:gd name="T22" fmla="*/ 160 w 512"/>
              <a:gd name="T23" fmla="*/ 107 h 512"/>
              <a:gd name="T24" fmla="*/ 160 w 512"/>
              <a:gd name="T25" fmla="*/ 107 h 512"/>
              <a:gd name="T26" fmla="*/ 189 w 512"/>
              <a:gd name="T27" fmla="*/ 115 h 512"/>
              <a:gd name="T28" fmla="*/ 238 w 512"/>
              <a:gd name="T29" fmla="*/ 177 h 512"/>
              <a:gd name="T30" fmla="*/ 236 w 512"/>
              <a:gd name="T31" fmla="*/ 186 h 512"/>
              <a:gd name="T32" fmla="*/ 212 w 512"/>
              <a:gd name="T33" fmla="*/ 210 h 512"/>
              <a:gd name="T34" fmla="*/ 219 w 512"/>
              <a:gd name="T35" fmla="*/ 222 h 512"/>
              <a:gd name="T36" fmla="*/ 251 w 512"/>
              <a:gd name="T37" fmla="*/ 261 h 512"/>
              <a:gd name="T38" fmla="*/ 290 w 512"/>
              <a:gd name="T39" fmla="*/ 292 h 512"/>
              <a:gd name="T40" fmla="*/ 302 w 512"/>
              <a:gd name="T41" fmla="*/ 299 h 512"/>
              <a:gd name="T42" fmla="*/ 326 w 512"/>
              <a:gd name="T43" fmla="*/ 276 h 512"/>
              <a:gd name="T44" fmla="*/ 335 w 512"/>
              <a:gd name="T45" fmla="*/ 273 h 512"/>
              <a:gd name="T46" fmla="*/ 397 w 512"/>
              <a:gd name="T47" fmla="*/ 322 h 512"/>
              <a:gd name="T48" fmla="*/ 404 w 512"/>
              <a:gd name="T49" fmla="*/ 350 h 512"/>
              <a:gd name="T50" fmla="*/ 404 w 512"/>
              <a:gd name="T51" fmla="*/ 350 h 512"/>
              <a:gd name="T52" fmla="*/ 382 w 512"/>
              <a:gd name="T53" fmla="*/ 378 h 512"/>
              <a:gd name="T54" fmla="*/ 379 w 512"/>
              <a:gd name="T55" fmla="*/ 381 h 512"/>
              <a:gd name="T56" fmla="*/ 351 w 512"/>
              <a:gd name="T57" fmla="*/ 394 h 512"/>
              <a:gd name="T58" fmla="*/ 166 w 512"/>
              <a:gd name="T59" fmla="*/ 128 h 512"/>
              <a:gd name="T60" fmla="*/ 149 w 512"/>
              <a:gd name="T61" fmla="*/ 144 h 512"/>
              <a:gd name="T62" fmla="*/ 146 w 512"/>
              <a:gd name="T63" fmla="*/ 147 h 512"/>
              <a:gd name="T64" fmla="*/ 140 w 512"/>
              <a:gd name="T65" fmla="*/ 169 h 512"/>
              <a:gd name="T66" fmla="*/ 140 w 512"/>
              <a:gd name="T67" fmla="*/ 171 h 512"/>
              <a:gd name="T68" fmla="*/ 210 w 512"/>
              <a:gd name="T69" fmla="*/ 301 h 512"/>
              <a:gd name="T70" fmla="*/ 341 w 512"/>
              <a:gd name="T71" fmla="*/ 372 h 512"/>
              <a:gd name="T72" fmla="*/ 342 w 512"/>
              <a:gd name="T73" fmla="*/ 372 h 512"/>
              <a:gd name="T74" fmla="*/ 364 w 512"/>
              <a:gd name="T75" fmla="*/ 365 h 512"/>
              <a:gd name="T76" fmla="*/ 368 w 512"/>
              <a:gd name="T77" fmla="*/ 362 h 512"/>
              <a:gd name="T78" fmla="*/ 383 w 512"/>
              <a:gd name="T79" fmla="*/ 346 h 512"/>
              <a:gd name="T80" fmla="*/ 337 w 512"/>
              <a:gd name="T81" fmla="*/ 295 h 512"/>
              <a:gd name="T82" fmla="*/ 311 w 512"/>
              <a:gd name="T83" fmla="*/ 321 h 512"/>
              <a:gd name="T84" fmla="*/ 297 w 512"/>
              <a:gd name="T85" fmla="*/ 322 h 512"/>
              <a:gd name="T86" fmla="*/ 279 w 512"/>
              <a:gd name="T87" fmla="*/ 310 h 512"/>
              <a:gd name="T88" fmla="*/ 235 w 512"/>
              <a:gd name="T89" fmla="*/ 276 h 512"/>
              <a:gd name="T90" fmla="*/ 201 w 512"/>
              <a:gd name="T91" fmla="*/ 233 h 512"/>
              <a:gd name="T92" fmla="*/ 189 w 512"/>
              <a:gd name="T93" fmla="*/ 214 h 512"/>
              <a:gd name="T94" fmla="*/ 191 w 512"/>
              <a:gd name="T95" fmla="*/ 201 h 512"/>
              <a:gd name="T96" fmla="*/ 217 w 512"/>
              <a:gd name="T97" fmla="*/ 175 h 512"/>
              <a:gd name="T98" fmla="*/ 166 w 512"/>
              <a:gd name="T9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1" y="394"/>
                </a:moveTo>
                <a:cubicBezTo>
                  <a:pt x="347" y="394"/>
                  <a:pt x="343" y="394"/>
                  <a:pt x="338" y="393"/>
                </a:cubicBezTo>
                <a:cubicBezTo>
                  <a:pt x="329" y="392"/>
                  <a:pt x="257" y="381"/>
                  <a:pt x="195" y="316"/>
                </a:cubicBezTo>
                <a:cubicBezTo>
                  <a:pt x="130" y="254"/>
                  <a:pt x="120" y="182"/>
                  <a:pt x="119" y="173"/>
                </a:cubicBezTo>
                <a:cubicBezTo>
                  <a:pt x="113" y="150"/>
                  <a:pt x="122" y="141"/>
                  <a:pt x="131" y="132"/>
                </a:cubicBezTo>
                <a:cubicBezTo>
                  <a:pt x="133" y="129"/>
                  <a:pt x="133" y="129"/>
                  <a:pt x="133" y="129"/>
                </a:cubicBezTo>
                <a:cubicBezTo>
                  <a:pt x="143" y="119"/>
                  <a:pt x="149" y="110"/>
                  <a:pt x="160" y="107"/>
                </a:cubicBezTo>
                <a:cubicBezTo>
                  <a:pt x="160" y="107"/>
                  <a:pt x="160" y="107"/>
                  <a:pt x="160" y="107"/>
                </a:cubicBezTo>
                <a:cubicBezTo>
                  <a:pt x="160" y="106"/>
                  <a:pt x="171" y="106"/>
                  <a:pt x="189" y="115"/>
                </a:cubicBezTo>
                <a:cubicBezTo>
                  <a:pt x="216" y="129"/>
                  <a:pt x="234" y="151"/>
                  <a:pt x="238" y="177"/>
                </a:cubicBezTo>
                <a:cubicBezTo>
                  <a:pt x="239" y="180"/>
                  <a:pt x="238" y="183"/>
                  <a:pt x="236" y="186"/>
                </a:cubicBezTo>
                <a:cubicBezTo>
                  <a:pt x="212" y="210"/>
                  <a:pt x="212" y="210"/>
                  <a:pt x="212" y="210"/>
                </a:cubicBezTo>
                <a:cubicBezTo>
                  <a:pt x="215" y="214"/>
                  <a:pt x="217" y="218"/>
                  <a:pt x="219" y="222"/>
                </a:cubicBezTo>
                <a:cubicBezTo>
                  <a:pt x="227" y="233"/>
                  <a:pt x="232" y="242"/>
                  <a:pt x="251" y="261"/>
                </a:cubicBezTo>
                <a:cubicBezTo>
                  <a:pt x="269" y="280"/>
                  <a:pt x="278" y="285"/>
                  <a:pt x="290" y="292"/>
                </a:cubicBezTo>
                <a:cubicBezTo>
                  <a:pt x="293" y="294"/>
                  <a:pt x="297" y="297"/>
                  <a:pt x="302" y="299"/>
                </a:cubicBezTo>
                <a:cubicBezTo>
                  <a:pt x="326" y="276"/>
                  <a:pt x="326" y="276"/>
                  <a:pt x="326" y="276"/>
                </a:cubicBezTo>
                <a:cubicBezTo>
                  <a:pt x="328" y="273"/>
                  <a:pt x="331" y="272"/>
                  <a:pt x="335" y="273"/>
                </a:cubicBezTo>
                <a:cubicBezTo>
                  <a:pt x="361" y="276"/>
                  <a:pt x="383" y="294"/>
                  <a:pt x="397" y="322"/>
                </a:cubicBezTo>
                <a:cubicBezTo>
                  <a:pt x="403" y="335"/>
                  <a:pt x="406" y="345"/>
                  <a:pt x="404" y="350"/>
                </a:cubicBezTo>
                <a:cubicBezTo>
                  <a:pt x="404" y="350"/>
                  <a:pt x="404" y="350"/>
                  <a:pt x="404" y="350"/>
                </a:cubicBezTo>
                <a:cubicBezTo>
                  <a:pt x="402" y="359"/>
                  <a:pt x="393" y="368"/>
                  <a:pt x="382" y="378"/>
                </a:cubicBezTo>
                <a:cubicBezTo>
                  <a:pt x="379" y="381"/>
                  <a:pt x="379" y="381"/>
                  <a:pt x="379" y="381"/>
                </a:cubicBezTo>
                <a:cubicBezTo>
                  <a:pt x="372" y="387"/>
                  <a:pt x="365" y="394"/>
                  <a:pt x="351" y="394"/>
                </a:cubicBezTo>
                <a:close/>
                <a:moveTo>
                  <a:pt x="166" y="128"/>
                </a:moveTo>
                <a:cubicBezTo>
                  <a:pt x="161" y="131"/>
                  <a:pt x="153" y="140"/>
                  <a:pt x="149" y="144"/>
                </a:cubicBezTo>
                <a:cubicBezTo>
                  <a:pt x="146" y="147"/>
                  <a:pt x="146" y="147"/>
                  <a:pt x="146" y="147"/>
                </a:cubicBezTo>
                <a:cubicBezTo>
                  <a:pt x="139" y="155"/>
                  <a:pt x="137" y="157"/>
                  <a:pt x="140" y="169"/>
                </a:cubicBezTo>
                <a:cubicBezTo>
                  <a:pt x="140" y="170"/>
                  <a:pt x="140" y="170"/>
                  <a:pt x="140" y="171"/>
                </a:cubicBezTo>
                <a:cubicBezTo>
                  <a:pt x="140" y="171"/>
                  <a:pt x="148" y="242"/>
                  <a:pt x="210" y="301"/>
                </a:cubicBezTo>
                <a:cubicBezTo>
                  <a:pt x="270" y="364"/>
                  <a:pt x="340" y="371"/>
                  <a:pt x="341" y="372"/>
                </a:cubicBezTo>
                <a:cubicBezTo>
                  <a:pt x="341" y="372"/>
                  <a:pt x="342" y="372"/>
                  <a:pt x="342" y="372"/>
                </a:cubicBezTo>
                <a:cubicBezTo>
                  <a:pt x="355" y="375"/>
                  <a:pt x="357" y="373"/>
                  <a:pt x="364" y="365"/>
                </a:cubicBezTo>
                <a:cubicBezTo>
                  <a:pt x="368" y="362"/>
                  <a:pt x="368" y="362"/>
                  <a:pt x="368" y="362"/>
                </a:cubicBezTo>
                <a:cubicBezTo>
                  <a:pt x="371" y="359"/>
                  <a:pt x="380" y="350"/>
                  <a:pt x="383" y="346"/>
                </a:cubicBezTo>
                <a:cubicBezTo>
                  <a:pt x="380" y="336"/>
                  <a:pt x="368" y="303"/>
                  <a:pt x="337" y="295"/>
                </a:cubicBezTo>
                <a:cubicBezTo>
                  <a:pt x="311" y="321"/>
                  <a:pt x="311" y="321"/>
                  <a:pt x="311" y="321"/>
                </a:cubicBezTo>
                <a:cubicBezTo>
                  <a:pt x="307" y="324"/>
                  <a:pt x="301" y="325"/>
                  <a:pt x="297" y="322"/>
                </a:cubicBezTo>
                <a:cubicBezTo>
                  <a:pt x="290" y="317"/>
                  <a:pt x="284" y="313"/>
                  <a:pt x="279" y="310"/>
                </a:cubicBezTo>
                <a:cubicBezTo>
                  <a:pt x="267" y="303"/>
                  <a:pt x="256" y="296"/>
                  <a:pt x="235" y="276"/>
                </a:cubicBezTo>
                <a:cubicBezTo>
                  <a:pt x="215" y="255"/>
                  <a:pt x="209" y="245"/>
                  <a:pt x="201" y="233"/>
                </a:cubicBezTo>
                <a:cubicBezTo>
                  <a:pt x="198" y="227"/>
                  <a:pt x="194" y="222"/>
                  <a:pt x="189" y="214"/>
                </a:cubicBezTo>
                <a:cubicBezTo>
                  <a:pt x="186" y="210"/>
                  <a:pt x="187" y="204"/>
                  <a:pt x="191" y="201"/>
                </a:cubicBezTo>
                <a:cubicBezTo>
                  <a:pt x="217" y="175"/>
                  <a:pt x="217" y="175"/>
                  <a:pt x="217" y="175"/>
                </a:cubicBezTo>
                <a:cubicBezTo>
                  <a:pt x="209" y="144"/>
                  <a:pt x="175" y="131"/>
                  <a:pt x="166" y="1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01" name="Freeform 221">
            <a:extLst>
              <a:ext uri="{FF2B5EF4-FFF2-40B4-BE49-F238E27FC236}">
                <a16:creationId xmlns:a16="http://schemas.microsoft.com/office/drawing/2014/main" id="{DE598E41-9598-4639-80C3-EB8C53A1AE66}"/>
              </a:ext>
            </a:extLst>
          </p:cNvPr>
          <p:cNvSpPr>
            <a:spLocks noChangeAspect="1" noEditPoints="1"/>
          </p:cNvSpPr>
          <p:nvPr/>
        </p:nvSpPr>
        <p:spPr bwMode="auto">
          <a:xfrm>
            <a:off x="5714884" y="1697119"/>
            <a:ext cx="367041" cy="367041"/>
          </a:xfrm>
          <a:custGeom>
            <a:avLst/>
            <a:gdLst>
              <a:gd name="T0" fmla="*/ 138 w 512"/>
              <a:gd name="T1" fmla="*/ 272 h 512"/>
              <a:gd name="T2" fmla="*/ 154 w 512"/>
              <a:gd name="T3" fmla="*/ 256 h 512"/>
              <a:gd name="T4" fmla="*/ 170 w 512"/>
              <a:gd name="T5" fmla="*/ 272 h 512"/>
              <a:gd name="T6" fmla="*/ 170 w 512"/>
              <a:gd name="T7" fmla="*/ 346 h 512"/>
              <a:gd name="T8" fmla="*/ 154 w 512"/>
              <a:gd name="T9" fmla="*/ 362 h 512"/>
              <a:gd name="T10" fmla="*/ 138 w 512"/>
              <a:gd name="T11" fmla="*/ 346 h 512"/>
              <a:gd name="T12" fmla="*/ 138 w 512"/>
              <a:gd name="T13" fmla="*/ 272 h 512"/>
              <a:gd name="T14" fmla="*/ 357 w 512"/>
              <a:gd name="T15" fmla="*/ 256 h 512"/>
              <a:gd name="T16" fmla="*/ 341 w 512"/>
              <a:gd name="T17" fmla="*/ 272 h 512"/>
              <a:gd name="T18" fmla="*/ 341 w 512"/>
              <a:gd name="T19" fmla="*/ 346 h 512"/>
              <a:gd name="T20" fmla="*/ 357 w 512"/>
              <a:gd name="T21" fmla="*/ 362 h 512"/>
              <a:gd name="T22" fmla="*/ 373 w 512"/>
              <a:gd name="T23" fmla="*/ 346 h 512"/>
              <a:gd name="T24" fmla="*/ 373 w 512"/>
              <a:gd name="T25" fmla="*/ 272 h 512"/>
              <a:gd name="T26" fmla="*/ 357 w 512"/>
              <a:gd name="T27" fmla="*/ 256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94 w 512"/>
              <a:gd name="T39" fmla="*/ 240 h 512"/>
              <a:gd name="T40" fmla="*/ 256 w 512"/>
              <a:gd name="T41" fmla="*/ 106 h 512"/>
              <a:gd name="T42" fmla="*/ 117 w 512"/>
              <a:gd name="T43" fmla="*/ 240 h 512"/>
              <a:gd name="T44" fmla="*/ 117 w 512"/>
              <a:gd name="T45" fmla="*/ 346 h 512"/>
              <a:gd name="T46" fmla="*/ 154 w 512"/>
              <a:gd name="T47" fmla="*/ 384 h 512"/>
              <a:gd name="T48" fmla="*/ 192 w 512"/>
              <a:gd name="T49" fmla="*/ 346 h 512"/>
              <a:gd name="T50" fmla="*/ 192 w 512"/>
              <a:gd name="T51" fmla="*/ 272 h 512"/>
              <a:gd name="T52" fmla="*/ 154 w 512"/>
              <a:gd name="T53" fmla="*/ 234 h 512"/>
              <a:gd name="T54" fmla="*/ 138 w 512"/>
              <a:gd name="T55" fmla="*/ 238 h 512"/>
              <a:gd name="T56" fmla="*/ 256 w 512"/>
              <a:gd name="T57" fmla="*/ 128 h 512"/>
              <a:gd name="T58" fmla="*/ 373 w 512"/>
              <a:gd name="T59" fmla="*/ 238 h 512"/>
              <a:gd name="T60" fmla="*/ 357 w 512"/>
              <a:gd name="T61" fmla="*/ 234 h 512"/>
              <a:gd name="T62" fmla="*/ 320 w 512"/>
              <a:gd name="T63" fmla="*/ 272 h 512"/>
              <a:gd name="T64" fmla="*/ 320 w 512"/>
              <a:gd name="T65" fmla="*/ 346 h 512"/>
              <a:gd name="T66" fmla="*/ 357 w 512"/>
              <a:gd name="T67" fmla="*/ 384 h 512"/>
              <a:gd name="T68" fmla="*/ 394 w 512"/>
              <a:gd name="T69" fmla="*/ 346 h 512"/>
              <a:gd name="T70" fmla="*/ 394 w 512"/>
              <a:gd name="T71"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38" y="272"/>
                </a:moveTo>
                <a:cubicBezTo>
                  <a:pt x="138" y="263"/>
                  <a:pt x="146" y="256"/>
                  <a:pt x="154" y="256"/>
                </a:cubicBezTo>
                <a:cubicBezTo>
                  <a:pt x="163" y="256"/>
                  <a:pt x="170" y="263"/>
                  <a:pt x="170" y="272"/>
                </a:cubicBezTo>
                <a:cubicBezTo>
                  <a:pt x="170" y="346"/>
                  <a:pt x="170" y="346"/>
                  <a:pt x="170" y="346"/>
                </a:cubicBezTo>
                <a:cubicBezTo>
                  <a:pt x="170" y="355"/>
                  <a:pt x="163" y="362"/>
                  <a:pt x="154" y="362"/>
                </a:cubicBezTo>
                <a:cubicBezTo>
                  <a:pt x="146" y="362"/>
                  <a:pt x="138" y="355"/>
                  <a:pt x="138" y="346"/>
                </a:cubicBezTo>
                <a:lnTo>
                  <a:pt x="138" y="272"/>
                </a:lnTo>
                <a:close/>
                <a:moveTo>
                  <a:pt x="357" y="256"/>
                </a:moveTo>
                <a:cubicBezTo>
                  <a:pt x="348" y="256"/>
                  <a:pt x="341" y="263"/>
                  <a:pt x="341" y="272"/>
                </a:cubicBezTo>
                <a:cubicBezTo>
                  <a:pt x="341" y="346"/>
                  <a:pt x="341" y="346"/>
                  <a:pt x="341" y="346"/>
                </a:cubicBezTo>
                <a:cubicBezTo>
                  <a:pt x="341" y="355"/>
                  <a:pt x="348" y="362"/>
                  <a:pt x="357" y="362"/>
                </a:cubicBezTo>
                <a:cubicBezTo>
                  <a:pt x="366" y="362"/>
                  <a:pt x="373" y="355"/>
                  <a:pt x="373" y="346"/>
                </a:cubicBezTo>
                <a:cubicBezTo>
                  <a:pt x="373" y="272"/>
                  <a:pt x="373" y="272"/>
                  <a:pt x="373" y="272"/>
                </a:cubicBezTo>
                <a:cubicBezTo>
                  <a:pt x="373" y="263"/>
                  <a:pt x="366" y="256"/>
                  <a:pt x="357"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40"/>
                </a:moveTo>
                <a:cubicBezTo>
                  <a:pt x="394" y="166"/>
                  <a:pt x="332" y="106"/>
                  <a:pt x="256" y="106"/>
                </a:cubicBezTo>
                <a:cubicBezTo>
                  <a:pt x="179" y="106"/>
                  <a:pt x="117" y="166"/>
                  <a:pt x="117" y="240"/>
                </a:cubicBezTo>
                <a:cubicBezTo>
                  <a:pt x="117" y="346"/>
                  <a:pt x="117" y="346"/>
                  <a:pt x="117" y="346"/>
                </a:cubicBezTo>
                <a:cubicBezTo>
                  <a:pt x="117" y="367"/>
                  <a:pt x="134" y="384"/>
                  <a:pt x="154" y="384"/>
                </a:cubicBezTo>
                <a:cubicBezTo>
                  <a:pt x="175" y="384"/>
                  <a:pt x="192" y="367"/>
                  <a:pt x="192" y="346"/>
                </a:cubicBezTo>
                <a:cubicBezTo>
                  <a:pt x="192" y="272"/>
                  <a:pt x="192" y="272"/>
                  <a:pt x="192" y="272"/>
                </a:cubicBezTo>
                <a:cubicBezTo>
                  <a:pt x="192" y="251"/>
                  <a:pt x="175" y="234"/>
                  <a:pt x="154" y="234"/>
                </a:cubicBezTo>
                <a:cubicBezTo>
                  <a:pt x="149" y="234"/>
                  <a:pt x="143" y="236"/>
                  <a:pt x="138" y="238"/>
                </a:cubicBezTo>
                <a:cubicBezTo>
                  <a:pt x="139" y="177"/>
                  <a:pt x="192" y="128"/>
                  <a:pt x="256" y="128"/>
                </a:cubicBezTo>
                <a:cubicBezTo>
                  <a:pt x="320" y="128"/>
                  <a:pt x="372" y="177"/>
                  <a:pt x="373" y="238"/>
                </a:cubicBezTo>
                <a:cubicBezTo>
                  <a:pt x="368" y="236"/>
                  <a:pt x="363" y="234"/>
                  <a:pt x="357" y="234"/>
                </a:cubicBezTo>
                <a:cubicBezTo>
                  <a:pt x="336" y="234"/>
                  <a:pt x="320" y="251"/>
                  <a:pt x="320" y="272"/>
                </a:cubicBezTo>
                <a:cubicBezTo>
                  <a:pt x="320" y="346"/>
                  <a:pt x="320" y="346"/>
                  <a:pt x="320" y="346"/>
                </a:cubicBezTo>
                <a:cubicBezTo>
                  <a:pt x="320" y="367"/>
                  <a:pt x="336" y="384"/>
                  <a:pt x="357" y="384"/>
                </a:cubicBezTo>
                <a:cubicBezTo>
                  <a:pt x="378" y="384"/>
                  <a:pt x="394" y="367"/>
                  <a:pt x="394" y="346"/>
                </a:cubicBezTo>
                <a:lnTo>
                  <a:pt x="394" y="24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2" name="Group 224">
            <a:extLst>
              <a:ext uri="{FF2B5EF4-FFF2-40B4-BE49-F238E27FC236}">
                <a16:creationId xmlns:a16="http://schemas.microsoft.com/office/drawing/2014/main" id="{0632B8DE-7B40-485F-9264-BE51B9502EA2}"/>
              </a:ext>
            </a:extLst>
          </p:cNvPr>
          <p:cNvGrpSpPr>
            <a:grpSpLocks noChangeAspect="1"/>
          </p:cNvGrpSpPr>
          <p:nvPr/>
        </p:nvGrpSpPr>
        <p:grpSpPr bwMode="auto">
          <a:xfrm>
            <a:off x="6147850" y="1697119"/>
            <a:ext cx="367041" cy="367041"/>
            <a:chOff x="2713" y="721"/>
            <a:chExt cx="340" cy="340"/>
          </a:xfrm>
          <a:solidFill>
            <a:schemeClr val="accent3"/>
          </a:solidFill>
        </p:grpSpPr>
        <p:sp>
          <p:nvSpPr>
            <p:cNvPr id="503" name="Freeform 225">
              <a:extLst>
                <a:ext uri="{FF2B5EF4-FFF2-40B4-BE49-F238E27FC236}">
                  <a16:creationId xmlns:a16="http://schemas.microsoft.com/office/drawing/2014/main" id="{245C9CB5-F306-42B3-9300-6CDF68D6A30B}"/>
                </a:ext>
              </a:extLst>
            </p:cNvPr>
            <p:cNvSpPr>
              <a:spLocks noEditPoints="1"/>
            </p:cNvSpPr>
            <p:nvPr/>
          </p:nvSpPr>
          <p:spPr bwMode="auto">
            <a:xfrm>
              <a:off x="2713" y="7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4" name="Freeform 226">
              <a:extLst>
                <a:ext uri="{FF2B5EF4-FFF2-40B4-BE49-F238E27FC236}">
                  <a16:creationId xmlns:a16="http://schemas.microsoft.com/office/drawing/2014/main" id="{41071573-EF91-442C-B9DA-FE43D7DAFD47}"/>
                </a:ext>
              </a:extLst>
            </p:cNvPr>
            <p:cNvSpPr>
              <a:spLocks noEditPoints="1"/>
            </p:cNvSpPr>
            <p:nvPr/>
          </p:nvSpPr>
          <p:spPr bwMode="auto">
            <a:xfrm>
              <a:off x="2791" y="791"/>
              <a:ext cx="184" cy="185"/>
            </a:xfrm>
            <a:custGeom>
              <a:avLst/>
              <a:gdLst>
                <a:gd name="T0" fmla="*/ 139 w 277"/>
                <a:gd name="T1" fmla="*/ 0 h 278"/>
                <a:gd name="T2" fmla="*/ 0 w 277"/>
                <a:gd name="T3" fmla="*/ 134 h 278"/>
                <a:gd name="T4" fmla="*/ 0 w 277"/>
                <a:gd name="T5" fmla="*/ 240 h 278"/>
                <a:gd name="T6" fmla="*/ 37 w 277"/>
                <a:gd name="T7" fmla="*/ 278 h 278"/>
                <a:gd name="T8" fmla="*/ 75 w 277"/>
                <a:gd name="T9" fmla="*/ 240 h 278"/>
                <a:gd name="T10" fmla="*/ 75 w 277"/>
                <a:gd name="T11" fmla="*/ 166 h 278"/>
                <a:gd name="T12" fmla="*/ 37 w 277"/>
                <a:gd name="T13" fmla="*/ 128 h 278"/>
                <a:gd name="T14" fmla="*/ 21 w 277"/>
                <a:gd name="T15" fmla="*/ 132 h 278"/>
                <a:gd name="T16" fmla="*/ 139 w 277"/>
                <a:gd name="T17" fmla="*/ 22 h 278"/>
                <a:gd name="T18" fmla="*/ 256 w 277"/>
                <a:gd name="T19" fmla="*/ 132 h 278"/>
                <a:gd name="T20" fmla="*/ 240 w 277"/>
                <a:gd name="T21" fmla="*/ 128 h 278"/>
                <a:gd name="T22" fmla="*/ 203 w 277"/>
                <a:gd name="T23" fmla="*/ 166 h 278"/>
                <a:gd name="T24" fmla="*/ 203 w 277"/>
                <a:gd name="T25" fmla="*/ 240 h 278"/>
                <a:gd name="T26" fmla="*/ 240 w 277"/>
                <a:gd name="T27" fmla="*/ 278 h 278"/>
                <a:gd name="T28" fmla="*/ 277 w 277"/>
                <a:gd name="T29" fmla="*/ 240 h 278"/>
                <a:gd name="T30" fmla="*/ 277 w 277"/>
                <a:gd name="T31" fmla="*/ 134 h 278"/>
                <a:gd name="T32" fmla="*/ 139 w 277"/>
                <a:gd name="T33" fmla="*/ 0 h 278"/>
                <a:gd name="T34" fmla="*/ 37 w 277"/>
                <a:gd name="T35" fmla="*/ 150 h 278"/>
                <a:gd name="T36" fmla="*/ 53 w 277"/>
                <a:gd name="T37" fmla="*/ 166 h 278"/>
                <a:gd name="T38" fmla="*/ 53 w 277"/>
                <a:gd name="T39" fmla="*/ 240 h 278"/>
                <a:gd name="T40" fmla="*/ 37 w 277"/>
                <a:gd name="T41" fmla="*/ 256 h 278"/>
                <a:gd name="T42" fmla="*/ 21 w 277"/>
                <a:gd name="T43" fmla="*/ 240 h 278"/>
                <a:gd name="T44" fmla="*/ 21 w 277"/>
                <a:gd name="T45" fmla="*/ 166 h 278"/>
                <a:gd name="T46" fmla="*/ 37 w 277"/>
                <a:gd name="T47" fmla="*/ 150 h 278"/>
                <a:gd name="T48" fmla="*/ 256 w 277"/>
                <a:gd name="T49" fmla="*/ 240 h 278"/>
                <a:gd name="T50" fmla="*/ 240 w 277"/>
                <a:gd name="T51" fmla="*/ 256 h 278"/>
                <a:gd name="T52" fmla="*/ 224 w 277"/>
                <a:gd name="T53" fmla="*/ 240 h 278"/>
                <a:gd name="T54" fmla="*/ 224 w 277"/>
                <a:gd name="T55" fmla="*/ 166 h 278"/>
                <a:gd name="T56" fmla="*/ 240 w 277"/>
                <a:gd name="T57" fmla="*/ 150 h 278"/>
                <a:gd name="T58" fmla="*/ 256 w 277"/>
                <a:gd name="T59" fmla="*/ 166 h 278"/>
                <a:gd name="T60" fmla="*/ 256 w 277"/>
                <a:gd name="T61" fmla="*/ 24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7" h="278">
                  <a:moveTo>
                    <a:pt x="139" y="0"/>
                  </a:moveTo>
                  <a:cubicBezTo>
                    <a:pt x="62" y="0"/>
                    <a:pt x="0" y="60"/>
                    <a:pt x="0" y="134"/>
                  </a:cubicBezTo>
                  <a:cubicBezTo>
                    <a:pt x="0" y="240"/>
                    <a:pt x="0" y="240"/>
                    <a:pt x="0" y="240"/>
                  </a:cubicBezTo>
                  <a:cubicBezTo>
                    <a:pt x="0" y="261"/>
                    <a:pt x="17" y="278"/>
                    <a:pt x="37" y="278"/>
                  </a:cubicBezTo>
                  <a:cubicBezTo>
                    <a:pt x="58" y="278"/>
                    <a:pt x="75" y="261"/>
                    <a:pt x="75" y="240"/>
                  </a:cubicBezTo>
                  <a:cubicBezTo>
                    <a:pt x="75" y="166"/>
                    <a:pt x="75" y="166"/>
                    <a:pt x="75" y="166"/>
                  </a:cubicBezTo>
                  <a:cubicBezTo>
                    <a:pt x="75" y="145"/>
                    <a:pt x="58" y="128"/>
                    <a:pt x="37" y="128"/>
                  </a:cubicBezTo>
                  <a:cubicBezTo>
                    <a:pt x="32" y="128"/>
                    <a:pt x="26" y="130"/>
                    <a:pt x="21" y="132"/>
                  </a:cubicBezTo>
                  <a:cubicBezTo>
                    <a:pt x="22" y="71"/>
                    <a:pt x="75" y="22"/>
                    <a:pt x="139" y="22"/>
                  </a:cubicBezTo>
                  <a:cubicBezTo>
                    <a:pt x="203" y="22"/>
                    <a:pt x="255" y="71"/>
                    <a:pt x="256" y="132"/>
                  </a:cubicBezTo>
                  <a:cubicBezTo>
                    <a:pt x="251" y="130"/>
                    <a:pt x="246" y="128"/>
                    <a:pt x="240" y="128"/>
                  </a:cubicBezTo>
                  <a:cubicBezTo>
                    <a:pt x="219" y="128"/>
                    <a:pt x="203" y="145"/>
                    <a:pt x="203" y="166"/>
                  </a:cubicBezTo>
                  <a:cubicBezTo>
                    <a:pt x="203" y="240"/>
                    <a:pt x="203" y="240"/>
                    <a:pt x="203" y="240"/>
                  </a:cubicBezTo>
                  <a:cubicBezTo>
                    <a:pt x="203" y="261"/>
                    <a:pt x="219" y="278"/>
                    <a:pt x="240" y="278"/>
                  </a:cubicBezTo>
                  <a:cubicBezTo>
                    <a:pt x="261" y="278"/>
                    <a:pt x="277" y="261"/>
                    <a:pt x="277" y="240"/>
                  </a:cubicBezTo>
                  <a:cubicBezTo>
                    <a:pt x="277" y="134"/>
                    <a:pt x="277" y="134"/>
                    <a:pt x="277" y="134"/>
                  </a:cubicBezTo>
                  <a:cubicBezTo>
                    <a:pt x="277" y="60"/>
                    <a:pt x="215" y="0"/>
                    <a:pt x="139" y="0"/>
                  </a:cubicBezTo>
                  <a:close/>
                  <a:moveTo>
                    <a:pt x="37" y="150"/>
                  </a:moveTo>
                  <a:cubicBezTo>
                    <a:pt x="46" y="150"/>
                    <a:pt x="53" y="157"/>
                    <a:pt x="53" y="166"/>
                  </a:cubicBezTo>
                  <a:cubicBezTo>
                    <a:pt x="53" y="240"/>
                    <a:pt x="53" y="240"/>
                    <a:pt x="53" y="240"/>
                  </a:cubicBezTo>
                  <a:cubicBezTo>
                    <a:pt x="53" y="249"/>
                    <a:pt x="46" y="256"/>
                    <a:pt x="37" y="256"/>
                  </a:cubicBezTo>
                  <a:cubicBezTo>
                    <a:pt x="29" y="256"/>
                    <a:pt x="21" y="249"/>
                    <a:pt x="21" y="240"/>
                  </a:cubicBezTo>
                  <a:cubicBezTo>
                    <a:pt x="21" y="166"/>
                    <a:pt x="21" y="166"/>
                    <a:pt x="21" y="166"/>
                  </a:cubicBezTo>
                  <a:cubicBezTo>
                    <a:pt x="21" y="157"/>
                    <a:pt x="29" y="150"/>
                    <a:pt x="37" y="150"/>
                  </a:cubicBezTo>
                  <a:close/>
                  <a:moveTo>
                    <a:pt x="256" y="240"/>
                  </a:moveTo>
                  <a:cubicBezTo>
                    <a:pt x="256" y="249"/>
                    <a:pt x="249" y="256"/>
                    <a:pt x="240" y="256"/>
                  </a:cubicBezTo>
                  <a:cubicBezTo>
                    <a:pt x="231" y="256"/>
                    <a:pt x="224" y="249"/>
                    <a:pt x="224" y="240"/>
                  </a:cubicBezTo>
                  <a:cubicBezTo>
                    <a:pt x="224" y="166"/>
                    <a:pt x="224" y="166"/>
                    <a:pt x="224" y="166"/>
                  </a:cubicBezTo>
                  <a:cubicBezTo>
                    <a:pt x="224" y="157"/>
                    <a:pt x="231" y="150"/>
                    <a:pt x="240" y="150"/>
                  </a:cubicBezTo>
                  <a:cubicBezTo>
                    <a:pt x="249" y="150"/>
                    <a:pt x="256" y="157"/>
                    <a:pt x="256" y="166"/>
                  </a:cubicBezTo>
                  <a:lnTo>
                    <a:pt x="256" y="2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5" name="Freeform 283">
            <a:extLst>
              <a:ext uri="{FF2B5EF4-FFF2-40B4-BE49-F238E27FC236}">
                <a16:creationId xmlns:a16="http://schemas.microsoft.com/office/drawing/2014/main" id="{7DCCAC1E-0C51-4801-A1AD-D479F914E709}"/>
              </a:ext>
            </a:extLst>
          </p:cNvPr>
          <p:cNvSpPr>
            <a:spLocks noChangeAspect="1" noEditPoints="1"/>
          </p:cNvSpPr>
          <p:nvPr/>
        </p:nvSpPr>
        <p:spPr bwMode="auto">
          <a:xfrm>
            <a:off x="6580816" y="1697119"/>
            <a:ext cx="367982" cy="369064"/>
          </a:xfrm>
          <a:custGeom>
            <a:avLst/>
            <a:gdLst>
              <a:gd name="T0" fmla="*/ 256 w 512"/>
              <a:gd name="T1" fmla="*/ 512 h 512"/>
              <a:gd name="T2" fmla="*/ 138 w 512"/>
              <a:gd name="T3" fmla="*/ 373 h 512"/>
              <a:gd name="T4" fmla="*/ 117 w 512"/>
              <a:gd name="T5" fmla="*/ 352 h 512"/>
              <a:gd name="T6" fmla="*/ 138 w 512"/>
              <a:gd name="T7" fmla="*/ 373 h 512"/>
              <a:gd name="T8" fmla="*/ 106 w 512"/>
              <a:gd name="T9" fmla="*/ 320 h 512"/>
              <a:gd name="T10" fmla="*/ 149 w 512"/>
              <a:gd name="T11" fmla="*/ 320 h 512"/>
              <a:gd name="T12" fmla="*/ 117 w 512"/>
              <a:gd name="T13" fmla="*/ 288 h 512"/>
              <a:gd name="T14" fmla="*/ 138 w 512"/>
              <a:gd name="T15" fmla="*/ 266 h 512"/>
              <a:gd name="T16" fmla="*/ 138 w 512"/>
              <a:gd name="T17" fmla="*/ 245 h 512"/>
              <a:gd name="T18" fmla="*/ 117 w 512"/>
              <a:gd name="T19" fmla="*/ 224 h 512"/>
              <a:gd name="T20" fmla="*/ 138 w 512"/>
              <a:gd name="T21" fmla="*/ 245 h 512"/>
              <a:gd name="T22" fmla="*/ 192 w 512"/>
              <a:gd name="T23" fmla="*/ 362 h 512"/>
              <a:gd name="T24" fmla="*/ 234 w 512"/>
              <a:gd name="T25" fmla="*/ 362 h 512"/>
              <a:gd name="T26" fmla="*/ 202 w 512"/>
              <a:gd name="T27" fmla="*/ 330 h 512"/>
              <a:gd name="T28" fmla="*/ 224 w 512"/>
              <a:gd name="T29" fmla="*/ 309 h 512"/>
              <a:gd name="T30" fmla="*/ 224 w 512"/>
              <a:gd name="T31" fmla="*/ 288 h 512"/>
              <a:gd name="T32" fmla="*/ 202 w 512"/>
              <a:gd name="T33" fmla="*/ 266 h 512"/>
              <a:gd name="T34" fmla="*/ 224 w 512"/>
              <a:gd name="T35" fmla="*/ 288 h 512"/>
              <a:gd name="T36" fmla="*/ 277 w 512"/>
              <a:gd name="T37" fmla="*/ 362 h 512"/>
              <a:gd name="T38" fmla="*/ 320 w 512"/>
              <a:gd name="T39" fmla="*/ 362 h 512"/>
              <a:gd name="T40" fmla="*/ 288 w 512"/>
              <a:gd name="T41" fmla="*/ 330 h 512"/>
              <a:gd name="T42" fmla="*/ 309 w 512"/>
              <a:gd name="T43" fmla="*/ 309 h 512"/>
              <a:gd name="T44" fmla="*/ 309 w 512"/>
              <a:gd name="T45" fmla="*/ 288 h 512"/>
              <a:gd name="T46" fmla="*/ 288 w 512"/>
              <a:gd name="T47" fmla="*/ 266 h 512"/>
              <a:gd name="T48" fmla="*/ 309 w 512"/>
              <a:gd name="T49" fmla="*/ 288 h 512"/>
              <a:gd name="T50" fmla="*/ 277 w 512"/>
              <a:gd name="T51" fmla="*/ 234 h 512"/>
              <a:gd name="T52" fmla="*/ 320 w 512"/>
              <a:gd name="T53" fmla="*/ 234 h 512"/>
              <a:gd name="T54" fmla="*/ 288 w 512"/>
              <a:gd name="T55" fmla="*/ 202 h 512"/>
              <a:gd name="T56" fmla="*/ 309 w 512"/>
              <a:gd name="T57" fmla="*/ 181 h 512"/>
              <a:gd name="T58" fmla="*/ 309 w 512"/>
              <a:gd name="T59" fmla="*/ 160 h 512"/>
              <a:gd name="T60" fmla="*/ 288 w 512"/>
              <a:gd name="T61" fmla="*/ 138 h 512"/>
              <a:gd name="T62" fmla="*/ 309 w 512"/>
              <a:gd name="T63" fmla="*/ 160 h 512"/>
              <a:gd name="T64" fmla="*/ 277 w 512"/>
              <a:gd name="T65" fmla="*/ 106 h 512"/>
              <a:gd name="T66" fmla="*/ 320 w 512"/>
              <a:gd name="T67" fmla="*/ 106 h 512"/>
              <a:gd name="T68" fmla="*/ 373 w 512"/>
              <a:gd name="T69" fmla="*/ 373 h 512"/>
              <a:gd name="T70" fmla="*/ 394 w 512"/>
              <a:gd name="T71" fmla="*/ 352 h 512"/>
              <a:gd name="T72" fmla="*/ 394 w 512"/>
              <a:gd name="T73" fmla="*/ 330 h 512"/>
              <a:gd name="T74" fmla="*/ 373 w 512"/>
              <a:gd name="T75" fmla="*/ 309 h 512"/>
              <a:gd name="T76" fmla="*/ 394 w 512"/>
              <a:gd name="T77" fmla="*/ 330 h 512"/>
              <a:gd name="T78" fmla="*/ 362 w 512"/>
              <a:gd name="T79" fmla="*/ 277 h 512"/>
              <a:gd name="T80" fmla="*/ 405 w 512"/>
              <a:gd name="T81" fmla="*/ 277 h 512"/>
              <a:gd name="T82" fmla="*/ 373 w 512"/>
              <a:gd name="T83" fmla="*/ 245 h 512"/>
              <a:gd name="T84" fmla="*/ 394 w 512"/>
              <a:gd name="T85" fmla="*/ 224 h 512"/>
              <a:gd name="T86" fmla="*/ 394 w 512"/>
              <a:gd name="T87" fmla="*/ 202 h 512"/>
              <a:gd name="T88" fmla="*/ 373 w 512"/>
              <a:gd name="T89" fmla="*/ 181 h 512"/>
              <a:gd name="T90" fmla="*/ 394 w 512"/>
              <a:gd name="T91"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38" y="373"/>
                </a:moveTo>
                <a:cubicBezTo>
                  <a:pt x="117" y="373"/>
                  <a:pt x="117" y="373"/>
                  <a:pt x="117" y="373"/>
                </a:cubicBezTo>
                <a:cubicBezTo>
                  <a:pt x="111" y="373"/>
                  <a:pt x="106" y="368"/>
                  <a:pt x="106" y="362"/>
                </a:cubicBezTo>
                <a:cubicBezTo>
                  <a:pt x="106" y="356"/>
                  <a:pt x="111" y="352"/>
                  <a:pt x="117" y="352"/>
                </a:cubicBezTo>
                <a:cubicBezTo>
                  <a:pt x="138" y="352"/>
                  <a:pt x="138" y="352"/>
                  <a:pt x="138" y="352"/>
                </a:cubicBezTo>
                <a:cubicBezTo>
                  <a:pt x="144" y="352"/>
                  <a:pt x="149" y="356"/>
                  <a:pt x="149" y="362"/>
                </a:cubicBezTo>
                <a:cubicBezTo>
                  <a:pt x="149" y="368"/>
                  <a:pt x="144" y="373"/>
                  <a:pt x="138" y="373"/>
                </a:cubicBezTo>
                <a:close/>
                <a:moveTo>
                  <a:pt x="138" y="330"/>
                </a:moveTo>
                <a:cubicBezTo>
                  <a:pt x="117" y="330"/>
                  <a:pt x="117" y="330"/>
                  <a:pt x="117" y="330"/>
                </a:cubicBezTo>
                <a:cubicBezTo>
                  <a:pt x="111" y="330"/>
                  <a:pt x="106" y="326"/>
                  <a:pt x="106" y="320"/>
                </a:cubicBezTo>
                <a:cubicBezTo>
                  <a:pt x="106" y="314"/>
                  <a:pt x="111" y="309"/>
                  <a:pt x="117" y="309"/>
                </a:cubicBezTo>
                <a:cubicBezTo>
                  <a:pt x="138" y="309"/>
                  <a:pt x="138" y="309"/>
                  <a:pt x="138" y="309"/>
                </a:cubicBezTo>
                <a:cubicBezTo>
                  <a:pt x="144" y="309"/>
                  <a:pt x="149" y="314"/>
                  <a:pt x="149" y="320"/>
                </a:cubicBezTo>
                <a:cubicBezTo>
                  <a:pt x="149" y="326"/>
                  <a:pt x="144" y="330"/>
                  <a:pt x="138" y="330"/>
                </a:cubicBezTo>
                <a:close/>
                <a:moveTo>
                  <a:pt x="138" y="288"/>
                </a:moveTo>
                <a:cubicBezTo>
                  <a:pt x="117" y="288"/>
                  <a:pt x="117" y="288"/>
                  <a:pt x="117" y="288"/>
                </a:cubicBezTo>
                <a:cubicBezTo>
                  <a:pt x="111" y="288"/>
                  <a:pt x="106" y="283"/>
                  <a:pt x="106" y="277"/>
                </a:cubicBezTo>
                <a:cubicBezTo>
                  <a:pt x="106" y="271"/>
                  <a:pt x="111" y="266"/>
                  <a:pt x="117" y="266"/>
                </a:cubicBezTo>
                <a:cubicBezTo>
                  <a:pt x="138" y="266"/>
                  <a:pt x="138" y="266"/>
                  <a:pt x="138" y="266"/>
                </a:cubicBezTo>
                <a:cubicBezTo>
                  <a:pt x="144" y="266"/>
                  <a:pt x="149" y="271"/>
                  <a:pt x="149" y="277"/>
                </a:cubicBezTo>
                <a:cubicBezTo>
                  <a:pt x="149" y="283"/>
                  <a:pt x="144" y="288"/>
                  <a:pt x="138" y="288"/>
                </a:cubicBezTo>
                <a:close/>
                <a:moveTo>
                  <a:pt x="138" y="245"/>
                </a:moveTo>
                <a:cubicBezTo>
                  <a:pt x="117" y="245"/>
                  <a:pt x="117" y="245"/>
                  <a:pt x="117" y="245"/>
                </a:cubicBezTo>
                <a:cubicBezTo>
                  <a:pt x="111" y="245"/>
                  <a:pt x="106" y="240"/>
                  <a:pt x="106" y="234"/>
                </a:cubicBezTo>
                <a:cubicBezTo>
                  <a:pt x="106" y="228"/>
                  <a:pt x="111" y="224"/>
                  <a:pt x="117" y="224"/>
                </a:cubicBezTo>
                <a:cubicBezTo>
                  <a:pt x="138" y="224"/>
                  <a:pt x="138" y="224"/>
                  <a:pt x="138" y="224"/>
                </a:cubicBezTo>
                <a:cubicBezTo>
                  <a:pt x="144" y="224"/>
                  <a:pt x="149" y="228"/>
                  <a:pt x="149" y="234"/>
                </a:cubicBezTo>
                <a:cubicBezTo>
                  <a:pt x="149" y="240"/>
                  <a:pt x="144" y="245"/>
                  <a:pt x="138" y="245"/>
                </a:cubicBezTo>
                <a:close/>
                <a:moveTo>
                  <a:pt x="224" y="373"/>
                </a:moveTo>
                <a:cubicBezTo>
                  <a:pt x="202" y="373"/>
                  <a:pt x="202" y="373"/>
                  <a:pt x="202" y="373"/>
                </a:cubicBezTo>
                <a:cubicBezTo>
                  <a:pt x="196" y="373"/>
                  <a:pt x="192" y="368"/>
                  <a:pt x="192" y="362"/>
                </a:cubicBezTo>
                <a:cubicBezTo>
                  <a:pt x="192" y="356"/>
                  <a:pt x="196" y="352"/>
                  <a:pt x="202" y="352"/>
                </a:cubicBezTo>
                <a:cubicBezTo>
                  <a:pt x="224" y="352"/>
                  <a:pt x="224" y="352"/>
                  <a:pt x="224" y="352"/>
                </a:cubicBezTo>
                <a:cubicBezTo>
                  <a:pt x="230" y="352"/>
                  <a:pt x="234" y="356"/>
                  <a:pt x="234" y="362"/>
                </a:cubicBezTo>
                <a:cubicBezTo>
                  <a:pt x="234" y="368"/>
                  <a:pt x="230" y="373"/>
                  <a:pt x="224" y="373"/>
                </a:cubicBezTo>
                <a:close/>
                <a:moveTo>
                  <a:pt x="224" y="330"/>
                </a:moveTo>
                <a:cubicBezTo>
                  <a:pt x="202" y="330"/>
                  <a:pt x="202" y="330"/>
                  <a:pt x="202" y="330"/>
                </a:cubicBezTo>
                <a:cubicBezTo>
                  <a:pt x="196" y="330"/>
                  <a:pt x="192" y="326"/>
                  <a:pt x="192" y="320"/>
                </a:cubicBezTo>
                <a:cubicBezTo>
                  <a:pt x="192" y="314"/>
                  <a:pt x="196" y="309"/>
                  <a:pt x="202" y="309"/>
                </a:cubicBezTo>
                <a:cubicBezTo>
                  <a:pt x="224" y="309"/>
                  <a:pt x="224" y="309"/>
                  <a:pt x="224" y="309"/>
                </a:cubicBezTo>
                <a:cubicBezTo>
                  <a:pt x="230" y="309"/>
                  <a:pt x="234" y="314"/>
                  <a:pt x="234" y="320"/>
                </a:cubicBezTo>
                <a:cubicBezTo>
                  <a:pt x="234" y="326"/>
                  <a:pt x="230" y="330"/>
                  <a:pt x="224" y="330"/>
                </a:cubicBezTo>
                <a:close/>
                <a:moveTo>
                  <a:pt x="224" y="288"/>
                </a:moveTo>
                <a:cubicBezTo>
                  <a:pt x="202" y="288"/>
                  <a:pt x="202" y="288"/>
                  <a:pt x="202" y="288"/>
                </a:cubicBezTo>
                <a:cubicBezTo>
                  <a:pt x="196" y="288"/>
                  <a:pt x="192" y="283"/>
                  <a:pt x="192" y="277"/>
                </a:cubicBezTo>
                <a:cubicBezTo>
                  <a:pt x="192" y="271"/>
                  <a:pt x="196" y="266"/>
                  <a:pt x="202" y="266"/>
                </a:cubicBezTo>
                <a:cubicBezTo>
                  <a:pt x="224" y="266"/>
                  <a:pt x="224" y="266"/>
                  <a:pt x="224" y="266"/>
                </a:cubicBezTo>
                <a:cubicBezTo>
                  <a:pt x="230" y="266"/>
                  <a:pt x="234" y="271"/>
                  <a:pt x="234" y="277"/>
                </a:cubicBezTo>
                <a:cubicBezTo>
                  <a:pt x="234" y="283"/>
                  <a:pt x="230" y="288"/>
                  <a:pt x="224" y="288"/>
                </a:cubicBezTo>
                <a:close/>
                <a:moveTo>
                  <a:pt x="309" y="373"/>
                </a:moveTo>
                <a:cubicBezTo>
                  <a:pt x="288" y="373"/>
                  <a:pt x="288" y="373"/>
                  <a:pt x="288" y="373"/>
                </a:cubicBezTo>
                <a:cubicBezTo>
                  <a:pt x="282" y="373"/>
                  <a:pt x="277" y="368"/>
                  <a:pt x="277" y="362"/>
                </a:cubicBezTo>
                <a:cubicBezTo>
                  <a:pt x="277" y="356"/>
                  <a:pt x="282" y="352"/>
                  <a:pt x="288" y="352"/>
                </a:cubicBezTo>
                <a:cubicBezTo>
                  <a:pt x="309" y="352"/>
                  <a:pt x="309" y="352"/>
                  <a:pt x="309" y="352"/>
                </a:cubicBezTo>
                <a:cubicBezTo>
                  <a:pt x="315" y="352"/>
                  <a:pt x="320" y="356"/>
                  <a:pt x="320" y="362"/>
                </a:cubicBezTo>
                <a:cubicBezTo>
                  <a:pt x="320" y="368"/>
                  <a:pt x="315" y="373"/>
                  <a:pt x="309" y="373"/>
                </a:cubicBezTo>
                <a:close/>
                <a:moveTo>
                  <a:pt x="309" y="330"/>
                </a:moveTo>
                <a:cubicBezTo>
                  <a:pt x="288" y="330"/>
                  <a:pt x="288" y="330"/>
                  <a:pt x="288" y="330"/>
                </a:cubicBezTo>
                <a:cubicBezTo>
                  <a:pt x="282" y="330"/>
                  <a:pt x="277" y="326"/>
                  <a:pt x="277" y="320"/>
                </a:cubicBezTo>
                <a:cubicBezTo>
                  <a:pt x="277" y="314"/>
                  <a:pt x="282" y="309"/>
                  <a:pt x="288" y="309"/>
                </a:cubicBezTo>
                <a:cubicBezTo>
                  <a:pt x="309" y="309"/>
                  <a:pt x="309" y="309"/>
                  <a:pt x="309" y="309"/>
                </a:cubicBezTo>
                <a:cubicBezTo>
                  <a:pt x="315" y="309"/>
                  <a:pt x="320" y="314"/>
                  <a:pt x="320" y="320"/>
                </a:cubicBezTo>
                <a:cubicBezTo>
                  <a:pt x="320" y="326"/>
                  <a:pt x="315" y="330"/>
                  <a:pt x="309" y="330"/>
                </a:cubicBezTo>
                <a:close/>
                <a:moveTo>
                  <a:pt x="309" y="288"/>
                </a:moveTo>
                <a:cubicBezTo>
                  <a:pt x="288" y="288"/>
                  <a:pt x="288" y="288"/>
                  <a:pt x="288" y="288"/>
                </a:cubicBezTo>
                <a:cubicBezTo>
                  <a:pt x="282" y="288"/>
                  <a:pt x="277" y="283"/>
                  <a:pt x="277" y="277"/>
                </a:cubicBezTo>
                <a:cubicBezTo>
                  <a:pt x="277" y="271"/>
                  <a:pt x="282" y="266"/>
                  <a:pt x="288" y="266"/>
                </a:cubicBezTo>
                <a:cubicBezTo>
                  <a:pt x="309" y="266"/>
                  <a:pt x="309" y="266"/>
                  <a:pt x="309" y="266"/>
                </a:cubicBezTo>
                <a:cubicBezTo>
                  <a:pt x="315" y="266"/>
                  <a:pt x="320" y="271"/>
                  <a:pt x="320" y="277"/>
                </a:cubicBezTo>
                <a:cubicBezTo>
                  <a:pt x="320" y="283"/>
                  <a:pt x="315" y="288"/>
                  <a:pt x="309" y="288"/>
                </a:cubicBezTo>
                <a:close/>
                <a:moveTo>
                  <a:pt x="309" y="245"/>
                </a:moveTo>
                <a:cubicBezTo>
                  <a:pt x="288" y="245"/>
                  <a:pt x="288" y="245"/>
                  <a:pt x="288" y="245"/>
                </a:cubicBezTo>
                <a:cubicBezTo>
                  <a:pt x="282" y="245"/>
                  <a:pt x="277" y="240"/>
                  <a:pt x="277" y="234"/>
                </a:cubicBezTo>
                <a:cubicBezTo>
                  <a:pt x="277" y="228"/>
                  <a:pt x="282" y="224"/>
                  <a:pt x="288" y="224"/>
                </a:cubicBezTo>
                <a:cubicBezTo>
                  <a:pt x="309" y="224"/>
                  <a:pt x="309" y="224"/>
                  <a:pt x="309" y="224"/>
                </a:cubicBezTo>
                <a:cubicBezTo>
                  <a:pt x="315" y="224"/>
                  <a:pt x="320" y="228"/>
                  <a:pt x="320" y="234"/>
                </a:cubicBezTo>
                <a:cubicBezTo>
                  <a:pt x="320" y="240"/>
                  <a:pt x="315" y="245"/>
                  <a:pt x="309" y="245"/>
                </a:cubicBezTo>
                <a:close/>
                <a:moveTo>
                  <a:pt x="309" y="202"/>
                </a:moveTo>
                <a:cubicBezTo>
                  <a:pt x="288" y="202"/>
                  <a:pt x="288" y="202"/>
                  <a:pt x="288" y="202"/>
                </a:cubicBezTo>
                <a:cubicBezTo>
                  <a:pt x="282" y="202"/>
                  <a:pt x="277" y="198"/>
                  <a:pt x="277" y="192"/>
                </a:cubicBezTo>
                <a:cubicBezTo>
                  <a:pt x="277" y="186"/>
                  <a:pt x="282" y="181"/>
                  <a:pt x="288" y="181"/>
                </a:cubicBezTo>
                <a:cubicBezTo>
                  <a:pt x="309" y="181"/>
                  <a:pt x="309" y="181"/>
                  <a:pt x="309" y="181"/>
                </a:cubicBezTo>
                <a:cubicBezTo>
                  <a:pt x="315" y="181"/>
                  <a:pt x="320" y="186"/>
                  <a:pt x="320" y="192"/>
                </a:cubicBezTo>
                <a:cubicBezTo>
                  <a:pt x="320" y="198"/>
                  <a:pt x="315" y="202"/>
                  <a:pt x="309" y="202"/>
                </a:cubicBezTo>
                <a:close/>
                <a:moveTo>
                  <a:pt x="309" y="160"/>
                </a:moveTo>
                <a:cubicBezTo>
                  <a:pt x="288" y="160"/>
                  <a:pt x="288" y="160"/>
                  <a:pt x="288" y="160"/>
                </a:cubicBezTo>
                <a:cubicBezTo>
                  <a:pt x="282" y="160"/>
                  <a:pt x="277" y="155"/>
                  <a:pt x="277" y="149"/>
                </a:cubicBezTo>
                <a:cubicBezTo>
                  <a:pt x="277" y="143"/>
                  <a:pt x="282" y="138"/>
                  <a:pt x="288" y="138"/>
                </a:cubicBezTo>
                <a:cubicBezTo>
                  <a:pt x="309" y="138"/>
                  <a:pt x="309" y="138"/>
                  <a:pt x="309" y="138"/>
                </a:cubicBezTo>
                <a:cubicBezTo>
                  <a:pt x="315" y="138"/>
                  <a:pt x="320" y="143"/>
                  <a:pt x="320" y="149"/>
                </a:cubicBezTo>
                <a:cubicBezTo>
                  <a:pt x="320" y="155"/>
                  <a:pt x="315" y="160"/>
                  <a:pt x="309" y="160"/>
                </a:cubicBezTo>
                <a:close/>
                <a:moveTo>
                  <a:pt x="309" y="117"/>
                </a:moveTo>
                <a:cubicBezTo>
                  <a:pt x="288" y="117"/>
                  <a:pt x="288" y="117"/>
                  <a:pt x="288" y="117"/>
                </a:cubicBezTo>
                <a:cubicBezTo>
                  <a:pt x="282" y="117"/>
                  <a:pt x="277" y="112"/>
                  <a:pt x="277" y="106"/>
                </a:cubicBezTo>
                <a:cubicBezTo>
                  <a:pt x="277" y="100"/>
                  <a:pt x="282" y="96"/>
                  <a:pt x="288" y="96"/>
                </a:cubicBezTo>
                <a:cubicBezTo>
                  <a:pt x="309" y="96"/>
                  <a:pt x="309" y="96"/>
                  <a:pt x="309" y="96"/>
                </a:cubicBezTo>
                <a:cubicBezTo>
                  <a:pt x="315" y="96"/>
                  <a:pt x="320" y="100"/>
                  <a:pt x="320" y="106"/>
                </a:cubicBezTo>
                <a:cubicBezTo>
                  <a:pt x="320" y="112"/>
                  <a:pt x="315" y="117"/>
                  <a:pt x="309" y="117"/>
                </a:cubicBezTo>
                <a:close/>
                <a:moveTo>
                  <a:pt x="394" y="373"/>
                </a:moveTo>
                <a:cubicBezTo>
                  <a:pt x="373" y="373"/>
                  <a:pt x="373" y="373"/>
                  <a:pt x="373" y="373"/>
                </a:cubicBezTo>
                <a:cubicBezTo>
                  <a:pt x="367" y="373"/>
                  <a:pt x="362" y="368"/>
                  <a:pt x="362" y="362"/>
                </a:cubicBezTo>
                <a:cubicBezTo>
                  <a:pt x="362" y="356"/>
                  <a:pt x="367" y="352"/>
                  <a:pt x="373" y="352"/>
                </a:cubicBezTo>
                <a:cubicBezTo>
                  <a:pt x="394" y="352"/>
                  <a:pt x="394" y="352"/>
                  <a:pt x="394" y="352"/>
                </a:cubicBezTo>
                <a:cubicBezTo>
                  <a:pt x="400" y="352"/>
                  <a:pt x="405" y="356"/>
                  <a:pt x="405" y="362"/>
                </a:cubicBezTo>
                <a:cubicBezTo>
                  <a:pt x="405" y="368"/>
                  <a:pt x="400" y="373"/>
                  <a:pt x="394" y="373"/>
                </a:cubicBezTo>
                <a:close/>
                <a:moveTo>
                  <a:pt x="394" y="330"/>
                </a:moveTo>
                <a:cubicBezTo>
                  <a:pt x="373" y="330"/>
                  <a:pt x="373" y="330"/>
                  <a:pt x="373" y="330"/>
                </a:cubicBezTo>
                <a:cubicBezTo>
                  <a:pt x="367" y="330"/>
                  <a:pt x="362" y="326"/>
                  <a:pt x="362" y="320"/>
                </a:cubicBezTo>
                <a:cubicBezTo>
                  <a:pt x="362" y="314"/>
                  <a:pt x="367" y="309"/>
                  <a:pt x="373" y="309"/>
                </a:cubicBezTo>
                <a:cubicBezTo>
                  <a:pt x="394" y="309"/>
                  <a:pt x="394" y="309"/>
                  <a:pt x="394" y="309"/>
                </a:cubicBezTo>
                <a:cubicBezTo>
                  <a:pt x="400" y="309"/>
                  <a:pt x="405" y="314"/>
                  <a:pt x="405" y="320"/>
                </a:cubicBezTo>
                <a:cubicBezTo>
                  <a:pt x="405" y="326"/>
                  <a:pt x="400" y="330"/>
                  <a:pt x="394" y="330"/>
                </a:cubicBezTo>
                <a:close/>
                <a:moveTo>
                  <a:pt x="394" y="288"/>
                </a:moveTo>
                <a:cubicBezTo>
                  <a:pt x="373" y="288"/>
                  <a:pt x="373" y="288"/>
                  <a:pt x="373" y="288"/>
                </a:cubicBezTo>
                <a:cubicBezTo>
                  <a:pt x="367" y="288"/>
                  <a:pt x="362" y="283"/>
                  <a:pt x="362" y="277"/>
                </a:cubicBezTo>
                <a:cubicBezTo>
                  <a:pt x="362" y="271"/>
                  <a:pt x="367" y="266"/>
                  <a:pt x="373" y="266"/>
                </a:cubicBezTo>
                <a:cubicBezTo>
                  <a:pt x="394" y="266"/>
                  <a:pt x="394" y="266"/>
                  <a:pt x="394" y="266"/>
                </a:cubicBezTo>
                <a:cubicBezTo>
                  <a:pt x="400" y="266"/>
                  <a:pt x="405" y="271"/>
                  <a:pt x="405" y="277"/>
                </a:cubicBezTo>
                <a:cubicBezTo>
                  <a:pt x="405" y="283"/>
                  <a:pt x="400" y="288"/>
                  <a:pt x="394" y="288"/>
                </a:cubicBezTo>
                <a:close/>
                <a:moveTo>
                  <a:pt x="394" y="245"/>
                </a:moveTo>
                <a:cubicBezTo>
                  <a:pt x="373" y="245"/>
                  <a:pt x="373" y="245"/>
                  <a:pt x="373" y="245"/>
                </a:cubicBezTo>
                <a:cubicBezTo>
                  <a:pt x="367" y="245"/>
                  <a:pt x="362" y="240"/>
                  <a:pt x="362" y="234"/>
                </a:cubicBezTo>
                <a:cubicBezTo>
                  <a:pt x="362" y="228"/>
                  <a:pt x="367" y="224"/>
                  <a:pt x="373" y="224"/>
                </a:cubicBezTo>
                <a:cubicBezTo>
                  <a:pt x="394" y="224"/>
                  <a:pt x="394" y="224"/>
                  <a:pt x="394" y="224"/>
                </a:cubicBezTo>
                <a:cubicBezTo>
                  <a:pt x="400" y="224"/>
                  <a:pt x="405" y="228"/>
                  <a:pt x="405" y="234"/>
                </a:cubicBezTo>
                <a:cubicBezTo>
                  <a:pt x="405" y="240"/>
                  <a:pt x="400" y="245"/>
                  <a:pt x="394" y="245"/>
                </a:cubicBezTo>
                <a:close/>
                <a:moveTo>
                  <a:pt x="394" y="202"/>
                </a:moveTo>
                <a:cubicBezTo>
                  <a:pt x="373" y="202"/>
                  <a:pt x="373" y="202"/>
                  <a:pt x="373" y="202"/>
                </a:cubicBezTo>
                <a:cubicBezTo>
                  <a:pt x="367" y="202"/>
                  <a:pt x="362" y="198"/>
                  <a:pt x="362" y="192"/>
                </a:cubicBezTo>
                <a:cubicBezTo>
                  <a:pt x="362" y="186"/>
                  <a:pt x="367" y="181"/>
                  <a:pt x="373" y="181"/>
                </a:cubicBezTo>
                <a:cubicBezTo>
                  <a:pt x="394" y="181"/>
                  <a:pt x="394" y="181"/>
                  <a:pt x="394" y="181"/>
                </a:cubicBezTo>
                <a:cubicBezTo>
                  <a:pt x="400" y="181"/>
                  <a:pt x="405" y="186"/>
                  <a:pt x="405" y="192"/>
                </a:cubicBezTo>
                <a:cubicBezTo>
                  <a:pt x="405" y="198"/>
                  <a:pt x="400" y="202"/>
                  <a:pt x="394" y="20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6" name="Group 505">
            <a:extLst>
              <a:ext uri="{FF2B5EF4-FFF2-40B4-BE49-F238E27FC236}">
                <a16:creationId xmlns:a16="http://schemas.microsoft.com/office/drawing/2014/main" id="{CEB7BB0B-CF0E-46AA-9FE6-82B5A434FA4A}"/>
              </a:ext>
            </a:extLst>
          </p:cNvPr>
          <p:cNvGrpSpPr>
            <a:grpSpLocks noChangeAspect="1"/>
          </p:cNvGrpSpPr>
          <p:nvPr/>
        </p:nvGrpSpPr>
        <p:grpSpPr bwMode="auto">
          <a:xfrm>
            <a:off x="7014723" y="1697119"/>
            <a:ext cx="367982" cy="367982"/>
            <a:chOff x="2962" y="2267"/>
            <a:chExt cx="340" cy="340"/>
          </a:xfrm>
          <a:solidFill>
            <a:schemeClr val="accent3"/>
          </a:solidFill>
        </p:grpSpPr>
        <p:sp>
          <p:nvSpPr>
            <p:cNvPr id="507" name="Freeform 287">
              <a:extLst>
                <a:ext uri="{FF2B5EF4-FFF2-40B4-BE49-F238E27FC236}">
                  <a16:creationId xmlns:a16="http://schemas.microsoft.com/office/drawing/2014/main" id="{3BD62C56-DF23-429B-9AC6-93311D741063}"/>
                </a:ext>
              </a:extLst>
            </p:cNvPr>
            <p:cNvSpPr>
              <a:spLocks noEditPoints="1"/>
            </p:cNvSpPr>
            <p:nvPr/>
          </p:nvSpPr>
          <p:spPr bwMode="auto">
            <a:xfrm>
              <a:off x="3032" y="2331"/>
              <a:ext cx="199" cy="184"/>
            </a:xfrm>
            <a:custGeom>
              <a:avLst/>
              <a:gdLst>
                <a:gd name="T0" fmla="*/ 11 w 299"/>
                <a:gd name="T1" fmla="*/ 149 h 277"/>
                <a:gd name="T2" fmla="*/ 32 w 299"/>
                <a:gd name="T3" fmla="*/ 128 h 277"/>
                <a:gd name="T4" fmla="*/ 11 w 299"/>
                <a:gd name="T5" fmla="*/ 170 h 277"/>
                <a:gd name="T6" fmla="*/ 32 w 299"/>
                <a:gd name="T7" fmla="*/ 192 h 277"/>
                <a:gd name="T8" fmla="*/ 32 w 299"/>
                <a:gd name="T9" fmla="*/ 213 h 277"/>
                <a:gd name="T10" fmla="*/ 11 w 299"/>
                <a:gd name="T11" fmla="*/ 234 h 277"/>
                <a:gd name="T12" fmla="*/ 32 w 299"/>
                <a:gd name="T13" fmla="*/ 213 h 277"/>
                <a:gd name="T14" fmla="*/ 0 w 299"/>
                <a:gd name="T15" fmla="*/ 266 h 277"/>
                <a:gd name="T16" fmla="*/ 43 w 299"/>
                <a:gd name="T17" fmla="*/ 266 h 277"/>
                <a:gd name="T18" fmla="*/ 96 w 299"/>
                <a:gd name="T19" fmla="*/ 170 h 277"/>
                <a:gd name="T20" fmla="*/ 118 w 299"/>
                <a:gd name="T21" fmla="*/ 192 h 277"/>
                <a:gd name="T22" fmla="*/ 118 w 299"/>
                <a:gd name="T23" fmla="*/ 213 h 277"/>
                <a:gd name="T24" fmla="*/ 96 w 299"/>
                <a:gd name="T25" fmla="*/ 234 h 277"/>
                <a:gd name="T26" fmla="*/ 118 w 299"/>
                <a:gd name="T27" fmla="*/ 213 h 277"/>
                <a:gd name="T28" fmla="*/ 86 w 299"/>
                <a:gd name="T29" fmla="*/ 266 h 277"/>
                <a:gd name="T30" fmla="*/ 128 w 299"/>
                <a:gd name="T31" fmla="*/ 266 h 277"/>
                <a:gd name="T32" fmla="*/ 182 w 299"/>
                <a:gd name="T33" fmla="*/ 170 h 277"/>
                <a:gd name="T34" fmla="*/ 203 w 299"/>
                <a:gd name="T35" fmla="*/ 192 h 277"/>
                <a:gd name="T36" fmla="*/ 203 w 299"/>
                <a:gd name="T37" fmla="*/ 213 h 277"/>
                <a:gd name="T38" fmla="*/ 182 w 299"/>
                <a:gd name="T39" fmla="*/ 234 h 277"/>
                <a:gd name="T40" fmla="*/ 203 w 299"/>
                <a:gd name="T41" fmla="*/ 213 h 277"/>
                <a:gd name="T42" fmla="*/ 171 w 299"/>
                <a:gd name="T43" fmla="*/ 266 h 277"/>
                <a:gd name="T44" fmla="*/ 214 w 299"/>
                <a:gd name="T45" fmla="*/ 266 h 277"/>
                <a:gd name="T46" fmla="*/ 182 w 299"/>
                <a:gd name="T47" fmla="*/ 42 h 277"/>
                <a:gd name="T48" fmla="*/ 203 w 299"/>
                <a:gd name="T49" fmla="*/ 64 h 277"/>
                <a:gd name="T50" fmla="*/ 203 w 299"/>
                <a:gd name="T51" fmla="*/ 85 h 277"/>
                <a:gd name="T52" fmla="*/ 182 w 299"/>
                <a:gd name="T53" fmla="*/ 106 h 277"/>
                <a:gd name="T54" fmla="*/ 203 w 299"/>
                <a:gd name="T55" fmla="*/ 85 h 277"/>
                <a:gd name="T56" fmla="*/ 171 w 299"/>
                <a:gd name="T57" fmla="*/ 138 h 277"/>
                <a:gd name="T58" fmla="*/ 214 w 299"/>
                <a:gd name="T59" fmla="*/ 138 h 277"/>
                <a:gd name="T60" fmla="*/ 182 w 299"/>
                <a:gd name="T61" fmla="*/ 0 h 277"/>
                <a:gd name="T62" fmla="*/ 203 w 299"/>
                <a:gd name="T63" fmla="*/ 21 h 277"/>
                <a:gd name="T64" fmla="*/ 288 w 299"/>
                <a:gd name="T65" fmla="*/ 170 h 277"/>
                <a:gd name="T66" fmla="*/ 267 w 299"/>
                <a:gd name="T67" fmla="*/ 192 h 277"/>
                <a:gd name="T68" fmla="*/ 288 w 299"/>
                <a:gd name="T69" fmla="*/ 170 h 277"/>
                <a:gd name="T70" fmla="*/ 256 w 299"/>
                <a:gd name="T71" fmla="*/ 224 h 277"/>
                <a:gd name="T72" fmla="*/ 299 w 299"/>
                <a:gd name="T73" fmla="*/ 224 h 277"/>
                <a:gd name="T74" fmla="*/ 267 w 299"/>
                <a:gd name="T75" fmla="*/ 256 h 277"/>
                <a:gd name="T76" fmla="*/ 288 w 299"/>
                <a:gd name="T77" fmla="*/ 277 h 277"/>
                <a:gd name="T78" fmla="*/ 267 w 299"/>
                <a:gd name="T79" fmla="*/ 106 h 277"/>
                <a:gd name="T80" fmla="*/ 288 w 299"/>
                <a:gd name="T81" fmla="*/ 85 h 277"/>
                <a:gd name="T82" fmla="*/ 267 w 299"/>
                <a:gd name="T83" fmla="*/ 106 h 277"/>
                <a:gd name="T84" fmla="*/ 256 w 299"/>
                <a:gd name="T85" fmla="*/ 138 h 277"/>
                <a:gd name="T86" fmla="*/ 299 w 299"/>
                <a:gd name="T87"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9" h="277">
                  <a:moveTo>
                    <a:pt x="43" y="138"/>
                  </a:moveTo>
                  <a:cubicBezTo>
                    <a:pt x="43" y="144"/>
                    <a:pt x="38" y="149"/>
                    <a:pt x="32" y="149"/>
                  </a:cubicBezTo>
                  <a:cubicBezTo>
                    <a:pt x="11" y="149"/>
                    <a:pt x="11" y="149"/>
                    <a:pt x="11" y="149"/>
                  </a:cubicBezTo>
                  <a:cubicBezTo>
                    <a:pt x="5" y="149"/>
                    <a:pt x="0" y="144"/>
                    <a:pt x="0" y="138"/>
                  </a:cubicBezTo>
                  <a:cubicBezTo>
                    <a:pt x="0" y="132"/>
                    <a:pt x="5" y="128"/>
                    <a:pt x="11" y="128"/>
                  </a:cubicBezTo>
                  <a:cubicBezTo>
                    <a:pt x="32" y="128"/>
                    <a:pt x="32" y="128"/>
                    <a:pt x="32" y="128"/>
                  </a:cubicBezTo>
                  <a:cubicBezTo>
                    <a:pt x="38" y="128"/>
                    <a:pt x="43" y="132"/>
                    <a:pt x="43" y="138"/>
                  </a:cubicBezTo>
                  <a:close/>
                  <a:moveTo>
                    <a:pt x="32" y="170"/>
                  </a:moveTo>
                  <a:cubicBezTo>
                    <a:pt x="11" y="170"/>
                    <a:pt x="11" y="170"/>
                    <a:pt x="11" y="170"/>
                  </a:cubicBezTo>
                  <a:cubicBezTo>
                    <a:pt x="5" y="170"/>
                    <a:pt x="0" y="175"/>
                    <a:pt x="0" y="181"/>
                  </a:cubicBezTo>
                  <a:cubicBezTo>
                    <a:pt x="0" y="187"/>
                    <a:pt x="5" y="192"/>
                    <a:pt x="11" y="192"/>
                  </a:cubicBezTo>
                  <a:cubicBezTo>
                    <a:pt x="32" y="192"/>
                    <a:pt x="32" y="192"/>
                    <a:pt x="32" y="192"/>
                  </a:cubicBezTo>
                  <a:cubicBezTo>
                    <a:pt x="38" y="192"/>
                    <a:pt x="43" y="187"/>
                    <a:pt x="43" y="181"/>
                  </a:cubicBezTo>
                  <a:cubicBezTo>
                    <a:pt x="43" y="175"/>
                    <a:pt x="38" y="170"/>
                    <a:pt x="32" y="170"/>
                  </a:cubicBezTo>
                  <a:close/>
                  <a:moveTo>
                    <a:pt x="32" y="213"/>
                  </a:moveTo>
                  <a:cubicBezTo>
                    <a:pt x="11" y="213"/>
                    <a:pt x="11" y="213"/>
                    <a:pt x="11" y="213"/>
                  </a:cubicBezTo>
                  <a:cubicBezTo>
                    <a:pt x="5" y="213"/>
                    <a:pt x="0" y="218"/>
                    <a:pt x="0" y="224"/>
                  </a:cubicBezTo>
                  <a:cubicBezTo>
                    <a:pt x="0" y="230"/>
                    <a:pt x="5" y="234"/>
                    <a:pt x="11" y="234"/>
                  </a:cubicBezTo>
                  <a:cubicBezTo>
                    <a:pt x="32" y="234"/>
                    <a:pt x="32" y="234"/>
                    <a:pt x="32" y="234"/>
                  </a:cubicBezTo>
                  <a:cubicBezTo>
                    <a:pt x="38" y="234"/>
                    <a:pt x="43" y="230"/>
                    <a:pt x="43" y="224"/>
                  </a:cubicBezTo>
                  <a:cubicBezTo>
                    <a:pt x="43" y="218"/>
                    <a:pt x="38" y="213"/>
                    <a:pt x="32" y="213"/>
                  </a:cubicBezTo>
                  <a:close/>
                  <a:moveTo>
                    <a:pt x="32" y="256"/>
                  </a:moveTo>
                  <a:cubicBezTo>
                    <a:pt x="11" y="256"/>
                    <a:pt x="11" y="256"/>
                    <a:pt x="11" y="256"/>
                  </a:cubicBezTo>
                  <a:cubicBezTo>
                    <a:pt x="5" y="256"/>
                    <a:pt x="0" y="260"/>
                    <a:pt x="0" y="266"/>
                  </a:cubicBezTo>
                  <a:cubicBezTo>
                    <a:pt x="0" y="272"/>
                    <a:pt x="5" y="277"/>
                    <a:pt x="11" y="277"/>
                  </a:cubicBezTo>
                  <a:cubicBezTo>
                    <a:pt x="32" y="277"/>
                    <a:pt x="32" y="277"/>
                    <a:pt x="32" y="277"/>
                  </a:cubicBezTo>
                  <a:cubicBezTo>
                    <a:pt x="38" y="277"/>
                    <a:pt x="43" y="272"/>
                    <a:pt x="43" y="266"/>
                  </a:cubicBezTo>
                  <a:cubicBezTo>
                    <a:pt x="43" y="260"/>
                    <a:pt x="38" y="256"/>
                    <a:pt x="32" y="256"/>
                  </a:cubicBezTo>
                  <a:close/>
                  <a:moveTo>
                    <a:pt x="118" y="170"/>
                  </a:moveTo>
                  <a:cubicBezTo>
                    <a:pt x="96" y="170"/>
                    <a:pt x="96" y="170"/>
                    <a:pt x="96" y="170"/>
                  </a:cubicBezTo>
                  <a:cubicBezTo>
                    <a:pt x="90" y="170"/>
                    <a:pt x="86" y="175"/>
                    <a:pt x="86" y="181"/>
                  </a:cubicBezTo>
                  <a:cubicBezTo>
                    <a:pt x="86" y="187"/>
                    <a:pt x="90" y="192"/>
                    <a:pt x="96" y="192"/>
                  </a:cubicBezTo>
                  <a:cubicBezTo>
                    <a:pt x="118" y="192"/>
                    <a:pt x="118" y="192"/>
                    <a:pt x="118" y="192"/>
                  </a:cubicBezTo>
                  <a:cubicBezTo>
                    <a:pt x="124" y="192"/>
                    <a:pt x="128" y="187"/>
                    <a:pt x="128" y="181"/>
                  </a:cubicBezTo>
                  <a:cubicBezTo>
                    <a:pt x="128" y="175"/>
                    <a:pt x="124" y="170"/>
                    <a:pt x="118" y="170"/>
                  </a:cubicBezTo>
                  <a:close/>
                  <a:moveTo>
                    <a:pt x="118" y="213"/>
                  </a:moveTo>
                  <a:cubicBezTo>
                    <a:pt x="96" y="213"/>
                    <a:pt x="96" y="213"/>
                    <a:pt x="96" y="213"/>
                  </a:cubicBezTo>
                  <a:cubicBezTo>
                    <a:pt x="90" y="213"/>
                    <a:pt x="86" y="218"/>
                    <a:pt x="86" y="224"/>
                  </a:cubicBezTo>
                  <a:cubicBezTo>
                    <a:pt x="86" y="230"/>
                    <a:pt x="90" y="234"/>
                    <a:pt x="96" y="234"/>
                  </a:cubicBezTo>
                  <a:cubicBezTo>
                    <a:pt x="118" y="234"/>
                    <a:pt x="118" y="234"/>
                    <a:pt x="118" y="234"/>
                  </a:cubicBezTo>
                  <a:cubicBezTo>
                    <a:pt x="124" y="234"/>
                    <a:pt x="128" y="230"/>
                    <a:pt x="128" y="224"/>
                  </a:cubicBezTo>
                  <a:cubicBezTo>
                    <a:pt x="128" y="218"/>
                    <a:pt x="124" y="213"/>
                    <a:pt x="118" y="213"/>
                  </a:cubicBezTo>
                  <a:close/>
                  <a:moveTo>
                    <a:pt x="118" y="256"/>
                  </a:moveTo>
                  <a:cubicBezTo>
                    <a:pt x="96" y="256"/>
                    <a:pt x="96" y="256"/>
                    <a:pt x="96" y="256"/>
                  </a:cubicBezTo>
                  <a:cubicBezTo>
                    <a:pt x="90" y="256"/>
                    <a:pt x="86" y="260"/>
                    <a:pt x="86" y="266"/>
                  </a:cubicBezTo>
                  <a:cubicBezTo>
                    <a:pt x="86" y="272"/>
                    <a:pt x="90" y="277"/>
                    <a:pt x="96" y="277"/>
                  </a:cubicBezTo>
                  <a:cubicBezTo>
                    <a:pt x="118" y="277"/>
                    <a:pt x="118" y="277"/>
                    <a:pt x="118" y="277"/>
                  </a:cubicBezTo>
                  <a:cubicBezTo>
                    <a:pt x="124" y="277"/>
                    <a:pt x="128" y="272"/>
                    <a:pt x="128" y="266"/>
                  </a:cubicBezTo>
                  <a:cubicBezTo>
                    <a:pt x="128" y="260"/>
                    <a:pt x="124" y="256"/>
                    <a:pt x="118" y="256"/>
                  </a:cubicBezTo>
                  <a:close/>
                  <a:moveTo>
                    <a:pt x="203" y="170"/>
                  </a:moveTo>
                  <a:cubicBezTo>
                    <a:pt x="182" y="170"/>
                    <a:pt x="182" y="170"/>
                    <a:pt x="182" y="170"/>
                  </a:cubicBezTo>
                  <a:cubicBezTo>
                    <a:pt x="176" y="170"/>
                    <a:pt x="171" y="175"/>
                    <a:pt x="171" y="181"/>
                  </a:cubicBezTo>
                  <a:cubicBezTo>
                    <a:pt x="171" y="187"/>
                    <a:pt x="176" y="192"/>
                    <a:pt x="182" y="192"/>
                  </a:cubicBezTo>
                  <a:cubicBezTo>
                    <a:pt x="203" y="192"/>
                    <a:pt x="203" y="192"/>
                    <a:pt x="203" y="192"/>
                  </a:cubicBezTo>
                  <a:cubicBezTo>
                    <a:pt x="209" y="192"/>
                    <a:pt x="214" y="187"/>
                    <a:pt x="214" y="181"/>
                  </a:cubicBezTo>
                  <a:cubicBezTo>
                    <a:pt x="214" y="175"/>
                    <a:pt x="209" y="170"/>
                    <a:pt x="203" y="170"/>
                  </a:cubicBezTo>
                  <a:close/>
                  <a:moveTo>
                    <a:pt x="203" y="213"/>
                  </a:moveTo>
                  <a:cubicBezTo>
                    <a:pt x="182" y="213"/>
                    <a:pt x="182" y="213"/>
                    <a:pt x="182" y="213"/>
                  </a:cubicBezTo>
                  <a:cubicBezTo>
                    <a:pt x="176" y="213"/>
                    <a:pt x="171" y="218"/>
                    <a:pt x="171" y="224"/>
                  </a:cubicBezTo>
                  <a:cubicBezTo>
                    <a:pt x="171" y="230"/>
                    <a:pt x="176" y="234"/>
                    <a:pt x="182" y="234"/>
                  </a:cubicBezTo>
                  <a:cubicBezTo>
                    <a:pt x="203" y="234"/>
                    <a:pt x="203" y="234"/>
                    <a:pt x="203" y="234"/>
                  </a:cubicBezTo>
                  <a:cubicBezTo>
                    <a:pt x="209" y="234"/>
                    <a:pt x="214" y="230"/>
                    <a:pt x="214" y="224"/>
                  </a:cubicBezTo>
                  <a:cubicBezTo>
                    <a:pt x="214" y="218"/>
                    <a:pt x="209" y="213"/>
                    <a:pt x="203" y="213"/>
                  </a:cubicBezTo>
                  <a:close/>
                  <a:moveTo>
                    <a:pt x="203" y="256"/>
                  </a:moveTo>
                  <a:cubicBezTo>
                    <a:pt x="182" y="256"/>
                    <a:pt x="182" y="256"/>
                    <a:pt x="182" y="256"/>
                  </a:cubicBezTo>
                  <a:cubicBezTo>
                    <a:pt x="176" y="256"/>
                    <a:pt x="171" y="260"/>
                    <a:pt x="171" y="266"/>
                  </a:cubicBezTo>
                  <a:cubicBezTo>
                    <a:pt x="171" y="272"/>
                    <a:pt x="176" y="277"/>
                    <a:pt x="182" y="277"/>
                  </a:cubicBezTo>
                  <a:cubicBezTo>
                    <a:pt x="203" y="277"/>
                    <a:pt x="203" y="277"/>
                    <a:pt x="203" y="277"/>
                  </a:cubicBezTo>
                  <a:cubicBezTo>
                    <a:pt x="209" y="277"/>
                    <a:pt x="214" y="272"/>
                    <a:pt x="214" y="266"/>
                  </a:cubicBezTo>
                  <a:cubicBezTo>
                    <a:pt x="214" y="260"/>
                    <a:pt x="209" y="256"/>
                    <a:pt x="203" y="256"/>
                  </a:cubicBezTo>
                  <a:close/>
                  <a:moveTo>
                    <a:pt x="203" y="42"/>
                  </a:moveTo>
                  <a:cubicBezTo>
                    <a:pt x="182" y="42"/>
                    <a:pt x="182" y="42"/>
                    <a:pt x="182" y="42"/>
                  </a:cubicBezTo>
                  <a:cubicBezTo>
                    <a:pt x="176" y="42"/>
                    <a:pt x="171" y="47"/>
                    <a:pt x="171" y="53"/>
                  </a:cubicBezTo>
                  <a:cubicBezTo>
                    <a:pt x="171" y="59"/>
                    <a:pt x="176" y="64"/>
                    <a:pt x="182" y="64"/>
                  </a:cubicBezTo>
                  <a:cubicBezTo>
                    <a:pt x="203" y="64"/>
                    <a:pt x="203" y="64"/>
                    <a:pt x="203" y="64"/>
                  </a:cubicBezTo>
                  <a:cubicBezTo>
                    <a:pt x="209" y="64"/>
                    <a:pt x="214" y="59"/>
                    <a:pt x="214" y="53"/>
                  </a:cubicBezTo>
                  <a:cubicBezTo>
                    <a:pt x="214" y="47"/>
                    <a:pt x="209" y="42"/>
                    <a:pt x="203" y="42"/>
                  </a:cubicBezTo>
                  <a:close/>
                  <a:moveTo>
                    <a:pt x="203" y="85"/>
                  </a:moveTo>
                  <a:cubicBezTo>
                    <a:pt x="182" y="85"/>
                    <a:pt x="182" y="85"/>
                    <a:pt x="182" y="85"/>
                  </a:cubicBezTo>
                  <a:cubicBezTo>
                    <a:pt x="176" y="85"/>
                    <a:pt x="171" y="90"/>
                    <a:pt x="171" y="96"/>
                  </a:cubicBezTo>
                  <a:cubicBezTo>
                    <a:pt x="171" y="102"/>
                    <a:pt x="176" y="106"/>
                    <a:pt x="182" y="106"/>
                  </a:cubicBezTo>
                  <a:cubicBezTo>
                    <a:pt x="203" y="106"/>
                    <a:pt x="203" y="106"/>
                    <a:pt x="203" y="106"/>
                  </a:cubicBezTo>
                  <a:cubicBezTo>
                    <a:pt x="209" y="106"/>
                    <a:pt x="214" y="102"/>
                    <a:pt x="214" y="96"/>
                  </a:cubicBezTo>
                  <a:cubicBezTo>
                    <a:pt x="214" y="90"/>
                    <a:pt x="209" y="85"/>
                    <a:pt x="203" y="85"/>
                  </a:cubicBezTo>
                  <a:close/>
                  <a:moveTo>
                    <a:pt x="203" y="128"/>
                  </a:moveTo>
                  <a:cubicBezTo>
                    <a:pt x="182" y="128"/>
                    <a:pt x="182" y="128"/>
                    <a:pt x="182" y="128"/>
                  </a:cubicBezTo>
                  <a:cubicBezTo>
                    <a:pt x="176" y="128"/>
                    <a:pt x="171" y="132"/>
                    <a:pt x="171" y="138"/>
                  </a:cubicBezTo>
                  <a:cubicBezTo>
                    <a:pt x="171" y="144"/>
                    <a:pt x="176" y="149"/>
                    <a:pt x="182" y="149"/>
                  </a:cubicBezTo>
                  <a:cubicBezTo>
                    <a:pt x="203" y="149"/>
                    <a:pt x="203" y="149"/>
                    <a:pt x="203" y="149"/>
                  </a:cubicBezTo>
                  <a:cubicBezTo>
                    <a:pt x="209" y="149"/>
                    <a:pt x="214" y="144"/>
                    <a:pt x="214" y="138"/>
                  </a:cubicBezTo>
                  <a:cubicBezTo>
                    <a:pt x="214" y="132"/>
                    <a:pt x="209" y="128"/>
                    <a:pt x="203" y="128"/>
                  </a:cubicBezTo>
                  <a:close/>
                  <a:moveTo>
                    <a:pt x="203" y="0"/>
                  </a:moveTo>
                  <a:cubicBezTo>
                    <a:pt x="182" y="0"/>
                    <a:pt x="182" y="0"/>
                    <a:pt x="182" y="0"/>
                  </a:cubicBezTo>
                  <a:cubicBezTo>
                    <a:pt x="176" y="0"/>
                    <a:pt x="171" y="4"/>
                    <a:pt x="171" y="10"/>
                  </a:cubicBezTo>
                  <a:cubicBezTo>
                    <a:pt x="171" y="16"/>
                    <a:pt x="176" y="21"/>
                    <a:pt x="182" y="21"/>
                  </a:cubicBezTo>
                  <a:cubicBezTo>
                    <a:pt x="203" y="21"/>
                    <a:pt x="203" y="21"/>
                    <a:pt x="203" y="21"/>
                  </a:cubicBezTo>
                  <a:cubicBezTo>
                    <a:pt x="209" y="21"/>
                    <a:pt x="214" y="16"/>
                    <a:pt x="214" y="10"/>
                  </a:cubicBezTo>
                  <a:cubicBezTo>
                    <a:pt x="214" y="4"/>
                    <a:pt x="209" y="0"/>
                    <a:pt x="203" y="0"/>
                  </a:cubicBezTo>
                  <a:close/>
                  <a:moveTo>
                    <a:pt x="288" y="170"/>
                  </a:moveTo>
                  <a:cubicBezTo>
                    <a:pt x="267" y="170"/>
                    <a:pt x="267" y="170"/>
                    <a:pt x="267" y="170"/>
                  </a:cubicBezTo>
                  <a:cubicBezTo>
                    <a:pt x="261" y="170"/>
                    <a:pt x="256" y="175"/>
                    <a:pt x="256" y="181"/>
                  </a:cubicBezTo>
                  <a:cubicBezTo>
                    <a:pt x="256" y="187"/>
                    <a:pt x="261" y="192"/>
                    <a:pt x="267" y="192"/>
                  </a:cubicBezTo>
                  <a:cubicBezTo>
                    <a:pt x="288" y="192"/>
                    <a:pt x="288" y="192"/>
                    <a:pt x="288" y="192"/>
                  </a:cubicBezTo>
                  <a:cubicBezTo>
                    <a:pt x="294" y="192"/>
                    <a:pt x="299" y="187"/>
                    <a:pt x="299" y="181"/>
                  </a:cubicBezTo>
                  <a:cubicBezTo>
                    <a:pt x="299" y="175"/>
                    <a:pt x="294" y="170"/>
                    <a:pt x="288" y="170"/>
                  </a:cubicBezTo>
                  <a:close/>
                  <a:moveTo>
                    <a:pt x="288" y="213"/>
                  </a:moveTo>
                  <a:cubicBezTo>
                    <a:pt x="267" y="213"/>
                    <a:pt x="267" y="213"/>
                    <a:pt x="267" y="213"/>
                  </a:cubicBezTo>
                  <a:cubicBezTo>
                    <a:pt x="261" y="213"/>
                    <a:pt x="256" y="218"/>
                    <a:pt x="256" y="224"/>
                  </a:cubicBezTo>
                  <a:cubicBezTo>
                    <a:pt x="256" y="230"/>
                    <a:pt x="261" y="234"/>
                    <a:pt x="267" y="234"/>
                  </a:cubicBezTo>
                  <a:cubicBezTo>
                    <a:pt x="288" y="234"/>
                    <a:pt x="288" y="234"/>
                    <a:pt x="288" y="234"/>
                  </a:cubicBezTo>
                  <a:cubicBezTo>
                    <a:pt x="294" y="234"/>
                    <a:pt x="299" y="230"/>
                    <a:pt x="299" y="224"/>
                  </a:cubicBezTo>
                  <a:cubicBezTo>
                    <a:pt x="299" y="218"/>
                    <a:pt x="294" y="213"/>
                    <a:pt x="288" y="213"/>
                  </a:cubicBezTo>
                  <a:close/>
                  <a:moveTo>
                    <a:pt x="288" y="256"/>
                  </a:moveTo>
                  <a:cubicBezTo>
                    <a:pt x="267" y="256"/>
                    <a:pt x="267" y="256"/>
                    <a:pt x="267" y="256"/>
                  </a:cubicBezTo>
                  <a:cubicBezTo>
                    <a:pt x="261" y="256"/>
                    <a:pt x="256" y="260"/>
                    <a:pt x="256" y="266"/>
                  </a:cubicBezTo>
                  <a:cubicBezTo>
                    <a:pt x="256" y="272"/>
                    <a:pt x="261" y="277"/>
                    <a:pt x="267" y="277"/>
                  </a:cubicBezTo>
                  <a:cubicBezTo>
                    <a:pt x="288" y="277"/>
                    <a:pt x="288" y="277"/>
                    <a:pt x="288" y="277"/>
                  </a:cubicBezTo>
                  <a:cubicBezTo>
                    <a:pt x="294" y="277"/>
                    <a:pt x="299" y="272"/>
                    <a:pt x="299" y="266"/>
                  </a:cubicBezTo>
                  <a:cubicBezTo>
                    <a:pt x="299" y="260"/>
                    <a:pt x="294" y="256"/>
                    <a:pt x="288" y="256"/>
                  </a:cubicBezTo>
                  <a:close/>
                  <a:moveTo>
                    <a:pt x="267" y="106"/>
                  </a:moveTo>
                  <a:cubicBezTo>
                    <a:pt x="288" y="106"/>
                    <a:pt x="288" y="106"/>
                    <a:pt x="288" y="106"/>
                  </a:cubicBezTo>
                  <a:cubicBezTo>
                    <a:pt x="294" y="106"/>
                    <a:pt x="299" y="102"/>
                    <a:pt x="299" y="96"/>
                  </a:cubicBezTo>
                  <a:cubicBezTo>
                    <a:pt x="299" y="90"/>
                    <a:pt x="294" y="85"/>
                    <a:pt x="288" y="85"/>
                  </a:cubicBezTo>
                  <a:cubicBezTo>
                    <a:pt x="267" y="85"/>
                    <a:pt x="267" y="85"/>
                    <a:pt x="267" y="85"/>
                  </a:cubicBezTo>
                  <a:cubicBezTo>
                    <a:pt x="261" y="85"/>
                    <a:pt x="256" y="90"/>
                    <a:pt x="256" y="96"/>
                  </a:cubicBezTo>
                  <a:cubicBezTo>
                    <a:pt x="256" y="102"/>
                    <a:pt x="261" y="106"/>
                    <a:pt x="267" y="106"/>
                  </a:cubicBezTo>
                  <a:close/>
                  <a:moveTo>
                    <a:pt x="288" y="128"/>
                  </a:moveTo>
                  <a:cubicBezTo>
                    <a:pt x="267" y="128"/>
                    <a:pt x="267" y="128"/>
                    <a:pt x="267" y="128"/>
                  </a:cubicBezTo>
                  <a:cubicBezTo>
                    <a:pt x="261" y="128"/>
                    <a:pt x="256" y="132"/>
                    <a:pt x="256" y="138"/>
                  </a:cubicBezTo>
                  <a:cubicBezTo>
                    <a:pt x="256" y="144"/>
                    <a:pt x="261" y="149"/>
                    <a:pt x="267" y="149"/>
                  </a:cubicBezTo>
                  <a:cubicBezTo>
                    <a:pt x="288" y="149"/>
                    <a:pt x="288" y="149"/>
                    <a:pt x="288" y="149"/>
                  </a:cubicBezTo>
                  <a:cubicBezTo>
                    <a:pt x="294" y="149"/>
                    <a:pt x="299" y="144"/>
                    <a:pt x="299" y="138"/>
                  </a:cubicBezTo>
                  <a:cubicBezTo>
                    <a:pt x="299" y="132"/>
                    <a:pt x="294" y="128"/>
                    <a:pt x="288"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8" name="Freeform 288">
              <a:extLst>
                <a:ext uri="{FF2B5EF4-FFF2-40B4-BE49-F238E27FC236}">
                  <a16:creationId xmlns:a16="http://schemas.microsoft.com/office/drawing/2014/main" id="{30F04C5F-A75B-4F32-B784-7907CE4A9099}"/>
                </a:ext>
              </a:extLst>
            </p:cNvPr>
            <p:cNvSpPr>
              <a:spLocks noEditPoints="1"/>
            </p:cNvSpPr>
            <p:nvPr/>
          </p:nvSpPr>
          <p:spPr bwMode="auto">
            <a:xfrm>
              <a:off x="2962" y="22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9" name="Freeform 292">
            <a:extLst>
              <a:ext uri="{FF2B5EF4-FFF2-40B4-BE49-F238E27FC236}">
                <a16:creationId xmlns:a16="http://schemas.microsoft.com/office/drawing/2014/main" id="{D6605B78-CE72-4338-AEAE-996D0E5306B1}"/>
              </a:ext>
            </a:extLst>
          </p:cNvPr>
          <p:cNvSpPr>
            <a:spLocks noChangeAspect="1" noEditPoints="1"/>
          </p:cNvSpPr>
          <p:nvPr/>
        </p:nvSpPr>
        <p:spPr bwMode="auto">
          <a:xfrm>
            <a:off x="7448630" y="1697119"/>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77 h 512"/>
              <a:gd name="T12" fmla="*/ 106 w 512"/>
              <a:gd name="T13" fmla="*/ 288 h 512"/>
              <a:gd name="T14" fmla="*/ 96 w 512"/>
              <a:gd name="T15" fmla="*/ 277 h 512"/>
              <a:gd name="T16" fmla="*/ 96 w 512"/>
              <a:gd name="T17" fmla="*/ 234 h 512"/>
              <a:gd name="T18" fmla="*/ 106 w 512"/>
              <a:gd name="T19" fmla="*/ 224 h 512"/>
              <a:gd name="T20" fmla="*/ 117 w 512"/>
              <a:gd name="T21" fmla="*/ 234 h 512"/>
              <a:gd name="T22" fmla="*/ 117 w 512"/>
              <a:gd name="T23" fmla="*/ 277 h 512"/>
              <a:gd name="T24" fmla="*/ 160 w 512"/>
              <a:gd name="T25" fmla="*/ 320 h 512"/>
              <a:gd name="T26" fmla="*/ 149 w 512"/>
              <a:gd name="T27" fmla="*/ 330 h 512"/>
              <a:gd name="T28" fmla="*/ 138 w 512"/>
              <a:gd name="T29" fmla="*/ 320 h 512"/>
              <a:gd name="T30" fmla="*/ 138 w 512"/>
              <a:gd name="T31" fmla="*/ 192 h 512"/>
              <a:gd name="T32" fmla="*/ 149 w 512"/>
              <a:gd name="T33" fmla="*/ 181 h 512"/>
              <a:gd name="T34" fmla="*/ 160 w 512"/>
              <a:gd name="T35" fmla="*/ 192 h 512"/>
              <a:gd name="T36" fmla="*/ 160 w 512"/>
              <a:gd name="T37" fmla="*/ 320 h 512"/>
              <a:gd name="T38" fmla="*/ 202 w 512"/>
              <a:gd name="T39" fmla="*/ 352 h 512"/>
              <a:gd name="T40" fmla="*/ 192 w 512"/>
              <a:gd name="T41" fmla="*/ 362 h 512"/>
              <a:gd name="T42" fmla="*/ 181 w 512"/>
              <a:gd name="T43" fmla="*/ 352 h 512"/>
              <a:gd name="T44" fmla="*/ 181 w 512"/>
              <a:gd name="T45" fmla="*/ 160 h 512"/>
              <a:gd name="T46" fmla="*/ 192 w 512"/>
              <a:gd name="T47" fmla="*/ 149 h 512"/>
              <a:gd name="T48" fmla="*/ 202 w 512"/>
              <a:gd name="T49" fmla="*/ 160 h 512"/>
              <a:gd name="T50" fmla="*/ 202 w 512"/>
              <a:gd name="T51" fmla="*/ 352 h 512"/>
              <a:gd name="T52" fmla="*/ 245 w 512"/>
              <a:gd name="T53" fmla="*/ 309 h 512"/>
              <a:gd name="T54" fmla="*/ 234 w 512"/>
              <a:gd name="T55" fmla="*/ 320 h 512"/>
              <a:gd name="T56" fmla="*/ 224 w 512"/>
              <a:gd name="T57" fmla="*/ 309 h 512"/>
              <a:gd name="T58" fmla="*/ 224 w 512"/>
              <a:gd name="T59" fmla="*/ 202 h 512"/>
              <a:gd name="T60" fmla="*/ 234 w 512"/>
              <a:gd name="T61" fmla="*/ 192 h 512"/>
              <a:gd name="T62" fmla="*/ 245 w 512"/>
              <a:gd name="T63" fmla="*/ 202 h 512"/>
              <a:gd name="T64" fmla="*/ 245 w 512"/>
              <a:gd name="T65" fmla="*/ 309 h 512"/>
              <a:gd name="T66" fmla="*/ 288 w 512"/>
              <a:gd name="T67" fmla="*/ 362 h 512"/>
              <a:gd name="T68" fmla="*/ 277 w 512"/>
              <a:gd name="T69" fmla="*/ 373 h 512"/>
              <a:gd name="T70" fmla="*/ 266 w 512"/>
              <a:gd name="T71" fmla="*/ 362 h 512"/>
              <a:gd name="T72" fmla="*/ 266 w 512"/>
              <a:gd name="T73" fmla="*/ 149 h 512"/>
              <a:gd name="T74" fmla="*/ 277 w 512"/>
              <a:gd name="T75" fmla="*/ 138 h 512"/>
              <a:gd name="T76" fmla="*/ 288 w 512"/>
              <a:gd name="T77" fmla="*/ 149 h 512"/>
              <a:gd name="T78" fmla="*/ 288 w 512"/>
              <a:gd name="T79" fmla="*/ 362 h 512"/>
              <a:gd name="T80" fmla="*/ 330 w 512"/>
              <a:gd name="T81" fmla="*/ 320 h 512"/>
              <a:gd name="T82" fmla="*/ 320 w 512"/>
              <a:gd name="T83" fmla="*/ 330 h 512"/>
              <a:gd name="T84" fmla="*/ 309 w 512"/>
              <a:gd name="T85" fmla="*/ 320 h 512"/>
              <a:gd name="T86" fmla="*/ 309 w 512"/>
              <a:gd name="T87" fmla="*/ 192 h 512"/>
              <a:gd name="T88" fmla="*/ 320 w 512"/>
              <a:gd name="T89" fmla="*/ 181 h 512"/>
              <a:gd name="T90" fmla="*/ 330 w 512"/>
              <a:gd name="T91" fmla="*/ 192 h 512"/>
              <a:gd name="T92" fmla="*/ 330 w 512"/>
              <a:gd name="T93" fmla="*/ 320 h 512"/>
              <a:gd name="T94" fmla="*/ 373 w 512"/>
              <a:gd name="T95" fmla="*/ 298 h 512"/>
              <a:gd name="T96" fmla="*/ 362 w 512"/>
              <a:gd name="T97" fmla="*/ 309 h 512"/>
              <a:gd name="T98" fmla="*/ 352 w 512"/>
              <a:gd name="T99" fmla="*/ 298 h 512"/>
              <a:gd name="T100" fmla="*/ 352 w 512"/>
              <a:gd name="T101" fmla="*/ 213 h 512"/>
              <a:gd name="T102" fmla="*/ 362 w 512"/>
              <a:gd name="T103" fmla="*/ 202 h 512"/>
              <a:gd name="T104" fmla="*/ 373 w 512"/>
              <a:gd name="T105" fmla="*/ 213 h 512"/>
              <a:gd name="T106" fmla="*/ 373 w 512"/>
              <a:gd name="T107" fmla="*/ 298 h 512"/>
              <a:gd name="T108" fmla="*/ 416 w 512"/>
              <a:gd name="T109" fmla="*/ 266 h 512"/>
              <a:gd name="T110" fmla="*/ 405 w 512"/>
              <a:gd name="T111" fmla="*/ 277 h 512"/>
              <a:gd name="T112" fmla="*/ 394 w 512"/>
              <a:gd name="T113" fmla="*/ 266 h 512"/>
              <a:gd name="T114" fmla="*/ 394 w 512"/>
              <a:gd name="T115" fmla="*/ 245 h 512"/>
              <a:gd name="T116" fmla="*/ 405 w 512"/>
              <a:gd name="T117" fmla="*/ 234 h 512"/>
              <a:gd name="T118" fmla="*/ 416 w 512"/>
              <a:gd name="T119" fmla="*/ 245 h 512"/>
              <a:gd name="T120" fmla="*/ 416 w 512"/>
              <a:gd name="T12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77"/>
                </a:moveTo>
                <a:cubicBezTo>
                  <a:pt x="117" y="283"/>
                  <a:pt x="112" y="288"/>
                  <a:pt x="106" y="288"/>
                </a:cubicBezTo>
                <a:cubicBezTo>
                  <a:pt x="100" y="288"/>
                  <a:pt x="96" y="283"/>
                  <a:pt x="96" y="277"/>
                </a:cubicBezTo>
                <a:cubicBezTo>
                  <a:pt x="96" y="234"/>
                  <a:pt x="96" y="234"/>
                  <a:pt x="96" y="234"/>
                </a:cubicBezTo>
                <a:cubicBezTo>
                  <a:pt x="96" y="228"/>
                  <a:pt x="100" y="224"/>
                  <a:pt x="106" y="224"/>
                </a:cubicBezTo>
                <a:cubicBezTo>
                  <a:pt x="112" y="224"/>
                  <a:pt x="117" y="228"/>
                  <a:pt x="117" y="234"/>
                </a:cubicBezTo>
                <a:lnTo>
                  <a:pt x="117" y="277"/>
                </a:lnTo>
                <a:close/>
                <a:moveTo>
                  <a:pt x="160" y="320"/>
                </a:moveTo>
                <a:cubicBezTo>
                  <a:pt x="160" y="326"/>
                  <a:pt x="155" y="330"/>
                  <a:pt x="149" y="330"/>
                </a:cubicBezTo>
                <a:cubicBezTo>
                  <a:pt x="143" y="330"/>
                  <a:pt x="138" y="326"/>
                  <a:pt x="138" y="320"/>
                </a:cubicBezTo>
                <a:cubicBezTo>
                  <a:pt x="138" y="192"/>
                  <a:pt x="138" y="192"/>
                  <a:pt x="138" y="192"/>
                </a:cubicBezTo>
                <a:cubicBezTo>
                  <a:pt x="138" y="186"/>
                  <a:pt x="143" y="181"/>
                  <a:pt x="149" y="181"/>
                </a:cubicBezTo>
                <a:cubicBezTo>
                  <a:pt x="155" y="181"/>
                  <a:pt x="160" y="186"/>
                  <a:pt x="160" y="192"/>
                </a:cubicBezTo>
                <a:lnTo>
                  <a:pt x="160" y="320"/>
                </a:lnTo>
                <a:close/>
                <a:moveTo>
                  <a:pt x="202" y="352"/>
                </a:moveTo>
                <a:cubicBezTo>
                  <a:pt x="202" y="358"/>
                  <a:pt x="198" y="362"/>
                  <a:pt x="192" y="362"/>
                </a:cubicBezTo>
                <a:cubicBezTo>
                  <a:pt x="186" y="362"/>
                  <a:pt x="181" y="358"/>
                  <a:pt x="181" y="352"/>
                </a:cubicBezTo>
                <a:cubicBezTo>
                  <a:pt x="181" y="160"/>
                  <a:pt x="181" y="160"/>
                  <a:pt x="181" y="160"/>
                </a:cubicBezTo>
                <a:cubicBezTo>
                  <a:pt x="181" y="154"/>
                  <a:pt x="186" y="149"/>
                  <a:pt x="192" y="149"/>
                </a:cubicBezTo>
                <a:cubicBezTo>
                  <a:pt x="198" y="149"/>
                  <a:pt x="202" y="154"/>
                  <a:pt x="202" y="160"/>
                </a:cubicBezTo>
                <a:lnTo>
                  <a:pt x="202" y="352"/>
                </a:lnTo>
                <a:close/>
                <a:moveTo>
                  <a:pt x="245" y="309"/>
                </a:moveTo>
                <a:cubicBezTo>
                  <a:pt x="245" y="315"/>
                  <a:pt x="240" y="320"/>
                  <a:pt x="234" y="320"/>
                </a:cubicBezTo>
                <a:cubicBezTo>
                  <a:pt x="228" y="320"/>
                  <a:pt x="224" y="315"/>
                  <a:pt x="224" y="309"/>
                </a:cubicBezTo>
                <a:cubicBezTo>
                  <a:pt x="224" y="202"/>
                  <a:pt x="224" y="202"/>
                  <a:pt x="224" y="202"/>
                </a:cubicBezTo>
                <a:cubicBezTo>
                  <a:pt x="224" y="196"/>
                  <a:pt x="228" y="192"/>
                  <a:pt x="234" y="192"/>
                </a:cubicBezTo>
                <a:cubicBezTo>
                  <a:pt x="240" y="192"/>
                  <a:pt x="245" y="196"/>
                  <a:pt x="245" y="202"/>
                </a:cubicBezTo>
                <a:lnTo>
                  <a:pt x="245" y="309"/>
                </a:lnTo>
                <a:close/>
                <a:moveTo>
                  <a:pt x="288" y="362"/>
                </a:moveTo>
                <a:cubicBezTo>
                  <a:pt x="288" y="368"/>
                  <a:pt x="283" y="373"/>
                  <a:pt x="277" y="373"/>
                </a:cubicBezTo>
                <a:cubicBezTo>
                  <a:pt x="271" y="373"/>
                  <a:pt x="266" y="368"/>
                  <a:pt x="266" y="362"/>
                </a:cubicBezTo>
                <a:cubicBezTo>
                  <a:pt x="266" y="149"/>
                  <a:pt x="266" y="149"/>
                  <a:pt x="266" y="149"/>
                </a:cubicBezTo>
                <a:cubicBezTo>
                  <a:pt x="266" y="143"/>
                  <a:pt x="271" y="138"/>
                  <a:pt x="277" y="138"/>
                </a:cubicBezTo>
                <a:cubicBezTo>
                  <a:pt x="283" y="138"/>
                  <a:pt x="288" y="143"/>
                  <a:pt x="288" y="149"/>
                </a:cubicBezTo>
                <a:lnTo>
                  <a:pt x="288" y="362"/>
                </a:lnTo>
                <a:close/>
                <a:moveTo>
                  <a:pt x="330" y="320"/>
                </a:moveTo>
                <a:cubicBezTo>
                  <a:pt x="330" y="326"/>
                  <a:pt x="326" y="330"/>
                  <a:pt x="320" y="330"/>
                </a:cubicBezTo>
                <a:cubicBezTo>
                  <a:pt x="314" y="330"/>
                  <a:pt x="309" y="326"/>
                  <a:pt x="309" y="320"/>
                </a:cubicBezTo>
                <a:cubicBezTo>
                  <a:pt x="309" y="192"/>
                  <a:pt x="309" y="192"/>
                  <a:pt x="309" y="192"/>
                </a:cubicBezTo>
                <a:cubicBezTo>
                  <a:pt x="309" y="186"/>
                  <a:pt x="314" y="181"/>
                  <a:pt x="320" y="181"/>
                </a:cubicBezTo>
                <a:cubicBezTo>
                  <a:pt x="326" y="181"/>
                  <a:pt x="330" y="186"/>
                  <a:pt x="330" y="192"/>
                </a:cubicBezTo>
                <a:lnTo>
                  <a:pt x="330" y="320"/>
                </a:lnTo>
                <a:close/>
                <a:moveTo>
                  <a:pt x="373" y="298"/>
                </a:moveTo>
                <a:cubicBezTo>
                  <a:pt x="373" y="304"/>
                  <a:pt x="368" y="309"/>
                  <a:pt x="362" y="309"/>
                </a:cubicBezTo>
                <a:cubicBezTo>
                  <a:pt x="356" y="309"/>
                  <a:pt x="352" y="304"/>
                  <a:pt x="352" y="298"/>
                </a:cubicBezTo>
                <a:cubicBezTo>
                  <a:pt x="352" y="213"/>
                  <a:pt x="352" y="213"/>
                  <a:pt x="352" y="213"/>
                </a:cubicBezTo>
                <a:cubicBezTo>
                  <a:pt x="352" y="207"/>
                  <a:pt x="356" y="202"/>
                  <a:pt x="362" y="202"/>
                </a:cubicBezTo>
                <a:cubicBezTo>
                  <a:pt x="368" y="202"/>
                  <a:pt x="373" y="207"/>
                  <a:pt x="373" y="213"/>
                </a:cubicBezTo>
                <a:lnTo>
                  <a:pt x="373" y="298"/>
                </a:lnTo>
                <a:close/>
                <a:moveTo>
                  <a:pt x="416" y="266"/>
                </a:moveTo>
                <a:cubicBezTo>
                  <a:pt x="416" y="272"/>
                  <a:pt x="411" y="277"/>
                  <a:pt x="405" y="277"/>
                </a:cubicBezTo>
                <a:cubicBezTo>
                  <a:pt x="399" y="277"/>
                  <a:pt x="394" y="272"/>
                  <a:pt x="394" y="266"/>
                </a:cubicBezTo>
                <a:cubicBezTo>
                  <a:pt x="394" y="245"/>
                  <a:pt x="394" y="245"/>
                  <a:pt x="394" y="245"/>
                </a:cubicBezTo>
                <a:cubicBezTo>
                  <a:pt x="394" y="239"/>
                  <a:pt x="399" y="234"/>
                  <a:pt x="405" y="234"/>
                </a:cubicBezTo>
                <a:cubicBezTo>
                  <a:pt x="411" y="234"/>
                  <a:pt x="416" y="239"/>
                  <a:pt x="416" y="245"/>
                </a:cubicBezTo>
                <a:lnTo>
                  <a:pt x="416" y="26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0" name="Group 295">
            <a:extLst>
              <a:ext uri="{FF2B5EF4-FFF2-40B4-BE49-F238E27FC236}">
                <a16:creationId xmlns:a16="http://schemas.microsoft.com/office/drawing/2014/main" id="{50E63AE9-0694-4EF8-B980-3F1FC9920CE1}"/>
              </a:ext>
            </a:extLst>
          </p:cNvPr>
          <p:cNvGrpSpPr>
            <a:grpSpLocks noChangeAspect="1"/>
          </p:cNvGrpSpPr>
          <p:nvPr/>
        </p:nvGrpSpPr>
        <p:grpSpPr bwMode="auto">
          <a:xfrm>
            <a:off x="7882537" y="1697119"/>
            <a:ext cx="367982" cy="369064"/>
            <a:chOff x="3374" y="2060"/>
            <a:chExt cx="340" cy="341"/>
          </a:xfrm>
          <a:solidFill>
            <a:schemeClr val="accent3"/>
          </a:solidFill>
        </p:grpSpPr>
        <p:sp>
          <p:nvSpPr>
            <p:cNvPr id="511" name="Freeform 296">
              <a:extLst>
                <a:ext uri="{FF2B5EF4-FFF2-40B4-BE49-F238E27FC236}">
                  <a16:creationId xmlns:a16="http://schemas.microsoft.com/office/drawing/2014/main" id="{91E91BC6-6A8D-44CA-9909-418B0D43084A}"/>
                </a:ext>
              </a:extLst>
            </p:cNvPr>
            <p:cNvSpPr>
              <a:spLocks noEditPoints="1"/>
            </p:cNvSpPr>
            <p:nvPr/>
          </p:nvSpPr>
          <p:spPr bwMode="auto">
            <a:xfrm>
              <a:off x="3438" y="2152"/>
              <a:ext cx="212" cy="156"/>
            </a:xfrm>
            <a:custGeom>
              <a:avLst/>
              <a:gdLst>
                <a:gd name="T0" fmla="*/ 192 w 320"/>
                <a:gd name="T1" fmla="*/ 11 h 235"/>
                <a:gd name="T2" fmla="*/ 192 w 320"/>
                <a:gd name="T3" fmla="*/ 224 h 235"/>
                <a:gd name="T4" fmla="*/ 181 w 320"/>
                <a:gd name="T5" fmla="*/ 235 h 235"/>
                <a:gd name="T6" fmla="*/ 170 w 320"/>
                <a:gd name="T7" fmla="*/ 224 h 235"/>
                <a:gd name="T8" fmla="*/ 170 w 320"/>
                <a:gd name="T9" fmla="*/ 11 h 235"/>
                <a:gd name="T10" fmla="*/ 181 w 320"/>
                <a:gd name="T11" fmla="*/ 0 h 235"/>
                <a:gd name="T12" fmla="*/ 192 w 320"/>
                <a:gd name="T13" fmla="*/ 11 h 235"/>
                <a:gd name="T14" fmla="*/ 138 w 320"/>
                <a:gd name="T15" fmla="*/ 54 h 235"/>
                <a:gd name="T16" fmla="*/ 128 w 320"/>
                <a:gd name="T17" fmla="*/ 64 h 235"/>
                <a:gd name="T18" fmla="*/ 128 w 320"/>
                <a:gd name="T19" fmla="*/ 171 h 235"/>
                <a:gd name="T20" fmla="*/ 138 w 320"/>
                <a:gd name="T21" fmla="*/ 182 h 235"/>
                <a:gd name="T22" fmla="*/ 149 w 320"/>
                <a:gd name="T23" fmla="*/ 171 h 235"/>
                <a:gd name="T24" fmla="*/ 149 w 320"/>
                <a:gd name="T25" fmla="*/ 64 h 235"/>
                <a:gd name="T26" fmla="*/ 138 w 320"/>
                <a:gd name="T27" fmla="*/ 54 h 235"/>
                <a:gd name="T28" fmla="*/ 96 w 320"/>
                <a:gd name="T29" fmla="*/ 11 h 235"/>
                <a:gd name="T30" fmla="*/ 85 w 320"/>
                <a:gd name="T31" fmla="*/ 22 h 235"/>
                <a:gd name="T32" fmla="*/ 85 w 320"/>
                <a:gd name="T33" fmla="*/ 214 h 235"/>
                <a:gd name="T34" fmla="*/ 96 w 320"/>
                <a:gd name="T35" fmla="*/ 224 h 235"/>
                <a:gd name="T36" fmla="*/ 106 w 320"/>
                <a:gd name="T37" fmla="*/ 214 h 235"/>
                <a:gd name="T38" fmla="*/ 106 w 320"/>
                <a:gd name="T39" fmla="*/ 22 h 235"/>
                <a:gd name="T40" fmla="*/ 96 w 320"/>
                <a:gd name="T41" fmla="*/ 11 h 235"/>
                <a:gd name="T42" fmla="*/ 53 w 320"/>
                <a:gd name="T43" fmla="*/ 43 h 235"/>
                <a:gd name="T44" fmla="*/ 42 w 320"/>
                <a:gd name="T45" fmla="*/ 54 h 235"/>
                <a:gd name="T46" fmla="*/ 42 w 320"/>
                <a:gd name="T47" fmla="*/ 182 h 235"/>
                <a:gd name="T48" fmla="*/ 53 w 320"/>
                <a:gd name="T49" fmla="*/ 192 h 235"/>
                <a:gd name="T50" fmla="*/ 64 w 320"/>
                <a:gd name="T51" fmla="*/ 182 h 235"/>
                <a:gd name="T52" fmla="*/ 64 w 320"/>
                <a:gd name="T53" fmla="*/ 54 h 235"/>
                <a:gd name="T54" fmla="*/ 53 w 320"/>
                <a:gd name="T55" fmla="*/ 43 h 235"/>
                <a:gd name="T56" fmla="*/ 10 w 320"/>
                <a:gd name="T57" fmla="*/ 86 h 235"/>
                <a:gd name="T58" fmla="*/ 0 w 320"/>
                <a:gd name="T59" fmla="*/ 96 h 235"/>
                <a:gd name="T60" fmla="*/ 0 w 320"/>
                <a:gd name="T61" fmla="*/ 139 h 235"/>
                <a:gd name="T62" fmla="*/ 10 w 320"/>
                <a:gd name="T63" fmla="*/ 150 h 235"/>
                <a:gd name="T64" fmla="*/ 21 w 320"/>
                <a:gd name="T65" fmla="*/ 139 h 235"/>
                <a:gd name="T66" fmla="*/ 21 w 320"/>
                <a:gd name="T67" fmla="*/ 96 h 235"/>
                <a:gd name="T68" fmla="*/ 10 w 320"/>
                <a:gd name="T69" fmla="*/ 86 h 235"/>
                <a:gd name="T70" fmla="*/ 309 w 320"/>
                <a:gd name="T71" fmla="*/ 96 h 235"/>
                <a:gd name="T72" fmla="*/ 298 w 320"/>
                <a:gd name="T73" fmla="*/ 107 h 235"/>
                <a:gd name="T74" fmla="*/ 298 w 320"/>
                <a:gd name="T75" fmla="*/ 128 h 235"/>
                <a:gd name="T76" fmla="*/ 309 w 320"/>
                <a:gd name="T77" fmla="*/ 139 h 235"/>
                <a:gd name="T78" fmla="*/ 320 w 320"/>
                <a:gd name="T79" fmla="*/ 128 h 235"/>
                <a:gd name="T80" fmla="*/ 320 w 320"/>
                <a:gd name="T81" fmla="*/ 107 h 235"/>
                <a:gd name="T82" fmla="*/ 309 w 320"/>
                <a:gd name="T83" fmla="*/ 96 h 235"/>
                <a:gd name="T84" fmla="*/ 266 w 320"/>
                <a:gd name="T85" fmla="*/ 64 h 235"/>
                <a:gd name="T86" fmla="*/ 256 w 320"/>
                <a:gd name="T87" fmla="*/ 75 h 235"/>
                <a:gd name="T88" fmla="*/ 256 w 320"/>
                <a:gd name="T89" fmla="*/ 160 h 235"/>
                <a:gd name="T90" fmla="*/ 266 w 320"/>
                <a:gd name="T91" fmla="*/ 171 h 235"/>
                <a:gd name="T92" fmla="*/ 277 w 320"/>
                <a:gd name="T93" fmla="*/ 160 h 235"/>
                <a:gd name="T94" fmla="*/ 277 w 320"/>
                <a:gd name="T95" fmla="*/ 75 h 235"/>
                <a:gd name="T96" fmla="*/ 266 w 320"/>
                <a:gd name="T97" fmla="*/ 64 h 235"/>
                <a:gd name="T98" fmla="*/ 224 w 320"/>
                <a:gd name="T99" fmla="*/ 43 h 235"/>
                <a:gd name="T100" fmla="*/ 213 w 320"/>
                <a:gd name="T101" fmla="*/ 54 h 235"/>
                <a:gd name="T102" fmla="*/ 213 w 320"/>
                <a:gd name="T103" fmla="*/ 182 h 235"/>
                <a:gd name="T104" fmla="*/ 224 w 320"/>
                <a:gd name="T105" fmla="*/ 192 h 235"/>
                <a:gd name="T106" fmla="*/ 234 w 320"/>
                <a:gd name="T107" fmla="*/ 182 h 235"/>
                <a:gd name="T108" fmla="*/ 234 w 320"/>
                <a:gd name="T109" fmla="*/ 54 h 235"/>
                <a:gd name="T110" fmla="*/ 224 w 320"/>
                <a:gd name="T111" fmla="*/ 4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35">
                  <a:moveTo>
                    <a:pt x="192" y="11"/>
                  </a:moveTo>
                  <a:cubicBezTo>
                    <a:pt x="192" y="224"/>
                    <a:pt x="192" y="224"/>
                    <a:pt x="192" y="224"/>
                  </a:cubicBezTo>
                  <a:cubicBezTo>
                    <a:pt x="192" y="230"/>
                    <a:pt x="187" y="235"/>
                    <a:pt x="181" y="235"/>
                  </a:cubicBezTo>
                  <a:cubicBezTo>
                    <a:pt x="175" y="235"/>
                    <a:pt x="170" y="230"/>
                    <a:pt x="170" y="224"/>
                  </a:cubicBezTo>
                  <a:cubicBezTo>
                    <a:pt x="170" y="11"/>
                    <a:pt x="170" y="11"/>
                    <a:pt x="170" y="11"/>
                  </a:cubicBezTo>
                  <a:cubicBezTo>
                    <a:pt x="170" y="5"/>
                    <a:pt x="175" y="0"/>
                    <a:pt x="181" y="0"/>
                  </a:cubicBezTo>
                  <a:cubicBezTo>
                    <a:pt x="187" y="0"/>
                    <a:pt x="192" y="5"/>
                    <a:pt x="192" y="11"/>
                  </a:cubicBezTo>
                  <a:close/>
                  <a:moveTo>
                    <a:pt x="138" y="54"/>
                  </a:moveTo>
                  <a:cubicBezTo>
                    <a:pt x="132" y="54"/>
                    <a:pt x="128" y="58"/>
                    <a:pt x="128" y="64"/>
                  </a:cubicBezTo>
                  <a:cubicBezTo>
                    <a:pt x="128" y="171"/>
                    <a:pt x="128" y="171"/>
                    <a:pt x="128" y="171"/>
                  </a:cubicBezTo>
                  <a:cubicBezTo>
                    <a:pt x="128" y="177"/>
                    <a:pt x="132" y="182"/>
                    <a:pt x="138" y="182"/>
                  </a:cubicBezTo>
                  <a:cubicBezTo>
                    <a:pt x="144" y="182"/>
                    <a:pt x="149" y="177"/>
                    <a:pt x="149" y="171"/>
                  </a:cubicBezTo>
                  <a:cubicBezTo>
                    <a:pt x="149" y="64"/>
                    <a:pt x="149" y="64"/>
                    <a:pt x="149" y="64"/>
                  </a:cubicBezTo>
                  <a:cubicBezTo>
                    <a:pt x="149" y="58"/>
                    <a:pt x="144" y="54"/>
                    <a:pt x="138" y="54"/>
                  </a:cubicBezTo>
                  <a:close/>
                  <a:moveTo>
                    <a:pt x="96" y="11"/>
                  </a:moveTo>
                  <a:cubicBezTo>
                    <a:pt x="90" y="11"/>
                    <a:pt x="85" y="16"/>
                    <a:pt x="85" y="22"/>
                  </a:cubicBezTo>
                  <a:cubicBezTo>
                    <a:pt x="85" y="214"/>
                    <a:pt x="85" y="214"/>
                    <a:pt x="85" y="214"/>
                  </a:cubicBezTo>
                  <a:cubicBezTo>
                    <a:pt x="85" y="220"/>
                    <a:pt x="90" y="224"/>
                    <a:pt x="96" y="224"/>
                  </a:cubicBezTo>
                  <a:cubicBezTo>
                    <a:pt x="102" y="224"/>
                    <a:pt x="106" y="220"/>
                    <a:pt x="106" y="214"/>
                  </a:cubicBezTo>
                  <a:cubicBezTo>
                    <a:pt x="106" y="22"/>
                    <a:pt x="106" y="22"/>
                    <a:pt x="106" y="22"/>
                  </a:cubicBezTo>
                  <a:cubicBezTo>
                    <a:pt x="106" y="16"/>
                    <a:pt x="102" y="11"/>
                    <a:pt x="96" y="11"/>
                  </a:cubicBezTo>
                  <a:close/>
                  <a:moveTo>
                    <a:pt x="53" y="43"/>
                  </a:moveTo>
                  <a:cubicBezTo>
                    <a:pt x="47" y="43"/>
                    <a:pt x="42" y="48"/>
                    <a:pt x="42" y="54"/>
                  </a:cubicBezTo>
                  <a:cubicBezTo>
                    <a:pt x="42" y="182"/>
                    <a:pt x="42" y="182"/>
                    <a:pt x="42" y="182"/>
                  </a:cubicBezTo>
                  <a:cubicBezTo>
                    <a:pt x="42" y="188"/>
                    <a:pt x="47" y="192"/>
                    <a:pt x="53" y="192"/>
                  </a:cubicBezTo>
                  <a:cubicBezTo>
                    <a:pt x="59" y="192"/>
                    <a:pt x="64" y="188"/>
                    <a:pt x="64" y="182"/>
                  </a:cubicBezTo>
                  <a:cubicBezTo>
                    <a:pt x="64" y="54"/>
                    <a:pt x="64" y="54"/>
                    <a:pt x="64" y="54"/>
                  </a:cubicBezTo>
                  <a:cubicBezTo>
                    <a:pt x="64" y="48"/>
                    <a:pt x="59" y="43"/>
                    <a:pt x="53" y="43"/>
                  </a:cubicBezTo>
                  <a:close/>
                  <a:moveTo>
                    <a:pt x="10" y="86"/>
                  </a:moveTo>
                  <a:cubicBezTo>
                    <a:pt x="4" y="86"/>
                    <a:pt x="0" y="90"/>
                    <a:pt x="0" y="96"/>
                  </a:cubicBezTo>
                  <a:cubicBezTo>
                    <a:pt x="0" y="139"/>
                    <a:pt x="0" y="139"/>
                    <a:pt x="0" y="139"/>
                  </a:cubicBezTo>
                  <a:cubicBezTo>
                    <a:pt x="0" y="145"/>
                    <a:pt x="4" y="150"/>
                    <a:pt x="10" y="150"/>
                  </a:cubicBezTo>
                  <a:cubicBezTo>
                    <a:pt x="16" y="150"/>
                    <a:pt x="21" y="145"/>
                    <a:pt x="21" y="139"/>
                  </a:cubicBezTo>
                  <a:cubicBezTo>
                    <a:pt x="21" y="96"/>
                    <a:pt x="21" y="96"/>
                    <a:pt x="21" y="96"/>
                  </a:cubicBezTo>
                  <a:cubicBezTo>
                    <a:pt x="21" y="90"/>
                    <a:pt x="16" y="86"/>
                    <a:pt x="10" y="86"/>
                  </a:cubicBezTo>
                  <a:close/>
                  <a:moveTo>
                    <a:pt x="309" y="96"/>
                  </a:moveTo>
                  <a:cubicBezTo>
                    <a:pt x="303" y="96"/>
                    <a:pt x="298" y="101"/>
                    <a:pt x="298" y="107"/>
                  </a:cubicBezTo>
                  <a:cubicBezTo>
                    <a:pt x="298" y="128"/>
                    <a:pt x="298" y="128"/>
                    <a:pt x="298" y="128"/>
                  </a:cubicBezTo>
                  <a:cubicBezTo>
                    <a:pt x="298" y="134"/>
                    <a:pt x="303" y="139"/>
                    <a:pt x="309" y="139"/>
                  </a:cubicBezTo>
                  <a:cubicBezTo>
                    <a:pt x="315" y="139"/>
                    <a:pt x="320" y="134"/>
                    <a:pt x="320" y="128"/>
                  </a:cubicBezTo>
                  <a:cubicBezTo>
                    <a:pt x="320" y="107"/>
                    <a:pt x="320" y="107"/>
                    <a:pt x="320" y="107"/>
                  </a:cubicBezTo>
                  <a:cubicBezTo>
                    <a:pt x="320" y="101"/>
                    <a:pt x="315" y="96"/>
                    <a:pt x="309" y="96"/>
                  </a:cubicBezTo>
                  <a:close/>
                  <a:moveTo>
                    <a:pt x="266" y="64"/>
                  </a:moveTo>
                  <a:cubicBezTo>
                    <a:pt x="260" y="64"/>
                    <a:pt x="256" y="69"/>
                    <a:pt x="256" y="75"/>
                  </a:cubicBezTo>
                  <a:cubicBezTo>
                    <a:pt x="256" y="160"/>
                    <a:pt x="256" y="160"/>
                    <a:pt x="256" y="160"/>
                  </a:cubicBezTo>
                  <a:cubicBezTo>
                    <a:pt x="256" y="166"/>
                    <a:pt x="260" y="171"/>
                    <a:pt x="266" y="171"/>
                  </a:cubicBezTo>
                  <a:cubicBezTo>
                    <a:pt x="272" y="171"/>
                    <a:pt x="277" y="166"/>
                    <a:pt x="277" y="160"/>
                  </a:cubicBezTo>
                  <a:cubicBezTo>
                    <a:pt x="277" y="75"/>
                    <a:pt x="277" y="75"/>
                    <a:pt x="277" y="75"/>
                  </a:cubicBezTo>
                  <a:cubicBezTo>
                    <a:pt x="277" y="69"/>
                    <a:pt x="272" y="64"/>
                    <a:pt x="266" y="64"/>
                  </a:cubicBezTo>
                  <a:close/>
                  <a:moveTo>
                    <a:pt x="224" y="43"/>
                  </a:moveTo>
                  <a:cubicBezTo>
                    <a:pt x="218" y="43"/>
                    <a:pt x="213" y="48"/>
                    <a:pt x="213" y="54"/>
                  </a:cubicBezTo>
                  <a:cubicBezTo>
                    <a:pt x="213" y="182"/>
                    <a:pt x="213" y="182"/>
                    <a:pt x="213" y="182"/>
                  </a:cubicBezTo>
                  <a:cubicBezTo>
                    <a:pt x="213" y="188"/>
                    <a:pt x="218" y="192"/>
                    <a:pt x="224" y="192"/>
                  </a:cubicBezTo>
                  <a:cubicBezTo>
                    <a:pt x="230" y="192"/>
                    <a:pt x="234" y="188"/>
                    <a:pt x="234" y="182"/>
                  </a:cubicBezTo>
                  <a:cubicBezTo>
                    <a:pt x="234" y="54"/>
                    <a:pt x="234" y="54"/>
                    <a:pt x="234" y="54"/>
                  </a:cubicBezTo>
                  <a:cubicBezTo>
                    <a:pt x="234" y="48"/>
                    <a:pt x="230" y="43"/>
                    <a:pt x="224"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2" name="Freeform 297">
              <a:extLst>
                <a:ext uri="{FF2B5EF4-FFF2-40B4-BE49-F238E27FC236}">
                  <a16:creationId xmlns:a16="http://schemas.microsoft.com/office/drawing/2014/main" id="{CD8CD22B-8757-4A76-9ACA-AD5BD2219AD1}"/>
                </a:ext>
              </a:extLst>
            </p:cNvPr>
            <p:cNvSpPr>
              <a:spLocks noEditPoints="1"/>
            </p:cNvSpPr>
            <p:nvPr/>
          </p:nvSpPr>
          <p:spPr bwMode="auto">
            <a:xfrm>
              <a:off x="3374" y="206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3" name="Freeform 678">
            <a:extLst>
              <a:ext uri="{FF2B5EF4-FFF2-40B4-BE49-F238E27FC236}">
                <a16:creationId xmlns:a16="http://schemas.microsoft.com/office/drawing/2014/main" id="{21BE2D12-8CAD-471D-AD74-75FBC865A6C5}"/>
              </a:ext>
            </a:extLst>
          </p:cNvPr>
          <p:cNvSpPr>
            <a:spLocks noChangeAspect="1" noEditPoints="1"/>
          </p:cNvSpPr>
          <p:nvPr/>
        </p:nvSpPr>
        <p:spPr bwMode="auto">
          <a:xfrm>
            <a:off x="8316444" y="1697119"/>
            <a:ext cx="367982" cy="367982"/>
          </a:xfrm>
          <a:custGeom>
            <a:avLst/>
            <a:gdLst>
              <a:gd name="T0" fmla="*/ 267 w 512"/>
              <a:gd name="T1" fmla="*/ 214 h 512"/>
              <a:gd name="T2" fmla="*/ 256 w 512"/>
              <a:gd name="T3" fmla="*/ 224 h 512"/>
              <a:gd name="T4" fmla="*/ 245 w 512"/>
              <a:gd name="T5" fmla="*/ 214 h 512"/>
              <a:gd name="T6" fmla="*/ 256 w 512"/>
              <a:gd name="T7" fmla="*/ 203 h 512"/>
              <a:gd name="T8" fmla="*/ 267 w 512"/>
              <a:gd name="T9" fmla="*/ 214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18 w 512"/>
              <a:gd name="T21" fmla="*/ 302 h 512"/>
              <a:gd name="T22" fmla="*/ 160 w 512"/>
              <a:gd name="T23" fmla="*/ 214 h 512"/>
              <a:gd name="T24" fmla="*/ 218 w 512"/>
              <a:gd name="T25" fmla="*/ 126 h 512"/>
              <a:gd name="T26" fmla="*/ 223 w 512"/>
              <a:gd name="T27" fmla="*/ 112 h 512"/>
              <a:gd name="T28" fmla="*/ 209 w 512"/>
              <a:gd name="T29" fmla="*/ 106 h 512"/>
              <a:gd name="T30" fmla="*/ 139 w 512"/>
              <a:gd name="T31" fmla="*/ 214 h 512"/>
              <a:gd name="T32" fmla="*/ 209 w 512"/>
              <a:gd name="T33" fmla="*/ 321 h 512"/>
              <a:gd name="T34" fmla="*/ 213 w 512"/>
              <a:gd name="T35" fmla="*/ 322 h 512"/>
              <a:gd name="T36" fmla="*/ 223 w 512"/>
              <a:gd name="T37" fmla="*/ 316 h 512"/>
              <a:gd name="T38" fmla="*/ 218 w 512"/>
              <a:gd name="T39" fmla="*/ 302 h 512"/>
              <a:gd name="T40" fmla="*/ 229 w 512"/>
              <a:gd name="T41" fmla="*/ 260 h 512"/>
              <a:gd name="T42" fmla="*/ 203 w 512"/>
              <a:gd name="T43" fmla="*/ 214 h 512"/>
              <a:gd name="T44" fmla="*/ 229 w 512"/>
              <a:gd name="T45" fmla="*/ 167 h 512"/>
              <a:gd name="T46" fmla="*/ 233 w 512"/>
              <a:gd name="T47" fmla="*/ 153 h 512"/>
              <a:gd name="T48" fmla="*/ 219 w 512"/>
              <a:gd name="T49" fmla="*/ 149 h 512"/>
              <a:gd name="T50" fmla="*/ 181 w 512"/>
              <a:gd name="T51" fmla="*/ 214 h 512"/>
              <a:gd name="T52" fmla="*/ 219 w 512"/>
              <a:gd name="T53" fmla="*/ 278 h 512"/>
              <a:gd name="T54" fmla="*/ 224 w 512"/>
              <a:gd name="T55" fmla="*/ 280 h 512"/>
              <a:gd name="T56" fmla="*/ 233 w 512"/>
              <a:gd name="T57" fmla="*/ 274 h 512"/>
              <a:gd name="T58" fmla="*/ 229 w 512"/>
              <a:gd name="T59" fmla="*/ 260 h 512"/>
              <a:gd name="T60" fmla="*/ 267 w 512"/>
              <a:gd name="T61" fmla="*/ 244 h 512"/>
              <a:gd name="T62" fmla="*/ 288 w 512"/>
              <a:gd name="T63" fmla="*/ 214 h 512"/>
              <a:gd name="T64" fmla="*/ 256 w 512"/>
              <a:gd name="T65" fmla="*/ 182 h 512"/>
              <a:gd name="T66" fmla="*/ 224 w 512"/>
              <a:gd name="T67" fmla="*/ 214 h 512"/>
              <a:gd name="T68" fmla="*/ 245 w 512"/>
              <a:gd name="T69" fmla="*/ 244 h 512"/>
              <a:gd name="T70" fmla="*/ 245 w 512"/>
              <a:gd name="T71" fmla="*/ 406 h 512"/>
              <a:gd name="T72" fmla="*/ 256 w 512"/>
              <a:gd name="T73" fmla="*/ 416 h 512"/>
              <a:gd name="T74" fmla="*/ 267 w 512"/>
              <a:gd name="T75" fmla="*/ 406 h 512"/>
              <a:gd name="T76" fmla="*/ 267 w 512"/>
              <a:gd name="T77" fmla="*/ 244 h 512"/>
              <a:gd name="T78" fmla="*/ 288 w 512"/>
              <a:gd name="T79" fmla="*/ 280 h 512"/>
              <a:gd name="T80" fmla="*/ 293 w 512"/>
              <a:gd name="T81" fmla="*/ 278 h 512"/>
              <a:gd name="T82" fmla="*/ 331 w 512"/>
              <a:gd name="T83" fmla="*/ 214 h 512"/>
              <a:gd name="T84" fmla="*/ 293 w 512"/>
              <a:gd name="T85" fmla="*/ 149 h 512"/>
              <a:gd name="T86" fmla="*/ 279 w 512"/>
              <a:gd name="T87" fmla="*/ 153 h 512"/>
              <a:gd name="T88" fmla="*/ 283 w 512"/>
              <a:gd name="T89" fmla="*/ 167 h 512"/>
              <a:gd name="T90" fmla="*/ 309 w 512"/>
              <a:gd name="T91" fmla="*/ 214 h 512"/>
              <a:gd name="T92" fmla="*/ 283 w 512"/>
              <a:gd name="T93" fmla="*/ 260 h 512"/>
              <a:gd name="T94" fmla="*/ 279 w 512"/>
              <a:gd name="T95" fmla="*/ 274 h 512"/>
              <a:gd name="T96" fmla="*/ 288 w 512"/>
              <a:gd name="T97" fmla="*/ 280 h 512"/>
              <a:gd name="T98" fmla="*/ 373 w 512"/>
              <a:gd name="T99" fmla="*/ 214 h 512"/>
              <a:gd name="T100" fmla="*/ 303 w 512"/>
              <a:gd name="T101" fmla="*/ 106 h 512"/>
              <a:gd name="T102" fmla="*/ 289 w 512"/>
              <a:gd name="T103" fmla="*/ 112 h 512"/>
              <a:gd name="T104" fmla="*/ 294 w 512"/>
              <a:gd name="T105" fmla="*/ 126 h 512"/>
              <a:gd name="T106" fmla="*/ 352 w 512"/>
              <a:gd name="T107" fmla="*/ 214 h 512"/>
              <a:gd name="T108" fmla="*/ 294 w 512"/>
              <a:gd name="T109" fmla="*/ 302 h 512"/>
              <a:gd name="T110" fmla="*/ 289 w 512"/>
              <a:gd name="T111" fmla="*/ 316 h 512"/>
              <a:gd name="T112" fmla="*/ 299 w 512"/>
              <a:gd name="T113" fmla="*/ 322 h 512"/>
              <a:gd name="T114" fmla="*/ 303 w 512"/>
              <a:gd name="T115" fmla="*/ 321 h 512"/>
              <a:gd name="T116" fmla="*/ 373 w 512"/>
              <a:gd name="T117" fmla="*/ 2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67" y="214"/>
                </a:moveTo>
                <a:cubicBezTo>
                  <a:pt x="267" y="220"/>
                  <a:pt x="262" y="224"/>
                  <a:pt x="256" y="224"/>
                </a:cubicBezTo>
                <a:cubicBezTo>
                  <a:pt x="250" y="224"/>
                  <a:pt x="245" y="220"/>
                  <a:pt x="245" y="214"/>
                </a:cubicBezTo>
                <a:cubicBezTo>
                  <a:pt x="245" y="208"/>
                  <a:pt x="250" y="203"/>
                  <a:pt x="256" y="203"/>
                </a:cubicBezTo>
                <a:cubicBezTo>
                  <a:pt x="262" y="203"/>
                  <a:pt x="267" y="208"/>
                  <a:pt x="267" y="21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8" y="302"/>
                </a:moveTo>
                <a:cubicBezTo>
                  <a:pt x="183" y="286"/>
                  <a:pt x="160" y="252"/>
                  <a:pt x="160" y="214"/>
                </a:cubicBezTo>
                <a:cubicBezTo>
                  <a:pt x="160" y="175"/>
                  <a:pt x="183" y="141"/>
                  <a:pt x="218" y="126"/>
                </a:cubicBezTo>
                <a:cubicBezTo>
                  <a:pt x="223" y="123"/>
                  <a:pt x="225" y="117"/>
                  <a:pt x="223" y="112"/>
                </a:cubicBezTo>
                <a:cubicBezTo>
                  <a:pt x="221" y="106"/>
                  <a:pt x="214" y="104"/>
                  <a:pt x="209" y="106"/>
                </a:cubicBezTo>
                <a:cubicBezTo>
                  <a:pt x="166" y="125"/>
                  <a:pt x="139" y="167"/>
                  <a:pt x="139" y="214"/>
                </a:cubicBezTo>
                <a:cubicBezTo>
                  <a:pt x="139" y="260"/>
                  <a:pt x="166" y="303"/>
                  <a:pt x="209" y="321"/>
                </a:cubicBezTo>
                <a:cubicBezTo>
                  <a:pt x="210" y="322"/>
                  <a:pt x="212" y="322"/>
                  <a:pt x="213" y="322"/>
                </a:cubicBezTo>
                <a:cubicBezTo>
                  <a:pt x="217" y="322"/>
                  <a:pt x="221" y="320"/>
                  <a:pt x="223" y="316"/>
                </a:cubicBezTo>
                <a:cubicBezTo>
                  <a:pt x="225" y="310"/>
                  <a:pt x="223" y="304"/>
                  <a:pt x="218" y="302"/>
                </a:cubicBezTo>
                <a:close/>
                <a:moveTo>
                  <a:pt x="229" y="260"/>
                </a:moveTo>
                <a:cubicBezTo>
                  <a:pt x="213" y="250"/>
                  <a:pt x="203" y="233"/>
                  <a:pt x="203" y="214"/>
                </a:cubicBezTo>
                <a:cubicBezTo>
                  <a:pt x="203" y="195"/>
                  <a:pt x="213" y="177"/>
                  <a:pt x="229" y="167"/>
                </a:cubicBezTo>
                <a:cubicBezTo>
                  <a:pt x="234" y="165"/>
                  <a:pt x="236" y="158"/>
                  <a:pt x="233" y="153"/>
                </a:cubicBezTo>
                <a:cubicBezTo>
                  <a:pt x="230" y="148"/>
                  <a:pt x="224" y="146"/>
                  <a:pt x="219" y="149"/>
                </a:cubicBezTo>
                <a:cubicBezTo>
                  <a:pt x="196" y="162"/>
                  <a:pt x="181" y="187"/>
                  <a:pt x="181" y="214"/>
                </a:cubicBezTo>
                <a:cubicBezTo>
                  <a:pt x="181" y="240"/>
                  <a:pt x="196" y="265"/>
                  <a:pt x="219" y="278"/>
                </a:cubicBezTo>
                <a:cubicBezTo>
                  <a:pt x="220" y="279"/>
                  <a:pt x="222" y="280"/>
                  <a:pt x="224" y="280"/>
                </a:cubicBezTo>
                <a:cubicBezTo>
                  <a:pt x="228" y="280"/>
                  <a:pt x="231" y="278"/>
                  <a:pt x="233" y="274"/>
                </a:cubicBezTo>
                <a:cubicBezTo>
                  <a:pt x="236" y="269"/>
                  <a:pt x="234" y="263"/>
                  <a:pt x="229" y="260"/>
                </a:cubicBezTo>
                <a:close/>
                <a:moveTo>
                  <a:pt x="267" y="244"/>
                </a:moveTo>
                <a:cubicBezTo>
                  <a:pt x="279" y="239"/>
                  <a:pt x="288" y="228"/>
                  <a:pt x="288" y="214"/>
                </a:cubicBezTo>
                <a:cubicBezTo>
                  <a:pt x="288" y="196"/>
                  <a:pt x="274" y="182"/>
                  <a:pt x="256" y="182"/>
                </a:cubicBezTo>
                <a:cubicBezTo>
                  <a:pt x="238" y="182"/>
                  <a:pt x="224" y="196"/>
                  <a:pt x="224" y="214"/>
                </a:cubicBezTo>
                <a:cubicBezTo>
                  <a:pt x="224" y="228"/>
                  <a:pt x="233" y="239"/>
                  <a:pt x="245" y="244"/>
                </a:cubicBezTo>
                <a:cubicBezTo>
                  <a:pt x="245" y="406"/>
                  <a:pt x="245" y="406"/>
                  <a:pt x="245" y="406"/>
                </a:cubicBezTo>
                <a:cubicBezTo>
                  <a:pt x="245" y="412"/>
                  <a:pt x="250" y="416"/>
                  <a:pt x="256" y="416"/>
                </a:cubicBezTo>
                <a:cubicBezTo>
                  <a:pt x="262" y="416"/>
                  <a:pt x="267" y="412"/>
                  <a:pt x="267" y="406"/>
                </a:cubicBezTo>
                <a:lnTo>
                  <a:pt x="267" y="244"/>
                </a:lnTo>
                <a:close/>
                <a:moveTo>
                  <a:pt x="288" y="280"/>
                </a:moveTo>
                <a:cubicBezTo>
                  <a:pt x="290" y="280"/>
                  <a:pt x="292" y="279"/>
                  <a:pt x="293" y="278"/>
                </a:cubicBezTo>
                <a:cubicBezTo>
                  <a:pt x="316" y="265"/>
                  <a:pt x="331" y="240"/>
                  <a:pt x="331" y="214"/>
                </a:cubicBezTo>
                <a:cubicBezTo>
                  <a:pt x="331" y="187"/>
                  <a:pt x="316" y="162"/>
                  <a:pt x="293" y="149"/>
                </a:cubicBezTo>
                <a:cubicBezTo>
                  <a:pt x="288" y="146"/>
                  <a:pt x="282" y="148"/>
                  <a:pt x="279" y="153"/>
                </a:cubicBezTo>
                <a:cubicBezTo>
                  <a:pt x="276" y="158"/>
                  <a:pt x="278" y="165"/>
                  <a:pt x="283" y="167"/>
                </a:cubicBezTo>
                <a:cubicBezTo>
                  <a:pt x="299" y="177"/>
                  <a:pt x="309" y="195"/>
                  <a:pt x="309" y="214"/>
                </a:cubicBezTo>
                <a:cubicBezTo>
                  <a:pt x="309" y="233"/>
                  <a:pt x="299" y="250"/>
                  <a:pt x="283" y="260"/>
                </a:cubicBezTo>
                <a:cubicBezTo>
                  <a:pt x="278" y="263"/>
                  <a:pt x="276" y="269"/>
                  <a:pt x="279" y="274"/>
                </a:cubicBezTo>
                <a:cubicBezTo>
                  <a:pt x="281" y="278"/>
                  <a:pt x="284" y="280"/>
                  <a:pt x="288" y="280"/>
                </a:cubicBezTo>
                <a:close/>
                <a:moveTo>
                  <a:pt x="373" y="214"/>
                </a:moveTo>
                <a:cubicBezTo>
                  <a:pt x="373" y="167"/>
                  <a:pt x="346" y="125"/>
                  <a:pt x="303" y="106"/>
                </a:cubicBezTo>
                <a:cubicBezTo>
                  <a:pt x="298" y="104"/>
                  <a:pt x="291" y="106"/>
                  <a:pt x="289" y="112"/>
                </a:cubicBezTo>
                <a:cubicBezTo>
                  <a:pt x="287" y="117"/>
                  <a:pt x="289" y="123"/>
                  <a:pt x="294" y="126"/>
                </a:cubicBezTo>
                <a:cubicBezTo>
                  <a:pt x="329" y="141"/>
                  <a:pt x="352" y="175"/>
                  <a:pt x="352" y="214"/>
                </a:cubicBezTo>
                <a:cubicBezTo>
                  <a:pt x="352" y="252"/>
                  <a:pt x="329" y="286"/>
                  <a:pt x="294" y="302"/>
                </a:cubicBezTo>
                <a:cubicBezTo>
                  <a:pt x="289" y="304"/>
                  <a:pt x="287" y="310"/>
                  <a:pt x="289" y="316"/>
                </a:cubicBezTo>
                <a:cubicBezTo>
                  <a:pt x="291" y="320"/>
                  <a:pt x="295" y="322"/>
                  <a:pt x="299" y="322"/>
                </a:cubicBezTo>
                <a:cubicBezTo>
                  <a:pt x="300" y="322"/>
                  <a:pt x="302" y="322"/>
                  <a:pt x="303" y="321"/>
                </a:cubicBezTo>
                <a:cubicBezTo>
                  <a:pt x="346" y="303"/>
                  <a:pt x="373" y="260"/>
                  <a:pt x="373" y="21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4" name="Group 681">
            <a:extLst>
              <a:ext uri="{FF2B5EF4-FFF2-40B4-BE49-F238E27FC236}">
                <a16:creationId xmlns:a16="http://schemas.microsoft.com/office/drawing/2014/main" id="{7296572A-68B9-47C5-B47D-5F5ACB11C2C2}"/>
              </a:ext>
            </a:extLst>
          </p:cNvPr>
          <p:cNvGrpSpPr>
            <a:grpSpLocks noChangeAspect="1"/>
          </p:cNvGrpSpPr>
          <p:nvPr/>
        </p:nvGrpSpPr>
        <p:grpSpPr bwMode="auto">
          <a:xfrm>
            <a:off x="8750351" y="1697119"/>
            <a:ext cx="367982" cy="367982"/>
            <a:chOff x="3220" y="2949"/>
            <a:chExt cx="340" cy="340"/>
          </a:xfrm>
          <a:solidFill>
            <a:schemeClr val="accent2"/>
          </a:solidFill>
        </p:grpSpPr>
        <p:sp>
          <p:nvSpPr>
            <p:cNvPr id="515" name="Freeform 682">
              <a:extLst>
                <a:ext uri="{FF2B5EF4-FFF2-40B4-BE49-F238E27FC236}">
                  <a16:creationId xmlns:a16="http://schemas.microsoft.com/office/drawing/2014/main" id="{310C1EB9-8B82-4388-9624-5B1F3852510E}"/>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6" name="Freeform 683">
              <a:extLst>
                <a:ext uri="{FF2B5EF4-FFF2-40B4-BE49-F238E27FC236}">
                  <a16:creationId xmlns:a16="http://schemas.microsoft.com/office/drawing/2014/main" id="{CC73D02A-BECB-465E-B799-9B00CC79F38D}"/>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7" name="Freeform 971">
            <a:extLst>
              <a:ext uri="{FF2B5EF4-FFF2-40B4-BE49-F238E27FC236}">
                <a16:creationId xmlns:a16="http://schemas.microsoft.com/office/drawing/2014/main" id="{644C7C14-EA5E-43D8-AB77-6C615E9D7674}"/>
              </a:ext>
            </a:extLst>
          </p:cNvPr>
          <p:cNvSpPr>
            <a:spLocks noChangeAspect="1" noEditPoints="1"/>
          </p:cNvSpPr>
          <p:nvPr/>
        </p:nvSpPr>
        <p:spPr bwMode="auto">
          <a:xfrm>
            <a:off x="9184258" y="1697119"/>
            <a:ext cx="367982" cy="367982"/>
          </a:xfrm>
          <a:custGeom>
            <a:avLst/>
            <a:gdLst>
              <a:gd name="T0" fmla="*/ 177 w 512"/>
              <a:gd name="T1" fmla="*/ 266 h 512"/>
              <a:gd name="T2" fmla="*/ 138 w 512"/>
              <a:gd name="T3" fmla="*/ 245 h 512"/>
              <a:gd name="T4" fmla="*/ 312 w 512"/>
              <a:gd name="T5" fmla="*/ 160 h 512"/>
              <a:gd name="T6" fmla="*/ 242 w 512"/>
              <a:gd name="T7" fmla="*/ 161 h 512"/>
              <a:gd name="T8" fmla="*/ 312 w 512"/>
              <a:gd name="T9" fmla="*/ 160 h 512"/>
              <a:gd name="T10" fmla="*/ 214 w 512"/>
              <a:gd name="T11" fmla="*/ 171 h 512"/>
              <a:gd name="T12" fmla="*/ 199 w 512"/>
              <a:gd name="T13" fmla="*/ 199 h 512"/>
              <a:gd name="T14" fmla="*/ 350 w 512"/>
              <a:gd name="T15" fmla="*/ 147 h 512"/>
              <a:gd name="T16" fmla="*/ 313 w 512"/>
              <a:gd name="T17" fmla="*/ 137 h 512"/>
              <a:gd name="T18" fmla="*/ 350 w 512"/>
              <a:gd name="T19" fmla="*/ 147 h 512"/>
              <a:gd name="T20" fmla="*/ 305 w 512"/>
              <a:gd name="T21" fmla="*/ 245 h 512"/>
              <a:gd name="T22" fmla="*/ 281 w 512"/>
              <a:gd name="T23" fmla="*/ 266 h 512"/>
              <a:gd name="T24" fmla="*/ 207 w 512"/>
              <a:gd name="T25" fmla="*/ 266 h 512"/>
              <a:gd name="T26" fmla="*/ 230 w 512"/>
              <a:gd name="T27" fmla="*/ 245 h 512"/>
              <a:gd name="T28" fmla="*/ 207 w 512"/>
              <a:gd name="T29" fmla="*/ 266 h 512"/>
              <a:gd name="T30" fmla="*/ 127 w 512"/>
              <a:gd name="T31" fmla="*/ 201 h 512"/>
              <a:gd name="T32" fmla="*/ 170 w 512"/>
              <a:gd name="T33" fmla="*/ 208 h 512"/>
              <a:gd name="T34" fmla="*/ 512 w 512"/>
              <a:gd name="T35" fmla="*/ 256 h 512"/>
              <a:gd name="T36" fmla="*/ 0 w 512"/>
              <a:gd name="T37" fmla="*/ 256 h 512"/>
              <a:gd name="T38" fmla="*/ 512 w 512"/>
              <a:gd name="T39" fmla="*/ 256 h 512"/>
              <a:gd name="T40" fmla="*/ 384 w 512"/>
              <a:gd name="T41" fmla="*/ 224 h 512"/>
              <a:gd name="T42" fmla="*/ 201 w 512"/>
              <a:gd name="T43" fmla="*/ 220 h 512"/>
              <a:gd name="T44" fmla="*/ 271 w 512"/>
              <a:gd name="T45" fmla="*/ 196 h 512"/>
              <a:gd name="T46" fmla="*/ 342 w 512"/>
              <a:gd name="T47" fmla="*/ 172 h 512"/>
              <a:gd name="T48" fmla="*/ 367 w 512"/>
              <a:gd name="T49" fmla="*/ 164 h 512"/>
              <a:gd name="T50" fmla="*/ 374 w 512"/>
              <a:gd name="T51" fmla="*/ 150 h 512"/>
              <a:gd name="T52" fmla="*/ 346 w 512"/>
              <a:gd name="T53" fmla="*/ 103 h 512"/>
              <a:gd name="T54" fmla="*/ 104 w 512"/>
              <a:gd name="T55" fmla="*/ 197 h 512"/>
              <a:gd name="T56" fmla="*/ 117 w 512"/>
              <a:gd name="T57" fmla="*/ 384 h 512"/>
              <a:gd name="T58" fmla="*/ 384 w 512"/>
              <a:gd name="T59" fmla="*/ 394 h 512"/>
              <a:gd name="T60" fmla="*/ 394 w 512"/>
              <a:gd name="T61" fmla="*/ 234 h 512"/>
              <a:gd name="T62" fmla="*/ 373 w 512"/>
              <a:gd name="T63" fmla="*/ 266 h 512"/>
              <a:gd name="T64" fmla="*/ 335 w 512"/>
              <a:gd name="T65" fmla="*/ 245 h 512"/>
              <a:gd name="T66" fmla="*/ 138 w 512"/>
              <a:gd name="T67" fmla="*/ 373 h 512"/>
              <a:gd name="T68" fmla="*/ 373 w 512"/>
              <a:gd name="T69" fmla="*/ 288 h 512"/>
              <a:gd name="T70" fmla="*/ 138 w 512"/>
              <a:gd name="T7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55" y="245"/>
                </a:moveTo>
                <a:cubicBezTo>
                  <a:pt x="177" y="266"/>
                  <a:pt x="177" y="266"/>
                  <a:pt x="177" y="266"/>
                </a:cubicBezTo>
                <a:cubicBezTo>
                  <a:pt x="138" y="266"/>
                  <a:pt x="138" y="266"/>
                  <a:pt x="138" y="266"/>
                </a:cubicBezTo>
                <a:cubicBezTo>
                  <a:pt x="138" y="245"/>
                  <a:pt x="138" y="245"/>
                  <a:pt x="138" y="245"/>
                </a:cubicBezTo>
                <a:lnTo>
                  <a:pt x="155" y="245"/>
                </a:lnTo>
                <a:close/>
                <a:moveTo>
                  <a:pt x="312" y="160"/>
                </a:moveTo>
                <a:cubicBezTo>
                  <a:pt x="285" y="147"/>
                  <a:pt x="285" y="147"/>
                  <a:pt x="285" y="147"/>
                </a:cubicBezTo>
                <a:cubicBezTo>
                  <a:pt x="242" y="161"/>
                  <a:pt x="242" y="161"/>
                  <a:pt x="242" y="161"/>
                </a:cubicBezTo>
                <a:cubicBezTo>
                  <a:pt x="270" y="174"/>
                  <a:pt x="270" y="174"/>
                  <a:pt x="270" y="174"/>
                </a:cubicBezTo>
                <a:lnTo>
                  <a:pt x="312" y="160"/>
                </a:lnTo>
                <a:close/>
                <a:moveTo>
                  <a:pt x="241" y="184"/>
                </a:moveTo>
                <a:cubicBezTo>
                  <a:pt x="214" y="171"/>
                  <a:pt x="214" y="171"/>
                  <a:pt x="214" y="171"/>
                </a:cubicBezTo>
                <a:cubicBezTo>
                  <a:pt x="172" y="185"/>
                  <a:pt x="172" y="185"/>
                  <a:pt x="172" y="185"/>
                </a:cubicBezTo>
                <a:cubicBezTo>
                  <a:pt x="199" y="199"/>
                  <a:pt x="199" y="199"/>
                  <a:pt x="199" y="199"/>
                </a:cubicBezTo>
                <a:lnTo>
                  <a:pt x="241" y="184"/>
                </a:lnTo>
                <a:close/>
                <a:moveTo>
                  <a:pt x="350" y="147"/>
                </a:moveTo>
                <a:cubicBezTo>
                  <a:pt x="343" y="127"/>
                  <a:pt x="343" y="127"/>
                  <a:pt x="343" y="127"/>
                </a:cubicBezTo>
                <a:cubicBezTo>
                  <a:pt x="313" y="137"/>
                  <a:pt x="313" y="137"/>
                  <a:pt x="313" y="137"/>
                </a:cubicBezTo>
                <a:cubicBezTo>
                  <a:pt x="340" y="150"/>
                  <a:pt x="340" y="150"/>
                  <a:pt x="340" y="150"/>
                </a:cubicBezTo>
                <a:lnTo>
                  <a:pt x="350" y="147"/>
                </a:lnTo>
                <a:close/>
                <a:moveTo>
                  <a:pt x="326" y="266"/>
                </a:moveTo>
                <a:cubicBezTo>
                  <a:pt x="305" y="245"/>
                  <a:pt x="305" y="245"/>
                  <a:pt x="305" y="245"/>
                </a:cubicBezTo>
                <a:cubicBezTo>
                  <a:pt x="260" y="245"/>
                  <a:pt x="260" y="245"/>
                  <a:pt x="260" y="245"/>
                </a:cubicBezTo>
                <a:cubicBezTo>
                  <a:pt x="281" y="266"/>
                  <a:pt x="281" y="266"/>
                  <a:pt x="281" y="266"/>
                </a:cubicBezTo>
                <a:lnTo>
                  <a:pt x="326" y="266"/>
                </a:lnTo>
                <a:close/>
                <a:moveTo>
                  <a:pt x="207" y="266"/>
                </a:moveTo>
                <a:cubicBezTo>
                  <a:pt x="251" y="266"/>
                  <a:pt x="251" y="266"/>
                  <a:pt x="251" y="266"/>
                </a:cubicBezTo>
                <a:cubicBezTo>
                  <a:pt x="230" y="245"/>
                  <a:pt x="230" y="245"/>
                  <a:pt x="230" y="245"/>
                </a:cubicBezTo>
                <a:cubicBezTo>
                  <a:pt x="185" y="245"/>
                  <a:pt x="185" y="245"/>
                  <a:pt x="185" y="245"/>
                </a:cubicBezTo>
                <a:lnTo>
                  <a:pt x="207" y="266"/>
                </a:lnTo>
                <a:close/>
                <a:moveTo>
                  <a:pt x="143" y="195"/>
                </a:moveTo>
                <a:cubicBezTo>
                  <a:pt x="127" y="201"/>
                  <a:pt x="127" y="201"/>
                  <a:pt x="127" y="201"/>
                </a:cubicBezTo>
                <a:cubicBezTo>
                  <a:pt x="134" y="221"/>
                  <a:pt x="134" y="221"/>
                  <a:pt x="134" y="221"/>
                </a:cubicBezTo>
                <a:cubicBezTo>
                  <a:pt x="170" y="208"/>
                  <a:pt x="170" y="208"/>
                  <a:pt x="170" y="208"/>
                </a:cubicBezTo>
                <a:lnTo>
                  <a:pt x="143" y="1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192" y="224"/>
                  <a:pt x="192" y="224"/>
                  <a:pt x="192" y="224"/>
                </a:cubicBezTo>
                <a:cubicBezTo>
                  <a:pt x="201" y="220"/>
                  <a:pt x="201" y="220"/>
                  <a:pt x="201" y="220"/>
                </a:cubicBezTo>
                <a:cubicBezTo>
                  <a:pt x="201" y="220"/>
                  <a:pt x="201" y="220"/>
                  <a:pt x="202" y="220"/>
                </a:cubicBezTo>
                <a:cubicBezTo>
                  <a:pt x="271" y="196"/>
                  <a:pt x="271" y="196"/>
                  <a:pt x="271" y="196"/>
                </a:cubicBezTo>
                <a:cubicBezTo>
                  <a:pt x="272" y="196"/>
                  <a:pt x="273" y="196"/>
                  <a:pt x="273" y="196"/>
                </a:cubicBezTo>
                <a:cubicBezTo>
                  <a:pt x="342" y="172"/>
                  <a:pt x="342" y="172"/>
                  <a:pt x="342" y="172"/>
                </a:cubicBezTo>
                <a:cubicBezTo>
                  <a:pt x="343" y="172"/>
                  <a:pt x="344" y="172"/>
                  <a:pt x="344" y="171"/>
                </a:cubicBezTo>
                <a:cubicBezTo>
                  <a:pt x="367" y="164"/>
                  <a:pt x="367" y="164"/>
                  <a:pt x="367" y="164"/>
                </a:cubicBezTo>
                <a:cubicBezTo>
                  <a:pt x="370" y="163"/>
                  <a:pt x="372" y="161"/>
                  <a:pt x="373" y="158"/>
                </a:cubicBezTo>
                <a:cubicBezTo>
                  <a:pt x="374" y="156"/>
                  <a:pt x="374" y="153"/>
                  <a:pt x="374" y="150"/>
                </a:cubicBezTo>
                <a:cubicBezTo>
                  <a:pt x="360" y="110"/>
                  <a:pt x="360" y="110"/>
                  <a:pt x="360" y="110"/>
                </a:cubicBezTo>
                <a:cubicBezTo>
                  <a:pt x="358" y="104"/>
                  <a:pt x="352" y="101"/>
                  <a:pt x="346" y="103"/>
                </a:cubicBezTo>
                <a:cubicBezTo>
                  <a:pt x="110" y="184"/>
                  <a:pt x="110" y="184"/>
                  <a:pt x="110" y="184"/>
                </a:cubicBezTo>
                <a:cubicBezTo>
                  <a:pt x="105" y="186"/>
                  <a:pt x="102" y="192"/>
                  <a:pt x="104" y="197"/>
                </a:cubicBezTo>
                <a:cubicBezTo>
                  <a:pt x="117" y="236"/>
                  <a:pt x="117" y="236"/>
                  <a:pt x="117" y="236"/>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234"/>
                </a:lnTo>
                <a:close/>
                <a:moveTo>
                  <a:pt x="356" y="266"/>
                </a:moveTo>
                <a:cubicBezTo>
                  <a:pt x="373" y="266"/>
                  <a:pt x="373" y="266"/>
                  <a:pt x="373" y="266"/>
                </a:cubicBezTo>
                <a:cubicBezTo>
                  <a:pt x="373" y="245"/>
                  <a:pt x="373" y="245"/>
                  <a:pt x="373" y="245"/>
                </a:cubicBezTo>
                <a:cubicBezTo>
                  <a:pt x="335" y="245"/>
                  <a:pt x="335" y="245"/>
                  <a:pt x="335" y="245"/>
                </a:cubicBezTo>
                <a:lnTo>
                  <a:pt x="356" y="266"/>
                </a:lnTo>
                <a:close/>
                <a:moveTo>
                  <a:pt x="138" y="373"/>
                </a:moveTo>
                <a:cubicBezTo>
                  <a:pt x="373" y="373"/>
                  <a:pt x="373" y="373"/>
                  <a:pt x="373" y="373"/>
                </a:cubicBezTo>
                <a:cubicBezTo>
                  <a:pt x="373" y="288"/>
                  <a:pt x="373" y="288"/>
                  <a:pt x="373" y="288"/>
                </a:cubicBezTo>
                <a:cubicBezTo>
                  <a:pt x="138" y="288"/>
                  <a:pt x="138" y="288"/>
                  <a:pt x="138" y="288"/>
                </a:cubicBezTo>
                <a:lnTo>
                  <a:pt x="138" y="37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8" name="Group 974">
            <a:extLst>
              <a:ext uri="{FF2B5EF4-FFF2-40B4-BE49-F238E27FC236}">
                <a16:creationId xmlns:a16="http://schemas.microsoft.com/office/drawing/2014/main" id="{CACB405D-83AF-4032-9C74-02D31B56D9A6}"/>
              </a:ext>
            </a:extLst>
          </p:cNvPr>
          <p:cNvGrpSpPr>
            <a:grpSpLocks noChangeAspect="1"/>
          </p:cNvGrpSpPr>
          <p:nvPr/>
        </p:nvGrpSpPr>
        <p:grpSpPr bwMode="auto">
          <a:xfrm>
            <a:off x="9618165" y="1697119"/>
            <a:ext cx="367982" cy="367982"/>
            <a:chOff x="3511" y="3902"/>
            <a:chExt cx="340" cy="340"/>
          </a:xfrm>
          <a:solidFill>
            <a:schemeClr val="accent5"/>
          </a:solidFill>
        </p:grpSpPr>
        <p:sp>
          <p:nvSpPr>
            <p:cNvPr id="519" name="Freeform 299">
              <a:extLst>
                <a:ext uri="{FF2B5EF4-FFF2-40B4-BE49-F238E27FC236}">
                  <a16:creationId xmlns:a16="http://schemas.microsoft.com/office/drawing/2014/main" id="{C3FCD569-32FB-4D76-A1FE-FD9C2DA31FB2}"/>
                </a:ext>
              </a:extLst>
            </p:cNvPr>
            <p:cNvSpPr>
              <a:spLocks noEditPoints="1"/>
            </p:cNvSpPr>
            <p:nvPr/>
          </p:nvSpPr>
          <p:spPr bwMode="auto">
            <a:xfrm>
              <a:off x="3579" y="3969"/>
              <a:ext cx="194" cy="195"/>
            </a:xfrm>
            <a:custGeom>
              <a:avLst/>
              <a:gdLst>
                <a:gd name="T0" fmla="*/ 90 w 292"/>
                <a:gd name="T1" fmla="*/ 123 h 293"/>
                <a:gd name="T2" fmla="*/ 100 w 292"/>
                <a:gd name="T3" fmla="*/ 119 h 293"/>
                <a:gd name="T4" fmla="*/ 171 w 292"/>
                <a:gd name="T5" fmla="*/ 95 h 293"/>
                <a:gd name="T6" fmla="*/ 242 w 292"/>
                <a:gd name="T7" fmla="*/ 70 h 293"/>
                <a:gd name="T8" fmla="*/ 271 w 292"/>
                <a:gd name="T9" fmla="*/ 57 h 293"/>
                <a:gd name="T10" fmla="*/ 258 w 292"/>
                <a:gd name="T11" fmla="*/ 9 h 293"/>
                <a:gd name="T12" fmla="*/ 8 w 292"/>
                <a:gd name="T13" fmla="*/ 83 h 293"/>
                <a:gd name="T14" fmla="*/ 15 w 292"/>
                <a:gd name="T15" fmla="*/ 135 h 293"/>
                <a:gd name="T16" fmla="*/ 26 w 292"/>
                <a:gd name="T17" fmla="*/ 293 h 293"/>
                <a:gd name="T18" fmla="*/ 292 w 292"/>
                <a:gd name="T19" fmla="*/ 283 h 293"/>
                <a:gd name="T20" fmla="*/ 282 w 292"/>
                <a:gd name="T21" fmla="*/ 123 h 293"/>
                <a:gd name="T22" fmla="*/ 254 w 292"/>
                <a:gd name="T23" fmla="*/ 165 h 293"/>
                <a:gd name="T24" fmla="*/ 271 w 292"/>
                <a:gd name="T25" fmla="*/ 144 h 293"/>
                <a:gd name="T26" fmla="*/ 179 w 292"/>
                <a:gd name="T27" fmla="*/ 165 h 293"/>
                <a:gd name="T28" fmla="*/ 203 w 292"/>
                <a:gd name="T29" fmla="*/ 144 h 293"/>
                <a:gd name="T30" fmla="*/ 179 w 292"/>
                <a:gd name="T31" fmla="*/ 165 h 293"/>
                <a:gd name="T32" fmla="*/ 83 w 292"/>
                <a:gd name="T33" fmla="*/ 144 h 293"/>
                <a:gd name="T34" fmla="*/ 149 w 292"/>
                <a:gd name="T35" fmla="*/ 165 h 293"/>
                <a:gd name="T36" fmla="*/ 36 w 292"/>
                <a:gd name="T37" fmla="*/ 144 h 293"/>
                <a:gd name="T38" fmla="*/ 75 w 292"/>
                <a:gd name="T39" fmla="*/ 165 h 293"/>
                <a:gd name="T40" fmla="*/ 36 w 292"/>
                <a:gd name="T41" fmla="*/ 144 h 293"/>
                <a:gd name="T42" fmla="*/ 139 w 292"/>
                <a:gd name="T43" fmla="*/ 83 h 293"/>
                <a:gd name="T44" fmla="*/ 70 w 292"/>
                <a:gd name="T45" fmla="*/ 84 h 293"/>
                <a:gd name="T46" fmla="*/ 183 w 292"/>
                <a:gd name="T47" fmla="*/ 46 h 293"/>
                <a:gd name="T48" fmla="*/ 168 w 292"/>
                <a:gd name="T49" fmla="*/ 73 h 293"/>
                <a:gd name="T50" fmla="*/ 183 w 292"/>
                <a:gd name="T51" fmla="*/ 46 h 293"/>
                <a:gd name="T52" fmla="*/ 238 w 292"/>
                <a:gd name="T53" fmla="*/ 49 h 293"/>
                <a:gd name="T54" fmla="*/ 241 w 292"/>
                <a:gd name="T55" fmla="*/ 26 h 293"/>
                <a:gd name="T56" fmla="*/ 41 w 292"/>
                <a:gd name="T57" fmla="*/ 94 h 293"/>
                <a:gd name="T58" fmla="*/ 32 w 292"/>
                <a:gd name="T59" fmla="*/ 120 h 293"/>
                <a:gd name="T60" fmla="*/ 41 w 292"/>
                <a:gd name="T61" fmla="*/ 94 h 293"/>
                <a:gd name="T62" fmla="*/ 36 w 292"/>
                <a:gd name="T63" fmla="*/ 187 h 293"/>
                <a:gd name="T64" fmla="*/ 271 w 292"/>
                <a:gd name="T65" fmla="*/ 27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93">
                  <a:moveTo>
                    <a:pt x="282" y="123"/>
                  </a:moveTo>
                  <a:cubicBezTo>
                    <a:pt x="90" y="123"/>
                    <a:pt x="90" y="123"/>
                    <a:pt x="90" y="123"/>
                  </a:cubicBezTo>
                  <a:cubicBezTo>
                    <a:pt x="99" y="119"/>
                    <a:pt x="99" y="119"/>
                    <a:pt x="99" y="119"/>
                  </a:cubicBezTo>
                  <a:cubicBezTo>
                    <a:pt x="99" y="119"/>
                    <a:pt x="99" y="119"/>
                    <a:pt x="100" y="119"/>
                  </a:cubicBezTo>
                  <a:cubicBezTo>
                    <a:pt x="169" y="95"/>
                    <a:pt x="169" y="95"/>
                    <a:pt x="169" y="95"/>
                  </a:cubicBezTo>
                  <a:cubicBezTo>
                    <a:pt x="170" y="95"/>
                    <a:pt x="171" y="95"/>
                    <a:pt x="171" y="95"/>
                  </a:cubicBezTo>
                  <a:cubicBezTo>
                    <a:pt x="240" y="71"/>
                    <a:pt x="240" y="71"/>
                    <a:pt x="240" y="71"/>
                  </a:cubicBezTo>
                  <a:cubicBezTo>
                    <a:pt x="241" y="71"/>
                    <a:pt x="242" y="71"/>
                    <a:pt x="242" y="70"/>
                  </a:cubicBezTo>
                  <a:cubicBezTo>
                    <a:pt x="265" y="63"/>
                    <a:pt x="265" y="63"/>
                    <a:pt x="265" y="63"/>
                  </a:cubicBezTo>
                  <a:cubicBezTo>
                    <a:pt x="268" y="62"/>
                    <a:pt x="270" y="60"/>
                    <a:pt x="271" y="57"/>
                  </a:cubicBezTo>
                  <a:cubicBezTo>
                    <a:pt x="272" y="55"/>
                    <a:pt x="272" y="52"/>
                    <a:pt x="272" y="49"/>
                  </a:cubicBezTo>
                  <a:cubicBezTo>
                    <a:pt x="258" y="9"/>
                    <a:pt x="258" y="9"/>
                    <a:pt x="258" y="9"/>
                  </a:cubicBezTo>
                  <a:cubicBezTo>
                    <a:pt x="256" y="3"/>
                    <a:pt x="250" y="0"/>
                    <a:pt x="244" y="2"/>
                  </a:cubicBezTo>
                  <a:cubicBezTo>
                    <a:pt x="8" y="83"/>
                    <a:pt x="8" y="83"/>
                    <a:pt x="8" y="83"/>
                  </a:cubicBezTo>
                  <a:cubicBezTo>
                    <a:pt x="3" y="85"/>
                    <a:pt x="0" y="91"/>
                    <a:pt x="2" y="96"/>
                  </a:cubicBezTo>
                  <a:cubicBezTo>
                    <a:pt x="15" y="135"/>
                    <a:pt x="15" y="135"/>
                    <a:pt x="15" y="135"/>
                  </a:cubicBezTo>
                  <a:cubicBezTo>
                    <a:pt x="15" y="283"/>
                    <a:pt x="15" y="283"/>
                    <a:pt x="15" y="283"/>
                  </a:cubicBezTo>
                  <a:cubicBezTo>
                    <a:pt x="15" y="289"/>
                    <a:pt x="20" y="293"/>
                    <a:pt x="26" y="293"/>
                  </a:cubicBezTo>
                  <a:cubicBezTo>
                    <a:pt x="282" y="293"/>
                    <a:pt x="282" y="293"/>
                    <a:pt x="282" y="293"/>
                  </a:cubicBezTo>
                  <a:cubicBezTo>
                    <a:pt x="288" y="293"/>
                    <a:pt x="292" y="289"/>
                    <a:pt x="292" y="283"/>
                  </a:cubicBezTo>
                  <a:cubicBezTo>
                    <a:pt x="292" y="133"/>
                    <a:pt x="292" y="133"/>
                    <a:pt x="292" y="133"/>
                  </a:cubicBezTo>
                  <a:cubicBezTo>
                    <a:pt x="292" y="127"/>
                    <a:pt x="288" y="123"/>
                    <a:pt x="282" y="123"/>
                  </a:cubicBezTo>
                  <a:close/>
                  <a:moveTo>
                    <a:pt x="271" y="165"/>
                  </a:moveTo>
                  <a:cubicBezTo>
                    <a:pt x="254" y="165"/>
                    <a:pt x="254" y="165"/>
                    <a:pt x="254" y="165"/>
                  </a:cubicBezTo>
                  <a:cubicBezTo>
                    <a:pt x="233" y="144"/>
                    <a:pt x="233" y="144"/>
                    <a:pt x="233" y="144"/>
                  </a:cubicBezTo>
                  <a:cubicBezTo>
                    <a:pt x="271" y="144"/>
                    <a:pt x="271" y="144"/>
                    <a:pt x="271" y="144"/>
                  </a:cubicBezTo>
                  <a:lnTo>
                    <a:pt x="271" y="165"/>
                  </a:lnTo>
                  <a:close/>
                  <a:moveTo>
                    <a:pt x="179" y="165"/>
                  </a:moveTo>
                  <a:cubicBezTo>
                    <a:pt x="158" y="144"/>
                    <a:pt x="158" y="144"/>
                    <a:pt x="158" y="144"/>
                  </a:cubicBezTo>
                  <a:cubicBezTo>
                    <a:pt x="203" y="144"/>
                    <a:pt x="203" y="144"/>
                    <a:pt x="203" y="144"/>
                  </a:cubicBezTo>
                  <a:cubicBezTo>
                    <a:pt x="224" y="165"/>
                    <a:pt x="224" y="165"/>
                    <a:pt x="224" y="165"/>
                  </a:cubicBezTo>
                  <a:lnTo>
                    <a:pt x="179" y="165"/>
                  </a:lnTo>
                  <a:close/>
                  <a:moveTo>
                    <a:pt x="105" y="165"/>
                  </a:moveTo>
                  <a:cubicBezTo>
                    <a:pt x="83" y="144"/>
                    <a:pt x="83" y="144"/>
                    <a:pt x="83" y="144"/>
                  </a:cubicBezTo>
                  <a:cubicBezTo>
                    <a:pt x="128" y="144"/>
                    <a:pt x="128" y="144"/>
                    <a:pt x="128" y="144"/>
                  </a:cubicBezTo>
                  <a:cubicBezTo>
                    <a:pt x="149" y="165"/>
                    <a:pt x="149" y="165"/>
                    <a:pt x="149" y="165"/>
                  </a:cubicBezTo>
                  <a:lnTo>
                    <a:pt x="105" y="165"/>
                  </a:lnTo>
                  <a:close/>
                  <a:moveTo>
                    <a:pt x="36" y="144"/>
                  </a:moveTo>
                  <a:cubicBezTo>
                    <a:pt x="53" y="144"/>
                    <a:pt x="53" y="144"/>
                    <a:pt x="53" y="144"/>
                  </a:cubicBezTo>
                  <a:cubicBezTo>
                    <a:pt x="75" y="165"/>
                    <a:pt x="75" y="165"/>
                    <a:pt x="75" y="165"/>
                  </a:cubicBezTo>
                  <a:cubicBezTo>
                    <a:pt x="36" y="165"/>
                    <a:pt x="36" y="165"/>
                    <a:pt x="36" y="165"/>
                  </a:cubicBezTo>
                  <a:lnTo>
                    <a:pt x="36" y="144"/>
                  </a:lnTo>
                  <a:close/>
                  <a:moveTo>
                    <a:pt x="112" y="70"/>
                  </a:moveTo>
                  <a:cubicBezTo>
                    <a:pt x="139" y="83"/>
                    <a:pt x="139" y="83"/>
                    <a:pt x="139" y="83"/>
                  </a:cubicBezTo>
                  <a:cubicBezTo>
                    <a:pt x="97" y="98"/>
                    <a:pt x="97" y="98"/>
                    <a:pt x="97" y="98"/>
                  </a:cubicBezTo>
                  <a:cubicBezTo>
                    <a:pt x="70" y="84"/>
                    <a:pt x="70" y="84"/>
                    <a:pt x="70" y="84"/>
                  </a:cubicBezTo>
                  <a:lnTo>
                    <a:pt x="112" y="70"/>
                  </a:lnTo>
                  <a:close/>
                  <a:moveTo>
                    <a:pt x="183" y="46"/>
                  </a:moveTo>
                  <a:cubicBezTo>
                    <a:pt x="210" y="59"/>
                    <a:pt x="210" y="59"/>
                    <a:pt x="210" y="59"/>
                  </a:cubicBezTo>
                  <a:cubicBezTo>
                    <a:pt x="168" y="73"/>
                    <a:pt x="168" y="73"/>
                    <a:pt x="168" y="73"/>
                  </a:cubicBezTo>
                  <a:cubicBezTo>
                    <a:pt x="140" y="60"/>
                    <a:pt x="140" y="60"/>
                    <a:pt x="140" y="60"/>
                  </a:cubicBezTo>
                  <a:lnTo>
                    <a:pt x="183" y="46"/>
                  </a:lnTo>
                  <a:close/>
                  <a:moveTo>
                    <a:pt x="248" y="46"/>
                  </a:moveTo>
                  <a:cubicBezTo>
                    <a:pt x="238" y="49"/>
                    <a:pt x="238" y="49"/>
                    <a:pt x="238" y="49"/>
                  </a:cubicBezTo>
                  <a:cubicBezTo>
                    <a:pt x="211" y="36"/>
                    <a:pt x="211" y="36"/>
                    <a:pt x="211" y="36"/>
                  </a:cubicBezTo>
                  <a:cubicBezTo>
                    <a:pt x="241" y="26"/>
                    <a:pt x="241" y="26"/>
                    <a:pt x="241" y="26"/>
                  </a:cubicBezTo>
                  <a:lnTo>
                    <a:pt x="248" y="46"/>
                  </a:lnTo>
                  <a:close/>
                  <a:moveTo>
                    <a:pt x="41" y="94"/>
                  </a:moveTo>
                  <a:cubicBezTo>
                    <a:pt x="68" y="107"/>
                    <a:pt x="68" y="107"/>
                    <a:pt x="68" y="107"/>
                  </a:cubicBezTo>
                  <a:cubicBezTo>
                    <a:pt x="32" y="120"/>
                    <a:pt x="32" y="120"/>
                    <a:pt x="32" y="120"/>
                  </a:cubicBezTo>
                  <a:cubicBezTo>
                    <a:pt x="25" y="100"/>
                    <a:pt x="25" y="100"/>
                    <a:pt x="25" y="100"/>
                  </a:cubicBezTo>
                  <a:lnTo>
                    <a:pt x="41" y="94"/>
                  </a:lnTo>
                  <a:close/>
                  <a:moveTo>
                    <a:pt x="36" y="272"/>
                  </a:moveTo>
                  <a:cubicBezTo>
                    <a:pt x="36" y="187"/>
                    <a:pt x="36" y="187"/>
                    <a:pt x="36" y="187"/>
                  </a:cubicBezTo>
                  <a:cubicBezTo>
                    <a:pt x="271" y="187"/>
                    <a:pt x="271" y="187"/>
                    <a:pt x="271" y="187"/>
                  </a:cubicBezTo>
                  <a:cubicBezTo>
                    <a:pt x="271" y="272"/>
                    <a:pt x="271" y="272"/>
                    <a:pt x="271" y="272"/>
                  </a:cubicBezTo>
                  <a:lnTo>
                    <a:pt x="36" y="2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0" name="Freeform 300">
              <a:extLst>
                <a:ext uri="{FF2B5EF4-FFF2-40B4-BE49-F238E27FC236}">
                  <a16:creationId xmlns:a16="http://schemas.microsoft.com/office/drawing/2014/main" id="{B9D8E8C8-1705-4242-8516-E71A77D55183}"/>
                </a:ext>
              </a:extLst>
            </p:cNvPr>
            <p:cNvSpPr>
              <a:spLocks noEditPoints="1"/>
            </p:cNvSpPr>
            <p:nvPr/>
          </p:nvSpPr>
          <p:spPr bwMode="auto">
            <a:xfrm>
              <a:off x="3511" y="39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21" name="Group 731">
            <a:extLst>
              <a:ext uri="{FF2B5EF4-FFF2-40B4-BE49-F238E27FC236}">
                <a16:creationId xmlns:a16="http://schemas.microsoft.com/office/drawing/2014/main" id="{C5C6600F-7D51-4599-AA9C-2679A46BE027}"/>
              </a:ext>
            </a:extLst>
          </p:cNvPr>
          <p:cNvGrpSpPr>
            <a:grpSpLocks noChangeAspect="1"/>
          </p:cNvGrpSpPr>
          <p:nvPr/>
        </p:nvGrpSpPr>
        <p:grpSpPr bwMode="auto">
          <a:xfrm>
            <a:off x="10487673" y="1697119"/>
            <a:ext cx="369676" cy="370763"/>
            <a:chOff x="5043" y="2639"/>
            <a:chExt cx="340" cy="341"/>
          </a:xfrm>
          <a:solidFill>
            <a:schemeClr val="accent2"/>
          </a:solidFill>
        </p:grpSpPr>
        <p:sp>
          <p:nvSpPr>
            <p:cNvPr id="579" name="Freeform 732">
              <a:extLst>
                <a:ext uri="{FF2B5EF4-FFF2-40B4-BE49-F238E27FC236}">
                  <a16:creationId xmlns:a16="http://schemas.microsoft.com/office/drawing/2014/main" id="{BEF77BC4-0620-4169-9287-FE682090A544}"/>
                </a:ext>
              </a:extLst>
            </p:cNvPr>
            <p:cNvSpPr>
              <a:spLocks noEditPoints="1"/>
            </p:cNvSpPr>
            <p:nvPr/>
          </p:nvSpPr>
          <p:spPr bwMode="auto">
            <a:xfrm>
              <a:off x="5113" y="2710"/>
              <a:ext cx="199" cy="199"/>
            </a:xfrm>
            <a:custGeom>
              <a:avLst/>
              <a:gdLst>
                <a:gd name="T0" fmla="*/ 289 w 299"/>
                <a:gd name="T1" fmla="*/ 64 h 299"/>
                <a:gd name="T2" fmla="*/ 269 w 299"/>
                <a:gd name="T3" fmla="*/ 43 h 299"/>
                <a:gd name="T4" fmla="*/ 233 w 299"/>
                <a:gd name="T5" fmla="*/ 43 h 299"/>
                <a:gd name="T6" fmla="*/ 150 w 299"/>
                <a:gd name="T7" fmla="*/ 0 h 299"/>
                <a:gd name="T8" fmla="*/ 66 w 299"/>
                <a:gd name="T9" fmla="*/ 43 h 299"/>
                <a:gd name="T10" fmla="*/ 31 w 299"/>
                <a:gd name="T11" fmla="*/ 43 h 299"/>
                <a:gd name="T12" fmla="*/ 10 w 299"/>
                <a:gd name="T13" fmla="*/ 63 h 299"/>
                <a:gd name="T14" fmla="*/ 0 w 299"/>
                <a:gd name="T15" fmla="*/ 192 h 299"/>
                <a:gd name="T16" fmla="*/ 21 w 299"/>
                <a:gd name="T17" fmla="*/ 212 h 299"/>
                <a:gd name="T18" fmla="*/ 24 w 299"/>
                <a:gd name="T19" fmla="*/ 212 h 299"/>
                <a:gd name="T20" fmla="*/ 44 w 299"/>
                <a:gd name="T21" fmla="*/ 207 h 299"/>
                <a:gd name="T22" fmla="*/ 150 w 299"/>
                <a:gd name="T23" fmla="*/ 299 h 299"/>
                <a:gd name="T24" fmla="*/ 256 w 299"/>
                <a:gd name="T25" fmla="*/ 207 h 299"/>
                <a:gd name="T26" fmla="*/ 276 w 299"/>
                <a:gd name="T27" fmla="*/ 212 h 299"/>
                <a:gd name="T28" fmla="*/ 278 w 299"/>
                <a:gd name="T29" fmla="*/ 212 h 299"/>
                <a:gd name="T30" fmla="*/ 299 w 299"/>
                <a:gd name="T31" fmla="*/ 191 h 299"/>
                <a:gd name="T32" fmla="*/ 289 w 299"/>
                <a:gd name="T33" fmla="*/ 64 h 299"/>
                <a:gd name="T34" fmla="*/ 150 w 299"/>
                <a:gd name="T35" fmla="*/ 22 h 299"/>
                <a:gd name="T36" fmla="*/ 206 w 299"/>
                <a:gd name="T37" fmla="*/ 43 h 299"/>
                <a:gd name="T38" fmla="*/ 94 w 299"/>
                <a:gd name="T39" fmla="*/ 43 h 299"/>
                <a:gd name="T40" fmla="*/ 150 w 299"/>
                <a:gd name="T41" fmla="*/ 22 h 299"/>
                <a:gd name="T42" fmla="*/ 150 w 299"/>
                <a:gd name="T43" fmla="*/ 278 h 299"/>
                <a:gd name="T44" fmla="*/ 65 w 299"/>
                <a:gd name="T45" fmla="*/ 202 h 299"/>
                <a:gd name="T46" fmla="*/ 150 w 299"/>
                <a:gd name="T47" fmla="*/ 192 h 299"/>
                <a:gd name="T48" fmla="*/ 235 w 299"/>
                <a:gd name="T49" fmla="*/ 202 h 299"/>
                <a:gd name="T50" fmla="*/ 150 w 299"/>
                <a:gd name="T51" fmla="*/ 278 h 299"/>
                <a:gd name="T52" fmla="*/ 150 w 299"/>
                <a:gd name="T53" fmla="*/ 171 h 299"/>
                <a:gd name="T54" fmla="*/ 22 w 299"/>
                <a:gd name="T55" fmla="*/ 190 h 299"/>
                <a:gd name="T56" fmla="*/ 32 w 299"/>
                <a:gd name="T57" fmla="*/ 64 h 299"/>
                <a:gd name="T58" fmla="*/ 267 w 299"/>
                <a:gd name="T59" fmla="*/ 64 h 299"/>
                <a:gd name="T60" fmla="*/ 267 w 299"/>
                <a:gd name="T61" fmla="*/ 64 h 299"/>
                <a:gd name="T62" fmla="*/ 277 w 299"/>
                <a:gd name="T63" fmla="*/ 190 h 299"/>
                <a:gd name="T64" fmla="*/ 150 w 299"/>
                <a:gd name="T65" fmla="*/ 171 h 299"/>
                <a:gd name="T66" fmla="*/ 150 w 299"/>
                <a:gd name="T67" fmla="*/ 235 h 299"/>
                <a:gd name="T68" fmla="*/ 174 w 299"/>
                <a:gd name="T69" fmla="*/ 227 h 299"/>
                <a:gd name="T70" fmla="*/ 189 w 299"/>
                <a:gd name="T71" fmla="*/ 228 h 299"/>
                <a:gd name="T72" fmla="*/ 189 w 299"/>
                <a:gd name="T73" fmla="*/ 243 h 299"/>
                <a:gd name="T74" fmla="*/ 150 w 299"/>
                <a:gd name="T75" fmla="*/ 256 h 299"/>
                <a:gd name="T76" fmla="*/ 110 w 299"/>
                <a:gd name="T77" fmla="*/ 243 h 299"/>
                <a:gd name="T78" fmla="*/ 110 w 299"/>
                <a:gd name="T79" fmla="*/ 228 h 299"/>
                <a:gd name="T80" fmla="*/ 125 w 299"/>
                <a:gd name="T81" fmla="*/ 227 h 299"/>
                <a:gd name="T82" fmla="*/ 150 w 299"/>
                <a:gd name="T83" fmla="*/ 235 h 299"/>
                <a:gd name="T84" fmla="*/ 186 w 299"/>
                <a:gd name="T85" fmla="*/ 108 h 299"/>
                <a:gd name="T86" fmla="*/ 133 w 299"/>
                <a:gd name="T87" fmla="*/ 81 h 299"/>
                <a:gd name="T88" fmla="*/ 123 w 299"/>
                <a:gd name="T89" fmla="*/ 82 h 299"/>
                <a:gd name="T90" fmla="*/ 118 w 299"/>
                <a:gd name="T91" fmla="*/ 91 h 299"/>
                <a:gd name="T92" fmla="*/ 118 w 299"/>
                <a:gd name="T93" fmla="*/ 144 h 299"/>
                <a:gd name="T94" fmla="*/ 123 w 299"/>
                <a:gd name="T95" fmla="*/ 153 h 299"/>
                <a:gd name="T96" fmla="*/ 128 w 299"/>
                <a:gd name="T97" fmla="*/ 155 h 299"/>
                <a:gd name="T98" fmla="*/ 133 w 299"/>
                <a:gd name="T99" fmla="*/ 154 h 299"/>
                <a:gd name="T100" fmla="*/ 186 w 299"/>
                <a:gd name="T101" fmla="*/ 127 h 299"/>
                <a:gd name="T102" fmla="*/ 192 w 299"/>
                <a:gd name="T103" fmla="*/ 118 h 299"/>
                <a:gd name="T104" fmla="*/ 186 w 299"/>
                <a:gd name="T105" fmla="*/ 108 h 299"/>
                <a:gd name="T106" fmla="*/ 139 w 299"/>
                <a:gd name="T107" fmla="*/ 127 h 299"/>
                <a:gd name="T108" fmla="*/ 139 w 299"/>
                <a:gd name="T109" fmla="*/ 108 h 299"/>
                <a:gd name="T110" fmla="*/ 158 w 299"/>
                <a:gd name="T111" fmla="*/ 118 h 299"/>
                <a:gd name="T112" fmla="*/ 139 w 299"/>
                <a:gd name="T113" fmla="*/ 12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9" h="299">
                  <a:moveTo>
                    <a:pt x="289" y="64"/>
                  </a:moveTo>
                  <a:cubicBezTo>
                    <a:pt x="289" y="52"/>
                    <a:pt x="280" y="43"/>
                    <a:pt x="269" y="43"/>
                  </a:cubicBezTo>
                  <a:cubicBezTo>
                    <a:pt x="233" y="43"/>
                    <a:pt x="233" y="43"/>
                    <a:pt x="233" y="43"/>
                  </a:cubicBezTo>
                  <a:cubicBezTo>
                    <a:pt x="214" y="15"/>
                    <a:pt x="185" y="0"/>
                    <a:pt x="150" y="0"/>
                  </a:cubicBezTo>
                  <a:cubicBezTo>
                    <a:pt x="115" y="0"/>
                    <a:pt x="86" y="15"/>
                    <a:pt x="66" y="43"/>
                  </a:cubicBezTo>
                  <a:cubicBezTo>
                    <a:pt x="31" y="43"/>
                    <a:pt x="31" y="43"/>
                    <a:pt x="31" y="43"/>
                  </a:cubicBezTo>
                  <a:cubicBezTo>
                    <a:pt x="19" y="43"/>
                    <a:pt x="10" y="52"/>
                    <a:pt x="10" y="63"/>
                  </a:cubicBezTo>
                  <a:cubicBezTo>
                    <a:pt x="0" y="192"/>
                    <a:pt x="0" y="192"/>
                    <a:pt x="0" y="192"/>
                  </a:cubicBezTo>
                  <a:cubicBezTo>
                    <a:pt x="0" y="203"/>
                    <a:pt x="10" y="212"/>
                    <a:pt x="21" y="212"/>
                  </a:cubicBezTo>
                  <a:cubicBezTo>
                    <a:pt x="22" y="212"/>
                    <a:pt x="23" y="212"/>
                    <a:pt x="24" y="212"/>
                  </a:cubicBezTo>
                  <a:cubicBezTo>
                    <a:pt x="24" y="212"/>
                    <a:pt x="32" y="210"/>
                    <a:pt x="44" y="207"/>
                  </a:cubicBezTo>
                  <a:cubicBezTo>
                    <a:pt x="59" y="265"/>
                    <a:pt x="97" y="299"/>
                    <a:pt x="150" y="299"/>
                  </a:cubicBezTo>
                  <a:cubicBezTo>
                    <a:pt x="202" y="299"/>
                    <a:pt x="241" y="265"/>
                    <a:pt x="256" y="207"/>
                  </a:cubicBezTo>
                  <a:cubicBezTo>
                    <a:pt x="268" y="210"/>
                    <a:pt x="275" y="212"/>
                    <a:pt x="276" y="212"/>
                  </a:cubicBezTo>
                  <a:cubicBezTo>
                    <a:pt x="276" y="212"/>
                    <a:pt x="277" y="212"/>
                    <a:pt x="278" y="212"/>
                  </a:cubicBezTo>
                  <a:cubicBezTo>
                    <a:pt x="290" y="212"/>
                    <a:pt x="299" y="203"/>
                    <a:pt x="299" y="191"/>
                  </a:cubicBezTo>
                  <a:lnTo>
                    <a:pt x="289" y="64"/>
                  </a:lnTo>
                  <a:close/>
                  <a:moveTo>
                    <a:pt x="150" y="22"/>
                  </a:moveTo>
                  <a:cubicBezTo>
                    <a:pt x="172" y="22"/>
                    <a:pt x="191" y="29"/>
                    <a:pt x="206" y="43"/>
                  </a:cubicBezTo>
                  <a:cubicBezTo>
                    <a:pt x="94" y="43"/>
                    <a:pt x="94" y="43"/>
                    <a:pt x="94" y="43"/>
                  </a:cubicBezTo>
                  <a:cubicBezTo>
                    <a:pt x="108" y="29"/>
                    <a:pt x="127" y="22"/>
                    <a:pt x="150" y="22"/>
                  </a:cubicBezTo>
                  <a:close/>
                  <a:moveTo>
                    <a:pt x="150" y="278"/>
                  </a:moveTo>
                  <a:cubicBezTo>
                    <a:pt x="107" y="278"/>
                    <a:pt x="77" y="251"/>
                    <a:pt x="65" y="202"/>
                  </a:cubicBezTo>
                  <a:cubicBezTo>
                    <a:pt x="89" y="197"/>
                    <a:pt x="121" y="192"/>
                    <a:pt x="150" y="192"/>
                  </a:cubicBezTo>
                  <a:cubicBezTo>
                    <a:pt x="179" y="192"/>
                    <a:pt x="210" y="197"/>
                    <a:pt x="235" y="202"/>
                  </a:cubicBezTo>
                  <a:cubicBezTo>
                    <a:pt x="222" y="251"/>
                    <a:pt x="192" y="278"/>
                    <a:pt x="150" y="278"/>
                  </a:cubicBezTo>
                  <a:close/>
                  <a:moveTo>
                    <a:pt x="150" y="171"/>
                  </a:moveTo>
                  <a:cubicBezTo>
                    <a:pt x="97" y="171"/>
                    <a:pt x="37" y="186"/>
                    <a:pt x="22" y="190"/>
                  </a:cubicBezTo>
                  <a:cubicBezTo>
                    <a:pt x="32" y="64"/>
                    <a:pt x="32" y="64"/>
                    <a:pt x="32" y="64"/>
                  </a:cubicBezTo>
                  <a:cubicBezTo>
                    <a:pt x="267" y="64"/>
                    <a:pt x="267" y="64"/>
                    <a:pt x="267" y="64"/>
                  </a:cubicBezTo>
                  <a:cubicBezTo>
                    <a:pt x="267" y="64"/>
                    <a:pt x="267" y="64"/>
                    <a:pt x="267" y="64"/>
                  </a:cubicBezTo>
                  <a:cubicBezTo>
                    <a:pt x="277" y="190"/>
                    <a:pt x="277" y="190"/>
                    <a:pt x="277" y="190"/>
                  </a:cubicBezTo>
                  <a:cubicBezTo>
                    <a:pt x="262" y="186"/>
                    <a:pt x="203" y="171"/>
                    <a:pt x="150" y="171"/>
                  </a:cubicBezTo>
                  <a:close/>
                  <a:moveTo>
                    <a:pt x="150" y="235"/>
                  </a:moveTo>
                  <a:cubicBezTo>
                    <a:pt x="165" y="235"/>
                    <a:pt x="174" y="227"/>
                    <a:pt x="174" y="227"/>
                  </a:cubicBezTo>
                  <a:cubicBezTo>
                    <a:pt x="179" y="223"/>
                    <a:pt x="185" y="223"/>
                    <a:pt x="189" y="228"/>
                  </a:cubicBezTo>
                  <a:cubicBezTo>
                    <a:pt x="193" y="232"/>
                    <a:pt x="193" y="239"/>
                    <a:pt x="189" y="243"/>
                  </a:cubicBezTo>
                  <a:cubicBezTo>
                    <a:pt x="188" y="244"/>
                    <a:pt x="174" y="256"/>
                    <a:pt x="150" y="256"/>
                  </a:cubicBezTo>
                  <a:cubicBezTo>
                    <a:pt x="125" y="256"/>
                    <a:pt x="112" y="244"/>
                    <a:pt x="110" y="243"/>
                  </a:cubicBezTo>
                  <a:cubicBezTo>
                    <a:pt x="106" y="239"/>
                    <a:pt x="106" y="232"/>
                    <a:pt x="110" y="228"/>
                  </a:cubicBezTo>
                  <a:cubicBezTo>
                    <a:pt x="114" y="223"/>
                    <a:pt x="121" y="223"/>
                    <a:pt x="125" y="227"/>
                  </a:cubicBezTo>
                  <a:cubicBezTo>
                    <a:pt x="125" y="228"/>
                    <a:pt x="134" y="235"/>
                    <a:pt x="150" y="235"/>
                  </a:cubicBezTo>
                  <a:close/>
                  <a:moveTo>
                    <a:pt x="186" y="108"/>
                  </a:moveTo>
                  <a:cubicBezTo>
                    <a:pt x="133" y="81"/>
                    <a:pt x="133" y="81"/>
                    <a:pt x="133" y="81"/>
                  </a:cubicBezTo>
                  <a:cubicBezTo>
                    <a:pt x="130" y="80"/>
                    <a:pt x="126" y="80"/>
                    <a:pt x="123" y="82"/>
                  </a:cubicBezTo>
                  <a:cubicBezTo>
                    <a:pt x="120" y="84"/>
                    <a:pt x="118" y="87"/>
                    <a:pt x="118" y="91"/>
                  </a:cubicBezTo>
                  <a:cubicBezTo>
                    <a:pt x="118" y="144"/>
                    <a:pt x="118" y="144"/>
                    <a:pt x="118" y="144"/>
                  </a:cubicBezTo>
                  <a:cubicBezTo>
                    <a:pt x="118" y="148"/>
                    <a:pt x="120" y="151"/>
                    <a:pt x="123" y="153"/>
                  </a:cubicBezTo>
                  <a:cubicBezTo>
                    <a:pt x="124" y="154"/>
                    <a:pt x="126" y="155"/>
                    <a:pt x="128" y="155"/>
                  </a:cubicBezTo>
                  <a:cubicBezTo>
                    <a:pt x="130" y="155"/>
                    <a:pt x="132" y="155"/>
                    <a:pt x="133" y="154"/>
                  </a:cubicBezTo>
                  <a:cubicBezTo>
                    <a:pt x="186" y="127"/>
                    <a:pt x="186" y="127"/>
                    <a:pt x="186" y="127"/>
                  </a:cubicBezTo>
                  <a:cubicBezTo>
                    <a:pt x="190" y="125"/>
                    <a:pt x="192" y="122"/>
                    <a:pt x="192" y="118"/>
                  </a:cubicBezTo>
                  <a:cubicBezTo>
                    <a:pt x="192" y="114"/>
                    <a:pt x="190" y="110"/>
                    <a:pt x="186" y="108"/>
                  </a:cubicBezTo>
                  <a:close/>
                  <a:moveTo>
                    <a:pt x="139" y="127"/>
                  </a:moveTo>
                  <a:cubicBezTo>
                    <a:pt x="139" y="108"/>
                    <a:pt x="139" y="108"/>
                    <a:pt x="139" y="108"/>
                  </a:cubicBezTo>
                  <a:cubicBezTo>
                    <a:pt x="158" y="118"/>
                    <a:pt x="158" y="118"/>
                    <a:pt x="158" y="118"/>
                  </a:cubicBezTo>
                  <a:lnTo>
                    <a:pt x="139" y="1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0" name="Freeform 733">
              <a:extLst>
                <a:ext uri="{FF2B5EF4-FFF2-40B4-BE49-F238E27FC236}">
                  <a16:creationId xmlns:a16="http://schemas.microsoft.com/office/drawing/2014/main" id="{75A73CDD-9E25-448B-B6DD-98B6DE9084DE}"/>
                </a:ext>
              </a:extLst>
            </p:cNvPr>
            <p:cNvSpPr>
              <a:spLocks noEditPoints="1"/>
            </p:cNvSpPr>
            <p:nvPr/>
          </p:nvSpPr>
          <p:spPr bwMode="auto">
            <a:xfrm>
              <a:off x="5043" y="263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2" name="Freeform 737">
            <a:extLst>
              <a:ext uri="{FF2B5EF4-FFF2-40B4-BE49-F238E27FC236}">
                <a16:creationId xmlns:a16="http://schemas.microsoft.com/office/drawing/2014/main" id="{977A713B-DE1A-4920-A531-C26A06D050D1}"/>
              </a:ext>
            </a:extLst>
          </p:cNvPr>
          <p:cNvSpPr>
            <a:spLocks noChangeAspect="1" noEditPoints="1"/>
          </p:cNvSpPr>
          <p:nvPr/>
        </p:nvSpPr>
        <p:spPr bwMode="auto">
          <a:xfrm>
            <a:off x="10052072" y="1697119"/>
            <a:ext cx="369676" cy="370763"/>
          </a:xfrm>
          <a:custGeom>
            <a:avLst/>
            <a:gdLst>
              <a:gd name="T0" fmla="*/ 245 w 512"/>
              <a:gd name="T1" fmla="*/ 214 h 512"/>
              <a:gd name="T2" fmla="*/ 264 w 512"/>
              <a:gd name="T3" fmla="*/ 224 h 512"/>
              <a:gd name="T4" fmla="*/ 245 w 512"/>
              <a:gd name="T5" fmla="*/ 233 h 512"/>
              <a:gd name="T6" fmla="*/ 245 w 512"/>
              <a:gd name="T7" fmla="*/ 214 h 512"/>
              <a:gd name="T8" fmla="*/ 256 w 512"/>
              <a:gd name="T9" fmla="*/ 298 h 512"/>
              <a:gd name="T10" fmla="*/ 341 w 512"/>
              <a:gd name="T11" fmla="*/ 308 h 512"/>
              <a:gd name="T12" fmla="*/ 256 w 512"/>
              <a:gd name="T13" fmla="*/ 384 h 512"/>
              <a:gd name="T14" fmla="*/ 171 w 512"/>
              <a:gd name="T15" fmla="*/ 308 h 512"/>
              <a:gd name="T16" fmla="*/ 256 w 512"/>
              <a:gd name="T17" fmla="*/ 298 h 512"/>
              <a:gd name="T18" fmla="*/ 280 w 512"/>
              <a:gd name="T19" fmla="*/ 333 h 512"/>
              <a:gd name="T20" fmla="*/ 256 w 512"/>
              <a:gd name="T21" fmla="*/ 341 h 512"/>
              <a:gd name="T22" fmla="*/ 231 w 512"/>
              <a:gd name="T23" fmla="*/ 333 h 512"/>
              <a:gd name="T24" fmla="*/ 216 w 512"/>
              <a:gd name="T25" fmla="*/ 334 h 512"/>
              <a:gd name="T26" fmla="*/ 216 w 512"/>
              <a:gd name="T27" fmla="*/ 349 h 512"/>
              <a:gd name="T28" fmla="*/ 256 w 512"/>
              <a:gd name="T29" fmla="*/ 362 h 512"/>
              <a:gd name="T30" fmla="*/ 295 w 512"/>
              <a:gd name="T31" fmla="*/ 349 h 512"/>
              <a:gd name="T32" fmla="*/ 295 w 512"/>
              <a:gd name="T33" fmla="*/ 334 h 512"/>
              <a:gd name="T34" fmla="*/ 280 w 512"/>
              <a:gd name="T35" fmla="*/ 333 h 512"/>
              <a:gd name="T36" fmla="*/ 256 w 512"/>
              <a:gd name="T37" fmla="*/ 128 h 512"/>
              <a:gd name="T38" fmla="*/ 200 w 512"/>
              <a:gd name="T39" fmla="*/ 149 h 512"/>
              <a:gd name="T40" fmla="*/ 312 w 512"/>
              <a:gd name="T41" fmla="*/ 149 h 512"/>
              <a:gd name="T42" fmla="*/ 256 w 512"/>
              <a:gd name="T43" fmla="*/ 128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405 w 512"/>
              <a:gd name="T55" fmla="*/ 297 h 512"/>
              <a:gd name="T56" fmla="*/ 395 w 512"/>
              <a:gd name="T57" fmla="*/ 170 h 512"/>
              <a:gd name="T58" fmla="*/ 375 w 512"/>
              <a:gd name="T59" fmla="*/ 149 h 512"/>
              <a:gd name="T60" fmla="*/ 339 w 512"/>
              <a:gd name="T61" fmla="*/ 149 h 512"/>
              <a:gd name="T62" fmla="*/ 256 w 512"/>
              <a:gd name="T63" fmla="*/ 106 h 512"/>
              <a:gd name="T64" fmla="*/ 172 w 512"/>
              <a:gd name="T65" fmla="*/ 149 h 512"/>
              <a:gd name="T66" fmla="*/ 137 w 512"/>
              <a:gd name="T67" fmla="*/ 149 h 512"/>
              <a:gd name="T68" fmla="*/ 116 w 512"/>
              <a:gd name="T69" fmla="*/ 169 h 512"/>
              <a:gd name="T70" fmla="*/ 106 w 512"/>
              <a:gd name="T71" fmla="*/ 298 h 512"/>
              <a:gd name="T72" fmla="*/ 127 w 512"/>
              <a:gd name="T73" fmla="*/ 318 h 512"/>
              <a:gd name="T74" fmla="*/ 130 w 512"/>
              <a:gd name="T75" fmla="*/ 318 h 512"/>
              <a:gd name="T76" fmla="*/ 150 w 512"/>
              <a:gd name="T77" fmla="*/ 313 h 512"/>
              <a:gd name="T78" fmla="*/ 256 w 512"/>
              <a:gd name="T79" fmla="*/ 405 h 512"/>
              <a:gd name="T80" fmla="*/ 362 w 512"/>
              <a:gd name="T81" fmla="*/ 313 h 512"/>
              <a:gd name="T82" fmla="*/ 382 w 512"/>
              <a:gd name="T83" fmla="*/ 318 h 512"/>
              <a:gd name="T84" fmla="*/ 384 w 512"/>
              <a:gd name="T85" fmla="*/ 318 h 512"/>
              <a:gd name="T86" fmla="*/ 405 w 512"/>
              <a:gd name="T87" fmla="*/ 297 h 512"/>
              <a:gd name="T88" fmla="*/ 373 w 512"/>
              <a:gd name="T89" fmla="*/ 170 h 512"/>
              <a:gd name="T90" fmla="*/ 383 w 512"/>
              <a:gd name="T91" fmla="*/ 296 h 512"/>
              <a:gd name="T92" fmla="*/ 256 w 512"/>
              <a:gd name="T93" fmla="*/ 277 h 512"/>
              <a:gd name="T94" fmla="*/ 128 w 512"/>
              <a:gd name="T95" fmla="*/ 296 h 512"/>
              <a:gd name="T96" fmla="*/ 138 w 512"/>
              <a:gd name="T97" fmla="*/ 170 h 512"/>
              <a:gd name="T98" fmla="*/ 373 w 512"/>
              <a:gd name="T99" fmla="*/ 170 h 512"/>
              <a:gd name="T100" fmla="*/ 373 w 512"/>
              <a:gd name="T101" fmla="*/ 170 h 512"/>
              <a:gd name="T102" fmla="*/ 298 w 512"/>
              <a:gd name="T103" fmla="*/ 224 h 512"/>
              <a:gd name="T104" fmla="*/ 292 w 512"/>
              <a:gd name="T105" fmla="*/ 214 h 512"/>
              <a:gd name="T106" fmla="*/ 239 w 512"/>
              <a:gd name="T107" fmla="*/ 187 h 512"/>
              <a:gd name="T108" fmla="*/ 229 w 512"/>
              <a:gd name="T109" fmla="*/ 188 h 512"/>
              <a:gd name="T110" fmla="*/ 224 w 512"/>
              <a:gd name="T111" fmla="*/ 197 h 512"/>
              <a:gd name="T112" fmla="*/ 224 w 512"/>
              <a:gd name="T113" fmla="*/ 250 h 512"/>
              <a:gd name="T114" fmla="*/ 229 w 512"/>
              <a:gd name="T115" fmla="*/ 259 h 512"/>
              <a:gd name="T116" fmla="*/ 234 w 512"/>
              <a:gd name="T117" fmla="*/ 261 h 512"/>
              <a:gd name="T118" fmla="*/ 239 w 512"/>
              <a:gd name="T119" fmla="*/ 260 h 512"/>
              <a:gd name="T120" fmla="*/ 292 w 512"/>
              <a:gd name="T121" fmla="*/ 233 h 512"/>
              <a:gd name="T122" fmla="*/ 298 w 512"/>
              <a:gd name="T12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45" y="214"/>
                </a:moveTo>
                <a:cubicBezTo>
                  <a:pt x="264" y="224"/>
                  <a:pt x="264" y="224"/>
                  <a:pt x="264" y="224"/>
                </a:cubicBezTo>
                <a:cubicBezTo>
                  <a:pt x="245" y="233"/>
                  <a:pt x="245" y="233"/>
                  <a:pt x="245" y="233"/>
                </a:cubicBezTo>
                <a:lnTo>
                  <a:pt x="245" y="214"/>
                </a:lnTo>
                <a:close/>
                <a:moveTo>
                  <a:pt x="256" y="298"/>
                </a:moveTo>
                <a:cubicBezTo>
                  <a:pt x="285" y="298"/>
                  <a:pt x="316" y="303"/>
                  <a:pt x="341" y="308"/>
                </a:cubicBezTo>
                <a:cubicBezTo>
                  <a:pt x="328" y="357"/>
                  <a:pt x="298" y="384"/>
                  <a:pt x="256" y="384"/>
                </a:cubicBezTo>
                <a:cubicBezTo>
                  <a:pt x="213" y="384"/>
                  <a:pt x="183" y="357"/>
                  <a:pt x="171" y="308"/>
                </a:cubicBezTo>
                <a:cubicBezTo>
                  <a:pt x="195" y="303"/>
                  <a:pt x="227" y="298"/>
                  <a:pt x="256" y="298"/>
                </a:cubicBezTo>
                <a:close/>
                <a:moveTo>
                  <a:pt x="280" y="333"/>
                </a:moveTo>
                <a:cubicBezTo>
                  <a:pt x="280" y="333"/>
                  <a:pt x="271" y="341"/>
                  <a:pt x="256" y="341"/>
                </a:cubicBezTo>
                <a:cubicBezTo>
                  <a:pt x="240" y="341"/>
                  <a:pt x="231" y="334"/>
                  <a:pt x="231" y="333"/>
                </a:cubicBezTo>
                <a:cubicBezTo>
                  <a:pt x="227" y="329"/>
                  <a:pt x="220" y="329"/>
                  <a:pt x="216" y="334"/>
                </a:cubicBezTo>
                <a:cubicBezTo>
                  <a:pt x="212" y="338"/>
                  <a:pt x="212" y="345"/>
                  <a:pt x="216" y="349"/>
                </a:cubicBezTo>
                <a:cubicBezTo>
                  <a:pt x="218" y="350"/>
                  <a:pt x="231" y="362"/>
                  <a:pt x="256" y="362"/>
                </a:cubicBezTo>
                <a:cubicBezTo>
                  <a:pt x="280" y="362"/>
                  <a:pt x="294" y="350"/>
                  <a:pt x="295" y="349"/>
                </a:cubicBezTo>
                <a:cubicBezTo>
                  <a:pt x="299" y="345"/>
                  <a:pt x="299" y="338"/>
                  <a:pt x="295" y="334"/>
                </a:cubicBezTo>
                <a:cubicBezTo>
                  <a:pt x="291" y="329"/>
                  <a:pt x="285" y="329"/>
                  <a:pt x="280" y="333"/>
                </a:cubicBezTo>
                <a:close/>
                <a:moveTo>
                  <a:pt x="256" y="128"/>
                </a:moveTo>
                <a:cubicBezTo>
                  <a:pt x="233" y="128"/>
                  <a:pt x="214" y="135"/>
                  <a:pt x="200" y="149"/>
                </a:cubicBezTo>
                <a:cubicBezTo>
                  <a:pt x="312" y="149"/>
                  <a:pt x="312" y="149"/>
                  <a:pt x="312" y="149"/>
                </a:cubicBezTo>
                <a:cubicBezTo>
                  <a:pt x="297" y="135"/>
                  <a:pt x="278" y="128"/>
                  <a:pt x="256" y="12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297"/>
                </a:moveTo>
                <a:cubicBezTo>
                  <a:pt x="395" y="170"/>
                  <a:pt x="395" y="170"/>
                  <a:pt x="395" y="170"/>
                </a:cubicBezTo>
                <a:cubicBezTo>
                  <a:pt x="395" y="158"/>
                  <a:pt x="386" y="149"/>
                  <a:pt x="375" y="149"/>
                </a:cubicBezTo>
                <a:cubicBezTo>
                  <a:pt x="339" y="149"/>
                  <a:pt x="339" y="149"/>
                  <a:pt x="339" y="149"/>
                </a:cubicBezTo>
                <a:cubicBezTo>
                  <a:pt x="320" y="121"/>
                  <a:pt x="291" y="106"/>
                  <a:pt x="256" y="106"/>
                </a:cubicBezTo>
                <a:cubicBezTo>
                  <a:pt x="221" y="106"/>
                  <a:pt x="192" y="121"/>
                  <a:pt x="172" y="149"/>
                </a:cubicBezTo>
                <a:cubicBezTo>
                  <a:pt x="137" y="149"/>
                  <a:pt x="137" y="149"/>
                  <a:pt x="137" y="149"/>
                </a:cubicBezTo>
                <a:cubicBezTo>
                  <a:pt x="125" y="149"/>
                  <a:pt x="116" y="158"/>
                  <a:pt x="116" y="169"/>
                </a:cubicBezTo>
                <a:cubicBezTo>
                  <a:pt x="106" y="298"/>
                  <a:pt x="106" y="298"/>
                  <a:pt x="106" y="298"/>
                </a:cubicBezTo>
                <a:cubicBezTo>
                  <a:pt x="106" y="309"/>
                  <a:pt x="116" y="318"/>
                  <a:pt x="127" y="318"/>
                </a:cubicBezTo>
                <a:cubicBezTo>
                  <a:pt x="128" y="318"/>
                  <a:pt x="129" y="318"/>
                  <a:pt x="130" y="318"/>
                </a:cubicBezTo>
                <a:cubicBezTo>
                  <a:pt x="130" y="318"/>
                  <a:pt x="138" y="316"/>
                  <a:pt x="150" y="313"/>
                </a:cubicBezTo>
                <a:cubicBezTo>
                  <a:pt x="165" y="371"/>
                  <a:pt x="203" y="405"/>
                  <a:pt x="256" y="405"/>
                </a:cubicBezTo>
                <a:cubicBezTo>
                  <a:pt x="308" y="405"/>
                  <a:pt x="347" y="371"/>
                  <a:pt x="362" y="313"/>
                </a:cubicBezTo>
                <a:cubicBezTo>
                  <a:pt x="374" y="316"/>
                  <a:pt x="381" y="318"/>
                  <a:pt x="382" y="318"/>
                </a:cubicBezTo>
                <a:cubicBezTo>
                  <a:pt x="382" y="318"/>
                  <a:pt x="383" y="318"/>
                  <a:pt x="384" y="318"/>
                </a:cubicBezTo>
                <a:cubicBezTo>
                  <a:pt x="396" y="318"/>
                  <a:pt x="405" y="309"/>
                  <a:pt x="405" y="297"/>
                </a:cubicBezTo>
                <a:close/>
                <a:moveTo>
                  <a:pt x="373" y="170"/>
                </a:moveTo>
                <a:cubicBezTo>
                  <a:pt x="383" y="296"/>
                  <a:pt x="383" y="296"/>
                  <a:pt x="383" y="296"/>
                </a:cubicBezTo>
                <a:cubicBezTo>
                  <a:pt x="368" y="292"/>
                  <a:pt x="309" y="277"/>
                  <a:pt x="256" y="277"/>
                </a:cubicBezTo>
                <a:cubicBezTo>
                  <a:pt x="203" y="277"/>
                  <a:pt x="143" y="292"/>
                  <a:pt x="128" y="296"/>
                </a:cubicBezTo>
                <a:cubicBezTo>
                  <a:pt x="138" y="170"/>
                  <a:pt x="138" y="170"/>
                  <a:pt x="138" y="170"/>
                </a:cubicBezTo>
                <a:cubicBezTo>
                  <a:pt x="373" y="170"/>
                  <a:pt x="373" y="170"/>
                  <a:pt x="373" y="170"/>
                </a:cubicBezTo>
                <a:cubicBezTo>
                  <a:pt x="373" y="170"/>
                  <a:pt x="373" y="170"/>
                  <a:pt x="373" y="170"/>
                </a:cubicBezTo>
                <a:close/>
                <a:moveTo>
                  <a:pt x="298" y="224"/>
                </a:moveTo>
                <a:cubicBezTo>
                  <a:pt x="298" y="220"/>
                  <a:pt x="296" y="216"/>
                  <a:pt x="292" y="214"/>
                </a:cubicBezTo>
                <a:cubicBezTo>
                  <a:pt x="239" y="187"/>
                  <a:pt x="239" y="187"/>
                  <a:pt x="239" y="187"/>
                </a:cubicBezTo>
                <a:cubicBezTo>
                  <a:pt x="236" y="186"/>
                  <a:pt x="232" y="186"/>
                  <a:pt x="229" y="188"/>
                </a:cubicBezTo>
                <a:cubicBezTo>
                  <a:pt x="226" y="190"/>
                  <a:pt x="224" y="193"/>
                  <a:pt x="224" y="197"/>
                </a:cubicBezTo>
                <a:cubicBezTo>
                  <a:pt x="224" y="250"/>
                  <a:pt x="224" y="250"/>
                  <a:pt x="224" y="250"/>
                </a:cubicBezTo>
                <a:cubicBezTo>
                  <a:pt x="224" y="254"/>
                  <a:pt x="226" y="257"/>
                  <a:pt x="229" y="259"/>
                </a:cubicBezTo>
                <a:cubicBezTo>
                  <a:pt x="230" y="260"/>
                  <a:pt x="232" y="261"/>
                  <a:pt x="234" y="261"/>
                </a:cubicBezTo>
                <a:cubicBezTo>
                  <a:pt x="236" y="261"/>
                  <a:pt x="238" y="261"/>
                  <a:pt x="239" y="260"/>
                </a:cubicBezTo>
                <a:cubicBezTo>
                  <a:pt x="292" y="233"/>
                  <a:pt x="292" y="233"/>
                  <a:pt x="292" y="233"/>
                </a:cubicBezTo>
                <a:cubicBezTo>
                  <a:pt x="296" y="231"/>
                  <a:pt x="298" y="228"/>
                  <a:pt x="298" y="22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3" name="Group 582">
            <a:extLst>
              <a:ext uri="{FF2B5EF4-FFF2-40B4-BE49-F238E27FC236}">
                <a16:creationId xmlns:a16="http://schemas.microsoft.com/office/drawing/2014/main" id="{BB3CECAA-A53D-4400-9746-E51C703E3D46}"/>
              </a:ext>
            </a:extLst>
          </p:cNvPr>
          <p:cNvGrpSpPr>
            <a:grpSpLocks noChangeAspect="1"/>
          </p:cNvGrpSpPr>
          <p:nvPr/>
        </p:nvGrpSpPr>
        <p:grpSpPr bwMode="auto">
          <a:xfrm>
            <a:off x="11358875" y="1697119"/>
            <a:ext cx="369676" cy="369676"/>
            <a:chOff x="1161" y="385"/>
            <a:chExt cx="340" cy="340"/>
          </a:xfrm>
          <a:solidFill>
            <a:schemeClr val="accent2"/>
          </a:solidFill>
        </p:grpSpPr>
        <p:sp>
          <p:nvSpPr>
            <p:cNvPr id="584" name="Freeform 180">
              <a:extLst>
                <a:ext uri="{FF2B5EF4-FFF2-40B4-BE49-F238E27FC236}">
                  <a16:creationId xmlns:a16="http://schemas.microsoft.com/office/drawing/2014/main" id="{4B1D543C-99BF-4976-B4A8-63C3C34156B5}"/>
                </a:ext>
              </a:extLst>
            </p:cNvPr>
            <p:cNvSpPr>
              <a:spLocks noEditPoints="1"/>
            </p:cNvSpPr>
            <p:nvPr/>
          </p:nvSpPr>
          <p:spPr bwMode="auto">
            <a:xfrm>
              <a:off x="1260" y="449"/>
              <a:ext cx="156" cy="212"/>
            </a:xfrm>
            <a:custGeom>
              <a:avLst/>
              <a:gdLst>
                <a:gd name="T0" fmla="*/ 224 w 235"/>
                <a:gd name="T1" fmla="*/ 96 h 320"/>
                <a:gd name="T2" fmla="*/ 213 w 235"/>
                <a:gd name="T3" fmla="*/ 106 h 320"/>
                <a:gd name="T4" fmla="*/ 213 w 235"/>
                <a:gd name="T5" fmla="*/ 64 h 320"/>
                <a:gd name="T6" fmla="*/ 192 w 235"/>
                <a:gd name="T7" fmla="*/ 42 h 320"/>
                <a:gd name="T8" fmla="*/ 181 w 235"/>
                <a:gd name="T9" fmla="*/ 42 h 320"/>
                <a:gd name="T10" fmla="*/ 181 w 235"/>
                <a:gd name="T11" fmla="*/ 21 h 320"/>
                <a:gd name="T12" fmla="*/ 160 w 235"/>
                <a:gd name="T13" fmla="*/ 0 h 320"/>
                <a:gd name="T14" fmla="*/ 53 w 235"/>
                <a:gd name="T15" fmla="*/ 0 h 320"/>
                <a:gd name="T16" fmla="*/ 32 w 235"/>
                <a:gd name="T17" fmla="*/ 21 h 320"/>
                <a:gd name="T18" fmla="*/ 32 w 235"/>
                <a:gd name="T19" fmla="*/ 42 h 320"/>
                <a:gd name="T20" fmla="*/ 21 w 235"/>
                <a:gd name="T21" fmla="*/ 42 h 320"/>
                <a:gd name="T22" fmla="*/ 0 w 235"/>
                <a:gd name="T23" fmla="*/ 64 h 320"/>
                <a:gd name="T24" fmla="*/ 0 w 235"/>
                <a:gd name="T25" fmla="*/ 256 h 320"/>
                <a:gd name="T26" fmla="*/ 21 w 235"/>
                <a:gd name="T27" fmla="*/ 277 h 320"/>
                <a:gd name="T28" fmla="*/ 32 w 235"/>
                <a:gd name="T29" fmla="*/ 277 h 320"/>
                <a:gd name="T30" fmla="*/ 32 w 235"/>
                <a:gd name="T31" fmla="*/ 298 h 320"/>
                <a:gd name="T32" fmla="*/ 53 w 235"/>
                <a:gd name="T33" fmla="*/ 320 h 320"/>
                <a:gd name="T34" fmla="*/ 160 w 235"/>
                <a:gd name="T35" fmla="*/ 320 h 320"/>
                <a:gd name="T36" fmla="*/ 181 w 235"/>
                <a:gd name="T37" fmla="*/ 298 h 320"/>
                <a:gd name="T38" fmla="*/ 181 w 235"/>
                <a:gd name="T39" fmla="*/ 277 h 320"/>
                <a:gd name="T40" fmla="*/ 192 w 235"/>
                <a:gd name="T41" fmla="*/ 277 h 320"/>
                <a:gd name="T42" fmla="*/ 213 w 235"/>
                <a:gd name="T43" fmla="*/ 256 h 320"/>
                <a:gd name="T44" fmla="*/ 213 w 235"/>
                <a:gd name="T45" fmla="*/ 138 h 320"/>
                <a:gd name="T46" fmla="*/ 224 w 235"/>
                <a:gd name="T47" fmla="*/ 149 h 320"/>
                <a:gd name="T48" fmla="*/ 235 w 235"/>
                <a:gd name="T49" fmla="*/ 138 h 320"/>
                <a:gd name="T50" fmla="*/ 235 w 235"/>
                <a:gd name="T51" fmla="*/ 106 h 320"/>
                <a:gd name="T52" fmla="*/ 224 w 235"/>
                <a:gd name="T53" fmla="*/ 96 h 320"/>
                <a:gd name="T54" fmla="*/ 53 w 235"/>
                <a:gd name="T55" fmla="*/ 21 h 320"/>
                <a:gd name="T56" fmla="*/ 160 w 235"/>
                <a:gd name="T57" fmla="*/ 21 h 320"/>
                <a:gd name="T58" fmla="*/ 160 w 235"/>
                <a:gd name="T59" fmla="*/ 42 h 320"/>
                <a:gd name="T60" fmla="*/ 53 w 235"/>
                <a:gd name="T61" fmla="*/ 42 h 320"/>
                <a:gd name="T62" fmla="*/ 53 w 235"/>
                <a:gd name="T63" fmla="*/ 21 h 320"/>
                <a:gd name="T64" fmla="*/ 160 w 235"/>
                <a:gd name="T65" fmla="*/ 298 h 320"/>
                <a:gd name="T66" fmla="*/ 53 w 235"/>
                <a:gd name="T67" fmla="*/ 298 h 320"/>
                <a:gd name="T68" fmla="*/ 53 w 235"/>
                <a:gd name="T69" fmla="*/ 277 h 320"/>
                <a:gd name="T70" fmla="*/ 160 w 235"/>
                <a:gd name="T71" fmla="*/ 277 h 320"/>
                <a:gd name="T72" fmla="*/ 160 w 235"/>
                <a:gd name="T73" fmla="*/ 298 h 320"/>
                <a:gd name="T74" fmla="*/ 192 w 235"/>
                <a:gd name="T75" fmla="*/ 256 h 320"/>
                <a:gd name="T76" fmla="*/ 21 w 235"/>
                <a:gd name="T77" fmla="*/ 256 h 320"/>
                <a:gd name="T78" fmla="*/ 21 w 235"/>
                <a:gd name="T79" fmla="*/ 64 h 320"/>
                <a:gd name="T80" fmla="*/ 192 w 235"/>
                <a:gd name="T81" fmla="*/ 64 h 320"/>
                <a:gd name="T82" fmla="*/ 192 w 235"/>
                <a:gd name="T8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 h="320">
                  <a:moveTo>
                    <a:pt x="224" y="96"/>
                  </a:moveTo>
                  <a:cubicBezTo>
                    <a:pt x="218" y="96"/>
                    <a:pt x="213" y="100"/>
                    <a:pt x="213" y="106"/>
                  </a:cubicBezTo>
                  <a:cubicBezTo>
                    <a:pt x="213" y="64"/>
                    <a:pt x="213" y="64"/>
                    <a:pt x="213" y="64"/>
                  </a:cubicBezTo>
                  <a:cubicBezTo>
                    <a:pt x="213" y="52"/>
                    <a:pt x="204" y="42"/>
                    <a:pt x="192" y="42"/>
                  </a:cubicBezTo>
                  <a:cubicBezTo>
                    <a:pt x="181" y="42"/>
                    <a:pt x="181" y="42"/>
                    <a:pt x="181" y="42"/>
                  </a:cubicBezTo>
                  <a:cubicBezTo>
                    <a:pt x="181" y="21"/>
                    <a:pt x="181" y="21"/>
                    <a:pt x="181" y="21"/>
                  </a:cubicBezTo>
                  <a:cubicBezTo>
                    <a:pt x="181" y="9"/>
                    <a:pt x="172" y="0"/>
                    <a:pt x="160" y="0"/>
                  </a:cubicBezTo>
                  <a:cubicBezTo>
                    <a:pt x="53" y="0"/>
                    <a:pt x="53" y="0"/>
                    <a:pt x="53" y="0"/>
                  </a:cubicBezTo>
                  <a:cubicBezTo>
                    <a:pt x="42" y="0"/>
                    <a:pt x="32" y="9"/>
                    <a:pt x="32" y="21"/>
                  </a:cubicBezTo>
                  <a:cubicBezTo>
                    <a:pt x="32" y="42"/>
                    <a:pt x="32" y="42"/>
                    <a:pt x="32" y="42"/>
                  </a:cubicBezTo>
                  <a:cubicBezTo>
                    <a:pt x="21" y="42"/>
                    <a:pt x="21" y="42"/>
                    <a:pt x="21" y="42"/>
                  </a:cubicBezTo>
                  <a:cubicBezTo>
                    <a:pt x="10" y="42"/>
                    <a:pt x="0" y="52"/>
                    <a:pt x="0" y="64"/>
                  </a:cubicBezTo>
                  <a:cubicBezTo>
                    <a:pt x="0" y="256"/>
                    <a:pt x="0" y="256"/>
                    <a:pt x="0" y="256"/>
                  </a:cubicBezTo>
                  <a:cubicBezTo>
                    <a:pt x="0" y="267"/>
                    <a:pt x="10" y="277"/>
                    <a:pt x="21" y="277"/>
                  </a:cubicBezTo>
                  <a:cubicBezTo>
                    <a:pt x="32" y="277"/>
                    <a:pt x="32" y="277"/>
                    <a:pt x="32" y="277"/>
                  </a:cubicBezTo>
                  <a:cubicBezTo>
                    <a:pt x="32" y="298"/>
                    <a:pt x="32" y="298"/>
                    <a:pt x="32" y="298"/>
                  </a:cubicBezTo>
                  <a:cubicBezTo>
                    <a:pt x="32" y="310"/>
                    <a:pt x="42" y="320"/>
                    <a:pt x="53" y="320"/>
                  </a:cubicBezTo>
                  <a:cubicBezTo>
                    <a:pt x="160" y="320"/>
                    <a:pt x="160" y="320"/>
                    <a:pt x="160" y="320"/>
                  </a:cubicBezTo>
                  <a:cubicBezTo>
                    <a:pt x="172" y="320"/>
                    <a:pt x="181" y="310"/>
                    <a:pt x="181" y="298"/>
                  </a:cubicBezTo>
                  <a:cubicBezTo>
                    <a:pt x="181" y="277"/>
                    <a:pt x="181" y="277"/>
                    <a:pt x="181" y="277"/>
                  </a:cubicBezTo>
                  <a:cubicBezTo>
                    <a:pt x="192" y="277"/>
                    <a:pt x="192" y="277"/>
                    <a:pt x="192" y="277"/>
                  </a:cubicBezTo>
                  <a:cubicBezTo>
                    <a:pt x="204" y="277"/>
                    <a:pt x="213" y="267"/>
                    <a:pt x="213" y="256"/>
                  </a:cubicBezTo>
                  <a:cubicBezTo>
                    <a:pt x="213" y="138"/>
                    <a:pt x="213" y="138"/>
                    <a:pt x="213" y="138"/>
                  </a:cubicBezTo>
                  <a:cubicBezTo>
                    <a:pt x="213" y="144"/>
                    <a:pt x="218" y="149"/>
                    <a:pt x="224" y="149"/>
                  </a:cubicBezTo>
                  <a:cubicBezTo>
                    <a:pt x="230" y="149"/>
                    <a:pt x="235" y="144"/>
                    <a:pt x="235" y="138"/>
                  </a:cubicBezTo>
                  <a:cubicBezTo>
                    <a:pt x="235" y="106"/>
                    <a:pt x="235" y="106"/>
                    <a:pt x="235" y="106"/>
                  </a:cubicBezTo>
                  <a:cubicBezTo>
                    <a:pt x="235" y="100"/>
                    <a:pt x="230" y="96"/>
                    <a:pt x="224" y="96"/>
                  </a:cubicBezTo>
                  <a:close/>
                  <a:moveTo>
                    <a:pt x="53" y="21"/>
                  </a:moveTo>
                  <a:cubicBezTo>
                    <a:pt x="160" y="21"/>
                    <a:pt x="160" y="21"/>
                    <a:pt x="160" y="21"/>
                  </a:cubicBezTo>
                  <a:cubicBezTo>
                    <a:pt x="160" y="42"/>
                    <a:pt x="160" y="42"/>
                    <a:pt x="160" y="42"/>
                  </a:cubicBezTo>
                  <a:cubicBezTo>
                    <a:pt x="53" y="42"/>
                    <a:pt x="53" y="42"/>
                    <a:pt x="53" y="42"/>
                  </a:cubicBezTo>
                  <a:lnTo>
                    <a:pt x="53" y="21"/>
                  </a:lnTo>
                  <a:close/>
                  <a:moveTo>
                    <a:pt x="160" y="298"/>
                  </a:moveTo>
                  <a:cubicBezTo>
                    <a:pt x="53" y="298"/>
                    <a:pt x="53" y="298"/>
                    <a:pt x="53" y="298"/>
                  </a:cubicBezTo>
                  <a:cubicBezTo>
                    <a:pt x="53" y="277"/>
                    <a:pt x="53" y="277"/>
                    <a:pt x="53" y="277"/>
                  </a:cubicBezTo>
                  <a:cubicBezTo>
                    <a:pt x="160" y="277"/>
                    <a:pt x="160" y="277"/>
                    <a:pt x="160" y="277"/>
                  </a:cubicBezTo>
                  <a:lnTo>
                    <a:pt x="160" y="298"/>
                  </a:lnTo>
                  <a:close/>
                  <a:moveTo>
                    <a:pt x="192" y="256"/>
                  </a:moveTo>
                  <a:cubicBezTo>
                    <a:pt x="21" y="256"/>
                    <a:pt x="21" y="256"/>
                    <a:pt x="21" y="256"/>
                  </a:cubicBezTo>
                  <a:cubicBezTo>
                    <a:pt x="21" y="64"/>
                    <a:pt x="21" y="64"/>
                    <a:pt x="21" y="64"/>
                  </a:cubicBezTo>
                  <a:cubicBezTo>
                    <a:pt x="192" y="64"/>
                    <a:pt x="192" y="64"/>
                    <a:pt x="192" y="64"/>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5" name="Freeform 181">
              <a:extLst>
                <a:ext uri="{FF2B5EF4-FFF2-40B4-BE49-F238E27FC236}">
                  <a16:creationId xmlns:a16="http://schemas.microsoft.com/office/drawing/2014/main" id="{F00EAEEF-7899-4568-9A3A-28EBF3046569}"/>
                </a:ext>
              </a:extLst>
            </p:cNvPr>
            <p:cNvSpPr>
              <a:spLocks noEditPoints="1"/>
            </p:cNvSpPr>
            <p:nvPr/>
          </p:nvSpPr>
          <p:spPr bwMode="auto">
            <a:xfrm>
              <a:off x="1161" y="3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6" name="Freeform 308">
            <a:extLst>
              <a:ext uri="{FF2B5EF4-FFF2-40B4-BE49-F238E27FC236}">
                <a16:creationId xmlns:a16="http://schemas.microsoft.com/office/drawing/2014/main" id="{47BB28EB-765C-4BC5-B765-D106D63A7983}"/>
              </a:ext>
            </a:extLst>
          </p:cNvPr>
          <p:cNvSpPr>
            <a:spLocks noChangeAspect="1" noEditPoints="1"/>
          </p:cNvSpPr>
          <p:nvPr/>
        </p:nvSpPr>
        <p:spPr bwMode="auto">
          <a:xfrm>
            <a:off x="10923274" y="1697119"/>
            <a:ext cx="369676" cy="370763"/>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170 w 512"/>
              <a:gd name="T11" fmla="*/ 352 h 512"/>
              <a:gd name="T12" fmla="*/ 341 w 512"/>
              <a:gd name="T13" fmla="*/ 352 h 512"/>
              <a:gd name="T14" fmla="*/ 341 w 512"/>
              <a:gd name="T15" fmla="*/ 160 h 512"/>
              <a:gd name="T16" fmla="*/ 170 w 512"/>
              <a:gd name="T17" fmla="*/ 160 h 512"/>
              <a:gd name="T18" fmla="*/ 170 w 512"/>
              <a:gd name="T19" fmla="*/ 352 h 512"/>
              <a:gd name="T20" fmla="*/ 309 w 512"/>
              <a:gd name="T21" fmla="*/ 117 h 512"/>
              <a:gd name="T22" fmla="*/ 202 w 512"/>
              <a:gd name="T23" fmla="*/ 117 h 512"/>
              <a:gd name="T24" fmla="*/ 202 w 512"/>
              <a:gd name="T25" fmla="*/ 138 h 512"/>
              <a:gd name="T26" fmla="*/ 309 w 512"/>
              <a:gd name="T27" fmla="*/ 138 h 512"/>
              <a:gd name="T28" fmla="*/ 309 w 512"/>
              <a:gd name="T29" fmla="*/ 11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02 h 512"/>
              <a:gd name="T42" fmla="*/ 373 w 512"/>
              <a:gd name="T43" fmla="*/ 192 h 512"/>
              <a:gd name="T44" fmla="*/ 362 w 512"/>
              <a:gd name="T45" fmla="*/ 202 h 512"/>
              <a:gd name="T46" fmla="*/ 362 w 512"/>
              <a:gd name="T47" fmla="*/ 160 h 512"/>
              <a:gd name="T48" fmla="*/ 341 w 512"/>
              <a:gd name="T49" fmla="*/ 138 h 512"/>
              <a:gd name="T50" fmla="*/ 330 w 512"/>
              <a:gd name="T51" fmla="*/ 138 h 512"/>
              <a:gd name="T52" fmla="*/ 330 w 512"/>
              <a:gd name="T53" fmla="*/ 117 h 512"/>
              <a:gd name="T54" fmla="*/ 309 w 512"/>
              <a:gd name="T55" fmla="*/ 96 h 512"/>
              <a:gd name="T56" fmla="*/ 202 w 512"/>
              <a:gd name="T57" fmla="*/ 96 h 512"/>
              <a:gd name="T58" fmla="*/ 181 w 512"/>
              <a:gd name="T59" fmla="*/ 117 h 512"/>
              <a:gd name="T60" fmla="*/ 181 w 512"/>
              <a:gd name="T61" fmla="*/ 138 h 512"/>
              <a:gd name="T62" fmla="*/ 170 w 512"/>
              <a:gd name="T63" fmla="*/ 138 h 512"/>
              <a:gd name="T64" fmla="*/ 149 w 512"/>
              <a:gd name="T65" fmla="*/ 160 h 512"/>
              <a:gd name="T66" fmla="*/ 149 w 512"/>
              <a:gd name="T67" fmla="*/ 352 h 512"/>
              <a:gd name="T68" fmla="*/ 170 w 512"/>
              <a:gd name="T69" fmla="*/ 373 h 512"/>
              <a:gd name="T70" fmla="*/ 181 w 512"/>
              <a:gd name="T71" fmla="*/ 373 h 512"/>
              <a:gd name="T72" fmla="*/ 181 w 512"/>
              <a:gd name="T73" fmla="*/ 394 h 512"/>
              <a:gd name="T74" fmla="*/ 202 w 512"/>
              <a:gd name="T75" fmla="*/ 416 h 512"/>
              <a:gd name="T76" fmla="*/ 309 w 512"/>
              <a:gd name="T77" fmla="*/ 416 h 512"/>
              <a:gd name="T78" fmla="*/ 330 w 512"/>
              <a:gd name="T79" fmla="*/ 394 h 512"/>
              <a:gd name="T80" fmla="*/ 330 w 512"/>
              <a:gd name="T81" fmla="*/ 373 h 512"/>
              <a:gd name="T82" fmla="*/ 341 w 512"/>
              <a:gd name="T83" fmla="*/ 373 h 512"/>
              <a:gd name="T84" fmla="*/ 362 w 512"/>
              <a:gd name="T85" fmla="*/ 352 h 512"/>
              <a:gd name="T86" fmla="*/ 362 w 512"/>
              <a:gd name="T87" fmla="*/ 234 h 512"/>
              <a:gd name="T88" fmla="*/ 373 w 512"/>
              <a:gd name="T89" fmla="*/ 245 h 512"/>
              <a:gd name="T90" fmla="*/ 384 w 512"/>
              <a:gd name="T91" fmla="*/ 234 h 512"/>
              <a:gd name="T92" fmla="*/ 384 w 512"/>
              <a:gd name="T9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170" y="352"/>
                </a:moveTo>
                <a:cubicBezTo>
                  <a:pt x="341" y="352"/>
                  <a:pt x="341" y="352"/>
                  <a:pt x="341" y="352"/>
                </a:cubicBezTo>
                <a:cubicBezTo>
                  <a:pt x="341" y="160"/>
                  <a:pt x="341" y="160"/>
                  <a:pt x="341" y="160"/>
                </a:cubicBezTo>
                <a:cubicBezTo>
                  <a:pt x="170" y="160"/>
                  <a:pt x="170" y="160"/>
                  <a:pt x="170" y="160"/>
                </a:cubicBezTo>
                <a:lnTo>
                  <a:pt x="170" y="352"/>
                </a:lnTo>
                <a:close/>
                <a:moveTo>
                  <a:pt x="309" y="117"/>
                </a:moveTo>
                <a:cubicBezTo>
                  <a:pt x="202" y="117"/>
                  <a:pt x="202" y="117"/>
                  <a:pt x="202" y="117"/>
                </a:cubicBezTo>
                <a:cubicBezTo>
                  <a:pt x="202" y="138"/>
                  <a:pt x="202" y="138"/>
                  <a:pt x="202" y="138"/>
                </a:cubicBezTo>
                <a:cubicBezTo>
                  <a:pt x="309" y="138"/>
                  <a:pt x="309" y="138"/>
                  <a:pt x="309" y="138"/>
                </a:cubicBezTo>
                <a:lnTo>
                  <a:pt x="309"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6"/>
                  <a:pt x="379" y="192"/>
                  <a:pt x="373" y="192"/>
                </a:cubicBezTo>
                <a:cubicBezTo>
                  <a:pt x="367" y="192"/>
                  <a:pt x="362" y="196"/>
                  <a:pt x="362" y="202"/>
                </a:cubicBezTo>
                <a:cubicBezTo>
                  <a:pt x="362" y="160"/>
                  <a:pt x="362" y="160"/>
                  <a:pt x="362" y="160"/>
                </a:cubicBezTo>
                <a:cubicBezTo>
                  <a:pt x="362" y="148"/>
                  <a:pt x="353" y="138"/>
                  <a:pt x="341" y="138"/>
                </a:cubicBezTo>
                <a:cubicBezTo>
                  <a:pt x="330" y="138"/>
                  <a:pt x="330" y="138"/>
                  <a:pt x="330" y="138"/>
                </a:cubicBezTo>
                <a:cubicBezTo>
                  <a:pt x="330" y="117"/>
                  <a:pt x="330" y="117"/>
                  <a:pt x="330" y="117"/>
                </a:cubicBezTo>
                <a:cubicBezTo>
                  <a:pt x="330" y="105"/>
                  <a:pt x="321" y="96"/>
                  <a:pt x="309" y="96"/>
                </a:cubicBezTo>
                <a:cubicBezTo>
                  <a:pt x="202" y="96"/>
                  <a:pt x="202" y="96"/>
                  <a:pt x="202" y="96"/>
                </a:cubicBezTo>
                <a:cubicBezTo>
                  <a:pt x="191" y="96"/>
                  <a:pt x="181" y="105"/>
                  <a:pt x="181" y="117"/>
                </a:cubicBezTo>
                <a:cubicBezTo>
                  <a:pt x="181" y="138"/>
                  <a:pt x="181" y="138"/>
                  <a:pt x="181" y="138"/>
                </a:cubicBezTo>
                <a:cubicBezTo>
                  <a:pt x="170" y="138"/>
                  <a:pt x="170" y="138"/>
                  <a:pt x="170" y="138"/>
                </a:cubicBezTo>
                <a:cubicBezTo>
                  <a:pt x="159" y="138"/>
                  <a:pt x="149" y="148"/>
                  <a:pt x="149" y="160"/>
                </a:cubicBezTo>
                <a:cubicBezTo>
                  <a:pt x="149" y="352"/>
                  <a:pt x="149" y="352"/>
                  <a:pt x="149" y="352"/>
                </a:cubicBezTo>
                <a:cubicBezTo>
                  <a:pt x="149" y="363"/>
                  <a:pt x="159" y="373"/>
                  <a:pt x="170" y="373"/>
                </a:cubicBezTo>
                <a:cubicBezTo>
                  <a:pt x="181" y="373"/>
                  <a:pt x="181" y="373"/>
                  <a:pt x="181" y="373"/>
                </a:cubicBezTo>
                <a:cubicBezTo>
                  <a:pt x="181" y="394"/>
                  <a:pt x="181" y="394"/>
                  <a:pt x="181" y="394"/>
                </a:cubicBezTo>
                <a:cubicBezTo>
                  <a:pt x="181" y="406"/>
                  <a:pt x="191" y="416"/>
                  <a:pt x="202" y="416"/>
                </a:cubicBezTo>
                <a:cubicBezTo>
                  <a:pt x="309" y="416"/>
                  <a:pt x="309" y="416"/>
                  <a:pt x="309" y="416"/>
                </a:cubicBezTo>
                <a:cubicBezTo>
                  <a:pt x="321" y="416"/>
                  <a:pt x="330" y="406"/>
                  <a:pt x="330" y="394"/>
                </a:cubicBezTo>
                <a:cubicBezTo>
                  <a:pt x="330" y="373"/>
                  <a:pt x="330" y="373"/>
                  <a:pt x="330" y="373"/>
                </a:cubicBezTo>
                <a:cubicBezTo>
                  <a:pt x="341" y="373"/>
                  <a:pt x="341" y="373"/>
                  <a:pt x="341" y="373"/>
                </a:cubicBezTo>
                <a:cubicBezTo>
                  <a:pt x="353" y="373"/>
                  <a:pt x="362" y="363"/>
                  <a:pt x="362" y="352"/>
                </a:cubicBezTo>
                <a:cubicBezTo>
                  <a:pt x="362" y="234"/>
                  <a:pt x="362" y="234"/>
                  <a:pt x="362" y="234"/>
                </a:cubicBezTo>
                <a:cubicBezTo>
                  <a:pt x="362" y="240"/>
                  <a:pt x="367" y="245"/>
                  <a:pt x="373" y="245"/>
                </a:cubicBezTo>
                <a:cubicBezTo>
                  <a:pt x="379" y="245"/>
                  <a:pt x="384" y="240"/>
                  <a:pt x="384" y="234"/>
                </a:cubicBezTo>
                <a:lnTo>
                  <a:pt x="384" y="20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87" name="Freeform 230">
            <a:extLst>
              <a:ext uri="{FF2B5EF4-FFF2-40B4-BE49-F238E27FC236}">
                <a16:creationId xmlns:a16="http://schemas.microsoft.com/office/drawing/2014/main" id="{333EFC76-379F-4199-A300-8F17E57600A3}"/>
              </a:ext>
            </a:extLst>
          </p:cNvPr>
          <p:cNvSpPr>
            <a:spLocks noChangeAspect="1" noEditPoints="1"/>
          </p:cNvSpPr>
          <p:nvPr/>
        </p:nvSpPr>
        <p:spPr bwMode="auto">
          <a:xfrm>
            <a:off x="477286" y="2526859"/>
            <a:ext cx="367041" cy="367041"/>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88" name="Group 233">
            <a:extLst>
              <a:ext uri="{FF2B5EF4-FFF2-40B4-BE49-F238E27FC236}">
                <a16:creationId xmlns:a16="http://schemas.microsoft.com/office/drawing/2014/main" id="{8DBD5A2F-170B-4DAE-AABF-7EDA1FE6F25B}"/>
              </a:ext>
            </a:extLst>
          </p:cNvPr>
          <p:cNvGrpSpPr>
            <a:grpSpLocks noChangeAspect="1"/>
          </p:cNvGrpSpPr>
          <p:nvPr/>
        </p:nvGrpSpPr>
        <p:grpSpPr bwMode="auto">
          <a:xfrm>
            <a:off x="911334" y="2526859"/>
            <a:ext cx="367041" cy="367041"/>
            <a:chOff x="3475" y="720"/>
            <a:chExt cx="340" cy="340"/>
          </a:xfrm>
          <a:solidFill>
            <a:schemeClr val="accent3"/>
          </a:solidFill>
        </p:grpSpPr>
        <p:sp>
          <p:nvSpPr>
            <p:cNvPr id="589" name="Freeform 234">
              <a:extLst>
                <a:ext uri="{FF2B5EF4-FFF2-40B4-BE49-F238E27FC236}">
                  <a16:creationId xmlns:a16="http://schemas.microsoft.com/office/drawing/2014/main" id="{EC03443E-F533-4A36-9633-A7C60340A15A}"/>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0" name="Freeform 235">
              <a:extLst>
                <a:ext uri="{FF2B5EF4-FFF2-40B4-BE49-F238E27FC236}">
                  <a16:creationId xmlns:a16="http://schemas.microsoft.com/office/drawing/2014/main" id="{12FC905E-B676-4763-B4C4-982F81B4A092}"/>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91" name="Group 887">
            <a:extLst>
              <a:ext uri="{FF2B5EF4-FFF2-40B4-BE49-F238E27FC236}">
                <a16:creationId xmlns:a16="http://schemas.microsoft.com/office/drawing/2014/main" id="{AD71EDAD-DF6B-4D66-B299-EC115F763EC9}"/>
              </a:ext>
            </a:extLst>
          </p:cNvPr>
          <p:cNvGrpSpPr>
            <a:grpSpLocks noChangeAspect="1"/>
          </p:cNvGrpSpPr>
          <p:nvPr/>
        </p:nvGrpSpPr>
        <p:grpSpPr bwMode="auto">
          <a:xfrm>
            <a:off x="1345382" y="2526859"/>
            <a:ext cx="367041" cy="367041"/>
            <a:chOff x="3302" y="3789"/>
            <a:chExt cx="340" cy="340"/>
          </a:xfrm>
          <a:solidFill>
            <a:schemeClr val="accent4"/>
          </a:solidFill>
        </p:grpSpPr>
        <p:sp>
          <p:nvSpPr>
            <p:cNvPr id="592" name="Rectangle 888">
              <a:extLst>
                <a:ext uri="{FF2B5EF4-FFF2-40B4-BE49-F238E27FC236}">
                  <a16:creationId xmlns:a16="http://schemas.microsoft.com/office/drawing/2014/main" id="{0EDB60C0-A571-4527-82C8-2E48CB76D089}"/>
                </a:ext>
              </a:extLst>
            </p:cNvPr>
            <p:cNvSpPr>
              <a:spLocks noChangeArrowheads="1"/>
            </p:cNvSpPr>
            <p:nvPr/>
          </p:nvSpPr>
          <p:spPr bwMode="auto">
            <a:xfrm>
              <a:off x="3443" y="3889"/>
              <a:ext cx="58" cy="106"/>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3" name="Freeform 889">
              <a:extLst>
                <a:ext uri="{FF2B5EF4-FFF2-40B4-BE49-F238E27FC236}">
                  <a16:creationId xmlns:a16="http://schemas.microsoft.com/office/drawing/2014/main" id="{50B3603C-40DA-4469-8902-D0BFBAB097FE}"/>
                </a:ext>
              </a:extLst>
            </p:cNvPr>
            <p:cNvSpPr>
              <a:spLocks noEditPoints="1"/>
            </p:cNvSpPr>
            <p:nvPr/>
          </p:nvSpPr>
          <p:spPr bwMode="auto">
            <a:xfrm>
              <a:off x="3422" y="3867"/>
              <a:ext cx="100" cy="184"/>
            </a:xfrm>
            <a:custGeom>
              <a:avLst/>
              <a:gdLst>
                <a:gd name="T0" fmla="*/ 148 w 150"/>
                <a:gd name="T1" fmla="*/ 0 h 277"/>
                <a:gd name="T2" fmla="*/ 2 w 150"/>
                <a:gd name="T3" fmla="*/ 0 h 277"/>
                <a:gd name="T4" fmla="*/ 0 w 150"/>
                <a:gd name="T5" fmla="*/ 0 h 277"/>
                <a:gd name="T6" fmla="*/ 0 w 150"/>
                <a:gd name="T7" fmla="*/ 277 h 277"/>
                <a:gd name="T8" fmla="*/ 0 w 150"/>
                <a:gd name="T9" fmla="*/ 277 h 277"/>
                <a:gd name="T10" fmla="*/ 2 w 150"/>
                <a:gd name="T11" fmla="*/ 277 h 277"/>
                <a:gd name="T12" fmla="*/ 148 w 150"/>
                <a:gd name="T13" fmla="*/ 277 h 277"/>
                <a:gd name="T14" fmla="*/ 150 w 150"/>
                <a:gd name="T15" fmla="*/ 276 h 277"/>
                <a:gd name="T16" fmla="*/ 150 w 150"/>
                <a:gd name="T17" fmla="*/ 0 h 277"/>
                <a:gd name="T18" fmla="*/ 148 w 150"/>
                <a:gd name="T19" fmla="*/ 0 h 277"/>
                <a:gd name="T20" fmla="*/ 75 w 150"/>
                <a:gd name="T21" fmla="*/ 256 h 277"/>
                <a:gd name="T22" fmla="*/ 64 w 150"/>
                <a:gd name="T23" fmla="*/ 245 h 277"/>
                <a:gd name="T24" fmla="*/ 75 w 150"/>
                <a:gd name="T25" fmla="*/ 234 h 277"/>
                <a:gd name="T26" fmla="*/ 86 w 150"/>
                <a:gd name="T27" fmla="*/ 245 h 277"/>
                <a:gd name="T28" fmla="*/ 75 w 150"/>
                <a:gd name="T29" fmla="*/ 256 h 277"/>
                <a:gd name="T30" fmla="*/ 139 w 150"/>
                <a:gd name="T31" fmla="*/ 202 h 277"/>
                <a:gd name="T32" fmla="*/ 128 w 150"/>
                <a:gd name="T33" fmla="*/ 213 h 277"/>
                <a:gd name="T34" fmla="*/ 22 w 150"/>
                <a:gd name="T35" fmla="*/ 213 h 277"/>
                <a:gd name="T36" fmla="*/ 11 w 150"/>
                <a:gd name="T37" fmla="*/ 202 h 277"/>
                <a:gd name="T38" fmla="*/ 11 w 150"/>
                <a:gd name="T39" fmla="*/ 21 h 277"/>
                <a:gd name="T40" fmla="*/ 22 w 150"/>
                <a:gd name="T41" fmla="*/ 10 h 277"/>
                <a:gd name="T42" fmla="*/ 128 w 150"/>
                <a:gd name="T43" fmla="*/ 10 h 277"/>
                <a:gd name="T44" fmla="*/ 139 w 150"/>
                <a:gd name="T45" fmla="*/ 21 h 277"/>
                <a:gd name="T46" fmla="*/ 139 w 150"/>
                <a:gd name="T4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77">
                  <a:moveTo>
                    <a:pt x="148" y="0"/>
                  </a:moveTo>
                  <a:cubicBezTo>
                    <a:pt x="2" y="0"/>
                    <a:pt x="2" y="0"/>
                    <a:pt x="2" y="0"/>
                  </a:cubicBezTo>
                  <a:cubicBezTo>
                    <a:pt x="1" y="0"/>
                    <a:pt x="0" y="0"/>
                    <a:pt x="0" y="0"/>
                  </a:cubicBezTo>
                  <a:cubicBezTo>
                    <a:pt x="0" y="277"/>
                    <a:pt x="0" y="277"/>
                    <a:pt x="0" y="277"/>
                  </a:cubicBezTo>
                  <a:cubicBezTo>
                    <a:pt x="0" y="277"/>
                    <a:pt x="0" y="277"/>
                    <a:pt x="0" y="277"/>
                  </a:cubicBezTo>
                  <a:cubicBezTo>
                    <a:pt x="1" y="277"/>
                    <a:pt x="1" y="277"/>
                    <a:pt x="2" y="277"/>
                  </a:cubicBezTo>
                  <a:cubicBezTo>
                    <a:pt x="148" y="277"/>
                    <a:pt x="148" y="277"/>
                    <a:pt x="148" y="277"/>
                  </a:cubicBezTo>
                  <a:cubicBezTo>
                    <a:pt x="149" y="277"/>
                    <a:pt x="150" y="277"/>
                    <a:pt x="150" y="276"/>
                  </a:cubicBezTo>
                  <a:cubicBezTo>
                    <a:pt x="150" y="0"/>
                    <a:pt x="150" y="0"/>
                    <a:pt x="150" y="0"/>
                  </a:cubicBezTo>
                  <a:cubicBezTo>
                    <a:pt x="150" y="0"/>
                    <a:pt x="149" y="0"/>
                    <a:pt x="148" y="0"/>
                  </a:cubicBezTo>
                  <a:close/>
                  <a:moveTo>
                    <a:pt x="75" y="256"/>
                  </a:moveTo>
                  <a:cubicBezTo>
                    <a:pt x="69" y="256"/>
                    <a:pt x="64" y="251"/>
                    <a:pt x="64" y="245"/>
                  </a:cubicBezTo>
                  <a:cubicBezTo>
                    <a:pt x="64" y="239"/>
                    <a:pt x="69" y="234"/>
                    <a:pt x="75" y="234"/>
                  </a:cubicBezTo>
                  <a:cubicBezTo>
                    <a:pt x="81" y="234"/>
                    <a:pt x="86" y="239"/>
                    <a:pt x="86" y="245"/>
                  </a:cubicBezTo>
                  <a:cubicBezTo>
                    <a:pt x="86" y="251"/>
                    <a:pt x="81" y="256"/>
                    <a:pt x="75" y="256"/>
                  </a:cubicBezTo>
                  <a:close/>
                  <a:moveTo>
                    <a:pt x="139" y="202"/>
                  </a:moveTo>
                  <a:cubicBezTo>
                    <a:pt x="139" y="208"/>
                    <a:pt x="134" y="213"/>
                    <a:pt x="128" y="213"/>
                  </a:cubicBezTo>
                  <a:cubicBezTo>
                    <a:pt x="22" y="213"/>
                    <a:pt x="22" y="213"/>
                    <a:pt x="22" y="213"/>
                  </a:cubicBezTo>
                  <a:cubicBezTo>
                    <a:pt x="16" y="213"/>
                    <a:pt x="11" y="208"/>
                    <a:pt x="11" y="202"/>
                  </a:cubicBezTo>
                  <a:cubicBezTo>
                    <a:pt x="11" y="21"/>
                    <a:pt x="11" y="21"/>
                    <a:pt x="11" y="21"/>
                  </a:cubicBezTo>
                  <a:cubicBezTo>
                    <a:pt x="11" y="15"/>
                    <a:pt x="16" y="10"/>
                    <a:pt x="22" y="10"/>
                  </a:cubicBezTo>
                  <a:cubicBezTo>
                    <a:pt x="128" y="10"/>
                    <a:pt x="128" y="10"/>
                    <a:pt x="128" y="10"/>
                  </a:cubicBezTo>
                  <a:cubicBezTo>
                    <a:pt x="134" y="10"/>
                    <a:pt x="139" y="15"/>
                    <a:pt x="139" y="21"/>
                  </a:cubicBezTo>
                  <a:lnTo>
                    <a:pt x="139" y="2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4" name="Freeform 890">
              <a:extLst>
                <a:ext uri="{FF2B5EF4-FFF2-40B4-BE49-F238E27FC236}">
                  <a16:creationId xmlns:a16="http://schemas.microsoft.com/office/drawing/2014/main" id="{B36F4755-F954-4C80-9980-75D58176E442}"/>
                </a:ext>
              </a:extLst>
            </p:cNvPr>
            <p:cNvSpPr>
              <a:spLocks noEditPoints="1"/>
            </p:cNvSpPr>
            <p:nvPr/>
          </p:nvSpPr>
          <p:spPr bwMode="auto">
            <a:xfrm>
              <a:off x="3302" y="378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95 h 512"/>
                <a:gd name="T12" fmla="*/ 329 w 512"/>
                <a:gd name="T13" fmla="*/ 416 h 512"/>
                <a:gd name="T14" fmla="*/ 183 w 512"/>
                <a:gd name="T15" fmla="*/ 416 h 512"/>
                <a:gd name="T16" fmla="*/ 160 w 512"/>
                <a:gd name="T17" fmla="*/ 395 h 512"/>
                <a:gd name="T18" fmla="*/ 160 w 512"/>
                <a:gd name="T19" fmla="*/ 118 h 512"/>
                <a:gd name="T20" fmla="*/ 183 w 512"/>
                <a:gd name="T21" fmla="*/ 96 h 512"/>
                <a:gd name="T22" fmla="*/ 329 w 512"/>
                <a:gd name="T23" fmla="*/ 96 h 512"/>
                <a:gd name="T24" fmla="*/ 352 w 512"/>
                <a:gd name="T25" fmla="*/ 118 h 512"/>
                <a:gd name="T26" fmla="*/ 352 w 512"/>
                <a:gd name="T27"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395"/>
                  </a:moveTo>
                  <a:cubicBezTo>
                    <a:pt x="352" y="407"/>
                    <a:pt x="342" y="416"/>
                    <a:pt x="329" y="416"/>
                  </a:cubicBezTo>
                  <a:cubicBezTo>
                    <a:pt x="183" y="416"/>
                    <a:pt x="183" y="416"/>
                    <a:pt x="183" y="416"/>
                  </a:cubicBezTo>
                  <a:cubicBezTo>
                    <a:pt x="170" y="416"/>
                    <a:pt x="160" y="407"/>
                    <a:pt x="160" y="395"/>
                  </a:cubicBezTo>
                  <a:cubicBezTo>
                    <a:pt x="160" y="118"/>
                    <a:pt x="160" y="118"/>
                    <a:pt x="160" y="118"/>
                  </a:cubicBezTo>
                  <a:cubicBezTo>
                    <a:pt x="160" y="106"/>
                    <a:pt x="170" y="96"/>
                    <a:pt x="183" y="96"/>
                  </a:cubicBezTo>
                  <a:cubicBezTo>
                    <a:pt x="329" y="96"/>
                    <a:pt x="329" y="96"/>
                    <a:pt x="329" y="96"/>
                  </a:cubicBezTo>
                  <a:cubicBezTo>
                    <a:pt x="342" y="96"/>
                    <a:pt x="352" y="106"/>
                    <a:pt x="352" y="118"/>
                  </a:cubicBezTo>
                  <a:lnTo>
                    <a:pt x="352" y="3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95" name="Group 904">
            <a:extLst>
              <a:ext uri="{FF2B5EF4-FFF2-40B4-BE49-F238E27FC236}">
                <a16:creationId xmlns:a16="http://schemas.microsoft.com/office/drawing/2014/main" id="{C1EF4062-D734-4AB8-A092-90D232FFD196}"/>
              </a:ext>
            </a:extLst>
          </p:cNvPr>
          <p:cNvGrpSpPr>
            <a:grpSpLocks noChangeAspect="1"/>
          </p:cNvGrpSpPr>
          <p:nvPr/>
        </p:nvGrpSpPr>
        <p:grpSpPr bwMode="auto">
          <a:xfrm>
            <a:off x="1779430" y="2526859"/>
            <a:ext cx="368121" cy="367041"/>
            <a:chOff x="3518" y="3551"/>
            <a:chExt cx="341" cy="340"/>
          </a:xfrm>
          <a:solidFill>
            <a:schemeClr val="accent4"/>
          </a:solidFill>
        </p:grpSpPr>
        <p:sp>
          <p:nvSpPr>
            <p:cNvPr id="596" name="Freeform 905">
              <a:extLst>
                <a:ext uri="{FF2B5EF4-FFF2-40B4-BE49-F238E27FC236}">
                  <a16:creationId xmlns:a16="http://schemas.microsoft.com/office/drawing/2014/main" id="{446F3F30-83FF-4683-AD77-D3395AF84FEA}"/>
                </a:ext>
              </a:extLst>
            </p:cNvPr>
            <p:cNvSpPr>
              <a:spLocks noEditPoints="1"/>
            </p:cNvSpPr>
            <p:nvPr/>
          </p:nvSpPr>
          <p:spPr bwMode="auto">
            <a:xfrm>
              <a:off x="3518" y="3551"/>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7" name="Freeform 906">
              <a:extLst>
                <a:ext uri="{FF2B5EF4-FFF2-40B4-BE49-F238E27FC236}">
                  <a16:creationId xmlns:a16="http://schemas.microsoft.com/office/drawing/2014/main" id="{5507A72F-1784-4952-9AA2-0630E3CF72AB}"/>
                </a:ext>
              </a:extLst>
            </p:cNvPr>
            <p:cNvSpPr>
              <a:spLocks noEditPoints="1"/>
            </p:cNvSpPr>
            <p:nvPr/>
          </p:nvSpPr>
          <p:spPr bwMode="auto">
            <a:xfrm>
              <a:off x="3625" y="3615"/>
              <a:ext cx="127" cy="212"/>
            </a:xfrm>
            <a:custGeom>
              <a:avLst/>
              <a:gdLst>
                <a:gd name="T0" fmla="*/ 107 w 192"/>
                <a:gd name="T1" fmla="*/ 267 h 320"/>
                <a:gd name="T2" fmla="*/ 96 w 192"/>
                <a:gd name="T3" fmla="*/ 278 h 320"/>
                <a:gd name="T4" fmla="*/ 85 w 192"/>
                <a:gd name="T5" fmla="*/ 267 h 320"/>
                <a:gd name="T6" fmla="*/ 96 w 192"/>
                <a:gd name="T7" fmla="*/ 256 h 320"/>
                <a:gd name="T8" fmla="*/ 107 w 192"/>
                <a:gd name="T9" fmla="*/ 267 h 320"/>
                <a:gd name="T10" fmla="*/ 192 w 192"/>
                <a:gd name="T11" fmla="*/ 22 h 320"/>
                <a:gd name="T12" fmla="*/ 192 w 192"/>
                <a:gd name="T13" fmla="*/ 299 h 320"/>
                <a:gd name="T14" fmla="*/ 169 w 192"/>
                <a:gd name="T15" fmla="*/ 320 h 320"/>
                <a:gd name="T16" fmla="*/ 23 w 192"/>
                <a:gd name="T17" fmla="*/ 320 h 320"/>
                <a:gd name="T18" fmla="*/ 0 w 192"/>
                <a:gd name="T19" fmla="*/ 299 h 320"/>
                <a:gd name="T20" fmla="*/ 0 w 192"/>
                <a:gd name="T21" fmla="*/ 22 h 320"/>
                <a:gd name="T22" fmla="*/ 23 w 192"/>
                <a:gd name="T23" fmla="*/ 0 h 320"/>
                <a:gd name="T24" fmla="*/ 169 w 192"/>
                <a:gd name="T25" fmla="*/ 0 h 320"/>
                <a:gd name="T26" fmla="*/ 192 w 192"/>
                <a:gd name="T27" fmla="*/ 22 h 320"/>
                <a:gd name="T28" fmla="*/ 171 w 192"/>
                <a:gd name="T29" fmla="*/ 298 h 320"/>
                <a:gd name="T30" fmla="*/ 171 w 192"/>
                <a:gd name="T31" fmla="*/ 22 h 320"/>
                <a:gd name="T32" fmla="*/ 169 w 192"/>
                <a:gd name="T33" fmla="*/ 22 h 320"/>
                <a:gd name="T34" fmla="*/ 23 w 192"/>
                <a:gd name="T35" fmla="*/ 22 h 320"/>
                <a:gd name="T36" fmla="*/ 21 w 192"/>
                <a:gd name="T37" fmla="*/ 22 h 320"/>
                <a:gd name="T38" fmla="*/ 21 w 192"/>
                <a:gd name="T39" fmla="*/ 299 h 320"/>
                <a:gd name="T40" fmla="*/ 21 w 192"/>
                <a:gd name="T41" fmla="*/ 299 h 320"/>
                <a:gd name="T42" fmla="*/ 23 w 192"/>
                <a:gd name="T43" fmla="*/ 299 h 320"/>
                <a:gd name="T44" fmla="*/ 169 w 192"/>
                <a:gd name="T45" fmla="*/ 299 h 320"/>
                <a:gd name="T46" fmla="*/ 171 w 192"/>
                <a:gd name="T47" fmla="*/ 298 h 320"/>
                <a:gd name="T48" fmla="*/ 160 w 192"/>
                <a:gd name="T49" fmla="*/ 43 h 320"/>
                <a:gd name="T50" fmla="*/ 160 w 192"/>
                <a:gd name="T51" fmla="*/ 224 h 320"/>
                <a:gd name="T52" fmla="*/ 149 w 192"/>
                <a:gd name="T53" fmla="*/ 235 h 320"/>
                <a:gd name="T54" fmla="*/ 43 w 192"/>
                <a:gd name="T55" fmla="*/ 235 h 320"/>
                <a:gd name="T56" fmla="*/ 32 w 192"/>
                <a:gd name="T57" fmla="*/ 224 h 320"/>
                <a:gd name="T58" fmla="*/ 32 w 192"/>
                <a:gd name="T59" fmla="*/ 43 h 320"/>
                <a:gd name="T60" fmla="*/ 43 w 192"/>
                <a:gd name="T61" fmla="*/ 32 h 320"/>
                <a:gd name="T62" fmla="*/ 149 w 192"/>
                <a:gd name="T63" fmla="*/ 32 h 320"/>
                <a:gd name="T64" fmla="*/ 160 w 192"/>
                <a:gd name="T65" fmla="*/ 43 h 320"/>
                <a:gd name="T66" fmla="*/ 139 w 192"/>
                <a:gd name="T67" fmla="*/ 54 h 320"/>
                <a:gd name="T68" fmla="*/ 53 w 192"/>
                <a:gd name="T69" fmla="*/ 54 h 320"/>
                <a:gd name="T70" fmla="*/ 53 w 192"/>
                <a:gd name="T71" fmla="*/ 214 h 320"/>
                <a:gd name="T72" fmla="*/ 139 w 192"/>
                <a:gd name="T73" fmla="*/ 214 h 320"/>
                <a:gd name="T74" fmla="*/ 139 w 192"/>
                <a:gd name="T75"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320">
                  <a:moveTo>
                    <a:pt x="107" y="267"/>
                  </a:moveTo>
                  <a:cubicBezTo>
                    <a:pt x="107" y="273"/>
                    <a:pt x="102" y="278"/>
                    <a:pt x="96" y="278"/>
                  </a:cubicBezTo>
                  <a:cubicBezTo>
                    <a:pt x="90" y="278"/>
                    <a:pt x="85" y="273"/>
                    <a:pt x="85" y="267"/>
                  </a:cubicBezTo>
                  <a:cubicBezTo>
                    <a:pt x="85" y="261"/>
                    <a:pt x="90" y="256"/>
                    <a:pt x="96" y="256"/>
                  </a:cubicBezTo>
                  <a:cubicBezTo>
                    <a:pt x="102" y="256"/>
                    <a:pt x="107" y="261"/>
                    <a:pt x="107" y="267"/>
                  </a:cubicBezTo>
                  <a:close/>
                  <a:moveTo>
                    <a:pt x="192" y="22"/>
                  </a:moveTo>
                  <a:cubicBezTo>
                    <a:pt x="192" y="299"/>
                    <a:pt x="192" y="299"/>
                    <a:pt x="192" y="299"/>
                  </a:cubicBezTo>
                  <a:cubicBezTo>
                    <a:pt x="192" y="311"/>
                    <a:pt x="182" y="320"/>
                    <a:pt x="169" y="320"/>
                  </a:cubicBezTo>
                  <a:cubicBezTo>
                    <a:pt x="23" y="320"/>
                    <a:pt x="23" y="320"/>
                    <a:pt x="23" y="320"/>
                  </a:cubicBezTo>
                  <a:cubicBezTo>
                    <a:pt x="10" y="320"/>
                    <a:pt x="0" y="311"/>
                    <a:pt x="0" y="299"/>
                  </a:cubicBezTo>
                  <a:cubicBezTo>
                    <a:pt x="0" y="22"/>
                    <a:pt x="0" y="22"/>
                    <a:pt x="0" y="22"/>
                  </a:cubicBezTo>
                  <a:cubicBezTo>
                    <a:pt x="0" y="10"/>
                    <a:pt x="10" y="0"/>
                    <a:pt x="23" y="0"/>
                  </a:cubicBezTo>
                  <a:cubicBezTo>
                    <a:pt x="169" y="0"/>
                    <a:pt x="169" y="0"/>
                    <a:pt x="169" y="0"/>
                  </a:cubicBezTo>
                  <a:cubicBezTo>
                    <a:pt x="182" y="0"/>
                    <a:pt x="192" y="10"/>
                    <a:pt x="192" y="22"/>
                  </a:cubicBezTo>
                  <a:close/>
                  <a:moveTo>
                    <a:pt x="171" y="298"/>
                  </a:moveTo>
                  <a:cubicBezTo>
                    <a:pt x="171" y="22"/>
                    <a:pt x="171" y="22"/>
                    <a:pt x="171" y="22"/>
                  </a:cubicBezTo>
                  <a:cubicBezTo>
                    <a:pt x="171" y="22"/>
                    <a:pt x="170" y="22"/>
                    <a:pt x="169" y="22"/>
                  </a:cubicBezTo>
                  <a:cubicBezTo>
                    <a:pt x="23" y="22"/>
                    <a:pt x="23" y="22"/>
                    <a:pt x="23" y="22"/>
                  </a:cubicBezTo>
                  <a:cubicBezTo>
                    <a:pt x="22" y="22"/>
                    <a:pt x="21" y="22"/>
                    <a:pt x="21" y="22"/>
                  </a:cubicBezTo>
                  <a:cubicBezTo>
                    <a:pt x="21" y="299"/>
                    <a:pt x="21" y="299"/>
                    <a:pt x="21" y="299"/>
                  </a:cubicBezTo>
                  <a:cubicBezTo>
                    <a:pt x="21" y="299"/>
                    <a:pt x="21" y="299"/>
                    <a:pt x="21" y="299"/>
                  </a:cubicBezTo>
                  <a:cubicBezTo>
                    <a:pt x="22" y="299"/>
                    <a:pt x="22" y="299"/>
                    <a:pt x="23" y="299"/>
                  </a:cubicBezTo>
                  <a:cubicBezTo>
                    <a:pt x="169" y="299"/>
                    <a:pt x="169" y="299"/>
                    <a:pt x="169" y="299"/>
                  </a:cubicBezTo>
                  <a:cubicBezTo>
                    <a:pt x="170" y="299"/>
                    <a:pt x="171" y="299"/>
                    <a:pt x="171" y="298"/>
                  </a:cubicBezTo>
                  <a:close/>
                  <a:moveTo>
                    <a:pt x="160" y="43"/>
                  </a:moveTo>
                  <a:cubicBezTo>
                    <a:pt x="160" y="224"/>
                    <a:pt x="160" y="224"/>
                    <a:pt x="160" y="224"/>
                  </a:cubicBezTo>
                  <a:cubicBezTo>
                    <a:pt x="160" y="230"/>
                    <a:pt x="155" y="235"/>
                    <a:pt x="149" y="235"/>
                  </a:cubicBezTo>
                  <a:cubicBezTo>
                    <a:pt x="43" y="235"/>
                    <a:pt x="43" y="235"/>
                    <a:pt x="43" y="235"/>
                  </a:cubicBezTo>
                  <a:cubicBezTo>
                    <a:pt x="37" y="235"/>
                    <a:pt x="32" y="230"/>
                    <a:pt x="32" y="224"/>
                  </a:cubicBezTo>
                  <a:cubicBezTo>
                    <a:pt x="32" y="43"/>
                    <a:pt x="32" y="43"/>
                    <a:pt x="32" y="43"/>
                  </a:cubicBezTo>
                  <a:cubicBezTo>
                    <a:pt x="32" y="37"/>
                    <a:pt x="37" y="32"/>
                    <a:pt x="43" y="32"/>
                  </a:cubicBezTo>
                  <a:cubicBezTo>
                    <a:pt x="149" y="32"/>
                    <a:pt x="149" y="32"/>
                    <a:pt x="149" y="32"/>
                  </a:cubicBezTo>
                  <a:cubicBezTo>
                    <a:pt x="155" y="32"/>
                    <a:pt x="160" y="37"/>
                    <a:pt x="160" y="43"/>
                  </a:cubicBezTo>
                  <a:close/>
                  <a:moveTo>
                    <a:pt x="139" y="54"/>
                  </a:moveTo>
                  <a:cubicBezTo>
                    <a:pt x="53" y="54"/>
                    <a:pt x="53" y="54"/>
                    <a:pt x="53" y="54"/>
                  </a:cubicBezTo>
                  <a:cubicBezTo>
                    <a:pt x="53" y="214"/>
                    <a:pt x="53" y="214"/>
                    <a:pt x="53" y="214"/>
                  </a:cubicBezTo>
                  <a:cubicBezTo>
                    <a:pt x="139" y="214"/>
                    <a:pt x="139" y="214"/>
                    <a:pt x="139" y="214"/>
                  </a:cubicBezTo>
                  <a:lnTo>
                    <a:pt x="139"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8" name="Freeform 486">
            <a:extLst>
              <a:ext uri="{FF2B5EF4-FFF2-40B4-BE49-F238E27FC236}">
                <a16:creationId xmlns:a16="http://schemas.microsoft.com/office/drawing/2014/main" id="{2B590144-1003-4229-A1CF-F905AB4706CD}"/>
              </a:ext>
            </a:extLst>
          </p:cNvPr>
          <p:cNvSpPr>
            <a:spLocks noChangeAspect="1" noEditPoints="1"/>
          </p:cNvSpPr>
          <p:nvPr/>
        </p:nvSpPr>
        <p:spPr bwMode="auto">
          <a:xfrm>
            <a:off x="2214558" y="2526859"/>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99" name="Group 489">
            <a:extLst>
              <a:ext uri="{FF2B5EF4-FFF2-40B4-BE49-F238E27FC236}">
                <a16:creationId xmlns:a16="http://schemas.microsoft.com/office/drawing/2014/main" id="{6DB6A70B-A394-4A1B-9F7E-91B0A0406123}"/>
              </a:ext>
            </a:extLst>
          </p:cNvPr>
          <p:cNvGrpSpPr>
            <a:grpSpLocks noChangeAspect="1"/>
          </p:cNvGrpSpPr>
          <p:nvPr/>
        </p:nvGrpSpPr>
        <p:grpSpPr bwMode="auto">
          <a:xfrm>
            <a:off x="2648606" y="2526859"/>
            <a:ext cx="367041" cy="367041"/>
            <a:chOff x="2920" y="2264"/>
            <a:chExt cx="340" cy="340"/>
          </a:xfrm>
          <a:solidFill>
            <a:schemeClr val="accent6"/>
          </a:solidFill>
        </p:grpSpPr>
        <p:sp>
          <p:nvSpPr>
            <p:cNvPr id="600" name="Freeform 490">
              <a:extLst>
                <a:ext uri="{FF2B5EF4-FFF2-40B4-BE49-F238E27FC236}">
                  <a16:creationId xmlns:a16="http://schemas.microsoft.com/office/drawing/2014/main" id="{9A57658B-4BC2-4627-91FD-ED9E2A370A79}"/>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1" name="Freeform 491">
              <a:extLst>
                <a:ext uri="{FF2B5EF4-FFF2-40B4-BE49-F238E27FC236}">
                  <a16:creationId xmlns:a16="http://schemas.microsoft.com/office/drawing/2014/main" id="{4AE11F1A-5D53-4857-92BC-6F5CC18CB6D2}"/>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2" name="Freeform 492">
              <a:extLst>
                <a:ext uri="{FF2B5EF4-FFF2-40B4-BE49-F238E27FC236}">
                  <a16:creationId xmlns:a16="http://schemas.microsoft.com/office/drawing/2014/main" id="{41190947-8BEE-4FB9-852F-3DC8947A2981}"/>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03" name="Freeform 956">
            <a:extLst>
              <a:ext uri="{FF2B5EF4-FFF2-40B4-BE49-F238E27FC236}">
                <a16:creationId xmlns:a16="http://schemas.microsoft.com/office/drawing/2014/main" id="{C46AAADD-9AAB-4841-A7C8-F79F074250B8}"/>
              </a:ext>
            </a:extLst>
          </p:cNvPr>
          <p:cNvSpPr>
            <a:spLocks noChangeAspect="1" noEditPoints="1"/>
          </p:cNvSpPr>
          <p:nvPr/>
        </p:nvSpPr>
        <p:spPr bwMode="auto">
          <a:xfrm>
            <a:off x="3082654" y="2526859"/>
            <a:ext cx="367041" cy="368120"/>
          </a:xfrm>
          <a:custGeom>
            <a:avLst/>
            <a:gdLst>
              <a:gd name="T0" fmla="*/ 320 w 512"/>
              <a:gd name="T1" fmla="*/ 266 h 512"/>
              <a:gd name="T2" fmla="*/ 320 w 512"/>
              <a:gd name="T3" fmla="*/ 245 h 512"/>
              <a:gd name="T4" fmla="*/ 256 w 512"/>
              <a:gd name="T5" fmla="*/ 309 h 512"/>
              <a:gd name="T6" fmla="*/ 256 w 512"/>
              <a:gd name="T7" fmla="*/ 330 h 512"/>
              <a:gd name="T8" fmla="*/ 256 w 512"/>
              <a:gd name="T9" fmla="*/ 309 h 512"/>
              <a:gd name="T10" fmla="*/ 181 w 512"/>
              <a:gd name="T11" fmla="*/ 256 h 512"/>
              <a:gd name="T12" fmla="*/ 202 w 512"/>
              <a:gd name="T13" fmla="*/ 256 h 512"/>
              <a:gd name="T14" fmla="*/ 512 w 512"/>
              <a:gd name="T15" fmla="*/ 256 h 512"/>
              <a:gd name="T16" fmla="*/ 0 w 512"/>
              <a:gd name="T17" fmla="*/ 256 h 512"/>
              <a:gd name="T18" fmla="*/ 512 w 512"/>
              <a:gd name="T19" fmla="*/ 256 h 512"/>
              <a:gd name="T20" fmla="*/ 394 w 512"/>
              <a:gd name="T21" fmla="*/ 256 h 512"/>
              <a:gd name="T22" fmla="*/ 117 w 512"/>
              <a:gd name="T23" fmla="*/ 256 h 512"/>
              <a:gd name="T24" fmla="*/ 256 w 512"/>
              <a:gd name="T25" fmla="*/ 394 h 512"/>
              <a:gd name="T26" fmla="*/ 356 w 512"/>
              <a:gd name="T27" fmla="*/ 413 h 512"/>
              <a:gd name="T28" fmla="*/ 371 w 512"/>
              <a:gd name="T29" fmla="*/ 412 h 512"/>
              <a:gd name="T30" fmla="*/ 322 w 512"/>
              <a:gd name="T31" fmla="*/ 377 h 512"/>
              <a:gd name="T32" fmla="*/ 266 w 512"/>
              <a:gd name="T33" fmla="*/ 192 h 512"/>
              <a:gd name="T34" fmla="*/ 245 w 512"/>
              <a:gd name="T35" fmla="*/ 192 h 512"/>
              <a:gd name="T36" fmla="*/ 373 w 512"/>
              <a:gd name="T37" fmla="*/ 256 h 512"/>
              <a:gd name="T38" fmla="*/ 138 w 512"/>
              <a:gd name="T39" fmla="*/ 256 h 512"/>
              <a:gd name="T40" fmla="*/ 373 w 512"/>
              <a:gd name="T41" fmla="*/ 256 h 512"/>
              <a:gd name="T42" fmla="*/ 256 w 512"/>
              <a:gd name="T43" fmla="*/ 224 h 512"/>
              <a:gd name="T44" fmla="*/ 256 w 512"/>
              <a:gd name="T45" fmla="*/ 160 h 512"/>
              <a:gd name="T46" fmla="*/ 256 w 512"/>
              <a:gd name="T47" fmla="*/ 245 h 512"/>
              <a:gd name="T48" fmla="*/ 256 w 512"/>
              <a:gd name="T49" fmla="*/ 266 h 512"/>
              <a:gd name="T50" fmla="*/ 256 w 512"/>
              <a:gd name="T51" fmla="*/ 245 h 512"/>
              <a:gd name="T52" fmla="*/ 192 w 512"/>
              <a:gd name="T53" fmla="*/ 224 h 512"/>
              <a:gd name="T54" fmla="*/ 192 w 512"/>
              <a:gd name="T55" fmla="*/ 288 h 512"/>
              <a:gd name="T56" fmla="*/ 288 w 512"/>
              <a:gd name="T57" fmla="*/ 320 h 512"/>
              <a:gd name="T58" fmla="*/ 224 w 512"/>
              <a:gd name="T59" fmla="*/ 320 h 512"/>
              <a:gd name="T60" fmla="*/ 288 w 512"/>
              <a:gd name="T61" fmla="*/ 320 h 512"/>
              <a:gd name="T62" fmla="*/ 320 w 512"/>
              <a:gd name="T63" fmla="*/ 224 h 512"/>
              <a:gd name="T64" fmla="*/ 320 w 512"/>
              <a:gd name="T6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30" y="256"/>
                </a:moveTo>
                <a:cubicBezTo>
                  <a:pt x="330" y="262"/>
                  <a:pt x="326" y="266"/>
                  <a:pt x="320" y="266"/>
                </a:cubicBezTo>
                <a:cubicBezTo>
                  <a:pt x="314" y="266"/>
                  <a:pt x="309" y="262"/>
                  <a:pt x="309" y="256"/>
                </a:cubicBezTo>
                <a:cubicBezTo>
                  <a:pt x="309" y="250"/>
                  <a:pt x="314" y="245"/>
                  <a:pt x="320" y="245"/>
                </a:cubicBezTo>
                <a:cubicBezTo>
                  <a:pt x="326" y="245"/>
                  <a:pt x="330" y="250"/>
                  <a:pt x="330" y="256"/>
                </a:cubicBezTo>
                <a:close/>
                <a:moveTo>
                  <a:pt x="256" y="309"/>
                </a:moveTo>
                <a:cubicBezTo>
                  <a:pt x="250" y="309"/>
                  <a:pt x="245" y="314"/>
                  <a:pt x="245" y="320"/>
                </a:cubicBezTo>
                <a:cubicBezTo>
                  <a:pt x="245" y="326"/>
                  <a:pt x="250" y="330"/>
                  <a:pt x="256" y="330"/>
                </a:cubicBezTo>
                <a:cubicBezTo>
                  <a:pt x="262" y="330"/>
                  <a:pt x="266" y="326"/>
                  <a:pt x="266" y="320"/>
                </a:cubicBezTo>
                <a:cubicBezTo>
                  <a:pt x="266" y="314"/>
                  <a:pt x="262" y="309"/>
                  <a:pt x="256" y="309"/>
                </a:cubicBezTo>
                <a:close/>
                <a:moveTo>
                  <a:pt x="192" y="245"/>
                </a:moveTo>
                <a:cubicBezTo>
                  <a:pt x="186" y="245"/>
                  <a:pt x="181" y="250"/>
                  <a:pt x="181" y="256"/>
                </a:cubicBezTo>
                <a:cubicBezTo>
                  <a:pt x="181" y="262"/>
                  <a:pt x="186" y="266"/>
                  <a:pt x="192" y="266"/>
                </a:cubicBezTo>
                <a:cubicBezTo>
                  <a:pt x="198" y="266"/>
                  <a:pt x="202" y="262"/>
                  <a:pt x="202" y="256"/>
                </a:cubicBezTo>
                <a:cubicBezTo>
                  <a:pt x="202" y="250"/>
                  <a:pt x="198" y="245"/>
                  <a:pt x="192"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2" y="377"/>
                </a:moveTo>
                <a:cubicBezTo>
                  <a:pt x="365" y="354"/>
                  <a:pt x="394" y="308"/>
                  <a:pt x="394" y="256"/>
                </a:cubicBezTo>
                <a:cubicBezTo>
                  <a:pt x="394" y="179"/>
                  <a:pt x="332" y="117"/>
                  <a:pt x="256" y="117"/>
                </a:cubicBezTo>
                <a:cubicBezTo>
                  <a:pt x="179" y="117"/>
                  <a:pt x="117" y="179"/>
                  <a:pt x="117" y="256"/>
                </a:cubicBezTo>
                <a:cubicBezTo>
                  <a:pt x="117" y="332"/>
                  <a:pt x="179" y="394"/>
                  <a:pt x="256" y="394"/>
                </a:cubicBezTo>
                <a:cubicBezTo>
                  <a:pt x="256" y="394"/>
                  <a:pt x="256" y="394"/>
                  <a:pt x="256" y="394"/>
                </a:cubicBezTo>
                <a:cubicBezTo>
                  <a:pt x="256" y="394"/>
                  <a:pt x="256" y="394"/>
                  <a:pt x="256" y="394"/>
                </a:cubicBezTo>
                <a:cubicBezTo>
                  <a:pt x="276" y="394"/>
                  <a:pt x="332" y="394"/>
                  <a:pt x="356" y="413"/>
                </a:cubicBezTo>
                <a:cubicBezTo>
                  <a:pt x="358" y="415"/>
                  <a:pt x="360" y="416"/>
                  <a:pt x="362" y="416"/>
                </a:cubicBezTo>
                <a:cubicBezTo>
                  <a:pt x="365" y="416"/>
                  <a:pt x="369" y="414"/>
                  <a:pt x="371" y="412"/>
                </a:cubicBezTo>
                <a:cubicBezTo>
                  <a:pt x="374" y="407"/>
                  <a:pt x="374" y="400"/>
                  <a:pt x="369" y="397"/>
                </a:cubicBezTo>
                <a:cubicBezTo>
                  <a:pt x="357" y="387"/>
                  <a:pt x="339" y="381"/>
                  <a:pt x="322" y="377"/>
                </a:cubicBezTo>
                <a:close/>
                <a:moveTo>
                  <a:pt x="256" y="202"/>
                </a:moveTo>
                <a:cubicBezTo>
                  <a:pt x="262" y="202"/>
                  <a:pt x="266" y="198"/>
                  <a:pt x="266" y="192"/>
                </a:cubicBezTo>
                <a:cubicBezTo>
                  <a:pt x="266" y="186"/>
                  <a:pt x="262" y="181"/>
                  <a:pt x="256" y="181"/>
                </a:cubicBezTo>
                <a:cubicBezTo>
                  <a:pt x="250" y="181"/>
                  <a:pt x="245" y="186"/>
                  <a:pt x="245" y="192"/>
                </a:cubicBezTo>
                <a:cubicBezTo>
                  <a:pt x="245" y="198"/>
                  <a:pt x="250" y="202"/>
                  <a:pt x="256" y="202"/>
                </a:cubicBezTo>
                <a:close/>
                <a:moveTo>
                  <a:pt x="373" y="256"/>
                </a:moveTo>
                <a:cubicBezTo>
                  <a:pt x="373" y="320"/>
                  <a:pt x="320" y="373"/>
                  <a:pt x="256" y="373"/>
                </a:cubicBezTo>
                <a:cubicBezTo>
                  <a:pt x="191" y="373"/>
                  <a:pt x="138" y="320"/>
                  <a:pt x="138" y="256"/>
                </a:cubicBezTo>
                <a:cubicBezTo>
                  <a:pt x="138" y="191"/>
                  <a:pt x="191" y="138"/>
                  <a:pt x="256" y="138"/>
                </a:cubicBezTo>
                <a:cubicBezTo>
                  <a:pt x="320" y="138"/>
                  <a:pt x="373" y="191"/>
                  <a:pt x="373" y="256"/>
                </a:cubicBezTo>
                <a:close/>
                <a:moveTo>
                  <a:pt x="224" y="192"/>
                </a:moveTo>
                <a:cubicBezTo>
                  <a:pt x="224" y="209"/>
                  <a:pt x="238" y="224"/>
                  <a:pt x="256" y="224"/>
                </a:cubicBezTo>
                <a:cubicBezTo>
                  <a:pt x="273" y="224"/>
                  <a:pt x="288" y="209"/>
                  <a:pt x="288" y="192"/>
                </a:cubicBezTo>
                <a:cubicBezTo>
                  <a:pt x="288" y="174"/>
                  <a:pt x="273" y="160"/>
                  <a:pt x="256" y="160"/>
                </a:cubicBezTo>
                <a:cubicBezTo>
                  <a:pt x="238" y="160"/>
                  <a:pt x="224" y="174"/>
                  <a:pt x="224" y="192"/>
                </a:cubicBezTo>
                <a:close/>
                <a:moveTo>
                  <a:pt x="256" y="245"/>
                </a:moveTo>
                <a:cubicBezTo>
                  <a:pt x="250" y="245"/>
                  <a:pt x="245" y="250"/>
                  <a:pt x="245" y="256"/>
                </a:cubicBezTo>
                <a:cubicBezTo>
                  <a:pt x="245" y="262"/>
                  <a:pt x="250" y="266"/>
                  <a:pt x="256" y="266"/>
                </a:cubicBezTo>
                <a:cubicBezTo>
                  <a:pt x="262" y="266"/>
                  <a:pt x="266" y="262"/>
                  <a:pt x="266" y="256"/>
                </a:cubicBezTo>
                <a:cubicBezTo>
                  <a:pt x="266" y="250"/>
                  <a:pt x="262" y="245"/>
                  <a:pt x="256" y="245"/>
                </a:cubicBezTo>
                <a:close/>
                <a:moveTo>
                  <a:pt x="224" y="256"/>
                </a:moveTo>
                <a:cubicBezTo>
                  <a:pt x="224" y="238"/>
                  <a:pt x="209" y="224"/>
                  <a:pt x="192" y="224"/>
                </a:cubicBezTo>
                <a:cubicBezTo>
                  <a:pt x="174" y="224"/>
                  <a:pt x="160" y="238"/>
                  <a:pt x="160" y="256"/>
                </a:cubicBezTo>
                <a:cubicBezTo>
                  <a:pt x="160" y="273"/>
                  <a:pt x="174" y="288"/>
                  <a:pt x="192" y="288"/>
                </a:cubicBezTo>
                <a:cubicBezTo>
                  <a:pt x="209" y="288"/>
                  <a:pt x="224" y="273"/>
                  <a:pt x="224" y="256"/>
                </a:cubicBezTo>
                <a:close/>
                <a:moveTo>
                  <a:pt x="288" y="320"/>
                </a:moveTo>
                <a:cubicBezTo>
                  <a:pt x="288" y="302"/>
                  <a:pt x="273" y="288"/>
                  <a:pt x="256" y="288"/>
                </a:cubicBezTo>
                <a:cubicBezTo>
                  <a:pt x="238" y="288"/>
                  <a:pt x="224" y="302"/>
                  <a:pt x="224" y="320"/>
                </a:cubicBezTo>
                <a:cubicBezTo>
                  <a:pt x="224" y="337"/>
                  <a:pt x="238" y="352"/>
                  <a:pt x="256" y="352"/>
                </a:cubicBezTo>
                <a:cubicBezTo>
                  <a:pt x="273" y="352"/>
                  <a:pt x="288" y="337"/>
                  <a:pt x="288" y="320"/>
                </a:cubicBezTo>
                <a:close/>
                <a:moveTo>
                  <a:pt x="352" y="256"/>
                </a:moveTo>
                <a:cubicBezTo>
                  <a:pt x="352" y="238"/>
                  <a:pt x="337" y="224"/>
                  <a:pt x="320" y="224"/>
                </a:cubicBezTo>
                <a:cubicBezTo>
                  <a:pt x="302" y="224"/>
                  <a:pt x="288" y="238"/>
                  <a:pt x="288" y="256"/>
                </a:cubicBezTo>
                <a:cubicBezTo>
                  <a:pt x="288" y="273"/>
                  <a:pt x="302" y="288"/>
                  <a:pt x="320" y="288"/>
                </a:cubicBezTo>
                <a:cubicBezTo>
                  <a:pt x="337" y="288"/>
                  <a:pt x="352" y="273"/>
                  <a:pt x="352" y="2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04" name="Group 959">
            <a:extLst>
              <a:ext uri="{FF2B5EF4-FFF2-40B4-BE49-F238E27FC236}">
                <a16:creationId xmlns:a16="http://schemas.microsoft.com/office/drawing/2014/main" id="{3A621403-BE46-4317-A9CD-D83BA90836CC}"/>
              </a:ext>
            </a:extLst>
          </p:cNvPr>
          <p:cNvGrpSpPr>
            <a:grpSpLocks noChangeAspect="1"/>
          </p:cNvGrpSpPr>
          <p:nvPr/>
        </p:nvGrpSpPr>
        <p:grpSpPr bwMode="auto">
          <a:xfrm>
            <a:off x="3516702" y="2526859"/>
            <a:ext cx="367041" cy="367041"/>
            <a:chOff x="378" y="3986"/>
            <a:chExt cx="340" cy="340"/>
          </a:xfrm>
          <a:solidFill>
            <a:schemeClr val="accent5"/>
          </a:solidFill>
        </p:grpSpPr>
        <p:sp>
          <p:nvSpPr>
            <p:cNvPr id="605" name="Freeform 960">
              <a:extLst>
                <a:ext uri="{FF2B5EF4-FFF2-40B4-BE49-F238E27FC236}">
                  <a16:creationId xmlns:a16="http://schemas.microsoft.com/office/drawing/2014/main" id="{2EF64F83-A05D-454C-A0C3-C339C10ED781}"/>
                </a:ext>
              </a:extLst>
            </p:cNvPr>
            <p:cNvSpPr>
              <a:spLocks noEditPoints="1"/>
            </p:cNvSpPr>
            <p:nvPr/>
          </p:nvSpPr>
          <p:spPr bwMode="auto">
            <a:xfrm>
              <a:off x="378" y="39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6" name="Freeform 961">
              <a:extLst>
                <a:ext uri="{FF2B5EF4-FFF2-40B4-BE49-F238E27FC236}">
                  <a16:creationId xmlns:a16="http://schemas.microsoft.com/office/drawing/2014/main" id="{4DBC95A6-A79E-42BE-9F07-95563860592B}"/>
                </a:ext>
              </a:extLst>
            </p:cNvPr>
            <p:cNvSpPr>
              <a:spLocks noEditPoints="1"/>
            </p:cNvSpPr>
            <p:nvPr/>
          </p:nvSpPr>
          <p:spPr bwMode="auto">
            <a:xfrm>
              <a:off x="456" y="4064"/>
              <a:ext cx="184" cy="198"/>
            </a:xfrm>
            <a:custGeom>
              <a:avLst/>
              <a:gdLst>
                <a:gd name="T0" fmla="*/ 139 w 277"/>
                <a:gd name="T1" fmla="*/ 107 h 299"/>
                <a:gd name="T2" fmla="*/ 171 w 277"/>
                <a:gd name="T3" fmla="*/ 75 h 299"/>
                <a:gd name="T4" fmla="*/ 139 w 277"/>
                <a:gd name="T5" fmla="*/ 43 h 299"/>
                <a:gd name="T6" fmla="*/ 107 w 277"/>
                <a:gd name="T7" fmla="*/ 75 h 299"/>
                <a:gd name="T8" fmla="*/ 139 w 277"/>
                <a:gd name="T9" fmla="*/ 107 h 299"/>
                <a:gd name="T10" fmla="*/ 139 w 277"/>
                <a:gd name="T11" fmla="*/ 64 h 299"/>
                <a:gd name="T12" fmla="*/ 149 w 277"/>
                <a:gd name="T13" fmla="*/ 75 h 299"/>
                <a:gd name="T14" fmla="*/ 139 w 277"/>
                <a:gd name="T15" fmla="*/ 85 h 299"/>
                <a:gd name="T16" fmla="*/ 128 w 277"/>
                <a:gd name="T17" fmla="*/ 75 h 299"/>
                <a:gd name="T18" fmla="*/ 139 w 277"/>
                <a:gd name="T19" fmla="*/ 64 h 299"/>
                <a:gd name="T20" fmla="*/ 171 w 277"/>
                <a:gd name="T21" fmla="*/ 203 h 299"/>
                <a:gd name="T22" fmla="*/ 139 w 277"/>
                <a:gd name="T23" fmla="*/ 171 h 299"/>
                <a:gd name="T24" fmla="*/ 107 w 277"/>
                <a:gd name="T25" fmla="*/ 203 h 299"/>
                <a:gd name="T26" fmla="*/ 139 w 277"/>
                <a:gd name="T27" fmla="*/ 235 h 299"/>
                <a:gd name="T28" fmla="*/ 171 w 277"/>
                <a:gd name="T29" fmla="*/ 203 h 299"/>
                <a:gd name="T30" fmla="*/ 128 w 277"/>
                <a:gd name="T31" fmla="*/ 203 h 299"/>
                <a:gd name="T32" fmla="*/ 139 w 277"/>
                <a:gd name="T33" fmla="*/ 192 h 299"/>
                <a:gd name="T34" fmla="*/ 149 w 277"/>
                <a:gd name="T35" fmla="*/ 203 h 299"/>
                <a:gd name="T36" fmla="*/ 139 w 277"/>
                <a:gd name="T37" fmla="*/ 213 h 299"/>
                <a:gd name="T38" fmla="*/ 128 w 277"/>
                <a:gd name="T39" fmla="*/ 203 h 299"/>
                <a:gd name="T40" fmla="*/ 203 w 277"/>
                <a:gd name="T41" fmla="*/ 171 h 299"/>
                <a:gd name="T42" fmla="*/ 235 w 277"/>
                <a:gd name="T43" fmla="*/ 139 h 299"/>
                <a:gd name="T44" fmla="*/ 203 w 277"/>
                <a:gd name="T45" fmla="*/ 107 h 299"/>
                <a:gd name="T46" fmla="*/ 171 w 277"/>
                <a:gd name="T47" fmla="*/ 139 h 299"/>
                <a:gd name="T48" fmla="*/ 203 w 277"/>
                <a:gd name="T49" fmla="*/ 171 h 299"/>
                <a:gd name="T50" fmla="*/ 203 w 277"/>
                <a:gd name="T51" fmla="*/ 128 h 299"/>
                <a:gd name="T52" fmla="*/ 213 w 277"/>
                <a:gd name="T53" fmla="*/ 139 h 299"/>
                <a:gd name="T54" fmla="*/ 203 w 277"/>
                <a:gd name="T55" fmla="*/ 149 h 299"/>
                <a:gd name="T56" fmla="*/ 192 w 277"/>
                <a:gd name="T57" fmla="*/ 139 h 299"/>
                <a:gd name="T58" fmla="*/ 203 w 277"/>
                <a:gd name="T59" fmla="*/ 128 h 299"/>
                <a:gd name="T60" fmla="*/ 75 w 277"/>
                <a:gd name="T61" fmla="*/ 107 h 299"/>
                <a:gd name="T62" fmla="*/ 43 w 277"/>
                <a:gd name="T63" fmla="*/ 139 h 299"/>
                <a:gd name="T64" fmla="*/ 75 w 277"/>
                <a:gd name="T65" fmla="*/ 171 h 299"/>
                <a:gd name="T66" fmla="*/ 107 w 277"/>
                <a:gd name="T67" fmla="*/ 139 h 299"/>
                <a:gd name="T68" fmla="*/ 75 w 277"/>
                <a:gd name="T69" fmla="*/ 107 h 299"/>
                <a:gd name="T70" fmla="*/ 75 w 277"/>
                <a:gd name="T71" fmla="*/ 149 h 299"/>
                <a:gd name="T72" fmla="*/ 64 w 277"/>
                <a:gd name="T73" fmla="*/ 139 h 299"/>
                <a:gd name="T74" fmla="*/ 75 w 277"/>
                <a:gd name="T75" fmla="*/ 128 h 299"/>
                <a:gd name="T76" fmla="*/ 85 w 277"/>
                <a:gd name="T77" fmla="*/ 139 h 299"/>
                <a:gd name="T78" fmla="*/ 75 w 277"/>
                <a:gd name="T79" fmla="*/ 149 h 299"/>
                <a:gd name="T80" fmla="*/ 205 w 277"/>
                <a:gd name="T81" fmla="*/ 260 h 299"/>
                <a:gd name="T82" fmla="*/ 277 w 277"/>
                <a:gd name="T83" fmla="*/ 139 h 299"/>
                <a:gd name="T84" fmla="*/ 139 w 277"/>
                <a:gd name="T85" fmla="*/ 0 h 299"/>
                <a:gd name="T86" fmla="*/ 0 w 277"/>
                <a:gd name="T87" fmla="*/ 139 h 299"/>
                <a:gd name="T88" fmla="*/ 139 w 277"/>
                <a:gd name="T89" fmla="*/ 277 h 299"/>
                <a:gd name="T90" fmla="*/ 139 w 277"/>
                <a:gd name="T91" fmla="*/ 277 h 299"/>
                <a:gd name="T92" fmla="*/ 139 w 277"/>
                <a:gd name="T93" fmla="*/ 277 h 299"/>
                <a:gd name="T94" fmla="*/ 239 w 277"/>
                <a:gd name="T95" fmla="*/ 296 h 299"/>
                <a:gd name="T96" fmla="*/ 245 w 277"/>
                <a:gd name="T97" fmla="*/ 299 h 299"/>
                <a:gd name="T98" fmla="*/ 254 w 277"/>
                <a:gd name="T99" fmla="*/ 295 h 299"/>
                <a:gd name="T100" fmla="*/ 252 w 277"/>
                <a:gd name="T101" fmla="*/ 280 h 299"/>
                <a:gd name="T102" fmla="*/ 205 w 277"/>
                <a:gd name="T103" fmla="*/ 260 h 299"/>
                <a:gd name="T104" fmla="*/ 21 w 277"/>
                <a:gd name="T105" fmla="*/ 139 h 299"/>
                <a:gd name="T106" fmla="*/ 139 w 277"/>
                <a:gd name="T107" fmla="*/ 21 h 299"/>
                <a:gd name="T108" fmla="*/ 256 w 277"/>
                <a:gd name="T109" fmla="*/ 139 h 299"/>
                <a:gd name="T110" fmla="*/ 139 w 277"/>
                <a:gd name="T111" fmla="*/ 256 h 299"/>
                <a:gd name="T112" fmla="*/ 21 w 277"/>
                <a:gd name="T113" fmla="*/ 139 h 299"/>
                <a:gd name="T114" fmla="*/ 139 w 277"/>
                <a:gd name="T115" fmla="*/ 128 h 299"/>
                <a:gd name="T116" fmla="*/ 149 w 277"/>
                <a:gd name="T117" fmla="*/ 139 h 299"/>
                <a:gd name="T118" fmla="*/ 139 w 277"/>
                <a:gd name="T119" fmla="*/ 149 h 299"/>
                <a:gd name="T120" fmla="*/ 128 w 277"/>
                <a:gd name="T121" fmla="*/ 139 h 299"/>
                <a:gd name="T122" fmla="*/ 139 w 277"/>
                <a:gd name="T123" fmla="*/ 12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 h="299">
                  <a:moveTo>
                    <a:pt x="139" y="107"/>
                  </a:moveTo>
                  <a:cubicBezTo>
                    <a:pt x="156" y="107"/>
                    <a:pt x="171" y="92"/>
                    <a:pt x="171" y="75"/>
                  </a:cubicBezTo>
                  <a:cubicBezTo>
                    <a:pt x="171" y="57"/>
                    <a:pt x="156" y="43"/>
                    <a:pt x="139" y="43"/>
                  </a:cubicBezTo>
                  <a:cubicBezTo>
                    <a:pt x="121" y="43"/>
                    <a:pt x="107" y="57"/>
                    <a:pt x="107" y="75"/>
                  </a:cubicBezTo>
                  <a:cubicBezTo>
                    <a:pt x="107" y="92"/>
                    <a:pt x="121" y="107"/>
                    <a:pt x="139" y="107"/>
                  </a:cubicBezTo>
                  <a:close/>
                  <a:moveTo>
                    <a:pt x="139" y="64"/>
                  </a:moveTo>
                  <a:cubicBezTo>
                    <a:pt x="145" y="64"/>
                    <a:pt x="149" y="69"/>
                    <a:pt x="149" y="75"/>
                  </a:cubicBezTo>
                  <a:cubicBezTo>
                    <a:pt x="149" y="81"/>
                    <a:pt x="145" y="85"/>
                    <a:pt x="139" y="85"/>
                  </a:cubicBezTo>
                  <a:cubicBezTo>
                    <a:pt x="133" y="85"/>
                    <a:pt x="128" y="81"/>
                    <a:pt x="128" y="75"/>
                  </a:cubicBezTo>
                  <a:cubicBezTo>
                    <a:pt x="128" y="69"/>
                    <a:pt x="133" y="64"/>
                    <a:pt x="139" y="64"/>
                  </a:cubicBezTo>
                  <a:close/>
                  <a:moveTo>
                    <a:pt x="171" y="203"/>
                  </a:moveTo>
                  <a:cubicBezTo>
                    <a:pt x="171" y="185"/>
                    <a:pt x="156" y="171"/>
                    <a:pt x="139" y="171"/>
                  </a:cubicBezTo>
                  <a:cubicBezTo>
                    <a:pt x="121" y="171"/>
                    <a:pt x="107" y="185"/>
                    <a:pt x="107" y="203"/>
                  </a:cubicBezTo>
                  <a:cubicBezTo>
                    <a:pt x="107" y="220"/>
                    <a:pt x="121" y="235"/>
                    <a:pt x="139" y="235"/>
                  </a:cubicBezTo>
                  <a:cubicBezTo>
                    <a:pt x="156" y="235"/>
                    <a:pt x="171" y="220"/>
                    <a:pt x="171" y="203"/>
                  </a:cubicBezTo>
                  <a:close/>
                  <a:moveTo>
                    <a:pt x="128" y="203"/>
                  </a:moveTo>
                  <a:cubicBezTo>
                    <a:pt x="128" y="197"/>
                    <a:pt x="133" y="192"/>
                    <a:pt x="139" y="192"/>
                  </a:cubicBezTo>
                  <a:cubicBezTo>
                    <a:pt x="145" y="192"/>
                    <a:pt x="149" y="197"/>
                    <a:pt x="149" y="203"/>
                  </a:cubicBezTo>
                  <a:cubicBezTo>
                    <a:pt x="149" y="209"/>
                    <a:pt x="145" y="213"/>
                    <a:pt x="139" y="213"/>
                  </a:cubicBezTo>
                  <a:cubicBezTo>
                    <a:pt x="133" y="213"/>
                    <a:pt x="128" y="209"/>
                    <a:pt x="128" y="203"/>
                  </a:cubicBezTo>
                  <a:close/>
                  <a:moveTo>
                    <a:pt x="203" y="171"/>
                  </a:moveTo>
                  <a:cubicBezTo>
                    <a:pt x="220" y="171"/>
                    <a:pt x="235" y="156"/>
                    <a:pt x="235" y="139"/>
                  </a:cubicBezTo>
                  <a:cubicBezTo>
                    <a:pt x="235" y="121"/>
                    <a:pt x="220" y="107"/>
                    <a:pt x="203" y="107"/>
                  </a:cubicBezTo>
                  <a:cubicBezTo>
                    <a:pt x="185" y="107"/>
                    <a:pt x="171" y="121"/>
                    <a:pt x="171" y="139"/>
                  </a:cubicBezTo>
                  <a:cubicBezTo>
                    <a:pt x="171" y="156"/>
                    <a:pt x="185" y="171"/>
                    <a:pt x="203" y="171"/>
                  </a:cubicBezTo>
                  <a:close/>
                  <a:moveTo>
                    <a:pt x="203" y="128"/>
                  </a:moveTo>
                  <a:cubicBezTo>
                    <a:pt x="209" y="128"/>
                    <a:pt x="213" y="133"/>
                    <a:pt x="213" y="139"/>
                  </a:cubicBezTo>
                  <a:cubicBezTo>
                    <a:pt x="213" y="145"/>
                    <a:pt x="209" y="149"/>
                    <a:pt x="203" y="149"/>
                  </a:cubicBezTo>
                  <a:cubicBezTo>
                    <a:pt x="197" y="149"/>
                    <a:pt x="192" y="145"/>
                    <a:pt x="192" y="139"/>
                  </a:cubicBezTo>
                  <a:cubicBezTo>
                    <a:pt x="192" y="133"/>
                    <a:pt x="197" y="128"/>
                    <a:pt x="203" y="128"/>
                  </a:cubicBezTo>
                  <a:close/>
                  <a:moveTo>
                    <a:pt x="75" y="107"/>
                  </a:moveTo>
                  <a:cubicBezTo>
                    <a:pt x="57" y="107"/>
                    <a:pt x="43" y="121"/>
                    <a:pt x="43" y="139"/>
                  </a:cubicBezTo>
                  <a:cubicBezTo>
                    <a:pt x="43" y="156"/>
                    <a:pt x="57" y="171"/>
                    <a:pt x="75" y="171"/>
                  </a:cubicBezTo>
                  <a:cubicBezTo>
                    <a:pt x="92" y="171"/>
                    <a:pt x="107" y="156"/>
                    <a:pt x="107" y="139"/>
                  </a:cubicBezTo>
                  <a:cubicBezTo>
                    <a:pt x="107" y="121"/>
                    <a:pt x="92" y="107"/>
                    <a:pt x="75" y="107"/>
                  </a:cubicBezTo>
                  <a:close/>
                  <a:moveTo>
                    <a:pt x="75" y="149"/>
                  </a:moveTo>
                  <a:cubicBezTo>
                    <a:pt x="69" y="149"/>
                    <a:pt x="64" y="145"/>
                    <a:pt x="64" y="139"/>
                  </a:cubicBezTo>
                  <a:cubicBezTo>
                    <a:pt x="64" y="133"/>
                    <a:pt x="69" y="128"/>
                    <a:pt x="75" y="128"/>
                  </a:cubicBezTo>
                  <a:cubicBezTo>
                    <a:pt x="81" y="128"/>
                    <a:pt x="85" y="133"/>
                    <a:pt x="85" y="139"/>
                  </a:cubicBezTo>
                  <a:cubicBezTo>
                    <a:pt x="85" y="145"/>
                    <a:pt x="81" y="149"/>
                    <a:pt x="75" y="149"/>
                  </a:cubicBezTo>
                  <a:close/>
                  <a:moveTo>
                    <a:pt x="205" y="260"/>
                  </a:moveTo>
                  <a:cubicBezTo>
                    <a:pt x="248" y="237"/>
                    <a:pt x="277" y="191"/>
                    <a:pt x="277" y="139"/>
                  </a:cubicBezTo>
                  <a:cubicBezTo>
                    <a:pt x="277" y="62"/>
                    <a:pt x="215" y="0"/>
                    <a:pt x="139" y="0"/>
                  </a:cubicBezTo>
                  <a:cubicBezTo>
                    <a:pt x="62" y="0"/>
                    <a:pt x="0" y="62"/>
                    <a:pt x="0" y="139"/>
                  </a:cubicBezTo>
                  <a:cubicBezTo>
                    <a:pt x="0" y="215"/>
                    <a:pt x="62" y="277"/>
                    <a:pt x="139" y="277"/>
                  </a:cubicBezTo>
                  <a:cubicBezTo>
                    <a:pt x="139" y="277"/>
                    <a:pt x="139" y="277"/>
                    <a:pt x="139" y="277"/>
                  </a:cubicBezTo>
                  <a:cubicBezTo>
                    <a:pt x="139" y="277"/>
                    <a:pt x="139" y="277"/>
                    <a:pt x="139" y="277"/>
                  </a:cubicBezTo>
                  <a:cubicBezTo>
                    <a:pt x="159" y="277"/>
                    <a:pt x="215" y="277"/>
                    <a:pt x="239" y="296"/>
                  </a:cubicBezTo>
                  <a:cubicBezTo>
                    <a:pt x="241" y="298"/>
                    <a:pt x="243" y="299"/>
                    <a:pt x="245" y="299"/>
                  </a:cubicBezTo>
                  <a:cubicBezTo>
                    <a:pt x="248" y="299"/>
                    <a:pt x="252" y="297"/>
                    <a:pt x="254" y="295"/>
                  </a:cubicBezTo>
                  <a:cubicBezTo>
                    <a:pt x="257" y="290"/>
                    <a:pt x="257" y="283"/>
                    <a:pt x="252" y="280"/>
                  </a:cubicBezTo>
                  <a:cubicBezTo>
                    <a:pt x="240" y="270"/>
                    <a:pt x="222" y="264"/>
                    <a:pt x="205" y="260"/>
                  </a:cubicBezTo>
                  <a:close/>
                  <a:moveTo>
                    <a:pt x="21" y="139"/>
                  </a:moveTo>
                  <a:cubicBezTo>
                    <a:pt x="21" y="74"/>
                    <a:pt x="74" y="21"/>
                    <a:pt x="139" y="21"/>
                  </a:cubicBezTo>
                  <a:cubicBezTo>
                    <a:pt x="203" y="21"/>
                    <a:pt x="256" y="74"/>
                    <a:pt x="256" y="139"/>
                  </a:cubicBezTo>
                  <a:cubicBezTo>
                    <a:pt x="256" y="203"/>
                    <a:pt x="203" y="256"/>
                    <a:pt x="139" y="256"/>
                  </a:cubicBezTo>
                  <a:cubicBezTo>
                    <a:pt x="74" y="256"/>
                    <a:pt x="21" y="203"/>
                    <a:pt x="21" y="139"/>
                  </a:cubicBezTo>
                  <a:close/>
                  <a:moveTo>
                    <a:pt x="139" y="128"/>
                  </a:moveTo>
                  <a:cubicBezTo>
                    <a:pt x="145" y="128"/>
                    <a:pt x="149" y="133"/>
                    <a:pt x="149" y="139"/>
                  </a:cubicBezTo>
                  <a:cubicBezTo>
                    <a:pt x="149" y="145"/>
                    <a:pt x="145" y="149"/>
                    <a:pt x="139" y="149"/>
                  </a:cubicBezTo>
                  <a:cubicBezTo>
                    <a:pt x="133" y="149"/>
                    <a:pt x="128" y="145"/>
                    <a:pt x="128" y="139"/>
                  </a:cubicBezTo>
                  <a:cubicBezTo>
                    <a:pt x="128" y="133"/>
                    <a:pt x="133" y="128"/>
                    <a:pt x="139"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07" name="Freeform 814">
            <a:extLst>
              <a:ext uri="{FF2B5EF4-FFF2-40B4-BE49-F238E27FC236}">
                <a16:creationId xmlns:a16="http://schemas.microsoft.com/office/drawing/2014/main" id="{85A89295-35B3-4D12-8E75-125D9FE97910}"/>
              </a:ext>
            </a:extLst>
          </p:cNvPr>
          <p:cNvSpPr>
            <a:spLocks noChangeAspect="1" noEditPoints="1"/>
          </p:cNvSpPr>
          <p:nvPr/>
        </p:nvSpPr>
        <p:spPr bwMode="auto">
          <a:xfrm>
            <a:off x="3950750" y="2526859"/>
            <a:ext cx="367982" cy="369064"/>
          </a:xfrm>
          <a:custGeom>
            <a:avLst/>
            <a:gdLst>
              <a:gd name="T0" fmla="*/ 309 w 512"/>
              <a:gd name="T1" fmla="*/ 256 h 512"/>
              <a:gd name="T2" fmla="*/ 256 w 512"/>
              <a:gd name="T3" fmla="*/ 309 h 512"/>
              <a:gd name="T4" fmla="*/ 202 w 512"/>
              <a:gd name="T5" fmla="*/ 256 h 512"/>
              <a:gd name="T6" fmla="*/ 256 w 512"/>
              <a:gd name="T7" fmla="*/ 202 h 512"/>
              <a:gd name="T8" fmla="*/ 309 w 512"/>
              <a:gd name="T9" fmla="*/ 256 h 512"/>
              <a:gd name="T10" fmla="*/ 349 w 512"/>
              <a:gd name="T11" fmla="*/ 181 h 512"/>
              <a:gd name="T12" fmla="*/ 394 w 512"/>
              <a:gd name="T13" fmla="*/ 181 h 512"/>
              <a:gd name="T14" fmla="*/ 394 w 512"/>
              <a:gd name="T15" fmla="*/ 352 h 512"/>
              <a:gd name="T16" fmla="*/ 117 w 512"/>
              <a:gd name="T17" fmla="*/ 352 h 512"/>
              <a:gd name="T18" fmla="*/ 117 w 512"/>
              <a:gd name="T19" fmla="*/ 181 h 512"/>
              <a:gd name="T20" fmla="*/ 157 w 512"/>
              <a:gd name="T21" fmla="*/ 181 h 512"/>
              <a:gd name="T22" fmla="*/ 165 w 512"/>
              <a:gd name="T23" fmla="*/ 177 h 512"/>
              <a:gd name="T24" fmla="*/ 186 w 512"/>
              <a:gd name="T25" fmla="*/ 149 h 512"/>
              <a:gd name="T26" fmla="*/ 324 w 512"/>
              <a:gd name="T27" fmla="*/ 149 h 512"/>
              <a:gd name="T28" fmla="*/ 339 w 512"/>
              <a:gd name="T29" fmla="*/ 176 h 512"/>
              <a:gd name="T30" fmla="*/ 349 w 512"/>
              <a:gd name="T31" fmla="*/ 181 h 512"/>
              <a:gd name="T32" fmla="*/ 330 w 512"/>
              <a:gd name="T33" fmla="*/ 256 h 512"/>
              <a:gd name="T34" fmla="*/ 256 w 512"/>
              <a:gd name="T35" fmla="*/ 181 h 512"/>
              <a:gd name="T36" fmla="*/ 181 w 512"/>
              <a:gd name="T37" fmla="*/ 256 h 512"/>
              <a:gd name="T38" fmla="*/ 256 w 512"/>
              <a:gd name="T39" fmla="*/ 330 h 512"/>
              <a:gd name="T40" fmla="*/ 330 w 512"/>
              <a:gd name="T41" fmla="*/ 256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70 h 512"/>
              <a:gd name="T54" fmla="*/ 405 w 512"/>
              <a:gd name="T55" fmla="*/ 160 h 512"/>
              <a:gd name="T56" fmla="*/ 355 w 512"/>
              <a:gd name="T57" fmla="*/ 160 h 512"/>
              <a:gd name="T58" fmla="*/ 340 w 512"/>
              <a:gd name="T59" fmla="*/ 133 h 512"/>
              <a:gd name="T60" fmla="*/ 330 w 512"/>
              <a:gd name="T61" fmla="*/ 128 h 512"/>
              <a:gd name="T62" fmla="*/ 181 w 512"/>
              <a:gd name="T63" fmla="*/ 128 h 512"/>
              <a:gd name="T64" fmla="*/ 173 w 512"/>
              <a:gd name="T65" fmla="*/ 132 h 512"/>
              <a:gd name="T66" fmla="*/ 151 w 512"/>
              <a:gd name="T67" fmla="*/ 160 h 512"/>
              <a:gd name="T68" fmla="*/ 106 w 512"/>
              <a:gd name="T69" fmla="*/ 160 h 512"/>
              <a:gd name="T70" fmla="*/ 96 w 512"/>
              <a:gd name="T71" fmla="*/ 170 h 512"/>
              <a:gd name="T72" fmla="*/ 96 w 512"/>
              <a:gd name="T73" fmla="*/ 362 h 512"/>
              <a:gd name="T74" fmla="*/ 106 w 512"/>
              <a:gd name="T75" fmla="*/ 373 h 512"/>
              <a:gd name="T76" fmla="*/ 405 w 512"/>
              <a:gd name="T77" fmla="*/ 373 h 512"/>
              <a:gd name="T78" fmla="*/ 416 w 512"/>
              <a:gd name="T79" fmla="*/ 362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09" y="256"/>
                </a:moveTo>
                <a:cubicBezTo>
                  <a:pt x="309" y="285"/>
                  <a:pt x="285" y="309"/>
                  <a:pt x="256" y="309"/>
                </a:cubicBezTo>
                <a:cubicBezTo>
                  <a:pt x="226" y="309"/>
                  <a:pt x="202" y="285"/>
                  <a:pt x="202" y="256"/>
                </a:cubicBezTo>
                <a:cubicBezTo>
                  <a:pt x="202" y="226"/>
                  <a:pt x="226" y="202"/>
                  <a:pt x="256" y="202"/>
                </a:cubicBezTo>
                <a:cubicBezTo>
                  <a:pt x="285" y="202"/>
                  <a:pt x="309" y="226"/>
                  <a:pt x="309" y="256"/>
                </a:cubicBezTo>
                <a:close/>
                <a:moveTo>
                  <a:pt x="349" y="181"/>
                </a:moveTo>
                <a:cubicBezTo>
                  <a:pt x="394" y="181"/>
                  <a:pt x="394" y="181"/>
                  <a:pt x="394" y="181"/>
                </a:cubicBezTo>
                <a:cubicBezTo>
                  <a:pt x="394" y="352"/>
                  <a:pt x="394" y="352"/>
                  <a:pt x="394" y="352"/>
                </a:cubicBezTo>
                <a:cubicBezTo>
                  <a:pt x="117" y="352"/>
                  <a:pt x="117" y="352"/>
                  <a:pt x="117" y="352"/>
                </a:cubicBezTo>
                <a:cubicBezTo>
                  <a:pt x="117" y="181"/>
                  <a:pt x="117" y="181"/>
                  <a:pt x="117" y="181"/>
                </a:cubicBezTo>
                <a:cubicBezTo>
                  <a:pt x="157" y="181"/>
                  <a:pt x="157" y="181"/>
                  <a:pt x="157" y="181"/>
                </a:cubicBezTo>
                <a:cubicBezTo>
                  <a:pt x="160" y="181"/>
                  <a:pt x="163" y="179"/>
                  <a:pt x="165" y="177"/>
                </a:cubicBezTo>
                <a:cubicBezTo>
                  <a:pt x="186" y="149"/>
                  <a:pt x="186" y="149"/>
                  <a:pt x="186" y="149"/>
                </a:cubicBezTo>
                <a:cubicBezTo>
                  <a:pt x="324" y="149"/>
                  <a:pt x="324" y="149"/>
                  <a:pt x="324" y="149"/>
                </a:cubicBezTo>
                <a:cubicBezTo>
                  <a:pt x="339" y="176"/>
                  <a:pt x="339" y="176"/>
                  <a:pt x="339" y="176"/>
                </a:cubicBezTo>
                <a:cubicBezTo>
                  <a:pt x="341" y="179"/>
                  <a:pt x="345" y="181"/>
                  <a:pt x="349" y="181"/>
                </a:cubicBezTo>
                <a:close/>
                <a:moveTo>
                  <a:pt x="330" y="256"/>
                </a:moveTo>
                <a:cubicBezTo>
                  <a:pt x="330" y="214"/>
                  <a:pt x="297" y="181"/>
                  <a:pt x="256" y="181"/>
                </a:cubicBezTo>
                <a:cubicBezTo>
                  <a:pt x="214" y="181"/>
                  <a:pt x="181" y="214"/>
                  <a:pt x="181" y="256"/>
                </a:cubicBezTo>
                <a:cubicBezTo>
                  <a:pt x="181" y="297"/>
                  <a:pt x="214" y="330"/>
                  <a:pt x="256" y="330"/>
                </a:cubicBezTo>
                <a:cubicBezTo>
                  <a:pt x="297" y="330"/>
                  <a:pt x="330" y="297"/>
                  <a:pt x="330"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4"/>
                  <a:pt x="411" y="160"/>
                  <a:pt x="405" y="160"/>
                </a:cubicBezTo>
                <a:cubicBezTo>
                  <a:pt x="355" y="160"/>
                  <a:pt x="355" y="160"/>
                  <a:pt x="355" y="160"/>
                </a:cubicBezTo>
                <a:cubicBezTo>
                  <a:pt x="340" y="133"/>
                  <a:pt x="340" y="133"/>
                  <a:pt x="340" y="133"/>
                </a:cubicBezTo>
                <a:cubicBezTo>
                  <a:pt x="338" y="130"/>
                  <a:pt x="334" y="128"/>
                  <a:pt x="330" y="128"/>
                </a:cubicBezTo>
                <a:cubicBezTo>
                  <a:pt x="181" y="128"/>
                  <a:pt x="181" y="128"/>
                  <a:pt x="181" y="128"/>
                </a:cubicBezTo>
                <a:cubicBezTo>
                  <a:pt x="178" y="128"/>
                  <a:pt x="175" y="129"/>
                  <a:pt x="173" y="132"/>
                </a:cubicBezTo>
                <a:cubicBezTo>
                  <a:pt x="151" y="160"/>
                  <a:pt x="151" y="160"/>
                  <a:pt x="151" y="160"/>
                </a:cubicBezTo>
                <a:cubicBezTo>
                  <a:pt x="106" y="160"/>
                  <a:pt x="106" y="160"/>
                  <a:pt x="106" y="160"/>
                </a:cubicBezTo>
                <a:cubicBezTo>
                  <a:pt x="100" y="160"/>
                  <a:pt x="96" y="164"/>
                  <a:pt x="96" y="170"/>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7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08" name="Group 817">
            <a:extLst>
              <a:ext uri="{FF2B5EF4-FFF2-40B4-BE49-F238E27FC236}">
                <a16:creationId xmlns:a16="http://schemas.microsoft.com/office/drawing/2014/main" id="{C151FC65-124B-4CC1-97D9-E6647D4CED3D}"/>
              </a:ext>
            </a:extLst>
          </p:cNvPr>
          <p:cNvGrpSpPr>
            <a:grpSpLocks noChangeAspect="1"/>
          </p:cNvGrpSpPr>
          <p:nvPr/>
        </p:nvGrpSpPr>
        <p:grpSpPr bwMode="auto">
          <a:xfrm>
            <a:off x="4385739" y="2526859"/>
            <a:ext cx="367982" cy="367982"/>
            <a:chOff x="5262" y="3737"/>
            <a:chExt cx="340" cy="340"/>
          </a:xfrm>
          <a:solidFill>
            <a:schemeClr val="accent3"/>
          </a:solidFill>
        </p:grpSpPr>
        <p:sp>
          <p:nvSpPr>
            <p:cNvPr id="609" name="Freeform 818">
              <a:extLst>
                <a:ext uri="{FF2B5EF4-FFF2-40B4-BE49-F238E27FC236}">
                  <a16:creationId xmlns:a16="http://schemas.microsoft.com/office/drawing/2014/main" id="{4C582576-49C9-47E2-8123-076A0502BE60}"/>
                </a:ext>
              </a:extLst>
            </p:cNvPr>
            <p:cNvSpPr>
              <a:spLocks noEditPoints="1"/>
            </p:cNvSpPr>
            <p:nvPr/>
          </p:nvSpPr>
          <p:spPr bwMode="auto">
            <a:xfrm>
              <a:off x="5326" y="3822"/>
              <a:ext cx="212" cy="163"/>
            </a:xfrm>
            <a:custGeom>
              <a:avLst/>
              <a:gdLst>
                <a:gd name="T0" fmla="*/ 309 w 320"/>
                <a:gd name="T1" fmla="*/ 32 h 245"/>
                <a:gd name="T2" fmla="*/ 259 w 320"/>
                <a:gd name="T3" fmla="*/ 32 h 245"/>
                <a:gd name="T4" fmla="*/ 244 w 320"/>
                <a:gd name="T5" fmla="*/ 5 h 245"/>
                <a:gd name="T6" fmla="*/ 234 w 320"/>
                <a:gd name="T7" fmla="*/ 0 h 245"/>
                <a:gd name="T8" fmla="*/ 85 w 320"/>
                <a:gd name="T9" fmla="*/ 0 h 245"/>
                <a:gd name="T10" fmla="*/ 77 w 320"/>
                <a:gd name="T11" fmla="*/ 4 h 245"/>
                <a:gd name="T12" fmla="*/ 55 w 320"/>
                <a:gd name="T13" fmla="*/ 32 h 245"/>
                <a:gd name="T14" fmla="*/ 10 w 320"/>
                <a:gd name="T15" fmla="*/ 32 h 245"/>
                <a:gd name="T16" fmla="*/ 0 w 320"/>
                <a:gd name="T17" fmla="*/ 42 h 245"/>
                <a:gd name="T18" fmla="*/ 0 w 320"/>
                <a:gd name="T19" fmla="*/ 234 h 245"/>
                <a:gd name="T20" fmla="*/ 10 w 320"/>
                <a:gd name="T21" fmla="*/ 245 h 245"/>
                <a:gd name="T22" fmla="*/ 309 w 320"/>
                <a:gd name="T23" fmla="*/ 245 h 245"/>
                <a:gd name="T24" fmla="*/ 320 w 320"/>
                <a:gd name="T25" fmla="*/ 234 h 245"/>
                <a:gd name="T26" fmla="*/ 320 w 320"/>
                <a:gd name="T27" fmla="*/ 42 h 245"/>
                <a:gd name="T28" fmla="*/ 309 w 320"/>
                <a:gd name="T29" fmla="*/ 32 h 245"/>
                <a:gd name="T30" fmla="*/ 298 w 320"/>
                <a:gd name="T31" fmla="*/ 224 h 245"/>
                <a:gd name="T32" fmla="*/ 21 w 320"/>
                <a:gd name="T33" fmla="*/ 224 h 245"/>
                <a:gd name="T34" fmla="*/ 21 w 320"/>
                <a:gd name="T35" fmla="*/ 53 h 245"/>
                <a:gd name="T36" fmla="*/ 61 w 320"/>
                <a:gd name="T37" fmla="*/ 53 h 245"/>
                <a:gd name="T38" fmla="*/ 69 w 320"/>
                <a:gd name="T39" fmla="*/ 49 h 245"/>
                <a:gd name="T40" fmla="*/ 90 w 320"/>
                <a:gd name="T41" fmla="*/ 21 h 245"/>
                <a:gd name="T42" fmla="*/ 228 w 320"/>
                <a:gd name="T43" fmla="*/ 21 h 245"/>
                <a:gd name="T44" fmla="*/ 243 w 320"/>
                <a:gd name="T45" fmla="*/ 48 h 245"/>
                <a:gd name="T46" fmla="*/ 253 w 320"/>
                <a:gd name="T47" fmla="*/ 53 h 245"/>
                <a:gd name="T48" fmla="*/ 298 w 320"/>
                <a:gd name="T49" fmla="*/ 53 h 245"/>
                <a:gd name="T50" fmla="*/ 298 w 320"/>
                <a:gd name="T51" fmla="*/ 224 h 245"/>
                <a:gd name="T52" fmla="*/ 160 w 320"/>
                <a:gd name="T53" fmla="*/ 53 h 245"/>
                <a:gd name="T54" fmla="*/ 85 w 320"/>
                <a:gd name="T55" fmla="*/ 128 h 245"/>
                <a:gd name="T56" fmla="*/ 160 w 320"/>
                <a:gd name="T57" fmla="*/ 202 h 245"/>
                <a:gd name="T58" fmla="*/ 234 w 320"/>
                <a:gd name="T59" fmla="*/ 128 h 245"/>
                <a:gd name="T60" fmla="*/ 160 w 320"/>
                <a:gd name="T61" fmla="*/ 53 h 245"/>
                <a:gd name="T62" fmla="*/ 160 w 320"/>
                <a:gd name="T63" fmla="*/ 181 h 245"/>
                <a:gd name="T64" fmla="*/ 106 w 320"/>
                <a:gd name="T65" fmla="*/ 128 h 245"/>
                <a:gd name="T66" fmla="*/ 160 w 320"/>
                <a:gd name="T67" fmla="*/ 74 h 245"/>
                <a:gd name="T68" fmla="*/ 213 w 320"/>
                <a:gd name="T69" fmla="*/ 128 h 245"/>
                <a:gd name="T70" fmla="*/ 160 w 320"/>
                <a:gd name="T71" fmla="*/ 181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45">
                  <a:moveTo>
                    <a:pt x="309" y="32"/>
                  </a:moveTo>
                  <a:cubicBezTo>
                    <a:pt x="259" y="32"/>
                    <a:pt x="259" y="32"/>
                    <a:pt x="259" y="32"/>
                  </a:cubicBezTo>
                  <a:cubicBezTo>
                    <a:pt x="244" y="5"/>
                    <a:pt x="244" y="5"/>
                    <a:pt x="244" y="5"/>
                  </a:cubicBezTo>
                  <a:cubicBezTo>
                    <a:pt x="242" y="2"/>
                    <a:pt x="238" y="0"/>
                    <a:pt x="234" y="0"/>
                  </a:cubicBezTo>
                  <a:cubicBezTo>
                    <a:pt x="85" y="0"/>
                    <a:pt x="85" y="0"/>
                    <a:pt x="85" y="0"/>
                  </a:cubicBezTo>
                  <a:cubicBezTo>
                    <a:pt x="82" y="0"/>
                    <a:pt x="79" y="1"/>
                    <a:pt x="77" y="4"/>
                  </a:cubicBezTo>
                  <a:cubicBezTo>
                    <a:pt x="55" y="32"/>
                    <a:pt x="55" y="32"/>
                    <a:pt x="55" y="32"/>
                  </a:cubicBezTo>
                  <a:cubicBezTo>
                    <a:pt x="10" y="32"/>
                    <a:pt x="10" y="32"/>
                    <a:pt x="10" y="32"/>
                  </a:cubicBezTo>
                  <a:cubicBezTo>
                    <a:pt x="4" y="32"/>
                    <a:pt x="0" y="36"/>
                    <a:pt x="0" y="42"/>
                  </a:cubicBezTo>
                  <a:cubicBezTo>
                    <a:pt x="0" y="234"/>
                    <a:pt x="0" y="234"/>
                    <a:pt x="0" y="234"/>
                  </a:cubicBezTo>
                  <a:cubicBezTo>
                    <a:pt x="0" y="240"/>
                    <a:pt x="4" y="245"/>
                    <a:pt x="10" y="245"/>
                  </a:cubicBezTo>
                  <a:cubicBezTo>
                    <a:pt x="309" y="245"/>
                    <a:pt x="309" y="245"/>
                    <a:pt x="309" y="245"/>
                  </a:cubicBezTo>
                  <a:cubicBezTo>
                    <a:pt x="315" y="245"/>
                    <a:pt x="320" y="240"/>
                    <a:pt x="320" y="234"/>
                  </a:cubicBezTo>
                  <a:cubicBezTo>
                    <a:pt x="320" y="42"/>
                    <a:pt x="320" y="42"/>
                    <a:pt x="320" y="42"/>
                  </a:cubicBezTo>
                  <a:cubicBezTo>
                    <a:pt x="320" y="36"/>
                    <a:pt x="315" y="32"/>
                    <a:pt x="309" y="32"/>
                  </a:cubicBezTo>
                  <a:close/>
                  <a:moveTo>
                    <a:pt x="298" y="224"/>
                  </a:moveTo>
                  <a:cubicBezTo>
                    <a:pt x="21" y="224"/>
                    <a:pt x="21" y="224"/>
                    <a:pt x="21" y="224"/>
                  </a:cubicBezTo>
                  <a:cubicBezTo>
                    <a:pt x="21" y="53"/>
                    <a:pt x="21" y="53"/>
                    <a:pt x="21" y="53"/>
                  </a:cubicBezTo>
                  <a:cubicBezTo>
                    <a:pt x="61" y="53"/>
                    <a:pt x="61" y="53"/>
                    <a:pt x="61" y="53"/>
                  </a:cubicBezTo>
                  <a:cubicBezTo>
                    <a:pt x="64" y="53"/>
                    <a:pt x="67" y="51"/>
                    <a:pt x="69" y="49"/>
                  </a:cubicBezTo>
                  <a:cubicBezTo>
                    <a:pt x="90" y="21"/>
                    <a:pt x="90" y="21"/>
                    <a:pt x="90" y="21"/>
                  </a:cubicBezTo>
                  <a:cubicBezTo>
                    <a:pt x="228" y="21"/>
                    <a:pt x="228" y="21"/>
                    <a:pt x="228" y="21"/>
                  </a:cubicBezTo>
                  <a:cubicBezTo>
                    <a:pt x="243" y="48"/>
                    <a:pt x="243" y="48"/>
                    <a:pt x="243" y="48"/>
                  </a:cubicBezTo>
                  <a:cubicBezTo>
                    <a:pt x="245" y="51"/>
                    <a:pt x="249" y="53"/>
                    <a:pt x="253" y="53"/>
                  </a:cubicBezTo>
                  <a:cubicBezTo>
                    <a:pt x="298" y="53"/>
                    <a:pt x="298" y="53"/>
                    <a:pt x="298" y="53"/>
                  </a:cubicBezTo>
                  <a:lnTo>
                    <a:pt x="298" y="224"/>
                  </a:lnTo>
                  <a:close/>
                  <a:moveTo>
                    <a:pt x="160" y="53"/>
                  </a:moveTo>
                  <a:cubicBezTo>
                    <a:pt x="118" y="53"/>
                    <a:pt x="85" y="86"/>
                    <a:pt x="85" y="128"/>
                  </a:cubicBezTo>
                  <a:cubicBezTo>
                    <a:pt x="85" y="169"/>
                    <a:pt x="118" y="202"/>
                    <a:pt x="160" y="202"/>
                  </a:cubicBezTo>
                  <a:cubicBezTo>
                    <a:pt x="201" y="202"/>
                    <a:pt x="234" y="169"/>
                    <a:pt x="234" y="128"/>
                  </a:cubicBezTo>
                  <a:cubicBezTo>
                    <a:pt x="234" y="86"/>
                    <a:pt x="201" y="53"/>
                    <a:pt x="160" y="53"/>
                  </a:cubicBezTo>
                  <a:close/>
                  <a:moveTo>
                    <a:pt x="160" y="181"/>
                  </a:moveTo>
                  <a:cubicBezTo>
                    <a:pt x="130" y="181"/>
                    <a:pt x="106" y="157"/>
                    <a:pt x="106" y="128"/>
                  </a:cubicBezTo>
                  <a:cubicBezTo>
                    <a:pt x="106" y="98"/>
                    <a:pt x="130" y="74"/>
                    <a:pt x="160" y="74"/>
                  </a:cubicBezTo>
                  <a:cubicBezTo>
                    <a:pt x="189" y="74"/>
                    <a:pt x="213" y="98"/>
                    <a:pt x="213" y="128"/>
                  </a:cubicBezTo>
                  <a:cubicBezTo>
                    <a:pt x="213" y="157"/>
                    <a:pt x="189" y="181"/>
                    <a:pt x="160" y="1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0" name="Freeform 819">
              <a:extLst>
                <a:ext uri="{FF2B5EF4-FFF2-40B4-BE49-F238E27FC236}">
                  <a16:creationId xmlns:a16="http://schemas.microsoft.com/office/drawing/2014/main" id="{FA7ABBF8-00BB-4E98-9CAA-3F16B42EBCDB}"/>
                </a:ext>
              </a:extLst>
            </p:cNvPr>
            <p:cNvSpPr>
              <a:spLocks noEditPoints="1"/>
            </p:cNvSpPr>
            <p:nvPr/>
          </p:nvSpPr>
          <p:spPr bwMode="auto">
            <a:xfrm>
              <a:off x="5262" y="37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1" name="Freeform 297">
            <a:extLst>
              <a:ext uri="{FF2B5EF4-FFF2-40B4-BE49-F238E27FC236}">
                <a16:creationId xmlns:a16="http://schemas.microsoft.com/office/drawing/2014/main" id="{323E44E0-7F86-4E61-BD51-294816E5E66D}"/>
              </a:ext>
            </a:extLst>
          </p:cNvPr>
          <p:cNvSpPr>
            <a:spLocks noChangeAspect="1" noEditPoints="1"/>
          </p:cNvSpPr>
          <p:nvPr/>
        </p:nvSpPr>
        <p:spPr bwMode="auto">
          <a:xfrm>
            <a:off x="4820728" y="2526859"/>
            <a:ext cx="367041" cy="367041"/>
          </a:xfrm>
          <a:custGeom>
            <a:avLst/>
            <a:gdLst>
              <a:gd name="T0" fmla="*/ 332 w 512"/>
              <a:gd name="T1" fmla="*/ 117 h 512"/>
              <a:gd name="T2" fmla="*/ 179 w 512"/>
              <a:gd name="T3" fmla="*/ 117 h 512"/>
              <a:gd name="T4" fmla="*/ 160 w 512"/>
              <a:gd name="T5" fmla="*/ 137 h 512"/>
              <a:gd name="T6" fmla="*/ 160 w 512"/>
              <a:gd name="T7" fmla="*/ 375 h 512"/>
              <a:gd name="T8" fmla="*/ 179 w 512"/>
              <a:gd name="T9" fmla="*/ 394 h 512"/>
              <a:gd name="T10" fmla="*/ 332 w 512"/>
              <a:gd name="T11" fmla="*/ 394 h 512"/>
              <a:gd name="T12" fmla="*/ 352 w 512"/>
              <a:gd name="T13" fmla="*/ 375 h 512"/>
              <a:gd name="T14" fmla="*/ 352 w 512"/>
              <a:gd name="T15" fmla="*/ 137 h 512"/>
              <a:gd name="T16" fmla="*/ 332 w 512"/>
              <a:gd name="T17" fmla="*/ 117 h 512"/>
              <a:gd name="T18" fmla="*/ 256 w 512"/>
              <a:gd name="T19" fmla="*/ 138 h 512"/>
              <a:gd name="T20" fmla="*/ 288 w 512"/>
              <a:gd name="T21" fmla="*/ 170 h 512"/>
              <a:gd name="T22" fmla="*/ 256 w 512"/>
              <a:gd name="T23" fmla="*/ 202 h 512"/>
              <a:gd name="T24" fmla="*/ 224 w 512"/>
              <a:gd name="T25" fmla="*/ 170 h 512"/>
              <a:gd name="T26" fmla="*/ 256 w 512"/>
              <a:gd name="T27" fmla="*/ 138 h 512"/>
              <a:gd name="T28" fmla="*/ 256 w 512"/>
              <a:gd name="T29" fmla="*/ 373 h 512"/>
              <a:gd name="T30" fmla="*/ 181 w 512"/>
              <a:gd name="T31" fmla="*/ 298 h 512"/>
              <a:gd name="T32" fmla="*/ 256 w 512"/>
              <a:gd name="T33" fmla="*/ 224 h 512"/>
              <a:gd name="T34" fmla="*/ 330 w 512"/>
              <a:gd name="T35" fmla="*/ 298 h 512"/>
              <a:gd name="T36" fmla="*/ 256 w 512"/>
              <a:gd name="T37" fmla="*/ 373 h 512"/>
              <a:gd name="T38" fmla="*/ 256 w 512"/>
              <a:gd name="T39" fmla="*/ 245 h 512"/>
              <a:gd name="T40" fmla="*/ 202 w 512"/>
              <a:gd name="T41" fmla="*/ 298 h 512"/>
              <a:gd name="T42" fmla="*/ 256 w 512"/>
              <a:gd name="T43" fmla="*/ 352 h 512"/>
              <a:gd name="T44" fmla="*/ 309 w 512"/>
              <a:gd name="T45" fmla="*/ 298 h 512"/>
              <a:gd name="T46" fmla="*/ 256 w 512"/>
              <a:gd name="T47" fmla="*/ 245 h 512"/>
              <a:gd name="T48" fmla="*/ 256 w 512"/>
              <a:gd name="T49" fmla="*/ 309 h 512"/>
              <a:gd name="T50" fmla="*/ 245 w 512"/>
              <a:gd name="T51" fmla="*/ 298 h 512"/>
              <a:gd name="T52" fmla="*/ 256 w 512"/>
              <a:gd name="T53" fmla="*/ 288 h 512"/>
              <a:gd name="T54" fmla="*/ 256 w 512"/>
              <a:gd name="T55" fmla="*/ 288 h 512"/>
              <a:gd name="T56" fmla="*/ 267 w 512"/>
              <a:gd name="T57" fmla="*/ 298 h 512"/>
              <a:gd name="T58" fmla="*/ 256 w 512"/>
              <a:gd name="T59" fmla="*/ 309 h 512"/>
              <a:gd name="T60" fmla="*/ 245 w 512"/>
              <a:gd name="T61" fmla="*/ 170 h 512"/>
              <a:gd name="T62" fmla="*/ 256 w 512"/>
              <a:gd name="T63" fmla="*/ 160 h 512"/>
              <a:gd name="T64" fmla="*/ 266 w 512"/>
              <a:gd name="T65" fmla="*/ 170 h 512"/>
              <a:gd name="T66" fmla="*/ 256 w 512"/>
              <a:gd name="T67" fmla="*/ 181 h 512"/>
              <a:gd name="T68" fmla="*/ 245 w 512"/>
              <a:gd name="T69" fmla="*/ 170 h 512"/>
              <a:gd name="T70" fmla="*/ 256 w 512"/>
              <a:gd name="T71" fmla="*/ 0 h 512"/>
              <a:gd name="T72" fmla="*/ 0 w 512"/>
              <a:gd name="T73" fmla="*/ 256 h 512"/>
              <a:gd name="T74" fmla="*/ 256 w 512"/>
              <a:gd name="T75" fmla="*/ 512 h 512"/>
              <a:gd name="T76" fmla="*/ 512 w 512"/>
              <a:gd name="T77" fmla="*/ 256 h 512"/>
              <a:gd name="T78" fmla="*/ 256 w 512"/>
              <a:gd name="T79" fmla="*/ 0 h 512"/>
              <a:gd name="T80" fmla="*/ 373 w 512"/>
              <a:gd name="T81" fmla="*/ 375 h 512"/>
              <a:gd name="T82" fmla="*/ 332 w 512"/>
              <a:gd name="T83" fmla="*/ 416 h 512"/>
              <a:gd name="T84" fmla="*/ 179 w 512"/>
              <a:gd name="T85" fmla="*/ 416 h 512"/>
              <a:gd name="T86" fmla="*/ 138 w 512"/>
              <a:gd name="T87" fmla="*/ 375 h 512"/>
              <a:gd name="T88" fmla="*/ 138 w 512"/>
              <a:gd name="T89" fmla="*/ 137 h 512"/>
              <a:gd name="T90" fmla="*/ 179 w 512"/>
              <a:gd name="T91" fmla="*/ 96 h 512"/>
              <a:gd name="T92" fmla="*/ 332 w 512"/>
              <a:gd name="T93" fmla="*/ 96 h 512"/>
              <a:gd name="T94" fmla="*/ 373 w 512"/>
              <a:gd name="T95" fmla="*/ 137 h 512"/>
              <a:gd name="T96" fmla="*/ 373 w 512"/>
              <a:gd name="T97" fmla="*/ 3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32" y="117"/>
                </a:moveTo>
                <a:cubicBezTo>
                  <a:pt x="179" y="117"/>
                  <a:pt x="179" y="117"/>
                  <a:pt x="179" y="117"/>
                </a:cubicBezTo>
                <a:cubicBezTo>
                  <a:pt x="168" y="117"/>
                  <a:pt x="160" y="126"/>
                  <a:pt x="160" y="137"/>
                </a:cubicBezTo>
                <a:cubicBezTo>
                  <a:pt x="160" y="375"/>
                  <a:pt x="160" y="375"/>
                  <a:pt x="160" y="375"/>
                </a:cubicBezTo>
                <a:cubicBezTo>
                  <a:pt x="160" y="386"/>
                  <a:pt x="168" y="394"/>
                  <a:pt x="179" y="394"/>
                </a:cubicBezTo>
                <a:cubicBezTo>
                  <a:pt x="332" y="394"/>
                  <a:pt x="332" y="394"/>
                  <a:pt x="332" y="394"/>
                </a:cubicBezTo>
                <a:cubicBezTo>
                  <a:pt x="343" y="394"/>
                  <a:pt x="352" y="386"/>
                  <a:pt x="352" y="375"/>
                </a:cubicBezTo>
                <a:cubicBezTo>
                  <a:pt x="352" y="137"/>
                  <a:pt x="352" y="137"/>
                  <a:pt x="352" y="137"/>
                </a:cubicBezTo>
                <a:cubicBezTo>
                  <a:pt x="352" y="126"/>
                  <a:pt x="343" y="117"/>
                  <a:pt x="332" y="117"/>
                </a:cubicBezTo>
                <a:close/>
                <a:moveTo>
                  <a:pt x="256" y="138"/>
                </a:moveTo>
                <a:cubicBezTo>
                  <a:pt x="273" y="138"/>
                  <a:pt x="288" y="153"/>
                  <a:pt x="288" y="170"/>
                </a:cubicBezTo>
                <a:cubicBezTo>
                  <a:pt x="288" y="188"/>
                  <a:pt x="273" y="202"/>
                  <a:pt x="256" y="202"/>
                </a:cubicBezTo>
                <a:cubicBezTo>
                  <a:pt x="238" y="202"/>
                  <a:pt x="224" y="188"/>
                  <a:pt x="224" y="170"/>
                </a:cubicBezTo>
                <a:cubicBezTo>
                  <a:pt x="224" y="153"/>
                  <a:pt x="238" y="138"/>
                  <a:pt x="256" y="138"/>
                </a:cubicBezTo>
                <a:close/>
                <a:moveTo>
                  <a:pt x="256" y="373"/>
                </a:moveTo>
                <a:cubicBezTo>
                  <a:pt x="214" y="373"/>
                  <a:pt x="181" y="340"/>
                  <a:pt x="181" y="298"/>
                </a:cubicBezTo>
                <a:cubicBezTo>
                  <a:pt x="181" y="257"/>
                  <a:pt x="214" y="224"/>
                  <a:pt x="256" y="224"/>
                </a:cubicBezTo>
                <a:cubicBezTo>
                  <a:pt x="297" y="224"/>
                  <a:pt x="330" y="257"/>
                  <a:pt x="330" y="298"/>
                </a:cubicBezTo>
                <a:cubicBezTo>
                  <a:pt x="330" y="340"/>
                  <a:pt x="297" y="373"/>
                  <a:pt x="256" y="373"/>
                </a:cubicBezTo>
                <a:close/>
                <a:moveTo>
                  <a:pt x="256" y="245"/>
                </a:moveTo>
                <a:cubicBezTo>
                  <a:pt x="226" y="245"/>
                  <a:pt x="202" y="269"/>
                  <a:pt x="202" y="298"/>
                </a:cubicBezTo>
                <a:cubicBezTo>
                  <a:pt x="202" y="328"/>
                  <a:pt x="226" y="352"/>
                  <a:pt x="256" y="352"/>
                </a:cubicBezTo>
                <a:cubicBezTo>
                  <a:pt x="285" y="352"/>
                  <a:pt x="309" y="328"/>
                  <a:pt x="309" y="298"/>
                </a:cubicBezTo>
                <a:cubicBezTo>
                  <a:pt x="309" y="269"/>
                  <a:pt x="285" y="245"/>
                  <a:pt x="256" y="245"/>
                </a:cubicBezTo>
                <a:close/>
                <a:moveTo>
                  <a:pt x="256" y="309"/>
                </a:moveTo>
                <a:cubicBezTo>
                  <a:pt x="250" y="309"/>
                  <a:pt x="245" y="304"/>
                  <a:pt x="245" y="298"/>
                </a:cubicBezTo>
                <a:cubicBezTo>
                  <a:pt x="245" y="292"/>
                  <a:pt x="250" y="288"/>
                  <a:pt x="256" y="288"/>
                </a:cubicBezTo>
                <a:cubicBezTo>
                  <a:pt x="256" y="288"/>
                  <a:pt x="256" y="288"/>
                  <a:pt x="256" y="288"/>
                </a:cubicBezTo>
                <a:cubicBezTo>
                  <a:pt x="262" y="288"/>
                  <a:pt x="267" y="292"/>
                  <a:pt x="267" y="298"/>
                </a:cubicBezTo>
                <a:cubicBezTo>
                  <a:pt x="267" y="304"/>
                  <a:pt x="262" y="309"/>
                  <a:pt x="256" y="309"/>
                </a:cubicBezTo>
                <a:close/>
                <a:moveTo>
                  <a:pt x="245" y="170"/>
                </a:moveTo>
                <a:cubicBezTo>
                  <a:pt x="245" y="164"/>
                  <a:pt x="250" y="160"/>
                  <a:pt x="256" y="160"/>
                </a:cubicBezTo>
                <a:cubicBezTo>
                  <a:pt x="262" y="160"/>
                  <a:pt x="266" y="164"/>
                  <a:pt x="266" y="170"/>
                </a:cubicBezTo>
                <a:cubicBezTo>
                  <a:pt x="266" y="176"/>
                  <a:pt x="262" y="181"/>
                  <a:pt x="256" y="181"/>
                </a:cubicBezTo>
                <a:cubicBezTo>
                  <a:pt x="250" y="181"/>
                  <a:pt x="245" y="176"/>
                  <a:pt x="245" y="17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375"/>
                </a:moveTo>
                <a:cubicBezTo>
                  <a:pt x="373" y="397"/>
                  <a:pt x="355" y="416"/>
                  <a:pt x="332" y="416"/>
                </a:cubicBezTo>
                <a:cubicBezTo>
                  <a:pt x="179" y="416"/>
                  <a:pt x="179" y="416"/>
                  <a:pt x="179" y="416"/>
                </a:cubicBezTo>
                <a:cubicBezTo>
                  <a:pt x="157" y="416"/>
                  <a:pt x="138" y="397"/>
                  <a:pt x="138" y="375"/>
                </a:cubicBezTo>
                <a:cubicBezTo>
                  <a:pt x="138" y="137"/>
                  <a:pt x="138" y="137"/>
                  <a:pt x="138" y="137"/>
                </a:cubicBezTo>
                <a:cubicBezTo>
                  <a:pt x="138" y="114"/>
                  <a:pt x="157" y="96"/>
                  <a:pt x="179" y="96"/>
                </a:cubicBezTo>
                <a:cubicBezTo>
                  <a:pt x="332" y="96"/>
                  <a:pt x="332" y="96"/>
                  <a:pt x="332" y="96"/>
                </a:cubicBezTo>
                <a:cubicBezTo>
                  <a:pt x="355" y="96"/>
                  <a:pt x="373" y="114"/>
                  <a:pt x="373" y="137"/>
                </a:cubicBezTo>
                <a:lnTo>
                  <a:pt x="373" y="37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2" name="Freeform 301">
            <a:extLst>
              <a:ext uri="{FF2B5EF4-FFF2-40B4-BE49-F238E27FC236}">
                <a16:creationId xmlns:a16="http://schemas.microsoft.com/office/drawing/2014/main" id="{EF37B8E5-02DC-4B43-A19F-7B2914EABC74}"/>
              </a:ext>
            </a:extLst>
          </p:cNvPr>
          <p:cNvSpPr>
            <a:spLocks noChangeAspect="1" noEditPoints="1"/>
          </p:cNvSpPr>
          <p:nvPr/>
        </p:nvSpPr>
        <p:spPr bwMode="auto">
          <a:xfrm>
            <a:off x="5254776" y="2526859"/>
            <a:ext cx="367041"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32 w 512"/>
              <a:gd name="T21" fmla="*/ 416 h 512"/>
              <a:gd name="T22" fmla="*/ 179 w 512"/>
              <a:gd name="T23" fmla="*/ 416 h 512"/>
              <a:gd name="T24" fmla="*/ 138 w 512"/>
              <a:gd name="T25" fmla="*/ 375 h 512"/>
              <a:gd name="T26" fmla="*/ 138 w 512"/>
              <a:gd name="T27" fmla="*/ 137 h 512"/>
              <a:gd name="T28" fmla="*/ 179 w 512"/>
              <a:gd name="T29" fmla="*/ 96 h 512"/>
              <a:gd name="T30" fmla="*/ 332 w 512"/>
              <a:gd name="T31" fmla="*/ 96 h 512"/>
              <a:gd name="T32" fmla="*/ 373 w 512"/>
              <a:gd name="T33" fmla="*/ 137 h 512"/>
              <a:gd name="T34" fmla="*/ 373 w 512"/>
              <a:gd name="T35" fmla="*/ 375 h 512"/>
              <a:gd name="T36" fmla="*/ 332 w 512"/>
              <a:gd name="T37" fmla="*/ 416 h 512"/>
              <a:gd name="T38" fmla="*/ 179 w 512"/>
              <a:gd name="T39" fmla="*/ 117 h 512"/>
              <a:gd name="T40" fmla="*/ 160 w 512"/>
              <a:gd name="T41" fmla="*/ 137 h 512"/>
              <a:gd name="T42" fmla="*/ 160 w 512"/>
              <a:gd name="T43" fmla="*/ 375 h 512"/>
              <a:gd name="T44" fmla="*/ 179 w 512"/>
              <a:gd name="T45" fmla="*/ 394 h 512"/>
              <a:gd name="T46" fmla="*/ 332 w 512"/>
              <a:gd name="T47" fmla="*/ 394 h 512"/>
              <a:gd name="T48" fmla="*/ 352 w 512"/>
              <a:gd name="T49" fmla="*/ 375 h 512"/>
              <a:gd name="T50" fmla="*/ 352 w 512"/>
              <a:gd name="T51" fmla="*/ 137 h 512"/>
              <a:gd name="T52" fmla="*/ 332 w 512"/>
              <a:gd name="T53" fmla="*/ 117 h 512"/>
              <a:gd name="T54" fmla="*/ 179 w 512"/>
              <a:gd name="T55" fmla="*/ 117 h 512"/>
              <a:gd name="T56" fmla="*/ 256 w 512"/>
              <a:gd name="T57" fmla="*/ 373 h 512"/>
              <a:gd name="T58" fmla="*/ 181 w 512"/>
              <a:gd name="T59" fmla="*/ 298 h 512"/>
              <a:gd name="T60" fmla="*/ 256 w 512"/>
              <a:gd name="T61" fmla="*/ 224 h 512"/>
              <a:gd name="T62" fmla="*/ 330 w 512"/>
              <a:gd name="T63" fmla="*/ 298 h 512"/>
              <a:gd name="T64" fmla="*/ 256 w 512"/>
              <a:gd name="T65" fmla="*/ 373 h 512"/>
              <a:gd name="T66" fmla="*/ 256 w 512"/>
              <a:gd name="T67" fmla="*/ 245 h 512"/>
              <a:gd name="T68" fmla="*/ 202 w 512"/>
              <a:gd name="T69" fmla="*/ 298 h 512"/>
              <a:gd name="T70" fmla="*/ 256 w 512"/>
              <a:gd name="T71" fmla="*/ 352 h 512"/>
              <a:gd name="T72" fmla="*/ 309 w 512"/>
              <a:gd name="T73" fmla="*/ 298 h 512"/>
              <a:gd name="T74" fmla="*/ 256 w 512"/>
              <a:gd name="T75" fmla="*/ 245 h 512"/>
              <a:gd name="T76" fmla="*/ 256 w 512"/>
              <a:gd name="T77" fmla="*/ 202 h 512"/>
              <a:gd name="T78" fmla="*/ 224 w 512"/>
              <a:gd name="T79" fmla="*/ 170 h 512"/>
              <a:gd name="T80" fmla="*/ 256 w 512"/>
              <a:gd name="T81" fmla="*/ 138 h 512"/>
              <a:gd name="T82" fmla="*/ 288 w 512"/>
              <a:gd name="T83" fmla="*/ 170 h 512"/>
              <a:gd name="T84" fmla="*/ 256 w 512"/>
              <a:gd name="T85" fmla="*/ 202 h 512"/>
              <a:gd name="T86" fmla="*/ 256 w 512"/>
              <a:gd name="T87" fmla="*/ 160 h 512"/>
              <a:gd name="T88" fmla="*/ 245 w 512"/>
              <a:gd name="T89" fmla="*/ 170 h 512"/>
              <a:gd name="T90" fmla="*/ 256 w 512"/>
              <a:gd name="T91" fmla="*/ 181 h 512"/>
              <a:gd name="T92" fmla="*/ 266 w 512"/>
              <a:gd name="T93" fmla="*/ 170 h 512"/>
              <a:gd name="T94" fmla="*/ 256 w 512"/>
              <a:gd name="T95" fmla="*/ 160 h 512"/>
              <a:gd name="T96" fmla="*/ 267 w 512"/>
              <a:gd name="T97" fmla="*/ 298 h 512"/>
              <a:gd name="T98" fmla="*/ 256 w 512"/>
              <a:gd name="T99" fmla="*/ 288 h 512"/>
              <a:gd name="T100" fmla="*/ 256 w 512"/>
              <a:gd name="T101" fmla="*/ 288 h 512"/>
              <a:gd name="T102" fmla="*/ 245 w 512"/>
              <a:gd name="T103" fmla="*/ 298 h 512"/>
              <a:gd name="T104" fmla="*/ 256 w 512"/>
              <a:gd name="T105" fmla="*/ 309 h 512"/>
              <a:gd name="T106" fmla="*/ 267 w 512"/>
              <a:gd name="T10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2" y="416"/>
                </a:moveTo>
                <a:cubicBezTo>
                  <a:pt x="179" y="416"/>
                  <a:pt x="179" y="416"/>
                  <a:pt x="179" y="416"/>
                </a:cubicBezTo>
                <a:cubicBezTo>
                  <a:pt x="157" y="416"/>
                  <a:pt x="138" y="397"/>
                  <a:pt x="138" y="375"/>
                </a:cubicBezTo>
                <a:cubicBezTo>
                  <a:pt x="138" y="137"/>
                  <a:pt x="138" y="137"/>
                  <a:pt x="138" y="137"/>
                </a:cubicBezTo>
                <a:cubicBezTo>
                  <a:pt x="138" y="114"/>
                  <a:pt x="157" y="96"/>
                  <a:pt x="179" y="96"/>
                </a:cubicBezTo>
                <a:cubicBezTo>
                  <a:pt x="332" y="96"/>
                  <a:pt x="332" y="96"/>
                  <a:pt x="332" y="96"/>
                </a:cubicBezTo>
                <a:cubicBezTo>
                  <a:pt x="355" y="96"/>
                  <a:pt x="373" y="114"/>
                  <a:pt x="373" y="137"/>
                </a:cubicBezTo>
                <a:cubicBezTo>
                  <a:pt x="373" y="375"/>
                  <a:pt x="373" y="375"/>
                  <a:pt x="373" y="375"/>
                </a:cubicBezTo>
                <a:cubicBezTo>
                  <a:pt x="373" y="397"/>
                  <a:pt x="355" y="416"/>
                  <a:pt x="332" y="416"/>
                </a:cubicBezTo>
                <a:close/>
                <a:moveTo>
                  <a:pt x="179" y="117"/>
                </a:moveTo>
                <a:cubicBezTo>
                  <a:pt x="168" y="117"/>
                  <a:pt x="160" y="126"/>
                  <a:pt x="160" y="137"/>
                </a:cubicBezTo>
                <a:cubicBezTo>
                  <a:pt x="160" y="375"/>
                  <a:pt x="160" y="375"/>
                  <a:pt x="160" y="375"/>
                </a:cubicBezTo>
                <a:cubicBezTo>
                  <a:pt x="160" y="386"/>
                  <a:pt x="168" y="394"/>
                  <a:pt x="179" y="394"/>
                </a:cubicBezTo>
                <a:cubicBezTo>
                  <a:pt x="332" y="394"/>
                  <a:pt x="332" y="394"/>
                  <a:pt x="332" y="394"/>
                </a:cubicBezTo>
                <a:cubicBezTo>
                  <a:pt x="343" y="394"/>
                  <a:pt x="352" y="386"/>
                  <a:pt x="352" y="375"/>
                </a:cubicBezTo>
                <a:cubicBezTo>
                  <a:pt x="352" y="137"/>
                  <a:pt x="352" y="137"/>
                  <a:pt x="352" y="137"/>
                </a:cubicBezTo>
                <a:cubicBezTo>
                  <a:pt x="352" y="126"/>
                  <a:pt x="343" y="117"/>
                  <a:pt x="332" y="117"/>
                </a:cubicBezTo>
                <a:lnTo>
                  <a:pt x="179" y="117"/>
                </a:lnTo>
                <a:close/>
                <a:moveTo>
                  <a:pt x="256" y="373"/>
                </a:moveTo>
                <a:cubicBezTo>
                  <a:pt x="214" y="373"/>
                  <a:pt x="181" y="340"/>
                  <a:pt x="181" y="298"/>
                </a:cubicBezTo>
                <a:cubicBezTo>
                  <a:pt x="181" y="257"/>
                  <a:pt x="214" y="224"/>
                  <a:pt x="256" y="224"/>
                </a:cubicBezTo>
                <a:cubicBezTo>
                  <a:pt x="297" y="224"/>
                  <a:pt x="330" y="257"/>
                  <a:pt x="330" y="298"/>
                </a:cubicBezTo>
                <a:cubicBezTo>
                  <a:pt x="330" y="340"/>
                  <a:pt x="297" y="373"/>
                  <a:pt x="256" y="373"/>
                </a:cubicBezTo>
                <a:close/>
                <a:moveTo>
                  <a:pt x="256" y="245"/>
                </a:moveTo>
                <a:cubicBezTo>
                  <a:pt x="226" y="245"/>
                  <a:pt x="202" y="269"/>
                  <a:pt x="202" y="298"/>
                </a:cubicBezTo>
                <a:cubicBezTo>
                  <a:pt x="202" y="328"/>
                  <a:pt x="226" y="352"/>
                  <a:pt x="256" y="352"/>
                </a:cubicBezTo>
                <a:cubicBezTo>
                  <a:pt x="285" y="352"/>
                  <a:pt x="309" y="328"/>
                  <a:pt x="309" y="298"/>
                </a:cubicBezTo>
                <a:cubicBezTo>
                  <a:pt x="309" y="269"/>
                  <a:pt x="285" y="245"/>
                  <a:pt x="256" y="245"/>
                </a:cubicBezTo>
                <a:close/>
                <a:moveTo>
                  <a:pt x="256" y="202"/>
                </a:moveTo>
                <a:cubicBezTo>
                  <a:pt x="238" y="202"/>
                  <a:pt x="224" y="188"/>
                  <a:pt x="224" y="170"/>
                </a:cubicBezTo>
                <a:cubicBezTo>
                  <a:pt x="224" y="153"/>
                  <a:pt x="238" y="138"/>
                  <a:pt x="256" y="138"/>
                </a:cubicBezTo>
                <a:cubicBezTo>
                  <a:pt x="273" y="138"/>
                  <a:pt x="288" y="153"/>
                  <a:pt x="288" y="170"/>
                </a:cubicBezTo>
                <a:cubicBezTo>
                  <a:pt x="288" y="188"/>
                  <a:pt x="273" y="202"/>
                  <a:pt x="256" y="202"/>
                </a:cubicBezTo>
                <a:close/>
                <a:moveTo>
                  <a:pt x="256" y="160"/>
                </a:moveTo>
                <a:cubicBezTo>
                  <a:pt x="250" y="160"/>
                  <a:pt x="245" y="164"/>
                  <a:pt x="245" y="170"/>
                </a:cubicBezTo>
                <a:cubicBezTo>
                  <a:pt x="245" y="176"/>
                  <a:pt x="250" y="181"/>
                  <a:pt x="256" y="181"/>
                </a:cubicBezTo>
                <a:cubicBezTo>
                  <a:pt x="262" y="181"/>
                  <a:pt x="266" y="176"/>
                  <a:pt x="266" y="170"/>
                </a:cubicBezTo>
                <a:cubicBezTo>
                  <a:pt x="266" y="164"/>
                  <a:pt x="262" y="160"/>
                  <a:pt x="256" y="160"/>
                </a:cubicBezTo>
                <a:close/>
                <a:moveTo>
                  <a:pt x="267" y="298"/>
                </a:moveTo>
                <a:cubicBezTo>
                  <a:pt x="267" y="292"/>
                  <a:pt x="262" y="288"/>
                  <a:pt x="256" y="288"/>
                </a:cubicBezTo>
                <a:cubicBezTo>
                  <a:pt x="256" y="288"/>
                  <a:pt x="256" y="288"/>
                  <a:pt x="256" y="288"/>
                </a:cubicBezTo>
                <a:cubicBezTo>
                  <a:pt x="250" y="288"/>
                  <a:pt x="245" y="292"/>
                  <a:pt x="245" y="298"/>
                </a:cubicBezTo>
                <a:cubicBezTo>
                  <a:pt x="245" y="304"/>
                  <a:pt x="250" y="309"/>
                  <a:pt x="256" y="309"/>
                </a:cubicBezTo>
                <a:cubicBezTo>
                  <a:pt x="262" y="309"/>
                  <a:pt x="267" y="304"/>
                  <a:pt x="267" y="29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3" name="Freeform 214">
            <a:extLst>
              <a:ext uri="{FF2B5EF4-FFF2-40B4-BE49-F238E27FC236}">
                <a16:creationId xmlns:a16="http://schemas.microsoft.com/office/drawing/2014/main" id="{AA6CFA7C-2C0E-45E5-9B88-BB4A98AD962A}"/>
              </a:ext>
            </a:extLst>
          </p:cNvPr>
          <p:cNvSpPr>
            <a:spLocks noChangeAspect="1" noEditPoints="1"/>
          </p:cNvSpPr>
          <p:nvPr/>
        </p:nvSpPr>
        <p:spPr bwMode="auto">
          <a:xfrm>
            <a:off x="5688824" y="2526859"/>
            <a:ext cx="367631" cy="367631"/>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4" name="Group 217">
            <a:extLst>
              <a:ext uri="{FF2B5EF4-FFF2-40B4-BE49-F238E27FC236}">
                <a16:creationId xmlns:a16="http://schemas.microsoft.com/office/drawing/2014/main" id="{5BF450C3-8703-4C83-B864-CF50147E81E6}"/>
              </a:ext>
            </a:extLst>
          </p:cNvPr>
          <p:cNvGrpSpPr>
            <a:grpSpLocks noChangeAspect="1"/>
          </p:cNvGrpSpPr>
          <p:nvPr/>
        </p:nvGrpSpPr>
        <p:grpSpPr bwMode="auto">
          <a:xfrm>
            <a:off x="6123462" y="2526859"/>
            <a:ext cx="367631" cy="367631"/>
            <a:chOff x="1900" y="709"/>
            <a:chExt cx="340" cy="340"/>
          </a:xfrm>
          <a:solidFill>
            <a:schemeClr val="accent3"/>
          </a:solidFill>
        </p:grpSpPr>
        <p:sp>
          <p:nvSpPr>
            <p:cNvPr id="615" name="Freeform 218">
              <a:extLst>
                <a:ext uri="{FF2B5EF4-FFF2-40B4-BE49-F238E27FC236}">
                  <a16:creationId xmlns:a16="http://schemas.microsoft.com/office/drawing/2014/main" id="{C802C904-CBAF-4D81-B470-E4CD0FF42FB6}"/>
                </a:ext>
              </a:extLst>
            </p:cNvPr>
            <p:cNvSpPr>
              <a:spLocks noEditPoints="1"/>
            </p:cNvSpPr>
            <p:nvPr/>
          </p:nvSpPr>
          <p:spPr bwMode="auto">
            <a:xfrm>
              <a:off x="1900" y="7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6" name="Freeform 219">
              <a:extLst>
                <a:ext uri="{FF2B5EF4-FFF2-40B4-BE49-F238E27FC236}">
                  <a16:creationId xmlns:a16="http://schemas.microsoft.com/office/drawing/2014/main" id="{62DA824C-9B58-43E0-8AAF-BCD330224B68}"/>
                </a:ext>
              </a:extLst>
            </p:cNvPr>
            <p:cNvSpPr>
              <a:spLocks noEditPoints="1"/>
            </p:cNvSpPr>
            <p:nvPr/>
          </p:nvSpPr>
          <p:spPr bwMode="auto">
            <a:xfrm>
              <a:off x="1992" y="779"/>
              <a:ext cx="170" cy="192"/>
            </a:xfrm>
            <a:custGeom>
              <a:avLst/>
              <a:gdLst>
                <a:gd name="T0" fmla="*/ 246 w 256"/>
                <a:gd name="T1" fmla="*/ 118 h 288"/>
                <a:gd name="T2" fmla="*/ 214 w 256"/>
                <a:gd name="T3" fmla="*/ 118 h 288"/>
                <a:gd name="T4" fmla="*/ 214 w 256"/>
                <a:gd name="T5" fmla="*/ 11 h 288"/>
                <a:gd name="T6" fmla="*/ 203 w 256"/>
                <a:gd name="T7" fmla="*/ 0 h 288"/>
                <a:gd name="T8" fmla="*/ 11 w 256"/>
                <a:gd name="T9" fmla="*/ 0 h 288"/>
                <a:gd name="T10" fmla="*/ 0 w 256"/>
                <a:gd name="T11" fmla="*/ 11 h 288"/>
                <a:gd name="T12" fmla="*/ 0 w 256"/>
                <a:gd name="T13" fmla="*/ 256 h 288"/>
                <a:gd name="T14" fmla="*/ 11 w 256"/>
                <a:gd name="T15" fmla="*/ 267 h 288"/>
                <a:gd name="T16" fmla="*/ 160 w 256"/>
                <a:gd name="T17" fmla="*/ 267 h 288"/>
                <a:gd name="T18" fmla="*/ 160 w 256"/>
                <a:gd name="T19" fmla="*/ 278 h 288"/>
                <a:gd name="T20" fmla="*/ 171 w 256"/>
                <a:gd name="T21" fmla="*/ 288 h 288"/>
                <a:gd name="T22" fmla="*/ 246 w 256"/>
                <a:gd name="T23" fmla="*/ 288 h 288"/>
                <a:gd name="T24" fmla="*/ 256 w 256"/>
                <a:gd name="T25" fmla="*/ 278 h 288"/>
                <a:gd name="T26" fmla="*/ 256 w 256"/>
                <a:gd name="T27" fmla="*/ 128 h 288"/>
                <a:gd name="T28" fmla="*/ 246 w 256"/>
                <a:gd name="T29" fmla="*/ 118 h 288"/>
                <a:gd name="T30" fmla="*/ 160 w 256"/>
                <a:gd name="T31" fmla="*/ 128 h 288"/>
                <a:gd name="T32" fmla="*/ 160 w 256"/>
                <a:gd name="T33" fmla="*/ 246 h 288"/>
                <a:gd name="T34" fmla="*/ 22 w 256"/>
                <a:gd name="T35" fmla="*/ 246 h 288"/>
                <a:gd name="T36" fmla="*/ 22 w 256"/>
                <a:gd name="T37" fmla="*/ 22 h 288"/>
                <a:gd name="T38" fmla="*/ 192 w 256"/>
                <a:gd name="T39" fmla="*/ 22 h 288"/>
                <a:gd name="T40" fmla="*/ 192 w 256"/>
                <a:gd name="T41" fmla="*/ 118 h 288"/>
                <a:gd name="T42" fmla="*/ 171 w 256"/>
                <a:gd name="T43" fmla="*/ 118 h 288"/>
                <a:gd name="T44" fmla="*/ 160 w 256"/>
                <a:gd name="T45" fmla="*/ 128 h 288"/>
                <a:gd name="T46" fmla="*/ 235 w 256"/>
                <a:gd name="T47" fmla="*/ 267 h 288"/>
                <a:gd name="T48" fmla="*/ 182 w 256"/>
                <a:gd name="T49" fmla="*/ 267 h 288"/>
                <a:gd name="T50" fmla="*/ 182 w 256"/>
                <a:gd name="T51" fmla="*/ 139 h 288"/>
                <a:gd name="T52" fmla="*/ 235 w 256"/>
                <a:gd name="T53" fmla="*/ 139 h 288"/>
                <a:gd name="T54" fmla="*/ 235 w 256"/>
                <a:gd name="T55" fmla="*/ 267 h 288"/>
                <a:gd name="T56" fmla="*/ 118 w 256"/>
                <a:gd name="T57" fmla="*/ 214 h 288"/>
                <a:gd name="T58" fmla="*/ 107 w 256"/>
                <a:gd name="T59" fmla="*/ 224 h 288"/>
                <a:gd name="T60" fmla="*/ 96 w 256"/>
                <a:gd name="T61" fmla="*/ 214 h 288"/>
                <a:gd name="T62" fmla="*/ 107 w 256"/>
                <a:gd name="T63" fmla="*/ 203 h 288"/>
                <a:gd name="T64" fmla="*/ 118 w 256"/>
                <a:gd name="T65" fmla="*/ 21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6" h="288">
                  <a:moveTo>
                    <a:pt x="246" y="118"/>
                  </a:moveTo>
                  <a:cubicBezTo>
                    <a:pt x="214" y="118"/>
                    <a:pt x="214" y="118"/>
                    <a:pt x="214" y="118"/>
                  </a:cubicBezTo>
                  <a:cubicBezTo>
                    <a:pt x="214" y="11"/>
                    <a:pt x="214" y="11"/>
                    <a:pt x="214" y="11"/>
                  </a:cubicBezTo>
                  <a:cubicBezTo>
                    <a:pt x="214" y="5"/>
                    <a:pt x="209" y="0"/>
                    <a:pt x="203" y="0"/>
                  </a:cubicBezTo>
                  <a:cubicBezTo>
                    <a:pt x="11" y="0"/>
                    <a:pt x="11" y="0"/>
                    <a:pt x="11" y="0"/>
                  </a:cubicBezTo>
                  <a:cubicBezTo>
                    <a:pt x="5" y="0"/>
                    <a:pt x="0" y="5"/>
                    <a:pt x="0" y="11"/>
                  </a:cubicBezTo>
                  <a:cubicBezTo>
                    <a:pt x="0" y="256"/>
                    <a:pt x="0" y="256"/>
                    <a:pt x="0" y="256"/>
                  </a:cubicBezTo>
                  <a:cubicBezTo>
                    <a:pt x="0" y="262"/>
                    <a:pt x="5" y="267"/>
                    <a:pt x="11" y="267"/>
                  </a:cubicBezTo>
                  <a:cubicBezTo>
                    <a:pt x="160" y="267"/>
                    <a:pt x="160" y="267"/>
                    <a:pt x="160" y="267"/>
                  </a:cubicBezTo>
                  <a:cubicBezTo>
                    <a:pt x="160" y="278"/>
                    <a:pt x="160" y="278"/>
                    <a:pt x="160" y="278"/>
                  </a:cubicBezTo>
                  <a:cubicBezTo>
                    <a:pt x="160" y="284"/>
                    <a:pt x="165" y="288"/>
                    <a:pt x="171" y="288"/>
                  </a:cubicBezTo>
                  <a:cubicBezTo>
                    <a:pt x="246" y="288"/>
                    <a:pt x="246" y="288"/>
                    <a:pt x="246" y="288"/>
                  </a:cubicBezTo>
                  <a:cubicBezTo>
                    <a:pt x="252" y="288"/>
                    <a:pt x="256" y="284"/>
                    <a:pt x="256" y="278"/>
                  </a:cubicBezTo>
                  <a:cubicBezTo>
                    <a:pt x="256" y="128"/>
                    <a:pt x="256" y="128"/>
                    <a:pt x="256" y="128"/>
                  </a:cubicBezTo>
                  <a:cubicBezTo>
                    <a:pt x="256" y="122"/>
                    <a:pt x="252" y="118"/>
                    <a:pt x="246" y="118"/>
                  </a:cubicBezTo>
                  <a:close/>
                  <a:moveTo>
                    <a:pt x="160" y="128"/>
                  </a:moveTo>
                  <a:cubicBezTo>
                    <a:pt x="160" y="246"/>
                    <a:pt x="160" y="246"/>
                    <a:pt x="160" y="246"/>
                  </a:cubicBezTo>
                  <a:cubicBezTo>
                    <a:pt x="22" y="246"/>
                    <a:pt x="22" y="246"/>
                    <a:pt x="22" y="246"/>
                  </a:cubicBezTo>
                  <a:cubicBezTo>
                    <a:pt x="22" y="22"/>
                    <a:pt x="22" y="22"/>
                    <a:pt x="22" y="22"/>
                  </a:cubicBezTo>
                  <a:cubicBezTo>
                    <a:pt x="192" y="22"/>
                    <a:pt x="192" y="22"/>
                    <a:pt x="192" y="22"/>
                  </a:cubicBezTo>
                  <a:cubicBezTo>
                    <a:pt x="192" y="118"/>
                    <a:pt x="192" y="118"/>
                    <a:pt x="192" y="118"/>
                  </a:cubicBezTo>
                  <a:cubicBezTo>
                    <a:pt x="171" y="118"/>
                    <a:pt x="171" y="118"/>
                    <a:pt x="171" y="118"/>
                  </a:cubicBezTo>
                  <a:cubicBezTo>
                    <a:pt x="165" y="118"/>
                    <a:pt x="160" y="122"/>
                    <a:pt x="160" y="128"/>
                  </a:cubicBezTo>
                  <a:close/>
                  <a:moveTo>
                    <a:pt x="235" y="267"/>
                  </a:moveTo>
                  <a:cubicBezTo>
                    <a:pt x="182" y="267"/>
                    <a:pt x="182" y="267"/>
                    <a:pt x="182" y="267"/>
                  </a:cubicBezTo>
                  <a:cubicBezTo>
                    <a:pt x="182" y="139"/>
                    <a:pt x="182" y="139"/>
                    <a:pt x="182" y="139"/>
                  </a:cubicBezTo>
                  <a:cubicBezTo>
                    <a:pt x="235" y="139"/>
                    <a:pt x="235" y="139"/>
                    <a:pt x="235" y="139"/>
                  </a:cubicBezTo>
                  <a:lnTo>
                    <a:pt x="235" y="267"/>
                  </a:lnTo>
                  <a:close/>
                  <a:moveTo>
                    <a:pt x="118" y="214"/>
                  </a:moveTo>
                  <a:cubicBezTo>
                    <a:pt x="118" y="220"/>
                    <a:pt x="113" y="224"/>
                    <a:pt x="107" y="224"/>
                  </a:cubicBezTo>
                  <a:cubicBezTo>
                    <a:pt x="101" y="224"/>
                    <a:pt x="96" y="220"/>
                    <a:pt x="96" y="214"/>
                  </a:cubicBezTo>
                  <a:cubicBezTo>
                    <a:pt x="96" y="208"/>
                    <a:pt x="101" y="203"/>
                    <a:pt x="107" y="203"/>
                  </a:cubicBezTo>
                  <a:cubicBezTo>
                    <a:pt x="113" y="203"/>
                    <a:pt x="118" y="208"/>
                    <a:pt x="118"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17" name="Freeform 561">
            <a:extLst>
              <a:ext uri="{FF2B5EF4-FFF2-40B4-BE49-F238E27FC236}">
                <a16:creationId xmlns:a16="http://schemas.microsoft.com/office/drawing/2014/main" id="{02338370-DF7C-48E4-AAFE-4C75A8F0D3A2}"/>
              </a:ext>
            </a:extLst>
          </p:cNvPr>
          <p:cNvSpPr>
            <a:spLocks noChangeAspect="1" noEditPoints="1"/>
          </p:cNvSpPr>
          <p:nvPr/>
        </p:nvSpPr>
        <p:spPr bwMode="auto">
          <a:xfrm>
            <a:off x="6558100" y="2526859"/>
            <a:ext cx="367982" cy="367982"/>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8" name="Group 564">
            <a:extLst>
              <a:ext uri="{FF2B5EF4-FFF2-40B4-BE49-F238E27FC236}">
                <a16:creationId xmlns:a16="http://schemas.microsoft.com/office/drawing/2014/main" id="{0C5267C3-9957-4907-9D95-93CCE451EB1D}"/>
              </a:ext>
            </a:extLst>
          </p:cNvPr>
          <p:cNvGrpSpPr>
            <a:grpSpLocks noChangeAspect="1"/>
          </p:cNvGrpSpPr>
          <p:nvPr/>
        </p:nvGrpSpPr>
        <p:grpSpPr bwMode="auto">
          <a:xfrm>
            <a:off x="6993089" y="2526859"/>
            <a:ext cx="367982" cy="367982"/>
            <a:chOff x="4284" y="2965"/>
            <a:chExt cx="340" cy="340"/>
          </a:xfrm>
          <a:solidFill>
            <a:schemeClr val="accent6"/>
          </a:solidFill>
        </p:grpSpPr>
        <p:sp>
          <p:nvSpPr>
            <p:cNvPr id="619" name="Freeform 565">
              <a:extLst>
                <a:ext uri="{FF2B5EF4-FFF2-40B4-BE49-F238E27FC236}">
                  <a16:creationId xmlns:a16="http://schemas.microsoft.com/office/drawing/2014/main" id="{E46ECE80-AFC5-4934-9F24-F0EBA697B5BE}"/>
                </a:ext>
              </a:extLst>
            </p:cNvPr>
            <p:cNvSpPr>
              <a:spLocks noEditPoints="1"/>
            </p:cNvSpPr>
            <p:nvPr/>
          </p:nvSpPr>
          <p:spPr bwMode="auto">
            <a:xfrm>
              <a:off x="4284" y="29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0" name="Freeform 566">
              <a:extLst>
                <a:ext uri="{FF2B5EF4-FFF2-40B4-BE49-F238E27FC236}">
                  <a16:creationId xmlns:a16="http://schemas.microsoft.com/office/drawing/2014/main" id="{2CA5CED0-0AC1-4616-B536-82C0D36ABD97}"/>
                </a:ext>
              </a:extLst>
            </p:cNvPr>
            <p:cNvSpPr>
              <a:spLocks noEditPoints="1"/>
            </p:cNvSpPr>
            <p:nvPr/>
          </p:nvSpPr>
          <p:spPr bwMode="auto">
            <a:xfrm>
              <a:off x="4400" y="3035"/>
              <a:ext cx="108" cy="199"/>
            </a:xfrm>
            <a:custGeom>
              <a:avLst/>
              <a:gdLst>
                <a:gd name="T0" fmla="*/ 81 w 162"/>
                <a:gd name="T1" fmla="*/ 300 h 300"/>
                <a:gd name="T2" fmla="*/ 77 w 162"/>
                <a:gd name="T3" fmla="*/ 299 h 300"/>
                <a:gd name="T4" fmla="*/ 70 w 162"/>
                <a:gd name="T5" fmla="*/ 289 h 300"/>
                <a:gd name="T6" fmla="*/ 70 w 162"/>
                <a:gd name="T7" fmla="*/ 176 h 300"/>
                <a:gd name="T8" fmla="*/ 19 w 162"/>
                <a:gd name="T9" fmla="*/ 228 h 300"/>
                <a:gd name="T10" fmla="*/ 4 w 162"/>
                <a:gd name="T11" fmla="*/ 228 h 300"/>
                <a:gd name="T12" fmla="*/ 4 w 162"/>
                <a:gd name="T13" fmla="*/ 212 h 300"/>
                <a:gd name="T14" fmla="*/ 66 w 162"/>
                <a:gd name="T15" fmla="*/ 151 h 300"/>
                <a:gd name="T16" fmla="*/ 4 w 162"/>
                <a:gd name="T17" fmla="*/ 89 h 300"/>
                <a:gd name="T18" fmla="*/ 4 w 162"/>
                <a:gd name="T19" fmla="*/ 74 h 300"/>
                <a:gd name="T20" fmla="*/ 19 w 162"/>
                <a:gd name="T21" fmla="*/ 74 h 300"/>
                <a:gd name="T22" fmla="*/ 70 w 162"/>
                <a:gd name="T23" fmla="*/ 125 h 300"/>
                <a:gd name="T24" fmla="*/ 70 w 162"/>
                <a:gd name="T25" fmla="*/ 12 h 300"/>
                <a:gd name="T26" fmla="*/ 77 w 162"/>
                <a:gd name="T27" fmla="*/ 2 h 300"/>
                <a:gd name="T28" fmla="*/ 88 w 162"/>
                <a:gd name="T29" fmla="*/ 4 h 300"/>
                <a:gd name="T30" fmla="*/ 158 w 162"/>
                <a:gd name="T31" fmla="*/ 74 h 300"/>
                <a:gd name="T32" fmla="*/ 158 w 162"/>
                <a:gd name="T33" fmla="*/ 89 h 300"/>
                <a:gd name="T34" fmla="*/ 96 w 162"/>
                <a:gd name="T35" fmla="*/ 151 h 300"/>
                <a:gd name="T36" fmla="*/ 158 w 162"/>
                <a:gd name="T37" fmla="*/ 212 h 300"/>
                <a:gd name="T38" fmla="*/ 158 w 162"/>
                <a:gd name="T39" fmla="*/ 228 h 300"/>
                <a:gd name="T40" fmla="*/ 88 w 162"/>
                <a:gd name="T41" fmla="*/ 297 h 300"/>
                <a:gd name="T42" fmla="*/ 81 w 162"/>
                <a:gd name="T43" fmla="*/ 300 h 300"/>
                <a:gd name="T44" fmla="*/ 91 w 162"/>
                <a:gd name="T45" fmla="*/ 176 h 300"/>
                <a:gd name="T46" fmla="*/ 91 w 162"/>
                <a:gd name="T47" fmla="*/ 264 h 300"/>
                <a:gd name="T48" fmla="*/ 135 w 162"/>
                <a:gd name="T49" fmla="*/ 220 h 300"/>
                <a:gd name="T50" fmla="*/ 91 w 162"/>
                <a:gd name="T51" fmla="*/ 176 h 300"/>
                <a:gd name="T52" fmla="*/ 91 w 162"/>
                <a:gd name="T53" fmla="*/ 38 h 300"/>
                <a:gd name="T54" fmla="*/ 91 w 162"/>
                <a:gd name="T55" fmla="*/ 125 h 300"/>
                <a:gd name="T56" fmla="*/ 135 w 162"/>
                <a:gd name="T57" fmla="*/ 81 h 300"/>
                <a:gd name="T58" fmla="*/ 91 w 162"/>
                <a:gd name="T59" fmla="*/ 3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2" h="300">
                  <a:moveTo>
                    <a:pt x="81" y="300"/>
                  </a:moveTo>
                  <a:cubicBezTo>
                    <a:pt x="79" y="300"/>
                    <a:pt x="78" y="300"/>
                    <a:pt x="77" y="299"/>
                  </a:cubicBezTo>
                  <a:cubicBezTo>
                    <a:pt x="73" y="298"/>
                    <a:pt x="70" y="294"/>
                    <a:pt x="70" y="289"/>
                  </a:cubicBezTo>
                  <a:cubicBezTo>
                    <a:pt x="70" y="176"/>
                    <a:pt x="70" y="176"/>
                    <a:pt x="70" y="176"/>
                  </a:cubicBezTo>
                  <a:cubicBezTo>
                    <a:pt x="19" y="228"/>
                    <a:pt x="19" y="228"/>
                    <a:pt x="19" y="228"/>
                  </a:cubicBezTo>
                  <a:cubicBezTo>
                    <a:pt x="15" y="232"/>
                    <a:pt x="8" y="232"/>
                    <a:pt x="4" y="228"/>
                  </a:cubicBezTo>
                  <a:cubicBezTo>
                    <a:pt x="0" y="223"/>
                    <a:pt x="0" y="217"/>
                    <a:pt x="4" y="212"/>
                  </a:cubicBezTo>
                  <a:cubicBezTo>
                    <a:pt x="66" y="151"/>
                    <a:pt x="66" y="151"/>
                    <a:pt x="66" y="151"/>
                  </a:cubicBezTo>
                  <a:cubicBezTo>
                    <a:pt x="4" y="89"/>
                    <a:pt x="4" y="89"/>
                    <a:pt x="4" y="89"/>
                  </a:cubicBezTo>
                  <a:cubicBezTo>
                    <a:pt x="0" y="85"/>
                    <a:pt x="0" y="78"/>
                    <a:pt x="4" y="74"/>
                  </a:cubicBezTo>
                  <a:cubicBezTo>
                    <a:pt x="8" y="70"/>
                    <a:pt x="15" y="70"/>
                    <a:pt x="19" y="74"/>
                  </a:cubicBezTo>
                  <a:cubicBezTo>
                    <a:pt x="70" y="125"/>
                    <a:pt x="70" y="125"/>
                    <a:pt x="70" y="125"/>
                  </a:cubicBezTo>
                  <a:cubicBezTo>
                    <a:pt x="70" y="12"/>
                    <a:pt x="70" y="12"/>
                    <a:pt x="70" y="12"/>
                  </a:cubicBezTo>
                  <a:cubicBezTo>
                    <a:pt x="70" y="8"/>
                    <a:pt x="73" y="4"/>
                    <a:pt x="77" y="2"/>
                  </a:cubicBezTo>
                  <a:cubicBezTo>
                    <a:pt x="81" y="0"/>
                    <a:pt x="85" y="1"/>
                    <a:pt x="88" y="4"/>
                  </a:cubicBezTo>
                  <a:cubicBezTo>
                    <a:pt x="158" y="74"/>
                    <a:pt x="158" y="74"/>
                    <a:pt x="158" y="74"/>
                  </a:cubicBezTo>
                  <a:cubicBezTo>
                    <a:pt x="162" y="78"/>
                    <a:pt x="162" y="85"/>
                    <a:pt x="158" y="89"/>
                  </a:cubicBezTo>
                  <a:cubicBezTo>
                    <a:pt x="96" y="151"/>
                    <a:pt x="96" y="151"/>
                    <a:pt x="96" y="151"/>
                  </a:cubicBezTo>
                  <a:cubicBezTo>
                    <a:pt x="158" y="212"/>
                    <a:pt x="158" y="212"/>
                    <a:pt x="158" y="212"/>
                  </a:cubicBezTo>
                  <a:cubicBezTo>
                    <a:pt x="162" y="217"/>
                    <a:pt x="162" y="223"/>
                    <a:pt x="158" y="228"/>
                  </a:cubicBezTo>
                  <a:cubicBezTo>
                    <a:pt x="88" y="297"/>
                    <a:pt x="88" y="297"/>
                    <a:pt x="88" y="297"/>
                  </a:cubicBezTo>
                  <a:cubicBezTo>
                    <a:pt x="86" y="299"/>
                    <a:pt x="83" y="300"/>
                    <a:pt x="81" y="300"/>
                  </a:cubicBezTo>
                  <a:close/>
                  <a:moveTo>
                    <a:pt x="91" y="176"/>
                  </a:moveTo>
                  <a:cubicBezTo>
                    <a:pt x="91" y="264"/>
                    <a:pt x="91" y="264"/>
                    <a:pt x="91" y="264"/>
                  </a:cubicBezTo>
                  <a:cubicBezTo>
                    <a:pt x="135" y="220"/>
                    <a:pt x="135" y="220"/>
                    <a:pt x="135" y="220"/>
                  </a:cubicBezTo>
                  <a:lnTo>
                    <a:pt x="91" y="176"/>
                  </a:lnTo>
                  <a:close/>
                  <a:moveTo>
                    <a:pt x="91" y="38"/>
                  </a:moveTo>
                  <a:cubicBezTo>
                    <a:pt x="91" y="125"/>
                    <a:pt x="91" y="125"/>
                    <a:pt x="91" y="125"/>
                  </a:cubicBezTo>
                  <a:cubicBezTo>
                    <a:pt x="135" y="81"/>
                    <a:pt x="135" y="81"/>
                    <a:pt x="135" y="81"/>
                  </a:cubicBezTo>
                  <a:lnTo>
                    <a:pt x="91" y="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21" name="Group 768">
            <a:extLst>
              <a:ext uri="{FF2B5EF4-FFF2-40B4-BE49-F238E27FC236}">
                <a16:creationId xmlns:a16="http://schemas.microsoft.com/office/drawing/2014/main" id="{04A7F51A-9E80-40C6-8CF1-516D42C2E557}"/>
              </a:ext>
            </a:extLst>
          </p:cNvPr>
          <p:cNvGrpSpPr>
            <a:grpSpLocks noChangeAspect="1"/>
          </p:cNvGrpSpPr>
          <p:nvPr/>
        </p:nvGrpSpPr>
        <p:grpSpPr bwMode="auto">
          <a:xfrm>
            <a:off x="7864761" y="2526859"/>
            <a:ext cx="370763" cy="369676"/>
            <a:chOff x="1943" y="2698"/>
            <a:chExt cx="341" cy="340"/>
          </a:xfrm>
          <a:solidFill>
            <a:schemeClr val="accent2"/>
          </a:solidFill>
        </p:grpSpPr>
        <p:sp>
          <p:nvSpPr>
            <p:cNvPr id="622" name="Freeform 769">
              <a:extLst>
                <a:ext uri="{FF2B5EF4-FFF2-40B4-BE49-F238E27FC236}">
                  <a16:creationId xmlns:a16="http://schemas.microsoft.com/office/drawing/2014/main" id="{77A48328-1B45-4FC8-A580-2650082CD520}"/>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3" name="Freeform 770">
              <a:extLst>
                <a:ext uri="{FF2B5EF4-FFF2-40B4-BE49-F238E27FC236}">
                  <a16:creationId xmlns:a16="http://schemas.microsoft.com/office/drawing/2014/main" id="{D1ABDE79-A5AA-4E4C-AC99-225F63075ACD}"/>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24" name="Freeform 774">
            <a:extLst>
              <a:ext uri="{FF2B5EF4-FFF2-40B4-BE49-F238E27FC236}">
                <a16:creationId xmlns:a16="http://schemas.microsoft.com/office/drawing/2014/main" id="{FCFD7A0F-99EF-423F-AF3E-7B170D320877}"/>
              </a:ext>
            </a:extLst>
          </p:cNvPr>
          <p:cNvSpPr>
            <a:spLocks noChangeAspect="1" noEditPoints="1"/>
          </p:cNvSpPr>
          <p:nvPr/>
        </p:nvSpPr>
        <p:spPr bwMode="auto">
          <a:xfrm>
            <a:off x="7428078" y="2526859"/>
            <a:ext cx="369676" cy="369676"/>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5" name="Group 378">
            <a:extLst>
              <a:ext uri="{FF2B5EF4-FFF2-40B4-BE49-F238E27FC236}">
                <a16:creationId xmlns:a16="http://schemas.microsoft.com/office/drawing/2014/main" id="{212C3C08-F7E6-4ACD-BE78-589CD1590795}"/>
              </a:ext>
            </a:extLst>
          </p:cNvPr>
          <p:cNvGrpSpPr>
            <a:grpSpLocks noChangeAspect="1"/>
          </p:cNvGrpSpPr>
          <p:nvPr/>
        </p:nvGrpSpPr>
        <p:grpSpPr bwMode="auto">
          <a:xfrm>
            <a:off x="8739214" y="2526859"/>
            <a:ext cx="370763" cy="370763"/>
            <a:chOff x="390" y="1172"/>
            <a:chExt cx="341" cy="341"/>
          </a:xfrm>
          <a:solidFill>
            <a:schemeClr val="accent4"/>
          </a:solidFill>
        </p:grpSpPr>
        <p:sp>
          <p:nvSpPr>
            <p:cNvPr id="626" name="Freeform 348">
              <a:extLst>
                <a:ext uri="{FF2B5EF4-FFF2-40B4-BE49-F238E27FC236}">
                  <a16:creationId xmlns:a16="http://schemas.microsoft.com/office/drawing/2014/main" id="{23395AF7-A533-41AC-9E0A-27E79996C36C}"/>
                </a:ext>
              </a:extLst>
            </p:cNvPr>
            <p:cNvSpPr>
              <a:spLocks noEditPoints="1"/>
            </p:cNvSpPr>
            <p:nvPr/>
          </p:nvSpPr>
          <p:spPr bwMode="auto">
            <a:xfrm>
              <a:off x="390" y="1172"/>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7" name="Freeform 349">
              <a:extLst>
                <a:ext uri="{FF2B5EF4-FFF2-40B4-BE49-F238E27FC236}">
                  <a16:creationId xmlns:a16="http://schemas.microsoft.com/office/drawing/2014/main" id="{B5ACD7C6-9CFD-44D3-BBB7-6C38AB649AB3}"/>
                </a:ext>
              </a:extLst>
            </p:cNvPr>
            <p:cNvSpPr>
              <a:spLocks noEditPoints="1"/>
            </p:cNvSpPr>
            <p:nvPr/>
          </p:nvSpPr>
          <p:spPr bwMode="auto">
            <a:xfrm>
              <a:off x="482" y="1267"/>
              <a:ext cx="156" cy="153"/>
            </a:xfrm>
            <a:custGeom>
              <a:avLst/>
              <a:gdLst>
                <a:gd name="T0" fmla="*/ 235 w 235"/>
                <a:gd name="T1" fmla="*/ 155 h 230"/>
                <a:gd name="T2" fmla="*/ 235 w 235"/>
                <a:gd name="T3" fmla="*/ 219 h 230"/>
                <a:gd name="T4" fmla="*/ 224 w 235"/>
                <a:gd name="T5" fmla="*/ 230 h 230"/>
                <a:gd name="T6" fmla="*/ 11 w 235"/>
                <a:gd name="T7" fmla="*/ 230 h 230"/>
                <a:gd name="T8" fmla="*/ 0 w 235"/>
                <a:gd name="T9" fmla="*/ 219 h 230"/>
                <a:gd name="T10" fmla="*/ 0 w 235"/>
                <a:gd name="T11" fmla="*/ 155 h 230"/>
                <a:gd name="T12" fmla="*/ 11 w 235"/>
                <a:gd name="T13" fmla="*/ 145 h 230"/>
                <a:gd name="T14" fmla="*/ 22 w 235"/>
                <a:gd name="T15" fmla="*/ 155 h 230"/>
                <a:gd name="T16" fmla="*/ 22 w 235"/>
                <a:gd name="T17" fmla="*/ 209 h 230"/>
                <a:gd name="T18" fmla="*/ 214 w 235"/>
                <a:gd name="T19" fmla="*/ 209 h 230"/>
                <a:gd name="T20" fmla="*/ 214 w 235"/>
                <a:gd name="T21" fmla="*/ 155 h 230"/>
                <a:gd name="T22" fmla="*/ 224 w 235"/>
                <a:gd name="T23" fmla="*/ 145 h 230"/>
                <a:gd name="T24" fmla="*/ 235 w 235"/>
                <a:gd name="T25" fmla="*/ 155 h 230"/>
                <a:gd name="T26" fmla="*/ 54 w 235"/>
                <a:gd name="T27" fmla="*/ 187 h 230"/>
                <a:gd name="T28" fmla="*/ 182 w 235"/>
                <a:gd name="T29" fmla="*/ 187 h 230"/>
                <a:gd name="T30" fmla="*/ 192 w 235"/>
                <a:gd name="T31" fmla="*/ 177 h 230"/>
                <a:gd name="T32" fmla="*/ 182 w 235"/>
                <a:gd name="T33" fmla="*/ 166 h 230"/>
                <a:gd name="T34" fmla="*/ 54 w 235"/>
                <a:gd name="T35" fmla="*/ 166 h 230"/>
                <a:gd name="T36" fmla="*/ 43 w 235"/>
                <a:gd name="T37" fmla="*/ 177 h 230"/>
                <a:gd name="T38" fmla="*/ 54 w 235"/>
                <a:gd name="T39" fmla="*/ 187 h 230"/>
                <a:gd name="T40" fmla="*/ 53 w 235"/>
                <a:gd name="T41" fmla="*/ 132 h 230"/>
                <a:gd name="T42" fmla="*/ 181 w 235"/>
                <a:gd name="T43" fmla="*/ 145 h 230"/>
                <a:gd name="T44" fmla="*/ 182 w 235"/>
                <a:gd name="T45" fmla="*/ 145 h 230"/>
                <a:gd name="T46" fmla="*/ 192 w 235"/>
                <a:gd name="T47" fmla="*/ 135 h 230"/>
                <a:gd name="T48" fmla="*/ 183 w 235"/>
                <a:gd name="T49" fmla="*/ 123 h 230"/>
                <a:gd name="T50" fmla="*/ 55 w 235"/>
                <a:gd name="T51" fmla="*/ 111 h 230"/>
                <a:gd name="T52" fmla="*/ 44 w 235"/>
                <a:gd name="T53" fmla="*/ 120 h 230"/>
                <a:gd name="T54" fmla="*/ 53 w 235"/>
                <a:gd name="T55" fmla="*/ 132 h 230"/>
                <a:gd name="T56" fmla="*/ 60 w 235"/>
                <a:gd name="T57" fmla="*/ 78 h 230"/>
                <a:gd name="T58" fmla="*/ 185 w 235"/>
                <a:gd name="T59" fmla="*/ 104 h 230"/>
                <a:gd name="T60" fmla="*/ 187 w 235"/>
                <a:gd name="T61" fmla="*/ 104 h 230"/>
                <a:gd name="T62" fmla="*/ 198 w 235"/>
                <a:gd name="T63" fmla="*/ 96 h 230"/>
                <a:gd name="T64" fmla="*/ 190 w 235"/>
                <a:gd name="T65" fmla="*/ 83 h 230"/>
                <a:gd name="T66" fmla="*/ 64 w 235"/>
                <a:gd name="T67" fmla="*/ 58 h 230"/>
                <a:gd name="T68" fmla="*/ 52 w 235"/>
                <a:gd name="T69" fmla="*/ 66 h 230"/>
                <a:gd name="T70" fmla="*/ 60 w 235"/>
                <a:gd name="T71" fmla="*/ 78 h 230"/>
                <a:gd name="T72" fmla="*/ 75 w 235"/>
                <a:gd name="T73" fmla="*/ 23 h 230"/>
                <a:gd name="T74" fmla="*/ 195 w 235"/>
                <a:gd name="T75" fmla="*/ 66 h 230"/>
                <a:gd name="T76" fmla="*/ 199 w 235"/>
                <a:gd name="T77" fmla="*/ 66 h 230"/>
                <a:gd name="T78" fmla="*/ 209 w 235"/>
                <a:gd name="T79" fmla="*/ 59 h 230"/>
                <a:gd name="T80" fmla="*/ 202 w 235"/>
                <a:gd name="T81" fmla="*/ 46 h 230"/>
                <a:gd name="T82" fmla="*/ 82 w 235"/>
                <a:gd name="T83" fmla="*/ 2 h 230"/>
                <a:gd name="T84" fmla="*/ 68 w 235"/>
                <a:gd name="T85" fmla="*/ 9 h 230"/>
                <a:gd name="T86" fmla="*/ 75 w 235"/>
                <a:gd name="T87" fmla="*/ 2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230">
                  <a:moveTo>
                    <a:pt x="235" y="155"/>
                  </a:moveTo>
                  <a:cubicBezTo>
                    <a:pt x="235" y="219"/>
                    <a:pt x="235" y="219"/>
                    <a:pt x="235" y="219"/>
                  </a:cubicBezTo>
                  <a:cubicBezTo>
                    <a:pt x="235" y="225"/>
                    <a:pt x="230" y="230"/>
                    <a:pt x="224" y="230"/>
                  </a:cubicBezTo>
                  <a:cubicBezTo>
                    <a:pt x="11" y="230"/>
                    <a:pt x="11" y="230"/>
                    <a:pt x="11" y="230"/>
                  </a:cubicBezTo>
                  <a:cubicBezTo>
                    <a:pt x="5" y="230"/>
                    <a:pt x="0" y="225"/>
                    <a:pt x="0" y="219"/>
                  </a:cubicBezTo>
                  <a:cubicBezTo>
                    <a:pt x="0" y="155"/>
                    <a:pt x="0" y="155"/>
                    <a:pt x="0" y="155"/>
                  </a:cubicBezTo>
                  <a:cubicBezTo>
                    <a:pt x="0" y="149"/>
                    <a:pt x="5" y="145"/>
                    <a:pt x="11" y="145"/>
                  </a:cubicBezTo>
                  <a:cubicBezTo>
                    <a:pt x="17" y="145"/>
                    <a:pt x="22" y="149"/>
                    <a:pt x="22" y="155"/>
                  </a:cubicBezTo>
                  <a:cubicBezTo>
                    <a:pt x="22" y="209"/>
                    <a:pt x="22" y="209"/>
                    <a:pt x="22" y="209"/>
                  </a:cubicBezTo>
                  <a:cubicBezTo>
                    <a:pt x="214" y="209"/>
                    <a:pt x="214" y="209"/>
                    <a:pt x="214" y="209"/>
                  </a:cubicBezTo>
                  <a:cubicBezTo>
                    <a:pt x="214" y="155"/>
                    <a:pt x="214" y="155"/>
                    <a:pt x="214" y="155"/>
                  </a:cubicBezTo>
                  <a:cubicBezTo>
                    <a:pt x="214" y="149"/>
                    <a:pt x="218" y="145"/>
                    <a:pt x="224" y="145"/>
                  </a:cubicBezTo>
                  <a:cubicBezTo>
                    <a:pt x="230" y="145"/>
                    <a:pt x="235" y="149"/>
                    <a:pt x="235" y="155"/>
                  </a:cubicBezTo>
                  <a:close/>
                  <a:moveTo>
                    <a:pt x="54" y="187"/>
                  </a:moveTo>
                  <a:cubicBezTo>
                    <a:pt x="182" y="187"/>
                    <a:pt x="182" y="187"/>
                    <a:pt x="182" y="187"/>
                  </a:cubicBezTo>
                  <a:cubicBezTo>
                    <a:pt x="188" y="187"/>
                    <a:pt x="192" y="183"/>
                    <a:pt x="192" y="177"/>
                  </a:cubicBezTo>
                  <a:cubicBezTo>
                    <a:pt x="192" y="171"/>
                    <a:pt x="188" y="166"/>
                    <a:pt x="182" y="166"/>
                  </a:cubicBezTo>
                  <a:cubicBezTo>
                    <a:pt x="54" y="166"/>
                    <a:pt x="54" y="166"/>
                    <a:pt x="54" y="166"/>
                  </a:cubicBezTo>
                  <a:cubicBezTo>
                    <a:pt x="48" y="166"/>
                    <a:pt x="43" y="171"/>
                    <a:pt x="43" y="177"/>
                  </a:cubicBezTo>
                  <a:cubicBezTo>
                    <a:pt x="43" y="183"/>
                    <a:pt x="48" y="187"/>
                    <a:pt x="54" y="187"/>
                  </a:cubicBezTo>
                  <a:close/>
                  <a:moveTo>
                    <a:pt x="53" y="132"/>
                  </a:moveTo>
                  <a:cubicBezTo>
                    <a:pt x="181" y="145"/>
                    <a:pt x="181" y="145"/>
                    <a:pt x="181" y="145"/>
                  </a:cubicBezTo>
                  <a:cubicBezTo>
                    <a:pt x="181" y="145"/>
                    <a:pt x="181" y="145"/>
                    <a:pt x="182" y="145"/>
                  </a:cubicBezTo>
                  <a:cubicBezTo>
                    <a:pt x="187" y="145"/>
                    <a:pt x="192" y="141"/>
                    <a:pt x="192" y="135"/>
                  </a:cubicBezTo>
                  <a:cubicBezTo>
                    <a:pt x="193" y="129"/>
                    <a:pt x="189" y="124"/>
                    <a:pt x="183" y="123"/>
                  </a:cubicBezTo>
                  <a:cubicBezTo>
                    <a:pt x="55" y="111"/>
                    <a:pt x="55" y="111"/>
                    <a:pt x="55" y="111"/>
                  </a:cubicBezTo>
                  <a:cubicBezTo>
                    <a:pt x="49" y="110"/>
                    <a:pt x="44" y="114"/>
                    <a:pt x="44" y="120"/>
                  </a:cubicBezTo>
                  <a:cubicBezTo>
                    <a:pt x="43" y="126"/>
                    <a:pt x="47" y="131"/>
                    <a:pt x="53" y="132"/>
                  </a:cubicBezTo>
                  <a:close/>
                  <a:moveTo>
                    <a:pt x="60" y="78"/>
                  </a:moveTo>
                  <a:cubicBezTo>
                    <a:pt x="185" y="104"/>
                    <a:pt x="185" y="104"/>
                    <a:pt x="185" y="104"/>
                  </a:cubicBezTo>
                  <a:cubicBezTo>
                    <a:pt x="186" y="104"/>
                    <a:pt x="187" y="104"/>
                    <a:pt x="187" y="104"/>
                  </a:cubicBezTo>
                  <a:cubicBezTo>
                    <a:pt x="192" y="104"/>
                    <a:pt x="197" y="101"/>
                    <a:pt x="198" y="96"/>
                  </a:cubicBezTo>
                  <a:cubicBezTo>
                    <a:pt x="199" y="90"/>
                    <a:pt x="195" y="84"/>
                    <a:pt x="190" y="83"/>
                  </a:cubicBezTo>
                  <a:cubicBezTo>
                    <a:pt x="64" y="58"/>
                    <a:pt x="64" y="58"/>
                    <a:pt x="64" y="58"/>
                  </a:cubicBezTo>
                  <a:cubicBezTo>
                    <a:pt x="58" y="56"/>
                    <a:pt x="53" y="60"/>
                    <a:pt x="52" y="66"/>
                  </a:cubicBezTo>
                  <a:cubicBezTo>
                    <a:pt x="50" y="72"/>
                    <a:pt x="54" y="77"/>
                    <a:pt x="60" y="78"/>
                  </a:cubicBezTo>
                  <a:close/>
                  <a:moveTo>
                    <a:pt x="75" y="23"/>
                  </a:moveTo>
                  <a:cubicBezTo>
                    <a:pt x="195" y="66"/>
                    <a:pt x="195" y="66"/>
                    <a:pt x="195" y="66"/>
                  </a:cubicBezTo>
                  <a:cubicBezTo>
                    <a:pt x="196" y="66"/>
                    <a:pt x="198" y="66"/>
                    <a:pt x="199" y="66"/>
                  </a:cubicBezTo>
                  <a:cubicBezTo>
                    <a:pt x="203" y="66"/>
                    <a:pt x="207" y="64"/>
                    <a:pt x="209" y="59"/>
                  </a:cubicBezTo>
                  <a:cubicBezTo>
                    <a:pt x="211" y="54"/>
                    <a:pt x="208" y="48"/>
                    <a:pt x="202" y="46"/>
                  </a:cubicBezTo>
                  <a:cubicBezTo>
                    <a:pt x="82" y="2"/>
                    <a:pt x="82" y="2"/>
                    <a:pt x="82" y="2"/>
                  </a:cubicBezTo>
                  <a:cubicBezTo>
                    <a:pt x="76" y="0"/>
                    <a:pt x="70" y="3"/>
                    <a:pt x="68" y="9"/>
                  </a:cubicBezTo>
                  <a:cubicBezTo>
                    <a:pt x="66" y="14"/>
                    <a:pt x="69" y="21"/>
                    <a:pt x="75"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28" name="Freeform 384">
            <a:extLst>
              <a:ext uri="{FF2B5EF4-FFF2-40B4-BE49-F238E27FC236}">
                <a16:creationId xmlns:a16="http://schemas.microsoft.com/office/drawing/2014/main" id="{9DF6025B-E180-4692-BBDE-FFF1519F0E88}"/>
              </a:ext>
            </a:extLst>
          </p:cNvPr>
          <p:cNvSpPr>
            <a:spLocks noChangeAspect="1" noEditPoints="1"/>
          </p:cNvSpPr>
          <p:nvPr/>
        </p:nvSpPr>
        <p:spPr bwMode="auto">
          <a:xfrm>
            <a:off x="8302531" y="2526859"/>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6 w 512"/>
              <a:gd name="T11" fmla="*/ 152 h 512"/>
              <a:gd name="T12" fmla="*/ 220 w 512"/>
              <a:gd name="T13" fmla="*/ 145 h 512"/>
              <a:gd name="T14" fmla="*/ 340 w 512"/>
              <a:gd name="T15" fmla="*/ 189 h 512"/>
              <a:gd name="T16" fmla="*/ 347 w 512"/>
              <a:gd name="T17" fmla="*/ 202 h 512"/>
              <a:gd name="T18" fmla="*/ 337 w 512"/>
              <a:gd name="T19" fmla="*/ 209 h 512"/>
              <a:gd name="T20" fmla="*/ 333 w 512"/>
              <a:gd name="T21" fmla="*/ 209 h 512"/>
              <a:gd name="T22" fmla="*/ 213 w 512"/>
              <a:gd name="T23" fmla="*/ 166 h 512"/>
              <a:gd name="T24" fmla="*/ 206 w 512"/>
              <a:gd name="T25" fmla="*/ 152 h 512"/>
              <a:gd name="T26" fmla="*/ 190 w 512"/>
              <a:gd name="T27" fmla="*/ 209 h 512"/>
              <a:gd name="T28" fmla="*/ 202 w 512"/>
              <a:gd name="T29" fmla="*/ 201 h 512"/>
              <a:gd name="T30" fmla="*/ 328 w 512"/>
              <a:gd name="T31" fmla="*/ 226 h 512"/>
              <a:gd name="T32" fmla="*/ 336 w 512"/>
              <a:gd name="T33" fmla="*/ 239 h 512"/>
              <a:gd name="T34" fmla="*/ 325 w 512"/>
              <a:gd name="T35" fmla="*/ 247 h 512"/>
              <a:gd name="T36" fmla="*/ 323 w 512"/>
              <a:gd name="T37" fmla="*/ 247 h 512"/>
              <a:gd name="T38" fmla="*/ 198 w 512"/>
              <a:gd name="T39" fmla="*/ 221 h 512"/>
              <a:gd name="T40" fmla="*/ 190 w 512"/>
              <a:gd name="T41" fmla="*/ 209 h 512"/>
              <a:gd name="T42" fmla="*/ 193 w 512"/>
              <a:gd name="T43" fmla="*/ 254 h 512"/>
              <a:gd name="T44" fmla="*/ 321 w 512"/>
              <a:gd name="T45" fmla="*/ 266 h 512"/>
              <a:gd name="T46" fmla="*/ 330 w 512"/>
              <a:gd name="T47" fmla="*/ 278 h 512"/>
              <a:gd name="T48" fmla="*/ 320 w 512"/>
              <a:gd name="T49" fmla="*/ 288 h 512"/>
              <a:gd name="T50" fmla="*/ 319 w 512"/>
              <a:gd name="T51" fmla="*/ 288 h 512"/>
              <a:gd name="T52" fmla="*/ 191 w 512"/>
              <a:gd name="T53" fmla="*/ 275 h 512"/>
              <a:gd name="T54" fmla="*/ 182 w 512"/>
              <a:gd name="T55" fmla="*/ 263 h 512"/>
              <a:gd name="T56" fmla="*/ 193 w 512"/>
              <a:gd name="T57" fmla="*/ 254 h 512"/>
              <a:gd name="T58" fmla="*/ 192 w 512"/>
              <a:gd name="T59" fmla="*/ 309 h 512"/>
              <a:gd name="T60" fmla="*/ 320 w 512"/>
              <a:gd name="T61" fmla="*/ 309 h 512"/>
              <a:gd name="T62" fmla="*/ 330 w 512"/>
              <a:gd name="T63" fmla="*/ 320 h 512"/>
              <a:gd name="T64" fmla="*/ 320 w 512"/>
              <a:gd name="T65" fmla="*/ 330 h 512"/>
              <a:gd name="T66" fmla="*/ 192 w 512"/>
              <a:gd name="T67" fmla="*/ 330 h 512"/>
              <a:gd name="T68" fmla="*/ 181 w 512"/>
              <a:gd name="T69" fmla="*/ 320 h 512"/>
              <a:gd name="T70" fmla="*/ 192 w 512"/>
              <a:gd name="T71" fmla="*/ 309 h 512"/>
              <a:gd name="T72" fmla="*/ 373 w 512"/>
              <a:gd name="T73" fmla="*/ 362 h 512"/>
              <a:gd name="T74" fmla="*/ 362 w 512"/>
              <a:gd name="T75" fmla="*/ 373 h 512"/>
              <a:gd name="T76" fmla="*/ 149 w 512"/>
              <a:gd name="T77" fmla="*/ 373 h 512"/>
              <a:gd name="T78" fmla="*/ 138 w 512"/>
              <a:gd name="T79" fmla="*/ 362 h 512"/>
              <a:gd name="T80" fmla="*/ 138 w 512"/>
              <a:gd name="T81" fmla="*/ 298 h 512"/>
              <a:gd name="T82" fmla="*/ 149 w 512"/>
              <a:gd name="T83" fmla="*/ 288 h 512"/>
              <a:gd name="T84" fmla="*/ 160 w 512"/>
              <a:gd name="T85" fmla="*/ 298 h 512"/>
              <a:gd name="T86" fmla="*/ 160 w 512"/>
              <a:gd name="T87" fmla="*/ 352 h 512"/>
              <a:gd name="T88" fmla="*/ 352 w 512"/>
              <a:gd name="T89" fmla="*/ 352 h 512"/>
              <a:gd name="T90" fmla="*/ 352 w 512"/>
              <a:gd name="T91" fmla="*/ 298 h 512"/>
              <a:gd name="T92" fmla="*/ 362 w 512"/>
              <a:gd name="T93" fmla="*/ 288 h 512"/>
              <a:gd name="T94" fmla="*/ 373 w 512"/>
              <a:gd name="T95" fmla="*/ 298 h 512"/>
              <a:gd name="T96" fmla="*/ 373 w 512"/>
              <a:gd name="T9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6" y="152"/>
                </a:moveTo>
                <a:cubicBezTo>
                  <a:pt x="208" y="146"/>
                  <a:pt x="214" y="143"/>
                  <a:pt x="220" y="145"/>
                </a:cubicBezTo>
                <a:cubicBezTo>
                  <a:pt x="340" y="189"/>
                  <a:pt x="340" y="189"/>
                  <a:pt x="340" y="189"/>
                </a:cubicBezTo>
                <a:cubicBezTo>
                  <a:pt x="346" y="191"/>
                  <a:pt x="349" y="197"/>
                  <a:pt x="347" y="202"/>
                </a:cubicBezTo>
                <a:cubicBezTo>
                  <a:pt x="345" y="207"/>
                  <a:pt x="341" y="209"/>
                  <a:pt x="337" y="209"/>
                </a:cubicBezTo>
                <a:cubicBezTo>
                  <a:pt x="336" y="209"/>
                  <a:pt x="334" y="209"/>
                  <a:pt x="333" y="209"/>
                </a:cubicBezTo>
                <a:cubicBezTo>
                  <a:pt x="213" y="166"/>
                  <a:pt x="213" y="166"/>
                  <a:pt x="213" y="166"/>
                </a:cubicBezTo>
                <a:cubicBezTo>
                  <a:pt x="207" y="164"/>
                  <a:pt x="204" y="157"/>
                  <a:pt x="206" y="152"/>
                </a:cubicBezTo>
                <a:close/>
                <a:moveTo>
                  <a:pt x="190" y="209"/>
                </a:moveTo>
                <a:cubicBezTo>
                  <a:pt x="191" y="203"/>
                  <a:pt x="196" y="199"/>
                  <a:pt x="202" y="201"/>
                </a:cubicBezTo>
                <a:cubicBezTo>
                  <a:pt x="328" y="226"/>
                  <a:pt x="328" y="226"/>
                  <a:pt x="328" y="226"/>
                </a:cubicBezTo>
                <a:cubicBezTo>
                  <a:pt x="333" y="227"/>
                  <a:pt x="337" y="233"/>
                  <a:pt x="336" y="239"/>
                </a:cubicBezTo>
                <a:cubicBezTo>
                  <a:pt x="335" y="244"/>
                  <a:pt x="330" y="247"/>
                  <a:pt x="325" y="247"/>
                </a:cubicBezTo>
                <a:cubicBezTo>
                  <a:pt x="325" y="247"/>
                  <a:pt x="324" y="247"/>
                  <a:pt x="323" y="247"/>
                </a:cubicBezTo>
                <a:cubicBezTo>
                  <a:pt x="198" y="221"/>
                  <a:pt x="198" y="221"/>
                  <a:pt x="198" y="221"/>
                </a:cubicBezTo>
                <a:cubicBezTo>
                  <a:pt x="192" y="220"/>
                  <a:pt x="188" y="215"/>
                  <a:pt x="190" y="209"/>
                </a:cubicBezTo>
                <a:close/>
                <a:moveTo>
                  <a:pt x="193" y="254"/>
                </a:moveTo>
                <a:cubicBezTo>
                  <a:pt x="321" y="266"/>
                  <a:pt x="321" y="266"/>
                  <a:pt x="321" y="266"/>
                </a:cubicBezTo>
                <a:cubicBezTo>
                  <a:pt x="327" y="267"/>
                  <a:pt x="331" y="272"/>
                  <a:pt x="330" y="278"/>
                </a:cubicBezTo>
                <a:cubicBezTo>
                  <a:pt x="330" y="284"/>
                  <a:pt x="325" y="288"/>
                  <a:pt x="320" y="288"/>
                </a:cubicBezTo>
                <a:cubicBezTo>
                  <a:pt x="319" y="288"/>
                  <a:pt x="319" y="288"/>
                  <a:pt x="319" y="288"/>
                </a:cubicBezTo>
                <a:cubicBezTo>
                  <a:pt x="191" y="275"/>
                  <a:pt x="191" y="275"/>
                  <a:pt x="191" y="275"/>
                </a:cubicBezTo>
                <a:cubicBezTo>
                  <a:pt x="185" y="274"/>
                  <a:pt x="181" y="269"/>
                  <a:pt x="182" y="263"/>
                </a:cubicBezTo>
                <a:cubicBezTo>
                  <a:pt x="182" y="257"/>
                  <a:pt x="187" y="253"/>
                  <a:pt x="193" y="254"/>
                </a:cubicBezTo>
                <a:close/>
                <a:moveTo>
                  <a:pt x="192" y="309"/>
                </a:moveTo>
                <a:cubicBezTo>
                  <a:pt x="320" y="309"/>
                  <a:pt x="320" y="309"/>
                  <a:pt x="320" y="309"/>
                </a:cubicBezTo>
                <a:cubicBezTo>
                  <a:pt x="326" y="309"/>
                  <a:pt x="330" y="314"/>
                  <a:pt x="330" y="320"/>
                </a:cubicBezTo>
                <a:cubicBezTo>
                  <a:pt x="330" y="326"/>
                  <a:pt x="326" y="330"/>
                  <a:pt x="320" y="330"/>
                </a:cubicBezTo>
                <a:cubicBezTo>
                  <a:pt x="192" y="330"/>
                  <a:pt x="192" y="330"/>
                  <a:pt x="192" y="330"/>
                </a:cubicBezTo>
                <a:cubicBezTo>
                  <a:pt x="186" y="330"/>
                  <a:pt x="181" y="326"/>
                  <a:pt x="181" y="320"/>
                </a:cubicBezTo>
                <a:cubicBezTo>
                  <a:pt x="181" y="314"/>
                  <a:pt x="186" y="309"/>
                  <a:pt x="192" y="309"/>
                </a:cubicBezTo>
                <a:close/>
                <a:moveTo>
                  <a:pt x="373" y="362"/>
                </a:moveTo>
                <a:cubicBezTo>
                  <a:pt x="373" y="368"/>
                  <a:pt x="368" y="373"/>
                  <a:pt x="362"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52"/>
                  <a:pt x="160" y="352"/>
                  <a:pt x="160" y="352"/>
                </a:cubicBezTo>
                <a:cubicBezTo>
                  <a:pt x="352" y="352"/>
                  <a:pt x="352" y="352"/>
                  <a:pt x="352" y="352"/>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9" name="Group 777">
            <a:extLst>
              <a:ext uri="{FF2B5EF4-FFF2-40B4-BE49-F238E27FC236}">
                <a16:creationId xmlns:a16="http://schemas.microsoft.com/office/drawing/2014/main" id="{0C42E3B2-0DD6-4F6B-9A43-32CC6BA71E5A}"/>
              </a:ext>
            </a:extLst>
          </p:cNvPr>
          <p:cNvGrpSpPr>
            <a:grpSpLocks noChangeAspect="1"/>
          </p:cNvGrpSpPr>
          <p:nvPr/>
        </p:nvGrpSpPr>
        <p:grpSpPr bwMode="auto">
          <a:xfrm>
            <a:off x="9613667" y="2526859"/>
            <a:ext cx="369676" cy="369676"/>
            <a:chOff x="1121" y="2719"/>
            <a:chExt cx="340" cy="340"/>
          </a:xfrm>
          <a:solidFill>
            <a:schemeClr val="accent2"/>
          </a:solidFill>
        </p:grpSpPr>
        <p:sp>
          <p:nvSpPr>
            <p:cNvPr id="630" name="Freeform 778">
              <a:extLst>
                <a:ext uri="{FF2B5EF4-FFF2-40B4-BE49-F238E27FC236}">
                  <a16:creationId xmlns:a16="http://schemas.microsoft.com/office/drawing/2014/main" id="{2FE624C3-3EA2-45AB-B608-73613D2B80CA}"/>
                </a:ext>
              </a:extLst>
            </p:cNvPr>
            <p:cNvSpPr>
              <a:spLocks noEditPoints="1"/>
            </p:cNvSpPr>
            <p:nvPr/>
          </p:nvSpPr>
          <p:spPr bwMode="auto">
            <a:xfrm>
              <a:off x="1121" y="271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1" name="Freeform 779">
              <a:extLst>
                <a:ext uri="{FF2B5EF4-FFF2-40B4-BE49-F238E27FC236}">
                  <a16:creationId xmlns:a16="http://schemas.microsoft.com/office/drawing/2014/main" id="{B0DB3BBE-5043-428F-A217-43B21DA3A2DA}"/>
                </a:ext>
              </a:extLst>
            </p:cNvPr>
            <p:cNvSpPr>
              <a:spLocks noEditPoints="1"/>
            </p:cNvSpPr>
            <p:nvPr/>
          </p:nvSpPr>
          <p:spPr bwMode="auto">
            <a:xfrm>
              <a:off x="1185" y="2804"/>
              <a:ext cx="212" cy="170"/>
            </a:xfrm>
            <a:custGeom>
              <a:avLst/>
              <a:gdLst>
                <a:gd name="T0" fmla="*/ 199 w 320"/>
                <a:gd name="T1" fmla="*/ 135 h 256"/>
                <a:gd name="T2" fmla="*/ 192 w 320"/>
                <a:gd name="T3" fmla="*/ 138 h 256"/>
                <a:gd name="T4" fmla="*/ 184 w 320"/>
                <a:gd name="T5" fmla="*/ 135 h 256"/>
                <a:gd name="T6" fmla="*/ 170 w 320"/>
                <a:gd name="T7" fmla="*/ 121 h 256"/>
                <a:gd name="T8" fmla="*/ 170 w 320"/>
                <a:gd name="T9" fmla="*/ 245 h 256"/>
                <a:gd name="T10" fmla="*/ 160 w 320"/>
                <a:gd name="T11" fmla="*/ 256 h 256"/>
                <a:gd name="T12" fmla="*/ 149 w 320"/>
                <a:gd name="T13" fmla="*/ 245 h 256"/>
                <a:gd name="T14" fmla="*/ 149 w 320"/>
                <a:gd name="T15" fmla="*/ 121 h 256"/>
                <a:gd name="T16" fmla="*/ 135 w 320"/>
                <a:gd name="T17" fmla="*/ 135 h 256"/>
                <a:gd name="T18" fmla="*/ 120 w 320"/>
                <a:gd name="T19" fmla="*/ 135 h 256"/>
                <a:gd name="T20" fmla="*/ 120 w 320"/>
                <a:gd name="T21" fmla="*/ 120 h 256"/>
                <a:gd name="T22" fmla="*/ 152 w 320"/>
                <a:gd name="T23" fmla="*/ 88 h 256"/>
                <a:gd name="T24" fmla="*/ 156 w 320"/>
                <a:gd name="T25" fmla="*/ 86 h 256"/>
                <a:gd name="T26" fmla="*/ 164 w 320"/>
                <a:gd name="T27" fmla="*/ 86 h 256"/>
                <a:gd name="T28" fmla="*/ 167 w 320"/>
                <a:gd name="T29" fmla="*/ 88 h 256"/>
                <a:gd name="T30" fmla="*/ 199 w 320"/>
                <a:gd name="T31" fmla="*/ 120 h 256"/>
                <a:gd name="T32" fmla="*/ 199 w 320"/>
                <a:gd name="T33" fmla="*/ 135 h 256"/>
                <a:gd name="T34" fmla="*/ 266 w 320"/>
                <a:gd name="T35" fmla="*/ 85 h 256"/>
                <a:gd name="T36" fmla="*/ 262 w 320"/>
                <a:gd name="T37" fmla="*/ 85 h 256"/>
                <a:gd name="T38" fmla="*/ 176 w 320"/>
                <a:gd name="T39" fmla="*/ 0 h 256"/>
                <a:gd name="T40" fmla="*/ 94 w 320"/>
                <a:gd name="T41" fmla="*/ 55 h 256"/>
                <a:gd name="T42" fmla="*/ 71 w 320"/>
                <a:gd name="T43" fmla="*/ 50 h 256"/>
                <a:gd name="T44" fmla="*/ 0 w 320"/>
                <a:gd name="T45" fmla="*/ 121 h 256"/>
                <a:gd name="T46" fmla="*/ 71 w 320"/>
                <a:gd name="T47" fmla="*/ 192 h 256"/>
                <a:gd name="T48" fmla="*/ 106 w 320"/>
                <a:gd name="T49" fmla="*/ 192 h 256"/>
                <a:gd name="T50" fmla="*/ 117 w 320"/>
                <a:gd name="T51" fmla="*/ 181 h 256"/>
                <a:gd name="T52" fmla="*/ 106 w 320"/>
                <a:gd name="T53" fmla="*/ 170 h 256"/>
                <a:gd name="T54" fmla="*/ 71 w 320"/>
                <a:gd name="T55" fmla="*/ 170 h 256"/>
                <a:gd name="T56" fmla="*/ 21 w 320"/>
                <a:gd name="T57" fmla="*/ 121 h 256"/>
                <a:gd name="T58" fmla="*/ 71 w 320"/>
                <a:gd name="T59" fmla="*/ 71 h 256"/>
                <a:gd name="T60" fmla="*/ 95 w 320"/>
                <a:gd name="T61" fmla="*/ 79 h 256"/>
                <a:gd name="T62" fmla="*/ 105 w 320"/>
                <a:gd name="T63" fmla="*/ 80 h 256"/>
                <a:gd name="T64" fmla="*/ 111 w 320"/>
                <a:gd name="T65" fmla="*/ 73 h 256"/>
                <a:gd name="T66" fmla="*/ 176 w 320"/>
                <a:gd name="T67" fmla="*/ 21 h 256"/>
                <a:gd name="T68" fmla="*/ 241 w 320"/>
                <a:gd name="T69" fmla="*/ 86 h 256"/>
                <a:gd name="T70" fmla="*/ 240 w 320"/>
                <a:gd name="T71" fmla="*/ 94 h 256"/>
                <a:gd name="T72" fmla="*/ 239 w 320"/>
                <a:gd name="T73" fmla="*/ 99 h 256"/>
                <a:gd name="T74" fmla="*/ 243 w 320"/>
                <a:gd name="T75" fmla="*/ 109 h 256"/>
                <a:gd name="T76" fmla="*/ 255 w 320"/>
                <a:gd name="T77" fmla="*/ 110 h 256"/>
                <a:gd name="T78" fmla="*/ 266 w 320"/>
                <a:gd name="T79" fmla="*/ 106 h 256"/>
                <a:gd name="T80" fmla="*/ 298 w 320"/>
                <a:gd name="T81" fmla="*/ 138 h 256"/>
                <a:gd name="T82" fmla="*/ 266 w 320"/>
                <a:gd name="T83" fmla="*/ 170 h 256"/>
                <a:gd name="T84" fmla="*/ 213 w 320"/>
                <a:gd name="T85" fmla="*/ 170 h 256"/>
                <a:gd name="T86" fmla="*/ 202 w 320"/>
                <a:gd name="T87" fmla="*/ 181 h 256"/>
                <a:gd name="T88" fmla="*/ 213 w 320"/>
                <a:gd name="T89" fmla="*/ 192 h 256"/>
                <a:gd name="T90" fmla="*/ 266 w 320"/>
                <a:gd name="T91" fmla="*/ 192 h 256"/>
                <a:gd name="T92" fmla="*/ 320 w 320"/>
                <a:gd name="T93" fmla="*/ 138 h 256"/>
                <a:gd name="T94" fmla="*/ 266 w 320"/>
                <a:gd name="T95" fmla="*/ 8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56">
                  <a:moveTo>
                    <a:pt x="199" y="135"/>
                  </a:moveTo>
                  <a:cubicBezTo>
                    <a:pt x="197" y="137"/>
                    <a:pt x="194" y="138"/>
                    <a:pt x="192" y="138"/>
                  </a:cubicBezTo>
                  <a:cubicBezTo>
                    <a:pt x="189" y="138"/>
                    <a:pt x="186" y="137"/>
                    <a:pt x="184" y="135"/>
                  </a:cubicBezTo>
                  <a:cubicBezTo>
                    <a:pt x="170" y="121"/>
                    <a:pt x="170" y="121"/>
                    <a:pt x="170" y="121"/>
                  </a:cubicBezTo>
                  <a:cubicBezTo>
                    <a:pt x="170" y="245"/>
                    <a:pt x="170" y="245"/>
                    <a:pt x="170" y="245"/>
                  </a:cubicBezTo>
                  <a:cubicBezTo>
                    <a:pt x="170" y="251"/>
                    <a:pt x="166" y="256"/>
                    <a:pt x="160" y="256"/>
                  </a:cubicBezTo>
                  <a:cubicBezTo>
                    <a:pt x="154" y="256"/>
                    <a:pt x="149" y="251"/>
                    <a:pt x="149" y="245"/>
                  </a:cubicBezTo>
                  <a:cubicBezTo>
                    <a:pt x="149" y="121"/>
                    <a:pt x="149" y="121"/>
                    <a:pt x="149" y="121"/>
                  </a:cubicBezTo>
                  <a:cubicBezTo>
                    <a:pt x="135" y="135"/>
                    <a:pt x="135" y="135"/>
                    <a:pt x="135" y="135"/>
                  </a:cubicBezTo>
                  <a:cubicBezTo>
                    <a:pt x="131" y="139"/>
                    <a:pt x="124" y="139"/>
                    <a:pt x="120" y="135"/>
                  </a:cubicBezTo>
                  <a:cubicBezTo>
                    <a:pt x="116" y="131"/>
                    <a:pt x="116" y="124"/>
                    <a:pt x="120" y="120"/>
                  </a:cubicBezTo>
                  <a:cubicBezTo>
                    <a:pt x="152" y="88"/>
                    <a:pt x="152" y="88"/>
                    <a:pt x="152" y="88"/>
                  </a:cubicBezTo>
                  <a:cubicBezTo>
                    <a:pt x="153" y="87"/>
                    <a:pt x="154" y="86"/>
                    <a:pt x="156" y="86"/>
                  </a:cubicBezTo>
                  <a:cubicBezTo>
                    <a:pt x="158" y="85"/>
                    <a:pt x="161" y="85"/>
                    <a:pt x="164" y="86"/>
                  </a:cubicBezTo>
                  <a:cubicBezTo>
                    <a:pt x="165" y="86"/>
                    <a:pt x="166" y="87"/>
                    <a:pt x="167" y="88"/>
                  </a:cubicBezTo>
                  <a:cubicBezTo>
                    <a:pt x="199" y="120"/>
                    <a:pt x="199" y="120"/>
                    <a:pt x="199" y="120"/>
                  </a:cubicBezTo>
                  <a:cubicBezTo>
                    <a:pt x="203" y="124"/>
                    <a:pt x="203" y="131"/>
                    <a:pt x="199" y="135"/>
                  </a:cubicBezTo>
                  <a:close/>
                  <a:moveTo>
                    <a:pt x="266" y="85"/>
                  </a:moveTo>
                  <a:cubicBezTo>
                    <a:pt x="265" y="85"/>
                    <a:pt x="264"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106" y="192"/>
                    <a:pt x="106" y="192"/>
                    <a:pt x="106" y="192"/>
                  </a:cubicBezTo>
                  <a:cubicBezTo>
                    <a:pt x="112" y="192"/>
                    <a:pt x="117" y="187"/>
                    <a:pt x="117" y="181"/>
                  </a:cubicBezTo>
                  <a:cubicBezTo>
                    <a:pt x="117" y="175"/>
                    <a:pt x="112" y="170"/>
                    <a:pt x="106" y="170"/>
                  </a:cubicBez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7"/>
                    <a:pt x="243" y="109"/>
                  </a:cubicBezTo>
                  <a:cubicBezTo>
                    <a:pt x="247" y="112"/>
                    <a:pt x="251" y="112"/>
                    <a:pt x="255" y="110"/>
                  </a:cubicBezTo>
                  <a:cubicBezTo>
                    <a:pt x="261" y="107"/>
                    <a:pt x="265" y="106"/>
                    <a:pt x="266" y="106"/>
                  </a:cubicBezTo>
                  <a:cubicBezTo>
                    <a:pt x="284" y="106"/>
                    <a:pt x="298" y="121"/>
                    <a:pt x="298" y="138"/>
                  </a:cubicBezTo>
                  <a:cubicBezTo>
                    <a:pt x="298" y="156"/>
                    <a:pt x="284" y="170"/>
                    <a:pt x="266" y="170"/>
                  </a:cubicBezTo>
                  <a:cubicBezTo>
                    <a:pt x="213" y="170"/>
                    <a:pt x="213" y="170"/>
                    <a:pt x="213" y="170"/>
                  </a:cubicBezTo>
                  <a:cubicBezTo>
                    <a:pt x="207" y="170"/>
                    <a:pt x="202" y="175"/>
                    <a:pt x="202" y="181"/>
                  </a:cubicBezTo>
                  <a:cubicBezTo>
                    <a:pt x="202" y="187"/>
                    <a:pt x="207" y="192"/>
                    <a:pt x="213" y="192"/>
                  </a:cubicBezTo>
                  <a:cubicBezTo>
                    <a:pt x="266" y="192"/>
                    <a:pt x="266" y="192"/>
                    <a:pt x="266" y="192"/>
                  </a:cubicBezTo>
                  <a:cubicBezTo>
                    <a:pt x="296" y="192"/>
                    <a:pt x="320" y="168"/>
                    <a:pt x="320" y="138"/>
                  </a:cubicBezTo>
                  <a:cubicBezTo>
                    <a:pt x="320" y="109"/>
                    <a:pt x="296" y="85"/>
                    <a:pt x="266"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2" name="Freeform 783">
            <a:extLst>
              <a:ext uri="{FF2B5EF4-FFF2-40B4-BE49-F238E27FC236}">
                <a16:creationId xmlns:a16="http://schemas.microsoft.com/office/drawing/2014/main" id="{B561E9B4-FBE7-4AB4-BFAB-5DFEA6755B02}"/>
              </a:ext>
            </a:extLst>
          </p:cNvPr>
          <p:cNvSpPr>
            <a:spLocks noChangeAspect="1" noEditPoints="1"/>
          </p:cNvSpPr>
          <p:nvPr/>
        </p:nvSpPr>
        <p:spPr bwMode="auto">
          <a:xfrm>
            <a:off x="9176984" y="2526859"/>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33" name="Group 432">
            <a:extLst>
              <a:ext uri="{FF2B5EF4-FFF2-40B4-BE49-F238E27FC236}">
                <a16:creationId xmlns:a16="http://schemas.microsoft.com/office/drawing/2014/main" id="{0B1A0FA2-3835-439E-B8DE-ACBA75C2E1BA}"/>
              </a:ext>
            </a:extLst>
          </p:cNvPr>
          <p:cNvGrpSpPr>
            <a:grpSpLocks noChangeAspect="1"/>
          </p:cNvGrpSpPr>
          <p:nvPr/>
        </p:nvGrpSpPr>
        <p:grpSpPr bwMode="auto">
          <a:xfrm>
            <a:off x="10487463" y="2526859"/>
            <a:ext cx="369021" cy="369021"/>
            <a:chOff x="3450" y="1581"/>
            <a:chExt cx="340" cy="340"/>
          </a:xfrm>
          <a:solidFill>
            <a:schemeClr val="accent5"/>
          </a:solidFill>
        </p:grpSpPr>
        <p:sp>
          <p:nvSpPr>
            <p:cNvPr id="634" name="Freeform 433">
              <a:extLst>
                <a:ext uri="{FF2B5EF4-FFF2-40B4-BE49-F238E27FC236}">
                  <a16:creationId xmlns:a16="http://schemas.microsoft.com/office/drawing/2014/main" id="{0173B024-48F5-4DEF-9C28-1FC8CC15E4E9}"/>
                </a:ext>
              </a:extLst>
            </p:cNvPr>
            <p:cNvSpPr>
              <a:spLocks noEditPoints="1"/>
            </p:cNvSpPr>
            <p:nvPr/>
          </p:nvSpPr>
          <p:spPr bwMode="auto">
            <a:xfrm>
              <a:off x="3599" y="1701"/>
              <a:ext cx="42" cy="43"/>
            </a:xfrm>
            <a:custGeom>
              <a:avLst/>
              <a:gdLst>
                <a:gd name="T0" fmla="*/ 64 w 64"/>
                <a:gd name="T1" fmla="*/ 32 h 64"/>
                <a:gd name="T2" fmla="*/ 32 w 64"/>
                <a:gd name="T3" fmla="*/ 0 h 64"/>
                <a:gd name="T4" fmla="*/ 0 w 64"/>
                <a:gd name="T5" fmla="*/ 32 h 64"/>
                <a:gd name="T6" fmla="*/ 32 w 64"/>
                <a:gd name="T7" fmla="*/ 64 h 64"/>
                <a:gd name="T8" fmla="*/ 64 w 64"/>
                <a:gd name="T9" fmla="*/ 32 h 64"/>
                <a:gd name="T10" fmla="*/ 21 w 64"/>
                <a:gd name="T11" fmla="*/ 32 h 64"/>
                <a:gd name="T12" fmla="*/ 32 w 64"/>
                <a:gd name="T13" fmla="*/ 21 h 64"/>
                <a:gd name="T14" fmla="*/ 42 w 64"/>
                <a:gd name="T15" fmla="*/ 32 h 64"/>
                <a:gd name="T16" fmla="*/ 32 w 64"/>
                <a:gd name="T17" fmla="*/ 43 h 64"/>
                <a:gd name="T18" fmla="*/ 21 w 64"/>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64" y="32"/>
                  </a:moveTo>
                  <a:cubicBezTo>
                    <a:pt x="64" y="14"/>
                    <a:pt x="49" y="0"/>
                    <a:pt x="32" y="0"/>
                  </a:cubicBezTo>
                  <a:cubicBezTo>
                    <a:pt x="14" y="0"/>
                    <a:pt x="0" y="14"/>
                    <a:pt x="0" y="32"/>
                  </a:cubicBezTo>
                  <a:cubicBezTo>
                    <a:pt x="0" y="50"/>
                    <a:pt x="14" y="64"/>
                    <a:pt x="32" y="64"/>
                  </a:cubicBezTo>
                  <a:cubicBezTo>
                    <a:pt x="49" y="64"/>
                    <a:pt x="64" y="50"/>
                    <a:pt x="64" y="32"/>
                  </a:cubicBezTo>
                  <a:close/>
                  <a:moveTo>
                    <a:pt x="21" y="32"/>
                  </a:moveTo>
                  <a:cubicBezTo>
                    <a:pt x="21" y="26"/>
                    <a:pt x="26" y="21"/>
                    <a:pt x="32" y="21"/>
                  </a:cubicBezTo>
                  <a:cubicBezTo>
                    <a:pt x="38" y="21"/>
                    <a:pt x="42" y="26"/>
                    <a:pt x="42" y="32"/>
                  </a:cubicBezTo>
                  <a:cubicBezTo>
                    <a:pt x="42" y="38"/>
                    <a:pt x="38" y="43"/>
                    <a:pt x="32" y="43"/>
                  </a:cubicBezTo>
                  <a:cubicBezTo>
                    <a:pt x="26" y="43"/>
                    <a:pt x="21" y="38"/>
                    <a:pt x="21"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5" name="Freeform 434">
              <a:extLst>
                <a:ext uri="{FF2B5EF4-FFF2-40B4-BE49-F238E27FC236}">
                  <a16:creationId xmlns:a16="http://schemas.microsoft.com/office/drawing/2014/main" id="{FE98BD89-0BE0-4E67-9DEB-F852384AC8E5}"/>
                </a:ext>
              </a:extLst>
            </p:cNvPr>
            <p:cNvSpPr>
              <a:spLocks/>
            </p:cNvSpPr>
            <p:nvPr/>
          </p:nvSpPr>
          <p:spPr bwMode="auto">
            <a:xfrm>
              <a:off x="3514" y="1645"/>
              <a:ext cx="212" cy="184"/>
            </a:xfrm>
            <a:custGeom>
              <a:avLst/>
              <a:gdLst>
                <a:gd name="T0" fmla="*/ 160 w 320"/>
                <a:gd name="T1" fmla="*/ 0 h 277"/>
                <a:gd name="T2" fmla="*/ 0 w 320"/>
                <a:gd name="T3" fmla="*/ 160 h 277"/>
                <a:gd name="T4" fmla="*/ 45 w 320"/>
                <a:gd name="T5" fmla="*/ 272 h 277"/>
                <a:gd name="T6" fmla="*/ 60 w 320"/>
                <a:gd name="T7" fmla="*/ 272 h 277"/>
                <a:gd name="T8" fmla="*/ 61 w 320"/>
                <a:gd name="T9" fmla="*/ 257 h 277"/>
                <a:gd name="T10" fmla="*/ 21 w 320"/>
                <a:gd name="T11" fmla="*/ 160 h 277"/>
                <a:gd name="T12" fmla="*/ 160 w 320"/>
                <a:gd name="T13" fmla="*/ 21 h 277"/>
                <a:gd name="T14" fmla="*/ 298 w 320"/>
                <a:gd name="T15" fmla="*/ 160 h 277"/>
                <a:gd name="T16" fmla="*/ 257 w 320"/>
                <a:gd name="T17" fmla="*/ 259 h 277"/>
                <a:gd name="T18" fmla="*/ 257 w 320"/>
                <a:gd name="T19" fmla="*/ 274 h 277"/>
                <a:gd name="T20" fmla="*/ 264 w 320"/>
                <a:gd name="T21" fmla="*/ 277 h 277"/>
                <a:gd name="T22" fmla="*/ 272 w 320"/>
                <a:gd name="T23" fmla="*/ 274 h 277"/>
                <a:gd name="T24" fmla="*/ 320 w 320"/>
                <a:gd name="T25" fmla="*/ 160 h 277"/>
                <a:gd name="T26" fmla="*/ 160 w 320"/>
                <a:gd name="T2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77">
                  <a:moveTo>
                    <a:pt x="160" y="0"/>
                  </a:moveTo>
                  <a:cubicBezTo>
                    <a:pt x="71" y="0"/>
                    <a:pt x="0" y="71"/>
                    <a:pt x="0" y="160"/>
                  </a:cubicBezTo>
                  <a:cubicBezTo>
                    <a:pt x="0" y="202"/>
                    <a:pt x="16" y="242"/>
                    <a:pt x="45" y="272"/>
                  </a:cubicBezTo>
                  <a:cubicBezTo>
                    <a:pt x="49" y="276"/>
                    <a:pt x="56" y="276"/>
                    <a:pt x="60" y="272"/>
                  </a:cubicBezTo>
                  <a:cubicBezTo>
                    <a:pt x="65" y="268"/>
                    <a:pt x="65" y="261"/>
                    <a:pt x="61" y="257"/>
                  </a:cubicBezTo>
                  <a:cubicBezTo>
                    <a:pt x="35" y="231"/>
                    <a:pt x="21" y="196"/>
                    <a:pt x="21" y="160"/>
                  </a:cubicBezTo>
                  <a:cubicBezTo>
                    <a:pt x="21" y="83"/>
                    <a:pt x="83" y="21"/>
                    <a:pt x="160" y="21"/>
                  </a:cubicBezTo>
                  <a:cubicBezTo>
                    <a:pt x="236" y="21"/>
                    <a:pt x="298" y="83"/>
                    <a:pt x="298" y="160"/>
                  </a:cubicBezTo>
                  <a:cubicBezTo>
                    <a:pt x="298" y="197"/>
                    <a:pt x="284" y="232"/>
                    <a:pt x="257" y="259"/>
                  </a:cubicBezTo>
                  <a:cubicBezTo>
                    <a:pt x="253" y="263"/>
                    <a:pt x="252" y="270"/>
                    <a:pt x="257" y="274"/>
                  </a:cubicBezTo>
                  <a:cubicBezTo>
                    <a:pt x="259" y="276"/>
                    <a:pt x="261" y="277"/>
                    <a:pt x="264" y="277"/>
                  </a:cubicBezTo>
                  <a:cubicBezTo>
                    <a:pt x="267" y="277"/>
                    <a:pt x="270" y="276"/>
                    <a:pt x="272" y="274"/>
                  </a:cubicBezTo>
                  <a:cubicBezTo>
                    <a:pt x="303" y="244"/>
                    <a:pt x="320" y="203"/>
                    <a:pt x="320" y="160"/>
                  </a:cubicBezTo>
                  <a:cubicBezTo>
                    <a:pt x="320" y="71"/>
                    <a:pt x="248" y="0"/>
                    <a:pt x="16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6" name="Freeform 435">
              <a:extLst>
                <a:ext uri="{FF2B5EF4-FFF2-40B4-BE49-F238E27FC236}">
                  <a16:creationId xmlns:a16="http://schemas.microsoft.com/office/drawing/2014/main" id="{3F5488BC-255F-4ACD-A9A8-2C4380E2581E}"/>
                </a:ext>
              </a:extLst>
            </p:cNvPr>
            <p:cNvSpPr>
              <a:spLocks noEditPoints="1"/>
            </p:cNvSpPr>
            <p:nvPr/>
          </p:nvSpPr>
          <p:spPr bwMode="auto">
            <a:xfrm>
              <a:off x="3591" y="1751"/>
              <a:ext cx="57" cy="99"/>
            </a:xfrm>
            <a:custGeom>
              <a:avLst/>
              <a:gdLst>
                <a:gd name="T0" fmla="*/ 64 w 85"/>
                <a:gd name="T1" fmla="*/ 0 h 149"/>
                <a:gd name="T2" fmla="*/ 21 w 85"/>
                <a:gd name="T3" fmla="*/ 0 h 149"/>
                <a:gd name="T4" fmla="*/ 0 w 85"/>
                <a:gd name="T5" fmla="*/ 21 h 149"/>
                <a:gd name="T6" fmla="*/ 0 w 85"/>
                <a:gd name="T7" fmla="*/ 53 h 149"/>
                <a:gd name="T8" fmla="*/ 9 w 85"/>
                <a:gd name="T9" fmla="*/ 100 h 149"/>
                <a:gd name="T10" fmla="*/ 32 w 85"/>
                <a:gd name="T11" fmla="*/ 149 h 149"/>
                <a:gd name="T12" fmla="*/ 53 w 85"/>
                <a:gd name="T13" fmla="*/ 149 h 149"/>
                <a:gd name="T14" fmla="*/ 76 w 85"/>
                <a:gd name="T15" fmla="*/ 100 h 149"/>
                <a:gd name="T16" fmla="*/ 85 w 85"/>
                <a:gd name="T17" fmla="*/ 53 h 149"/>
                <a:gd name="T18" fmla="*/ 85 w 85"/>
                <a:gd name="T19" fmla="*/ 21 h 149"/>
                <a:gd name="T20" fmla="*/ 64 w 85"/>
                <a:gd name="T21" fmla="*/ 0 h 149"/>
                <a:gd name="T22" fmla="*/ 47 w 85"/>
                <a:gd name="T23" fmla="*/ 128 h 149"/>
                <a:gd name="T24" fmla="*/ 38 w 85"/>
                <a:gd name="T25" fmla="*/ 128 h 149"/>
                <a:gd name="T26" fmla="*/ 21 w 85"/>
                <a:gd name="T27" fmla="*/ 53 h 149"/>
                <a:gd name="T28" fmla="*/ 21 w 85"/>
                <a:gd name="T29" fmla="*/ 22 h 149"/>
                <a:gd name="T30" fmla="*/ 21 w 85"/>
                <a:gd name="T31" fmla="*/ 21 h 149"/>
                <a:gd name="T32" fmla="*/ 63 w 85"/>
                <a:gd name="T33" fmla="*/ 21 h 149"/>
                <a:gd name="T34" fmla="*/ 64 w 85"/>
                <a:gd name="T35" fmla="*/ 21 h 149"/>
                <a:gd name="T36" fmla="*/ 64 w 85"/>
                <a:gd name="T37" fmla="*/ 53 h 149"/>
                <a:gd name="T38" fmla="*/ 47 w 85"/>
                <a:gd name="T3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149">
                  <a:moveTo>
                    <a:pt x="64" y="0"/>
                  </a:moveTo>
                  <a:cubicBezTo>
                    <a:pt x="21" y="0"/>
                    <a:pt x="21" y="0"/>
                    <a:pt x="21" y="0"/>
                  </a:cubicBezTo>
                  <a:cubicBezTo>
                    <a:pt x="10" y="0"/>
                    <a:pt x="0" y="10"/>
                    <a:pt x="0" y="21"/>
                  </a:cubicBezTo>
                  <a:cubicBezTo>
                    <a:pt x="0" y="53"/>
                    <a:pt x="0" y="53"/>
                    <a:pt x="0" y="53"/>
                  </a:cubicBezTo>
                  <a:cubicBezTo>
                    <a:pt x="0" y="58"/>
                    <a:pt x="6" y="87"/>
                    <a:pt x="9" y="100"/>
                  </a:cubicBezTo>
                  <a:cubicBezTo>
                    <a:pt x="19" y="144"/>
                    <a:pt x="23" y="149"/>
                    <a:pt x="32" y="149"/>
                  </a:cubicBezTo>
                  <a:cubicBezTo>
                    <a:pt x="53" y="149"/>
                    <a:pt x="53" y="149"/>
                    <a:pt x="53" y="149"/>
                  </a:cubicBezTo>
                  <a:cubicBezTo>
                    <a:pt x="63" y="149"/>
                    <a:pt x="66" y="144"/>
                    <a:pt x="76" y="100"/>
                  </a:cubicBezTo>
                  <a:cubicBezTo>
                    <a:pt x="79" y="87"/>
                    <a:pt x="85" y="58"/>
                    <a:pt x="85" y="53"/>
                  </a:cubicBezTo>
                  <a:cubicBezTo>
                    <a:pt x="85" y="21"/>
                    <a:pt x="85" y="21"/>
                    <a:pt x="85" y="21"/>
                  </a:cubicBezTo>
                  <a:cubicBezTo>
                    <a:pt x="85" y="10"/>
                    <a:pt x="75" y="0"/>
                    <a:pt x="64" y="0"/>
                  </a:cubicBezTo>
                  <a:close/>
                  <a:moveTo>
                    <a:pt x="47" y="128"/>
                  </a:moveTo>
                  <a:cubicBezTo>
                    <a:pt x="38" y="128"/>
                    <a:pt x="38" y="128"/>
                    <a:pt x="38" y="128"/>
                  </a:cubicBezTo>
                  <a:cubicBezTo>
                    <a:pt x="33" y="112"/>
                    <a:pt x="22" y="60"/>
                    <a:pt x="21" y="53"/>
                  </a:cubicBezTo>
                  <a:cubicBezTo>
                    <a:pt x="21" y="22"/>
                    <a:pt x="21" y="22"/>
                    <a:pt x="21" y="22"/>
                  </a:cubicBezTo>
                  <a:cubicBezTo>
                    <a:pt x="21" y="22"/>
                    <a:pt x="22" y="21"/>
                    <a:pt x="21" y="21"/>
                  </a:cubicBezTo>
                  <a:cubicBezTo>
                    <a:pt x="63" y="21"/>
                    <a:pt x="63" y="21"/>
                    <a:pt x="63" y="21"/>
                  </a:cubicBezTo>
                  <a:cubicBezTo>
                    <a:pt x="63" y="21"/>
                    <a:pt x="64" y="22"/>
                    <a:pt x="64" y="21"/>
                  </a:cubicBezTo>
                  <a:cubicBezTo>
                    <a:pt x="64" y="53"/>
                    <a:pt x="64" y="53"/>
                    <a:pt x="64" y="53"/>
                  </a:cubicBezTo>
                  <a:cubicBezTo>
                    <a:pt x="63" y="60"/>
                    <a:pt x="52" y="112"/>
                    <a:pt x="47"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7" name="Freeform 436">
              <a:extLst>
                <a:ext uri="{FF2B5EF4-FFF2-40B4-BE49-F238E27FC236}">
                  <a16:creationId xmlns:a16="http://schemas.microsoft.com/office/drawing/2014/main" id="{9C0FE3AA-F62C-4EBE-8A18-EE0242ECF0DB}"/>
                </a:ext>
              </a:extLst>
            </p:cNvPr>
            <p:cNvSpPr>
              <a:spLocks/>
            </p:cNvSpPr>
            <p:nvPr/>
          </p:nvSpPr>
          <p:spPr bwMode="auto">
            <a:xfrm>
              <a:off x="3542" y="1673"/>
              <a:ext cx="156" cy="136"/>
            </a:xfrm>
            <a:custGeom>
              <a:avLst/>
              <a:gdLst>
                <a:gd name="T0" fmla="*/ 118 w 235"/>
                <a:gd name="T1" fmla="*/ 0 h 205"/>
                <a:gd name="T2" fmla="*/ 0 w 235"/>
                <a:gd name="T3" fmla="*/ 118 h 205"/>
                <a:gd name="T4" fmla="*/ 34 w 235"/>
                <a:gd name="T5" fmla="*/ 200 h 205"/>
                <a:gd name="T6" fmla="*/ 49 w 235"/>
                <a:gd name="T7" fmla="*/ 200 h 205"/>
                <a:gd name="T8" fmla="*/ 49 w 235"/>
                <a:gd name="T9" fmla="*/ 185 h 205"/>
                <a:gd name="T10" fmla="*/ 22 w 235"/>
                <a:gd name="T11" fmla="*/ 118 h 205"/>
                <a:gd name="T12" fmla="*/ 118 w 235"/>
                <a:gd name="T13" fmla="*/ 22 h 205"/>
                <a:gd name="T14" fmla="*/ 214 w 235"/>
                <a:gd name="T15" fmla="*/ 118 h 205"/>
                <a:gd name="T16" fmla="*/ 185 w 235"/>
                <a:gd name="T17" fmla="*/ 186 h 205"/>
                <a:gd name="T18" fmla="*/ 185 w 235"/>
                <a:gd name="T19" fmla="*/ 201 h 205"/>
                <a:gd name="T20" fmla="*/ 192 w 235"/>
                <a:gd name="T21" fmla="*/ 205 h 205"/>
                <a:gd name="T22" fmla="*/ 200 w 235"/>
                <a:gd name="T23" fmla="*/ 201 h 205"/>
                <a:gd name="T24" fmla="*/ 235 w 235"/>
                <a:gd name="T25" fmla="*/ 118 h 205"/>
                <a:gd name="T26" fmla="*/ 118 w 235"/>
                <a:gd name="T2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05">
                  <a:moveTo>
                    <a:pt x="118" y="0"/>
                  </a:moveTo>
                  <a:cubicBezTo>
                    <a:pt x="53" y="0"/>
                    <a:pt x="0" y="53"/>
                    <a:pt x="0" y="118"/>
                  </a:cubicBezTo>
                  <a:cubicBezTo>
                    <a:pt x="0" y="149"/>
                    <a:pt x="12" y="178"/>
                    <a:pt x="34" y="200"/>
                  </a:cubicBezTo>
                  <a:cubicBezTo>
                    <a:pt x="38" y="204"/>
                    <a:pt x="45" y="204"/>
                    <a:pt x="49" y="200"/>
                  </a:cubicBezTo>
                  <a:cubicBezTo>
                    <a:pt x="53" y="196"/>
                    <a:pt x="53" y="189"/>
                    <a:pt x="49" y="185"/>
                  </a:cubicBezTo>
                  <a:cubicBezTo>
                    <a:pt x="31" y="167"/>
                    <a:pt x="22" y="143"/>
                    <a:pt x="22" y="118"/>
                  </a:cubicBezTo>
                  <a:cubicBezTo>
                    <a:pt x="22" y="65"/>
                    <a:pt x="65" y="22"/>
                    <a:pt x="118" y="22"/>
                  </a:cubicBezTo>
                  <a:cubicBezTo>
                    <a:pt x="171" y="22"/>
                    <a:pt x="214" y="65"/>
                    <a:pt x="214" y="118"/>
                  </a:cubicBezTo>
                  <a:cubicBezTo>
                    <a:pt x="214" y="144"/>
                    <a:pt x="203" y="168"/>
                    <a:pt x="185" y="186"/>
                  </a:cubicBezTo>
                  <a:cubicBezTo>
                    <a:pt x="181" y="190"/>
                    <a:pt x="181" y="197"/>
                    <a:pt x="185" y="201"/>
                  </a:cubicBezTo>
                  <a:cubicBezTo>
                    <a:pt x="187" y="203"/>
                    <a:pt x="190" y="205"/>
                    <a:pt x="192" y="205"/>
                  </a:cubicBezTo>
                  <a:cubicBezTo>
                    <a:pt x="195" y="205"/>
                    <a:pt x="198" y="203"/>
                    <a:pt x="200" y="201"/>
                  </a:cubicBezTo>
                  <a:cubicBezTo>
                    <a:pt x="223" y="179"/>
                    <a:pt x="235" y="149"/>
                    <a:pt x="235" y="118"/>
                  </a:cubicBezTo>
                  <a:cubicBezTo>
                    <a:pt x="235" y="53"/>
                    <a:pt x="182" y="0"/>
                    <a:pt x="11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8" name="Freeform 437">
              <a:extLst>
                <a:ext uri="{FF2B5EF4-FFF2-40B4-BE49-F238E27FC236}">
                  <a16:creationId xmlns:a16="http://schemas.microsoft.com/office/drawing/2014/main" id="{9D4C45AE-D597-4C99-AF3E-FC2473B41F47}"/>
                </a:ext>
              </a:extLst>
            </p:cNvPr>
            <p:cNvSpPr>
              <a:spLocks noEditPoints="1"/>
            </p:cNvSpPr>
            <p:nvPr/>
          </p:nvSpPr>
          <p:spPr bwMode="auto">
            <a:xfrm>
              <a:off x="3450" y="15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9" name="Freeform 441">
            <a:extLst>
              <a:ext uri="{FF2B5EF4-FFF2-40B4-BE49-F238E27FC236}">
                <a16:creationId xmlns:a16="http://schemas.microsoft.com/office/drawing/2014/main" id="{62B093D0-D023-4DCF-88ED-064EEED1AA4C}"/>
              </a:ext>
            </a:extLst>
          </p:cNvPr>
          <p:cNvSpPr>
            <a:spLocks noChangeAspect="1" noEditPoints="1"/>
          </p:cNvSpPr>
          <p:nvPr/>
        </p:nvSpPr>
        <p:spPr bwMode="auto">
          <a:xfrm>
            <a:off x="10050350" y="2526859"/>
            <a:ext cx="370106" cy="369021"/>
          </a:xfrm>
          <a:custGeom>
            <a:avLst/>
            <a:gdLst>
              <a:gd name="T0" fmla="*/ 277 w 512"/>
              <a:gd name="T1" fmla="*/ 277 h 512"/>
              <a:gd name="T2" fmla="*/ 277 w 512"/>
              <a:gd name="T3" fmla="*/ 309 h 512"/>
              <a:gd name="T4" fmla="*/ 260 w 512"/>
              <a:gd name="T5" fmla="*/ 384 h 512"/>
              <a:gd name="T6" fmla="*/ 251 w 512"/>
              <a:gd name="T7" fmla="*/ 384 h 512"/>
              <a:gd name="T8" fmla="*/ 234 w 512"/>
              <a:gd name="T9" fmla="*/ 309 h 512"/>
              <a:gd name="T10" fmla="*/ 234 w 512"/>
              <a:gd name="T11" fmla="*/ 278 h 512"/>
              <a:gd name="T12" fmla="*/ 234 w 512"/>
              <a:gd name="T13" fmla="*/ 277 h 512"/>
              <a:gd name="T14" fmla="*/ 276 w 512"/>
              <a:gd name="T15" fmla="*/ 277 h 512"/>
              <a:gd name="T16" fmla="*/ 277 w 512"/>
              <a:gd name="T17" fmla="*/ 277 h 512"/>
              <a:gd name="T18" fmla="*/ 266 w 512"/>
              <a:gd name="T19" fmla="*/ 213 h 512"/>
              <a:gd name="T20" fmla="*/ 256 w 512"/>
              <a:gd name="T21" fmla="*/ 202 h 512"/>
              <a:gd name="T22" fmla="*/ 245 w 512"/>
              <a:gd name="T23" fmla="*/ 213 h 512"/>
              <a:gd name="T24" fmla="*/ 256 w 512"/>
              <a:gd name="T25" fmla="*/ 224 h 512"/>
              <a:gd name="T26" fmla="*/ 266 w 512"/>
              <a:gd name="T27" fmla="*/ 21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98 w 512"/>
              <a:gd name="T39" fmla="*/ 277 h 512"/>
              <a:gd name="T40" fmla="*/ 277 w 512"/>
              <a:gd name="T41" fmla="*/ 256 h 512"/>
              <a:gd name="T42" fmla="*/ 234 w 512"/>
              <a:gd name="T43" fmla="*/ 256 h 512"/>
              <a:gd name="T44" fmla="*/ 213 w 512"/>
              <a:gd name="T45" fmla="*/ 277 h 512"/>
              <a:gd name="T46" fmla="*/ 213 w 512"/>
              <a:gd name="T47" fmla="*/ 309 h 512"/>
              <a:gd name="T48" fmla="*/ 222 w 512"/>
              <a:gd name="T49" fmla="*/ 356 h 512"/>
              <a:gd name="T50" fmla="*/ 245 w 512"/>
              <a:gd name="T51" fmla="*/ 405 h 512"/>
              <a:gd name="T52" fmla="*/ 266 w 512"/>
              <a:gd name="T53" fmla="*/ 405 h 512"/>
              <a:gd name="T54" fmla="*/ 289 w 512"/>
              <a:gd name="T55" fmla="*/ 356 h 512"/>
              <a:gd name="T56" fmla="*/ 298 w 512"/>
              <a:gd name="T57" fmla="*/ 309 h 512"/>
              <a:gd name="T58" fmla="*/ 298 w 512"/>
              <a:gd name="T59" fmla="*/ 277 h 512"/>
              <a:gd name="T60" fmla="*/ 256 w 512"/>
              <a:gd name="T61" fmla="*/ 245 h 512"/>
              <a:gd name="T62" fmla="*/ 288 w 512"/>
              <a:gd name="T63" fmla="*/ 213 h 512"/>
              <a:gd name="T64" fmla="*/ 256 w 512"/>
              <a:gd name="T65" fmla="*/ 181 h 512"/>
              <a:gd name="T66" fmla="*/ 224 w 512"/>
              <a:gd name="T67" fmla="*/ 213 h 512"/>
              <a:gd name="T68" fmla="*/ 256 w 512"/>
              <a:gd name="T69" fmla="*/ 245 h 512"/>
              <a:gd name="T70" fmla="*/ 338 w 512"/>
              <a:gd name="T71" fmla="*/ 339 h 512"/>
              <a:gd name="T72" fmla="*/ 373 w 512"/>
              <a:gd name="T73" fmla="*/ 256 h 512"/>
              <a:gd name="T74" fmla="*/ 256 w 512"/>
              <a:gd name="T75" fmla="*/ 138 h 512"/>
              <a:gd name="T76" fmla="*/ 138 w 512"/>
              <a:gd name="T77" fmla="*/ 256 h 512"/>
              <a:gd name="T78" fmla="*/ 172 w 512"/>
              <a:gd name="T79" fmla="*/ 338 h 512"/>
              <a:gd name="T80" fmla="*/ 187 w 512"/>
              <a:gd name="T81" fmla="*/ 338 h 512"/>
              <a:gd name="T82" fmla="*/ 187 w 512"/>
              <a:gd name="T83" fmla="*/ 323 h 512"/>
              <a:gd name="T84" fmla="*/ 160 w 512"/>
              <a:gd name="T85" fmla="*/ 256 h 512"/>
              <a:gd name="T86" fmla="*/ 256 w 512"/>
              <a:gd name="T87" fmla="*/ 160 h 512"/>
              <a:gd name="T88" fmla="*/ 352 w 512"/>
              <a:gd name="T89" fmla="*/ 256 h 512"/>
              <a:gd name="T90" fmla="*/ 323 w 512"/>
              <a:gd name="T91" fmla="*/ 324 h 512"/>
              <a:gd name="T92" fmla="*/ 323 w 512"/>
              <a:gd name="T93" fmla="*/ 339 h 512"/>
              <a:gd name="T94" fmla="*/ 330 w 512"/>
              <a:gd name="T95" fmla="*/ 343 h 512"/>
              <a:gd name="T96" fmla="*/ 338 w 512"/>
              <a:gd name="T97" fmla="*/ 339 h 512"/>
              <a:gd name="T98" fmla="*/ 416 w 512"/>
              <a:gd name="T99" fmla="*/ 256 h 512"/>
              <a:gd name="T100" fmla="*/ 256 w 512"/>
              <a:gd name="T101" fmla="*/ 96 h 512"/>
              <a:gd name="T102" fmla="*/ 96 w 512"/>
              <a:gd name="T103" fmla="*/ 256 h 512"/>
              <a:gd name="T104" fmla="*/ 141 w 512"/>
              <a:gd name="T105" fmla="*/ 368 h 512"/>
              <a:gd name="T106" fmla="*/ 156 w 512"/>
              <a:gd name="T107" fmla="*/ 368 h 512"/>
              <a:gd name="T108" fmla="*/ 157 w 512"/>
              <a:gd name="T109" fmla="*/ 353 h 512"/>
              <a:gd name="T110" fmla="*/ 117 w 512"/>
              <a:gd name="T111" fmla="*/ 256 h 512"/>
              <a:gd name="T112" fmla="*/ 256 w 512"/>
              <a:gd name="T113" fmla="*/ 117 h 512"/>
              <a:gd name="T114" fmla="*/ 394 w 512"/>
              <a:gd name="T115" fmla="*/ 256 h 512"/>
              <a:gd name="T116" fmla="*/ 353 w 512"/>
              <a:gd name="T117" fmla="*/ 355 h 512"/>
              <a:gd name="T118" fmla="*/ 353 w 512"/>
              <a:gd name="T119" fmla="*/ 370 h 512"/>
              <a:gd name="T120" fmla="*/ 360 w 512"/>
              <a:gd name="T121" fmla="*/ 373 h 512"/>
              <a:gd name="T122" fmla="*/ 368 w 512"/>
              <a:gd name="T123" fmla="*/ 370 h 512"/>
              <a:gd name="T124" fmla="*/ 416 w 512"/>
              <a:gd name="T125"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77" y="277"/>
                </a:moveTo>
                <a:cubicBezTo>
                  <a:pt x="277" y="309"/>
                  <a:pt x="277" y="309"/>
                  <a:pt x="277" y="309"/>
                </a:cubicBezTo>
                <a:cubicBezTo>
                  <a:pt x="276" y="316"/>
                  <a:pt x="265" y="368"/>
                  <a:pt x="260" y="384"/>
                </a:cubicBezTo>
                <a:cubicBezTo>
                  <a:pt x="251" y="384"/>
                  <a:pt x="251" y="384"/>
                  <a:pt x="251" y="384"/>
                </a:cubicBezTo>
                <a:cubicBezTo>
                  <a:pt x="246" y="368"/>
                  <a:pt x="235" y="316"/>
                  <a:pt x="234" y="309"/>
                </a:cubicBezTo>
                <a:cubicBezTo>
                  <a:pt x="234" y="278"/>
                  <a:pt x="234" y="278"/>
                  <a:pt x="234" y="278"/>
                </a:cubicBezTo>
                <a:cubicBezTo>
                  <a:pt x="234" y="278"/>
                  <a:pt x="235" y="277"/>
                  <a:pt x="234" y="277"/>
                </a:cubicBezTo>
                <a:cubicBezTo>
                  <a:pt x="276" y="277"/>
                  <a:pt x="276" y="277"/>
                  <a:pt x="276" y="277"/>
                </a:cubicBezTo>
                <a:cubicBezTo>
                  <a:pt x="276" y="277"/>
                  <a:pt x="277" y="278"/>
                  <a:pt x="277" y="277"/>
                </a:cubicBezTo>
                <a:close/>
                <a:moveTo>
                  <a:pt x="266" y="213"/>
                </a:moveTo>
                <a:cubicBezTo>
                  <a:pt x="266" y="207"/>
                  <a:pt x="262" y="202"/>
                  <a:pt x="256" y="202"/>
                </a:cubicBezTo>
                <a:cubicBezTo>
                  <a:pt x="250" y="202"/>
                  <a:pt x="245" y="207"/>
                  <a:pt x="245" y="213"/>
                </a:cubicBezTo>
                <a:cubicBezTo>
                  <a:pt x="245" y="219"/>
                  <a:pt x="250" y="224"/>
                  <a:pt x="256" y="224"/>
                </a:cubicBezTo>
                <a:cubicBezTo>
                  <a:pt x="262" y="224"/>
                  <a:pt x="266" y="219"/>
                  <a:pt x="266"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277"/>
                </a:moveTo>
                <a:cubicBezTo>
                  <a:pt x="298" y="266"/>
                  <a:pt x="288" y="256"/>
                  <a:pt x="277" y="256"/>
                </a:cubicBezTo>
                <a:cubicBezTo>
                  <a:pt x="234" y="256"/>
                  <a:pt x="234" y="256"/>
                  <a:pt x="234" y="256"/>
                </a:cubicBezTo>
                <a:cubicBezTo>
                  <a:pt x="223" y="256"/>
                  <a:pt x="213" y="266"/>
                  <a:pt x="213" y="277"/>
                </a:cubicBezTo>
                <a:cubicBezTo>
                  <a:pt x="213" y="309"/>
                  <a:pt x="213" y="309"/>
                  <a:pt x="213" y="309"/>
                </a:cubicBezTo>
                <a:cubicBezTo>
                  <a:pt x="213" y="314"/>
                  <a:pt x="219" y="343"/>
                  <a:pt x="222" y="356"/>
                </a:cubicBezTo>
                <a:cubicBezTo>
                  <a:pt x="232" y="400"/>
                  <a:pt x="236" y="405"/>
                  <a:pt x="245" y="405"/>
                </a:cubicBezTo>
                <a:cubicBezTo>
                  <a:pt x="266" y="405"/>
                  <a:pt x="266" y="405"/>
                  <a:pt x="266" y="405"/>
                </a:cubicBezTo>
                <a:cubicBezTo>
                  <a:pt x="276" y="405"/>
                  <a:pt x="279" y="400"/>
                  <a:pt x="289" y="356"/>
                </a:cubicBezTo>
                <a:cubicBezTo>
                  <a:pt x="292" y="343"/>
                  <a:pt x="298" y="314"/>
                  <a:pt x="298" y="309"/>
                </a:cubicBezTo>
                <a:lnTo>
                  <a:pt x="298" y="277"/>
                </a:lnTo>
                <a:close/>
                <a:moveTo>
                  <a:pt x="256" y="245"/>
                </a:moveTo>
                <a:cubicBezTo>
                  <a:pt x="273" y="245"/>
                  <a:pt x="288" y="231"/>
                  <a:pt x="288" y="213"/>
                </a:cubicBezTo>
                <a:cubicBezTo>
                  <a:pt x="288" y="195"/>
                  <a:pt x="273" y="181"/>
                  <a:pt x="256" y="181"/>
                </a:cubicBezTo>
                <a:cubicBezTo>
                  <a:pt x="238" y="181"/>
                  <a:pt x="224" y="195"/>
                  <a:pt x="224" y="213"/>
                </a:cubicBezTo>
                <a:cubicBezTo>
                  <a:pt x="224" y="231"/>
                  <a:pt x="238" y="245"/>
                  <a:pt x="256" y="245"/>
                </a:cubicBezTo>
                <a:close/>
                <a:moveTo>
                  <a:pt x="338" y="339"/>
                </a:moveTo>
                <a:cubicBezTo>
                  <a:pt x="361" y="317"/>
                  <a:pt x="373" y="287"/>
                  <a:pt x="373" y="256"/>
                </a:cubicBezTo>
                <a:cubicBezTo>
                  <a:pt x="373" y="191"/>
                  <a:pt x="320" y="138"/>
                  <a:pt x="256" y="138"/>
                </a:cubicBezTo>
                <a:cubicBezTo>
                  <a:pt x="191" y="138"/>
                  <a:pt x="138" y="191"/>
                  <a:pt x="138" y="256"/>
                </a:cubicBezTo>
                <a:cubicBezTo>
                  <a:pt x="138" y="287"/>
                  <a:pt x="150" y="316"/>
                  <a:pt x="172" y="338"/>
                </a:cubicBezTo>
                <a:cubicBezTo>
                  <a:pt x="176" y="342"/>
                  <a:pt x="183" y="342"/>
                  <a:pt x="187" y="338"/>
                </a:cubicBezTo>
                <a:cubicBezTo>
                  <a:pt x="191" y="334"/>
                  <a:pt x="191" y="327"/>
                  <a:pt x="187" y="323"/>
                </a:cubicBezTo>
                <a:cubicBezTo>
                  <a:pt x="169" y="305"/>
                  <a:pt x="160" y="281"/>
                  <a:pt x="160" y="256"/>
                </a:cubicBezTo>
                <a:cubicBezTo>
                  <a:pt x="160" y="203"/>
                  <a:pt x="203" y="160"/>
                  <a:pt x="256" y="160"/>
                </a:cubicBezTo>
                <a:cubicBezTo>
                  <a:pt x="309" y="160"/>
                  <a:pt x="352" y="203"/>
                  <a:pt x="352" y="256"/>
                </a:cubicBezTo>
                <a:cubicBezTo>
                  <a:pt x="352" y="282"/>
                  <a:pt x="341" y="306"/>
                  <a:pt x="323" y="324"/>
                </a:cubicBezTo>
                <a:cubicBezTo>
                  <a:pt x="319" y="328"/>
                  <a:pt x="319" y="335"/>
                  <a:pt x="323" y="339"/>
                </a:cubicBezTo>
                <a:cubicBezTo>
                  <a:pt x="325" y="341"/>
                  <a:pt x="328" y="343"/>
                  <a:pt x="330" y="343"/>
                </a:cubicBezTo>
                <a:cubicBezTo>
                  <a:pt x="333" y="343"/>
                  <a:pt x="336" y="341"/>
                  <a:pt x="338" y="339"/>
                </a:cubicBezTo>
                <a:close/>
                <a:moveTo>
                  <a:pt x="416" y="256"/>
                </a:moveTo>
                <a:cubicBezTo>
                  <a:pt x="416" y="167"/>
                  <a:pt x="344" y="96"/>
                  <a:pt x="256" y="96"/>
                </a:cubicBezTo>
                <a:cubicBezTo>
                  <a:pt x="167" y="96"/>
                  <a:pt x="96" y="167"/>
                  <a:pt x="96" y="256"/>
                </a:cubicBezTo>
                <a:cubicBezTo>
                  <a:pt x="96" y="298"/>
                  <a:pt x="112" y="338"/>
                  <a:pt x="141" y="368"/>
                </a:cubicBezTo>
                <a:cubicBezTo>
                  <a:pt x="145" y="372"/>
                  <a:pt x="152" y="372"/>
                  <a:pt x="156" y="368"/>
                </a:cubicBezTo>
                <a:cubicBezTo>
                  <a:pt x="161" y="364"/>
                  <a:pt x="161" y="357"/>
                  <a:pt x="157" y="353"/>
                </a:cubicBezTo>
                <a:cubicBezTo>
                  <a:pt x="131" y="327"/>
                  <a:pt x="117" y="292"/>
                  <a:pt x="117" y="256"/>
                </a:cubicBezTo>
                <a:cubicBezTo>
                  <a:pt x="117" y="179"/>
                  <a:pt x="179" y="117"/>
                  <a:pt x="256" y="117"/>
                </a:cubicBezTo>
                <a:cubicBezTo>
                  <a:pt x="332" y="117"/>
                  <a:pt x="394" y="179"/>
                  <a:pt x="394" y="256"/>
                </a:cubicBezTo>
                <a:cubicBezTo>
                  <a:pt x="394" y="293"/>
                  <a:pt x="380" y="328"/>
                  <a:pt x="353" y="355"/>
                </a:cubicBezTo>
                <a:cubicBezTo>
                  <a:pt x="349" y="359"/>
                  <a:pt x="348" y="366"/>
                  <a:pt x="353" y="370"/>
                </a:cubicBezTo>
                <a:cubicBezTo>
                  <a:pt x="355" y="372"/>
                  <a:pt x="357" y="373"/>
                  <a:pt x="360" y="373"/>
                </a:cubicBezTo>
                <a:cubicBezTo>
                  <a:pt x="363" y="373"/>
                  <a:pt x="366" y="372"/>
                  <a:pt x="368" y="370"/>
                </a:cubicBezTo>
                <a:cubicBezTo>
                  <a:pt x="399" y="340"/>
                  <a:pt x="416" y="299"/>
                  <a:pt x="416" y="2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0" name="Freeform 631">
            <a:extLst>
              <a:ext uri="{FF2B5EF4-FFF2-40B4-BE49-F238E27FC236}">
                <a16:creationId xmlns:a16="http://schemas.microsoft.com/office/drawing/2014/main" id="{0E594814-6929-4318-8CDA-6A1A31279389}"/>
              </a:ext>
            </a:extLst>
          </p:cNvPr>
          <p:cNvSpPr>
            <a:spLocks noChangeAspect="1" noEditPoints="1"/>
          </p:cNvSpPr>
          <p:nvPr/>
        </p:nvSpPr>
        <p:spPr bwMode="auto">
          <a:xfrm>
            <a:off x="11359530" y="2526859"/>
            <a:ext cx="369021" cy="36902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65 w 512"/>
              <a:gd name="T11" fmla="*/ 160 h 512"/>
              <a:gd name="T12" fmla="*/ 153 w 512"/>
              <a:gd name="T13" fmla="*/ 96 h 512"/>
              <a:gd name="T14" fmla="*/ 135 w 512"/>
              <a:gd name="T15" fmla="*/ 122 h 512"/>
              <a:gd name="T16" fmla="*/ 145 w 512"/>
              <a:gd name="T17" fmla="*/ 135 h 512"/>
              <a:gd name="T18" fmla="*/ 275 w 512"/>
              <a:gd name="T19" fmla="*/ 160 h 512"/>
              <a:gd name="T20" fmla="*/ 96 w 512"/>
              <a:gd name="T21" fmla="*/ 217 h 512"/>
              <a:gd name="T22" fmla="*/ 153 w 512"/>
              <a:gd name="T23" fmla="*/ 373 h 512"/>
              <a:gd name="T24" fmla="*/ 416 w 512"/>
              <a:gd name="T25" fmla="*/ 315 h 512"/>
              <a:gd name="T26" fmla="*/ 365 w 512"/>
              <a:gd name="T27" fmla="*/ 160 h 512"/>
              <a:gd name="T28" fmla="*/ 358 w 512"/>
              <a:gd name="T29" fmla="*/ 352 h 512"/>
              <a:gd name="T30" fmla="*/ 117 w 512"/>
              <a:gd name="T31" fmla="*/ 315 h 512"/>
              <a:gd name="T32" fmla="*/ 153 w 512"/>
              <a:gd name="T33" fmla="*/ 181 h 512"/>
              <a:gd name="T34" fmla="*/ 394 w 512"/>
              <a:gd name="T35" fmla="*/ 217 h 512"/>
              <a:gd name="T36" fmla="*/ 202 w 512"/>
              <a:gd name="T37" fmla="*/ 213 h 512"/>
              <a:gd name="T38" fmla="*/ 202 w 512"/>
              <a:gd name="T39" fmla="*/ 320 h 512"/>
              <a:gd name="T40" fmla="*/ 202 w 512"/>
              <a:gd name="T41" fmla="*/ 213 h 512"/>
              <a:gd name="T42" fmla="*/ 170 w 512"/>
              <a:gd name="T43" fmla="*/ 266 h 512"/>
              <a:gd name="T44" fmla="*/ 234 w 512"/>
              <a:gd name="T45" fmla="*/ 266 h 512"/>
              <a:gd name="T46" fmla="*/ 352 w 512"/>
              <a:gd name="T47" fmla="*/ 213 h 512"/>
              <a:gd name="T48" fmla="*/ 277 w 512"/>
              <a:gd name="T49" fmla="*/ 224 h 512"/>
              <a:gd name="T50" fmla="*/ 352 w 512"/>
              <a:gd name="T51" fmla="*/ 234 h 512"/>
              <a:gd name="T52" fmla="*/ 352 w 512"/>
              <a:gd name="T53" fmla="*/ 213 h 512"/>
              <a:gd name="T54" fmla="*/ 288 w 512"/>
              <a:gd name="T55" fmla="*/ 298 h 512"/>
              <a:gd name="T56" fmla="*/ 288 w 512"/>
              <a:gd name="T57" fmla="*/ 320 h 512"/>
              <a:gd name="T58" fmla="*/ 362 w 512"/>
              <a:gd name="T59" fmla="*/ 309 h 512"/>
              <a:gd name="T60" fmla="*/ 352 w 512"/>
              <a:gd name="T61" fmla="*/ 256 h 512"/>
              <a:gd name="T62" fmla="*/ 277 w 512"/>
              <a:gd name="T63" fmla="*/ 266 h 512"/>
              <a:gd name="T64" fmla="*/ 352 w 512"/>
              <a:gd name="T65" fmla="*/ 277 h 512"/>
              <a:gd name="T66" fmla="*/ 352 w 512"/>
              <a:gd name="T67"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160"/>
                </a:moveTo>
                <a:cubicBezTo>
                  <a:pt x="365" y="160"/>
                  <a:pt x="365" y="160"/>
                  <a:pt x="365" y="160"/>
                </a:cubicBezTo>
                <a:cubicBezTo>
                  <a:pt x="160" y="109"/>
                  <a:pt x="160" y="109"/>
                  <a:pt x="160" y="109"/>
                </a:cubicBezTo>
                <a:cubicBezTo>
                  <a:pt x="161" y="103"/>
                  <a:pt x="158" y="98"/>
                  <a:pt x="153" y="96"/>
                </a:cubicBezTo>
                <a:cubicBezTo>
                  <a:pt x="147" y="95"/>
                  <a:pt x="141" y="98"/>
                  <a:pt x="139" y="104"/>
                </a:cubicBezTo>
                <a:cubicBezTo>
                  <a:pt x="135" y="122"/>
                  <a:pt x="135" y="122"/>
                  <a:pt x="135" y="122"/>
                </a:cubicBezTo>
                <a:cubicBezTo>
                  <a:pt x="133" y="127"/>
                  <a:pt x="136" y="133"/>
                  <a:pt x="142" y="135"/>
                </a:cubicBezTo>
                <a:cubicBezTo>
                  <a:pt x="143" y="135"/>
                  <a:pt x="144" y="135"/>
                  <a:pt x="145" y="135"/>
                </a:cubicBezTo>
                <a:cubicBezTo>
                  <a:pt x="149" y="135"/>
                  <a:pt x="152" y="133"/>
                  <a:pt x="154" y="129"/>
                </a:cubicBezTo>
                <a:cubicBezTo>
                  <a:pt x="275" y="160"/>
                  <a:pt x="275" y="160"/>
                  <a:pt x="275" y="160"/>
                </a:cubicBezTo>
                <a:cubicBezTo>
                  <a:pt x="153" y="160"/>
                  <a:pt x="153" y="160"/>
                  <a:pt x="153" y="160"/>
                </a:cubicBezTo>
                <a:cubicBezTo>
                  <a:pt x="122" y="160"/>
                  <a:pt x="96" y="186"/>
                  <a:pt x="96" y="217"/>
                </a:cubicBezTo>
                <a:cubicBezTo>
                  <a:pt x="96" y="315"/>
                  <a:pt x="96" y="315"/>
                  <a:pt x="96" y="315"/>
                </a:cubicBezTo>
                <a:cubicBezTo>
                  <a:pt x="96" y="347"/>
                  <a:pt x="122" y="373"/>
                  <a:pt x="153" y="373"/>
                </a:cubicBezTo>
                <a:cubicBezTo>
                  <a:pt x="358" y="373"/>
                  <a:pt x="358" y="373"/>
                  <a:pt x="358" y="373"/>
                </a:cubicBezTo>
                <a:cubicBezTo>
                  <a:pt x="390" y="373"/>
                  <a:pt x="416" y="347"/>
                  <a:pt x="416" y="315"/>
                </a:cubicBezTo>
                <a:cubicBezTo>
                  <a:pt x="416" y="217"/>
                  <a:pt x="416" y="217"/>
                  <a:pt x="416" y="217"/>
                </a:cubicBezTo>
                <a:cubicBezTo>
                  <a:pt x="416" y="188"/>
                  <a:pt x="394" y="164"/>
                  <a:pt x="365" y="160"/>
                </a:cubicBezTo>
                <a:close/>
                <a:moveTo>
                  <a:pt x="394" y="315"/>
                </a:moveTo>
                <a:cubicBezTo>
                  <a:pt x="394" y="335"/>
                  <a:pt x="378" y="352"/>
                  <a:pt x="358" y="352"/>
                </a:cubicBezTo>
                <a:cubicBezTo>
                  <a:pt x="153" y="352"/>
                  <a:pt x="153" y="352"/>
                  <a:pt x="153" y="352"/>
                </a:cubicBezTo>
                <a:cubicBezTo>
                  <a:pt x="133" y="352"/>
                  <a:pt x="117" y="335"/>
                  <a:pt x="117" y="315"/>
                </a:cubicBezTo>
                <a:cubicBezTo>
                  <a:pt x="117" y="217"/>
                  <a:pt x="117" y="217"/>
                  <a:pt x="117" y="217"/>
                </a:cubicBezTo>
                <a:cubicBezTo>
                  <a:pt x="117" y="197"/>
                  <a:pt x="133" y="181"/>
                  <a:pt x="153" y="181"/>
                </a:cubicBezTo>
                <a:cubicBezTo>
                  <a:pt x="358" y="181"/>
                  <a:pt x="358" y="181"/>
                  <a:pt x="358" y="181"/>
                </a:cubicBezTo>
                <a:cubicBezTo>
                  <a:pt x="378" y="181"/>
                  <a:pt x="394" y="197"/>
                  <a:pt x="394" y="217"/>
                </a:cubicBezTo>
                <a:lnTo>
                  <a:pt x="394" y="315"/>
                </a:lnTo>
                <a:close/>
                <a:moveTo>
                  <a:pt x="202" y="213"/>
                </a:moveTo>
                <a:cubicBezTo>
                  <a:pt x="173" y="213"/>
                  <a:pt x="149" y="237"/>
                  <a:pt x="149" y="266"/>
                </a:cubicBezTo>
                <a:cubicBezTo>
                  <a:pt x="149" y="296"/>
                  <a:pt x="173" y="320"/>
                  <a:pt x="202" y="320"/>
                </a:cubicBezTo>
                <a:cubicBezTo>
                  <a:pt x="232" y="320"/>
                  <a:pt x="256" y="296"/>
                  <a:pt x="256" y="266"/>
                </a:cubicBezTo>
                <a:cubicBezTo>
                  <a:pt x="256" y="237"/>
                  <a:pt x="232" y="213"/>
                  <a:pt x="202" y="213"/>
                </a:cubicBezTo>
                <a:close/>
                <a:moveTo>
                  <a:pt x="202" y="298"/>
                </a:moveTo>
                <a:cubicBezTo>
                  <a:pt x="185" y="298"/>
                  <a:pt x="170" y="284"/>
                  <a:pt x="170" y="266"/>
                </a:cubicBezTo>
                <a:cubicBezTo>
                  <a:pt x="170" y="249"/>
                  <a:pt x="185" y="234"/>
                  <a:pt x="202" y="234"/>
                </a:cubicBezTo>
                <a:cubicBezTo>
                  <a:pt x="220" y="234"/>
                  <a:pt x="234" y="249"/>
                  <a:pt x="234" y="266"/>
                </a:cubicBezTo>
                <a:cubicBezTo>
                  <a:pt x="234" y="284"/>
                  <a:pt x="220" y="298"/>
                  <a:pt x="202" y="298"/>
                </a:cubicBezTo>
                <a:close/>
                <a:moveTo>
                  <a:pt x="352" y="213"/>
                </a:moveTo>
                <a:cubicBezTo>
                  <a:pt x="288" y="213"/>
                  <a:pt x="288" y="213"/>
                  <a:pt x="288" y="213"/>
                </a:cubicBezTo>
                <a:cubicBezTo>
                  <a:pt x="282" y="213"/>
                  <a:pt x="277" y="218"/>
                  <a:pt x="277" y="224"/>
                </a:cubicBezTo>
                <a:cubicBezTo>
                  <a:pt x="277" y="230"/>
                  <a:pt x="282" y="234"/>
                  <a:pt x="288" y="234"/>
                </a:cubicBezTo>
                <a:cubicBezTo>
                  <a:pt x="352" y="234"/>
                  <a:pt x="352" y="234"/>
                  <a:pt x="352" y="234"/>
                </a:cubicBezTo>
                <a:cubicBezTo>
                  <a:pt x="358" y="234"/>
                  <a:pt x="362" y="230"/>
                  <a:pt x="362" y="224"/>
                </a:cubicBezTo>
                <a:cubicBezTo>
                  <a:pt x="362" y="218"/>
                  <a:pt x="358" y="213"/>
                  <a:pt x="352" y="213"/>
                </a:cubicBezTo>
                <a:close/>
                <a:moveTo>
                  <a:pt x="352" y="298"/>
                </a:moveTo>
                <a:cubicBezTo>
                  <a:pt x="288" y="298"/>
                  <a:pt x="288" y="298"/>
                  <a:pt x="288" y="298"/>
                </a:cubicBezTo>
                <a:cubicBezTo>
                  <a:pt x="282" y="298"/>
                  <a:pt x="277" y="303"/>
                  <a:pt x="277" y="309"/>
                </a:cubicBezTo>
                <a:cubicBezTo>
                  <a:pt x="277" y="315"/>
                  <a:pt x="282" y="320"/>
                  <a:pt x="288" y="320"/>
                </a:cubicBezTo>
                <a:cubicBezTo>
                  <a:pt x="352" y="320"/>
                  <a:pt x="352" y="320"/>
                  <a:pt x="352" y="320"/>
                </a:cubicBezTo>
                <a:cubicBezTo>
                  <a:pt x="358" y="320"/>
                  <a:pt x="362" y="315"/>
                  <a:pt x="362" y="309"/>
                </a:cubicBezTo>
                <a:cubicBezTo>
                  <a:pt x="362" y="303"/>
                  <a:pt x="358" y="298"/>
                  <a:pt x="352" y="298"/>
                </a:cubicBezTo>
                <a:close/>
                <a:moveTo>
                  <a:pt x="352" y="256"/>
                </a:moveTo>
                <a:cubicBezTo>
                  <a:pt x="288" y="256"/>
                  <a:pt x="288" y="256"/>
                  <a:pt x="288" y="256"/>
                </a:cubicBezTo>
                <a:cubicBezTo>
                  <a:pt x="282" y="256"/>
                  <a:pt x="277" y="260"/>
                  <a:pt x="277" y="266"/>
                </a:cubicBezTo>
                <a:cubicBezTo>
                  <a:pt x="277" y="272"/>
                  <a:pt x="282" y="277"/>
                  <a:pt x="288" y="277"/>
                </a:cubicBezTo>
                <a:cubicBezTo>
                  <a:pt x="352" y="277"/>
                  <a:pt x="352" y="277"/>
                  <a:pt x="352" y="277"/>
                </a:cubicBezTo>
                <a:cubicBezTo>
                  <a:pt x="358" y="277"/>
                  <a:pt x="362" y="272"/>
                  <a:pt x="362" y="266"/>
                </a:cubicBezTo>
                <a:cubicBezTo>
                  <a:pt x="362" y="260"/>
                  <a:pt x="358" y="256"/>
                  <a:pt x="352" y="25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1" name="Freeform 635">
            <a:extLst>
              <a:ext uri="{FF2B5EF4-FFF2-40B4-BE49-F238E27FC236}">
                <a16:creationId xmlns:a16="http://schemas.microsoft.com/office/drawing/2014/main" id="{79692323-5B3E-4289-B0AA-5DB3BDC8BFC1}"/>
              </a:ext>
            </a:extLst>
          </p:cNvPr>
          <p:cNvSpPr>
            <a:spLocks noChangeAspect="1" noEditPoints="1"/>
          </p:cNvSpPr>
          <p:nvPr/>
        </p:nvSpPr>
        <p:spPr bwMode="auto">
          <a:xfrm>
            <a:off x="10923491" y="2526859"/>
            <a:ext cx="369021" cy="369021"/>
          </a:xfrm>
          <a:custGeom>
            <a:avLst/>
            <a:gdLst>
              <a:gd name="T0" fmla="*/ 358 w 512"/>
              <a:gd name="T1" fmla="*/ 181 h 512"/>
              <a:gd name="T2" fmla="*/ 153 w 512"/>
              <a:gd name="T3" fmla="*/ 181 h 512"/>
              <a:gd name="T4" fmla="*/ 117 w 512"/>
              <a:gd name="T5" fmla="*/ 217 h 512"/>
              <a:gd name="T6" fmla="*/ 117 w 512"/>
              <a:gd name="T7" fmla="*/ 315 h 512"/>
              <a:gd name="T8" fmla="*/ 153 w 512"/>
              <a:gd name="T9" fmla="*/ 352 h 512"/>
              <a:gd name="T10" fmla="*/ 358 w 512"/>
              <a:gd name="T11" fmla="*/ 352 h 512"/>
              <a:gd name="T12" fmla="*/ 394 w 512"/>
              <a:gd name="T13" fmla="*/ 315 h 512"/>
              <a:gd name="T14" fmla="*/ 394 w 512"/>
              <a:gd name="T15" fmla="*/ 217 h 512"/>
              <a:gd name="T16" fmla="*/ 358 w 512"/>
              <a:gd name="T17" fmla="*/ 181 h 512"/>
              <a:gd name="T18" fmla="*/ 202 w 512"/>
              <a:gd name="T19" fmla="*/ 320 h 512"/>
              <a:gd name="T20" fmla="*/ 149 w 512"/>
              <a:gd name="T21" fmla="*/ 266 h 512"/>
              <a:gd name="T22" fmla="*/ 202 w 512"/>
              <a:gd name="T23" fmla="*/ 213 h 512"/>
              <a:gd name="T24" fmla="*/ 256 w 512"/>
              <a:gd name="T25" fmla="*/ 266 h 512"/>
              <a:gd name="T26" fmla="*/ 202 w 512"/>
              <a:gd name="T27" fmla="*/ 320 h 512"/>
              <a:gd name="T28" fmla="*/ 352 w 512"/>
              <a:gd name="T29" fmla="*/ 320 h 512"/>
              <a:gd name="T30" fmla="*/ 288 w 512"/>
              <a:gd name="T31" fmla="*/ 320 h 512"/>
              <a:gd name="T32" fmla="*/ 277 w 512"/>
              <a:gd name="T33" fmla="*/ 309 h 512"/>
              <a:gd name="T34" fmla="*/ 288 w 512"/>
              <a:gd name="T35" fmla="*/ 298 h 512"/>
              <a:gd name="T36" fmla="*/ 352 w 512"/>
              <a:gd name="T37" fmla="*/ 298 h 512"/>
              <a:gd name="T38" fmla="*/ 362 w 512"/>
              <a:gd name="T39" fmla="*/ 309 h 512"/>
              <a:gd name="T40" fmla="*/ 352 w 512"/>
              <a:gd name="T41" fmla="*/ 320 h 512"/>
              <a:gd name="T42" fmla="*/ 352 w 512"/>
              <a:gd name="T43" fmla="*/ 277 h 512"/>
              <a:gd name="T44" fmla="*/ 288 w 512"/>
              <a:gd name="T45" fmla="*/ 277 h 512"/>
              <a:gd name="T46" fmla="*/ 277 w 512"/>
              <a:gd name="T47" fmla="*/ 266 h 512"/>
              <a:gd name="T48" fmla="*/ 288 w 512"/>
              <a:gd name="T49" fmla="*/ 256 h 512"/>
              <a:gd name="T50" fmla="*/ 352 w 512"/>
              <a:gd name="T51" fmla="*/ 256 h 512"/>
              <a:gd name="T52" fmla="*/ 362 w 512"/>
              <a:gd name="T53" fmla="*/ 266 h 512"/>
              <a:gd name="T54" fmla="*/ 352 w 512"/>
              <a:gd name="T55" fmla="*/ 277 h 512"/>
              <a:gd name="T56" fmla="*/ 352 w 512"/>
              <a:gd name="T57" fmla="*/ 234 h 512"/>
              <a:gd name="T58" fmla="*/ 288 w 512"/>
              <a:gd name="T59" fmla="*/ 234 h 512"/>
              <a:gd name="T60" fmla="*/ 277 w 512"/>
              <a:gd name="T61" fmla="*/ 224 h 512"/>
              <a:gd name="T62" fmla="*/ 288 w 512"/>
              <a:gd name="T63" fmla="*/ 213 h 512"/>
              <a:gd name="T64" fmla="*/ 352 w 512"/>
              <a:gd name="T65" fmla="*/ 213 h 512"/>
              <a:gd name="T66" fmla="*/ 362 w 512"/>
              <a:gd name="T67" fmla="*/ 224 h 512"/>
              <a:gd name="T68" fmla="*/ 352 w 512"/>
              <a:gd name="T69" fmla="*/ 234 h 512"/>
              <a:gd name="T70" fmla="*/ 256 w 512"/>
              <a:gd name="T71" fmla="*/ 0 h 512"/>
              <a:gd name="T72" fmla="*/ 0 w 512"/>
              <a:gd name="T73" fmla="*/ 256 h 512"/>
              <a:gd name="T74" fmla="*/ 256 w 512"/>
              <a:gd name="T75" fmla="*/ 512 h 512"/>
              <a:gd name="T76" fmla="*/ 512 w 512"/>
              <a:gd name="T77" fmla="*/ 256 h 512"/>
              <a:gd name="T78" fmla="*/ 256 w 512"/>
              <a:gd name="T79" fmla="*/ 0 h 512"/>
              <a:gd name="T80" fmla="*/ 416 w 512"/>
              <a:gd name="T81" fmla="*/ 315 h 512"/>
              <a:gd name="T82" fmla="*/ 358 w 512"/>
              <a:gd name="T83" fmla="*/ 373 h 512"/>
              <a:gd name="T84" fmla="*/ 153 w 512"/>
              <a:gd name="T85" fmla="*/ 373 h 512"/>
              <a:gd name="T86" fmla="*/ 96 w 512"/>
              <a:gd name="T87" fmla="*/ 315 h 512"/>
              <a:gd name="T88" fmla="*/ 96 w 512"/>
              <a:gd name="T89" fmla="*/ 217 h 512"/>
              <a:gd name="T90" fmla="*/ 153 w 512"/>
              <a:gd name="T91" fmla="*/ 160 h 512"/>
              <a:gd name="T92" fmla="*/ 275 w 512"/>
              <a:gd name="T93" fmla="*/ 160 h 512"/>
              <a:gd name="T94" fmla="*/ 154 w 512"/>
              <a:gd name="T95" fmla="*/ 129 h 512"/>
              <a:gd name="T96" fmla="*/ 145 w 512"/>
              <a:gd name="T97" fmla="*/ 135 h 512"/>
              <a:gd name="T98" fmla="*/ 142 w 512"/>
              <a:gd name="T99" fmla="*/ 135 h 512"/>
              <a:gd name="T100" fmla="*/ 135 w 512"/>
              <a:gd name="T101" fmla="*/ 122 h 512"/>
              <a:gd name="T102" fmla="*/ 139 w 512"/>
              <a:gd name="T103" fmla="*/ 104 h 512"/>
              <a:gd name="T104" fmla="*/ 153 w 512"/>
              <a:gd name="T105" fmla="*/ 96 h 512"/>
              <a:gd name="T106" fmla="*/ 160 w 512"/>
              <a:gd name="T107" fmla="*/ 109 h 512"/>
              <a:gd name="T108" fmla="*/ 365 w 512"/>
              <a:gd name="T109" fmla="*/ 160 h 512"/>
              <a:gd name="T110" fmla="*/ 365 w 512"/>
              <a:gd name="T111" fmla="*/ 160 h 512"/>
              <a:gd name="T112" fmla="*/ 416 w 512"/>
              <a:gd name="T113" fmla="*/ 217 h 512"/>
              <a:gd name="T114" fmla="*/ 416 w 512"/>
              <a:gd name="T115" fmla="*/ 315 h 512"/>
              <a:gd name="T116" fmla="*/ 234 w 512"/>
              <a:gd name="T117" fmla="*/ 266 h 512"/>
              <a:gd name="T118" fmla="*/ 202 w 512"/>
              <a:gd name="T119" fmla="*/ 298 h 512"/>
              <a:gd name="T120" fmla="*/ 170 w 512"/>
              <a:gd name="T121" fmla="*/ 266 h 512"/>
              <a:gd name="T122" fmla="*/ 202 w 512"/>
              <a:gd name="T123" fmla="*/ 234 h 512"/>
              <a:gd name="T124" fmla="*/ 234 w 512"/>
              <a:gd name="T12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58" y="181"/>
                </a:moveTo>
                <a:cubicBezTo>
                  <a:pt x="153" y="181"/>
                  <a:pt x="153" y="181"/>
                  <a:pt x="153" y="181"/>
                </a:cubicBezTo>
                <a:cubicBezTo>
                  <a:pt x="133" y="181"/>
                  <a:pt x="117" y="197"/>
                  <a:pt x="117" y="217"/>
                </a:cubicBezTo>
                <a:cubicBezTo>
                  <a:pt x="117" y="315"/>
                  <a:pt x="117" y="315"/>
                  <a:pt x="117" y="315"/>
                </a:cubicBezTo>
                <a:cubicBezTo>
                  <a:pt x="117" y="335"/>
                  <a:pt x="133" y="352"/>
                  <a:pt x="153" y="352"/>
                </a:cubicBezTo>
                <a:cubicBezTo>
                  <a:pt x="358" y="352"/>
                  <a:pt x="358" y="352"/>
                  <a:pt x="358" y="352"/>
                </a:cubicBezTo>
                <a:cubicBezTo>
                  <a:pt x="378" y="352"/>
                  <a:pt x="394" y="335"/>
                  <a:pt x="394" y="315"/>
                </a:cubicBezTo>
                <a:cubicBezTo>
                  <a:pt x="394" y="217"/>
                  <a:pt x="394" y="217"/>
                  <a:pt x="394" y="217"/>
                </a:cubicBezTo>
                <a:cubicBezTo>
                  <a:pt x="394" y="197"/>
                  <a:pt x="378" y="181"/>
                  <a:pt x="358" y="181"/>
                </a:cubicBezTo>
                <a:close/>
                <a:moveTo>
                  <a:pt x="202" y="320"/>
                </a:moveTo>
                <a:cubicBezTo>
                  <a:pt x="173" y="320"/>
                  <a:pt x="149" y="296"/>
                  <a:pt x="149" y="266"/>
                </a:cubicBezTo>
                <a:cubicBezTo>
                  <a:pt x="149" y="237"/>
                  <a:pt x="173" y="213"/>
                  <a:pt x="202" y="213"/>
                </a:cubicBezTo>
                <a:cubicBezTo>
                  <a:pt x="232" y="213"/>
                  <a:pt x="256" y="237"/>
                  <a:pt x="256" y="266"/>
                </a:cubicBezTo>
                <a:cubicBezTo>
                  <a:pt x="256" y="296"/>
                  <a:pt x="232" y="320"/>
                  <a:pt x="202" y="320"/>
                </a:cubicBezTo>
                <a:close/>
                <a:moveTo>
                  <a:pt x="352" y="320"/>
                </a:moveTo>
                <a:cubicBezTo>
                  <a:pt x="288" y="320"/>
                  <a:pt x="288" y="320"/>
                  <a:pt x="288" y="320"/>
                </a:cubicBezTo>
                <a:cubicBezTo>
                  <a:pt x="282" y="320"/>
                  <a:pt x="277" y="315"/>
                  <a:pt x="277" y="309"/>
                </a:cubicBezTo>
                <a:cubicBezTo>
                  <a:pt x="277" y="303"/>
                  <a:pt x="282" y="298"/>
                  <a:pt x="288" y="298"/>
                </a:cubicBezTo>
                <a:cubicBezTo>
                  <a:pt x="352" y="298"/>
                  <a:pt x="352" y="298"/>
                  <a:pt x="352" y="298"/>
                </a:cubicBezTo>
                <a:cubicBezTo>
                  <a:pt x="358" y="298"/>
                  <a:pt x="362" y="303"/>
                  <a:pt x="362" y="309"/>
                </a:cubicBezTo>
                <a:cubicBezTo>
                  <a:pt x="362" y="315"/>
                  <a:pt x="358" y="320"/>
                  <a:pt x="352" y="320"/>
                </a:cubicBezTo>
                <a:close/>
                <a:moveTo>
                  <a:pt x="352" y="277"/>
                </a:moveTo>
                <a:cubicBezTo>
                  <a:pt x="288" y="277"/>
                  <a:pt x="288" y="277"/>
                  <a:pt x="288" y="277"/>
                </a:cubicBezTo>
                <a:cubicBezTo>
                  <a:pt x="282" y="277"/>
                  <a:pt x="277" y="272"/>
                  <a:pt x="277" y="266"/>
                </a:cubicBezTo>
                <a:cubicBezTo>
                  <a:pt x="277" y="260"/>
                  <a:pt x="282" y="256"/>
                  <a:pt x="288" y="256"/>
                </a:cubicBezTo>
                <a:cubicBezTo>
                  <a:pt x="352" y="256"/>
                  <a:pt x="352" y="256"/>
                  <a:pt x="352" y="256"/>
                </a:cubicBezTo>
                <a:cubicBezTo>
                  <a:pt x="358" y="256"/>
                  <a:pt x="362" y="260"/>
                  <a:pt x="362" y="266"/>
                </a:cubicBezTo>
                <a:cubicBezTo>
                  <a:pt x="362" y="272"/>
                  <a:pt x="358" y="277"/>
                  <a:pt x="352" y="277"/>
                </a:cubicBezTo>
                <a:close/>
                <a:moveTo>
                  <a:pt x="352" y="234"/>
                </a:moveTo>
                <a:cubicBezTo>
                  <a:pt x="288" y="234"/>
                  <a:pt x="288" y="234"/>
                  <a:pt x="288" y="234"/>
                </a:cubicBezTo>
                <a:cubicBezTo>
                  <a:pt x="282" y="234"/>
                  <a:pt x="277" y="230"/>
                  <a:pt x="277" y="224"/>
                </a:cubicBezTo>
                <a:cubicBezTo>
                  <a:pt x="277" y="218"/>
                  <a:pt x="282" y="213"/>
                  <a:pt x="288" y="213"/>
                </a:cubicBezTo>
                <a:cubicBezTo>
                  <a:pt x="352" y="213"/>
                  <a:pt x="352" y="213"/>
                  <a:pt x="352" y="213"/>
                </a:cubicBezTo>
                <a:cubicBezTo>
                  <a:pt x="358" y="213"/>
                  <a:pt x="362" y="218"/>
                  <a:pt x="362" y="224"/>
                </a:cubicBezTo>
                <a:cubicBezTo>
                  <a:pt x="362" y="230"/>
                  <a:pt x="358" y="234"/>
                  <a:pt x="352"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15"/>
                </a:moveTo>
                <a:cubicBezTo>
                  <a:pt x="416" y="347"/>
                  <a:pt x="390" y="373"/>
                  <a:pt x="358" y="373"/>
                </a:cubicBezTo>
                <a:cubicBezTo>
                  <a:pt x="153" y="373"/>
                  <a:pt x="153" y="373"/>
                  <a:pt x="153" y="373"/>
                </a:cubicBezTo>
                <a:cubicBezTo>
                  <a:pt x="122" y="373"/>
                  <a:pt x="96" y="347"/>
                  <a:pt x="96" y="315"/>
                </a:cubicBezTo>
                <a:cubicBezTo>
                  <a:pt x="96" y="217"/>
                  <a:pt x="96" y="217"/>
                  <a:pt x="96" y="217"/>
                </a:cubicBezTo>
                <a:cubicBezTo>
                  <a:pt x="96" y="186"/>
                  <a:pt x="122" y="160"/>
                  <a:pt x="153" y="160"/>
                </a:cubicBezTo>
                <a:cubicBezTo>
                  <a:pt x="275" y="160"/>
                  <a:pt x="275" y="160"/>
                  <a:pt x="275" y="160"/>
                </a:cubicBezTo>
                <a:cubicBezTo>
                  <a:pt x="154" y="129"/>
                  <a:pt x="154" y="129"/>
                  <a:pt x="154" y="129"/>
                </a:cubicBezTo>
                <a:cubicBezTo>
                  <a:pt x="152" y="133"/>
                  <a:pt x="149" y="135"/>
                  <a:pt x="145" y="135"/>
                </a:cubicBezTo>
                <a:cubicBezTo>
                  <a:pt x="144" y="135"/>
                  <a:pt x="143" y="135"/>
                  <a:pt x="142" y="135"/>
                </a:cubicBezTo>
                <a:cubicBezTo>
                  <a:pt x="136" y="133"/>
                  <a:pt x="133" y="127"/>
                  <a:pt x="135" y="122"/>
                </a:cubicBezTo>
                <a:cubicBezTo>
                  <a:pt x="139" y="104"/>
                  <a:pt x="139" y="104"/>
                  <a:pt x="139" y="104"/>
                </a:cubicBezTo>
                <a:cubicBezTo>
                  <a:pt x="141" y="98"/>
                  <a:pt x="147" y="95"/>
                  <a:pt x="153" y="96"/>
                </a:cubicBezTo>
                <a:cubicBezTo>
                  <a:pt x="158" y="98"/>
                  <a:pt x="161" y="103"/>
                  <a:pt x="160" y="109"/>
                </a:cubicBezTo>
                <a:cubicBezTo>
                  <a:pt x="365" y="160"/>
                  <a:pt x="365" y="160"/>
                  <a:pt x="365" y="160"/>
                </a:cubicBezTo>
                <a:cubicBezTo>
                  <a:pt x="365" y="160"/>
                  <a:pt x="365" y="160"/>
                  <a:pt x="365" y="160"/>
                </a:cubicBezTo>
                <a:cubicBezTo>
                  <a:pt x="394" y="164"/>
                  <a:pt x="416" y="188"/>
                  <a:pt x="416" y="217"/>
                </a:cubicBezTo>
                <a:lnTo>
                  <a:pt x="416" y="315"/>
                </a:lnTo>
                <a:close/>
                <a:moveTo>
                  <a:pt x="234" y="266"/>
                </a:moveTo>
                <a:cubicBezTo>
                  <a:pt x="234" y="284"/>
                  <a:pt x="220" y="298"/>
                  <a:pt x="202" y="298"/>
                </a:cubicBezTo>
                <a:cubicBezTo>
                  <a:pt x="185" y="298"/>
                  <a:pt x="170" y="284"/>
                  <a:pt x="170" y="266"/>
                </a:cubicBezTo>
                <a:cubicBezTo>
                  <a:pt x="170" y="249"/>
                  <a:pt x="185" y="234"/>
                  <a:pt x="202" y="234"/>
                </a:cubicBezTo>
                <a:cubicBezTo>
                  <a:pt x="220" y="234"/>
                  <a:pt x="234" y="249"/>
                  <a:pt x="234" y="26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42" name="Group 759">
            <a:extLst>
              <a:ext uri="{FF2B5EF4-FFF2-40B4-BE49-F238E27FC236}">
                <a16:creationId xmlns:a16="http://schemas.microsoft.com/office/drawing/2014/main" id="{0E006AD4-B4DA-4BED-91C1-E40C533EF46A}"/>
              </a:ext>
            </a:extLst>
          </p:cNvPr>
          <p:cNvGrpSpPr>
            <a:grpSpLocks noChangeAspect="1"/>
          </p:cNvGrpSpPr>
          <p:nvPr/>
        </p:nvGrpSpPr>
        <p:grpSpPr bwMode="auto">
          <a:xfrm>
            <a:off x="1784751" y="3302682"/>
            <a:ext cx="370106" cy="369021"/>
            <a:chOff x="7344" y="3076"/>
            <a:chExt cx="341" cy="340"/>
          </a:xfrm>
          <a:solidFill>
            <a:schemeClr val="accent3"/>
          </a:solidFill>
        </p:grpSpPr>
        <p:sp>
          <p:nvSpPr>
            <p:cNvPr id="643" name="Freeform 760">
              <a:extLst>
                <a:ext uri="{FF2B5EF4-FFF2-40B4-BE49-F238E27FC236}">
                  <a16:creationId xmlns:a16="http://schemas.microsoft.com/office/drawing/2014/main" id="{C77B22A1-13DC-42A6-8766-65D8BA52A994}"/>
                </a:ext>
              </a:extLst>
            </p:cNvPr>
            <p:cNvSpPr>
              <a:spLocks noEditPoints="1"/>
            </p:cNvSpPr>
            <p:nvPr/>
          </p:nvSpPr>
          <p:spPr bwMode="auto">
            <a:xfrm>
              <a:off x="7344" y="307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4" name="Freeform 761">
              <a:extLst>
                <a:ext uri="{FF2B5EF4-FFF2-40B4-BE49-F238E27FC236}">
                  <a16:creationId xmlns:a16="http://schemas.microsoft.com/office/drawing/2014/main" id="{A39CEA0D-0B63-4D72-BADB-67F4C25A0803}"/>
                </a:ext>
              </a:extLst>
            </p:cNvPr>
            <p:cNvSpPr>
              <a:spLocks noEditPoints="1"/>
            </p:cNvSpPr>
            <p:nvPr/>
          </p:nvSpPr>
          <p:spPr bwMode="auto">
            <a:xfrm>
              <a:off x="7414" y="3124"/>
              <a:ext cx="224" cy="228"/>
            </a:xfrm>
            <a:custGeom>
              <a:avLst/>
              <a:gdLst>
                <a:gd name="T0" fmla="*/ 293 w 336"/>
                <a:gd name="T1" fmla="*/ 175 h 344"/>
                <a:gd name="T2" fmla="*/ 231 w 336"/>
                <a:gd name="T3" fmla="*/ 151 h 344"/>
                <a:gd name="T4" fmla="*/ 256 w 336"/>
                <a:gd name="T5" fmla="*/ 117 h 344"/>
                <a:gd name="T6" fmla="*/ 235 w 336"/>
                <a:gd name="T7" fmla="*/ 87 h 344"/>
                <a:gd name="T8" fmla="*/ 186 w 336"/>
                <a:gd name="T9" fmla="*/ 106 h 344"/>
                <a:gd name="T10" fmla="*/ 162 w 336"/>
                <a:gd name="T11" fmla="*/ 44 h 344"/>
                <a:gd name="T12" fmla="*/ 107 w 336"/>
                <a:gd name="T13" fmla="*/ 4 h 344"/>
                <a:gd name="T14" fmla="*/ 43 w 336"/>
                <a:gd name="T15" fmla="*/ 72 h 344"/>
                <a:gd name="T16" fmla="*/ 86 w 336"/>
                <a:gd name="T17" fmla="*/ 119 h 344"/>
                <a:gd name="T18" fmla="*/ 149 w 336"/>
                <a:gd name="T19" fmla="*/ 143 h 344"/>
                <a:gd name="T20" fmla="*/ 123 w 336"/>
                <a:gd name="T21" fmla="*/ 177 h 344"/>
                <a:gd name="T22" fmla="*/ 145 w 336"/>
                <a:gd name="T23" fmla="*/ 208 h 344"/>
                <a:gd name="T24" fmla="*/ 175 w 336"/>
                <a:gd name="T25" fmla="*/ 208 h 344"/>
                <a:gd name="T26" fmla="*/ 216 w 336"/>
                <a:gd name="T27" fmla="*/ 247 h 344"/>
                <a:gd name="T28" fmla="*/ 258 w 336"/>
                <a:gd name="T29" fmla="*/ 291 h 344"/>
                <a:gd name="T30" fmla="*/ 273 w 336"/>
                <a:gd name="T31" fmla="*/ 291 h 344"/>
                <a:gd name="T32" fmla="*/ 336 w 336"/>
                <a:gd name="T33" fmla="*/ 223 h 344"/>
                <a:gd name="T34" fmla="*/ 100 w 336"/>
                <a:gd name="T35" fmla="*/ 102 h 344"/>
                <a:gd name="T36" fmla="*/ 114 w 336"/>
                <a:gd name="T37" fmla="*/ 27 h 344"/>
                <a:gd name="T38" fmla="*/ 169 w 336"/>
                <a:gd name="T39" fmla="*/ 122 h 344"/>
                <a:gd name="T40" fmla="*/ 100 w 336"/>
                <a:gd name="T41" fmla="*/ 102 h 344"/>
                <a:gd name="T42" fmla="*/ 145 w 336"/>
                <a:gd name="T43" fmla="*/ 177 h 344"/>
                <a:gd name="T44" fmla="*/ 235 w 336"/>
                <a:gd name="T45" fmla="*/ 117 h 344"/>
                <a:gd name="T46" fmla="*/ 265 w 336"/>
                <a:gd name="T47" fmla="*/ 268 h 344"/>
                <a:gd name="T48" fmla="*/ 210 w 336"/>
                <a:gd name="T49" fmla="*/ 172 h 344"/>
                <a:gd name="T50" fmla="*/ 280 w 336"/>
                <a:gd name="T51" fmla="*/ 192 h 344"/>
                <a:gd name="T52" fmla="*/ 265 w 336"/>
                <a:gd name="T53" fmla="*/ 268 h 344"/>
                <a:gd name="T54" fmla="*/ 152 w 336"/>
                <a:gd name="T55" fmla="*/ 344 h 344"/>
                <a:gd name="T56" fmla="*/ 46 w 336"/>
                <a:gd name="T57" fmla="*/ 300 h 344"/>
                <a:gd name="T58" fmla="*/ 12 w 336"/>
                <a:gd name="T59" fmla="*/ 175 h 344"/>
                <a:gd name="T60" fmla="*/ 21 w 336"/>
                <a:gd name="T61" fmla="*/ 185 h 344"/>
                <a:gd name="T62" fmla="*/ 152 w 336"/>
                <a:gd name="T63" fmla="*/ 322 h 344"/>
                <a:gd name="T64" fmla="*/ 163 w 336"/>
                <a:gd name="T65" fmla="*/ 333 h 344"/>
                <a:gd name="T66" fmla="*/ 76 w 336"/>
                <a:gd name="T67" fmla="*/ 185 h 344"/>
                <a:gd name="T68" fmla="*/ 104 w 336"/>
                <a:gd name="T69" fmla="*/ 240 h 344"/>
                <a:gd name="T70" fmla="*/ 151 w 336"/>
                <a:gd name="T71" fmla="*/ 258 h 344"/>
                <a:gd name="T72" fmla="*/ 160 w 336"/>
                <a:gd name="T73" fmla="*/ 269 h 344"/>
                <a:gd name="T74" fmla="*/ 149 w 336"/>
                <a:gd name="T75" fmla="*/ 280 h 344"/>
                <a:gd name="T76" fmla="*/ 64 w 336"/>
                <a:gd name="T77" fmla="*/ 19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6" h="344">
                  <a:moveTo>
                    <a:pt x="333" y="215"/>
                  </a:moveTo>
                  <a:cubicBezTo>
                    <a:pt x="293" y="175"/>
                    <a:pt x="293" y="175"/>
                    <a:pt x="293" y="175"/>
                  </a:cubicBezTo>
                  <a:cubicBezTo>
                    <a:pt x="292" y="174"/>
                    <a:pt x="291" y="174"/>
                    <a:pt x="290" y="173"/>
                  </a:cubicBezTo>
                  <a:cubicBezTo>
                    <a:pt x="231" y="151"/>
                    <a:pt x="231" y="151"/>
                    <a:pt x="231" y="151"/>
                  </a:cubicBezTo>
                  <a:cubicBezTo>
                    <a:pt x="250" y="132"/>
                    <a:pt x="250" y="132"/>
                    <a:pt x="250" y="132"/>
                  </a:cubicBezTo>
                  <a:cubicBezTo>
                    <a:pt x="254" y="128"/>
                    <a:pt x="256" y="123"/>
                    <a:pt x="256" y="117"/>
                  </a:cubicBezTo>
                  <a:cubicBezTo>
                    <a:pt x="256" y="111"/>
                    <a:pt x="254" y="106"/>
                    <a:pt x="250" y="102"/>
                  </a:cubicBezTo>
                  <a:cubicBezTo>
                    <a:pt x="235" y="87"/>
                    <a:pt x="235" y="87"/>
                    <a:pt x="235" y="87"/>
                  </a:cubicBezTo>
                  <a:cubicBezTo>
                    <a:pt x="227" y="79"/>
                    <a:pt x="213" y="79"/>
                    <a:pt x="205" y="87"/>
                  </a:cubicBezTo>
                  <a:cubicBezTo>
                    <a:pt x="186" y="106"/>
                    <a:pt x="186" y="106"/>
                    <a:pt x="186" y="106"/>
                  </a:cubicBezTo>
                  <a:cubicBezTo>
                    <a:pt x="164" y="47"/>
                    <a:pt x="164" y="47"/>
                    <a:pt x="164" y="47"/>
                  </a:cubicBezTo>
                  <a:cubicBezTo>
                    <a:pt x="163" y="46"/>
                    <a:pt x="163" y="45"/>
                    <a:pt x="162" y="44"/>
                  </a:cubicBezTo>
                  <a:cubicBezTo>
                    <a:pt x="122" y="4"/>
                    <a:pt x="122" y="4"/>
                    <a:pt x="122" y="4"/>
                  </a:cubicBezTo>
                  <a:cubicBezTo>
                    <a:pt x="118" y="0"/>
                    <a:pt x="111" y="0"/>
                    <a:pt x="107" y="4"/>
                  </a:cubicBezTo>
                  <a:cubicBezTo>
                    <a:pt x="46" y="64"/>
                    <a:pt x="46" y="64"/>
                    <a:pt x="46" y="64"/>
                  </a:cubicBezTo>
                  <a:cubicBezTo>
                    <a:pt x="44" y="66"/>
                    <a:pt x="43" y="69"/>
                    <a:pt x="43" y="72"/>
                  </a:cubicBezTo>
                  <a:cubicBezTo>
                    <a:pt x="43" y="75"/>
                    <a:pt x="44" y="77"/>
                    <a:pt x="46" y="79"/>
                  </a:cubicBezTo>
                  <a:cubicBezTo>
                    <a:pt x="86" y="119"/>
                    <a:pt x="86" y="119"/>
                    <a:pt x="86" y="119"/>
                  </a:cubicBezTo>
                  <a:cubicBezTo>
                    <a:pt x="87" y="120"/>
                    <a:pt x="89" y="121"/>
                    <a:pt x="90" y="121"/>
                  </a:cubicBezTo>
                  <a:cubicBezTo>
                    <a:pt x="149" y="143"/>
                    <a:pt x="149" y="143"/>
                    <a:pt x="149" y="143"/>
                  </a:cubicBezTo>
                  <a:cubicBezTo>
                    <a:pt x="129" y="162"/>
                    <a:pt x="129" y="162"/>
                    <a:pt x="129" y="162"/>
                  </a:cubicBezTo>
                  <a:cubicBezTo>
                    <a:pt x="125" y="166"/>
                    <a:pt x="123" y="172"/>
                    <a:pt x="123" y="177"/>
                  </a:cubicBezTo>
                  <a:cubicBezTo>
                    <a:pt x="123" y="183"/>
                    <a:pt x="125" y="188"/>
                    <a:pt x="129" y="192"/>
                  </a:cubicBezTo>
                  <a:cubicBezTo>
                    <a:pt x="145" y="208"/>
                    <a:pt x="145" y="208"/>
                    <a:pt x="145" y="208"/>
                  </a:cubicBezTo>
                  <a:cubicBezTo>
                    <a:pt x="149" y="212"/>
                    <a:pt x="154" y="214"/>
                    <a:pt x="160" y="214"/>
                  </a:cubicBezTo>
                  <a:cubicBezTo>
                    <a:pt x="165" y="214"/>
                    <a:pt x="171" y="212"/>
                    <a:pt x="175" y="208"/>
                  </a:cubicBezTo>
                  <a:cubicBezTo>
                    <a:pt x="194" y="189"/>
                    <a:pt x="194" y="189"/>
                    <a:pt x="194" y="189"/>
                  </a:cubicBezTo>
                  <a:cubicBezTo>
                    <a:pt x="216" y="247"/>
                    <a:pt x="216" y="247"/>
                    <a:pt x="216" y="247"/>
                  </a:cubicBezTo>
                  <a:cubicBezTo>
                    <a:pt x="216" y="248"/>
                    <a:pt x="217" y="250"/>
                    <a:pt x="218" y="251"/>
                  </a:cubicBezTo>
                  <a:cubicBezTo>
                    <a:pt x="258" y="291"/>
                    <a:pt x="258" y="291"/>
                    <a:pt x="258" y="291"/>
                  </a:cubicBezTo>
                  <a:cubicBezTo>
                    <a:pt x="260" y="293"/>
                    <a:pt x="262" y="294"/>
                    <a:pt x="265" y="294"/>
                  </a:cubicBezTo>
                  <a:cubicBezTo>
                    <a:pt x="268" y="294"/>
                    <a:pt x="271" y="293"/>
                    <a:pt x="273" y="291"/>
                  </a:cubicBezTo>
                  <a:cubicBezTo>
                    <a:pt x="333" y="230"/>
                    <a:pt x="333" y="230"/>
                    <a:pt x="333" y="230"/>
                  </a:cubicBezTo>
                  <a:cubicBezTo>
                    <a:pt x="335" y="228"/>
                    <a:pt x="336" y="225"/>
                    <a:pt x="336" y="223"/>
                  </a:cubicBezTo>
                  <a:cubicBezTo>
                    <a:pt x="336" y="220"/>
                    <a:pt x="335" y="217"/>
                    <a:pt x="333" y="215"/>
                  </a:cubicBezTo>
                  <a:close/>
                  <a:moveTo>
                    <a:pt x="100" y="102"/>
                  </a:moveTo>
                  <a:cubicBezTo>
                    <a:pt x="69" y="72"/>
                    <a:pt x="69" y="72"/>
                    <a:pt x="69" y="72"/>
                  </a:cubicBezTo>
                  <a:cubicBezTo>
                    <a:pt x="114" y="27"/>
                    <a:pt x="114" y="27"/>
                    <a:pt x="114" y="27"/>
                  </a:cubicBezTo>
                  <a:cubicBezTo>
                    <a:pt x="145" y="57"/>
                    <a:pt x="145" y="57"/>
                    <a:pt x="145" y="57"/>
                  </a:cubicBezTo>
                  <a:cubicBezTo>
                    <a:pt x="169" y="122"/>
                    <a:pt x="169" y="122"/>
                    <a:pt x="169" y="122"/>
                  </a:cubicBezTo>
                  <a:cubicBezTo>
                    <a:pt x="165" y="127"/>
                    <a:pt x="165" y="127"/>
                    <a:pt x="165" y="127"/>
                  </a:cubicBezTo>
                  <a:lnTo>
                    <a:pt x="100" y="102"/>
                  </a:lnTo>
                  <a:close/>
                  <a:moveTo>
                    <a:pt x="160" y="192"/>
                  </a:moveTo>
                  <a:cubicBezTo>
                    <a:pt x="145" y="177"/>
                    <a:pt x="145" y="177"/>
                    <a:pt x="145" y="177"/>
                  </a:cubicBezTo>
                  <a:cubicBezTo>
                    <a:pt x="220" y="102"/>
                    <a:pt x="220" y="102"/>
                    <a:pt x="220" y="102"/>
                  </a:cubicBezTo>
                  <a:cubicBezTo>
                    <a:pt x="235" y="117"/>
                    <a:pt x="235" y="117"/>
                    <a:pt x="235" y="117"/>
                  </a:cubicBezTo>
                  <a:lnTo>
                    <a:pt x="160" y="192"/>
                  </a:lnTo>
                  <a:close/>
                  <a:moveTo>
                    <a:pt x="265" y="268"/>
                  </a:moveTo>
                  <a:cubicBezTo>
                    <a:pt x="235" y="237"/>
                    <a:pt x="235" y="237"/>
                    <a:pt x="235" y="237"/>
                  </a:cubicBezTo>
                  <a:cubicBezTo>
                    <a:pt x="210" y="172"/>
                    <a:pt x="210" y="172"/>
                    <a:pt x="210" y="172"/>
                  </a:cubicBezTo>
                  <a:cubicBezTo>
                    <a:pt x="215" y="168"/>
                    <a:pt x="215" y="168"/>
                    <a:pt x="215" y="168"/>
                  </a:cubicBezTo>
                  <a:cubicBezTo>
                    <a:pt x="280" y="192"/>
                    <a:pt x="280" y="192"/>
                    <a:pt x="280" y="192"/>
                  </a:cubicBezTo>
                  <a:cubicBezTo>
                    <a:pt x="310" y="223"/>
                    <a:pt x="310" y="223"/>
                    <a:pt x="310" y="223"/>
                  </a:cubicBezTo>
                  <a:lnTo>
                    <a:pt x="265" y="268"/>
                  </a:lnTo>
                  <a:close/>
                  <a:moveTo>
                    <a:pt x="163" y="333"/>
                  </a:moveTo>
                  <a:cubicBezTo>
                    <a:pt x="163" y="339"/>
                    <a:pt x="158" y="344"/>
                    <a:pt x="152" y="344"/>
                  </a:cubicBezTo>
                  <a:cubicBezTo>
                    <a:pt x="152" y="344"/>
                    <a:pt x="152" y="344"/>
                    <a:pt x="152" y="344"/>
                  </a:cubicBezTo>
                  <a:cubicBezTo>
                    <a:pt x="108" y="344"/>
                    <a:pt x="74" y="328"/>
                    <a:pt x="46" y="300"/>
                  </a:cubicBezTo>
                  <a:cubicBezTo>
                    <a:pt x="17" y="271"/>
                    <a:pt x="0" y="226"/>
                    <a:pt x="0" y="186"/>
                  </a:cubicBezTo>
                  <a:cubicBezTo>
                    <a:pt x="0" y="180"/>
                    <a:pt x="1" y="175"/>
                    <a:pt x="12" y="175"/>
                  </a:cubicBezTo>
                  <a:cubicBezTo>
                    <a:pt x="12" y="175"/>
                    <a:pt x="12" y="175"/>
                    <a:pt x="12" y="175"/>
                  </a:cubicBezTo>
                  <a:cubicBezTo>
                    <a:pt x="12" y="175"/>
                    <a:pt x="21" y="179"/>
                    <a:pt x="21" y="185"/>
                  </a:cubicBezTo>
                  <a:cubicBezTo>
                    <a:pt x="21" y="220"/>
                    <a:pt x="36" y="259"/>
                    <a:pt x="62" y="285"/>
                  </a:cubicBezTo>
                  <a:cubicBezTo>
                    <a:pt x="86" y="309"/>
                    <a:pt x="114" y="322"/>
                    <a:pt x="152" y="322"/>
                  </a:cubicBezTo>
                  <a:cubicBezTo>
                    <a:pt x="152" y="322"/>
                    <a:pt x="152" y="322"/>
                    <a:pt x="152" y="322"/>
                  </a:cubicBezTo>
                  <a:cubicBezTo>
                    <a:pt x="158" y="322"/>
                    <a:pt x="163" y="327"/>
                    <a:pt x="163" y="333"/>
                  </a:cubicBezTo>
                  <a:close/>
                  <a:moveTo>
                    <a:pt x="76" y="185"/>
                  </a:moveTo>
                  <a:cubicBezTo>
                    <a:pt x="76" y="185"/>
                    <a:pt x="76" y="185"/>
                    <a:pt x="76" y="185"/>
                  </a:cubicBezTo>
                  <a:cubicBezTo>
                    <a:pt x="76" y="185"/>
                    <a:pt x="85" y="190"/>
                    <a:pt x="85" y="196"/>
                  </a:cubicBezTo>
                  <a:cubicBezTo>
                    <a:pt x="85" y="211"/>
                    <a:pt x="92" y="228"/>
                    <a:pt x="104" y="240"/>
                  </a:cubicBezTo>
                  <a:cubicBezTo>
                    <a:pt x="116" y="252"/>
                    <a:pt x="133" y="258"/>
                    <a:pt x="149" y="258"/>
                  </a:cubicBezTo>
                  <a:cubicBezTo>
                    <a:pt x="149" y="258"/>
                    <a:pt x="151" y="258"/>
                    <a:pt x="151" y="258"/>
                  </a:cubicBezTo>
                  <a:cubicBezTo>
                    <a:pt x="151" y="259"/>
                    <a:pt x="151" y="259"/>
                    <a:pt x="151" y="259"/>
                  </a:cubicBezTo>
                  <a:cubicBezTo>
                    <a:pt x="151" y="259"/>
                    <a:pt x="160" y="264"/>
                    <a:pt x="160" y="269"/>
                  </a:cubicBezTo>
                  <a:cubicBezTo>
                    <a:pt x="160" y="275"/>
                    <a:pt x="155" y="280"/>
                    <a:pt x="149" y="280"/>
                  </a:cubicBezTo>
                  <a:cubicBezTo>
                    <a:pt x="149" y="280"/>
                    <a:pt x="149" y="280"/>
                    <a:pt x="149" y="280"/>
                  </a:cubicBezTo>
                  <a:cubicBezTo>
                    <a:pt x="127" y="280"/>
                    <a:pt x="105" y="271"/>
                    <a:pt x="89" y="255"/>
                  </a:cubicBezTo>
                  <a:cubicBezTo>
                    <a:pt x="73" y="239"/>
                    <a:pt x="64" y="216"/>
                    <a:pt x="64" y="195"/>
                  </a:cubicBezTo>
                  <a:cubicBezTo>
                    <a:pt x="64" y="189"/>
                    <a:pt x="65" y="185"/>
                    <a:pt x="76" y="1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45" name="Freeform 765">
            <a:extLst>
              <a:ext uri="{FF2B5EF4-FFF2-40B4-BE49-F238E27FC236}">
                <a16:creationId xmlns:a16="http://schemas.microsoft.com/office/drawing/2014/main" id="{907B5110-B66C-4EA7-93B4-B678C3FBF922}"/>
              </a:ext>
            </a:extLst>
          </p:cNvPr>
          <p:cNvSpPr>
            <a:spLocks noChangeAspect="1" noEditPoints="1"/>
          </p:cNvSpPr>
          <p:nvPr/>
        </p:nvSpPr>
        <p:spPr bwMode="auto">
          <a:xfrm>
            <a:off x="1348190" y="3302682"/>
            <a:ext cx="369021" cy="370106"/>
          </a:xfrm>
          <a:custGeom>
            <a:avLst/>
            <a:gdLst>
              <a:gd name="T0" fmla="*/ 265 w 512"/>
              <a:gd name="T1" fmla="*/ 264 h 512"/>
              <a:gd name="T2" fmla="*/ 325 w 512"/>
              <a:gd name="T3" fmla="*/ 174 h 512"/>
              <a:gd name="T4" fmla="*/ 274 w 512"/>
              <a:gd name="T5" fmla="*/ 194 h 512"/>
              <a:gd name="T6" fmla="*/ 219 w 512"/>
              <a:gd name="T7" fmla="*/ 99 h 512"/>
              <a:gd name="T8" fmla="*/ 205 w 512"/>
              <a:gd name="T9" fmla="*/ 174 h 512"/>
              <a:gd name="T10" fmla="*/ 274 w 512"/>
              <a:gd name="T11" fmla="*/ 194 h 512"/>
              <a:gd name="T12" fmla="*/ 315 w 512"/>
              <a:gd name="T13" fmla="*/ 244 h 512"/>
              <a:gd name="T14" fmla="*/ 370 w 512"/>
              <a:gd name="T15" fmla="*/ 340 h 512"/>
              <a:gd name="T16" fmla="*/ 385 w 512"/>
              <a:gd name="T17" fmla="*/ 264 h 512"/>
              <a:gd name="T18" fmla="*/ 512 w 512"/>
              <a:gd name="T19" fmla="*/ 256 h 512"/>
              <a:gd name="T20" fmla="*/ 0 w 512"/>
              <a:gd name="T21" fmla="*/ 256 h 512"/>
              <a:gd name="T22" fmla="*/ 512 w 512"/>
              <a:gd name="T23" fmla="*/ 256 h 512"/>
              <a:gd name="T24" fmla="*/ 257 w 512"/>
              <a:gd name="T25" fmla="*/ 394 h 512"/>
              <a:gd name="T26" fmla="*/ 167 w 512"/>
              <a:gd name="T27" fmla="*/ 357 h 512"/>
              <a:gd name="T28" fmla="*/ 117 w 512"/>
              <a:gd name="T29" fmla="*/ 247 h 512"/>
              <a:gd name="T30" fmla="*/ 105 w 512"/>
              <a:gd name="T31" fmla="*/ 258 h 512"/>
              <a:gd name="T32" fmla="*/ 257 w 512"/>
              <a:gd name="T33" fmla="*/ 416 h 512"/>
              <a:gd name="T34" fmla="*/ 268 w 512"/>
              <a:gd name="T35" fmla="*/ 405 h 512"/>
              <a:gd name="T36" fmla="*/ 181 w 512"/>
              <a:gd name="T37" fmla="*/ 257 h 512"/>
              <a:gd name="T38" fmla="*/ 194 w 512"/>
              <a:gd name="T39" fmla="*/ 327 h 512"/>
              <a:gd name="T40" fmla="*/ 254 w 512"/>
              <a:gd name="T41" fmla="*/ 352 h 512"/>
              <a:gd name="T42" fmla="*/ 256 w 512"/>
              <a:gd name="T43" fmla="*/ 331 h 512"/>
              <a:gd name="T44" fmla="*/ 254 w 512"/>
              <a:gd name="T45" fmla="*/ 330 h 512"/>
              <a:gd name="T46" fmla="*/ 190 w 512"/>
              <a:gd name="T47" fmla="*/ 268 h 512"/>
              <a:gd name="T48" fmla="*/ 438 w 512"/>
              <a:gd name="T49" fmla="*/ 302 h 512"/>
              <a:gd name="T50" fmla="*/ 438 w 512"/>
              <a:gd name="T51" fmla="*/ 287 h 512"/>
              <a:gd name="T52" fmla="*/ 395 w 512"/>
              <a:gd name="T53" fmla="*/ 245 h 512"/>
              <a:gd name="T54" fmla="*/ 355 w 512"/>
              <a:gd name="T55" fmla="*/ 204 h 512"/>
              <a:gd name="T56" fmla="*/ 355 w 512"/>
              <a:gd name="T57" fmla="*/ 174 h 512"/>
              <a:gd name="T58" fmla="*/ 310 w 512"/>
              <a:gd name="T59" fmla="*/ 159 h 512"/>
              <a:gd name="T60" fmla="*/ 269 w 512"/>
              <a:gd name="T61" fmla="*/ 119 h 512"/>
              <a:gd name="T62" fmla="*/ 227 w 512"/>
              <a:gd name="T63" fmla="*/ 76 h 512"/>
              <a:gd name="T64" fmla="*/ 151 w 512"/>
              <a:gd name="T65" fmla="*/ 136 h 512"/>
              <a:gd name="T66" fmla="*/ 151 w 512"/>
              <a:gd name="T67" fmla="*/ 151 h 512"/>
              <a:gd name="T68" fmla="*/ 195 w 512"/>
              <a:gd name="T69" fmla="*/ 193 h 512"/>
              <a:gd name="T70" fmla="*/ 234 w 512"/>
              <a:gd name="T71" fmla="*/ 234 h 512"/>
              <a:gd name="T72" fmla="*/ 234 w 512"/>
              <a:gd name="T73" fmla="*/ 264 h 512"/>
              <a:gd name="T74" fmla="*/ 265 w 512"/>
              <a:gd name="T75" fmla="*/ 286 h 512"/>
              <a:gd name="T76" fmla="*/ 299 w 512"/>
              <a:gd name="T77" fmla="*/ 261 h 512"/>
              <a:gd name="T78" fmla="*/ 323 w 512"/>
              <a:gd name="T79" fmla="*/ 323 h 512"/>
              <a:gd name="T80" fmla="*/ 370 w 512"/>
              <a:gd name="T81" fmla="*/ 366 h 512"/>
              <a:gd name="T82" fmla="*/ 438 w 512"/>
              <a:gd name="T83" fmla="*/ 3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40" y="189"/>
                </a:moveTo>
                <a:cubicBezTo>
                  <a:pt x="265" y="264"/>
                  <a:pt x="265" y="264"/>
                  <a:pt x="265" y="264"/>
                </a:cubicBezTo>
                <a:cubicBezTo>
                  <a:pt x="250" y="249"/>
                  <a:pt x="250" y="249"/>
                  <a:pt x="250" y="249"/>
                </a:cubicBezTo>
                <a:cubicBezTo>
                  <a:pt x="325" y="174"/>
                  <a:pt x="325" y="174"/>
                  <a:pt x="325" y="174"/>
                </a:cubicBezTo>
                <a:lnTo>
                  <a:pt x="340" y="189"/>
                </a:lnTo>
                <a:close/>
                <a:moveTo>
                  <a:pt x="274" y="194"/>
                </a:moveTo>
                <a:cubicBezTo>
                  <a:pt x="250" y="129"/>
                  <a:pt x="250" y="129"/>
                  <a:pt x="250" y="129"/>
                </a:cubicBezTo>
                <a:cubicBezTo>
                  <a:pt x="219" y="99"/>
                  <a:pt x="219" y="99"/>
                  <a:pt x="219" y="99"/>
                </a:cubicBezTo>
                <a:cubicBezTo>
                  <a:pt x="174" y="144"/>
                  <a:pt x="174" y="144"/>
                  <a:pt x="174" y="144"/>
                </a:cubicBezTo>
                <a:cubicBezTo>
                  <a:pt x="205" y="174"/>
                  <a:pt x="205" y="174"/>
                  <a:pt x="205" y="174"/>
                </a:cubicBezTo>
                <a:cubicBezTo>
                  <a:pt x="270" y="199"/>
                  <a:pt x="270" y="199"/>
                  <a:pt x="270" y="199"/>
                </a:cubicBezTo>
                <a:lnTo>
                  <a:pt x="274" y="194"/>
                </a:lnTo>
                <a:close/>
                <a:moveTo>
                  <a:pt x="320" y="240"/>
                </a:moveTo>
                <a:cubicBezTo>
                  <a:pt x="315" y="244"/>
                  <a:pt x="315" y="244"/>
                  <a:pt x="315" y="244"/>
                </a:cubicBezTo>
                <a:cubicBezTo>
                  <a:pt x="340" y="309"/>
                  <a:pt x="340" y="309"/>
                  <a:pt x="340" y="309"/>
                </a:cubicBezTo>
                <a:cubicBezTo>
                  <a:pt x="370" y="340"/>
                  <a:pt x="370" y="340"/>
                  <a:pt x="370" y="340"/>
                </a:cubicBezTo>
                <a:cubicBezTo>
                  <a:pt x="415" y="295"/>
                  <a:pt x="415" y="295"/>
                  <a:pt x="415" y="295"/>
                </a:cubicBezTo>
                <a:cubicBezTo>
                  <a:pt x="385" y="264"/>
                  <a:pt x="385" y="264"/>
                  <a:pt x="385" y="264"/>
                </a:cubicBezTo>
                <a:lnTo>
                  <a:pt x="320" y="24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8" y="405"/>
                </a:moveTo>
                <a:cubicBezTo>
                  <a:pt x="268" y="399"/>
                  <a:pt x="263" y="394"/>
                  <a:pt x="257" y="394"/>
                </a:cubicBezTo>
                <a:cubicBezTo>
                  <a:pt x="257" y="394"/>
                  <a:pt x="257" y="394"/>
                  <a:pt x="257" y="394"/>
                </a:cubicBezTo>
                <a:cubicBezTo>
                  <a:pt x="219" y="394"/>
                  <a:pt x="191" y="381"/>
                  <a:pt x="167" y="357"/>
                </a:cubicBezTo>
                <a:cubicBezTo>
                  <a:pt x="141" y="331"/>
                  <a:pt x="126" y="292"/>
                  <a:pt x="126" y="257"/>
                </a:cubicBezTo>
                <a:cubicBezTo>
                  <a:pt x="126" y="251"/>
                  <a:pt x="117" y="247"/>
                  <a:pt x="117" y="247"/>
                </a:cubicBezTo>
                <a:cubicBezTo>
                  <a:pt x="117" y="247"/>
                  <a:pt x="117" y="247"/>
                  <a:pt x="117" y="247"/>
                </a:cubicBezTo>
                <a:cubicBezTo>
                  <a:pt x="106" y="247"/>
                  <a:pt x="105" y="252"/>
                  <a:pt x="105" y="258"/>
                </a:cubicBezTo>
                <a:cubicBezTo>
                  <a:pt x="105" y="298"/>
                  <a:pt x="122" y="343"/>
                  <a:pt x="151" y="372"/>
                </a:cubicBezTo>
                <a:cubicBezTo>
                  <a:pt x="179" y="400"/>
                  <a:pt x="213" y="416"/>
                  <a:pt x="257" y="416"/>
                </a:cubicBezTo>
                <a:cubicBezTo>
                  <a:pt x="257" y="416"/>
                  <a:pt x="257" y="416"/>
                  <a:pt x="257" y="416"/>
                </a:cubicBezTo>
                <a:cubicBezTo>
                  <a:pt x="263" y="416"/>
                  <a:pt x="268" y="411"/>
                  <a:pt x="268" y="405"/>
                </a:cubicBezTo>
                <a:close/>
                <a:moveTo>
                  <a:pt x="181" y="257"/>
                </a:moveTo>
                <a:cubicBezTo>
                  <a:pt x="181" y="257"/>
                  <a:pt x="181" y="257"/>
                  <a:pt x="181" y="257"/>
                </a:cubicBezTo>
                <a:cubicBezTo>
                  <a:pt x="170" y="257"/>
                  <a:pt x="169" y="261"/>
                  <a:pt x="169" y="267"/>
                </a:cubicBezTo>
                <a:cubicBezTo>
                  <a:pt x="169" y="288"/>
                  <a:pt x="178" y="311"/>
                  <a:pt x="194" y="327"/>
                </a:cubicBezTo>
                <a:cubicBezTo>
                  <a:pt x="210" y="343"/>
                  <a:pt x="232" y="352"/>
                  <a:pt x="254" y="352"/>
                </a:cubicBezTo>
                <a:cubicBezTo>
                  <a:pt x="254" y="352"/>
                  <a:pt x="254" y="352"/>
                  <a:pt x="254" y="352"/>
                </a:cubicBezTo>
                <a:cubicBezTo>
                  <a:pt x="260" y="352"/>
                  <a:pt x="265" y="347"/>
                  <a:pt x="265" y="341"/>
                </a:cubicBezTo>
                <a:cubicBezTo>
                  <a:pt x="265" y="336"/>
                  <a:pt x="256" y="331"/>
                  <a:pt x="256" y="331"/>
                </a:cubicBezTo>
                <a:cubicBezTo>
                  <a:pt x="256" y="330"/>
                  <a:pt x="256" y="330"/>
                  <a:pt x="256" y="330"/>
                </a:cubicBezTo>
                <a:cubicBezTo>
                  <a:pt x="256" y="330"/>
                  <a:pt x="254" y="330"/>
                  <a:pt x="254" y="330"/>
                </a:cubicBezTo>
                <a:cubicBezTo>
                  <a:pt x="238" y="330"/>
                  <a:pt x="221" y="324"/>
                  <a:pt x="209" y="312"/>
                </a:cubicBezTo>
                <a:cubicBezTo>
                  <a:pt x="197" y="300"/>
                  <a:pt x="190" y="283"/>
                  <a:pt x="190" y="268"/>
                </a:cubicBezTo>
                <a:cubicBezTo>
                  <a:pt x="190" y="262"/>
                  <a:pt x="181" y="257"/>
                  <a:pt x="181" y="257"/>
                </a:cubicBezTo>
                <a:close/>
                <a:moveTo>
                  <a:pt x="438" y="302"/>
                </a:moveTo>
                <a:cubicBezTo>
                  <a:pt x="440" y="300"/>
                  <a:pt x="441" y="297"/>
                  <a:pt x="441" y="295"/>
                </a:cubicBezTo>
                <a:cubicBezTo>
                  <a:pt x="441" y="292"/>
                  <a:pt x="440" y="289"/>
                  <a:pt x="438" y="287"/>
                </a:cubicBezTo>
                <a:cubicBezTo>
                  <a:pt x="398" y="247"/>
                  <a:pt x="398" y="247"/>
                  <a:pt x="398" y="247"/>
                </a:cubicBezTo>
                <a:cubicBezTo>
                  <a:pt x="397" y="246"/>
                  <a:pt x="396" y="246"/>
                  <a:pt x="395" y="245"/>
                </a:cubicBezTo>
                <a:cubicBezTo>
                  <a:pt x="336" y="223"/>
                  <a:pt x="336" y="223"/>
                  <a:pt x="336" y="223"/>
                </a:cubicBezTo>
                <a:cubicBezTo>
                  <a:pt x="355" y="204"/>
                  <a:pt x="355" y="204"/>
                  <a:pt x="355" y="204"/>
                </a:cubicBezTo>
                <a:cubicBezTo>
                  <a:pt x="359" y="200"/>
                  <a:pt x="361" y="195"/>
                  <a:pt x="361" y="189"/>
                </a:cubicBezTo>
                <a:cubicBezTo>
                  <a:pt x="361" y="183"/>
                  <a:pt x="359" y="178"/>
                  <a:pt x="355" y="174"/>
                </a:cubicBezTo>
                <a:cubicBezTo>
                  <a:pt x="340" y="159"/>
                  <a:pt x="340" y="159"/>
                  <a:pt x="340" y="159"/>
                </a:cubicBezTo>
                <a:cubicBezTo>
                  <a:pt x="332" y="151"/>
                  <a:pt x="318" y="151"/>
                  <a:pt x="310" y="159"/>
                </a:cubicBezTo>
                <a:cubicBezTo>
                  <a:pt x="291" y="178"/>
                  <a:pt x="291" y="178"/>
                  <a:pt x="291" y="178"/>
                </a:cubicBezTo>
                <a:cubicBezTo>
                  <a:pt x="269" y="119"/>
                  <a:pt x="269" y="119"/>
                  <a:pt x="269" y="119"/>
                </a:cubicBezTo>
                <a:cubicBezTo>
                  <a:pt x="268" y="118"/>
                  <a:pt x="268" y="117"/>
                  <a:pt x="267" y="116"/>
                </a:cubicBezTo>
                <a:cubicBezTo>
                  <a:pt x="227" y="76"/>
                  <a:pt x="227" y="76"/>
                  <a:pt x="227" y="76"/>
                </a:cubicBezTo>
                <a:cubicBezTo>
                  <a:pt x="223" y="72"/>
                  <a:pt x="216" y="72"/>
                  <a:pt x="212" y="76"/>
                </a:cubicBezTo>
                <a:cubicBezTo>
                  <a:pt x="151" y="136"/>
                  <a:pt x="151" y="136"/>
                  <a:pt x="151" y="136"/>
                </a:cubicBezTo>
                <a:cubicBezTo>
                  <a:pt x="149" y="138"/>
                  <a:pt x="148" y="141"/>
                  <a:pt x="148" y="144"/>
                </a:cubicBezTo>
                <a:cubicBezTo>
                  <a:pt x="148" y="147"/>
                  <a:pt x="149" y="149"/>
                  <a:pt x="151" y="151"/>
                </a:cubicBezTo>
                <a:cubicBezTo>
                  <a:pt x="191" y="191"/>
                  <a:pt x="191" y="191"/>
                  <a:pt x="191" y="191"/>
                </a:cubicBezTo>
                <a:cubicBezTo>
                  <a:pt x="192" y="192"/>
                  <a:pt x="194" y="193"/>
                  <a:pt x="195" y="193"/>
                </a:cubicBezTo>
                <a:cubicBezTo>
                  <a:pt x="254" y="215"/>
                  <a:pt x="254" y="215"/>
                  <a:pt x="254" y="215"/>
                </a:cubicBezTo>
                <a:cubicBezTo>
                  <a:pt x="234" y="234"/>
                  <a:pt x="234" y="234"/>
                  <a:pt x="234" y="234"/>
                </a:cubicBezTo>
                <a:cubicBezTo>
                  <a:pt x="230" y="238"/>
                  <a:pt x="228" y="244"/>
                  <a:pt x="228" y="249"/>
                </a:cubicBezTo>
                <a:cubicBezTo>
                  <a:pt x="228" y="255"/>
                  <a:pt x="230" y="260"/>
                  <a:pt x="234" y="264"/>
                </a:cubicBezTo>
                <a:cubicBezTo>
                  <a:pt x="250" y="280"/>
                  <a:pt x="250" y="280"/>
                  <a:pt x="250" y="280"/>
                </a:cubicBezTo>
                <a:cubicBezTo>
                  <a:pt x="254" y="284"/>
                  <a:pt x="259" y="286"/>
                  <a:pt x="265" y="286"/>
                </a:cubicBezTo>
                <a:cubicBezTo>
                  <a:pt x="270" y="286"/>
                  <a:pt x="276" y="284"/>
                  <a:pt x="280" y="280"/>
                </a:cubicBezTo>
                <a:cubicBezTo>
                  <a:pt x="299" y="261"/>
                  <a:pt x="299" y="261"/>
                  <a:pt x="299" y="261"/>
                </a:cubicBezTo>
                <a:cubicBezTo>
                  <a:pt x="321" y="319"/>
                  <a:pt x="321" y="319"/>
                  <a:pt x="321" y="319"/>
                </a:cubicBezTo>
                <a:cubicBezTo>
                  <a:pt x="321" y="320"/>
                  <a:pt x="322" y="322"/>
                  <a:pt x="323" y="323"/>
                </a:cubicBezTo>
                <a:cubicBezTo>
                  <a:pt x="363" y="363"/>
                  <a:pt x="363" y="363"/>
                  <a:pt x="363" y="363"/>
                </a:cubicBezTo>
                <a:cubicBezTo>
                  <a:pt x="365" y="365"/>
                  <a:pt x="367" y="366"/>
                  <a:pt x="370" y="366"/>
                </a:cubicBezTo>
                <a:cubicBezTo>
                  <a:pt x="373" y="366"/>
                  <a:pt x="376" y="365"/>
                  <a:pt x="378" y="363"/>
                </a:cubicBezTo>
                <a:lnTo>
                  <a:pt x="438" y="30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46" name="Group 768">
            <a:extLst>
              <a:ext uri="{FF2B5EF4-FFF2-40B4-BE49-F238E27FC236}">
                <a16:creationId xmlns:a16="http://schemas.microsoft.com/office/drawing/2014/main" id="{4608844A-19E2-40BD-B7AE-C8A7834A009F}"/>
              </a:ext>
            </a:extLst>
          </p:cNvPr>
          <p:cNvGrpSpPr>
            <a:grpSpLocks noChangeAspect="1"/>
          </p:cNvGrpSpPr>
          <p:nvPr/>
        </p:nvGrpSpPr>
        <p:grpSpPr bwMode="auto">
          <a:xfrm>
            <a:off x="911629" y="3302682"/>
            <a:ext cx="369021" cy="369021"/>
            <a:chOff x="6591" y="3054"/>
            <a:chExt cx="340" cy="340"/>
          </a:xfrm>
          <a:solidFill>
            <a:schemeClr val="accent3"/>
          </a:solidFill>
        </p:grpSpPr>
        <p:sp>
          <p:nvSpPr>
            <p:cNvPr id="647" name="Freeform 769">
              <a:extLst>
                <a:ext uri="{FF2B5EF4-FFF2-40B4-BE49-F238E27FC236}">
                  <a16:creationId xmlns:a16="http://schemas.microsoft.com/office/drawing/2014/main" id="{A441C5F9-A1BE-4B9B-BBCD-D44A4F75736D}"/>
                </a:ext>
              </a:extLst>
            </p:cNvPr>
            <p:cNvSpPr>
              <a:spLocks noEditPoints="1"/>
            </p:cNvSpPr>
            <p:nvPr/>
          </p:nvSpPr>
          <p:spPr bwMode="auto">
            <a:xfrm>
              <a:off x="6591" y="305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8" name="Freeform 770">
              <a:extLst>
                <a:ext uri="{FF2B5EF4-FFF2-40B4-BE49-F238E27FC236}">
                  <a16:creationId xmlns:a16="http://schemas.microsoft.com/office/drawing/2014/main" id="{78CB94EC-F1BA-456B-AA56-420B6C7E1B3D}"/>
                </a:ext>
              </a:extLst>
            </p:cNvPr>
            <p:cNvSpPr>
              <a:spLocks noEditPoints="1"/>
            </p:cNvSpPr>
            <p:nvPr/>
          </p:nvSpPr>
          <p:spPr bwMode="auto">
            <a:xfrm>
              <a:off x="6690" y="3132"/>
              <a:ext cx="149" cy="198"/>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49" name="Freeform 774">
            <a:extLst>
              <a:ext uri="{FF2B5EF4-FFF2-40B4-BE49-F238E27FC236}">
                <a16:creationId xmlns:a16="http://schemas.microsoft.com/office/drawing/2014/main" id="{4BDEC9DB-1EBE-4166-BF97-CA586B66AC3E}"/>
              </a:ext>
            </a:extLst>
          </p:cNvPr>
          <p:cNvSpPr>
            <a:spLocks noChangeAspect="1" noEditPoints="1"/>
          </p:cNvSpPr>
          <p:nvPr/>
        </p:nvSpPr>
        <p:spPr bwMode="auto">
          <a:xfrm>
            <a:off x="475068" y="3302682"/>
            <a:ext cx="369021" cy="369021"/>
          </a:xfrm>
          <a:custGeom>
            <a:avLst/>
            <a:gdLst>
              <a:gd name="T0" fmla="*/ 216 w 512"/>
              <a:gd name="T1" fmla="*/ 171 h 512"/>
              <a:gd name="T2" fmla="*/ 320 w 512"/>
              <a:gd name="T3" fmla="*/ 275 h 512"/>
              <a:gd name="T4" fmla="*/ 223 w 512"/>
              <a:gd name="T5" fmla="*/ 268 h 512"/>
              <a:gd name="T6" fmla="*/ 216 w 512"/>
              <a:gd name="T7" fmla="*/ 171 h 512"/>
              <a:gd name="T8" fmla="*/ 197 w 512"/>
              <a:gd name="T9" fmla="*/ 395 h 512"/>
              <a:gd name="T10" fmla="*/ 251 w 512"/>
              <a:gd name="T11" fmla="*/ 395 h 512"/>
              <a:gd name="T12" fmla="*/ 224 w 512"/>
              <a:gd name="T13" fmla="*/ 320 h 512"/>
              <a:gd name="T14" fmla="*/ 197 w 512"/>
              <a:gd name="T15" fmla="*/ 395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47 w 512"/>
              <a:gd name="T27" fmla="*/ 276 h 512"/>
              <a:gd name="T28" fmla="*/ 343 w 512"/>
              <a:gd name="T29" fmla="*/ 268 h 512"/>
              <a:gd name="T30" fmla="*/ 291 w 512"/>
              <a:gd name="T31" fmla="*/ 215 h 512"/>
              <a:gd name="T32" fmla="*/ 296 w 512"/>
              <a:gd name="T33" fmla="*/ 211 h 512"/>
              <a:gd name="T34" fmla="*/ 296 w 512"/>
              <a:gd name="T35" fmla="*/ 195 h 512"/>
              <a:gd name="T36" fmla="*/ 280 w 512"/>
              <a:gd name="T37" fmla="*/ 195 h 512"/>
              <a:gd name="T38" fmla="*/ 276 w 512"/>
              <a:gd name="T39" fmla="*/ 200 h 512"/>
              <a:gd name="T40" fmla="*/ 223 w 512"/>
              <a:gd name="T41" fmla="*/ 148 h 512"/>
              <a:gd name="T42" fmla="*/ 208 w 512"/>
              <a:gd name="T43" fmla="*/ 148 h 512"/>
              <a:gd name="T44" fmla="*/ 208 w 512"/>
              <a:gd name="T45" fmla="*/ 283 h 512"/>
              <a:gd name="T46" fmla="*/ 213 w 512"/>
              <a:gd name="T47" fmla="*/ 288 h 512"/>
              <a:gd name="T48" fmla="*/ 174 w 512"/>
              <a:gd name="T49" fmla="*/ 395 h 512"/>
              <a:gd name="T50" fmla="*/ 160 w 512"/>
              <a:gd name="T51" fmla="*/ 395 h 512"/>
              <a:gd name="T52" fmla="*/ 149 w 512"/>
              <a:gd name="T53" fmla="*/ 406 h 512"/>
              <a:gd name="T54" fmla="*/ 160 w 512"/>
              <a:gd name="T55" fmla="*/ 416 h 512"/>
              <a:gd name="T56" fmla="*/ 288 w 512"/>
              <a:gd name="T57" fmla="*/ 416 h 512"/>
              <a:gd name="T58" fmla="*/ 299 w 512"/>
              <a:gd name="T59" fmla="*/ 406 h 512"/>
              <a:gd name="T60" fmla="*/ 288 w 512"/>
              <a:gd name="T61" fmla="*/ 395 h 512"/>
              <a:gd name="T62" fmla="*/ 274 w 512"/>
              <a:gd name="T63" fmla="*/ 395 h 512"/>
              <a:gd name="T64" fmla="*/ 241 w 512"/>
              <a:gd name="T65" fmla="*/ 305 h 512"/>
              <a:gd name="T66" fmla="*/ 276 w 512"/>
              <a:gd name="T67" fmla="*/ 311 h 512"/>
              <a:gd name="T68" fmla="*/ 343 w 512"/>
              <a:gd name="T69" fmla="*/ 283 h 512"/>
              <a:gd name="T70" fmla="*/ 347 w 512"/>
              <a:gd name="T71" fmla="*/ 276 h 512"/>
              <a:gd name="T72" fmla="*/ 288 w 512"/>
              <a:gd name="T73" fmla="*/ 182 h 512"/>
              <a:gd name="T74" fmla="*/ 309 w 512"/>
              <a:gd name="T75" fmla="*/ 203 h 512"/>
              <a:gd name="T76" fmla="*/ 320 w 512"/>
              <a:gd name="T77" fmla="*/ 214 h 512"/>
              <a:gd name="T78" fmla="*/ 331 w 512"/>
              <a:gd name="T79" fmla="*/ 203 h 512"/>
              <a:gd name="T80" fmla="*/ 288 w 512"/>
              <a:gd name="T81" fmla="*/ 160 h 512"/>
              <a:gd name="T82" fmla="*/ 277 w 512"/>
              <a:gd name="T83" fmla="*/ 171 h 512"/>
              <a:gd name="T84" fmla="*/ 288 w 512"/>
              <a:gd name="T85" fmla="*/ 182 h 512"/>
              <a:gd name="T86" fmla="*/ 373 w 512"/>
              <a:gd name="T87" fmla="*/ 203 h 512"/>
              <a:gd name="T88" fmla="*/ 288 w 512"/>
              <a:gd name="T89" fmla="*/ 118 h 512"/>
              <a:gd name="T90" fmla="*/ 277 w 512"/>
              <a:gd name="T91" fmla="*/ 128 h 512"/>
              <a:gd name="T92" fmla="*/ 288 w 512"/>
              <a:gd name="T93" fmla="*/ 139 h 512"/>
              <a:gd name="T94" fmla="*/ 352 w 512"/>
              <a:gd name="T95" fmla="*/ 203 h 512"/>
              <a:gd name="T96" fmla="*/ 363 w 512"/>
              <a:gd name="T97" fmla="*/ 214 h 512"/>
              <a:gd name="T98" fmla="*/ 373 w 512"/>
              <a:gd name="T99" fmla="*/ 2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16" y="171"/>
                </a:moveTo>
                <a:cubicBezTo>
                  <a:pt x="320" y="275"/>
                  <a:pt x="320" y="275"/>
                  <a:pt x="320" y="275"/>
                </a:cubicBezTo>
                <a:cubicBezTo>
                  <a:pt x="291" y="297"/>
                  <a:pt x="249" y="295"/>
                  <a:pt x="223" y="268"/>
                </a:cubicBezTo>
                <a:cubicBezTo>
                  <a:pt x="196" y="242"/>
                  <a:pt x="194" y="200"/>
                  <a:pt x="216" y="171"/>
                </a:cubicBezTo>
                <a:close/>
                <a:moveTo>
                  <a:pt x="197" y="395"/>
                </a:moveTo>
                <a:cubicBezTo>
                  <a:pt x="251" y="395"/>
                  <a:pt x="251" y="395"/>
                  <a:pt x="251" y="395"/>
                </a:cubicBezTo>
                <a:cubicBezTo>
                  <a:pt x="224" y="320"/>
                  <a:pt x="224" y="320"/>
                  <a:pt x="224" y="320"/>
                </a:cubicBezTo>
                <a:lnTo>
                  <a:pt x="197" y="395"/>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47" y="276"/>
                </a:moveTo>
                <a:cubicBezTo>
                  <a:pt x="347" y="273"/>
                  <a:pt x="345" y="270"/>
                  <a:pt x="343" y="268"/>
                </a:cubicBezTo>
                <a:cubicBezTo>
                  <a:pt x="291" y="215"/>
                  <a:pt x="291" y="215"/>
                  <a:pt x="291" y="215"/>
                </a:cubicBezTo>
                <a:cubicBezTo>
                  <a:pt x="296" y="211"/>
                  <a:pt x="296" y="211"/>
                  <a:pt x="296" y="211"/>
                </a:cubicBezTo>
                <a:cubicBezTo>
                  <a:pt x="300" y="206"/>
                  <a:pt x="300" y="200"/>
                  <a:pt x="296" y="195"/>
                </a:cubicBezTo>
                <a:cubicBezTo>
                  <a:pt x="291" y="191"/>
                  <a:pt x="285" y="191"/>
                  <a:pt x="280" y="195"/>
                </a:cubicBezTo>
                <a:cubicBezTo>
                  <a:pt x="276" y="200"/>
                  <a:pt x="276" y="200"/>
                  <a:pt x="276" y="200"/>
                </a:cubicBezTo>
                <a:cubicBezTo>
                  <a:pt x="223" y="148"/>
                  <a:pt x="223" y="148"/>
                  <a:pt x="223" y="148"/>
                </a:cubicBezTo>
                <a:cubicBezTo>
                  <a:pt x="219" y="143"/>
                  <a:pt x="212" y="143"/>
                  <a:pt x="208" y="148"/>
                </a:cubicBezTo>
                <a:cubicBezTo>
                  <a:pt x="170" y="185"/>
                  <a:pt x="170" y="246"/>
                  <a:pt x="208" y="283"/>
                </a:cubicBezTo>
                <a:cubicBezTo>
                  <a:pt x="209" y="285"/>
                  <a:pt x="211" y="287"/>
                  <a:pt x="213" y="288"/>
                </a:cubicBezTo>
                <a:cubicBezTo>
                  <a:pt x="174" y="395"/>
                  <a:pt x="174" y="395"/>
                  <a:pt x="174" y="395"/>
                </a:cubicBezTo>
                <a:cubicBezTo>
                  <a:pt x="160" y="395"/>
                  <a:pt x="160" y="395"/>
                  <a:pt x="160" y="395"/>
                </a:cubicBezTo>
                <a:cubicBezTo>
                  <a:pt x="154" y="395"/>
                  <a:pt x="149" y="400"/>
                  <a:pt x="149" y="406"/>
                </a:cubicBezTo>
                <a:cubicBezTo>
                  <a:pt x="149" y="412"/>
                  <a:pt x="154" y="416"/>
                  <a:pt x="160" y="416"/>
                </a:cubicBezTo>
                <a:cubicBezTo>
                  <a:pt x="288" y="416"/>
                  <a:pt x="288" y="416"/>
                  <a:pt x="288" y="416"/>
                </a:cubicBezTo>
                <a:cubicBezTo>
                  <a:pt x="294" y="416"/>
                  <a:pt x="299" y="412"/>
                  <a:pt x="299" y="406"/>
                </a:cubicBezTo>
                <a:cubicBezTo>
                  <a:pt x="299" y="400"/>
                  <a:pt x="294" y="395"/>
                  <a:pt x="288" y="395"/>
                </a:cubicBezTo>
                <a:cubicBezTo>
                  <a:pt x="274" y="395"/>
                  <a:pt x="274" y="395"/>
                  <a:pt x="274" y="395"/>
                </a:cubicBezTo>
                <a:cubicBezTo>
                  <a:pt x="241" y="305"/>
                  <a:pt x="241" y="305"/>
                  <a:pt x="241" y="305"/>
                </a:cubicBezTo>
                <a:cubicBezTo>
                  <a:pt x="252" y="309"/>
                  <a:pt x="264" y="311"/>
                  <a:pt x="276" y="311"/>
                </a:cubicBezTo>
                <a:cubicBezTo>
                  <a:pt x="300" y="311"/>
                  <a:pt x="325" y="302"/>
                  <a:pt x="343" y="283"/>
                </a:cubicBezTo>
                <a:cubicBezTo>
                  <a:pt x="345" y="281"/>
                  <a:pt x="347" y="279"/>
                  <a:pt x="347" y="276"/>
                </a:cubicBezTo>
                <a:close/>
                <a:moveTo>
                  <a:pt x="288" y="182"/>
                </a:moveTo>
                <a:cubicBezTo>
                  <a:pt x="300" y="182"/>
                  <a:pt x="309" y="191"/>
                  <a:pt x="309" y="203"/>
                </a:cubicBezTo>
                <a:cubicBezTo>
                  <a:pt x="309" y="209"/>
                  <a:pt x="314" y="214"/>
                  <a:pt x="320" y="214"/>
                </a:cubicBezTo>
                <a:cubicBezTo>
                  <a:pt x="326" y="214"/>
                  <a:pt x="331" y="209"/>
                  <a:pt x="331" y="203"/>
                </a:cubicBezTo>
                <a:cubicBezTo>
                  <a:pt x="331" y="179"/>
                  <a:pt x="312" y="160"/>
                  <a:pt x="288" y="160"/>
                </a:cubicBezTo>
                <a:cubicBezTo>
                  <a:pt x="282" y="160"/>
                  <a:pt x="277" y="165"/>
                  <a:pt x="277" y="171"/>
                </a:cubicBezTo>
                <a:cubicBezTo>
                  <a:pt x="277" y="177"/>
                  <a:pt x="282" y="182"/>
                  <a:pt x="288" y="182"/>
                </a:cubicBezTo>
                <a:close/>
                <a:moveTo>
                  <a:pt x="373" y="203"/>
                </a:moveTo>
                <a:cubicBezTo>
                  <a:pt x="373" y="156"/>
                  <a:pt x="335" y="118"/>
                  <a:pt x="288" y="118"/>
                </a:cubicBezTo>
                <a:cubicBezTo>
                  <a:pt x="282" y="118"/>
                  <a:pt x="277" y="122"/>
                  <a:pt x="277" y="128"/>
                </a:cubicBezTo>
                <a:cubicBezTo>
                  <a:pt x="277" y="134"/>
                  <a:pt x="282" y="139"/>
                  <a:pt x="288" y="139"/>
                </a:cubicBezTo>
                <a:cubicBezTo>
                  <a:pt x="323" y="139"/>
                  <a:pt x="352" y="168"/>
                  <a:pt x="352" y="203"/>
                </a:cubicBezTo>
                <a:cubicBezTo>
                  <a:pt x="352" y="209"/>
                  <a:pt x="357" y="214"/>
                  <a:pt x="363" y="214"/>
                </a:cubicBezTo>
                <a:cubicBezTo>
                  <a:pt x="369" y="214"/>
                  <a:pt x="373" y="209"/>
                  <a:pt x="373" y="20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50" name="Group 499">
            <a:extLst>
              <a:ext uri="{FF2B5EF4-FFF2-40B4-BE49-F238E27FC236}">
                <a16:creationId xmlns:a16="http://schemas.microsoft.com/office/drawing/2014/main" id="{8855A1D8-693F-42EA-A6FB-2500D33436DB}"/>
              </a:ext>
            </a:extLst>
          </p:cNvPr>
          <p:cNvGrpSpPr>
            <a:grpSpLocks noChangeAspect="1"/>
          </p:cNvGrpSpPr>
          <p:nvPr/>
        </p:nvGrpSpPr>
        <p:grpSpPr bwMode="auto">
          <a:xfrm>
            <a:off x="2658958" y="3302682"/>
            <a:ext cx="370106" cy="369021"/>
            <a:chOff x="5800" y="1938"/>
            <a:chExt cx="341" cy="340"/>
          </a:xfrm>
          <a:solidFill>
            <a:schemeClr val="accent6"/>
          </a:solidFill>
        </p:grpSpPr>
        <p:sp>
          <p:nvSpPr>
            <p:cNvPr id="651" name="Freeform 500">
              <a:extLst>
                <a:ext uri="{FF2B5EF4-FFF2-40B4-BE49-F238E27FC236}">
                  <a16:creationId xmlns:a16="http://schemas.microsoft.com/office/drawing/2014/main" id="{7CC2AE00-99AC-4AA2-8C39-B041B5978CFC}"/>
                </a:ext>
              </a:extLst>
            </p:cNvPr>
            <p:cNvSpPr>
              <a:spLocks noEditPoints="1"/>
            </p:cNvSpPr>
            <p:nvPr/>
          </p:nvSpPr>
          <p:spPr bwMode="auto">
            <a:xfrm>
              <a:off x="5800" y="193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2" name="Freeform 501">
              <a:extLst>
                <a:ext uri="{FF2B5EF4-FFF2-40B4-BE49-F238E27FC236}">
                  <a16:creationId xmlns:a16="http://schemas.microsoft.com/office/drawing/2014/main" id="{DFD05582-8688-4AAC-A38A-19D3B691EBB1}"/>
                </a:ext>
              </a:extLst>
            </p:cNvPr>
            <p:cNvSpPr>
              <a:spLocks noEditPoints="1"/>
            </p:cNvSpPr>
            <p:nvPr/>
          </p:nvSpPr>
          <p:spPr bwMode="auto">
            <a:xfrm>
              <a:off x="5879" y="2016"/>
              <a:ext cx="183" cy="184"/>
            </a:xfrm>
            <a:custGeom>
              <a:avLst/>
              <a:gdLst>
                <a:gd name="T0" fmla="*/ 10 w 275"/>
                <a:gd name="T1" fmla="*/ 0 h 278"/>
                <a:gd name="T2" fmla="*/ 0 w 275"/>
                <a:gd name="T3" fmla="*/ 267 h 278"/>
                <a:gd name="T4" fmla="*/ 264 w 275"/>
                <a:gd name="T5" fmla="*/ 278 h 278"/>
                <a:gd name="T6" fmla="*/ 275 w 275"/>
                <a:gd name="T7" fmla="*/ 11 h 278"/>
                <a:gd name="T8" fmla="*/ 254 w 275"/>
                <a:gd name="T9" fmla="*/ 256 h 278"/>
                <a:gd name="T10" fmla="*/ 21 w 275"/>
                <a:gd name="T11" fmla="*/ 21 h 278"/>
                <a:gd name="T12" fmla="*/ 254 w 275"/>
                <a:gd name="T13" fmla="*/ 256 h 278"/>
                <a:gd name="T14" fmla="*/ 116 w 275"/>
                <a:gd name="T15" fmla="*/ 128 h 278"/>
                <a:gd name="T16" fmla="*/ 127 w 275"/>
                <a:gd name="T17" fmla="*/ 53 h 278"/>
                <a:gd name="T18" fmla="*/ 52 w 275"/>
                <a:gd name="T19" fmla="*/ 43 h 278"/>
                <a:gd name="T20" fmla="*/ 42 w 275"/>
                <a:gd name="T21" fmla="*/ 117 h 278"/>
                <a:gd name="T22" fmla="*/ 63 w 275"/>
                <a:gd name="T23" fmla="*/ 64 h 278"/>
                <a:gd name="T24" fmla="*/ 106 w 275"/>
                <a:gd name="T25" fmla="*/ 107 h 278"/>
                <a:gd name="T26" fmla="*/ 63 w 275"/>
                <a:gd name="T27" fmla="*/ 64 h 278"/>
                <a:gd name="T28" fmla="*/ 116 w 275"/>
                <a:gd name="T29" fmla="*/ 235 h 278"/>
                <a:gd name="T30" fmla="*/ 127 w 275"/>
                <a:gd name="T31" fmla="*/ 160 h 278"/>
                <a:gd name="T32" fmla="*/ 52 w 275"/>
                <a:gd name="T33" fmla="*/ 149 h 278"/>
                <a:gd name="T34" fmla="*/ 42 w 275"/>
                <a:gd name="T35" fmla="*/ 224 h 278"/>
                <a:gd name="T36" fmla="*/ 63 w 275"/>
                <a:gd name="T37" fmla="*/ 171 h 278"/>
                <a:gd name="T38" fmla="*/ 106 w 275"/>
                <a:gd name="T39" fmla="*/ 213 h 278"/>
                <a:gd name="T40" fmla="*/ 63 w 275"/>
                <a:gd name="T41" fmla="*/ 171 h 278"/>
                <a:gd name="T42" fmla="*/ 223 w 275"/>
                <a:gd name="T43" fmla="*/ 128 h 278"/>
                <a:gd name="T44" fmla="*/ 234 w 275"/>
                <a:gd name="T45" fmla="*/ 53 h 278"/>
                <a:gd name="T46" fmla="*/ 159 w 275"/>
                <a:gd name="T47" fmla="*/ 43 h 278"/>
                <a:gd name="T48" fmla="*/ 148 w 275"/>
                <a:gd name="T49" fmla="*/ 117 h 278"/>
                <a:gd name="T50" fmla="*/ 170 w 275"/>
                <a:gd name="T51" fmla="*/ 64 h 278"/>
                <a:gd name="T52" fmla="*/ 212 w 275"/>
                <a:gd name="T53" fmla="*/ 107 h 278"/>
                <a:gd name="T54" fmla="*/ 170 w 275"/>
                <a:gd name="T55" fmla="*/ 64 h 278"/>
                <a:gd name="T56" fmla="*/ 148 w 275"/>
                <a:gd name="T57" fmla="*/ 160 h 278"/>
                <a:gd name="T58" fmla="*/ 223 w 275"/>
                <a:gd name="T59" fmla="*/ 149 h 278"/>
                <a:gd name="T60" fmla="*/ 223 w 275"/>
                <a:gd name="T61" fmla="*/ 171 h 278"/>
                <a:gd name="T62" fmla="*/ 170 w 275"/>
                <a:gd name="T63" fmla="*/ 224 h 278"/>
                <a:gd name="T64" fmla="*/ 148 w 275"/>
                <a:gd name="T65" fmla="*/ 224 h 278"/>
                <a:gd name="T66" fmla="*/ 234 w 275"/>
                <a:gd name="T67" fmla="*/ 224 h 278"/>
                <a:gd name="T68" fmla="*/ 191 w 275"/>
                <a:gd name="T69" fmla="*/ 235 h 278"/>
                <a:gd name="T70" fmla="*/ 191 w 275"/>
                <a:gd name="T71" fmla="*/ 213 h 278"/>
                <a:gd name="T72" fmla="*/ 212 w 275"/>
                <a:gd name="T73" fmla="*/ 192 h 278"/>
                <a:gd name="T74" fmla="*/ 234 w 275"/>
                <a:gd name="T75" fmla="*/ 192 h 278"/>
                <a:gd name="T76" fmla="*/ 84 w 275"/>
                <a:gd name="T77" fmla="*/ 96 h 278"/>
                <a:gd name="T78" fmla="*/ 84 w 275"/>
                <a:gd name="T79" fmla="*/ 75 h 278"/>
                <a:gd name="T80" fmla="*/ 95 w 275"/>
                <a:gd name="T81" fmla="*/ 192 h 278"/>
                <a:gd name="T82" fmla="*/ 74 w 275"/>
                <a:gd name="T83" fmla="*/ 192 h 278"/>
                <a:gd name="T84" fmla="*/ 95 w 275"/>
                <a:gd name="T85" fmla="*/ 192 h 278"/>
                <a:gd name="T86" fmla="*/ 191 w 275"/>
                <a:gd name="T87" fmla="*/ 96 h 278"/>
                <a:gd name="T88" fmla="*/ 191 w 275"/>
                <a:gd name="T8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278">
                  <a:moveTo>
                    <a:pt x="264" y="0"/>
                  </a:moveTo>
                  <a:cubicBezTo>
                    <a:pt x="10" y="0"/>
                    <a:pt x="10" y="0"/>
                    <a:pt x="10" y="0"/>
                  </a:cubicBezTo>
                  <a:cubicBezTo>
                    <a:pt x="4" y="0"/>
                    <a:pt x="0" y="5"/>
                    <a:pt x="0" y="11"/>
                  </a:cubicBezTo>
                  <a:cubicBezTo>
                    <a:pt x="0" y="267"/>
                    <a:pt x="0" y="267"/>
                    <a:pt x="0" y="267"/>
                  </a:cubicBezTo>
                  <a:cubicBezTo>
                    <a:pt x="0" y="273"/>
                    <a:pt x="4" y="278"/>
                    <a:pt x="10" y="278"/>
                  </a:cubicBezTo>
                  <a:cubicBezTo>
                    <a:pt x="264" y="278"/>
                    <a:pt x="264" y="278"/>
                    <a:pt x="264" y="278"/>
                  </a:cubicBezTo>
                  <a:cubicBezTo>
                    <a:pt x="270" y="278"/>
                    <a:pt x="275" y="273"/>
                    <a:pt x="275" y="267"/>
                  </a:cubicBezTo>
                  <a:cubicBezTo>
                    <a:pt x="275" y="11"/>
                    <a:pt x="275" y="11"/>
                    <a:pt x="275" y="11"/>
                  </a:cubicBezTo>
                  <a:cubicBezTo>
                    <a:pt x="275" y="5"/>
                    <a:pt x="270" y="0"/>
                    <a:pt x="264" y="0"/>
                  </a:cubicBezTo>
                  <a:close/>
                  <a:moveTo>
                    <a:pt x="254" y="256"/>
                  </a:moveTo>
                  <a:cubicBezTo>
                    <a:pt x="21" y="256"/>
                    <a:pt x="21" y="256"/>
                    <a:pt x="21" y="256"/>
                  </a:cubicBezTo>
                  <a:cubicBezTo>
                    <a:pt x="21" y="21"/>
                    <a:pt x="21" y="21"/>
                    <a:pt x="21" y="21"/>
                  </a:cubicBezTo>
                  <a:cubicBezTo>
                    <a:pt x="254" y="21"/>
                    <a:pt x="254" y="21"/>
                    <a:pt x="254" y="21"/>
                  </a:cubicBezTo>
                  <a:lnTo>
                    <a:pt x="254" y="256"/>
                  </a:lnTo>
                  <a:close/>
                  <a:moveTo>
                    <a:pt x="52" y="128"/>
                  </a:moveTo>
                  <a:cubicBezTo>
                    <a:pt x="116" y="128"/>
                    <a:pt x="116" y="128"/>
                    <a:pt x="116" y="128"/>
                  </a:cubicBezTo>
                  <a:cubicBezTo>
                    <a:pt x="122" y="128"/>
                    <a:pt x="127" y="123"/>
                    <a:pt x="127" y="117"/>
                  </a:cubicBezTo>
                  <a:cubicBezTo>
                    <a:pt x="127" y="53"/>
                    <a:pt x="127" y="53"/>
                    <a:pt x="127" y="53"/>
                  </a:cubicBezTo>
                  <a:cubicBezTo>
                    <a:pt x="127" y="47"/>
                    <a:pt x="122" y="43"/>
                    <a:pt x="116" y="43"/>
                  </a:cubicBezTo>
                  <a:cubicBezTo>
                    <a:pt x="52" y="43"/>
                    <a:pt x="52" y="43"/>
                    <a:pt x="52" y="43"/>
                  </a:cubicBezTo>
                  <a:cubicBezTo>
                    <a:pt x="46" y="43"/>
                    <a:pt x="42" y="47"/>
                    <a:pt x="42" y="53"/>
                  </a:cubicBezTo>
                  <a:cubicBezTo>
                    <a:pt x="42" y="117"/>
                    <a:pt x="42" y="117"/>
                    <a:pt x="42" y="117"/>
                  </a:cubicBezTo>
                  <a:cubicBezTo>
                    <a:pt x="42" y="123"/>
                    <a:pt x="46" y="128"/>
                    <a:pt x="52" y="128"/>
                  </a:cubicBezTo>
                  <a:close/>
                  <a:moveTo>
                    <a:pt x="63" y="64"/>
                  </a:moveTo>
                  <a:cubicBezTo>
                    <a:pt x="106" y="64"/>
                    <a:pt x="106" y="64"/>
                    <a:pt x="106" y="64"/>
                  </a:cubicBezTo>
                  <a:cubicBezTo>
                    <a:pt x="106" y="107"/>
                    <a:pt x="106" y="107"/>
                    <a:pt x="106" y="107"/>
                  </a:cubicBezTo>
                  <a:cubicBezTo>
                    <a:pt x="63" y="107"/>
                    <a:pt x="63" y="107"/>
                    <a:pt x="63" y="107"/>
                  </a:cubicBezTo>
                  <a:lnTo>
                    <a:pt x="63" y="64"/>
                  </a:lnTo>
                  <a:close/>
                  <a:moveTo>
                    <a:pt x="52" y="235"/>
                  </a:moveTo>
                  <a:cubicBezTo>
                    <a:pt x="116" y="235"/>
                    <a:pt x="116" y="235"/>
                    <a:pt x="116" y="235"/>
                  </a:cubicBezTo>
                  <a:cubicBezTo>
                    <a:pt x="122" y="235"/>
                    <a:pt x="127" y="230"/>
                    <a:pt x="127" y="224"/>
                  </a:cubicBezTo>
                  <a:cubicBezTo>
                    <a:pt x="127" y="160"/>
                    <a:pt x="127" y="160"/>
                    <a:pt x="127" y="160"/>
                  </a:cubicBezTo>
                  <a:cubicBezTo>
                    <a:pt x="127" y="154"/>
                    <a:pt x="122" y="149"/>
                    <a:pt x="116" y="149"/>
                  </a:cubicBezTo>
                  <a:cubicBezTo>
                    <a:pt x="52" y="149"/>
                    <a:pt x="52" y="149"/>
                    <a:pt x="52" y="149"/>
                  </a:cubicBezTo>
                  <a:cubicBezTo>
                    <a:pt x="46" y="149"/>
                    <a:pt x="42" y="154"/>
                    <a:pt x="42" y="160"/>
                  </a:cubicBezTo>
                  <a:cubicBezTo>
                    <a:pt x="42" y="224"/>
                    <a:pt x="42" y="224"/>
                    <a:pt x="42" y="224"/>
                  </a:cubicBezTo>
                  <a:cubicBezTo>
                    <a:pt x="42" y="230"/>
                    <a:pt x="46" y="235"/>
                    <a:pt x="52" y="235"/>
                  </a:cubicBezTo>
                  <a:close/>
                  <a:moveTo>
                    <a:pt x="63" y="171"/>
                  </a:moveTo>
                  <a:cubicBezTo>
                    <a:pt x="106" y="171"/>
                    <a:pt x="106" y="171"/>
                    <a:pt x="106" y="171"/>
                  </a:cubicBezTo>
                  <a:cubicBezTo>
                    <a:pt x="106" y="213"/>
                    <a:pt x="106" y="213"/>
                    <a:pt x="106" y="213"/>
                  </a:cubicBezTo>
                  <a:cubicBezTo>
                    <a:pt x="63" y="213"/>
                    <a:pt x="63" y="213"/>
                    <a:pt x="63" y="213"/>
                  </a:cubicBezTo>
                  <a:lnTo>
                    <a:pt x="63" y="171"/>
                  </a:lnTo>
                  <a:close/>
                  <a:moveTo>
                    <a:pt x="159" y="128"/>
                  </a:moveTo>
                  <a:cubicBezTo>
                    <a:pt x="223" y="128"/>
                    <a:pt x="223" y="128"/>
                    <a:pt x="223" y="128"/>
                  </a:cubicBezTo>
                  <a:cubicBezTo>
                    <a:pt x="229" y="128"/>
                    <a:pt x="234" y="123"/>
                    <a:pt x="234" y="117"/>
                  </a:cubicBezTo>
                  <a:cubicBezTo>
                    <a:pt x="234" y="53"/>
                    <a:pt x="234" y="53"/>
                    <a:pt x="234" y="53"/>
                  </a:cubicBezTo>
                  <a:cubicBezTo>
                    <a:pt x="234" y="47"/>
                    <a:pt x="229" y="43"/>
                    <a:pt x="223" y="43"/>
                  </a:cubicBezTo>
                  <a:cubicBezTo>
                    <a:pt x="159" y="43"/>
                    <a:pt x="159" y="43"/>
                    <a:pt x="159" y="43"/>
                  </a:cubicBezTo>
                  <a:cubicBezTo>
                    <a:pt x="153" y="43"/>
                    <a:pt x="148" y="47"/>
                    <a:pt x="148" y="53"/>
                  </a:cubicBezTo>
                  <a:cubicBezTo>
                    <a:pt x="148" y="117"/>
                    <a:pt x="148" y="117"/>
                    <a:pt x="148" y="117"/>
                  </a:cubicBezTo>
                  <a:cubicBezTo>
                    <a:pt x="148" y="123"/>
                    <a:pt x="153" y="128"/>
                    <a:pt x="159" y="128"/>
                  </a:cubicBezTo>
                  <a:close/>
                  <a:moveTo>
                    <a:pt x="170" y="64"/>
                  </a:moveTo>
                  <a:cubicBezTo>
                    <a:pt x="212" y="64"/>
                    <a:pt x="212" y="64"/>
                    <a:pt x="212" y="64"/>
                  </a:cubicBezTo>
                  <a:cubicBezTo>
                    <a:pt x="212" y="107"/>
                    <a:pt x="212" y="107"/>
                    <a:pt x="212" y="107"/>
                  </a:cubicBezTo>
                  <a:cubicBezTo>
                    <a:pt x="170" y="107"/>
                    <a:pt x="170" y="107"/>
                    <a:pt x="170" y="107"/>
                  </a:cubicBezTo>
                  <a:lnTo>
                    <a:pt x="170" y="64"/>
                  </a:lnTo>
                  <a:close/>
                  <a:moveTo>
                    <a:pt x="148" y="224"/>
                  </a:moveTo>
                  <a:cubicBezTo>
                    <a:pt x="148" y="160"/>
                    <a:pt x="148" y="160"/>
                    <a:pt x="148" y="160"/>
                  </a:cubicBezTo>
                  <a:cubicBezTo>
                    <a:pt x="148" y="154"/>
                    <a:pt x="153" y="149"/>
                    <a:pt x="159" y="149"/>
                  </a:cubicBezTo>
                  <a:cubicBezTo>
                    <a:pt x="223" y="149"/>
                    <a:pt x="223" y="149"/>
                    <a:pt x="223" y="149"/>
                  </a:cubicBezTo>
                  <a:cubicBezTo>
                    <a:pt x="229" y="149"/>
                    <a:pt x="234" y="154"/>
                    <a:pt x="234" y="160"/>
                  </a:cubicBezTo>
                  <a:cubicBezTo>
                    <a:pt x="234" y="166"/>
                    <a:pt x="229" y="171"/>
                    <a:pt x="223" y="171"/>
                  </a:cubicBezTo>
                  <a:cubicBezTo>
                    <a:pt x="170" y="171"/>
                    <a:pt x="170" y="171"/>
                    <a:pt x="170" y="171"/>
                  </a:cubicBezTo>
                  <a:cubicBezTo>
                    <a:pt x="170" y="224"/>
                    <a:pt x="170" y="224"/>
                    <a:pt x="170" y="224"/>
                  </a:cubicBezTo>
                  <a:cubicBezTo>
                    <a:pt x="170" y="230"/>
                    <a:pt x="165" y="235"/>
                    <a:pt x="159" y="235"/>
                  </a:cubicBezTo>
                  <a:cubicBezTo>
                    <a:pt x="153" y="235"/>
                    <a:pt x="148" y="230"/>
                    <a:pt x="148" y="224"/>
                  </a:cubicBezTo>
                  <a:close/>
                  <a:moveTo>
                    <a:pt x="234" y="192"/>
                  </a:moveTo>
                  <a:cubicBezTo>
                    <a:pt x="234" y="224"/>
                    <a:pt x="234" y="224"/>
                    <a:pt x="234" y="224"/>
                  </a:cubicBezTo>
                  <a:cubicBezTo>
                    <a:pt x="234" y="230"/>
                    <a:pt x="229" y="235"/>
                    <a:pt x="223" y="235"/>
                  </a:cubicBezTo>
                  <a:cubicBezTo>
                    <a:pt x="191" y="235"/>
                    <a:pt x="191" y="235"/>
                    <a:pt x="191" y="235"/>
                  </a:cubicBezTo>
                  <a:cubicBezTo>
                    <a:pt x="185" y="235"/>
                    <a:pt x="180" y="230"/>
                    <a:pt x="180" y="224"/>
                  </a:cubicBezTo>
                  <a:cubicBezTo>
                    <a:pt x="180" y="218"/>
                    <a:pt x="185" y="213"/>
                    <a:pt x="191" y="213"/>
                  </a:cubicBezTo>
                  <a:cubicBezTo>
                    <a:pt x="212" y="213"/>
                    <a:pt x="212" y="213"/>
                    <a:pt x="212" y="213"/>
                  </a:cubicBezTo>
                  <a:cubicBezTo>
                    <a:pt x="212" y="192"/>
                    <a:pt x="212" y="192"/>
                    <a:pt x="212" y="192"/>
                  </a:cubicBezTo>
                  <a:cubicBezTo>
                    <a:pt x="212" y="186"/>
                    <a:pt x="217" y="181"/>
                    <a:pt x="223" y="181"/>
                  </a:cubicBezTo>
                  <a:cubicBezTo>
                    <a:pt x="229" y="181"/>
                    <a:pt x="234" y="186"/>
                    <a:pt x="234" y="192"/>
                  </a:cubicBezTo>
                  <a:close/>
                  <a:moveTo>
                    <a:pt x="95" y="85"/>
                  </a:moveTo>
                  <a:cubicBezTo>
                    <a:pt x="95" y="91"/>
                    <a:pt x="90" y="96"/>
                    <a:pt x="84" y="96"/>
                  </a:cubicBezTo>
                  <a:cubicBezTo>
                    <a:pt x="78" y="96"/>
                    <a:pt x="74" y="91"/>
                    <a:pt x="74" y="85"/>
                  </a:cubicBezTo>
                  <a:cubicBezTo>
                    <a:pt x="74" y="79"/>
                    <a:pt x="78" y="75"/>
                    <a:pt x="84" y="75"/>
                  </a:cubicBezTo>
                  <a:cubicBezTo>
                    <a:pt x="90" y="75"/>
                    <a:pt x="95" y="79"/>
                    <a:pt x="95" y="85"/>
                  </a:cubicBezTo>
                  <a:close/>
                  <a:moveTo>
                    <a:pt x="95" y="192"/>
                  </a:moveTo>
                  <a:cubicBezTo>
                    <a:pt x="95" y="198"/>
                    <a:pt x="90" y="203"/>
                    <a:pt x="84" y="203"/>
                  </a:cubicBezTo>
                  <a:cubicBezTo>
                    <a:pt x="78" y="203"/>
                    <a:pt x="74" y="198"/>
                    <a:pt x="74" y="192"/>
                  </a:cubicBezTo>
                  <a:cubicBezTo>
                    <a:pt x="74" y="186"/>
                    <a:pt x="78" y="181"/>
                    <a:pt x="84" y="181"/>
                  </a:cubicBezTo>
                  <a:cubicBezTo>
                    <a:pt x="90" y="181"/>
                    <a:pt x="95" y="186"/>
                    <a:pt x="95" y="192"/>
                  </a:cubicBezTo>
                  <a:close/>
                  <a:moveTo>
                    <a:pt x="202" y="85"/>
                  </a:moveTo>
                  <a:cubicBezTo>
                    <a:pt x="202" y="91"/>
                    <a:pt x="197" y="96"/>
                    <a:pt x="191" y="96"/>
                  </a:cubicBezTo>
                  <a:cubicBezTo>
                    <a:pt x="185" y="96"/>
                    <a:pt x="180" y="91"/>
                    <a:pt x="180" y="85"/>
                  </a:cubicBezTo>
                  <a:cubicBezTo>
                    <a:pt x="180" y="79"/>
                    <a:pt x="185" y="75"/>
                    <a:pt x="191" y="75"/>
                  </a:cubicBezTo>
                  <a:cubicBezTo>
                    <a:pt x="197" y="75"/>
                    <a:pt x="202" y="79"/>
                    <a:pt x="20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53" name="Freeform 505">
            <a:extLst>
              <a:ext uri="{FF2B5EF4-FFF2-40B4-BE49-F238E27FC236}">
                <a16:creationId xmlns:a16="http://schemas.microsoft.com/office/drawing/2014/main" id="{79596FBE-F53C-4385-A46A-B6F6A38A13FF}"/>
              </a:ext>
            </a:extLst>
          </p:cNvPr>
          <p:cNvSpPr>
            <a:spLocks noChangeAspect="1" noEditPoints="1"/>
          </p:cNvSpPr>
          <p:nvPr/>
        </p:nvSpPr>
        <p:spPr bwMode="auto">
          <a:xfrm>
            <a:off x="2222397" y="3302682"/>
            <a:ext cx="369021" cy="369021"/>
          </a:xfrm>
          <a:custGeom>
            <a:avLst/>
            <a:gdLst>
              <a:gd name="T0" fmla="*/ 181 w 512"/>
              <a:gd name="T1" fmla="*/ 288 h 512"/>
              <a:gd name="T2" fmla="*/ 224 w 512"/>
              <a:gd name="T3" fmla="*/ 330 h 512"/>
              <a:gd name="T4" fmla="*/ 202 w 512"/>
              <a:gd name="T5" fmla="*/ 320 h 512"/>
              <a:gd name="T6" fmla="*/ 202 w 512"/>
              <a:gd name="T7" fmla="*/ 298 h 512"/>
              <a:gd name="T8" fmla="*/ 202 w 512"/>
              <a:gd name="T9" fmla="*/ 320 h 512"/>
              <a:gd name="T10" fmla="*/ 288 w 512"/>
              <a:gd name="T11" fmla="*/ 181 h 512"/>
              <a:gd name="T12" fmla="*/ 330 w 512"/>
              <a:gd name="T13" fmla="*/ 224 h 512"/>
              <a:gd name="T14" fmla="*/ 309 w 512"/>
              <a:gd name="T15" fmla="*/ 213 h 512"/>
              <a:gd name="T16" fmla="*/ 309 w 512"/>
              <a:gd name="T17" fmla="*/ 192 h 512"/>
              <a:gd name="T18" fmla="*/ 309 w 512"/>
              <a:gd name="T19" fmla="*/ 213 h 512"/>
              <a:gd name="T20" fmla="*/ 181 w 512"/>
              <a:gd name="T21" fmla="*/ 181 h 512"/>
              <a:gd name="T22" fmla="*/ 224 w 512"/>
              <a:gd name="T23" fmla="*/ 224 h 512"/>
              <a:gd name="T24" fmla="*/ 202 w 512"/>
              <a:gd name="T25" fmla="*/ 213 h 512"/>
              <a:gd name="T26" fmla="*/ 202 w 512"/>
              <a:gd name="T27" fmla="*/ 192 h 512"/>
              <a:gd name="T28" fmla="*/ 202 w 512"/>
              <a:gd name="T29" fmla="*/ 213 h 512"/>
              <a:gd name="T30" fmla="*/ 0 w 512"/>
              <a:gd name="T31" fmla="*/ 256 h 512"/>
              <a:gd name="T32" fmla="*/ 512 w 512"/>
              <a:gd name="T33" fmla="*/ 256 h 512"/>
              <a:gd name="T34" fmla="*/ 393 w 512"/>
              <a:gd name="T35" fmla="*/ 384 h 512"/>
              <a:gd name="T36" fmla="*/ 128 w 512"/>
              <a:gd name="T37" fmla="*/ 395 h 512"/>
              <a:gd name="T38" fmla="*/ 118 w 512"/>
              <a:gd name="T39" fmla="*/ 128 h 512"/>
              <a:gd name="T40" fmla="*/ 382 w 512"/>
              <a:gd name="T41" fmla="*/ 117 h 512"/>
              <a:gd name="T42" fmla="*/ 393 w 512"/>
              <a:gd name="T43" fmla="*/ 384 h 512"/>
              <a:gd name="T44" fmla="*/ 372 w 512"/>
              <a:gd name="T45" fmla="*/ 373 h 512"/>
              <a:gd name="T46" fmla="*/ 139 w 512"/>
              <a:gd name="T47" fmla="*/ 138 h 512"/>
              <a:gd name="T48" fmla="*/ 352 w 512"/>
              <a:gd name="T49" fmla="*/ 341 h 512"/>
              <a:gd name="T50" fmla="*/ 309 w 512"/>
              <a:gd name="T51" fmla="*/ 352 h 512"/>
              <a:gd name="T52" fmla="*/ 309 w 512"/>
              <a:gd name="T53" fmla="*/ 330 h 512"/>
              <a:gd name="T54" fmla="*/ 330 w 512"/>
              <a:gd name="T55" fmla="*/ 309 h 512"/>
              <a:gd name="T56" fmla="*/ 352 w 512"/>
              <a:gd name="T57" fmla="*/ 309 h 512"/>
              <a:gd name="T58" fmla="*/ 266 w 512"/>
              <a:gd name="T59" fmla="*/ 170 h 512"/>
              <a:gd name="T60" fmla="*/ 341 w 512"/>
              <a:gd name="T61" fmla="*/ 160 h 512"/>
              <a:gd name="T62" fmla="*/ 352 w 512"/>
              <a:gd name="T63" fmla="*/ 234 h 512"/>
              <a:gd name="T64" fmla="*/ 277 w 512"/>
              <a:gd name="T65" fmla="*/ 245 h 512"/>
              <a:gd name="T66" fmla="*/ 266 w 512"/>
              <a:gd name="T67" fmla="*/ 170 h 512"/>
              <a:gd name="T68" fmla="*/ 277 w 512"/>
              <a:gd name="T69" fmla="*/ 266 h 512"/>
              <a:gd name="T70" fmla="*/ 352 w 512"/>
              <a:gd name="T71" fmla="*/ 277 h 512"/>
              <a:gd name="T72" fmla="*/ 288 w 512"/>
              <a:gd name="T73" fmla="*/ 288 h 512"/>
              <a:gd name="T74" fmla="*/ 277 w 512"/>
              <a:gd name="T75" fmla="*/ 352 h 512"/>
              <a:gd name="T76" fmla="*/ 266 w 512"/>
              <a:gd name="T77" fmla="*/ 277 h 512"/>
              <a:gd name="T78" fmla="*/ 170 w 512"/>
              <a:gd name="T79" fmla="*/ 160 h 512"/>
              <a:gd name="T80" fmla="*/ 245 w 512"/>
              <a:gd name="T81" fmla="*/ 170 h 512"/>
              <a:gd name="T82" fmla="*/ 234 w 512"/>
              <a:gd name="T83" fmla="*/ 245 h 512"/>
              <a:gd name="T84" fmla="*/ 160 w 512"/>
              <a:gd name="T85" fmla="*/ 234 h 512"/>
              <a:gd name="T86" fmla="*/ 160 w 512"/>
              <a:gd name="T87" fmla="*/ 277 h 512"/>
              <a:gd name="T88" fmla="*/ 234 w 512"/>
              <a:gd name="T89" fmla="*/ 266 h 512"/>
              <a:gd name="T90" fmla="*/ 245 w 512"/>
              <a:gd name="T91" fmla="*/ 341 h 512"/>
              <a:gd name="T92" fmla="*/ 170 w 512"/>
              <a:gd name="T93" fmla="*/ 352 h 512"/>
              <a:gd name="T94" fmla="*/ 160 w 512"/>
              <a:gd name="T95"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24" y="288"/>
                </a:moveTo>
                <a:cubicBezTo>
                  <a:pt x="181" y="288"/>
                  <a:pt x="181" y="288"/>
                  <a:pt x="181" y="288"/>
                </a:cubicBezTo>
                <a:cubicBezTo>
                  <a:pt x="181" y="330"/>
                  <a:pt x="181" y="330"/>
                  <a:pt x="181" y="330"/>
                </a:cubicBezTo>
                <a:cubicBezTo>
                  <a:pt x="224" y="330"/>
                  <a:pt x="224" y="330"/>
                  <a:pt x="224" y="330"/>
                </a:cubicBezTo>
                <a:lnTo>
                  <a:pt x="224" y="288"/>
                </a:lnTo>
                <a:close/>
                <a:moveTo>
                  <a:pt x="202" y="320"/>
                </a:moveTo>
                <a:cubicBezTo>
                  <a:pt x="196" y="320"/>
                  <a:pt x="192" y="315"/>
                  <a:pt x="192" y="309"/>
                </a:cubicBezTo>
                <a:cubicBezTo>
                  <a:pt x="192" y="303"/>
                  <a:pt x="196" y="298"/>
                  <a:pt x="202" y="298"/>
                </a:cubicBezTo>
                <a:cubicBezTo>
                  <a:pt x="208" y="298"/>
                  <a:pt x="213" y="303"/>
                  <a:pt x="213" y="309"/>
                </a:cubicBezTo>
                <a:cubicBezTo>
                  <a:pt x="213" y="315"/>
                  <a:pt x="208" y="320"/>
                  <a:pt x="202" y="320"/>
                </a:cubicBezTo>
                <a:close/>
                <a:moveTo>
                  <a:pt x="330" y="181"/>
                </a:moveTo>
                <a:cubicBezTo>
                  <a:pt x="288" y="181"/>
                  <a:pt x="288" y="181"/>
                  <a:pt x="288" y="181"/>
                </a:cubicBezTo>
                <a:cubicBezTo>
                  <a:pt x="288" y="224"/>
                  <a:pt x="288" y="224"/>
                  <a:pt x="288" y="224"/>
                </a:cubicBezTo>
                <a:cubicBezTo>
                  <a:pt x="330" y="224"/>
                  <a:pt x="330" y="224"/>
                  <a:pt x="330" y="224"/>
                </a:cubicBezTo>
                <a:lnTo>
                  <a:pt x="330" y="181"/>
                </a:lnTo>
                <a:close/>
                <a:moveTo>
                  <a:pt x="309" y="213"/>
                </a:moveTo>
                <a:cubicBezTo>
                  <a:pt x="303" y="213"/>
                  <a:pt x="298" y="208"/>
                  <a:pt x="298" y="202"/>
                </a:cubicBezTo>
                <a:cubicBezTo>
                  <a:pt x="298" y="196"/>
                  <a:pt x="303" y="192"/>
                  <a:pt x="309" y="192"/>
                </a:cubicBezTo>
                <a:cubicBezTo>
                  <a:pt x="315" y="192"/>
                  <a:pt x="320" y="196"/>
                  <a:pt x="320" y="202"/>
                </a:cubicBezTo>
                <a:cubicBezTo>
                  <a:pt x="320" y="208"/>
                  <a:pt x="315" y="213"/>
                  <a:pt x="309" y="213"/>
                </a:cubicBezTo>
                <a:close/>
                <a:moveTo>
                  <a:pt x="224" y="181"/>
                </a:moveTo>
                <a:cubicBezTo>
                  <a:pt x="181" y="181"/>
                  <a:pt x="181" y="181"/>
                  <a:pt x="181" y="181"/>
                </a:cubicBezTo>
                <a:cubicBezTo>
                  <a:pt x="181" y="224"/>
                  <a:pt x="181" y="224"/>
                  <a:pt x="181" y="224"/>
                </a:cubicBezTo>
                <a:cubicBezTo>
                  <a:pt x="224" y="224"/>
                  <a:pt x="224" y="224"/>
                  <a:pt x="224" y="224"/>
                </a:cubicBezTo>
                <a:lnTo>
                  <a:pt x="224" y="181"/>
                </a:lnTo>
                <a:close/>
                <a:moveTo>
                  <a:pt x="202" y="213"/>
                </a:moveTo>
                <a:cubicBezTo>
                  <a:pt x="196" y="213"/>
                  <a:pt x="192" y="208"/>
                  <a:pt x="192" y="202"/>
                </a:cubicBezTo>
                <a:cubicBezTo>
                  <a:pt x="192" y="196"/>
                  <a:pt x="196" y="192"/>
                  <a:pt x="202" y="192"/>
                </a:cubicBezTo>
                <a:cubicBezTo>
                  <a:pt x="208" y="192"/>
                  <a:pt x="213" y="196"/>
                  <a:pt x="213" y="202"/>
                </a:cubicBezTo>
                <a:cubicBezTo>
                  <a:pt x="213" y="208"/>
                  <a:pt x="208" y="213"/>
                  <a:pt x="202"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84"/>
                </a:moveTo>
                <a:cubicBezTo>
                  <a:pt x="393" y="390"/>
                  <a:pt x="388" y="395"/>
                  <a:pt x="382" y="395"/>
                </a:cubicBezTo>
                <a:cubicBezTo>
                  <a:pt x="128" y="395"/>
                  <a:pt x="128" y="395"/>
                  <a:pt x="128" y="395"/>
                </a:cubicBezTo>
                <a:cubicBezTo>
                  <a:pt x="122" y="395"/>
                  <a:pt x="118" y="390"/>
                  <a:pt x="118" y="384"/>
                </a:cubicBezTo>
                <a:cubicBezTo>
                  <a:pt x="118" y="128"/>
                  <a:pt x="118" y="128"/>
                  <a:pt x="118" y="128"/>
                </a:cubicBezTo>
                <a:cubicBezTo>
                  <a:pt x="118" y="122"/>
                  <a:pt x="122" y="117"/>
                  <a:pt x="128" y="117"/>
                </a:cubicBezTo>
                <a:cubicBezTo>
                  <a:pt x="382" y="117"/>
                  <a:pt x="382" y="117"/>
                  <a:pt x="382" y="117"/>
                </a:cubicBezTo>
                <a:cubicBezTo>
                  <a:pt x="388" y="117"/>
                  <a:pt x="393" y="122"/>
                  <a:pt x="393" y="128"/>
                </a:cubicBezTo>
                <a:lnTo>
                  <a:pt x="393" y="384"/>
                </a:lnTo>
                <a:close/>
                <a:moveTo>
                  <a:pt x="139" y="373"/>
                </a:moveTo>
                <a:cubicBezTo>
                  <a:pt x="372" y="373"/>
                  <a:pt x="372" y="373"/>
                  <a:pt x="372" y="373"/>
                </a:cubicBezTo>
                <a:cubicBezTo>
                  <a:pt x="372" y="138"/>
                  <a:pt x="372" y="138"/>
                  <a:pt x="372" y="138"/>
                </a:cubicBezTo>
                <a:cubicBezTo>
                  <a:pt x="139" y="138"/>
                  <a:pt x="139" y="138"/>
                  <a:pt x="139" y="138"/>
                </a:cubicBezTo>
                <a:lnTo>
                  <a:pt x="139" y="373"/>
                </a:lnTo>
                <a:close/>
                <a:moveTo>
                  <a:pt x="352" y="341"/>
                </a:moveTo>
                <a:cubicBezTo>
                  <a:pt x="352" y="347"/>
                  <a:pt x="347" y="352"/>
                  <a:pt x="341" y="352"/>
                </a:cubicBezTo>
                <a:cubicBezTo>
                  <a:pt x="309" y="352"/>
                  <a:pt x="309" y="352"/>
                  <a:pt x="309" y="352"/>
                </a:cubicBezTo>
                <a:cubicBezTo>
                  <a:pt x="303" y="352"/>
                  <a:pt x="298" y="347"/>
                  <a:pt x="298" y="341"/>
                </a:cubicBezTo>
                <a:cubicBezTo>
                  <a:pt x="298" y="335"/>
                  <a:pt x="303" y="330"/>
                  <a:pt x="309" y="330"/>
                </a:cubicBezTo>
                <a:cubicBezTo>
                  <a:pt x="330" y="330"/>
                  <a:pt x="330" y="330"/>
                  <a:pt x="330" y="330"/>
                </a:cubicBezTo>
                <a:cubicBezTo>
                  <a:pt x="330" y="309"/>
                  <a:pt x="330" y="309"/>
                  <a:pt x="330" y="309"/>
                </a:cubicBezTo>
                <a:cubicBezTo>
                  <a:pt x="330" y="303"/>
                  <a:pt x="335" y="298"/>
                  <a:pt x="341" y="298"/>
                </a:cubicBezTo>
                <a:cubicBezTo>
                  <a:pt x="347" y="298"/>
                  <a:pt x="352" y="303"/>
                  <a:pt x="352" y="309"/>
                </a:cubicBezTo>
                <a:lnTo>
                  <a:pt x="352" y="341"/>
                </a:lnTo>
                <a:close/>
                <a:moveTo>
                  <a:pt x="266" y="170"/>
                </a:moveTo>
                <a:cubicBezTo>
                  <a:pt x="266" y="164"/>
                  <a:pt x="271" y="160"/>
                  <a:pt x="277" y="160"/>
                </a:cubicBezTo>
                <a:cubicBezTo>
                  <a:pt x="341" y="160"/>
                  <a:pt x="341" y="160"/>
                  <a:pt x="341" y="160"/>
                </a:cubicBezTo>
                <a:cubicBezTo>
                  <a:pt x="347" y="160"/>
                  <a:pt x="352" y="164"/>
                  <a:pt x="352" y="170"/>
                </a:cubicBezTo>
                <a:cubicBezTo>
                  <a:pt x="352" y="234"/>
                  <a:pt x="352" y="234"/>
                  <a:pt x="352" y="234"/>
                </a:cubicBezTo>
                <a:cubicBezTo>
                  <a:pt x="352" y="240"/>
                  <a:pt x="347" y="245"/>
                  <a:pt x="341" y="245"/>
                </a:cubicBezTo>
                <a:cubicBezTo>
                  <a:pt x="277" y="245"/>
                  <a:pt x="277" y="245"/>
                  <a:pt x="277" y="245"/>
                </a:cubicBezTo>
                <a:cubicBezTo>
                  <a:pt x="271" y="245"/>
                  <a:pt x="266" y="240"/>
                  <a:pt x="266" y="234"/>
                </a:cubicBezTo>
                <a:lnTo>
                  <a:pt x="266" y="170"/>
                </a:lnTo>
                <a:close/>
                <a:moveTo>
                  <a:pt x="266" y="277"/>
                </a:moveTo>
                <a:cubicBezTo>
                  <a:pt x="266" y="271"/>
                  <a:pt x="271" y="266"/>
                  <a:pt x="277" y="266"/>
                </a:cubicBezTo>
                <a:cubicBezTo>
                  <a:pt x="341" y="266"/>
                  <a:pt x="341" y="266"/>
                  <a:pt x="341" y="266"/>
                </a:cubicBezTo>
                <a:cubicBezTo>
                  <a:pt x="347" y="266"/>
                  <a:pt x="352" y="271"/>
                  <a:pt x="352" y="277"/>
                </a:cubicBezTo>
                <a:cubicBezTo>
                  <a:pt x="352" y="283"/>
                  <a:pt x="347" y="288"/>
                  <a:pt x="341" y="288"/>
                </a:cubicBezTo>
                <a:cubicBezTo>
                  <a:pt x="288" y="288"/>
                  <a:pt x="288" y="288"/>
                  <a:pt x="288" y="288"/>
                </a:cubicBezTo>
                <a:cubicBezTo>
                  <a:pt x="288" y="341"/>
                  <a:pt x="288" y="341"/>
                  <a:pt x="288" y="341"/>
                </a:cubicBezTo>
                <a:cubicBezTo>
                  <a:pt x="288" y="347"/>
                  <a:pt x="283" y="352"/>
                  <a:pt x="277" y="352"/>
                </a:cubicBezTo>
                <a:cubicBezTo>
                  <a:pt x="271" y="352"/>
                  <a:pt x="266" y="347"/>
                  <a:pt x="266" y="341"/>
                </a:cubicBezTo>
                <a:lnTo>
                  <a:pt x="266" y="277"/>
                </a:lnTo>
                <a:close/>
                <a:moveTo>
                  <a:pt x="160" y="170"/>
                </a:moveTo>
                <a:cubicBezTo>
                  <a:pt x="160" y="164"/>
                  <a:pt x="164" y="160"/>
                  <a:pt x="170" y="160"/>
                </a:cubicBezTo>
                <a:cubicBezTo>
                  <a:pt x="234" y="160"/>
                  <a:pt x="234" y="160"/>
                  <a:pt x="234" y="160"/>
                </a:cubicBezTo>
                <a:cubicBezTo>
                  <a:pt x="240" y="160"/>
                  <a:pt x="245" y="164"/>
                  <a:pt x="245" y="170"/>
                </a:cubicBezTo>
                <a:cubicBezTo>
                  <a:pt x="245" y="234"/>
                  <a:pt x="245" y="234"/>
                  <a:pt x="245" y="234"/>
                </a:cubicBezTo>
                <a:cubicBezTo>
                  <a:pt x="245" y="240"/>
                  <a:pt x="240" y="245"/>
                  <a:pt x="234" y="245"/>
                </a:cubicBezTo>
                <a:cubicBezTo>
                  <a:pt x="170" y="245"/>
                  <a:pt x="170" y="245"/>
                  <a:pt x="170" y="245"/>
                </a:cubicBezTo>
                <a:cubicBezTo>
                  <a:pt x="164" y="245"/>
                  <a:pt x="160" y="240"/>
                  <a:pt x="160" y="234"/>
                </a:cubicBezTo>
                <a:lnTo>
                  <a:pt x="160" y="170"/>
                </a:lnTo>
                <a:close/>
                <a:moveTo>
                  <a:pt x="160" y="277"/>
                </a:moveTo>
                <a:cubicBezTo>
                  <a:pt x="160" y="271"/>
                  <a:pt x="164" y="266"/>
                  <a:pt x="170" y="266"/>
                </a:cubicBezTo>
                <a:cubicBezTo>
                  <a:pt x="234" y="266"/>
                  <a:pt x="234" y="266"/>
                  <a:pt x="234" y="266"/>
                </a:cubicBezTo>
                <a:cubicBezTo>
                  <a:pt x="240" y="266"/>
                  <a:pt x="245" y="271"/>
                  <a:pt x="245" y="277"/>
                </a:cubicBezTo>
                <a:cubicBezTo>
                  <a:pt x="245" y="341"/>
                  <a:pt x="245" y="341"/>
                  <a:pt x="245" y="341"/>
                </a:cubicBezTo>
                <a:cubicBezTo>
                  <a:pt x="245" y="347"/>
                  <a:pt x="240" y="352"/>
                  <a:pt x="234" y="352"/>
                </a:cubicBezTo>
                <a:cubicBezTo>
                  <a:pt x="170" y="352"/>
                  <a:pt x="170" y="352"/>
                  <a:pt x="170" y="352"/>
                </a:cubicBezTo>
                <a:cubicBezTo>
                  <a:pt x="164" y="352"/>
                  <a:pt x="160" y="347"/>
                  <a:pt x="160" y="341"/>
                </a:cubicBezTo>
                <a:lnTo>
                  <a:pt x="160" y="277"/>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54" name="Freeform 305">
            <a:extLst>
              <a:ext uri="{FF2B5EF4-FFF2-40B4-BE49-F238E27FC236}">
                <a16:creationId xmlns:a16="http://schemas.microsoft.com/office/drawing/2014/main" id="{E8D71158-0A9D-40D1-8BAE-9409385F501D}"/>
              </a:ext>
            </a:extLst>
          </p:cNvPr>
          <p:cNvSpPr>
            <a:spLocks noChangeAspect="1" noEditPoints="1"/>
          </p:cNvSpPr>
          <p:nvPr/>
        </p:nvSpPr>
        <p:spPr bwMode="auto">
          <a:xfrm>
            <a:off x="3096604" y="3302682"/>
            <a:ext cx="367041" cy="368120"/>
          </a:xfrm>
          <a:custGeom>
            <a:avLst/>
            <a:gdLst>
              <a:gd name="T0" fmla="*/ 294 w 512"/>
              <a:gd name="T1" fmla="*/ 298 h 512"/>
              <a:gd name="T2" fmla="*/ 287 w 512"/>
              <a:gd name="T3" fmla="*/ 324 h 512"/>
              <a:gd name="T4" fmla="*/ 239 w 512"/>
              <a:gd name="T5" fmla="*/ 213 h 512"/>
              <a:gd name="T6" fmla="*/ 256 w 512"/>
              <a:gd name="T7" fmla="*/ 181 h 512"/>
              <a:gd name="T8" fmla="*/ 287 w 512"/>
              <a:gd name="T9" fmla="*/ 188 h 512"/>
              <a:gd name="T10" fmla="*/ 317 w 512"/>
              <a:gd name="T11" fmla="*/ 213 h 512"/>
              <a:gd name="T12" fmla="*/ 297 w 512"/>
              <a:gd name="T13" fmla="*/ 277 h 512"/>
              <a:gd name="T14" fmla="*/ 330 w 512"/>
              <a:gd name="T15" fmla="*/ 256 h 512"/>
              <a:gd name="T16" fmla="*/ 297 w 512"/>
              <a:gd name="T17" fmla="*/ 234 h 512"/>
              <a:gd name="T18" fmla="*/ 276 w 512"/>
              <a:gd name="T19" fmla="*/ 277 h 512"/>
              <a:gd name="T20" fmla="*/ 276 w 512"/>
              <a:gd name="T21" fmla="*/ 234 h 512"/>
              <a:gd name="T22" fmla="*/ 234 w 512"/>
              <a:gd name="T23" fmla="*/ 256 h 512"/>
              <a:gd name="T24" fmla="*/ 276 w 512"/>
              <a:gd name="T25" fmla="*/ 277 h 512"/>
              <a:gd name="T26" fmla="*/ 214 w 512"/>
              <a:gd name="T27" fmla="*/ 234 h 512"/>
              <a:gd name="T28" fmla="*/ 181 w 512"/>
              <a:gd name="T29" fmla="*/ 256 h 512"/>
              <a:gd name="T30" fmla="*/ 214 w 512"/>
              <a:gd name="T31" fmla="*/ 277 h 512"/>
              <a:gd name="T32" fmla="*/ 512 w 512"/>
              <a:gd name="T33" fmla="*/ 256 h 512"/>
              <a:gd name="T34" fmla="*/ 0 w 512"/>
              <a:gd name="T35" fmla="*/ 256 h 512"/>
              <a:gd name="T36" fmla="*/ 512 w 512"/>
              <a:gd name="T37" fmla="*/ 256 h 512"/>
              <a:gd name="T38" fmla="*/ 256 w 512"/>
              <a:gd name="T39" fmla="*/ 352 h 512"/>
              <a:gd name="T40" fmla="*/ 256 w 512"/>
              <a:gd name="T41" fmla="*/ 160 h 512"/>
              <a:gd name="T42" fmla="*/ 416 w 512"/>
              <a:gd name="T43" fmla="*/ 256 h 512"/>
              <a:gd name="T44" fmla="*/ 249 w 512"/>
              <a:gd name="T45" fmla="*/ 96 h 512"/>
              <a:gd name="T46" fmla="*/ 263 w 512"/>
              <a:gd name="T47" fmla="*/ 67 h 512"/>
              <a:gd name="T48" fmla="*/ 216 w 512"/>
              <a:gd name="T49" fmla="*/ 99 h 512"/>
              <a:gd name="T50" fmla="*/ 248 w 512"/>
              <a:gd name="T51" fmla="*/ 146 h 512"/>
              <a:gd name="T52" fmla="*/ 263 w 512"/>
              <a:gd name="T53" fmla="*/ 146 h 512"/>
              <a:gd name="T54" fmla="*/ 249 w 512"/>
              <a:gd name="T55" fmla="*/ 117 h 512"/>
              <a:gd name="T56" fmla="*/ 394 w 512"/>
              <a:gd name="T57" fmla="*/ 256 h 512"/>
              <a:gd name="T58" fmla="*/ 117 w 512"/>
              <a:gd name="T59" fmla="*/ 266 h 512"/>
              <a:gd name="T60" fmla="*/ 96 w 512"/>
              <a:gd name="T61" fmla="*/ 267 h 512"/>
              <a:gd name="T62" fmla="*/ 416 w 512"/>
              <a:gd name="T63" fmla="*/ 256 h 512"/>
              <a:gd name="T64" fmla="*/ 225 w 512"/>
              <a:gd name="T65" fmla="*/ 324 h 512"/>
              <a:gd name="T66" fmla="*/ 194 w 512"/>
              <a:gd name="T67" fmla="*/ 298 h 512"/>
              <a:gd name="T68" fmla="*/ 272 w 512"/>
              <a:gd name="T69" fmla="*/ 298 h 512"/>
              <a:gd name="T70" fmla="*/ 256 w 512"/>
              <a:gd name="T71" fmla="*/ 330 h 512"/>
              <a:gd name="T72" fmla="*/ 194 w 512"/>
              <a:gd name="T73" fmla="*/ 213 h 512"/>
              <a:gd name="T74" fmla="*/ 225 w 512"/>
              <a:gd name="T75"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87" y="324"/>
                </a:moveTo>
                <a:cubicBezTo>
                  <a:pt x="290" y="316"/>
                  <a:pt x="292" y="308"/>
                  <a:pt x="294" y="298"/>
                </a:cubicBezTo>
                <a:cubicBezTo>
                  <a:pt x="317" y="298"/>
                  <a:pt x="317" y="298"/>
                  <a:pt x="317" y="298"/>
                </a:cubicBezTo>
                <a:cubicBezTo>
                  <a:pt x="309" y="309"/>
                  <a:pt x="299" y="318"/>
                  <a:pt x="287" y="324"/>
                </a:cubicBezTo>
                <a:close/>
                <a:moveTo>
                  <a:pt x="256" y="181"/>
                </a:moveTo>
                <a:cubicBezTo>
                  <a:pt x="252" y="181"/>
                  <a:pt x="244" y="192"/>
                  <a:pt x="239" y="213"/>
                </a:cubicBezTo>
                <a:cubicBezTo>
                  <a:pt x="272" y="213"/>
                  <a:pt x="272" y="213"/>
                  <a:pt x="272" y="213"/>
                </a:cubicBezTo>
                <a:cubicBezTo>
                  <a:pt x="267" y="192"/>
                  <a:pt x="260" y="181"/>
                  <a:pt x="256" y="181"/>
                </a:cubicBezTo>
                <a:close/>
                <a:moveTo>
                  <a:pt x="317" y="213"/>
                </a:moveTo>
                <a:cubicBezTo>
                  <a:pt x="309" y="202"/>
                  <a:pt x="299" y="193"/>
                  <a:pt x="287" y="188"/>
                </a:cubicBezTo>
                <a:cubicBezTo>
                  <a:pt x="290" y="195"/>
                  <a:pt x="292" y="204"/>
                  <a:pt x="294" y="213"/>
                </a:cubicBezTo>
                <a:lnTo>
                  <a:pt x="317" y="213"/>
                </a:lnTo>
                <a:close/>
                <a:moveTo>
                  <a:pt x="298" y="256"/>
                </a:moveTo>
                <a:cubicBezTo>
                  <a:pt x="298" y="263"/>
                  <a:pt x="298" y="270"/>
                  <a:pt x="297" y="277"/>
                </a:cubicBezTo>
                <a:cubicBezTo>
                  <a:pt x="327" y="277"/>
                  <a:pt x="327" y="277"/>
                  <a:pt x="327" y="277"/>
                </a:cubicBezTo>
                <a:cubicBezTo>
                  <a:pt x="329" y="270"/>
                  <a:pt x="330" y="263"/>
                  <a:pt x="330" y="256"/>
                </a:cubicBezTo>
                <a:cubicBezTo>
                  <a:pt x="330" y="248"/>
                  <a:pt x="329" y="241"/>
                  <a:pt x="327" y="234"/>
                </a:cubicBezTo>
                <a:cubicBezTo>
                  <a:pt x="297" y="234"/>
                  <a:pt x="297" y="234"/>
                  <a:pt x="297" y="234"/>
                </a:cubicBezTo>
                <a:cubicBezTo>
                  <a:pt x="298" y="241"/>
                  <a:pt x="298" y="249"/>
                  <a:pt x="298" y="256"/>
                </a:cubicBezTo>
                <a:close/>
                <a:moveTo>
                  <a:pt x="276" y="277"/>
                </a:moveTo>
                <a:cubicBezTo>
                  <a:pt x="277" y="270"/>
                  <a:pt x="277" y="263"/>
                  <a:pt x="277" y="256"/>
                </a:cubicBezTo>
                <a:cubicBezTo>
                  <a:pt x="277" y="248"/>
                  <a:pt x="277" y="241"/>
                  <a:pt x="276" y="234"/>
                </a:cubicBezTo>
                <a:cubicBezTo>
                  <a:pt x="235" y="234"/>
                  <a:pt x="235" y="234"/>
                  <a:pt x="235" y="234"/>
                </a:cubicBezTo>
                <a:cubicBezTo>
                  <a:pt x="235" y="241"/>
                  <a:pt x="234" y="248"/>
                  <a:pt x="234" y="256"/>
                </a:cubicBezTo>
                <a:cubicBezTo>
                  <a:pt x="234" y="263"/>
                  <a:pt x="235" y="270"/>
                  <a:pt x="235" y="277"/>
                </a:cubicBezTo>
                <a:lnTo>
                  <a:pt x="276" y="277"/>
                </a:lnTo>
                <a:close/>
                <a:moveTo>
                  <a:pt x="213" y="256"/>
                </a:moveTo>
                <a:cubicBezTo>
                  <a:pt x="213" y="249"/>
                  <a:pt x="213" y="241"/>
                  <a:pt x="214" y="234"/>
                </a:cubicBezTo>
                <a:cubicBezTo>
                  <a:pt x="184" y="234"/>
                  <a:pt x="184" y="234"/>
                  <a:pt x="184" y="234"/>
                </a:cubicBezTo>
                <a:cubicBezTo>
                  <a:pt x="182" y="241"/>
                  <a:pt x="181" y="248"/>
                  <a:pt x="181" y="256"/>
                </a:cubicBezTo>
                <a:cubicBezTo>
                  <a:pt x="181" y="263"/>
                  <a:pt x="182" y="270"/>
                  <a:pt x="184" y="277"/>
                </a:cubicBezTo>
                <a:cubicBezTo>
                  <a:pt x="214" y="277"/>
                  <a:pt x="214" y="277"/>
                  <a:pt x="214" y="277"/>
                </a:cubicBezTo>
                <a:cubicBezTo>
                  <a:pt x="213" y="270"/>
                  <a:pt x="213" y="263"/>
                  <a:pt x="213"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256"/>
                </a:moveTo>
                <a:cubicBezTo>
                  <a:pt x="160" y="309"/>
                  <a:pt x="203" y="352"/>
                  <a:pt x="256" y="352"/>
                </a:cubicBezTo>
                <a:cubicBezTo>
                  <a:pt x="309" y="352"/>
                  <a:pt x="352" y="309"/>
                  <a:pt x="352" y="256"/>
                </a:cubicBezTo>
                <a:cubicBezTo>
                  <a:pt x="352" y="203"/>
                  <a:pt x="309" y="160"/>
                  <a:pt x="256" y="160"/>
                </a:cubicBezTo>
                <a:cubicBezTo>
                  <a:pt x="203" y="160"/>
                  <a:pt x="160" y="203"/>
                  <a:pt x="160" y="256"/>
                </a:cubicBezTo>
                <a:close/>
                <a:moveTo>
                  <a:pt x="416" y="256"/>
                </a:moveTo>
                <a:cubicBezTo>
                  <a:pt x="416" y="167"/>
                  <a:pt x="344" y="96"/>
                  <a:pt x="256" y="96"/>
                </a:cubicBezTo>
                <a:cubicBezTo>
                  <a:pt x="249" y="96"/>
                  <a:pt x="249" y="96"/>
                  <a:pt x="249" y="96"/>
                </a:cubicBezTo>
                <a:cubicBezTo>
                  <a:pt x="263" y="82"/>
                  <a:pt x="263" y="82"/>
                  <a:pt x="263" y="82"/>
                </a:cubicBezTo>
                <a:cubicBezTo>
                  <a:pt x="267" y="78"/>
                  <a:pt x="267" y="71"/>
                  <a:pt x="263" y="67"/>
                </a:cubicBezTo>
                <a:cubicBezTo>
                  <a:pt x="259" y="63"/>
                  <a:pt x="252" y="63"/>
                  <a:pt x="248" y="67"/>
                </a:cubicBezTo>
                <a:cubicBezTo>
                  <a:pt x="216" y="99"/>
                  <a:pt x="216" y="99"/>
                  <a:pt x="216" y="99"/>
                </a:cubicBezTo>
                <a:cubicBezTo>
                  <a:pt x="212" y="103"/>
                  <a:pt x="212" y="110"/>
                  <a:pt x="216" y="114"/>
                </a:cubicBezTo>
                <a:cubicBezTo>
                  <a:pt x="248" y="146"/>
                  <a:pt x="248" y="146"/>
                  <a:pt x="248" y="146"/>
                </a:cubicBezTo>
                <a:cubicBezTo>
                  <a:pt x="250" y="148"/>
                  <a:pt x="253" y="149"/>
                  <a:pt x="256" y="149"/>
                </a:cubicBezTo>
                <a:cubicBezTo>
                  <a:pt x="258" y="149"/>
                  <a:pt x="261" y="148"/>
                  <a:pt x="263" y="146"/>
                </a:cubicBezTo>
                <a:cubicBezTo>
                  <a:pt x="267" y="142"/>
                  <a:pt x="267" y="135"/>
                  <a:pt x="263" y="131"/>
                </a:cubicBezTo>
                <a:cubicBezTo>
                  <a:pt x="249" y="117"/>
                  <a:pt x="249" y="117"/>
                  <a:pt x="249" y="117"/>
                </a:cubicBezTo>
                <a:cubicBezTo>
                  <a:pt x="256" y="117"/>
                  <a:pt x="256" y="117"/>
                  <a:pt x="256" y="117"/>
                </a:cubicBezTo>
                <a:cubicBezTo>
                  <a:pt x="332" y="117"/>
                  <a:pt x="394" y="179"/>
                  <a:pt x="394" y="256"/>
                </a:cubicBezTo>
                <a:cubicBezTo>
                  <a:pt x="394" y="332"/>
                  <a:pt x="332" y="394"/>
                  <a:pt x="256" y="394"/>
                </a:cubicBezTo>
                <a:cubicBezTo>
                  <a:pt x="183" y="394"/>
                  <a:pt x="122" y="338"/>
                  <a:pt x="117" y="266"/>
                </a:cubicBezTo>
                <a:cubicBezTo>
                  <a:pt x="117" y="260"/>
                  <a:pt x="112" y="255"/>
                  <a:pt x="106" y="256"/>
                </a:cubicBezTo>
                <a:cubicBezTo>
                  <a:pt x="100" y="256"/>
                  <a:pt x="96" y="261"/>
                  <a:pt x="96" y="267"/>
                </a:cubicBezTo>
                <a:cubicBezTo>
                  <a:pt x="102" y="350"/>
                  <a:pt x="172" y="416"/>
                  <a:pt x="256" y="416"/>
                </a:cubicBezTo>
                <a:cubicBezTo>
                  <a:pt x="344" y="416"/>
                  <a:pt x="416" y="344"/>
                  <a:pt x="416" y="256"/>
                </a:cubicBezTo>
                <a:close/>
                <a:moveTo>
                  <a:pt x="194" y="298"/>
                </a:moveTo>
                <a:cubicBezTo>
                  <a:pt x="202" y="309"/>
                  <a:pt x="213" y="318"/>
                  <a:pt x="225" y="324"/>
                </a:cubicBezTo>
                <a:cubicBezTo>
                  <a:pt x="222" y="316"/>
                  <a:pt x="219" y="308"/>
                  <a:pt x="217" y="298"/>
                </a:cubicBezTo>
                <a:lnTo>
                  <a:pt x="194" y="298"/>
                </a:lnTo>
                <a:close/>
                <a:moveTo>
                  <a:pt x="256" y="330"/>
                </a:moveTo>
                <a:cubicBezTo>
                  <a:pt x="260" y="330"/>
                  <a:pt x="267" y="319"/>
                  <a:pt x="272" y="298"/>
                </a:cubicBezTo>
                <a:cubicBezTo>
                  <a:pt x="239" y="298"/>
                  <a:pt x="239" y="298"/>
                  <a:pt x="239" y="298"/>
                </a:cubicBezTo>
                <a:cubicBezTo>
                  <a:pt x="244" y="319"/>
                  <a:pt x="252" y="330"/>
                  <a:pt x="256" y="330"/>
                </a:cubicBezTo>
                <a:close/>
                <a:moveTo>
                  <a:pt x="225" y="188"/>
                </a:moveTo>
                <a:cubicBezTo>
                  <a:pt x="213" y="193"/>
                  <a:pt x="202" y="202"/>
                  <a:pt x="194" y="213"/>
                </a:cubicBezTo>
                <a:cubicBezTo>
                  <a:pt x="217" y="213"/>
                  <a:pt x="217" y="213"/>
                  <a:pt x="217" y="213"/>
                </a:cubicBezTo>
                <a:cubicBezTo>
                  <a:pt x="219" y="204"/>
                  <a:pt x="222" y="195"/>
                  <a:pt x="225" y="18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55" name="Group 308">
            <a:extLst>
              <a:ext uri="{FF2B5EF4-FFF2-40B4-BE49-F238E27FC236}">
                <a16:creationId xmlns:a16="http://schemas.microsoft.com/office/drawing/2014/main" id="{DF33D184-C57D-4936-B56B-2A8877C85627}"/>
              </a:ext>
            </a:extLst>
          </p:cNvPr>
          <p:cNvGrpSpPr>
            <a:grpSpLocks noChangeAspect="1"/>
          </p:cNvGrpSpPr>
          <p:nvPr/>
        </p:nvGrpSpPr>
        <p:grpSpPr bwMode="auto">
          <a:xfrm>
            <a:off x="3531185" y="3302682"/>
            <a:ext cx="367041" cy="368120"/>
            <a:chOff x="2955" y="1719"/>
            <a:chExt cx="340" cy="341"/>
          </a:xfrm>
          <a:solidFill>
            <a:schemeClr val="accent4"/>
          </a:solidFill>
        </p:grpSpPr>
        <p:sp>
          <p:nvSpPr>
            <p:cNvPr id="656" name="Freeform 309">
              <a:extLst>
                <a:ext uri="{FF2B5EF4-FFF2-40B4-BE49-F238E27FC236}">
                  <a16:creationId xmlns:a16="http://schemas.microsoft.com/office/drawing/2014/main" id="{D3842A8D-EC6A-4345-90EA-8B2D189C95CC}"/>
                </a:ext>
              </a:extLst>
            </p:cNvPr>
            <p:cNvSpPr>
              <a:spLocks noEditPoints="1"/>
            </p:cNvSpPr>
            <p:nvPr/>
          </p:nvSpPr>
          <p:spPr bwMode="auto">
            <a:xfrm>
              <a:off x="2955" y="17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7" name="Freeform 310">
              <a:extLst>
                <a:ext uri="{FF2B5EF4-FFF2-40B4-BE49-F238E27FC236}">
                  <a16:creationId xmlns:a16="http://schemas.microsoft.com/office/drawing/2014/main" id="{8E0E5845-BA2D-475B-B955-95D3C6DCDEAA}"/>
                </a:ext>
              </a:extLst>
            </p:cNvPr>
            <p:cNvSpPr>
              <a:spLocks noEditPoints="1"/>
            </p:cNvSpPr>
            <p:nvPr/>
          </p:nvSpPr>
          <p:spPr bwMode="auto">
            <a:xfrm>
              <a:off x="3019" y="1761"/>
              <a:ext cx="212" cy="235"/>
            </a:xfrm>
            <a:custGeom>
              <a:avLst/>
              <a:gdLst>
                <a:gd name="T0" fmla="*/ 256 w 320"/>
                <a:gd name="T1" fmla="*/ 193 h 353"/>
                <a:gd name="T2" fmla="*/ 64 w 320"/>
                <a:gd name="T3" fmla="*/ 193 h 353"/>
                <a:gd name="T4" fmla="*/ 160 w 320"/>
                <a:gd name="T5" fmla="*/ 118 h 353"/>
                <a:gd name="T6" fmla="*/ 143 w 320"/>
                <a:gd name="T7" fmla="*/ 150 h 353"/>
                <a:gd name="T8" fmla="*/ 180 w 320"/>
                <a:gd name="T9" fmla="*/ 171 h 353"/>
                <a:gd name="T10" fmla="*/ 180 w 320"/>
                <a:gd name="T11" fmla="*/ 214 h 353"/>
                <a:gd name="T12" fmla="*/ 138 w 320"/>
                <a:gd name="T13" fmla="*/ 193 h 353"/>
                <a:gd name="T14" fmla="*/ 180 w 320"/>
                <a:gd name="T15" fmla="*/ 171 h 353"/>
                <a:gd name="T16" fmla="*/ 231 w 320"/>
                <a:gd name="T17" fmla="*/ 214 h 353"/>
                <a:gd name="T18" fmla="*/ 202 w 320"/>
                <a:gd name="T19" fmla="*/ 193 h 353"/>
                <a:gd name="T20" fmla="*/ 231 w 320"/>
                <a:gd name="T21" fmla="*/ 171 h 353"/>
                <a:gd name="T22" fmla="*/ 160 w 320"/>
                <a:gd name="T23" fmla="*/ 267 h 353"/>
                <a:gd name="T24" fmla="*/ 176 w 320"/>
                <a:gd name="T25" fmla="*/ 235 h 353"/>
                <a:gd name="T26" fmla="*/ 118 w 320"/>
                <a:gd name="T27" fmla="*/ 214 h 353"/>
                <a:gd name="T28" fmla="*/ 85 w 320"/>
                <a:gd name="T29" fmla="*/ 193 h 353"/>
                <a:gd name="T30" fmla="*/ 118 w 320"/>
                <a:gd name="T31" fmla="*/ 171 h 353"/>
                <a:gd name="T32" fmla="*/ 118 w 320"/>
                <a:gd name="T33" fmla="*/ 214 h 353"/>
                <a:gd name="T34" fmla="*/ 121 w 320"/>
                <a:gd name="T35" fmla="*/ 235 h 353"/>
                <a:gd name="T36" fmla="*/ 98 w 320"/>
                <a:gd name="T37" fmla="*/ 235 h 353"/>
                <a:gd name="T38" fmla="*/ 198 w 320"/>
                <a:gd name="T39" fmla="*/ 235 h 353"/>
                <a:gd name="T40" fmla="*/ 191 w 320"/>
                <a:gd name="T41" fmla="*/ 261 h 353"/>
                <a:gd name="T42" fmla="*/ 198 w 320"/>
                <a:gd name="T43" fmla="*/ 150 h 353"/>
                <a:gd name="T44" fmla="*/ 221 w 320"/>
                <a:gd name="T45" fmla="*/ 150 h 353"/>
                <a:gd name="T46" fmla="*/ 121 w 320"/>
                <a:gd name="T47" fmla="*/ 150 h 353"/>
                <a:gd name="T48" fmla="*/ 129 w 320"/>
                <a:gd name="T49" fmla="*/ 125 h 353"/>
                <a:gd name="T50" fmla="*/ 160 w 320"/>
                <a:gd name="T51" fmla="*/ 353 h 353"/>
                <a:gd name="T52" fmla="*/ 10 w 320"/>
                <a:gd name="T53" fmla="*/ 193 h 353"/>
                <a:gd name="T54" fmla="*/ 160 w 320"/>
                <a:gd name="T55" fmla="*/ 331 h 353"/>
                <a:gd name="T56" fmla="*/ 160 w 320"/>
                <a:gd name="T57" fmla="*/ 54 h 353"/>
                <a:gd name="T58" fmla="*/ 167 w 320"/>
                <a:gd name="T59" fmla="*/ 68 h 353"/>
                <a:gd name="T60" fmla="*/ 160 w 320"/>
                <a:gd name="T61" fmla="*/ 86 h 353"/>
                <a:gd name="T62" fmla="*/ 120 w 320"/>
                <a:gd name="T63" fmla="*/ 51 h 353"/>
                <a:gd name="T64" fmla="*/ 152 w 320"/>
                <a:gd name="T65" fmla="*/ 4 h 353"/>
                <a:gd name="T66" fmla="*/ 167 w 320"/>
                <a:gd name="T67" fmla="*/ 19 h 353"/>
                <a:gd name="T68" fmla="*/ 160 w 320"/>
                <a:gd name="T69" fmla="*/ 3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53">
                  <a:moveTo>
                    <a:pt x="160" y="289"/>
                  </a:moveTo>
                  <a:cubicBezTo>
                    <a:pt x="213" y="289"/>
                    <a:pt x="256" y="246"/>
                    <a:pt x="256" y="193"/>
                  </a:cubicBezTo>
                  <a:cubicBezTo>
                    <a:pt x="256" y="140"/>
                    <a:pt x="213" y="97"/>
                    <a:pt x="160" y="97"/>
                  </a:cubicBezTo>
                  <a:cubicBezTo>
                    <a:pt x="107" y="97"/>
                    <a:pt x="64" y="140"/>
                    <a:pt x="64" y="193"/>
                  </a:cubicBezTo>
                  <a:cubicBezTo>
                    <a:pt x="64" y="246"/>
                    <a:pt x="107" y="289"/>
                    <a:pt x="160" y="289"/>
                  </a:cubicBezTo>
                  <a:close/>
                  <a:moveTo>
                    <a:pt x="160" y="118"/>
                  </a:moveTo>
                  <a:cubicBezTo>
                    <a:pt x="164" y="118"/>
                    <a:pt x="171" y="129"/>
                    <a:pt x="176" y="150"/>
                  </a:cubicBezTo>
                  <a:cubicBezTo>
                    <a:pt x="143" y="150"/>
                    <a:pt x="143" y="150"/>
                    <a:pt x="143" y="150"/>
                  </a:cubicBezTo>
                  <a:cubicBezTo>
                    <a:pt x="148" y="129"/>
                    <a:pt x="156" y="118"/>
                    <a:pt x="160" y="118"/>
                  </a:cubicBezTo>
                  <a:close/>
                  <a:moveTo>
                    <a:pt x="180" y="171"/>
                  </a:moveTo>
                  <a:cubicBezTo>
                    <a:pt x="181" y="178"/>
                    <a:pt x="181" y="185"/>
                    <a:pt x="181" y="193"/>
                  </a:cubicBezTo>
                  <a:cubicBezTo>
                    <a:pt x="181" y="200"/>
                    <a:pt x="181" y="207"/>
                    <a:pt x="180" y="214"/>
                  </a:cubicBezTo>
                  <a:cubicBezTo>
                    <a:pt x="139" y="214"/>
                    <a:pt x="139" y="214"/>
                    <a:pt x="139" y="214"/>
                  </a:cubicBezTo>
                  <a:cubicBezTo>
                    <a:pt x="139" y="207"/>
                    <a:pt x="138" y="200"/>
                    <a:pt x="138" y="193"/>
                  </a:cubicBezTo>
                  <a:cubicBezTo>
                    <a:pt x="138" y="185"/>
                    <a:pt x="139" y="178"/>
                    <a:pt x="139" y="171"/>
                  </a:cubicBezTo>
                  <a:lnTo>
                    <a:pt x="180" y="171"/>
                  </a:lnTo>
                  <a:close/>
                  <a:moveTo>
                    <a:pt x="234" y="193"/>
                  </a:moveTo>
                  <a:cubicBezTo>
                    <a:pt x="234" y="200"/>
                    <a:pt x="233" y="207"/>
                    <a:pt x="231" y="214"/>
                  </a:cubicBezTo>
                  <a:cubicBezTo>
                    <a:pt x="201" y="214"/>
                    <a:pt x="201" y="214"/>
                    <a:pt x="201" y="214"/>
                  </a:cubicBezTo>
                  <a:cubicBezTo>
                    <a:pt x="202" y="207"/>
                    <a:pt x="202" y="200"/>
                    <a:pt x="202" y="193"/>
                  </a:cubicBezTo>
                  <a:cubicBezTo>
                    <a:pt x="202" y="186"/>
                    <a:pt x="202" y="178"/>
                    <a:pt x="201" y="171"/>
                  </a:cubicBezTo>
                  <a:cubicBezTo>
                    <a:pt x="231" y="171"/>
                    <a:pt x="231" y="171"/>
                    <a:pt x="231" y="171"/>
                  </a:cubicBezTo>
                  <a:cubicBezTo>
                    <a:pt x="233" y="178"/>
                    <a:pt x="234" y="185"/>
                    <a:pt x="234" y="193"/>
                  </a:cubicBezTo>
                  <a:close/>
                  <a:moveTo>
                    <a:pt x="160" y="267"/>
                  </a:moveTo>
                  <a:cubicBezTo>
                    <a:pt x="156" y="267"/>
                    <a:pt x="148" y="256"/>
                    <a:pt x="143" y="235"/>
                  </a:cubicBezTo>
                  <a:cubicBezTo>
                    <a:pt x="176" y="235"/>
                    <a:pt x="176" y="235"/>
                    <a:pt x="176" y="235"/>
                  </a:cubicBezTo>
                  <a:cubicBezTo>
                    <a:pt x="171" y="256"/>
                    <a:pt x="164" y="267"/>
                    <a:pt x="160" y="267"/>
                  </a:cubicBezTo>
                  <a:close/>
                  <a:moveTo>
                    <a:pt x="118" y="214"/>
                  </a:moveTo>
                  <a:cubicBezTo>
                    <a:pt x="88" y="214"/>
                    <a:pt x="88" y="214"/>
                    <a:pt x="88" y="214"/>
                  </a:cubicBezTo>
                  <a:cubicBezTo>
                    <a:pt x="86" y="207"/>
                    <a:pt x="85" y="200"/>
                    <a:pt x="85" y="193"/>
                  </a:cubicBezTo>
                  <a:cubicBezTo>
                    <a:pt x="85" y="185"/>
                    <a:pt x="86" y="178"/>
                    <a:pt x="88" y="171"/>
                  </a:cubicBezTo>
                  <a:cubicBezTo>
                    <a:pt x="118" y="171"/>
                    <a:pt x="118" y="171"/>
                    <a:pt x="118" y="171"/>
                  </a:cubicBezTo>
                  <a:cubicBezTo>
                    <a:pt x="117" y="178"/>
                    <a:pt x="117" y="186"/>
                    <a:pt x="117" y="193"/>
                  </a:cubicBezTo>
                  <a:cubicBezTo>
                    <a:pt x="117" y="200"/>
                    <a:pt x="117" y="207"/>
                    <a:pt x="118" y="214"/>
                  </a:cubicBezTo>
                  <a:close/>
                  <a:moveTo>
                    <a:pt x="98" y="235"/>
                  </a:moveTo>
                  <a:cubicBezTo>
                    <a:pt x="121" y="235"/>
                    <a:pt x="121" y="235"/>
                    <a:pt x="121" y="235"/>
                  </a:cubicBezTo>
                  <a:cubicBezTo>
                    <a:pt x="123" y="245"/>
                    <a:pt x="126" y="253"/>
                    <a:pt x="129" y="261"/>
                  </a:cubicBezTo>
                  <a:cubicBezTo>
                    <a:pt x="117" y="255"/>
                    <a:pt x="106" y="246"/>
                    <a:pt x="98" y="235"/>
                  </a:cubicBezTo>
                  <a:close/>
                  <a:moveTo>
                    <a:pt x="191" y="261"/>
                  </a:moveTo>
                  <a:cubicBezTo>
                    <a:pt x="194" y="253"/>
                    <a:pt x="196" y="245"/>
                    <a:pt x="198" y="235"/>
                  </a:cubicBezTo>
                  <a:cubicBezTo>
                    <a:pt x="221" y="235"/>
                    <a:pt x="221" y="235"/>
                    <a:pt x="221" y="235"/>
                  </a:cubicBezTo>
                  <a:cubicBezTo>
                    <a:pt x="213" y="246"/>
                    <a:pt x="203" y="255"/>
                    <a:pt x="191" y="261"/>
                  </a:cubicBezTo>
                  <a:close/>
                  <a:moveTo>
                    <a:pt x="221" y="150"/>
                  </a:moveTo>
                  <a:cubicBezTo>
                    <a:pt x="198" y="150"/>
                    <a:pt x="198" y="150"/>
                    <a:pt x="198" y="150"/>
                  </a:cubicBezTo>
                  <a:cubicBezTo>
                    <a:pt x="196" y="141"/>
                    <a:pt x="194" y="132"/>
                    <a:pt x="191" y="125"/>
                  </a:cubicBezTo>
                  <a:cubicBezTo>
                    <a:pt x="203" y="130"/>
                    <a:pt x="213" y="139"/>
                    <a:pt x="221" y="150"/>
                  </a:cubicBezTo>
                  <a:close/>
                  <a:moveTo>
                    <a:pt x="129" y="125"/>
                  </a:moveTo>
                  <a:cubicBezTo>
                    <a:pt x="126" y="132"/>
                    <a:pt x="123" y="141"/>
                    <a:pt x="121" y="150"/>
                  </a:cubicBezTo>
                  <a:cubicBezTo>
                    <a:pt x="98" y="150"/>
                    <a:pt x="98" y="150"/>
                    <a:pt x="98" y="150"/>
                  </a:cubicBezTo>
                  <a:cubicBezTo>
                    <a:pt x="106" y="139"/>
                    <a:pt x="117" y="130"/>
                    <a:pt x="129" y="125"/>
                  </a:cubicBezTo>
                  <a:close/>
                  <a:moveTo>
                    <a:pt x="320" y="193"/>
                  </a:moveTo>
                  <a:cubicBezTo>
                    <a:pt x="320" y="281"/>
                    <a:pt x="248" y="353"/>
                    <a:pt x="160" y="353"/>
                  </a:cubicBezTo>
                  <a:cubicBezTo>
                    <a:pt x="76" y="353"/>
                    <a:pt x="6" y="287"/>
                    <a:pt x="0" y="204"/>
                  </a:cubicBezTo>
                  <a:cubicBezTo>
                    <a:pt x="0" y="198"/>
                    <a:pt x="4" y="193"/>
                    <a:pt x="10" y="193"/>
                  </a:cubicBezTo>
                  <a:cubicBezTo>
                    <a:pt x="16" y="192"/>
                    <a:pt x="21" y="197"/>
                    <a:pt x="21" y="203"/>
                  </a:cubicBezTo>
                  <a:cubicBezTo>
                    <a:pt x="26" y="275"/>
                    <a:pt x="87" y="331"/>
                    <a:pt x="160" y="331"/>
                  </a:cubicBezTo>
                  <a:cubicBezTo>
                    <a:pt x="236" y="331"/>
                    <a:pt x="298" y="269"/>
                    <a:pt x="298" y="193"/>
                  </a:cubicBezTo>
                  <a:cubicBezTo>
                    <a:pt x="298" y="116"/>
                    <a:pt x="236" y="54"/>
                    <a:pt x="160" y="54"/>
                  </a:cubicBezTo>
                  <a:cubicBezTo>
                    <a:pt x="153" y="54"/>
                    <a:pt x="153" y="54"/>
                    <a:pt x="153" y="54"/>
                  </a:cubicBezTo>
                  <a:cubicBezTo>
                    <a:pt x="167" y="68"/>
                    <a:pt x="167" y="68"/>
                    <a:pt x="167" y="68"/>
                  </a:cubicBezTo>
                  <a:cubicBezTo>
                    <a:pt x="171" y="72"/>
                    <a:pt x="171" y="79"/>
                    <a:pt x="167" y="83"/>
                  </a:cubicBezTo>
                  <a:cubicBezTo>
                    <a:pt x="165" y="85"/>
                    <a:pt x="162" y="86"/>
                    <a:pt x="160" y="86"/>
                  </a:cubicBezTo>
                  <a:cubicBezTo>
                    <a:pt x="157" y="86"/>
                    <a:pt x="154" y="85"/>
                    <a:pt x="152" y="83"/>
                  </a:cubicBezTo>
                  <a:cubicBezTo>
                    <a:pt x="120" y="51"/>
                    <a:pt x="120" y="51"/>
                    <a:pt x="120" y="51"/>
                  </a:cubicBezTo>
                  <a:cubicBezTo>
                    <a:pt x="116" y="47"/>
                    <a:pt x="116" y="40"/>
                    <a:pt x="120" y="36"/>
                  </a:cubicBezTo>
                  <a:cubicBezTo>
                    <a:pt x="152" y="4"/>
                    <a:pt x="152" y="4"/>
                    <a:pt x="152" y="4"/>
                  </a:cubicBezTo>
                  <a:cubicBezTo>
                    <a:pt x="156" y="0"/>
                    <a:pt x="163" y="0"/>
                    <a:pt x="167" y="4"/>
                  </a:cubicBezTo>
                  <a:cubicBezTo>
                    <a:pt x="171" y="8"/>
                    <a:pt x="171" y="15"/>
                    <a:pt x="167" y="19"/>
                  </a:cubicBezTo>
                  <a:cubicBezTo>
                    <a:pt x="153" y="33"/>
                    <a:pt x="153" y="33"/>
                    <a:pt x="153" y="33"/>
                  </a:cubicBezTo>
                  <a:cubicBezTo>
                    <a:pt x="160" y="33"/>
                    <a:pt x="160" y="33"/>
                    <a:pt x="160" y="33"/>
                  </a:cubicBezTo>
                  <a:cubicBezTo>
                    <a:pt x="248" y="33"/>
                    <a:pt x="320" y="104"/>
                    <a:pt x="320" y="1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58" name="Freeform 967">
            <a:extLst>
              <a:ext uri="{FF2B5EF4-FFF2-40B4-BE49-F238E27FC236}">
                <a16:creationId xmlns:a16="http://schemas.microsoft.com/office/drawing/2014/main" id="{CAA93F8B-2CFA-44BE-86AD-22E7A82CE108}"/>
              </a:ext>
            </a:extLst>
          </p:cNvPr>
          <p:cNvSpPr>
            <a:spLocks noChangeAspect="1" noEditPoints="1"/>
          </p:cNvSpPr>
          <p:nvPr/>
        </p:nvSpPr>
        <p:spPr bwMode="auto">
          <a:xfrm>
            <a:off x="3965766" y="3302682"/>
            <a:ext cx="368713" cy="367631"/>
          </a:xfrm>
          <a:custGeom>
            <a:avLst/>
            <a:gdLst>
              <a:gd name="T0" fmla="*/ 341 w 512"/>
              <a:gd name="T1" fmla="*/ 170 h 512"/>
              <a:gd name="T2" fmla="*/ 144 w 512"/>
              <a:gd name="T3" fmla="*/ 181 h 512"/>
              <a:gd name="T4" fmla="*/ 133 w 512"/>
              <a:gd name="T5" fmla="*/ 353 h 512"/>
              <a:gd name="T6" fmla="*/ 190 w 512"/>
              <a:gd name="T7" fmla="*/ 307 h 512"/>
              <a:gd name="T8" fmla="*/ 311 w 512"/>
              <a:gd name="T9" fmla="*/ 298 h 512"/>
              <a:gd name="T10" fmla="*/ 351 w 512"/>
              <a:gd name="T11" fmla="*/ 351 h 512"/>
              <a:gd name="T12" fmla="*/ 389 w 512"/>
              <a:gd name="T13" fmla="*/ 254 h 512"/>
              <a:gd name="T14" fmla="*/ 202 w 512"/>
              <a:gd name="T15" fmla="*/ 245 h 512"/>
              <a:gd name="T16" fmla="*/ 192 w 512"/>
              <a:gd name="T17" fmla="*/ 256 h 512"/>
              <a:gd name="T18" fmla="*/ 170 w 512"/>
              <a:gd name="T19" fmla="*/ 256 h 512"/>
              <a:gd name="T20" fmla="*/ 160 w 512"/>
              <a:gd name="T21" fmla="*/ 245 h 512"/>
              <a:gd name="T22" fmla="*/ 160 w 512"/>
              <a:gd name="T23" fmla="*/ 224 h 512"/>
              <a:gd name="T24" fmla="*/ 170 w 512"/>
              <a:gd name="T25" fmla="*/ 213 h 512"/>
              <a:gd name="T26" fmla="*/ 192 w 512"/>
              <a:gd name="T27" fmla="*/ 213 h 512"/>
              <a:gd name="T28" fmla="*/ 202 w 512"/>
              <a:gd name="T29" fmla="*/ 224 h 512"/>
              <a:gd name="T30" fmla="*/ 202 w 512"/>
              <a:gd name="T31" fmla="*/ 245 h 512"/>
              <a:gd name="T32" fmla="*/ 277 w 512"/>
              <a:gd name="T33" fmla="*/ 234 h 512"/>
              <a:gd name="T34" fmla="*/ 298 w 512"/>
              <a:gd name="T35" fmla="*/ 234 h 512"/>
              <a:gd name="T36" fmla="*/ 320 w 512"/>
              <a:gd name="T37" fmla="*/ 277 h 512"/>
              <a:gd name="T38" fmla="*/ 320 w 512"/>
              <a:gd name="T39" fmla="*/ 256 h 512"/>
              <a:gd name="T40" fmla="*/ 320 w 512"/>
              <a:gd name="T41" fmla="*/ 277 h 512"/>
              <a:gd name="T42" fmla="*/ 309 w 512"/>
              <a:gd name="T43" fmla="*/ 202 h 512"/>
              <a:gd name="T44" fmla="*/ 330 w 512"/>
              <a:gd name="T45" fmla="*/ 202 h 512"/>
              <a:gd name="T46" fmla="*/ 352 w 512"/>
              <a:gd name="T47" fmla="*/ 245 h 512"/>
              <a:gd name="T48" fmla="*/ 352 w 512"/>
              <a:gd name="T49" fmla="*/ 224 h 512"/>
              <a:gd name="T50" fmla="*/ 352 w 512"/>
              <a:gd name="T51" fmla="*/ 245 h 512"/>
              <a:gd name="T52" fmla="*/ 0 w 512"/>
              <a:gd name="T53" fmla="*/ 256 h 512"/>
              <a:gd name="T54" fmla="*/ 512 w 512"/>
              <a:gd name="T55" fmla="*/ 256 h 512"/>
              <a:gd name="T56" fmla="*/ 388 w 512"/>
              <a:gd name="T57" fmla="*/ 372 h 512"/>
              <a:gd name="T58" fmla="*/ 341 w 512"/>
              <a:gd name="T59" fmla="*/ 370 h 512"/>
              <a:gd name="T60" fmla="*/ 209 w 512"/>
              <a:gd name="T61" fmla="*/ 320 h 512"/>
              <a:gd name="T62" fmla="*/ 123 w 512"/>
              <a:gd name="T63" fmla="*/ 372 h 512"/>
              <a:gd name="T64" fmla="*/ 129 w 512"/>
              <a:gd name="T65" fmla="*/ 166 h 512"/>
              <a:gd name="T66" fmla="*/ 341 w 512"/>
              <a:gd name="T67" fmla="*/ 149 h 512"/>
              <a:gd name="T68" fmla="*/ 410 w 512"/>
              <a:gd name="T69" fmla="*/ 2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67" y="181"/>
                </a:moveTo>
                <a:cubicBezTo>
                  <a:pt x="360" y="174"/>
                  <a:pt x="352" y="170"/>
                  <a:pt x="341" y="170"/>
                </a:cubicBezTo>
                <a:cubicBezTo>
                  <a:pt x="170" y="170"/>
                  <a:pt x="170" y="170"/>
                  <a:pt x="170" y="170"/>
                </a:cubicBezTo>
                <a:cubicBezTo>
                  <a:pt x="160" y="170"/>
                  <a:pt x="151" y="174"/>
                  <a:pt x="144" y="181"/>
                </a:cubicBezTo>
                <a:cubicBezTo>
                  <a:pt x="122" y="204"/>
                  <a:pt x="122" y="253"/>
                  <a:pt x="122" y="253"/>
                </a:cubicBezTo>
                <a:cubicBezTo>
                  <a:pt x="121" y="301"/>
                  <a:pt x="126" y="347"/>
                  <a:pt x="133" y="353"/>
                </a:cubicBezTo>
                <a:cubicBezTo>
                  <a:pt x="140" y="357"/>
                  <a:pt x="151" y="356"/>
                  <a:pt x="161" y="351"/>
                </a:cubicBezTo>
                <a:cubicBezTo>
                  <a:pt x="169" y="347"/>
                  <a:pt x="185" y="335"/>
                  <a:pt x="190" y="307"/>
                </a:cubicBezTo>
                <a:cubicBezTo>
                  <a:pt x="191" y="302"/>
                  <a:pt x="195" y="298"/>
                  <a:pt x="200" y="298"/>
                </a:cubicBezTo>
                <a:cubicBezTo>
                  <a:pt x="311" y="298"/>
                  <a:pt x="311" y="298"/>
                  <a:pt x="311" y="298"/>
                </a:cubicBezTo>
                <a:cubicBezTo>
                  <a:pt x="316" y="298"/>
                  <a:pt x="321" y="302"/>
                  <a:pt x="322" y="307"/>
                </a:cubicBezTo>
                <a:cubicBezTo>
                  <a:pt x="327" y="335"/>
                  <a:pt x="342" y="347"/>
                  <a:pt x="351" y="351"/>
                </a:cubicBezTo>
                <a:cubicBezTo>
                  <a:pt x="360" y="356"/>
                  <a:pt x="371" y="357"/>
                  <a:pt x="379" y="353"/>
                </a:cubicBezTo>
                <a:cubicBezTo>
                  <a:pt x="386" y="347"/>
                  <a:pt x="391" y="301"/>
                  <a:pt x="389" y="254"/>
                </a:cubicBezTo>
                <a:cubicBezTo>
                  <a:pt x="389" y="253"/>
                  <a:pt x="390" y="204"/>
                  <a:pt x="367" y="181"/>
                </a:cubicBezTo>
                <a:close/>
                <a:moveTo>
                  <a:pt x="202" y="245"/>
                </a:moveTo>
                <a:cubicBezTo>
                  <a:pt x="192" y="245"/>
                  <a:pt x="192" y="245"/>
                  <a:pt x="192" y="245"/>
                </a:cubicBezTo>
                <a:cubicBezTo>
                  <a:pt x="192" y="256"/>
                  <a:pt x="192" y="256"/>
                  <a:pt x="192" y="256"/>
                </a:cubicBezTo>
                <a:cubicBezTo>
                  <a:pt x="192" y="262"/>
                  <a:pt x="187" y="266"/>
                  <a:pt x="181" y="266"/>
                </a:cubicBezTo>
                <a:cubicBezTo>
                  <a:pt x="175" y="266"/>
                  <a:pt x="170" y="262"/>
                  <a:pt x="170" y="256"/>
                </a:cubicBezTo>
                <a:cubicBezTo>
                  <a:pt x="170" y="245"/>
                  <a:pt x="170" y="245"/>
                  <a:pt x="170" y="245"/>
                </a:cubicBezTo>
                <a:cubicBezTo>
                  <a:pt x="160" y="245"/>
                  <a:pt x="160" y="245"/>
                  <a:pt x="160" y="245"/>
                </a:cubicBezTo>
                <a:cubicBezTo>
                  <a:pt x="154" y="245"/>
                  <a:pt x="149" y="240"/>
                  <a:pt x="149" y="234"/>
                </a:cubicBezTo>
                <a:cubicBezTo>
                  <a:pt x="149" y="228"/>
                  <a:pt x="154" y="224"/>
                  <a:pt x="160" y="224"/>
                </a:cubicBezTo>
                <a:cubicBezTo>
                  <a:pt x="170" y="224"/>
                  <a:pt x="170" y="224"/>
                  <a:pt x="170" y="224"/>
                </a:cubicBezTo>
                <a:cubicBezTo>
                  <a:pt x="170" y="213"/>
                  <a:pt x="170" y="213"/>
                  <a:pt x="170" y="213"/>
                </a:cubicBezTo>
                <a:cubicBezTo>
                  <a:pt x="170" y="207"/>
                  <a:pt x="175" y="202"/>
                  <a:pt x="181" y="202"/>
                </a:cubicBezTo>
                <a:cubicBezTo>
                  <a:pt x="187" y="202"/>
                  <a:pt x="192" y="207"/>
                  <a:pt x="192" y="213"/>
                </a:cubicBezTo>
                <a:cubicBezTo>
                  <a:pt x="192" y="224"/>
                  <a:pt x="192" y="224"/>
                  <a:pt x="192" y="224"/>
                </a:cubicBezTo>
                <a:cubicBezTo>
                  <a:pt x="202" y="224"/>
                  <a:pt x="202" y="224"/>
                  <a:pt x="202" y="224"/>
                </a:cubicBezTo>
                <a:cubicBezTo>
                  <a:pt x="208" y="224"/>
                  <a:pt x="213" y="228"/>
                  <a:pt x="213" y="234"/>
                </a:cubicBezTo>
                <a:cubicBezTo>
                  <a:pt x="213" y="240"/>
                  <a:pt x="208" y="245"/>
                  <a:pt x="202" y="245"/>
                </a:cubicBezTo>
                <a:close/>
                <a:moveTo>
                  <a:pt x="288" y="245"/>
                </a:moveTo>
                <a:cubicBezTo>
                  <a:pt x="282" y="245"/>
                  <a:pt x="277" y="240"/>
                  <a:pt x="277" y="234"/>
                </a:cubicBezTo>
                <a:cubicBezTo>
                  <a:pt x="277" y="228"/>
                  <a:pt x="282" y="224"/>
                  <a:pt x="288" y="224"/>
                </a:cubicBezTo>
                <a:cubicBezTo>
                  <a:pt x="294" y="224"/>
                  <a:pt x="298" y="228"/>
                  <a:pt x="298" y="234"/>
                </a:cubicBezTo>
                <a:cubicBezTo>
                  <a:pt x="298" y="240"/>
                  <a:pt x="294" y="245"/>
                  <a:pt x="288" y="245"/>
                </a:cubicBezTo>
                <a:close/>
                <a:moveTo>
                  <a:pt x="320" y="277"/>
                </a:moveTo>
                <a:cubicBezTo>
                  <a:pt x="314" y="277"/>
                  <a:pt x="309" y="272"/>
                  <a:pt x="309" y="266"/>
                </a:cubicBezTo>
                <a:cubicBezTo>
                  <a:pt x="309" y="260"/>
                  <a:pt x="314" y="256"/>
                  <a:pt x="320" y="256"/>
                </a:cubicBezTo>
                <a:cubicBezTo>
                  <a:pt x="326" y="256"/>
                  <a:pt x="330" y="260"/>
                  <a:pt x="330" y="266"/>
                </a:cubicBezTo>
                <a:cubicBezTo>
                  <a:pt x="330" y="272"/>
                  <a:pt x="326" y="277"/>
                  <a:pt x="320" y="277"/>
                </a:cubicBezTo>
                <a:close/>
                <a:moveTo>
                  <a:pt x="320" y="213"/>
                </a:moveTo>
                <a:cubicBezTo>
                  <a:pt x="314" y="213"/>
                  <a:pt x="309" y="208"/>
                  <a:pt x="309" y="202"/>
                </a:cubicBezTo>
                <a:cubicBezTo>
                  <a:pt x="309" y="196"/>
                  <a:pt x="314" y="192"/>
                  <a:pt x="320" y="192"/>
                </a:cubicBezTo>
                <a:cubicBezTo>
                  <a:pt x="326" y="192"/>
                  <a:pt x="330" y="196"/>
                  <a:pt x="330" y="202"/>
                </a:cubicBezTo>
                <a:cubicBezTo>
                  <a:pt x="330" y="208"/>
                  <a:pt x="326" y="213"/>
                  <a:pt x="320" y="213"/>
                </a:cubicBezTo>
                <a:close/>
                <a:moveTo>
                  <a:pt x="352" y="245"/>
                </a:moveTo>
                <a:cubicBezTo>
                  <a:pt x="346" y="245"/>
                  <a:pt x="341" y="240"/>
                  <a:pt x="341" y="234"/>
                </a:cubicBezTo>
                <a:cubicBezTo>
                  <a:pt x="341" y="228"/>
                  <a:pt x="346" y="224"/>
                  <a:pt x="352" y="224"/>
                </a:cubicBezTo>
                <a:cubicBezTo>
                  <a:pt x="358" y="224"/>
                  <a:pt x="362" y="228"/>
                  <a:pt x="362" y="234"/>
                </a:cubicBezTo>
                <a:cubicBezTo>
                  <a:pt x="362" y="240"/>
                  <a:pt x="358" y="245"/>
                  <a:pt x="352" y="24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8" y="372"/>
                </a:moveTo>
                <a:cubicBezTo>
                  <a:pt x="382" y="375"/>
                  <a:pt x="375" y="377"/>
                  <a:pt x="367" y="377"/>
                </a:cubicBezTo>
                <a:cubicBezTo>
                  <a:pt x="359" y="377"/>
                  <a:pt x="350" y="374"/>
                  <a:pt x="341" y="370"/>
                </a:cubicBezTo>
                <a:cubicBezTo>
                  <a:pt x="322" y="361"/>
                  <a:pt x="309" y="343"/>
                  <a:pt x="303" y="320"/>
                </a:cubicBezTo>
                <a:cubicBezTo>
                  <a:pt x="209" y="320"/>
                  <a:pt x="209" y="320"/>
                  <a:pt x="209" y="320"/>
                </a:cubicBezTo>
                <a:cubicBezTo>
                  <a:pt x="203" y="343"/>
                  <a:pt x="189" y="361"/>
                  <a:pt x="170" y="370"/>
                </a:cubicBezTo>
                <a:cubicBezTo>
                  <a:pt x="154" y="378"/>
                  <a:pt x="137" y="379"/>
                  <a:pt x="123" y="372"/>
                </a:cubicBezTo>
                <a:cubicBezTo>
                  <a:pt x="101" y="361"/>
                  <a:pt x="100" y="293"/>
                  <a:pt x="101" y="253"/>
                </a:cubicBezTo>
                <a:cubicBezTo>
                  <a:pt x="101" y="251"/>
                  <a:pt x="100" y="195"/>
                  <a:pt x="129" y="166"/>
                </a:cubicBezTo>
                <a:cubicBezTo>
                  <a:pt x="140" y="155"/>
                  <a:pt x="154" y="149"/>
                  <a:pt x="170" y="149"/>
                </a:cubicBezTo>
                <a:cubicBezTo>
                  <a:pt x="341" y="149"/>
                  <a:pt x="341" y="149"/>
                  <a:pt x="341" y="149"/>
                </a:cubicBezTo>
                <a:cubicBezTo>
                  <a:pt x="357" y="149"/>
                  <a:pt x="371" y="155"/>
                  <a:pt x="383" y="166"/>
                </a:cubicBezTo>
                <a:cubicBezTo>
                  <a:pt x="411" y="195"/>
                  <a:pt x="410" y="251"/>
                  <a:pt x="410" y="254"/>
                </a:cubicBezTo>
                <a:cubicBezTo>
                  <a:pt x="412" y="293"/>
                  <a:pt x="411" y="361"/>
                  <a:pt x="388" y="37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59" name="Group 970">
            <a:extLst>
              <a:ext uri="{FF2B5EF4-FFF2-40B4-BE49-F238E27FC236}">
                <a16:creationId xmlns:a16="http://schemas.microsoft.com/office/drawing/2014/main" id="{F2101970-C579-4574-B969-1B9175A6C1C1}"/>
              </a:ext>
            </a:extLst>
          </p:cNvPr>
          <p:cNvGrpSpPr>
            <a:grpSpLocks noChangeAspect="1"/>
          </p:cNvGrpSpPr>
          <p:nvPr/>
        </p:nvGrpSpPr>
        <p:grpSpPr bwMode="auto">
          <a:xfrm>
            <a:off x="4402019" y="3302682"/>
            <a:ext cx="367631" cy="367631"/>
            <a:chOff x="7346" y="3563"/>
            <a:chExt cx="340" cy="340"/>
          </a:xfrm>
          <a:solidFill>
            <a:schemeClr val="accent4"/>
          </a:solidFill>
        </p:grpSpPr>
        <p:sp>
          <p:nvSpPr>
            <p:cNvPr id="660" name="Freeform 971">
              <a:extLst>
                <a:ext uri="{FF2B5EF4-FFF2-40B4-BE49-F238E27FC236}">
                  <a16:creationId xmlns:a16="http://schemas.microsoft.com/office/drawing/2014/main" id="{010E6810-D25E-4CF6-AE7B-CD53C2E7F575}"/>
                </a:ext>
              </a:extLst>
            </p:cNvPr>
            <p:cNvSpPr>
              <a:spLocks noEditPoints="1"/>
            </p:cNvSpPr>
            <p:nvPr/>
          </p:nvSpPr>
          <p:spPr bwMode="auto">
            <a:xfrm>
              <a:off x="7346" y="356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1" name="Freeform 972">
              <a:extLst>
                <a:ext uri="{FF2B5EF4-FFF2-40B4-BE49-F238E27FC236}">
                  <a16:creationId xmlns:a16="http://schemas.microsoft.com/office/drawing/2014/main" id="{2F33C390-386F-4100-97EF-F6670449AD4E}"/>
                </a:ext>
              </a:extLst>
            </p:cNvPr>
            <p:cNvSpPr>
              <a:spLocks noEditPoints="1"/>
            </p:cNvSpPr>
            <p:nvPr/>
          </p:nvSpPr>
          <p:spPr bwMode="auto">
            <a:xfrm>
              <a:off x="7412" y="3662"/>
              <a:ext cx="208" cy="153"/>
            </a:xfrm>
            <a:custGeom>
              <a:avLst/>
              <a:gdLst>
                <a:gd name="T0" fmla="*/ 283 w 312"/>
                <a:gd name="T1" fmla="*/ 17 h 230"/>
                <a:gd name="T2" fmla="*/ 70 w 312"/>
                <a:gd name="T3" fmla="*/ 0 h 230"/>
                <a:gd name="T4" fmla="*/ 1 w 312"/>
                <a:gd name="T5" fmla="*/ 104 h 230"/>
                <a:gd name="T6" fmla="*/ 70 w 312"/>
                <a:gd name="T7" fmla="*/ 221 h 230"/>
                <a:gd name="T8" fmla="*/ 203 w 312"/>
                <a:gd name="T9" fmla="*/ 171 h 230"/>
                <a:gd name="T10" fmla="*/ 267 w 312"/>
                <a:gd name="T11" fmla="*/ 228 h 230"/>
                <a:gd name="T12" fmla="*/ 310 w 312"/>
                <a:gd name="T13" fmla="*/ 105 h 230"/>
                <a:gd name="T14" fmla="*/ 251 w 312"/>
                <a:gd name="T15" fmla="*/ 202 h 230"/>
                <a:gd name="T16" fmla="*/ 211 w 312"/>
                <a:gd name="T17" fmla="*/ 149 h 230"/>
                <a:gd name="T18" fmla="*/ 90 w 312"/>
                <a:gd name="T19" fmla="*/ 158 h 230"/>
                <a:gd name="T20" fmla="*/ 33 w 312"/>
                <a:gd name="T21" fmla="*/ 204 h 230"/>
                <a:gd name="T22" fmla="*/ 44 w 312"/>
                <a:gd name="T23" fmla="*/ 32 h 230"/>
                <a:gd name="T24" fmla="*/ 241 w 312"/>
                <a:gd name="T25" fmla="*/ 21 h 230"/>
                <a:gd name="T26" fmla="*/ 289 w 312"/>
                <a:gd name="T27" fmla="*/ 105 h 230"/>
                <a:gd name="T28" fmla="*/ 113 w 312"/>
                <a:gd name="T29" fmla="*/ 85 h 230"/>
                <a:gd name="T30" fmla="*/ 92 w 312"/>
                <a:gd name="T31" fmla="*/ 96 h 230"/>
                <a:gd name="T32" fmla="*/ 81 w 312"/>
                <a:gd name="T33" fmla="*/ 117 h 230"/>
                <a:gd name="T34" fmla="*/ 70 w 312"/>
                <a:gd name="T35" fmla="*/ 96 h 230"/>
                <a:gd name="T36" fmla="*/ 49 w 312"/>
                <a:gd name="T37" fmla="*/ 85 h 230"/>
                <a:gd name="T38" fmla="*/ 70 w 312"/>
                <a:gd name="T39" fmla="*/ 75 h 230"/>
                <a:gd name="T40" fmla="*/ 81 w 312"/>
                <a:gd name="T41" fmla="*/ 53 h 230"/>
                <a:gd name="T42" fmla="*/ 92 w 312"/>
                <a:gd name="T43" fmla="*/ 75 h 230"/>
                <a:gd name="T44" fmla="*/ 113 w 312"/>
                <a:gd name="T45" fmla="*/ 85 h 230"/>
                <a:gd name="T46" fmla="*/ 252 w 312"/>
                <a:gd name="T47" fmla="*/ 96 h 230"/>
                <a:gd name="T48" fmla="*/ 252 w 312"/>
                <a:gd name="T49" fmla="*/ 75 h 230"/>
                <a:gd name="T50" fmla="*/ 230 w 312"/>
                <a:gd name="T51" fmla="*/ 117 h 230"/>
                <a:gd name="T52" fmla="*/ 209 w 312"/>
                <a:gd name="T53" fmla="*/ 117 h 230"/>
                <a:gd name="T54" fmla="*/ 230 w 312"/>
                <a:gd name="T55" fmla="*/ 117 h 230"/>
                <a:gd name="T56" fmla="*/ 188 w 312"/>
                <a:gd name="T57" fmla="*/ 96 h 230"/>
                <a:gd name="T58" fmla="*/ 188 w 312"/>
                <a:gd name="T59" fmla="*/ 75 h 230"/>
                <a:gd name="T60" fmla="*/ 230 w 312"/>
                <a:gd name="T61" fmla="*/ 53 h 230"/>
                <a:gd name="T62" fmla="*/ 209 w 312"/>
                <a:gd name="T63" fmla="*/ 53 h 230"/>
                <a:gd name="T64" fmla="*/ 230 w 312"/>
                <a:gd name="T65" fmla="*/ 5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2" h="230">
                  <a:moveTo>
                    <a:pt x="310" y="105"/>
                  </a:moveTo>
                  <a:cubicBezTo>
                    <a:pt x="310" y="102"/>
                    <a:pt x="311" y="46"/>
                    <a:pt x="283" y="17"/>
                  </a:cubicBezTo>
                  <a:cubicBezTo>
                    <a:pt x="271" y="6"/>
                    <a:pt x="257" y="0"/>
                    <a:pt x="241" y="0"/>
                  </a:cubicBezTo>
                  <a:cubicBezTo>
                    <a:pt x="70" y="0"/>
                    <a:pt x="70" y="0"/>
                    <a:pt x="70" y="0"/>
                  </a:cubicBezTo>
                  <a:cubicBezTo>
                    <a:pt x="54" y="0"/>
                    <a:pt x="40" y="6"/>
                    <a:pt x="29" y="17"/>
                  </a:cubicBezTo>
                  <a:cubicBezTo>
                    <a:pt x="0" y="46"/>
                    <a:pt x="1" y="102"/>
                    <a:pt x="1" y="104"/>
                  </a:cubicBezTo>
                  <a:cubicBezTo>
                    <a:pt x="0" y="144"/>
                    <a:pt x="1" y="212"/>
                    <a:pt x="23" y="223"/>
                  </a:cubicBezTo>
                  <a:cubicBezTo>
                    <a:pt x="37" y="230"/>
                    <a:pt x="54" y="229"/>
                    <a:pt x="70" y="221"/>
                  </a:cubicBezTo>
                  <a:cubicBezTo>
                    <a:pt x="89" y="212"/>
                    <a:pt x="103" y="194"/>
                    <a:pt x="109" y="171"/>
                  </a:cubicBezTo>
                  <a:cubicBezTo>
                    <a:pt x="203" y="171"/>
                    <a:pt x="203" y="171"/>
                    <a:pt x="203" y="171"/>
                  </a:cubicBezTo>
                  <a:cubicBezTo>
                    <a:pt x="209" y="194"/>
                    <a:pt x="222" y="212"/>
                    <a:pt x="241" y="221"/>
                  </a:cubicBezTo>
                  <a:cubicBezTo>
                    <a:pt x="250" y="225"/>
                    <a:pt x="259" y="228"/>
                    <a:pt x="267" y="228"/>
                  </a:cubicBezTo>
                  <a:cubicBezTo>
                    <a:pt x="275" y="228"/>
                    <a:pt x="282" y="226"/>
                    <a:pt x="288" y="223"/>
                  </a:cubicBezTo>
                  <a:cubicBezTo>
                    <a:pt x="311" y="212"/>
                    <a:pt x="312" y="144"/>
                    <a:pt x="310" y="105"/>
                  </a:cubicBezTo>
                  <a:close/>
                  <a:moveTo>
                    <a:pt x="279" y="204"/>
                  </a:moveTo>
                  <a:cubicBezTo>
                    <a:pt x="271" y="208"/>
                    <a:pt x="260" y="207"/>
                    <a:pt x="251" y="202"/>
                  </a:cubicBezTo>
                  <a:cubicBezTo>
                    <a:pt x="242" y="198"/>
                    <a:pt x="227" y="186"/>
                    <a:pt x="222" y="158"/>
                  </a:cubicBezTo>
                  <a:cubicBezTo>
                    <a:pt x="221" y="153"/>
                    <a:pt x="216" y="149"/>
                    <a:pt x="211" y="149"/>
                  </a:cubicBezTo>
                  <a:cubicBezTo>
                    <a:pt x="100" y="149"/>
                    <a:pt x="100" y="149"/>
                    <a:pt x="100" y="149"/>
                  </a:cubicBezTo>
                  <a:cubicBezTo>
                    <a:pt x="95" y="149"/>
                    <a:pt x="91" y="153"/>
                    <a:pt x="90" y="158"/>
                  </a:cubicBezTo>
                  <a:cubicBezTo>
                    <a:pt x="85" y="186"/>
                    <a:pt x="69" y="198"/>
                    <a:pt x="61" y="202"/>
                  </a:cubicBezTo>
                  <a:cubicBezTo>
                    <a:pt x="51" y="207"/>
                    <a:pt x="40" y="208"/>
                    <a:pt x="33" y="204"/>
                  </a:cubicBezTo>
                  <a:cubicBezTo>
                    <a:pt x="26" y="198"/>
                    <a:pt x="21" y="152"/>
                    <a:pt x="22" y="104"/>
                  </a:cubicBezTo>
                  <a:cubicBezTo>
                    <a:pt x="22" y="104"/>
                    <a:pt x="22" y="55"/>
                    <a:pt x="44" y="32"/>
                  </a:cubicBezTo>
                  <a:cubicBezTo>
                    <a:pt x="51" y="25"/>
                    <a:pt x="60" y="21"/>
                    <a:pt x="70" y="21"/>
                  </a:cubicBezTo>
                  <a:cubicBezTo>
                    <a:pt x="241" y="21"/>
                    <a:pt x="241" y="21"/>
                    <a:pt x="241" y="21"/>
                  </a:cubicBezTo>
                  <a:cubicBezTo>
                    <a:pt x="252" y="21"/>
                    <a:pt x="260" y="25"/>
                    <a:pt x="267" y="32"/>
                  </a:cubicBezTo>
                  <a:cubicBezTo>
                    <a:pt x="290" y="55"/>
                    <a:pt x="289" y="104"/>
                    <a:pt x="289" y="105"/>
                  </a:cubicBezTo>
                  <a:cubicBezTo>
                    <a:pt x="291" y="152"/>
                    <a:pt x="286" y="198"/>
                    <a:pt x="279" y="204"/>
                  </a:cubicBezTo>
                  <a:close/>
                  <a:moveTo>
                    <a:pt x="113" y="85"/>
                  </a:moveTo>
                  <a:cubicBezTo>
                    <a:pt x="113" y="91"/>
                    <a:pt x="108" y="96"/>
                    <a:pt x="102" y="96"/>
                  </a:cubicBezTo>
                  <a:cubicBezTo>
                    <a:pt x="92" y="96"/>
                    <a:pt x="92" y="96"/>
                    <a:pt x="92" y="96"/>
                  </a:cubicBezTo>
                  <a:cubicBezTo>
                    <a:pt x="92" y="107"/>
                    <a:pt x="92" y="107"/>
                    <a:pt x="92" y="107"/>
                  </a:cubicBezTo>
                  <a:cubicBezTo>
                    <a:pt x="92" y="113"/>
                    <a:pt x="87" y="117"/>
                    <a:pt x="81" y="117"/>
                  </a:cubicBezTo>
                  <a:cubicBezTo>
                    <a:pt x="75" y="117"/>
                    <a:pt x="70" y="113"/>
                    <a:pt x="70" y="107"/>
                  </a:cubicBezTo>
                  <a:cubicBezTo>
                    <a:pt x="70" y="96"/>
                    <a:pt x="70" y="96"/>
                    <a:pt x="70" y="96"/>
                  </a:cubicBezTo>
                  <a:cubicBezTo>
                    <a:pt x="60" y="96"/>
                    <a:pt x="60" y="96"/>
                    <a:pt x="60" y="96"/>
                  </a:cubicBezTo>
                  <a:cubicBezTo>
                    <a:pt x="54" y="96"/>
                    <a:pt x="49" y="91"/>
                    <a:pt x="49" y="85"/>
                  </a:cubicBezTo>
                  <a:cubicBezTo>
                    <a:pt x="49" y="79"/>
                    <a:pt x="54" y="75"/>
                    <a:pt x="60" y="75"/>
                  </a:cubicBezTo>
                  <a:cubicBezTo>
                    <a:pt x="70" y="75"/>
                    <a:pt x="70" y="75"/>
                    <a:pt x="70" y="75"/>
                  </a:cubicBezTo>
                  <a:cubicBezTo>
                    <a:pt x="70" y="64"/>
                    <a:pt x="70" y="64"/>
                    <a:pt x="70" y="64"/>
                  </a:cubicBezTo>
                  <a:cubicBezTo>
                    <a:pt x="70" y="58"/>
                    <a:pt x="75" y="53"/>
                    <a:pt x="81" y="53"/>
                  </a:cubicBezTo>
                  <a:cubicBezTo>
                    <a:pt x="87" y="53"/>
                    <a:pt x="92" y="58"/>
                    <a:pt x="92" y="64"/>
                  </a:cubicBezTo>
                  <a:cubicBezTo>
                    <a:pt x="92" y="75"/>
                    <a:pt x="92" y="75"/>
                    <a:pt x="92" y="75"/>
                  </a:cubicBezTo>
                  <a:cubicBezTo>
                    <a:pt x="102" y="75"/>
                    <a:pt x="102" y="75"/>
                    <a:pt x="102" y="75"/>
                  </a:cubicBezTo>
                  <a:cubicBezTo>
                    <a:pt x="108" y="75"/>
                    <a:pt x="113" y="79"/>
                    <a:pt x="113" y="85"/>
                  </a:cubicBezTo>
                  <a:close/>
                  <a:moveTo>
                    <a:pt x="262" y="85"/>
                  </a:moveTo>
                  <a:cubicBezTo>
                    <a:pt x="262" y="91"/>
                    <a:pt x="258" y="96"/>
                    <a:pt x="252" y="96"/>
                  </a:cubicBezTo>
                  <a:cubicBezTo>
                    <a:pt x="246" y="96"/>
                    <a:pt x="241" y="91"/>
                    <a:pt x="241" y="85"/>
                  </a:cubicBezTo>
                  <a:cubicBezTo>
                    <a:pt x="241" y="79"/>
                    <a:pt x="246" y="75"/>
                    <a:pt x="252" y="75"/>
                  </a:cubicBezTo>
                  <a:cubicBezTo>
                    <a:pt x="258" y="75"/>
                    <a:pt x="262" y="79"/>
                    <a:pt x="262" y="85"/>
                  </a:cubicBezTo>
                  <a:close/>
                  <a:moveTo>
                    <a:pt x="230" y="117"/>
                  </a:moveTo>
                  <a:cubicBezTo>
                    <a:pt x="230" y="123"/>
                    <a:pt x="226" y="128"/>
                    <a:pt x="220" y="128"/>
                  </a:cubicBezTo>
                  <a:cubicBezTo>
                    <a:pt x="214" y="128"/>
                    <a:pt x="209" y="123"/>
                    <a:pt x="209" y="117"/>
                  </a:cubicBezTo>
                  <a:cubicBezTo>
                    <a:pt x="209" y="111"/>
                    <a:pt x="214" y="107"/>
                    <a:pt x="220" y="107"/>
                  </a:cubicBezTo>
                  <a:cubicBezTo>
                    <a:pt x="226" y="107"/>
                    <a:pt x="230" y="111"/>
                    <a:pt x="230" y="117"/>
                  </a:cubicBezTo>
                  <a:close/>
                  <a:moveTo>
                    <a:pt x="198" y="85"/>
                  </a:moveTo>
                  <a:cubicBezTo>
                    <a:pt x="198" y="91"/>
                    <a:pt x="194" y="96"/>
                    <a:pt x="188" y="96"/>
                  </a:cubicBezTo>
                  <a:cubicBezTo>
                    <a:pt x="182" y="96"/>
                    <a:pt x="177" y="91"/>
                    <a:pt x="177" y="85"/>
                  </a:cubicBezTo>
                  <a:cubicBezTo>
                    <a:pt x="177" y="79"/>
                    <a:pt x="182" y="75"/>
                    <a:pt x="188" y="75"/>
                  </a:cubicBezTo>
                  <a:cubicBezTo>
                    <a:pt x="194" y="75"/>
                    <a:pt x="198" y="79"/>
                    <a:pt x="198" y="85"/>
                  </a:cubicBezTo>
                  <a:close/>
                  <a:moveTo>
                    <a:pt x="230" y="53"/>
                  </a:moveTo>
                  <a:cubicBezTo>
                    <a:pt x="230" y="59"/>
                    <a:pt x="226" y="64"/>
                    <a:pt x="220" y="64"/>
                  </a:cubicBezTo>
                  <a:cubicBezTo>
                    <a:pt x="214" y="64"/>
                    <a:pt x="209" y="59"/>
                    <a:pt x="209" y="53"/>
                  </a:cubicBezTo>
                  <a:cubicBezTo>
                    <a:pt x="209" y="47"/>
                    <a:pt x="214" y="43"/>
                    <a:pt x="220" y="43"/>
                  </a:cubicBezTo>
                  <a:cubicBezTo>
                    <a:pt x="226" y="43"/>
                    <a:pt x="230" y="47"/>
                    <a:pt x="23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62" name="TextBox 661">
            <a:extLst>
              <a:ext uri="{FF2B5EF4-FFF2-40B4-BE49-F238E27FC236}">
                <a16:creationId xmlns:a16="http://schemas.microsoft.com/office/drawing/2014/main" id="{A7763583-9AF9-46B2-9B6B-D55FCBF03BA8}"/>
              </a:ext>
            </a:extLst>
          </p:cNvPr>
          <p:cNvSpPr txBox="1"/>
          <p:nvPr/>
        </p:nvSpPr>
        <p:spPr>
          <a:xfrm>
            <a:off x="3937175" y="3677909"/>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amepad</a:t>
            </a:r>
          </a:p>
        </p:txBody>
      </p:sp>
      <p:sp>
        <p:nvSpPr>
          <p:cNvPr id="663" name="TextBox 662">
            <a:extLst>
              <a:ext uri="{FF2B5EF4-FFF2-40B4-BE49-F238E27FC236}">
                <a16:creationId xmlns:a16="http://schemas.microsoft.com/office/drawing/2014/main" id="{6A68EC3F-9026-4B26-8B27-FB3A5E7A0B27}"/>
              </a:ext>
            </a:extLst>
          </p:cNvPr>
          <p:cNvSpPr txBox="1"/>
          <p:nvPr/>
        </p:nvSpPr>
        <p:spPr>
          <a:xfrm>
            <a:off x="4798252" y="3677909"/>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x machine</a:t>
            </a:r>
          </a:p>
        </p:txBody>
      </p:sp>
      <p:sp>
        <p:nvSpPr>
          <p:cNvPr id="664" name="TextBox 663">
            <a:extLst>
              <a:ext uri="{FF2B5EF4-FFF2-40B4-BE49-F238E27FC236}">
                <a16:creationId xmlns:a16="http://schemas.microsoft.com/office/drawing/2014/main" id="{019EB2EE-903E-4259-84D7-71C1EA6C4D15}"/>
              </a:ext>
            </a:extLst>
          </p:cNvPr>
          <p:cNvSpPr txBox="1"/>
          <p:nvPr/>
        </p:nvSpPr>
        <p:spPr>
          <a:xfrm>
            <a:off x="5674146" y="3677909"/>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wnload from Cloud</a:t>
            </a:r>
          </a:p>
        </p:txBody>
      </p:sp>
      <p:sp>
        <p:nvSpPr>
          <p:cNvPr id="665" name="TextBox 664">
            <a:extLst>
              <a:ext uri="{FF2B5EF4-FFF2-40B4-BE49-F238E27FC236}">
                <a16:creationId xmlns:a16="http://schemas.microsoft.com/office/drawing/2014/main" id="{CF6647AC-F94A-4562-B6FC-D5EA53CA3E2A}"/>
              </a:ext>
            </a:extLst>
          </p:cNvPr>
          <p:cNvSpPr txBox="1"/>
          <p:nvPr/>
        </p:nvSpPr>
        <p:spPr>
          <a:xfrm>
            <a:off x="7419584"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bile pay</a:t>
            </a:r>
          </a:p>
        </p:txBody>
      </p:sp>
      <p:sp>
        <p:nvSpPr>
          <p:cNvPr id="666" name="TextBox 665">
            <a:extLst>
              <a:ext uri="{FF2B5EF4-FFF2-40B4-BE49-F238E27FC236}">
                <a16:creationId xmlns:a16="http://schemas.microsoft.com/office/drawing/2014/main" id="{E72E6EB1-C839-4BA0-80B8-63E6190C7C59}"/>
              </a:ext>
            </a:extLst>
          </p:cNvPr>
          <p:cNvSpPr txBox="1"/>
          <p:nvPr/>
        </p:nvSpPr>
        <p:spPr>
          <a:xfrm>
            <a:off x="8292303"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usic</a:t>
            </a:r>
          </a:p>
        </p:txBody>
      </p:sp>
      <p:sp>
        <p:nvSpPr>
          <p:cNvPr id="667" name="TextBox 666">
            <a:extLst>
              <a:ext uri="{FF2B5EF4-FFF2-40B4-BE49-F238E27FC236}">
                <a16:creationId xmlns:a16="http://schemas.microsoft.com/office/drawing/2014/main" id="{C45F12F9-C6D0-454C-94DF-AB1BA4122DB6}"/>
              </a:ext>
            </a:extLst>
          </p:cNvPr>
          <p:cNvSpPr txBox="1"/>
          <p:nvPr/>
        </p:nvSpPr>
        <p:spPr>
          <a:xfrm>
            <a:off x="6546865"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Newspaper</a:t>
            </a:r>
          </a:p>
        </p:txBody>
      </p:sp>
      <p:sp>
        <p:nvSpPr>
          <p:cNvPr id="668" name="TextBox 667">
            <a:extLst>
              <a:ext uri="{FF2B5EF4-FFF2-40B4-BE49-F238E27FC236}">
                <a16:creationId xmlns:a16="http://schemas.microsoft.com/office/drawing/2014/main" id="{C3B364D2-7500-4B6B-8383-9CD441D5231B}"/>
              </a:ext>
            </a:extLst>
          </p:cNvPr>
          <p:cNvSpPr txBox="1"/>
          <p:nvPr/>
        </p:nvSpPr>
        <p:spPr>
          <a:xfrm>
            <a:off x="9165022"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use</a:t>
            </a:r>
          </a:p>
        </p:txBody>
      </p:sp>
      <p:sp>
        <p:nvSpPr>
          <p:cNvPr id="669" name="TextBox 668">
            <a:extLst>
              <a:ext uri="{FF2B5EF4-FFF2-40B4-BE49-F238E27FC236}">
                <a16:creationId xmlns:a16="http://schemas.microsoft.com/office/drawing/2014/main" id="{415E98C4-C9C7-46B3-B702-66B3133EFCD0}"/>
              </a:ext>
            </a:extLst>
          </p:cNvPr>
          <p:cNvSpPr txBox="1"/>
          <p:nvPr/>
        </p:nvSpPr>
        <p:spPr>
          <a:xfrm>
            <a:off x="441784"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oudhailer</a:t>
            </a:r>
          </a:p>
        </p:txBody>
      </p:sp>
      <p:sp>
        <p:nvSpPr>
          <p:cNvPr id="670" name="TextBox 669">
            <a:extLst>
              <a:ext uri="{FF2B5EF4-FFF2-40B4-BE49-F238E27FC236}">
                <a16:creationId xmlns:a16="http://schemas.microsoft.com/office/drawing/2014/main" id="{C3889AC3-9E34-4C01-8C39-FE87CA526CE4}"/>
              </a:ext>
            </a:extLst>
          </p:cNvPr>
          <p:cNvSpPr txBox="1"/>
          <p:nvPr/>
        </p:nvSpPr>
        <p:spPr>
          <a:xfrm>
            <a:off x="10910459"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DD</a:t>
            </a:r>
          </a:p>
        </p:txBody>
      </p:sp>
      <p:sp>
        <p:nvSpPr>
          <p:cNvPr id="671" name="TextBox 670">
            <a:extLst>
              <a:ext uri="{FF2B5EF4-FFF2-40B4-BE49-F238E27FC236}">
                <a16:creationId xmlns:a16="http://schemas.microsoft.com/office/drawing/2014/main" id="{F8C570F6-26AE-4F08-9A7F-2F5E9A1D1B4F}"/>
              </a:ext>
            </a:extLst>
          </p:cNvPr>
          <p:cNvSpPr txBox="1"/>
          <p:nvPr/>
        </p:nvSpPr>
        <p:spPr>
          <a:xfrm>
            <a:off x="10037741" y="367790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Keyboard</a:t>
            </a:r>
          </a:p>
        </p:txBody>
      </p:sp>
      <p:sp>
        <p:nvSpPr>
          <p:cNvPr id="672" name="Freeform 615">
            <a:extLst>
              <a:ext uri="{FF2B5EF4-FFF2-40B4-BE49-F238E27FC236}">
                <a16:creationId xmlns:a16="http://schemas.microsoft.com/office/drawing/2014/main" id="{BEA04C3A-7225-447F-A005-E539F38014D5}"/>
              </a:ext>
            </a:extLst>
          </p:cNvPr>
          <p:cNvSpPr>
            <a:spLocks noChangeAspect="1" noEditPoints="1"/>
          </p:cNvSpPr>
          <p:nvPr/>
        </p:nvSpPr>
        <p:spPr bwMode="auto">
          <a:xfrm>
            <a:off x="4837190" y="3302682"/>
            <a:ext cx="367631" cy="367631"/>
          </a:xfrm>
          <a:custGeom>
            <a:avLst/>
            <a:gdLst>
              <a:gd name="T0" fmla="*/ 312 w 512"/>
              <a:gd name="T1" fmla="*/ 332 h 512"/>
              <a:gd name="T2" fmla="*/ 199 w 512"/>
              <a:gd name="T3" fmla="*/ 394 h 512"/>
              <a:gd name="T4" fmla="*/ 190 w 512"/>
              <a:gd name="T5" fmla="*/ 186 h 512"/>
              <a:gd name="T6" fmla="*/ 199 w 512"/>
              <a:gd name="T7" fmla="*/ 151 h 512"/>
              <a:gd name="T8" fmla="*/ 254 w 512"/>
              <a:gd name="T9" fmla="*/ 144 h 512"/>
              <a:gd name="T10" fmla="*/ 296 w 512"/>
              <a:gd name="T11" fmla="*/ 148 h 512"/>
              <a:gd name="T12" fmla="*/ 322 w 512"/>
              <a:gd name="T13" fmla="*/ 162 h 512"/>
              <a:gd name="T14" fmla="*/ 362 w 512"/>
              <a:gd name="T15" fmla="*/ 184 h 512"/>
              <a:gd name="T16" fmla="*/ 362 w 512"/>
              <a:gd name="T17" fmla="*/ 167 h 512"/>
              <a:gd name="T18" fmla="*/ 257 w 512"/>
              <a:gd name="T19" fmla="*/ 128 h 512"/>
              <a:gd name="T20" fmla="*/ 254 w 512"/>
              <a:gd name="T21" fmla="*/ 128 h 512"/>
              <a:gd name="T22" fmla="*/ 149 w 512"/>
              <a:gd name="T23" fmla="*/ 167 h 512"/>
              <a:gd name="T24" fmla="*/ 149 w 512"/>
              <a:gd name="T25" fmla="*/ 184 h 512"/>
              <a:gd name="T26" fmla="*/ 149 w 512"/>
              <a:gd name="T27" fmla="*/ 248 h 512"/>
              <a:gd name="T28" fmla="*/ 362 w 512"/>
              <a:gd name="T29" fmla="*/ 361 h 512"/>
              <a:gd name="T30" fmla="*/ 333 w 512"/>
              <a:gd name="T31" fmla="*/ 321 h 512"/>
              <a:gd name="T32" fmla="*/ 189 w 512"/>
              <a:gd name="T33" fmla="*/ 311 h 512"/>
              <a:gd name="T34" fmla="*/ 178 w 512"/>
              <a:gd name="T35" fmla="*/ 361 h 512"/>
              <a:gd name="T36" fmla="*/ 149 w 512"/>
              <a:gd name="T37" fmla="*/ 248 h 512"/>
              <a:gd name="T38" fmla="*/ 298 w 512"/>
              <a:gd name="T39" fmla="*/ 288 h 512"/>
              <a:gd name="T40" fmla="*/ 330 w 512"/>
              <a:gd name="T41" fmla="*/ 277 h 512"/>
              <a:gd name="T42" fmla="*/ 298 w 512"/>
              <a:gd name="T43" fmla="*/ 266 h 512"/>
              <a:gd name="T44" fmla="*/ 512 w 512"/>
              <a:gd name="T45" fmla="*/ 256 h 512"/>
              <a:gd name="T46" fmla="*/ 0 w 512"/>
              <a:gd name="T47" fmla="*/ 256 h 512"/>
              <a:gd name="T48" fmla="*/ 512 w 512"/>
              <a:gd name="T49" fmla="*/ 256 h 512"/>
              <a:gd name="T50" fmla="*/ 133 w 512"/>
              <a:gd name="T51" fmla="*/ 199 h 512"/>
              <a:gd name="T52" fmla="*/ 135 w 512"/>
              <a:gd name="T53" fmla="*/ 200 h 512"/>
              <a:gd name="T54" fmla="*/ 211 w 512"/>
              <a:gd name="T55" fmla="*/ 192 h 512"/>
              <a:gd name="T56" fmla="*/ 219 w 512"/>
              <a:gd name="T57" fmla="*/ 170 h 512"/>
              <a:gd name="T58" fmla="*/ 258 w 512"/>
              <a:gd name="T59" fmla="*/ 165 h 512"/>
              <a:gd name="T60" fmla="*/ 300 w 512"/>
              <a:gd name="T61" fmla="*/ 171 h 512"/>
              <a:gd name="T62" fmla="*/ 304 w 512"/>
              <a:gd name="T63" fmla="*/ 200 h 512"/>
              <a:gd name="T64" fmla="*/ 376 w 512"/>
              <a:gd name="T65" fmla="*/ 200 h 512"/>
              <a:gd name="T66" fmla="*/ 378 w 512"/>
              <a:gd name="T67" fmla="*/ 199 h 512"/>
              <a:gd name="T68" fmla="*/ 384 w 512"/>
              <a:gd name="T69" fmla="*/ 171 h 512"/>
              <a:gd name="T70" fmla="*/ 368 w 512"/>
              <a:gd name="T71" fmla="*/ 137 h 512"/>
              <a:gd name="T72" fmla="*/ 254 w 512"/>
              <a:gd name="T73" fmla="*/ 106 h 512"/>
              <a:gd name="T74" fmla="*/ 128 w 512"/>
              <a:gd name="T75" fmla="*/ 166 h 512"/>
              <a:gd name="T76" fmla="*/ 131 w 512"/>
              <a:gd name="T77" fmla="*/ 195 h 512"/>
              <a:gd name="T78" fmla="*/ 373 w 512"/>
              <a:gd name="T79" fmla="*/ 227 h 512"/>
              <a:gd name="T80" fmla="*/ 128 w 512"/>
              <a:gd name="T81" fmla="*/ 237 h 512"/>
              <a:gd name="T82" fmla="*/ 138 w 512"/>
              <a:gd name="T83" fmla="*/ 382 h 512"/>
              <a:gd name="T84" fmla="*/ 178 w 512"/>
              <a:gd name="T85" fmla="*/ 405 h 512"/>
              <a:gd name="T86" fmla="*/ 323 w 512"/>
              <a:gd name="T87" fmla="*/ 416 h 512"/>
              <a:gd name="T88" fmla="*/ 333 w 512"/>
              <a:gd name="T89" fmla="*/ 382 h 512"/>
              <a:gd name="T90" fmla="*/ 384 w 512"/>
              <a:gd name="T91" fmla="*/ 37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99" y="332"/>
                </a:moveTo>
                <a:cubicBezTo>
                  <a:pt x="312" y="332"/>
                  <a:pt x="312" y="332"/>
                  <a:pt x="312" y="332"/>
                </a:cubicBezTo>
                <a:cubicBezTo>
                  <a:pt x="312" y="394"/>
                  <a:pt x="312" y="394"/>
                  <a:pt x="312" y="394"/>
                </a:cubicBezTo>
                <a:cubicBezTo>
                  <a:pt x="199" y="394"/>
                  <a:pt x="199" y="394"/>
                  <a:pt x="199" y="394"/>
                </a:cubicBezTo>
                <a:lnTo>
                  <a:pt x="199" y="332"/>
                </a:lnTo>
                <a:close/>
                <a:moveTo>
                  <a:pt x="190" y="186"/>
                </a:moveTo>
                <a:cubicBezTo>
                  <a:pt x="190" y="162"/>
                  <a:pt x="190" y="162"/>
                  <a:pt x="190" y="162"/>
                </a:cubicBezTo>
                <a:cubicBezTo>
                  <a:pt x="190" y="157"/>
                  <a:pt x="194" y="152"/>
                  <a:pt x="199" y="151"/>
                </a:cubicBezTo>
                <a:cubicBezTo>
                  <a:pt x="205" y="150"/>
                  <a:pt x="210" y="149"/>
                  <a:pt x="215" y="148"/>
                </a:cubicBezTo>
                <a:cubicBezTo>
                  <a:pt x="230" y="146"/>
                  <a:pt x="242" y="144"/>
                  <a:pt x="254" y="144"/>
                </a:cubicBezTo>
                <a:cubicBezTo>
                  <a:pt x="258" y="144"/>
                  <a:pt x="258" y="144"/>
                  <a:pt x="258" y="144"/>
                </a:cubicBezTo>
                <a:cubicBezTo>
                  <a:pt x="269" y="144"/>
                  <a:pt x="282" y="146"/>
                  <a:pt x="296" y="148"/>
                </a:cubicBezTo>
                <a:cubicBezTo>
                  <a:pt x="301" y="149"/>
                  <a:pt x="307" y="150"/>
                  <a:pt x="313" y="151"/>
                </a:cubicBezTo>
                <a:cubicBezTo>
                  <a:pt x="318" y="152"/>
                  <a:pt x="322" y="157"/>
                  <a:pt x="322" y="162"/>
                </a:cubicBezTo>
                <a:cubicBezTo>
                  <a:pt x="322" y="186"/>
                  <a:pt x="322" y="186"/>
                  <a:pt x="322" y="186"/>
                </a:cubicBezTo>
                <a:cubicBezTo>
                  <a:pt x="336" y="195"/>
                  <a:pt x="356" y="187"/>
                  <a:pt x="362" y="184"/>
                </a:cubicBezTo>
                <a:cubicBezTo>
                  <a:pt x="362" y="180"/>
                  <a:pt x="362" y="175"/>
                  <a:pt x="362" y="171"/>
                </a:cubicBezTo>
                <a:cubicBezTo>
                  <a:pt x="362" y="167"/>
                  <a:pt x="362" y="167"/>
                  <a:pt x="362" y="167"/>
                </a:cubicBezTo>
                <a:cubicBezTo>
                  <a:pt x="362" y="160"/>
                  <a:pt x="362" y="159"/>
                  <a:pt x="356" y="155"/>
                </a:cubicBezTo>
                <a:cubicBezTo>
                  <a:pt x="355" y="154"/>
                  <a:pt x="316" y="126"/>
                  <a:pt x="257" y="128"/>
                </a:cubicBezTo>
                <a:cubicBezTo>
                  <a:pt x="254" y="128"/>
                  <a:pt x="254" y="128"/>
                  <a:pt x="254" y="128"/>
                </a:cubicBezTo>
                <a:cubicBezTo>
                  <a:pt x="254" y="128"/>
                  <a:pt x="254" y="128"/>
                  <a:pt x="254" y="128"/>
                </a:cubicBezTo>
                <a:cubicBezTo>
                  <a:pt x="195" y="126"/>
                  <a:pt x="157" y="154"/>
                  <a:pt x="156" y="154"/>
                </a:cubicBezTo>
                <a:cubicBezTo>
                  <a:pt x="149" y="159"/>
                  <a:pt x="149" y="160"/>
                  <a:pt x="149" y="167"/>
                </a:cubicBezTo>
                <a:cubicBezTo>
                  <a:pt x="149" y="171"/>
                  <a:pt x="149" y="171"/>
                  <a:pt x="149" y="171"/>
                </a:cubicBezTo>
                <a:cubicBezTo>
                  <a:pt x="149" y="175"/>
                  <a:pt x="149" y="180"/>
                  <a:pt x="149" y="184"/>
                </a:cubicBezTo>
                <a:cubicBezTo>
                  <a:pt x="156" y="187"/>
                  <a:pt x="176" y="195"/>
                  <a:pt x="190" y="186"/>
                </a:cubicBezTo>
                <a:close/>
                <a:moveTo>
                  <a:pt x="149" y="248"/>
                </a:moveTo>
                <a:cubicBezTo>
                  <a:pt x="362" y="248"/>
                  <a:pt x="362" y="248"/>
                  <a:pt x="362" y="248"/>
                </a:cubicBezTo>
                <a:cubicBezTo>
                  <a:pt x="362" y="361"/>
                  <a:pt x="362" y="361"/>
                  <a:pt x="362" y="361"/>
                </a:cubicBezTo>
                <a:cubicBezTo>
                  <a:pt x="333" y="361"/>
                  <a:pt x="333" y="361"/>
                  <a:pt x="333" y="361"/>
                </a:cubicBezTo>
                <a:cubicBezTo>
                  <a:pt x="333" y="321"/>
                  <a:pt x="333" y="321"/>
                  <a:pt x="333" y="321"/>
                </a:cubicBezTo>
                <a:cubicBezTo>
                  <a:pt x="333" y="315"/>
                  <a:pt x="329" y="311"/>
                  <a:pt x="323" y="311"/>
                </a:cubicBezTo>
                <a:cubicBezTo>
                  <a:pt x="189" y="311"/>
                  <a:pt x="189" y="311"/>
                  <a:pt x="189" y="311"/>
                </a:cubicBezTo>
                <a:cubicBezTo>
                  <a:pt x="183" y="311"/>
                  <a:pt x="178" y="315"/>
                  <a:pt x="178" y="321"/>
                </a:cubicBezTo>
                <a:cubicBezTo>
                  <a:pt x="178" y="361"/>
                  <a:pt x="178" y="361"/>
                  <a:pt x="178" y="361"/>
                </a:cubicBezTo>
                <a:cubicBezTo>
                  <a:pt x="149" y="361"/>
                  <a:pt x="149" y="361"/>
                  <a:pt x="149" y="361"/>
                </a:cubicBezTo>
                <a:lnTo>
                  <a:pt x="149" y="248"/>
                </a:lnTo>
                <a:close/>
                <a:moveTo>
                  <a:pt x="288" y="277"/>
                </a:moveTo>
                <a:cubicBezTo>
                  <a:pt x="288" y="283"/>
                  <a:pt x="292" y="288"/>
                  <a:pt x="298" y="288"/>
                </a:cubicBezTo>
                <a:cubicBezTo>
                  <a:pt x="320" y="288"/>
                  <a:pt x="320" y="288"/>
                  <a:pt x="320" y="288"/>
                </a:cubicBezTo>
                <a:cubicBezTo>
                  <a:pt x="326" y="288"/>
                  <a:pt x="330" y="283"/>
                  <a:pt x="330" y="277"/>
                </a:cubicBezTo>
                <a:cubicBezTo>
                  <a:pt x="330" y="271"/>
                  <a:pt x="326" y="266"/>
                  <a:pt x="320" y="266"/>
                </a:cubicBezTo>
                <a:cubicBezTo>
                  <a:pt x="298" y="266"/>
                  <a:pt x="298" y="266"/>
                  <a:pt x="298" y="266"/>
                </a:cubicBezTo>
                <a:cubicBezTo>
                  <a:pt x="292" y="266"/>
                  <a:pt x="288" y="271"/>
                  <a:pt x="288"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1" y="195"/>
                </a:moveTo>
                <a:cubicBezTo>
                  <a:pt x="131" y="197"/>
                  <a:pt x="132" y="198"/>
                  <a:pt x="133" y="199"/>
                </a:cubicBezTo>
                <a:cubicBezTo>
                  <a:pt x="135" y="200"/>
                  <a:pt x="135" y="200"/>
                  <a:pt x="135" y="200"/>
                </a:cubicBezTo>
                <a:cubicBezTo>
                  <a:pt x="135" y="200"/>
                  <a:pt x="135" y="200"/>
                  <a:pt x="135" y="200"/>
                </a:cubicBezTo>
                <a:cubicBezTo>
                  <a:pt x="143" y="205"/>
                  <a:pt x="182" y="222"/>
                  <a:pt x="207" y="200"/>
                </a:cubicBezTo>
                <a:cubicBezTo>
                  <a:pt x="210" y="198"/>
                  <a:pt x="211" y="195"/>
                  <a:pt x="211" y="192"/>
                </a:cubicBezTo>
                <a:cubicBezTo>
                  <a:pt x="211" y="171"/>
                  <a:pt x="211" y="171"/>
                  <a:pt x="211" y="171"/>
                </a:cubicBezTo>
                <a:cubicBezTo>
                  <a:pt x="214" y="170"/>
                  <a:pt x="216" y="170"/>
                  <a:pt x="219" y="170"/>
                </a:cubicBezTo>
                <a:cubicBezTo>
                  <a:pt x="233" y="167"/>
                  <a:pt x="244" y="165"/>
                  <a:pt x="254" y="165"/>
                </a:cubicBezTo>
                <a:cubicBezTo>
                  <a:pt x="258" y="165"/>
                  <a:pt x="258" y="165"/>
                  <a:pt x="258" y="165"/>
                </a:cubicBezTo>
                <a:cubicBezTo>
                  <a:pt x="267" y="165"/>
                  <a:pt x="278" y="167"/>
                  <a:pt x="292" y="170"/>
                </a:cubicBezTo>
                <a:cubicBezTo>
                  <a:pt x="295" y="170"/>
                  <a:pt x="298" y="170"/>
                  <a:pt x="300" y="171"/>
                </a:cubicBezTo>
                <a:cubicBezTo>
                  <a:pt x="300" y="192"/>
                  <a:pt x="300" y="192"/>
                  <a:pt x="300" y="192"/>
                </a:cubicBezTo>
                <a:cubicBezTo>
                  <a:pt x="300" y="195"/>
                  <a:pt x="302" y="198"/>
                  <a:pt x="304" y="200"/>
                </a:cubicBezTo>
                <a:cubicBezTo>
                  <a:pt x="314" y="208"/>
                  <a:pt x="325" y="211"/>
                  <a:pt x="336" y="211"/>
                </a:cubicBezTo>
                <a:cubicBezTo>
                  <a:pt x="355" y="211"/>
                  <a:pt x="372" y="203"/>
                  <a:pt x="376" y="200"/>
                </a:cubicBezTo>
                <a:cubicBezTo>
                  <a:pt x="376" y="200"/>
                  <a:pt x="376" y="200"/>
                  <a:pt x="376" y="200"/>
                </a:cubicBezTo>
                <a:cubicBezTo>
                  <a:pt x="378" y="199"/>
                  <a:pt x="378" y="199"/>
                  <a:pt x="378" y="199"/>
                </a:cubicBezTo>
                <a:cubicBezTo>
                  <a:pt x="379" y="198"/>
                  <a:pt x="380" y="197"/>
                  <a:pt x="381" y="195"/>
                </a:cubicBezTo>
                <a:cubicBezTo>
                  <a:pt x="384" y="189"/>
                  <a:pt x="384" y="181"/>
                  <a:pt x="384" y="171"/>
                </a:cubicBezTo>
                <a:cubicBezTo>
                  <a:pt x="383" y="166"/>
                  <a:pt x="383" y="166"/>
                  <a:pt x="383" y="166"/>
                </a:cubicBezTo>
                <a:cubicBezTo>
                  <a:pt x="383" y="155"/>
                  <a:pt x="382" y="146"/>
                  <a:pt x="368" y="137"/>
                </a:cubicBezTo>
                <a:cubicBezTo>
                  <a:pt x="366" y="136"/>
                  <a:pt x="324" y="105"/>
                  <a:pt x="257" y="106"/>
                </a:cubicBezTo>
                <a:cubicBezTo>
                  <a:pt x="254" y="106"/>
                  <a:pt x="254" y="106"/>
                  <a:pt x="254" y="106"/>
                </a:cubicBezTo>
                <a:cubicBezTo>
                  <a:pt x="187" y="105"/>
                  <a:pt x="145" y="136"/>
                  <a:pt x="144" y="137"/>
                </a:cubicBezTo>
                <a:cubicBezTo>
                  <a:pt x="129" y="146"/>
                  <a:pt x="128" y="155"/>
                  <a:pt x="128" y="166"/>
                </a:cubicBezTo>
                <a:cubicBezTo>
                  <a:pt x="128" y="171"/>
                  <a:pt x="128" y="171"/>
                  <a:pt x="128" y="171"/>
                </a:cubicBezTo>
                <a:cubicBezTo>
                  <a:pt x="127" y="181"/>
                  <a:pt x="127" y="189"/>
                  <a:pt x="131" y="195"/>
                </a:cubicBezTo>
                <a:close/>
                <a:moveTo>
                  <a:pt x="384" y="237"/>
                </a:moveTo>
                <a:cubicBezTo>
                  <a:pt x="384" y="231"/>
                  <a:pt x="379" y="227"/>
                  <a:pt x="373" y="227"/>
                </a:cubicBezTo>
                <a:cubicBezTo>
                  <a:pt x="138" y="227"/>
                  <a:pt x="138" y="227"/>
                  <a:pt x="138" y="227"/>
                </a:cubicBezTo>
                <a:cubicBezTo>
                  <a:pt x="132" y="227"/>
                  <a:pt x="128" y="231"/>
                  <a:pt x="128" y="237"/>
                </a:cubicBezTo>
                <a:cubicBezTo>
                  <a:pt x="128" y="371"/>
                  <a:pt x="128" y="371"/>
                  <a:pt x="128" y="371"/>
                </a:cubicBezTo>
                <a:cubicBezTo>
                  <a:pt x="128" y="377"/>
                  <a:pt x="132" y="382"/>
                  <a:pt x="138" y="382"/>
                </a:cubicBezTo>
                <a:cubicBezTo>
                  <a:pt x="178" y="382"/>
                  <a:pt x="178" y="382"/>
                  <a:pt x="178" y="382"/>
                </a:cubicBezTo>
                <a:cubicBezTo>
                  <a:pt x="178" y="405"/>
                  <a:pt x="178" y="405"/>
                  <a:pt x="178" y="405"/>
                </a:cubicBezTo>
                <a:cubicBezTo>
                  <a:pt x="178" y="411"/>
                  <a:pt x="183" y="416"/>
                  <a:pt x="189" y="416"/>
                </a:cubicBezTo>
                <a:cubicBezTo>
                  <a:pt x="323" y="416"/>
                  <a:pt x="323" y="416"/>
                  <a:pt x="323" y="416"/>
                </a:cubicBezTo>
                <a:cubicBezTo>
                  <a:pt x="329" y="416"/>
                  <a:pt x="333" y="411"/>
                  <a:pt x="333" y="405"/>
                </a:cubicBezTo>
                <a:cubicBezTo>
                  <a:pt x="333" y="382"/>
                  <a:pt x="333" y="382"/>
                  <a:pt x="333" y="382"/>
                </a:cubicBezTo>
                <a:cubicBezTo>
                  <a:pt x="373" y="382"/>
                  <a:pt x="373" y="382"/>
                  <a:pt x="373" y="382"/>
                </a:cubicBezTo>
                <a:cubicBezTo>
                  <a:pt x="379" y="382"/>
                  <a:pt x="384" y="377"/>
                  <a:pt x="384" y="371"/>
                </a:cubicBezTo>
                <a:lnTo>
                  <a:pt x="384" y="2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73" name="Group 618">
            <a:extLst>
              <a:ext uri="{FF2B5EF4-FFF2-40B4-BE49-F238E27FC236}">
                <a16:creationId xmlns:a16="http://schemas.microsoft.com/office/drawing/2014/main" id="{6B536A04-707F-461E-8335-A0D1D2563A36}"/>
              </a:ext>
            </a:extLst>
          </p:cNvPr>
          <p:cNvGrpSpPr>
            <a:grpSpLocks noChangeAspect="1"/>
          </p:cNvGrpSpPr>
          <p:nvPr/>
        </p:nvGrpSpPr>
        <p:grpSpPr bwMode="auto">
          <a:xfrm>
            <a:off x="5272361" y="3302682"/>
            <a:ext cx="367631" cy="367631"/>
            <a:chOff x="3447" y="2459"/>
            <a:chExt cx="340" cy="340"/>
          </a:xfrm>
          <a:solidFill>
            <a:schemeClr val="accent1"/>
          </a:solidFill>
        </p:grpSpPr>
        <p:sp>
          <p:nvSpPr>
            <p:cNvPr id="674" name="Freeform 619">
              <a:extLst>
                <a:ext uri="{FF2B5EF4-FFF2-40B4-BE49-F238E27FC236}">
                  <a16:creationId xmlns:a16="http://schemas.microsoft.com/office/drawing/2014/main" id="{D715216F-106B-41D8-8008-21CC5F8E9D51}"/>
                </a:ext>
              </a:extLst>
            </p:cNvPr>
            <p:cNvSpPr>
              <a:spLocks noEditPoints="1"/>
            </p:cNvSpPr>
            <p:nvPr/>
          </p:nvSpPr>
          <p:spPr bwMode="auto">
            <a:xfrm>
              <a:off x="3447" y="24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5" name="Freeform 620">
              <a:extLst>
                <a:ext uri="{FF2B5EF4-FFF2-40B4-BE49-F238E27FC236}">
                  <a16:creationId xmlns:a16="http://schemas.microsoft.com/office/drawing/2014/main" id="{34B61254-BDF4-4240-9183-D5015727FC1B}"/>
                </a:ext>
              </a:extLst>
            </p:cNvPr>
            <p:cNvSpPr>
              <a:spLocks noEditPoints="1"/>
            </p:cNvSpPr>
            <p:nvPr/>
          </p:nvSpPr>
          <p:spPr bwMode="auto">
            <a:xfrm>
              <a:off x="3531" y="2529"/>
              <a:ext cx="171" cy="206"/>
            </a:xfrm>
            <a:custGeom>
              <a:avLst/>
              <a:gdLst>
                <a:gd name="T0" fmla="*/ 11 w 257"/>
                <a:gd name="T1" fmla="*/ 122 h 311"/>
                <a:gd name="T2" fmla="*/ 1 w 257"/>
                <a:gd name="T3" fmla="*/ 266 h 311"/>
                <a:gd name="T4" fmla="*/ 51 w 257"/>
                <a:gd name="T5" fmla="*/ 277 h 311"/>
                <a:gd name="T6" fmla="*/ 62 w 257"/>
                <a:gd name="T7" fmla="*/ 311 h 311"/>
                <a:gd name="T8" fmla="*/ 206 w 257"/>
                <a:gd name="T9" fmla="*/ 300 h 311"/>
                <a:gd name="T10" fmla="*/ 246 w 257"/>
                <a:gd name="T11" fmla="*/ 277 h 311"/>
                <a:gd name="T12" fmla="*/ 257 w 257"/>
                <a:gd name="T13" fmla="*/ 132 h 311"/>
                <a:gd name="T14" fmla="*/ 72 w 257"/>
                <a:gd name="T15" fmla="*/ 289 h 311"/>
                <a:gd name="T16" fmla="*/ 185 w 257"/>
                <a:gd name="T17" fmla="*/ 227 h 311"/>
                <a:gd name="T18" fmla="*/ 72 w 257"/>
                <a:gd name="T19" fmla="*/ 289 h 311"/>
                <a:gd name="T20" fmla="*/ 206 w 257"/>
                <a:gd name="T21" fmla="*/ 256 h 311"/>
                <a:gd name="T22" fmla="*/ 196 w 257"/>
                <a:gd name="T23" fmla="*/ 206 h 311"/>
                <a:gd name="T24" fmla="*/ 51 w 257"/>
                <a:gd name="T25" fmla="*/ 216 h 311"/>
                <a:gd name="T26" fmla="*/ 22 w 257"/>
                <a:gd name="T27" fmla="*/ 256 h 311"/>
                <a:gd name="T28" fmla="*/ 235 w 257"/>
                <a:gd name="T29" fmla="*/ 143 h 311"/>
                <a:gd name="T30" fmla="*/ 161 w 257"/>
                <a:gd name="T31" fmla="*/ 172 h 311"/>
                <a:gd name="T32" fmla="*/ 193 w 257"/>
                <a:gd name="T33" fmla="*/ 161 h 311"/>
                <a:gd name="T34" fmla="*/ 193 w 257"/>
                <a:gd name="T35" fmla="*/ 183 h 311"/>
                <a:gd name="T36" fmla="*/ 161 w 257"/>
                <a:gd name="T37" fmla="*/ 172 h 311"/>
                <a:gd name="T38" fmla="*/ 8 w 257"/>
                <a:gd name="T39" fmla="*/ 95 h 311"/>
                <a:gd name="T40" fmla="*/ 80 w 257"/>
                <a:gd name="T41" fmla="*/ 95 h 311"/>
                <a:gd name="T42" fmla="*/ 84 w 257"/>
                <a:gd name="T43" fmla="*/ 66 h 311"/>
                <a:gd name="T44" fmla="*/ 127 w 257"/>
                <a:gd name="T45" fmla="*/ 60 h 311"/>
                <a:gd name="T46" fmla="*/ 165 w 257"/>
                <a:gd name="T47" fmla="*/ 65 h 311"/>
                <a:gd name="T48" fmla="*/ 173 w 257"/>
                <a:gd name="T49" fmla="*/ 87 h 311"/>
                <a:gd name="T50" fmla="*/ 209 w 257"/>
                <a:gd name="T51" fmla="*/ 106 h 311"/>
                <a:gd name="T52" fmla="*/ 249 w 257"/>
                <a:gd name="T53" fmla="*/ 95 h 311"/>
                <a:gd name="T54" fmla="*/ 254 w 257"/>
                <a:gd name="T55" fmla="*/ 90 h 311"/>
                <a:gd name="T56" fmla="*/ 256 w 257"/>
                <a:gd name="T57" fmla="*/ 61 h 311"/>
                <a:gd name="T58" fmla="*/ 130 w 257"/>
                <a:gd name="T59" fmla="*/ 1 h 311"/>
                <a:gd name="T60" fmla="*/ 17 w 257"/>
                <a:gd name="T61" fmla="*/ 32 h 311"/>
                <a:gd name="T62" fmla="*/ 1 w 257"/>
                <a:gd name="T63" fmla="*/ 66 h 311"/>
                <a:gd name="T64" fmla="*/ 6 w 257"/>
                <a:gd name="T65" fmla="*/ 94 h 311"/>
                <a:gd name="T66" fmla="*/ 22 w 257"/>
                <a:gd name="T67" fmla="*/ 62 h 311"/>
                <a:gd name="T68" fmla="*/ 127 w 257"/>
                <a:gd name="T69" fmla="*/ 23 h 311"/>
                <a:gd name="T70" fmla="*/ 130 w 257"/>
                <a:gd name="T71" fmla="*/ 23 h 311"/>
                <a:gd name="T72" fmla="*/ 235 w 257"/>
                <a:gd name="T73" fmla="*/ 62 h 311"/>
                <a:gd name="T74" fmla="*/ 235 w 257"/>
                <a:gd name="T75" fmla="*/ 79 h 311"/>
                <a:gd name="T76" fmla="*/ 195 w 257"/>
                <a:gd name="T77" fmla="*/ 57 h 311"/>
                <a:gd name="T78" fmla="*/ 169 w 257"/>
                <a:gd name="T79" fmla="*/ 43 h 311"/>
                <a:gd name="T80" fmla="*/ 127 w 257"/>
                <a:gd name="T81" fmla="*/ 39 h 311"/>
                <a:gd name="T82" fmla="*/ 72 w 257"/>
                <a:gd name="T83" fmla="*/ 46 h 311"/>
                <a:gd name="T84" fmla="*/ 63 w 257"/>
                <a:gd name="T85" fmla="*/ 81 h 311"/>
                <a:gd name="T86" fmla="*/ 22 w 257"/>
                <a:gd name="T87" fmla="*/ 66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7" h="311">
                  <a:moveTo>
                    <a:pt x="246" y="122"/>
                  </a:moveTo>
                  <a:cubicBezTo>
                    <a:pt x="11" y="122"/>
                    <a:pt x="11" y="122"/>
                    <a:pt x="11" y="122"/>
                  </a:cubicBezTo>
                  <a:cubicBezTo>
                    <a:pt x="5" y="122"/>
                    <a:pt x="1" y="126"/>
                    <a:pt x="1" y="132"/>
                  </a:cubicBezTo>
                  <a:cubicBezTo>
                    <a:pt x="1" y="266"/>
                    <a:pt x="1" y="266"/>
                    <a:pt x="1" y="266"/>
                  </a:cubicBezTo>
                  <a:cubicBezTo>
                    <a:pt x="1" y="272"/>
                    <a:pt x="5" y="277"/>
                    <a:pt x="11" y="277"/>
                  </a:cubicBezTo>
                  <a:cubicBezTo>
                    <a:pt x="51" y="277"/>
                    <a:pt x="51" y="277"/>
                    <a:pt x="51" y="277"/>
                  </a:cubicBezTo>
                  <a:cubicBezTo>
                    <a:pt x="51" y="300"/>
                    <a:pt x="51" y="300"/>
                    <a:pt x="51" y="300"/>
                  </a:cubicBezTo>
                  <a:cubicBezTo>
                    <a:pt x="51" y="306"/>
                    <a:pt x="56" y="311"/>
                    <a:pt x="62" y="311"/>
                  </a:cubicBezTo>
                  <a:cubicBezTo>
                    <a:pt x="196" y="311"/>
                    <a:pt x="196" y="311"/>
                    <a:pt x="196" y="311"/>
                  </a:cubicBezTo>
                  <a:cubicBezTo>
                    <a:pt x="202" y="311"/>
                    <a:pt x="206" y="306"/>
                    <a:pt x="206" y="300"/>
                  </a:cubicBezTo>
                  <a:cubicBezTo>
                    <a:pt x="206" y="277"/>
                    <a:pt x="206" y="277"/>
                    <a:pt x="206" y="277"/>
                  </a:cubicBezTo>
                  <a:cubicBezTo>
                    <a:pt x="246" y="277"/>
                    <a:pt x="246" y="277"/>
                    <a:pt x="246" y="277"/>
                  </a:cubicBezTo>
                  <a:cubicBezTo>
                    <a:pt x="252" y="277"/>
                    <a:pt x="257" y="272"/>
                    <a:pt x="257" y="266"/>
                  </a:cubicBezTo>
                  <a:cubicBezTo>
                    <a:pt x="257" y="132"/>
                    <a:pt x="257" y="132"/>
                    <a:pt x="257" y="132"/>
                  </a:cubicBezTo>
                  <a:cubicBezTo>
                    <a:pt x="257" y="126"/>
                    <a:pt x="252" y="122"/>
                    <a:pt x="246" y="122"/>
                  </a:cubicBezTo>
                  <a:close/>
                  <a:moveTo>
                    <a:pt x="72" y="289"/>
                  </a:moveTo>
                  <a:cubicBezTo>
                    <a:pt x="72" y="227"/>
                    <a:pt x="72" y="227"/>
                    <a:pt x="72" y="227"/>
                  </a:cubicBezTo>
                  <a:cubicBezTo>
                    <a:pt x="185" y="227"/>
                    <a:pt x="185" y="227"/>
                    <a:pt x="185" y="227"/>
                  </a:cubicBezTo>
                  <a:cubicBezTo>
                    <a:pt x="185" y="289"/>
                    <a:pt x="185" y="289"/>
                    <a:pt x="185" y="289"/>
                  </a:cubicBezTo>
                  <a:lnTo>
                    <a:pt x="72" y="289"/>
                  </a:lnTo>
                  <a:close/>
                  <a:moveTo>
                    <a:pt x="235" y="256"/>
                  </a:moveTo>
                  <a:cubicBezTo>
                    <a:pt x="206" y="256"/>
                    <a:pt x="206" y="256"/>
                    <a:pt x="206" y="256"/>
                  </a:cubicBezTo>
                  <a:cubicBezTo>
                    <a:pt x="206" y="216"/>
                    <a:pt x="206" y="216"/>
                    <a:pt x="206" y="216"/>
                  </a:cubicBezTo>
                  <a:cubicBezTo>
                    <a:pt x="206" y="210"/>
                    <a:pt x="202" y="206"/>
                    <a:pt x="196" y="206"/>
                  </a:cubicBezTo>
                  <a:cubicBezTo>
                    <a:pt x="62" y="206"/>
                    <a:pt x="62" y="206"/>
                    <a:pt x="62" y="206"/>
                  </a:cubicBezTo>
                  <a:cubicBezTo>
                    <a:pt x="56" y="206"/>
                    <a:pt x="51" y="210"/>
                    <a:pt x="51" y="216"/>
                  </a:cubicBezTo>
                  <a:cubicBezTo>
                    <a:pt x="51" y="256"/>
                    <a:pt x="51" y="256"/>
                    <a:pt x="51" y="256"/>
                  </a:cubicBezTo>
                  <a:cubicBezTo>
                    <a:pt x="22" y="256"/>
                    <a:pt x="22" y="256"/>
                    <a:pt x="22" y="256"/>
                  </a:cubicBezTo>
                  <a:cubicBezTo>
                    <a:pt x="22" y="143"/>
                    <a:pt x="22" y="143"/>
                    <a:pt x="22" y="143"/>
                  </a:cubicBezTo>
                  <a:cubicBezTo>
                    <a:pt x="235" y="143"/>
                    <a:pt x="235" y="143"/>
                    <a:pt x="235" y="143"/>
                  </a:cubicBezTo>
                  <a:lnTo>
                    <a:pt x="235" y="256"/>
                  </a:lnTo>
                  <a:close/>
                  <a:moveTo>
                    <a:pt x="161" y="172"/>
                  </a:moveTo>
                  <a:cubicBezTo>
                    <a:pt x="161" y="166"/>
                    <a:pt x="165" y="161"/>
                    <a:pt x="171" y="161"/>
                  </a:cubicBezTo>
                  <a:cubicBezTo>
                    <a:pt x="193" y="161"/>
                    <a:pt x="193" y="161"/>
                    <a:pt x="193" y="161"/>
                  </a:cubicBezTo>
                  <a:cubicBezTo>
                    <a:pt x="199" y="161"/>
                    <a:pt x="203" y="166"/>
                    <a:pt x="203" y="172"/>
                  </a:cubicBezTo>
                  <a:cubicBezTo>
                    <a:pt x="203" y="178"/>
                    <a:pt x="199" y="183"/>
                    <a:pt x="193" y="183"/>
                  </a:cubicBezTo>
                  <a:cubicBezTo>
                    <a:pt x="171" y="183"/>
                    <a:pt x="171" y="183"/>
                    <a:pt x="171" y="183"/>
                  </a:cubicBezTo>
                  <a:cubicBezTo>
                    <a:pt x="165" y="183"/>
                    <a:pt x="161" y="178"/>
                    <a:pt x="161" y="172"/>
                  </a:cubicBezTo>
                  <a:close/>
                  <a:moveTo>
                    <a:pt x="6" y="94"/>
                  </a:moveTo>
                  <a:cubicBezTo>
                    <a:pt x="8" y="95"/>
                    <a:pt x="8" y="95"/>
                    <a:pt x="8" y="95"/>
                  </a:cubicBezTo>
                  <a:cubicBezTo>
                    <a:pt x="8" y="95"/>
                    <a:pt x="8" y="95"/>
                    <a:pt x="8" y="95"/>
                  </a:cubicBezTo>
                  <a:cubicBezTo>
                    <a:pt x="16" y="100"/>
                    <a:pt x="55" y="117"/>
                    <a:pt x="80" y="95"/>
                  </a:cubicBezTo>
                  <a:cubicBezTo>
                    <a:pt x="83" y="93"/>
                    <a:pt x="84" y="90"/>
                    <a:pt x="84" y="87"/>
                  </a:cubicBezTo>
                  <a:cubicBezTo>
                    <a:pt x="84" y="66"/>
                    <a:pt x="84" y="66"/>
                    <a:pt x="84" y="66"/>
                  </a:cubicBezTo>
                  <a:cubicBezTo>
                    <a:pt x="87" y="65"/>
                    <a:pt x="89" y="65"/>
                    <a:pt x="92" y="65"/>
                  </a:cubicBezTo>
                  <a:cubicBezTo>
                    <a:pt x="106" y="62"/>
                    <a:pt x="117" y="60"/>
                    <a:pt x="127" y="60"/>
                  </a:cubicBezTo>
                  <a:cubicBezTo>
                    <a:pt x="131" y="60"/>
                    <a:pt x="131" y="60"/>
                    <a:pt x="131" y="60"/>
                  </a:cubicBezTo>
                  <a:cubicBezTo>
                    <a:pt x="140" y="60"/>
                    <a:pt x="151" y="62"/>
                    <a:pt x="165" y="65"/>
                  </a:cubicBezTo>
                  <a:cubicBezTo>
                    <a:pt x="168" y="65"/>
                    <a:pt x="171" y="65"/>
                    <a:pt x="173" y="66"/>
                  </a:cubicBezTo>
                  <a:cubicBezTo>
                    <a:pt x="173" y="87"/>
                    <a:pt x="173" y="87"/>
                    <a:pt x="173" y="87"/>
                  </a:cubicBezTo>
                  <a:cubicBezTo>
                    <a:pt x="173" y="90"/>
                    <a:pt x="175" y="93"/>
                    <a:pt x="177" y="95"/>
                  </a:cubicBezTo>
                  <a:cubicBezTo>
                    <a:pt x="187" y="103"/>
                    <a:pt x="198" y="106"/>
                    <a:pt x="209" y="106"/>
                  </a:cubicBezTo>
                  <a:cubicBezTo>
                    <a:pt x="228" y="106"/>
                    <a:pt x="245" y="98"/>
                    <a:pt x="249" y="95"/>
                  </a:cubicBezTo>
                  <a:cubicBezTo>
                    <a:pt x="249" y="95"/>
                    <a:pt x="249" y="95"/>
                    <a:pt x="249" y="95"/>
                  </a:cubicBezTo>
                  <a:cubicBezTo>
                    <a:pt x="251" y="94"/>
                    <a:pt x="251" y="94"/>
                    <a:pt x="251" y="94"/>
                  </a:cubicBezTo>
                  <a:cubicBezTo>
                    <a:pt x="252" y="93"/>
                    <a:pt x="253" y="92"/>
                    <a:pt x="254" y="90"/>
                  </a:cubicBezTo>
                  <a:cubicBezTo>
                    <a:pt x="257" y="84"/>
                    <a:pt x="257" y="76"/>
                    <a:pt x="257" y="66"/>
                  </a:cubicBezTo>
                  <a:cubicBezTo>
                    <a:pt x="256" y="61"/>
                    <a:pt x="256" y="61"/>
                    <a:pt x="256" y="61"/>
                  </a:cubicBezTo>
                  <a:cubicBezTo>
                    <a:pt x="256" y="50"/>
                    <a:pt x="255" y="41"/>
                    <a:pt x="241" y="32"/>
                  </a:cubicBezTo>
                  <a:cubicBezTo>
                    <a:pt x="239" y="31"/>
                    <a:pt x="197" y="0"/>
                    <a:pt x="130" y="1"/>
                  </a:cubicBezTo>
                  <a:cubicBezTo>
                    <a:pt x="127" y="1"/>
                    <a:pt x="127" y="1"/>
                    <a:pt x="127" y="1"/>
                  </a:cubicBezTo>
                  <a:cubicBezTo>
                    <a:pt x="60" y="0"/>
                    <a:pt x="18" y="31"/>
                    <a:pt x="17" y="32"/>
                  </a:cubicBezTo>
                  <a:cubicBezTo>
                    <a:pt x="2" y="41"/>
                    <a:pt x="1" y="50"/>
                    <a:pt x="1" y="61"/>
                  </a:cubicBezTo>
                  <a:cubicBezTo>
                    <a:pt x="1" y="66"/>
                    <a:pt x="1" y="66"/>
                    <a:pt x="1" y="66"/>
                  </a:cubicBezTo>
                  <a:cubicBezTo>
                    <a:pt x="0" y="76"/>
                    <a:pt x="0" y="84"/>
                    <a:pt x="4" y="90"/>
                  </a:cubicBezTo>
                  <a:cubicBezTo>
                    <a:pt x="4" y="92"/>
                    <a:pt x="5" y="93"/>
                    <a:pt x="6" y="94"/>
                  </a:cubicBezTo>
                  <a:close/>
                  <a:moveTo>
                    <a:pt x="22" y="66"/>
                  </a:moveTo>
                  <a:cubicBezTo>
                    <a:pt x="22" y="62"/>
                    <a:pt x="22" y="62"/>
                    <a:pt x="22" y="62"/>
                  </a:cubicBezTo>
                  <a:cubicBezTo>
                    <a:pt x="22" y="55"/>
                    <a:pt x="22" y="54"/>
                    <a:pt x="29" y="49"/>
                  </a:cubicBezTo>
                  <a:cubicBezTo>
                    <a:pt x="30" y="49"/>
                    <a:pt x="68" y="21"/>
                    <a:pt x="127" y="23"/>
                  </a:cubicBezTo>
                  <a:cubicBezTo>
                    <a:pt x="127" y="23"/>
                    <a:pt x="127" y="23"/>
                    <a:pt x="127" y="23"/>
                  </a:cubicBezTo>
                  <a:cubicBezTo>
                    <a:pt x="130" y="23"/>
                    <a:pt x="130" y="23"/>
                    <a:pt x="130" y="23"/>
                  </a:cubicBezTo>
                  <a:cubicBezTo>
                    <a:pt x="189" y="21"/>
                    <a:pt x="228" y="49"/>
                    <a:pt x="229" y="50"/>
                  </a:cubicBezTo>
                  <a:cubicBezTo>
                    <a:pt x="235" y="54"/>
                    <a:pt x="235" y="55"/>
                    <a:pt x="235" y="62"/>
                  </a:cubicBezTo>
                  <a:cubicBezTo>
                    <a:pt x="235" y="66"/>
                    <a:pt x="235" y="66"/>
                    <a:pt x="235" y="66"/>
                  </a:cubicBezTo>
                  <a:cubicBezTo>
                    <a:pt x="235" y="70"/>
                    <a:pt x="235" y="75"/>
                    <a:pt x="235" y="79"/>
                  </a:cubicBezTo>
                  <a:cubicBezTo>
                    <a:pt x="229" y="82"/>
                    <a:pt x="209" y="90"/>
                    <a:pt x="195" y="81"/>
                  </a:cubicBezTo>
                  <a:cubicBezTo>
                    <a:pt x="195" y="57"/>
                    <a:pt x="195" y="57"/>
                    <a:pt x="195" y="57"/>
                  </a:cubicBezTo>
                  <a:cubicBezTo>
                    <a:pt x="195" y="52"/>
                    <a:pt x="191" y="47"/>
                    <a:pt x="186" y="46"/>
                  </a:cubicBezTo>
                  <a:cubicBezTo>
                    <a:pt x="180" y="45"/>
                    <a:pt x="174" y="44"/>
                    <a:pt x="169" y="43"/>
                  </a:cubicBezTo>
                  <a:cubicBezTo>
                    <a:pt x="155" y="41"/>
                    <a:pt x="142" y="39"/>
                    <a:pt x="131" y="39"/>
                  </a:cubicBezTo>
                  <a:cubicBezTo>
                    <a:pt x="127" y="39"/>
                    <a:pt x="127" y="39"/>
                    <a:pt x="127" y="39"/>
                  </a:cubicBezTo>
                  <a:cubicBezTo>
                    <a:pt x="115" y="39"/>
                    <a:pt x="103" y="41"/>
                    <a:pt x="88" y="43"/>
                  </a:cubicBezTo>
                  <a:cubicBezTo>
                    <a:pt x="83" y="44"/>
                    <a:pt x="78" y="45"/>
                    <a:pt x="72" y="46"/>
                  </a:cubicBezTo>
                  <a:cubicBezTo>
                    <a:pt x="67" y="47"/>
                    <a:pt x="63" y="52"/>
                    <a:pt x="63" y="57"/>
                  </a:cubicBezTo>
                  <a:cubicBezTo>
                    <a:pt x="63" y="81"/>
                    <a:pt x="63" y="81"/>
                    <a:pt x="63" y="81"/>
                  </a:cubicBezTo>
                  <a:cubicBezTo>
                    <a:pt x="49" y="90"/>
                    <a:pt x="29" y="82"/>
                    <a:pt x="22" y="79"/>
                  </a:cubicBezTo>
                  <a:cubicBezTo>
                    <a:pt x="22" y="75"/>
                    <a:pt x="22" y="70"/>
                    <a:pt x="22" y="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76" name="Freeform 404">
            <a:extLst>
              <a:ext uri="{FF2B5EF4-FFF2-40B4-BE49-F238E27FC236}">
                <a16:creationId xmlns:a16="http://schemas.microsoft.com/office/drawing/2014/main" id="{92E1F11E-6470-4F93-B951-E419E063D294}"/>
              </a:ext>
            </a:extLst>
          </p:cNvPr>
          <p:cNvSpPr>
            <a:spLocks noChangeAspect="1" noEditPoints="1"/>
          </p:cNvSpPr>
          <p:nvPr/>
        </p:nvSpPr>
        <p:spPr bwMode="auto">
          <a:xfrm>
            <a:off x="5707532" y="330268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5 w 512"/>
              <a:gd name="T11" fmla="*/ 370 h 512"/>
              <a:gd name="T12" fmla="*/ 263 w 512"/>
              <a:gd name="T13" fmla="*/ 402 h 512"/>
              <a:gd name="T14" fmla="*/ 260 w 512"/>
              <a:gd name="T15" fmla="*/ 404 h 512"/>
              <a:gd name="T16" fmla="*/ 256 w 512"/>
              <a:gd name="T17" fmla="*/ 405 h 512"/>
              <a:gd name="T18" fmla="*/ 252 w 512"/>
              <a:gd name="T19" fmla="*/ 404 h 512"/>
              <a:gd name="T20" fmla="*/ 248 w 512"/>
              <a:gd name="T21" fmla="*/ 402 h 512"/>
              <a:gd name="T22" fmla="*/ 216 w 512"/>
              <a:gd name="T23" fmla="*/ 370 h 512"/>
              <a:gd name="T24" fmla="*/ 216 w 512"/>
              <a:gd name="T25" fmla="*/ 355 h 512"/>
              <a:gd name="T26" fmla="*/ 231 w 512"/>
              <a:gd name="T27" fmla="*/ 355 h 512"/>
              <a:gd name="T28" fmla="*/ 245 w 512"/>
              <a:gd name="T29" fmla="*/ 369 h 512"/>
              <a:gd name="T30" fmla="*/ 245 w 512"/>
              <a:gd name="T31" fmla="*/ 245 h 512"/>
              <a:gd name="T32" fmla="*/ 256 w 512"/>
              <a:gd name="T33" fmla="*/ 234 h 512"/>
              <a:gd name="T34" fmla="*/ 266 w 512"/>
              <a:gd name="T35" fmla="*/ 245 h 512"/>
              <a:gd name="T36" fmla="*/ 266 w 512"/>
              <a:gd name="T37" fmla="*/ 369 h 512"/>
              <a:gd name="T38" fmla="*/ 280 w 512"/>
              <a:gd name="T39" fmla="*/ 355 h 512"/>
              <a:gd name="T40" fmla="*/ 295 w 512"/>
              <a:gd name="T41" fmla="*/ 355 h 512"/>
              <a:gd name="T42" fmla="*/ 295 w 512"/>
              <a:gd name="T43" fmla="*/ 370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370"/>
                </a:moveTo>
                <a:cubicBezTo>
                  <a:pt x="263" y="402"/>
                  <a:pt x="263" y="402"/>
                  <a:pt x="263" y="402"/>
                </a:cubicBezTo>
                <a:cubicBezTo>
                  <a:pt x="262" y="403"/>
                  <a:pt x="261" y="404"/>
                  <a:pt x="260" y="404"/>
                </a:cubicBezTo>
                <a:cubicBezTo>
                  <a:pt x="258" y="405"/>
                  <a:pt x="257" y="405"/>
                  <a:pt x="256" y="405"/>
                </a:cubicBezTo>
                <a:cubicBezTo>
                  <a:pt x="254" y="405"/>
                  <a:pt x="253" y="405"/>
                  <a:pt x="252" y="404"/>
                </a:cubicBezTo>
                <a:cubicBezTo>
                  <a:pt x="250" y="404"/>
                  <a:pt x="249" y="403"/>
                  <a:pt x="248" y="402"/>
                </a:cubicBezTo>
                <a:cubicBezTo>
                  <a:pt x="216" y="370"/>
                  <a:pt x="216" y="370"/>
                  <a:pt x="216" y="370"/>
                </a:cubicBezTo>
                <a:cubicBezTo>
                  <a:pt x="212" y="366"/>
                  <a:pt x="212" y="359"/>
                  <a:pt x="216" y="355"/>
                </a:cubicBezTo>
                <a:cubicBezTo>
                  <a:pt x="220" y="351"/>
                  <a:pt x="227" y="351"/>
                  <a:pt x="231" y="355"/>
                </a:cubicBezTo>
                <a:cubicBezTo>
                  <a:pt x="245" y="369"/>
                  <a:pt x="245" y="369"/>
                  <a:pt x="245" y="369"/>
                </a:cubicBezTo>
                <a:cubicBezTo>
                  <a:pt x="245" y="245"/>
                  <a:pt x="245" y="245"/>
                  <a:pt x="245" y="245"/>
                </a:cubicBezTo>
                <a:cubicBezTo>
                  <a:pt x="245" y="239"/>
                  <a:pt x="250" y="234"/>
                  <a:pt x="256" y="234"/>
                </a:cubicBezTo>
                <a:cubicBezTo>
                  <a:pt x="262" y="234"/>
                  <a:pt x="266" y="239"/>
                  <a:pt x="266" y="245"/>
                </a:cubicBezTo>
                <a:cubicBezTo>
                  <a:pt x="266" y="369"/>
                  <a:pt x="266" y="369"/>
                  <a:pt x="266" y="369"/>
                </a:cubicBezTo>
                <a:cubicBezTo>
                  <a:pt x="280" y="355"/>
                  <a:pt x="280" y="355"/>
                  <a:pt x="280" y="355"/>
                </a:cubicBezTo>
                <a:cubicBezTo>
                  <a:pt x="284" y="351"/>
                  <a:pt x="291" y="351"/>
                  <a:pt x="295" y="355"/>
                </a:cubicBezTo>
                <a:cubicBezTo>
                  <a:pt x="299" y="359"/>
                  <a:pt x="299" y="366"/>
                  <a:pt x="295" y="370"/>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77" name="Group 407">
            <a:extLst>
              <a:ext uri="{FF2B5EF4-FFF2-40B4-BE49-F238E27FC236}">
                <a16:creationId xmlns:a16="http://schemas.microsoft.com/office/drawing/2014/main" id="{5841B2D8-B138-4DCD-9522-D876AF25FDC5}"/>
              </a:ext>
            </a:extLst>
          </p:cNvPr>
          <p:cNvGrpSpPr>
            <a:grpSpLocks noChangeAspect="1"/>
          </p:cNvGrpSpPr>
          <p:nvPr/>
        </p:nvGrpSpPr>
        <p:grpSpPr bwMode="auto">
          <a:xfrm>
            <a:off x="6142703" y="3302682"/>
            <a:ext cx="368713" cy="368713"/>
            <a:chOff x="1898" y="1602"/>
            <a:chExt cx="341" cy="341"/>
          </a:xfrm>
          <a:solidFill>
            <a:schemeClr val="accent5"/>
          </a:solidFill>
        </p:grpSpPr>
        <p:sp>
          <p:nvSpPr>
            <p:cNvPr id="678" name="Freeform 408">
              <a:extLst>
                <a:ext uri="{FF2B5EF4-FFF2-40B4-BE49-F238E27FC236}">
                  <a16:creationId xmlns:a16="http://schemas.microsoft.com/office/drawing/2014/main" id="{2E68E82A-F834-4C61-B065-D7E5929DA88C}"/>
                </a:ext>
              </a:extLst>
            </p:cNvPr>
            <p:cNvSpPr>
              <a:spLocks noEditPoints="1"/>
            </p:cNvSpPr>
            <p:nvPr/>
          </p:nvSpPr>
          <p:spPr bwMode="auto">
            <a:xfrm>
              <a:off x="1898" y="1602"/>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9" name="Freeform 409">
              <a:extLst>
                <a:ext uri="{FF2B5EF4-FFF2-40B4-BE49-F238E27FC236}">
                  <a16:creationId xmlns:a16="http://schemas.microsoft.com/office/drawing/2014/main" id="{10B4CB58-F5B6-4C78-BFD6-4D515B90E97C}"/>
                </a:ext>
              </a:extLst>
            </p:cNvPr>
            <p:cNvSpPr>
              <a:spLocks noEditPoints="1"/>
            </p:cNvSpPr>
            <p:nvPr/>
          </p:nvSpPr>
          <p:spPr bwMode="auto">
            <a:xfrm>
              <a:off x="1962" y="1687"/>
              <a:ext cx="213" cy="185"/>
            </a:xfrm>
            <a:custGeom>
              <a:avLst/>
              <a:gdLst>
                <a:gd name="T0" fmla="*/ 199 w 320"/>
                <a:gd name="T1" fmla="*/ 227 h 277"/>
                <a:gd name="T2" fmla="*/ 199 w 320"/>
                <a:gd name="T3" fmla="*/ 242 h 277"/>
                <a:gd name="T4" fmla="*/ 167 w 320"/>
                <a:gd name="T5" fmla="*/ 274 h 277"/>
                <a:gd name="T6" fmla="*/ 164 w 320"/>
                <a:gd name="T7" fmla="*/ 276 h 277"/>
                <a:gd name="T8" fmla="*/ 160 w 320"/>
                <a:gd name="T9" fmla="*/ 277 h 277"/>
                <a:gd name="T10" fmla="*/ 156 w 320"/>
                <a:gd name="T11" fmla="*/ 276 h 277"/>
                <a:gd name="T12" fmla="*/ 152 w 320"/>
                <a:gd name="T13" fmla="*/ 274 h 277"/>
                <a:gd name="T14" fmla="*/ 120 w 320"/>
                <a:gd name="T15" fmla="*/ 242 h 277"/>
                <a:gd name="T16" fmla="*/ 120 w 320"/>
                <a:gd name="T17" fmla="*/ 227 h 277"/>
                <a:gd name="T18" fmla="*/ 135 w 320"/>
                <a:gd name="T19" fmla="*/ 227 h 277"/>
                <a:gd name="T20" fmla="*/ 149 w 320"/>
                <a:gd name="T21" fmla="*/ 241 h 277"/>
                <a:gd name="T22" fmla="*/ 149 w 320"/>
                <a:gd name="T23" fmla="*/ 117 h 277"/>
                <a:gd name="T24" fmla="*/ 160 w 320"/>
                <a:gd name="T25" fmla="*/ 106 h 277"/>
                <a:gd name="T26" fmla="*/ 170 w 320"/>
                <a:gd name="T27" fmla="*/ 117 h 277"/>
                <a:gd name="T28" fmla="*/ 170 w 320"/>
                <a:gd name="T29" fmla="*/ 241 h 277"/>
                <a:gd name="T30" fmla="*/ 184 w 320"/>
                <a:gd name="T31" fmla="*/ 227 h 277"/>
                <a:gd name="T32" fmla="*/ 199 w 320"/>
                <a:gd name="T33" fmla="*/ 227 h 277"/>
                <a:gd name="T34" fmla="*/ 266 w 320"/>
                <a:gd name="T35" fmla="*/ 85 h 277"/>
                <a:gd name="T36" fmla="*/ 262 w 320"/>
                <a:gd name="T37" fmla="*/ 85 h 277"/>
                <a:gd name="T38" fmla="*/ 176 w 320"/>
                <a:gd name="T39" fmla="*/ 0 h 277"/>
                <a:gd name="T40" fmla="*/ 94 w 320"/>
                <a:gd name="T41" fmla="*/ 55 h 277"/>
                <a:gd name="T42" fmla="*/ 71 w 320"/>
                <a:gd name="T43" fmla="*/ 50 h 277"/>
                <a:gd name="T44" fmla="*/ 0 w 320"/>
                <a:gd name="T45" fmla="*/ 121 h 277"/>
                <a:gd name="T46" fmla="*/ 71 w 320"/>
                <a:gd name="T47" fmla="*/ 192 h 277"/>
                <a:gd name="T48" fmla="*/ 106 w 320"/>
                <a:gd name="T49" fmla="*/ 192 h 277"/>
                <a:gd name="T50" fmla="*/ 117 w 320"/>
                <a:gd name="T51" fmla="*/ 181 h 277"/>
                <a:gd name="T52" fmla="*/ 106 w 320"/>
                <a:gd name="T53" fmla="*/ 170 h 277"/>
                <a:gd name="T54" fmla="*/ 71 w 320"/>
                <a:gd name="T55" fmla="*/ 170 h 277"/>
                <a:gd name="T56" fmla="*/ 21 w 320"/>
                <a:gd name="T57" fmla="*/ 121 h 277"/>
                <a:gd name="T58" fmla="*/ 71 w 320"/>
                <a:gd name="T59" fmla="*/ 71 h 277"/>
                <a:gd name="T60" fmla="*/ 95 w 320"/>
                <a:gd name="T61" fmla="*/ 79 h 277"/>
                <a:gd name="T62" fmla="*/ 105 w 320"/>
                <a:gd name="T63" fmla="*/ 80 h 277"/>
                <a:gd name="T64" fmla="*/ 111 w 320"/>
                <a:gd name="T65" fmla="*/ 73 h 277"/>
                <a:gd name="T66" fmla="*/ 176 w 320"/>
                <a:gd name="T67" fmla="*/ 21 h 277"/>
                <a:gd name="T68" fmla="*/ 241 w 320"/>
                <a:gd name="T69" fmla="*/ 86 h 277"/>
                <a:gd name="T70" fmla="*/ 240 w 320"/>
                <a:gd name="T71" fmla="*/ 94 h 277"/>
                <a:gd name="T72" fmla="*/ 239 w 320"/>
                <a:gd name="T73" fmla="*/ 99 h 277"/>
                <a:gd name="T74" fmla="*/ 243 w 320"/>
                <a:gd name="T75" fmla="*/ 109 h 277"/>
                <a:gd name="T76" fmla="*/ 255 w 320"/>
                <a:gd name="T77" fmla="*/ 110 h 277"/>
                <a:gd name="T78" fmla="*/ 266 w 320"/>
                <a:gd name="T79" fmla="*/ 106 h 277"/>
                <a:gd name="T80" fmla="*/ 298 w 320"/>
                <a:gd name="T81" fmla="*/ 138 h 277"/>
                <a:gd name="T82" fmla="*/ 266 w 320"/>
                <a:gd name="T83" fmla="*/ 170 h 277"/>
                <a:gd name="T84" fmla="*/ 213 w 320"/>
                <a:gd name="T85" fmla="*/ 170 h 277"/>
                <a:gd name="T86" fmla="*/ 202 w 320"/>
                <a:gd name="T87" fmla="*/ 181 h 277"/>
                <a:gd name="T88" fmla="*/ 213 w 320"/>
                <a:gd name="T89" fmla="*/ 192 h 277"/>
                <a:gd name="T90" fmla="*/ 266 w 320"/>
                <a:gd name="T91" fmla="*/ 192 h 277"/>
                <a:gd name="T92" fmla="*/ 320 w 320"/>
                <a:gd name="T93" fmla="*/ 138 h 277"/>
                <a:gd name="T94" fmla="*/ 266 w 320"/>
                <a:gd name="T9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77">
                  <a:moveTo>
                    <a:pt x="199" y="227"/>
                  </a:moveTo>
                  <a:cubicBezTo>
                    <a:pt x="203" y="231"/>
                    <a:pt x="203" y="238"/>
                    <a:pt x="199" y="242"/>
                  </a:cubicBezTo>
                  <a:cubicBezTo>
                    <a:pt x="167" y="274"/>
                    <a:pt x="167" y="274"/>
                    <a:pt x="167" y="274"/>
                  </a:cubicBezTo>
                  <a:cubicBezTo>
                    <a:pt x="166" y="275"/>
                    <a:pt x="165" y="276"/>
                    <a:pt x="164" y="276"/>
                  </a:cubicBezTo>
                  <a:cubicBezTo>
                    <a:pt x="162" y="277"/>
                    <a:pt x="161" y="277"/>
                    <a:pt x="160" y="277"/>
                  </a:cubicBezTo>
                  <a:cubicBezTo>
                    <a:pt x="158" y="277"/>
                    <a:pt x="157" y="277"/>
                    <a:pt x="156" y="276"/>
                  </a:cubicBezTo>
                  <a:cubicBezTo>
                    <a:pt x="154" y="276"/>
                    <a:pt x="153" y="275"/>
                    <a:pt x="152" y="274"/>
                  </a:cubicBezTo>
                  <a:cubicBezTo>
                    <a:pt x="120" y="242"/>
                    <a:pt x="120" y="242"/>
                    <a:pt x="120" y="242"/>
                  </a:cubicBezTo>
                  <a:cubicBezTo>
                    <a:pt x="116" y="238"/>
                    <a:pt x="116" y="231"/>
                    <a:pt x="120" y="227"/>
                  </a:cubicBezTo>
                  <a:cubicBezTo>
                    <a:pt x="124" y="223"/>
                    <a:pt x="131" y="223"/>
                    <a:pt x="135" y="227"/>
                  </a:cubicBezTo>
                  <a:cubicBezTo>
                    <a:pt x="149" y="241"/>
                    <a:pt x="149" y="241"/>
                    <a:pt x="149" y="241"/>
                  </a:cubicBezTo>
                  <a:cubicBezTo>
                    <a:pt x="149" y="117"/>
                    <a:pt x="149" y="117"/>
                    <a:pt x="149" y="117"/>
                  </a:cubicBezTo>
                  <a:cubicBezTo>
                    <a:pt x="149" y="111"/>
                    <a:pt x="154" y="106"/>
                    <a:pt x="160" y="106"/>
                  </a:cubicBezTo>
                  <a:cubicBezTo>
                    <a:pt x="166" y="106"/>
                    <a:pt x="170" y="111"/>
                    <a:pt x="170" y="117"/>
                  </a:cubicBezTo>
                  <a:cubicBezTo>
                    <a:pt x="170" y="241"/>
                    <a:pt x="170" y="241"/>
                    <a:pt x="170" y="241"/>
                  </a:cubicBezTo>
                  <a:cubicBezTo>
                    <a:pt x="184" y="227"/>
                    <a:pt x="184" y="227"/>
                    <a:pt x="184" y="227"/>
                  </a:cubicBezTo>
                  <a:cubicBezTo>
                    <a:pt x="188" y="223"/>
                    <a:pt x="195" y="223"/>
                    <a:pt x="199" y="227"/>
                  </a:cubicBezTo>
                  <a:close/>
                  <a:moveTo>
                    <a:pt x="266" y="85"/>
                  </a:moveTo>
                  <a:cubicBezTo>
                    <a:pt x="265" y="85"/>
                    <a:pt x="264"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106" y="192"/>
                    <a:pt x="106" y="192"/>
                    <a:pt x="106" y="192"/>
                  </a:cubicBezTo>
                  <a:cubicBezTo>
                    <a:pt x="112" y="192"/>
                    <a:pt x="117" y="187"/>
                    <a:pt x="117" y="181"/>
                  </a:cubicBezTo>
                  <a:cubicBezTo>
                    <a:pt x="117" y="175"/>
                    <a:pt x="112" y="170"/>
                    <a:pt x="106" y="170"/>
                  </a:cubicBez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7"/>
                    <a:pt x="243" y="109"/>
                  </a:cubicBezTo>
                  <a:cubicBezTo>
                    <a:pt x="247" y="112"/>
                    <a:pt x="251" y="112"/>
                    <a:pt x="255" y="110"/>
                  </a:cubicBezTo>
                  <a:cubicBezTo>
                    <a:pt x="261" y="107"/>
                    <a:pt x="265" y="106"/>
                    <a:pt x="266" y="106"/>
                  </a:cubicBezTo>
                  <a:cubicBezTo>
                    <a:pt x="284" y="106"/>
                    <a:pt x="298" y="121"/>
                    <a:pt x="298" y="138"/>
                  </a:cubicBezTo>
                  <a:cubicBezTo>
                    <a:pt x="298" y="156"/>
                    <a:pt x="284" y="170"/>
                    <a:pt x="266" y="170"/>
                  </a:cubicBezTo>
                  <a:cubicBezTo>
                    <a:pt x="213" y="170"/>
                    <a:pt x="213" y="170"/>
                    <a:pt x="213" y="170"/>
                  </a:cubicBezTo>
                  <a:cubicBezTo>
                    <a:pt x="207" y="170"/>
                    <a:pt x="202" y="175"/>
                    <a:pt x="202" y="181"/>
                  </a:cubicBezTo>
                  <a:cubicBezTo>
                    <a:pt x="202" y="187"/>
                    <a:pt x="207" y="192"/>
                    <a:pt x="213" y="192"/>
                  </a:cubicBezTo>
                  <a:cubicBezTo>
                    <a:pt x="266" y="192"/>
                    <a:pt x="266" y="192"/>
                    <a:pt x="266" y="192"/>
                  </a:cubicBezTo>
                  <a:cubicBezTo>
                    <a:pt x="296" y="192"/>
                    <a:pt x="320" y="168"/>
                    <a:pt x="320" y="138"/>
                  </a:cubicBezTo>
                  <a:cubicBezTo>
                    <a:pt x="320" y="109"/>
                    <a:pt x="296" y="85"/>
                    <a:pt x="266"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80" name="Freeform 993">
            <a:extLst>
              <a:ext uri="{FF2B5EF4-FFF2-40B4-BE49-F238E27FC236}">
                <a16:creationId xmlns:a16="http://schemas.microsoft.com/office/drawing/2014/main" id="{AE00AA19-9E2C-4A90-B7AC-48795908FDB9}"/>
              </a:ext>
            </a:extLst>
          </p:cNvPr>
          <p:cNvSpPr>
            <a:spLocks noChangeAspect="1" noEditPoints="1"/>
          </p:cNvSpPr>
          <p:nvPr/>
        </p:nvSpPr>
        <p:spPr bwMode="auto">
          <a:xfrm>
            <a:off x="6578956" y="3302682"/>
            <a:ext cx="367041" cy="367041"/>
          </a:xfrm>
          <a:custGeom>
            <a:avLst/>
            <a:gdLst>
              <a:gd name="T0" fmla="*/ 202 w 512"/>
              <a:gd name="T1" fmla="*/ 266 h 512"/>
              <a:gd name="T2" fmla="*/ 245 w 512"/>
              <a:gd name="T3" fmla="*/ 202 h 512"/>
              <a:gd name="T4" fmla="*/ 160 w 512"/>
              <a:gd name="T5" fmla="*/ 160 h 512"/>
              <a:gd name="T6" fmla="*/ 394 w 512"/>
              <a:gd name="T7" fmla="*/ 341 h 512"/>
              <a:gd name="T8" fmla="*/ 158 w 512"/>
              <a:gd name="T9" fmla="*/ 352 h 512"/>
              <a:gd name="T10" fmla="*/ 160 w 512"/>
              <a:gd name="T11" fmla="*/ 160 h 512"/>
              <a:gd name="T12" fmla="*/ 298 w 512"/>
              <a:gd name="T13" fmla="*/ 202 h 512"/>
              <a:gd name="T14" fmla="*/ 373 w 512"/>
              <a:gd name="T15" fmla="*/ 192 h 512"/>
              <a:gd name="T16" fmla="*/ 298 w 512"/>
              <a:gd name="T17" fmla="*/ 181 h 512"/>
              <a:gd name="T18" fmla="*/ 288 w 512"/>
              <a:gd name="T19" fmla="*/ 234 h 512"/>
              <a:gd name="T20" fmla="*/ 362 w 512"/>
              <a:gd name="T21" fmla="*/ 245 h 512"/>
              <a:gd name="T22" fmla="*/ 362 w 512"/>
              <a:gd name="T23" fmla="*/ 224 h 512"/>
              <a:gd name="T24" fmla="*/ 288 w 512"/>
              <a:gd name="T25" fmla="*/ 234 h 512"/>
              <a:gd name="T26" fmla="*/ 298 w 512"/>
              <a:gd name="T27" fmla="*/ 288 h 512"/>
              <a:gd name="T28" fmla="*/ 373 w 512"/>
              <a:gd name="T29" fmla="*/ 277 h 512"/>
              <a:gd name="T30" fmla="*/ 298 w 512"/>
              <a:gd name="T31" fmla="*/ 266 h 512"/>
              <a:gd name="T32" fmla="*/ 288 w 512"/>
              <a:gd name="T33" fmla="*/ 320 h 512"/>
              <a:gd name="T34" fmla="*/ 362 w 512"/>
              <a:gd name="T35" fmla="*/ 330 h 512"/>
              <a:gd name="T36" fmla="*/ 362 w 512"/>
              <a:gd name="T37" fmla="*/ 309 h 512"/>
              <a:gd name="T38" fmla="*/ 288 w 512"/>
              <a:gd name="T39" fmla="*/ 320 h 512"/>
              <a:gd name="T40" fmla="*/ 192 w 512"/>
              <a:gd name="T41" fmla="*/ 288 h 512"/>
              <a:gd name="T42" fmla="*/ 266 w 512"/>
              <a:gd name="T43" fmla="*/ 277 h 512"/>
              <a:gd name="T44" fmla="*/ 256 w 512"/>
              <a:gd name="T45" fmla="*/ 181 h 512"/>
              <a:gd name="T46" fmla="*/ 181 w 512"/>
              <a:gd name="T47" fmla="*/ 192 h 512"/>
              <a:gd name="T48" fmla="*/ 181 w 512"/>
              <a:gd name="T49" fmla="*/ 320 h 512"/>
              <a:gd name="T50" fmla="*/ 256 w 512"/>
              <a:gd name="T51" fmla="*/ 330 h 512"/>
              <a:gd name="T52" fmla="*/ 256 w 512"/>
              <a:gd name="T53" fmla="*/ 309 h 512"/>
              <a:gd name="T54" fmla="*/ 181 w 512"/>
              <a:gd name="T55" fmla="*/ 320 h 512"/>
              <a:gd name="T56" fmla="*/ 256 w 512"/>
              <a:gd name="T57" fmla="*/ 512 h 512"/>
              <a:gd name="T58" fmla="*/ 256 w 512"/>
              <a:gd name="T59" fmla="*/ 0 h 512"/>
              <a:gd name="T60" fmla="*/ 416 w 512"/>
              <a:gd name="T61" fmla="*/ 149 h 512"/>
              <a:gd name="T62" fmla="*/ 149 w 512"/>
              <a:gd name="T63" fmla="*/ 138 h 512"/>
              <a:gd name="T64" fmla="*/ 138 w 512"/>
              <a:gd name="T65" fmla="*/ 341 h 512"/>
              <a:gd name="T66" fmla="*/ 117 w 512"/>
              <a:gd name="T67" fmla="*/ 341 h 512"/>
              <a:gd name="T68" fmla="*/ 106 w 512"/>
              <a:gd name="T69" fmla="*/ 138 h 512"/>
              <a:gd name="T70" fmla="*/ 96 w 512"/>
              <a:gd name="T71" fmla="*/ 341 h 512"/>
              <a:gd name="T72" fmla="*/ 384 w 512"/>
              <a:gd name="T73" fmla="*/ 373 h 512"/>
              <a:gd name="T74" fmla="*/ 416 w 512"/>
              <a:gd name="T75"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45" y="266"/>
                </a:moveTo>
                <a:cubicBezTo>
                  <a:pt x="202" y="266"/>
                  <a:pt x="202" y="266"/>
                  <a:pt x="202" y="266"/>
                </a:cubicBezTo>
                <a:cubicBezTo>
                  <a:pt x="202" y="202"/>
                  <a:pt x="202" y="202"/>
                  <a:pt x="202" y="202"/>
                </a:cubicBezTo>
                <a:cubicBezTo>
                  <a:pt x="245" y="202"/>
                  <a:pt x="245" y="202"/>
                  <a:pt x="245" y="202"/>
                </a:cubicBezTo>
                <a:lnTo>
                  <a:pt x="245" y="266"/>
                </a:lnTo>
                <a:close/>
                <a:moveTo>
                  <a:pt x="160" y="160"/>
                </a:moveTo>
                <a:cubicBezTo>
                  <a:pt x="394" y="160"/>
                  <a:pt x="394" y="160"/>
                  <a:pt x="394" y="160"/>
                </a:cubicBezTo>
                <a:cubicBezTo>
                  <a:pt x="394" y="341"/>
                  <a:pt x="394" y="341"/>
                  <a:pt x="394" y="341"/>
                </a:cubicBezTo>
                <a:cubicBezTo>
                  <a:pt x="394" y="347"/>
                  <a:pt x="390" y="352"/>
                  <a:pt x="384" y="352"/>
                </a:cubicBezTo>
                <a:cubicBezTo>
                  <a:pt x="158" y="352"/>
                  <a:pt x="158" y="352"/>
                  <a:pt x="158" y="352"/>
                </a:cubicBezTo>
                <a:cubicBezTo>
                  <a:pt x="159" y="348"/>
                  <a:pt x="160" y="345"/>
                  <a:pt x="160" y="341"/>
                </a:cubicBezTo>
                <a:lnTo>
                  <a:pt x="160" y="160"/>
                </a:lnTo>
                <a:close/>
                <a:moveTo>
                  <a:pt x="288" y="192"/>
                </a:moveTo>
                <a:cubicBezTo>
                  <a:pt x="288" y="198"/>
                  <a:pt x="292" y="202"/>
                  <a:pt x="298" y="202"/>
                </a:cubicBezTo>
                <a:cubicBezTo>
                  <a:pt x="362" y="202"/>
                  <a:pt x="362" y="202"/>
                  <a:pt x="362" y="202"/>
                </a:cubicBezTo>
                <a:cubicBezTo>
                  <a:pt x="368" y="202"/>
                  <a:pt x="373" y="198"/>
                  <a:pt x="373" y="192"/>
                </a:cubicBezTo>
                <a:cubicBezTo>
                  <a:pt x="373" y="186"/>
                  <a:pt x="368" y="181"/>
                  <a:pt x="362" y="181"/>
                </a:cubicBezTo>
                <a:cubicBezTo>
                  <a:pt x="298" y="181"/>
                  <a:pt x="298" y="181"/>
                  <a:pt x="298" y="181"/>
                </a:cubicBezTo>
                <a:cubicBezTo>
                  <a:pt x="292" y="181"/>
                  <a:pt x="288" y="186"/>
                  <a:pt x="288" y="192"/>
                </a:cubicBezTo>
                <a:close/>
                <a:moveTo>
                  <a:pt x="288" y="234"/>
                </a:moveTo>
                <a:cubicBezTo>
                  <a:pt x="288" y="240"/>
                  <a:pt x="292" y="245"/>
                  <a:pt x="298" y="245"/>
                </a:cubicBezTo>
                <a:cubicBezTo>
                  <a:pt x="362" y="245"/>
                  <a:pt x="362" y="245"/>
                  <a:pt x="362" y="245"/>
                </a:cubicBezTo>
                <a:cubicBezTo>
                  <a:pt x="368" y="245"/>
                  <a:pt x="373" y="240"/>
                  <a:pt x="373" y="234"/>
                </a:cubicBezTo>
                <a:cubicBezTo>
                  <a:pt x="373" y="228"/>
                  <a:pt x="368" y="224"/>
                  <a:pt x="362" y="224"/>
                </a:cubicBezTo>
                <a:cubicBezTo>
                  <a:pt x="298" y="224"/>
                  <a:pt x="298" y="224"/>
                  <a:pt x="298" y="224"/>
                </a:cubicBezTo>
                <a:cubicBezTo>
                  <a:pt x="292" y="224"/>
                  <a:pt x="288" y="228"/>
                  <a:pt x="288" y="234"/>
                </a:cubicBezTo>
                <a:close/>
                <a:moveTo>
                  <a:pt x="288" y="277"/>
                </a:moveTo>
                <a:cubicBezTo>
                  <a:pt x="288" y="283"/>
                  <a:pt x="292" y="288"/>
                  <a:pt x="298" y="288"/>
                </a:cubicBezTo>
                <a:cubicBezTo>
                  <a:pt x="362" y="288"/>
                  <a:pt x="362" y="288"/>
                  <a:pt x="362" y="288"/>
                </a:cubicBezTo>
                <a:cubicBezTo>
                  <a:pt x="368" y="288"/>
                  <a:pt x="373" y="283"/>
                  <a:pt x="373" y="277"/>
                </a:cubicBezTo>
                <a:cubicBezTo>
                  <a:pt x="373" y="271"/>
                  <a:pt x="368" y="266"/>
                  <a:pt x="362" y="266"/>
                </a:cubicBezTo>
                <a:cubicBezTo>
                  <a:pt x="298" y="266"/>
                  <a:pt x="298" y="266"/>
                  <a:pt x="298" y="266"/>
                </a:cubicBezTo>
                <a:cubicBezTo>
                  <a:pt x="292" y="266"/>
                  <a:pt x="288" y="271"/>
                  <a:pt x="288" y="277"/>
                </a:cubicBezTo>
                <a:close/>
                <a:moveTo>
                  <a:pt x="288" y="320"/>
                </a:moveTo>
                <a:cubicBezTo>
                  <a:pt x="288" y="326"/>
                  <a:pt x="292" y="330"/>
                  <a:pt x="298" y="330"/>
                </a:cubicBezTo>
                <a:cubicBezTo>
                  <a:pt x="362" y="330"/>
                  <a:pt x="362" y="330"/>
                  <a:pt x="362" y="330"/>
                </a:cubicBezTo>
                <a:cubicBezTo>
                  <a:pt x="368" y="330"/>
                  <a:pt x="373" y="326"/>
                  <a:pt x="373" y="320"/>
                </a:cubicBezTo>
                <a:cubicBezTo>
                  <a:pt x="373" y="314"/>
                  <a:pt x="368" y="309"/>
                  <a:pt x="362" y="309"/>
                </a:cubicBezTo>
                <a:cubicBezTo>
                  <a:pt x="298" y="309"/>
                  <a:pt x="298" y="309"/>
                  <a:pt x="298" y="309"/>
                </a:cubicBezTo>
                <a:cubicBezTo>
                  <a:pt x="292" y="309"/>
                  <a:pt x="288" y="314"/>
                  <a:pt x="288" y="320"/>
                </a:cubicBezTo>
                <a:close/>
                <a:moveTo>
                  <a:pt x="181" y="277"/>
                </a:moveTo>
                <a:cubicBezTo>
                  <a:pt x="181" y="283"/>
                  <a:pt x="186" y="288"/>
                  <a:pt x="192" y="288"/>
                </a:cubicBezTo>
                <a:cubicBezTo>
                  <a:pt x="256" y="288"/>
                  <a:pt x="256" y="288"/>
                  <a:pt x="256" y="288"/>
                </a:cubicBezTo>
                <a:cubicBezTo>
                  <a:pt x="262" y="288"/>
                  <a:pt x="266" y="283"/>
                  <a:pt x="266" y="277"/>
                </a:cubicBezTo>
                <a:cubicBezTo>
                  <a:pt x="266" y="192"/>
                  <a:pt x="266" y="192"/>
                  <a:pt x="266" y="192"/>
                </a:cubicBezTo>
                <a:cubicBezTo>
                  <a:pt x="266" y="186"/>
                  <a:pt x="262" y="181"/>
                  <a:pt x="256" y="181"/>
                </a:cubicBezTo>
                <a:cubicBezTo>
                  <a:pt x="192" y="181"/>
                  <a:pt x="192" y="181"/>
                  <a:pt x="192" y="181"/>
                </a:cubicBezTo>
                <a:cubicBezTo>
                  <a:pt x="186" y="181"/>
                  <a:pt x="181" y="186"/>
                  <a:pt x="181" y="192"/>
                </a:cubicBezTo>
                <a:lnTo>
                  <a:pt x="181" y="277"/>
                </a:lnTo>
                <a:close/>
                <a:moveTo>
                  <a:pt x="181" y="320"/>
                </a:moveTo>
                <a:cubicBezTo>
                  <a:pt x="181" y="326"/>
                  <a:pt x="186" y="330"/>
                  <a:pt x="192" y="330"/>
                </a:cubicBezTo>
                <a:cubicBezTo>
                  <a:pt x="256" y="330"/>
                  <a:pt x="256" y="330"/>
                  <a:pt x="256" y="330"/>
                </a:cubicBezTo>
                <a:cubicBezTo>
                  <a:pt x="262" y="330"/>
                  <a:pt x="266" y="326"/>
                  <a:pt x="266" y="320"/>
                </a:cubicBezTo>
                <a:cubicBezTo>
                  <a:pt x="266" y="314"/>
                  <a:pt x="262" y="309"/>
                  <a:pt x="256" y="309"/>
                </a:cubicBezTo>
                <a:cubicBezTo>
                  <a:pt x="192" y="309"/>
                  <a:pt x="192" y="309"/>
                  <a:pt x="192" y="309"/>
                </a:cubicBezTo>
                <a:cubicBezTo>
                  <a:pt x="186" y="309"/>
                  <a:pt x="181" y="314"/>
                  <a:pt x="181"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49" y="138"/>
                  <a:pt x="149" y="138"/>
                  <a:pt x="149" y="138"/>
                </a:cubicBezTo>
                <a:cubicBezTo>
                  <a:pt x="143" y="138"/>
                  <a:pt x="138" y="143"/>
                  <a:pt x="138" y="149"/>
                </a:cubicBezTo>
                <a:cubicBezTo>
                  <a:pt x="138" y="341"/>
                  <a:pt x="138" y="341"/>
                  <a:pt x="138" y="341"/>
                </a:cubicBezTo>
                <a:cubicBezTo>
                  <a:pt x="138" y="347"/>
                  <a:pt x="134" y="352"/>
                  <a:pt x="128" y="352"/>
                </a:cubicBezTo>
                <a:cubicBezTo>
                  <a:pt x="122" y="352"/>
                  <a:pt x="117" y="347"/>
                  <a:pt x="117" y="341"/>
                </a:cubicBezTo>
                <a:cubicBezTo>
                  <a:pt x="117" y="149"/>
                  <a:pt x="117" y="149"/>
                  <a:pt x="117" y="149"/>
                </a:cubicBezTo>
                <a:cubicBezTo>
                  <a:pt x="117" y="143"/>
                  <a:pt x="112" y="138"/>
                  <a:pt x="106" y="138"/>
                </a:cubicBezTo>
                <a:cubicBezTo>
                  <a:pt x="100" y="138"/>
                  <a:pt x="96" y="143"/>
                  <a:pt x="96" y="149"/>
                </a:cubicBezTo>
                <a:cubicBezTo>
                  <a:pt x="96" y="341"/>
                  <a:pt x="96" y="341"/>
                  <a:pt x="96" y="341"/>
                </a:cubicBezTo>
                <a:cubicBezTo>
                  <a:pt x="96" y="359"/>
                  <a:pt x="110" y="373"/>
                  <a:pt x="128" y="373"/>
                </a:cubicBezTo>
                <a:cubicBezTo>
                  <a:pt x="384" y="373"/>
                  <a:pt x="384" y="373"/>
                  <a:pt x="384" y="373"/>
                </a:cubicBezTo>
                <a:cubicBezTo>
                  <a:pt x="401" y="373"/>
                  <a:pt x="416" y="359"/>
                  <a:pt x="416" y="341"/>
                </a:cubicBezTo>
                <a:lnTo>
                  <a:pt x="416" y="14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81" name="Group 996">
            <a:extLst>
              <a:ext uri="{FF2B5EF4-FFF2-40B4-BE49-F238E27FC236}">
                <a16:creationId xmlns:a16="http://schemas.microsoft.com/office/drawing/2014/main" id="{00BEF3A8-9BD8-4739-9365-38DF6CE2B266}"/>
              </a:ext>
            </a:extLst>
          </p:cNvPr>
          <p:cNvGrpSpPr>
            <a:grpSpLocks noChangeAspect="1"/>
          </p:cNvGrpSpPr>
          <p:nvPr/>
        </p:nvGrpSpPr>
        <p:grpSpPr bwMode="auto">
          <a:xfrm>
            <a:off x="7013537" y="3302682"/>
            <a:ext cx="367041" cy="368121"/>
            <a:chOff x="3482" y="3998"/>
            <a:chExt cx="340" cy="341"/>
          </a:xfrm>
          <a:solidFill>
            <a:schemeClr val="accent5"/>
          </a:solidFill>
        </p:grpSpPr>
        <p:sp>
          <p:nvSpPr>
            <p:cNvPr id="682" name="Freeform 997">
              <a:extLst>
                <a:ext uri="{FF2B5EF4-FFF2-40B4-BE49-F238E27FC236}">
                  <a16:creationId xmlns:a16="http://schemas.microsoft.com/office/drawing/2014/main" id="{365D182F-2B4D-4315-AE38-1A12DD757C9E}"/>
                </a:ext>
              </a:extLst>
            </p:cNvPr>
            <p:cNvSpPr>
              <a:spLocks noEditPoints="1"/>
            </p:cNvSpPr>
            <p:nvPr/>
          </p:nvSpPr>
          <p:spPr bwMode="auto">
            <a:xfrm>
              <a:off x="3482" y="399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2" name="Freeform 998">
              <a:extLst>
                <a:ext uri="{FF2B5EF4-FFF2-40B4-BE49-F238E27FC236}">
                  <a16:creationId xmlns:a16="http://schemas.microsoft.com/office/drawing/2014/main" id="{F50F9622-A250-49E4-B41F-2F41FCED29FE}"/>
                </a:ext>
              </a:extLst>
            </p:cNvPr>
            <p:cNvSpPr>
              <a:spLocks noEditPoints="1"/>
            </p:cNvSpPr>
            <p:nvPr/>
          </p:nvSpPr>
          <p:spPr bwMode="auto">
            <a:xfrm>
              <a:off x="3546" y="4090"/>
              <a:ext cx="212" cy="156"/>
            </a:xfrm>
            <a:custGeom>
              <a:avLst/>
              <a:gdLst>
                <a:gd name="T0" fmla="*/ 96 w 320"/>
                <a:gd name="T1" fmla="*/ 43 h 235"/>
                <a:gd name="T2" fmla="*/ 85 w 320"/>
                <a:gd name="T3" fmla="*/ 139 h 235"/>
                <a:gd name="T4" fmla="*/ 160 w 320"/>
                <a:gd name="T5" fmla="*/ 150 h 235"/>
                <a:gd name="T6" fmla="*/ 170 w 320"/>
                <a:gd name="T7" fmla="*/ 54 h 235"/>
                <a:gd name="T8" fmla="*/ 149 w 320"/>
                <a:gd name="T9" fmla="*/ 128 h 235"/>
                <a:gd name="T10" fmla="*/ 106 w 320"/>
                <a:gd name="T11" fmla="*/ 64 h 235"/>
                <a:gd name="T12" fmla="*/ 149 w 320"/>
                <a:gd name="T13" fmla="*/ 128 h 235"/>
                <a:gd name="T14" fmla="*/ 266 w 320"/>
                <a:gd name="T15" fmla="*/ 64 h 235"/>
                <a:gd name="T16" fmla="*/ 192 w 320"/>
                <a:gd name="T17" fmla="*/ 54 h 235"/>
                <a:gd name="T18" fmla="*/ 266 w 320"/>
                <a:gd name="T19" fmla="*/ 43 h 235"/>
                <a:gd name="T20" fmla="*/ 277 w 320"/>
                <a:gd name="T21" fmla="*/ 96 h 235"/>
                <a:gd name="T22" fmla="*/ 202 w 320"/>
                <a:gd name="T23" fmla="*/ 107 h 235"/>
                <a:gd name="T24" fmla="*/ 202 w 320"/>
                <a:gd name="T25" fmla="*/ 86 h 235"/>
                <a:gd name="T26" fmla="*/ 277 w 320"/>
                <a:gd name="T27" fmla="*/ 96 h 235"/>
                <a:gd name="T28" fmla="*/ 266 w 320"/>
                <a:gd name="T29" fmla="*/ 150 h 235"/>
                <a:gd name="T30" fmla="*/ 192 w 320"/>
                <a:gd name="T31" fmla="*/ 139 h 235"/>
                <a:gd name="T32" fmla="*/ 266 w 320"/>
                <a:gd name="T33" fmla="*/ 128 h 235"/>
                <a:gd name="T34" fmla="*/ 277 w 320"/>
                <a:gd name="T35" fmla="*/ 182 h 235"/>
                <a:gd name="T36" fmla="*/ 202 w 320"/>
                <a:gd name="T37" fmla="*/ 192 h 235"/>
                <a:gd name="T38" fmla="*/ 202 w 320"/>
                <a:gd name="T39" fmla="*/ 171 h 235"/>
                <a:gd name="T40" fmla="*/ 277 w 320"/>
                <a:gd name="T41" fmla="*/ 182 h 235"/>
                <a:gd name="T42" fmla="*/ 160 w 320"/>
                <a:gd name="T43" fmla="*/ 192 h 235"/>
                <a:gd name="T44" fmla="*/ 85 w 320"/>
                <a:gd name="T45" fmla="*/ 182 h 235"/>
                <a:gd name="T46" fmla="*/ 160 w 320"/>
                <a:gd name="T47" fmla="*/ 171 h 235"/>
                <a:gd name="T48" fmla="*/ 309 w 320"/>
                <a:gd name="T49" fmla="*/ 0 h 235"/>
                <a:gd name="T50" fmla="*/ 42 w 320"/>
                <a:gd name="T51" fmla="*/ 11 h 235"/>
                <a:gd name="T52" fmla="*/ 32 w 320"/>
                <a:gd name="T53" fmla="*/ 214 h 235"/>
                <a:gd name="T54" fmla="*/ 21 w 320"/>
                <a:gd name="T55" fmla="*/ 11 h 235"/>
                <a:gd name="T56" fmla="*/ 0 w 320"/>
                <a:gd name="T57" fmla="*/ 11 h 235"/>
                <a:gd name="T58" fmla="*/ 32 w 320"/>
                <a:gd name="T59" fmla="*/ 235 h 235"/>
                <a:gd name="T60" fmla="*/ 320 w 320"/>
                <a:gd name="T61" fmla="*/ 203 h 235"/>
                <a:gd name="T62" fmla="*/ 309 w 320"/>
                <a:gd name="T63" fmla="*/ 0 h 235"/>
                <a:gd name="T64" fmla="*/ 288 w 320"/>
                <a:gd name="T65" fmla="*/ 214 h 235"/>
                <a:gd name="T66" fmla="*/ 64 w 320"/>
                <a:gd name="T67" fmla="*/ 203 h 235"/>
                <a:gd name="T68" fmla="*/ 298 w 320"/>
                <a:gd name="T69"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35">
                  <a:moveTo>
                    <a:pt x="160" y="43"/>
                  </a:moveTo>
                  <a:cubicBezTo>
                    <a:pt x="96" y="43"/>
                    <a:pt x="96" y="43"/>
                    <a:pt x="96" y="43"/>
                  </a:cubicBezTo>
                  <a:cubicBezTo>
                    <a:pt x="90" y="43"/>
                    <a:pt x="85" y="48"/>
                    <a:pt x="85" y="54"/>
                  </a:cubicBezTo>
                  <a:cubicBezTo>
                    <a:pt x="85" y="139"/>
                    <a:pt x="85" y="139"/>
                    <a:pt x="85" y="139"/>
                  </a:cubicBezTo>
                  <a:cubicBezTo>
                    <a:pt x="85" y="145"/>
                    <a:pt x="90" y="150"/>
                    <a:pt x="96" y="150"/>
                  </a:cubicBezTo>
                  <a:cubicBezTo>
                    <a:pt x="160" y="150"/>
                    <a:pt x="160" y="150"/>
                    <a:pt x="160" y="150"/>
                  </a:cubicBezTo>
                  <a:cubicBezTo>
                    <a:pt x="166" y="150"/>
                    <a:pt x="170" y="145"/>
                    <a:pt x="170" y="139"/>
                  </a:cubicBezTo>
                  <a:cubicBezTo>
                    <a:pt x="170" y="54"/>
                    <a:pt x="170" y="54"/>
                    <a:pt x="170" y="54"/>
                  </a:cubicBezTo>
                  <a:cubicBezTo>
                    <a:pt x="170" y="48"/>
                    <a:pt x="166" y="43"/>
                    <a:pt x="160" y="43"/>
                  </a:cubicBezTo>
                  <a:close/>
                  <a:moveTo>
                    <a:pt x="149" y="128"/>
                  </a:moveTo>
                  <a:cubicBezTo>
                    <a:pt x="106" y="128"/>
                    <a:pt x="106" y="128"/>
                    <a:pt x="106" y="128"/>
                  </a:cubicBezTo>
                  <a:cubicBezTo>
                    <a:pt x="106" y="64"/>
                    <a:pt x="106" y="64"/>
                    <a:pt x="106" y="64"/>
                  </a:cubicBezTo>
                  <a:cubicBezTo>
                    <a:pt x="149" y="64"/>
                    <a:pt x="149" y="64"/>
                    <a:pt x="149" y="64"/>
                  </a:cubicBezTo>
                  <a:lnTo>
                    <a:pt x="149" y="128"/>
                  </a:lnTo>
                  <a:close/>
                  <a:moveTo>
                    <a:pt x="277" y="54"/>
                  </a:moveTo>
                  <a:cubicBezTo>
                    <a:pt x="277" y="60"/>
                    <a:pt x="272" y="64"/>
                    <a:pt x="266" y="64"/>
                  </a:cubicBezTo>
                  <a:cubicBezTo>
                    <a:pt x="202" y="64"/>
                    <a:pt x="202" y="64"/>
                    <a:pt x="202" y="64"/>
                  </a:cubicBezTo>
                  <a:cubicBezTo>
                    <a:pt x="196" y="64"/>
                    <a:pt x="192" y="60"/>
                    <a:pt x="192" y="54"/>
                  </a:cubicBezTo>
                  <a:cubicBezTo>
                    <a:pt x="192" y="48"/>
                    <a:pt x="196" y="43"/>
                    <a:pt x="202" y="43"/>
                  </a:cubicBezTo>
                  <a:cubicBezTo>
                    <a:pt x="266" y="43"/>
                    <a:pt x="266" y="43"/>
                    <a:pt x="266" y="43"/>
                  </a:cubicBezTo>
                  <a:cubicBezTo>
                    <a:pt x="272" y="43"/>
                    <a:pt x="277" y="48"/>
                    <a:pt x="277" y="54"/>
                  </a:cubicBezTo>
                  <a:close/>
                  <a:moveTo>
                    <a:pt x="277" y="96"/>
                  </a:moveTo>
                  <a:cubicBezTo>
                    <a:pt x="277" y="102"/>
                    <a:pt x="272" y="107"/>
                    <a:pt x="266" y="107"/>
                  </a:cubicBezTo>
                  <a:cubicBezTo>
                    <a:pt x="202" y="107"/>
                    <a:pt x="202" y="107"/>
                    <a:pt x="202" y="107"/>
                  </a:cubicBezTo>
                  <a:cubicBezTo>
                    <a:pt x="196" y="107"/>
                    <a:pt x="192" y="102"/>
                    <a:pt x="192" y="96"/>
                  </a:cubicBezTo>
                  <a:cubicBezTo>
                    <a:pt x="192" y="90"/>
                    <a:pt x="196" y="86"/>
                    <a:pt x="202" y="86"/>
                  </a:cubicBezTo>
                  <a:cubicBezTo>
                    <a:pt x="266" y="86"/>
                    <a:pt x="266" y="86"/>
                    <a:pt x="266" y="86"/>
                  </a:cubicBezTo>
                  <a:cubicBezTo>
                    <a:pt x="272" y="86"/>
                    <a:pt x="277" y="90"/>
                    <a:pt x="277" y="96"/>
                  </a:cubicBezTo>
                  <a:close/>
                  <a:moveTo>
                    <a:pt x="277" y="139"/>
                  </a:moveTo>
                  <a:cubicBezTo>
                    <a:pt x="277" y="145"/>
                    <a:pt x="272" y="150"/>
                    <a:pt x="266" y="150"/>
                  </a:cubicBezTo>
                  <a:cubicBezTo>
                    <a:pt x="202" y="150"/>
                    <a:pt x="202" y="150"/>
                    <a:pt x="202" y="150"/>
                  </a:cubicBezTo>
                  <a:cubicBezTo>
                    <a:pt x="196" y="150"/>
                    <a:pt x="192" y="145"/>
                    <a:pt x="192" y="139"/>
                  </a:cubicBezTo>
                  <a:cubicBezTo>
                    <a:pt x="192" y="133"/>
                    <a:pt x="196" y="128"/>
                    <a:pt x="202" y="128"/>
                  </a:cubicBezTo>
                  <a:cubicBezTo>
                    <a:pt x="266" y="128"/>
                    <a:pt x="266" y="128"/>
                    <a:pt x="266" y="128"/>
                  </a:cubicBezTo>
                  <a:cubicBezTo>
                    <a:pt x="272" y="128"/>
                    <a:pt x="277" y="133"/>
                    <a:pt x="277" y="139"/>
                  </a:cubicBezTo>
                  <a:close/>
                  <a:moveTo>
                    <a:pt x="277" y="182"/>
                  </a:moveTo>
                  <a:cubicBezTo>
                    <a:pt x="277" y="188"/>
                    <a:pt x="272" y="192"/>
                    <a:pt x="266" y="192"/>
                  </a:cubicBezTo>
                  <a:cubicBezTo>
                    <a:pt x="202" y="192"/>
                    <a:pt x="202" y="192"/>
                    <a:pt x="202" y="192"/>
                  </a:cubicBezTo>
                  <a:cubicBezTo>
                    <a:pt x="196" y="192"/>
                    <a:pt x="192" y="188"/>
                    <a:pt x="192" y="182"/>
                  </a:cubicBezTo>
                  <a:cubicBezTo>
                    <a:pt x="192" y="176"/>
                    <a:pt x="196" y="171"/>
                    <a:pt x="202" y="171"/>
                  </a:cubicBezTo>
                  <a:cubicBezTo>
                    <a:pt x="266" y="171"/>
                    <a:pt x="266" y="171"/>
                    <a:pt x="266" y="171"/>
                  </a:cubicBezTo>
                  <a:cubicBezTo>
                    <a:pt x="272" y="171"/>
                    <a:pt x="277" y="176"/>
                    <a:pt x="277" y="182"/>
                  </a:cubicBezTo>
                  <a:close/>
                  <a:moveTo>
                    <a:pt x="170" y="182"/>
                  </a:moveTo>
                  <a:cubicBezTo>
                    <a:pt x="170" y="188"/>
                    <a:pt x="166" y="192"/>
                    <a:pt x="160" y="192"/>
                  </a:cubicBezTo>
                  <a:cubicBezTo>
                    <a:pt x="96" y="192"/>
                    <a:pt x="96" y="192"/>
                    <a:pt x="96" y="192"/>
                  </a:cubicBezTo>
                  <a:cubicBezTo>
                    <a:pt x="90" y="192"/>
                    <a:pt x="85" y="188"/>
                    <a:pt x="85" y="182"/>
                  </a:cubicBezTo>
                  <a:cubicBezTo>
                    <a:pt x="85" y="176"/>
                    <a:pt x="90" y="171"/>
                    <a:pt x="96" y="171"/>
                  </a:cubicBezTo>
                  <a:cubicBezTo>
                    <a:pt x="160" y="171"/>
                    <a:pt x="160" y="171"/>
                    <a:pt x="160" y="171"/>
                  </a:cubicBezTo>
                  <a:cubicBezTo>
                    <a:pt x="166" y="171"/>
                    <a:pt x="170" y="176"/>
                    <a:pt x="170" y="182"/>
                  </a:cubicBezTo>
                  <a:close/>
                  <a:moveTo>
                    <a:pt x="309" y="0"/>
                  </a:moveTo>
                  <a:cubicBezTo>
                    <a:pt x="53" y="0"/>
                    <a:pt x="53" y="0"/>
                    <a:pt x="53" y="0"/>
                  </a:cubicBezTo>
                  <a:cubicBezTo>
                    <a:pt x="47" y="0"/>
                    <a:pt x="42" y="5"/>
                    <a:pt x="42" y="11"/>
                  </a:cubicBezTo>
                  <a:cubicBezTo>
                    <a:pt x="42" y="203"/>
                    <a:pt x="42" y="203"/>
                    <a:pt x="42" y="203"/>
                  </a:cubicBezTo>
                  <a:cubicBezTo>
                    <a:pt x="42" y="209"/>
                    <a:pt x="38" y="214"/>
                    <a:pt x="32" y="214"/>
                  </a:cubicBezTo>
                  <a:cubicBezTo>
                    <a:pt x="26" y="214"/>
                    <a:pt x="21" y="209"/>
                    <a:pt x="21" y="203"/>
                  </a:cubicBezTo>
                  <a:cubicBezTo>
                    <a:pt x="21" y="11"/>
                    <a:pt x="21" y="11"/>
                    <a:pt x="21" y="11"/>
                  </a:cubicBezTo>
                  <a:cubicBezTo>
                    <a:pt x="21" y="5"/>
                    <a:pt x="16" y="0"/>
                    <a:pt x="10" y="0"/>
                  </a:cubicBezTo>
                  <a:cubicBezTo>
                    <a:pt x="4" y="0"/>
                    <a:pt x="0" y="5"/>
                    <a:pt x="0" y="11"/>
                  </a:cubicBezTo>
                  <a:cubicBezTo>
                    <a:pt x="0" y="203"/>
                    <a:pt x="0" y="203"/>
                    <a:pt x="0" y="203"/>
                  </a:cubicBezTo>
                  <a:cubicBezTo>
                    <a:pt x="0" y="221"/>
                    <a:pt x="14" y="235"/>
                    <a:pt x="32" y="235"/>
                  </a:cubicBezTo>
                  <a:cubicBezTo>
                    <a:pt x="288" y="235"/>
                    <a:pt x="288" y="235"/>
                    <a:pt x="288" y="235"/>
                  </a:cubicBezTo>
                  <a:cubicBezTo>
                    <a:pt x="305" y="235"/>
                    <a:pt x="320" y="221"/>
                    <a:pt x="320" y="203"/>
                  </a:cubicBezTo>
                  <a:cubicBezTo>
                    <a:pt x="320" y="11"/>
                    <a:pt x="320" y="11"/>
                    <a:pt x="320" y="11"/>
                  </a:cubicBezTo>
                  <a:cubicBezTo>
                    <a:pt x="320" y="5"/>
                    <a:pt x="315" y="0"/>
                    <a:pt x="309" y="0"/>
                  </a:cubicBezTo>
                  <a:close/>
                  <a:moveTo>
                    <a:pt x="298" y="203"/>
                  </a:moveTo>
                  <a:cubicBezTo>
                    <a:pt x="298" y="209"/>
                    <a:pt x="294" y="214"/>
                    <a:pt x="288" y="214"/>
                  </a:cubicBezTo>
                  <a:cubicBezTo>
                    <a:pt x="62" y="214"/>
                    <a:pt x="62" y="214"/>
                    <a:pt x="62" y="214"/>
                  </a:cubicBezTo>
                  <a:cubicBezTo>
                    <a:pt x="63" y="210"/>
                    <a:pt x="64" y="207"/>
                    <a:pt x="64" y="203"/>
                  </a:cubicBezTo>
                  <a:cubicBezTo>
                    <a:pt x="64" y="22"/>
                    <a:pt x="64" y="22"/>
                    <a:pt x="64" y="22"/>
                  </a:cubicBezTo>
                  <a:cubicBezTo>
                    <a:pt x="298" y="22"/>
                    <a:pt x="298" y="22"/>
                    <a:pt x="298" y="22"/>
                  </a:cubicBezTo>
                  <a:lnTo>
                    <a:pt x="298" y="2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03" name="Freeform 894">
            <a:extLst>
              <a:ext uri="{FF2B5EF4-FFF2-40B4-BE49-F238E27FC236}">
                <a16:creationId xmlns:a16="http://schemas.microsoft.com/office/drawing/2014/main" id="{FE8ACA2F-9588-44C9-900D-31003E0631A1}"/>
              </a:ext>
            </a:extLst>
          </p:cNvPr>
          <p:cNvSpPr>
            <a:spLocks noChangeAspect="1" noEditPoints="1"/>
          </p:cNvSpPr>
          <p:nvPr/>
        </p:nvSpPr>
        <p:spPr bwMode="auto">
          <a:xfrm>
            <a:off x="7448118" y="3302682"/>
            <a:ext cx="367041" cy="368121"/>
          </a:xfrm>
          <a:custGeom>
            <a:avLst/>
            <a:gdLst>
              <a:gd name="T0" fmla="*/ 277 w 512"/>
              <a:gd name="T1" fmla="*/ 269 h 512"/>
              <a:gd name="T2" fmla="*/ 266 w 512"/>
              <a:gd name="T3" fmla="*/ 287 h 512"/>
              <a:gd name="T4" fmla="*/ 266 w 512"/>
              <a:gd name="T5" fmla="*/ 251 h 512"/>
              <a:gd name="T6" fmla="*/ 277 w 512"/>
              <a:gd name="T7" fmla="*/ 269 h 512"/>
              <a:gd name="T8" fmla="*/ 234 w 512"/>
              <a:gd name="T9" fmla="*/ 205 h 512"/>
              <a:gd name="T10" fmla="*/ 245 w 512"/>
              <a:gd name="T11" fmla="*/ 223 h 512"/>
              <a:gd name="T12" fmla="*/ 245 w 512"/>
              <a:gd name="T13" fmla="*/ 187 h 512"/>
              <a:gd name="T14" fmla="*/ 234 w 512"/>
              <a:gd name="T15" fmla="*/ 205 h 512"/>
              <a:gd name="T16" fmla="*/ 330 w 512"/>
              <a:gd name="T17" fmla="*/ 128 h 512"/>
              <a:gd name="T18" fmla="*/ 330 w 512"/>
              <a:gd name="T19" fmla="*/ 404 h 512"/>
              <a:gd name="T20" fmla="*/ 329 w 512"/>
              <a:gd name="T21" fmla="*/ 405 h 512"/>
              <a:gd name="T22" fmla="*/ 183 w 512"/>
              <a:gd name="T23" fmla="*/ 405 h 512"/>
              <a:gd name="T24" fmla="*/ 181 w 512"/>
              <a:gd name="T25" fmla="*/ 405 h 512"/>
              <a:gd name="T26" fmla="*/ 181 w 512"/>
              <a:gd name="T27" fmla="*/ 405 h 512"/>
              <a:gd name="T28" fmla="*/ 181 w 512"/>
              <a:gd name="T29" fmla="*/ 128 h 512"/>
              <a:gd name="T30" fmla="*/ 183 w 512"/>
              <a:gd name="T31" fmla="*/ 128 h 512"/>
              <a:gd name="T32" fmla="*/ 329 w 512"/>
              <a:gd name="T33" fmla="*/ 128 h 512"/>
              <a:gd name="T34" fmla="*/ 330 w 512"/>
              <a:gd name="T35" fmla="*/ 128 h 512"/>
              <a:gd name="T36" fmla="*/ 266 w 512"/>
              <a:gd name="T37" fmla="*/ 373 h 512"/>
              <a:gd name="T38" fmla="*/ 256 w 512"/>
              <a:gd name="T39" fmla="*/ 362 h 512"/>
              <a:gd name="T40" fmla="*/ 245 w 512"/>
              <a:gd name="T41" fmla="*/ 373 h 512"/>
              <a:gd name="T42" fmla="*/ 256 w 512"/>
              <a:gd name="T43" fmla="*/ 384 h 512"/>
              <a:gd name="T44" fmla="*/ 266 w 512"/>
              <a:gd name="T45" fmla="*/ 373 h 512"/>
              <a:gd name="T46" fmla="*/ 298 w 512"/>
              <a:gd name="T47" fmla="*/ 269 h 512"/>
              <a:gd name="T48" fmla="*/ 266 w 512"/>
              <a:gd name="T49" fmla="*/ 228 h 512"/>
              <a:gd name="T50" fmla="*/ 266 w 512"/>
              <a:gd name="T51" fmla="*/ 187 h 512"/>
              <a:gd name="T52" fmla="*/ 274 w 512"/>
              <a:gd name="T53" fmla="*/ 194 h 512"/>
              <a:gd name="T54" fmla="*/ 289 w 512"/>
              <a:gd name="T55" fmla="*/ 198 h 512"/>
              <a:gd name="T56" fmla="*/ 293 w 512"/>
              <a:gd name="T57" fmla="*/ 184 h 512"/>
              <a:gd name="T58" fmla="*/ 266 w 512"/>
              <a:gd name="T59" fmla="*/ 164 h 512"/>
              <a:gd name="T60" fmla="*/ 266 w 512"/>
              <a:gd name="T61" fmla="*/ 160 h 512"/>
              <a:gd name="T62" fmla="*/ 256 w 512"/>
              <a:gd name="T63" fmla="*/ 149 h 512"/>
              <a:gd name="T64" fmla="*/ 245 w 512"/>
              <a:gd name="T65" fmla="*/ 160 h 512"/>
              <a:gd name="T66" fmla="*/ 245 w 512"/>
              <a:gd name="T67" fmla="*/ 164 h 512"/>
              <a:gd name="T68" fmla="*/ 213 w 512"/>
              <a:gd name="T69" fmla="*/ 205 h 512"/>
              <a:gd name="T70" fmla="*/ 245 w 512"/>
              <a:gd name="T71" fmla="*/ 246 h 512"/>
              <a:gd name="T72" fmla="*/ 245 w 512"/>
              <a:gd name="T73" fmla="*/ 287 h 512"/>
              <a:gd name="T74" fmla="*/ 236 w 512"/>
              <a:gd name="T75" fmla="*/ 276 h 512"/>
              <a:gd name="T76" fmla="*/ 222 w 512"/>
              <a:gd name="T77" fmla="*/ 270 h 512"/>
              <a:gd name="T78" fmla="*/ 215 w 512"/>
              <a:gd name="T79" fmla="*/ 283 h 512"/>
              <a:gd name="T80" fmla="*/ 245 w 512"/>
              <a:gd name="T81" fmla="*/ 310 h 512"/>
              <a:gd name="T82" fmla="*/ 245 w 512"/>
              <a:gd name="T83" fmla="*/ 320 h 512"/>
              <a:gd name="T84" fmla="*/ 256 w 512"/>
              <a:gd name="T85" fmla="*/ 330 h 512"/>
              <a:gd name="T86" fmla="*/ 266 w 512"/>
              <a:gd name="T87" fmla="*/ 320 h 512"/>
              <a:gd name="T88" fmla="*/ 266 w 512"/>
              <a:gd name="T89" fmla="*/ 310 h 512"/>
              <a:gd name="T90" fmla="*/ 298 w 512"/>
              <a:gd name="T91" fmla="*/ 269 h 512"/>
              <a:gd name="T92" fmla="*/ 512 w 512"/>
              <a:gd name="T93" fmla="*/ 256 h 512"/>
              <a:gd name="T94" fmla="*/ 256 w 512"/>
              <a:gd name="T95" fmla="*/ 512 h 512"/>
              <a:gd name="T96" fmla="*/ 0 w 512"/>
              <a:gd name="T97" fmla="*/ 256 h 512"/>
              <a:gd name="T98" fmla="*/ 256 w 512"/>
              <a:gd name="T99" fmla="*/ 0 h 512"/>
              <a:gd name="T100" fmla="*/ 512 w 512"/>
              <a:gd name="T101" fmla="*/ 256 h 512"/>
              <a:gd name="T102" fmla="*/ 352 w 512"/>
              <a:gd name="T103" fmla="*/ 128 h 512"/>
              <a:gd name="T104" fmla="*/ 329 w 512"/>
              <a:gd name="T105" fmla="*/ 106 h 512"/>
              <a:gd name="T106" fmla="*/ 183 w 512"/>
              <a:gd name="T107" fmla="*/ 106 h 512"/>
              <a:gd name="T108" fmla="*/ 160 w 512"/>
              <a:gd name="T109" fmla="*/ 128 h 512"/>
              <a:gd name="T110" fmla="*/ 160 w 512"/>
              <a:gd name="T111" fmla="*/ 405 h 512"/>
              <a:gd name="T112" fmla="*/ 183 w 512"/>
              <a:gd name="T113" fmla="*/ 426 h 512"/>
              <a:gd name="T114" fmla="*/ 329 w 512"/>
              <a:gd name="T115" fmla="*/ 426 h 512"/>
              <a:gd name="T116" fmla="*/ 352 w 512"/>
              <a:gd name="T117" fmla="*/ 405 h 512"/>
              <a:gd name="T118" fmla="*/ 352 w 512"/>
              <a:gd name="T11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77" y="269"/>
                </a:moveTo>
                <a:cubicBezTo>
                  <a:pt x="277" y="277"/>
                  <a:pt x="273" y="284"/>
                  <a:pt x="266" y="287"/>
                </a:cubicBezTo>
                <a:cubicBezTo>
                  <a:pt x="266" y="251"/>
                  <a:pt x="266" y="251"/>
                  <a:pt x="266" y="251"/>
                </a:cubicBezTo>
                <a:cubicBezTo>
                  <a:pt x="273" y="254"/>
                  <a:pt x="277" y="261"/>
                  <a:pt x="277" y="269"/>
                </a:cubicBezTo>
                <a:close/>
                <a:moveTo>
                  <a:pt x="234" y="205"/>
                </a:moveTo>
                <a:cubicBezTo>
                  <a:pt x="234" y="213"/>
                  <a:pt x="239" y="220"/>
                  <a:pt x="245" y="223"/>
                </a:cubicBezTo>
                <a:cubicBezTo>
                  <a:pt x="245" y="187"/>
                  <a:pt x="245" y="187"/>
                  <a:pt x="245" y="187"/>
                </a:cubicBezTo>
                <a:cubicBezTo>
                  <a:pt x="239" y="190"/>
                  <a:pt x="234" y="197"/>
                  <a:pt x="234" y="205"/>
                </a:cubicBezTo>
                <a:close/>
                <a:moveTo>
                  <a:pt x="330" y="128"/>
                </a:moveTo>
                <a:cubicBezTo>
                  <a:pt x="330" y="404"/>
                  <a:pt x="330" y="404"/>
                  <a:pt x="330" y="404"/>
                </a:cubicBezTo>
                <a:cubicBezTo>
                  <a:pt x="330" y="405"/>
                  <a:pt x="330" y="405"/>
                  <a:pt x="329" y="405"/>
                </a:cubicBezTo>
                <a:cubicBezTo>
                  <a:pt x="183" y="405"/>
                  <a:pt x="183" y="405"/>
                  <a:pt x="183" y="405"/>
                </a:cubicBezTo>
                <a:cubicBezTo>
                  <a:pt x="182" y="405"/>
                  <a:pt x="181" y="405"/>
                  <a:pt x="181" y="405"/>
                </a:cubicBezTo>
                <a:cubicBezTo>
                  <a:pt x="181" y="405"/>
                  <a:pt x="181" y="405"/>
                  <a:pt x="181" y="405"/>
                </a:cubicBezTo>
                <a:cubicBezTo>
                  <a:pt x="181" y="128"/>
                  <a:pt x="181" y="128"/>
                  <a:pt x="181" y="128"/>
                </a:cubicBezTo>
                <a:cubicBezTo>
                  <a:pt x="181" y="128"/>
                  <a:pt x="181" y="128"/>
                  <a:pt x="183" y="128"/>
                </a:cubicBezTo>
                <a:cubicBezTo>
                  <a:pt x="329" y="128"/>
                  <a:pt x="329" y="128"/>
                  <a:pt x="329" y="128"/>
                </a:cubicBezTo>
                <a:cubicBezTo>
                  <a:pt x="330" y="128"/>
                  <a:pt x="330" y="128"/>
                  <a:pt x="330" y="128"/>
                </a:cubicBezTo>
                <a:close/>
                <a:moveTo>
                  <a:pt x="266" y="373"/>
                </a:moveTo>
                <a:cubicBezTo>
                  <a:pt x="266" y="367"/>
                  <a:pt x="262" y="362"/>
                  <a:pt x="256" y="362"/>
                </a:cubicBezTo>
                <a:cubicBezTo>
                  <a:pt x="250" y="362"/>
                  <a:pt x="245" y="367"/>
                  <a:pt x="245" y="373"/>
                </a:cubicBezTo>
                <a:cubicBezTo>
                  <a:pt x="245" y="379"/>
                  <a:pt x="250" y="384"/>
                  <a:pt x="256" y="384"/>
                </a:cubicBezTo>
                <a:cubicBezTo>
                  <a:pt x="262" y="384"/>
                  <a:pt x="266" y="379"/>
                  <a:pt x="266" y="373"/>
                </a:cubicBezTo>
                <a:close/>
                <a:moveTo>
                  <a:pt x="298" y="269"/>
                </a:moveTo>
                <a:cubicBezTo>
                  <a:pt x="298" y="249"/>
                  <a:pt x="285" y="233"/>
                  <a:pt x="266" y="228"/>
                </a:cubicBezTo>
                <a:cubicBezTo>
                  <a:pt x="266" y="187"/>
                  <a:pt x="266" y="187"/>
                  <a:pt x="266" y="187"/>
                </a:cubicBezTo>
                <a:cubicBezTo>
                  <a:pt x="270" y="188"/>
                  <a:pt x="272" y="191"/>
                  <a:pt x="274" y="194"/>
                </a:cubicBezTo>
                <a:cubicBezTo>
                  <a:pt x="277" y="199"/>
                  <a:pt x="284" y="201"/>
                  <a:pt x="289" y="198"/>
                </a:cubicBezTo>
                <a:cubicBezTo>
                  <a:pt x="294" y="195"/>
                  <a:pt x="296" y="189"/>
                  <a:pt x="293" y="184"/>
                </a:cubicBezTo>
                <a:cubicBezTo>
                  <a:pt x="287" y="174"/>
                  <a:pt x="277" y="167"/>
                  <a:pt x="266" y="164"/>
                </a:cubicBezTo>
                <a:cubicBezTo>
                  <a:pt x="266" y="160"/>
                  <a:pt x="266" y="160"/>
                  <a:pt x="266" y="160"/>
                </a:cubicBezTo>
                <a:cubicBezTo>
                  <a:pt x="266" y="154"/>
                  <a:pt x="262" y="149"/>
                  <a:pt x="256" y="149"/>
                </a:cubicBezTo>
                <a:cubicBezTo>
                  <a:pt x="250" y="149"/>
                  <a:pt x="245" y="154"/>
                  <a:pt x="245" y="160"/>
                </a:cubicBezTo>
                <a:cubicBezTo>
                  <a:pt x="245" y="164"/>
                  <a:pt x="245" y="164"/>
                  <a:pt x="245" y="164"/>
                </a:cubicBezTo>
                <a:cubicBezTo>
                  <a:pt x="227" y="169"/>
                  <a:pt x="213" y="185"/>
                  <a:pt x="213" y="205"/>
                </a:cubicBezTo>
                <a:cubicBezTo>
                  <a:pt x="213" y="225"/>
                  <a:pt x="227" y="241"/>
                  <a:pt x="245" y="246"/>
                </a:cubicBezTo>
                <a:cubicBezTo>
                  <a:pt x="245" y="287"/>
                  <a:pt x="245" y="287"/>
                  <a:pt x="245" y="287"/>
                </a:cubicBezTo>
                <a:cubicBezTo>
                  <a:pt x="241" y="285"/>
                  <a:pt x="237" y="281"/>
                  <a:pt x="236" y="276"/>
                </a:cubicBezTo>
                <a:cubicBezTo>
                  <a:pt x="234" y="271"/>
                  <a:pt x="227" y="268"/>
                  <a:pt x="222" y="270"/>
                </a:cubicBezTo>
                <a:cubicBezTo>
                  <a:pt x="216" y="272"/>
                  <a:pt x="213" y="278"/>
                  <a:pt x="215" y="283"/>
                </a:cubicBezTo>
                <a:cubicBezTo>
                  <a:pt x="220" y="297"/>
                  <a:pt x="232" y="307"/>
                  <a:pt x="245" y="310"/>
                </a:cubicBezTo>
                <a:cubicBezTo>
                  <a:pt x="245" y="320"/>
                  <a:pt x="245" y="320"/>
                  <a:pt x="245" y="320"/>
                </a:cubicBezTo>
                <a:cubicBezTo>
                  <a:pt x="245" y="326"/>
                  <a:pt x="250" y="330"/>
                  <a:pt x="256" y="330"/>
                </a:cubicBezTo>
                <a:cubicBezTo>
                  <a:pt x="262" y="330"/>
                  <a:pt x="266" y="326"/>
                  <a:pt x="266" y="320"/>
                </a:cubicBezTo>
                <a:cubicBezTo>
                  <a:pt x="266" y="310"/>
                  <a:pt x="266" y="310"/>
                  <a:pt x="266" y="310"/>
                </a:cubicBezTo>
                <a:cubicBezTo>
                  <a:pt x="285" y="305"/>
                  <a:pt x="298" y="289"/>
                  <a:pt x="298" y="26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28"/>
                </a:moveTo>
                <a:cubicBezTo>
                  <a:pt x="352" y="116"/>
                  <a:pt x="341" y="106"/>
                  <a:pt x="329" y="106"/>
                </a:cubicBezTo>
                <a:cubicBezTo>
                  <a:pt x="183" y="106"/>
                  <a:pt x="183" y="106"/>
                  <a:pt x="183" y="106"/>
                </a:cubicBezTo>
                <a:cubicBezTo>
                  <a:pt x="170" y="106"/>
                  <a:pt x="160" y="116"/>
                  <a:pt x="160" y="128"/>
                </a:cubicBezTo>
                <a:cubicBezTo>
                  <a:pt x="160" y="405"/>
                  <a:pt x="160" y="405"/>
                  <a:pt x="160" y="405"/>
                </a:cubicBezTo>
                <a:cubicBezTo>
                  <a:pt x="160" y="417"/>
                  <a:pt x="170" y="426"/>
                  <a:pt x="183" y="426"/>
                </a:cubicBezTo>
                <a:cubicBezTo>
                  <a:pt x="329" y="426"/>
                  <a:pt x="329" y="426"/>
                  <a:pt x="329" y="426"/>
                </a:cubicBezTo>
                <a:cubicBezTo>
                  <a:pt x="341" y="426"/>
                  <a:pt x="352" y="417"/>
                  <a:pt x="352" y="405"/>
                </a:cubicBezTo>
                <a:lnTo>
                  <a:pt x="352" y="12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04" name="Group 897">
            <a:extLst>
              <a:ext uri="{FF2B5EF4-FFF2-40B4-BE49-F238E27FC236}">
                <a16:creationId xmlns:a16="http://schemas.microsoft.com/office/drawing/2014/main" id="{44BAFC66-475B-4879-AC5F-8B54BB5904D2}"/>
              </a:ext>
            </a:extLst>
          </p:cNvPr>
          <p:cNvGrpSpPr>
            <a:grpSpLocks noChangeAspect="1"/>
          </p:cNvGrpSpPr>
          <p:nvPr/>
        </p:nvGrpSpPr>
        <p:grpSpPr bwMode="auto">
          <a:xfrm>
            <a:off x="7882699" y="3302682"/>
            <a:ext cx="367041" cy="367041"/>
            <a:chOff x="3863" y="3885"/>
            <a:chExt cx="340" cy="340"/>
          </a:xfrm>
          <a:solidFill>
            <a:schemeClr val="accent4"/>
          </a:solidFill>
        </p:grpSpPr>
        <p:sp>
          <p:nvSpPr>
            <p:cNvPr id="705" name="Freeform 898">
              <a:extLst>
                <a:ext uri="{FF2B5EF4-FFF2-40B4-BE49-F238E27FC236}">
                  <a16:creationId xmlns:a16="http://schemas.microsoft.com/office/drawing/2014/main" id="{8A511D75-C286-49BC-8566-A322689C45A2}"/>
                </a:ext>
              </a:extLst>
            </p:cNvPr>
            <p:cNvSpPr>
              <a:spLocks noEditPoints="1"/>
            </p:cNvSpPr>
            <p:nvPr/>
          </p:nvSpPr>
          <p:spPr bwMode="auto">
            <a:xfrm>
              <a:off x="3969" y="3955"/>
              <a:ext cx="128" cy="213"/>
            </a:xfrm>
            <a:custGeom>
              <a:avLst/>
              <a:gdLst>
                <a:gd name="T0" fmla="*/ 169 w 192"/>
                <a:gd name="T1" fmla="*/ 0 h 320"/>
                <a:gd name="T2" fmla="*/ 23 w 192"/>
                <a:gd name="T3" fmla="*/ 0 h 320"/>
                <a:gd name="T4" fmla="*/ 0 w 192"/>
                <a:gd name="T5" fmla="*/ 22 h 320"/>
                <a:gd name="T6" fmla="*/ 0 w 192"/>
                <a:gd name="T7" fmla="*/ 299 h 320"/>
                <a:gd name="T8" fmla="*/ 23 w 192"/>
                <a:gd name="T9" fmla="*/ 320 h 320"/>
                <a:gd name="T10" fmla="*/ 169 w 192"/>
                <a:gd name="T11" fmla="*/ 320 h 320"/>
                <a:gd name="T12" fmla="*/ 192 w 192"/>
                <a:gd name="T13" fmla="*/ 299 h 320"/>
                <a:gd name="T14" fmla="*/ 192 w 192"/>
                <a:gd name="T15" fmla="*/ 22 h 320"/>
                <a:gd name="T16" fmla="*/ 169 w 192"/>
                <a:gd name="T17" fmla="*/ 0 h 320"/>
                <a:gd name="T18" fmla="*/ 169 w 192"/>
                <a:gd name="T19" fmla="*/ 299 h 320"/>
                <a:gd name="T20" fmla="*/ 23 w 192"/>
                <a:gd name="T21" fmla="*/ 299 h 320"/>
                <a:gd name="T22" fmla="*/ 21 w 192"/>
                <a:gd name="T23" fmla="*/ 299 h 320"/>
                <a:gd name="T24" fmla="*/ 21 w 192"/>
                <a:gd name="T25" fmla="*/ 299 h 320"/>
                <a:gd name="T26" fmla="*/ 21 w 192"/>
                <a:gd name="T27" fmla="*/ 22 h 320"/>
                <a:gd name="T28" fmla="*/ 23 w 192"/>
                <a:gd name="T29" fmla="*/ 22 h 320"/>
                <a:gd name="T30" fmla="*/ 169 w 192"/>
                <a:gd name="T31" fmla="*/ 22 h 320"/>
                <a:gd name="T32" fmla="*/ 170 w 192"/>
                <a:gd name="T33" fmla="*/ 22 h 320"/>
                <a:gd name="T34" fmla="*/ 170 w 192"/>
                <a:gd name="T35" fmla="*/ 298 h 320"/>
                <a:gd name="T36" fmla="*/ 169 w 192"/>
                <a:gd name="T37" fmla="*/ 2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320">
                  <a:moveTo>
                    <a:pt x="169" y="0"/>
                  </a:moveTo>
                  <a:cubicBezTo>
                    <a:pt x="23" y="0"/>
                    <a:pt x="23" y="0"/>
                    <a:pt x="23" y="0"/>
                  </a:cubicBezTo>
                  <a:cubicBezTo>
                    <a:pt x="10" y="0"/>
                    <a:pt x="0" y="10"/>
                    <a:pt x="0" y="22"/>
                  </a:cubicBezTo>
                  <a:cubicBezTo>
                    <a:pt x="0" y="299"/>
                    <a:pt x="0" y="299"/>
                    <a:pt x="0" y="299"/>
                  </a:cubicBezTo>
                  <a:cubicBezTo>
                    <a:pt x="0" y="311"/>
                    <a:pt x="10" y="320"/>
                    <a:pt x="23" y="320"/>
                  </a:cubicBezTo>
                  <a:cubicBezTo>
                    <a:pt x="169" y="320"/>
                    <a:pt x="169" y="320"/>
                    <a:pt x="169" y="320"/>
                  </a:cubicBezTo>
                  <a:cubicBezTo>
                    <a:pt x="181" y="320"/>
                    <a:pt x="192" y="311"/>
                    <a:pt x="192" y="299"/>
                  </a:cubicBezTo>
                  <a:cubicBezTo>
                    <a:pt x="192" y="22"/>
                    <a:pt x="192" y="22"/>
                    <a:pt x="192" y="22"/>
                  </a:cubicBezTo>
                  <a:cubicBezTo>
                    <a:pt x="192" y="10"/>
                    <a:pt x="181" y="0"/>
                    <a:pt x="169" y="0"/>
                  </a:cubicBezTo>
                  <a:close/>
                  <a:moveTo>
                    <a:pt x="169" y="299"/>
                  </a:moveTo>
                  <a:cubicBezTo>
                    <a:pt x="23" y="299"/>
                    <a:pt x="23" y="299"/>
                    <a:pt x="23" y="299"/>
                  </a:cubicBezTo>
                  <a:cubicBezTo>
                    <a:pt x="22" y="299"/>
                    <a:pt x="21" y="299"/>
                    <a:pt x="21" y="299"/>
                  </a:cubicBezTo>
                  <a:cubicBezTo>
                    <a:pt x="21" y="299"/>
                    <a:pt x="21" y="299"/>
                    <a:pt x="21" y="299"/>
                  </a:cubicBezTo>
                  <a:cubicBezTo>
                    <a:pt x="21" y="22"/>
                    <a:pt x="21" y="22"/>
                    <a:pt x="21" y="22"/>
                  </a:cubicBezTo>
                  <a:cubicBezTo>
                    <a:pt x="21" y="22"/>
                    <a:pt x="21" y="22"/>
                    <a:pt x="23" y="22"/>
                  </a:cubicBezTo>
                  <a:cubicBezTo>
                    <a:pt x="169" y="22"/>
                    <a:pt x="169" y="22"/>
                    <a:pt x="169" y="22"/>
                  </a:cubicBezTo>
                  <a:cubicBezTo>
                    <a:pt x="170" y="22"/>
                    <a:pt x="170" y="22"/>
                    <a:pt x="170" y="22"/>
                  </a:cubicBezTo>
                  <a:cubicBezTo>
                    <a:pt x="170" y="298"/>
                    <a:pt x="170" y="298"/>
                    <a:pt x="170" y="298"/>
                  </a:cubicBezTo>
                  <a:cubicBezTo>
                    <a:pt x="170" y="299"/>
                    <a:pt x="170" y="299"/>
                    <a:pt x="169" y="2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6" name="Oval 899">
              <a:extLst>
                <a:ext uri="{FF2B5EF4-FFF2-40B4-BE49-F238E27FC236}">
                  <a16:creationId xmlns:a16="http://schemas.microsoft.com/office/drawing/2014/main" id="{B851AB16-FB13-4141-B888-E5E1D30613E0}"/>
                </a:ext>
              </a:extLst>
            </p:cNvPr>
            <p:cNvSpPr>
              <a:spLocks noChangeArrowheads="1"/>
            </p:cNvSpPr>
            <p:nvPr/>
          </p:nvSpPr>
          <p:spPr bwMode="auto">
            <a:xfrm>
              <a:off x="4026" y="412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7" name="Freeform 900">
              <a:extLst>
                <a:ext uri="{FF2B5EF4-FFF2-40B4-BE49-F238E27FC236}">
                  <a16:creationId xmlns:a16="http://schemas.microsoft.com/office/drawing/2014/main" id="{5EADEE60-B408-4C62-9911-ADE6275DBBA6}"/>
                </a:ext>
              </a:extLst>
            </p:cNvPr>
            <p:cNvSpPr>
              <a:spLocks noEditPoints="1"/>
            </p:cNvSpPr>
            <p:nvPr/>
          </p:nvSpPr>
          <p:spPr bwMode="auto">
            <a:xfrm>
              <a:off x="4004" y="3984"/>
              <a:ext cx="57" cy="120"/>
            </a:xfrm>
            <a:custGeom>
              <a:avLst/>
              <a:gdLst>
                <a:gd name="T0" fmla="*/ 53 w 85"/>
                <a:gd name="T1" fmla="*/ 79 h 181"/>
                <a:gd name="T2" fmla="*/ 53 w 85"/>
                <a:gd name="T3" fmla="*/ 38 h 181"/>
                <a:gd name="T4" fmla="*/ 61 w 85"/>
                <a:gd name="T5" fmla="*/ 45 h 181"/>
                <a:gd name="T6" fmla="*/ 76 w 85"/>
                <a:gd name="T7" fmla="*/ 49 h 181"/>
                <a:gd name="T8" fmla="*/ 80 w 85"/>
                <a:gd name="T9" fmla="*/ 35 h 181"/>
                <a:gd name="T10" fmla="*/ 53 w 85"/>
                <a:gd name="T11" fmla="*/ 15 h 181"/>
                <a:gd name="T12" fmla="*/ 53 w 85"/>
                <a:gd name="T13" fmla="*/ 11 h 181"/>
                <a:gd name="T14" fmla="*/ 43 w 85"/>
                <a:gd name="T15" fmla="*/ 0 h 181"/>
                <a:gd name="T16" fmla="*/ 32 w 85"/>
                <a:gd name="T17" fmla="*/ 11 h 181"/>
                <a:gd name="T18" fmla="*/ 32 w 85"/>
                <a:gd name="T19" fmla="*/ 15 h 181"/>
                <a:gd name="T20" fmla="*/ 0 w 85"/>
                <a:gd name="T21" fmla="*/ 56 h 181"/>
                <a:gd name="T22" fmla="*/ 32 w 85"/>
                <a:gd name="T23" fmla="*/ 97 h 181"/>
                <a:gd name="T24" fmla="*/ 32 w 85"/>
                <a:gd name="T25" fmla="*/ 138 h 181"/>
                <a:gd name="T26" fmla="*/ 23 w 85"/>
                <a:gd name="T27" fmla="*/ 127 h 181"/>
                <a:gd name="T28" fmla="*/ 9 w 85"/>
                <a:gd name="T29" fmla="*/ 121 h 181"/>
                <a:gd name="T30" fmla="*/ 2 w 85"/>
                <a:gd name="T31" fmla="*/ 134 h 181"/>
                <a:gd name="T32" fmla="*/ 32 w 85"/>
                <a:gd name="T33" fmla="*/ 161 h 181"/>
                <a:gd name="T34" fmla="*/ 32 w 85"/>
                <a:gd name="T35" fmla="*/ 171 h 181"/>
                <a:gd name="T36" fmla="*/ 43 w 85"/>
                <a:gd name="T37" fmla="*/ 181 h 181"/>
                <a:gd name="T38" fmla="*/ 53 w 85"/>
                <a:gd name="T39" fmla="*/ 171 h 181"/>
                <a:gd name="T40" fmla="*/ 53 w 85"/>
                <a:gd name="T41" fmla="*/ 161 h 181"/>
                <a:gd name="T42" fmla="*/ 85 w 85"/>
                <a:gd name="T43" fmla="*/ 120 h 181"/>
                <a:gd name="T44" fmla="*/ 53 w 85"/>
                <a:gd name="T45" fmla="*/ 79 h 181"/>
                <a:gd name="T46" fmla="*/ 21 w 85"/>
                <a:gd name="T47" fmla="*/ 56 h 181"/>
                <a:gd name="T48" fmla="*/ 32 w 85"/>
                <a:gd name="T49" fmla="*/ 38 h 181"/>
                <a:gd name="T50" fmla="*/ 32 w 85"/>
                <a:gd name="T51" fmla="*/ 74 h 181"/>
                <a:gd name="T52" fmla="*/ 21 w 85"/>
                <a:gd name="T53" fmla="*/ 56 h 181"/>
                <a:gd name="T54" fmla="*/ 53 w 85"/>
                <a:gd name="T55" fmla="*/ 138 h 181"/>
                <a:gd name="T56" fmla="*/ 53 w 85"/>
                <a:gd name="T57" fmla="*/ 102 h 181"/>
                <a:gd name="T58" fmla="*/ 64 w 85"/>
                <a:gd name="T59" fmla="*/ 120 h 181"/>
                <a:gd name="T60" fmla="*/ 53 w 85"/>
                <a:gd name="T61" fmla="*/ 13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5" h="181">
                  <a:moveTo>
                    <a:pt x="53" y="79"/>
                  </a:moveTo>
                  <a:cubicBezTo>
                    <a:pt x="53" y="38"/>
                    <a:pt x="53" y="38"/>
                    <a:pt x="53" y="38"/>
                  </a:cubicBezTo>
                  <a:cubicBezTo>
                    <a:pt x="57" y="39"/>
                    <a:pt x="59" y="42"/>
                    <a:pt x="61" y="45"/>
                  </a:cubicBezTo>
                  <a:cubicBezTo>
                    <a:pt x="64" y="50"/>
                    <a:pt x="71" y="52"/>
                    <a:pt x="76" y="49"/>
                  </a:cubicBezTo>
                  <a:cubicBezTo>
                    <a:pt x="81" y="46"/>
                    <a:pt x="83" y="40"/>
                    <a:pt x="80" y="35"/>
                  </a:cubicBezTo>
                  <a:cubicBezTo>
                    <a:pt x="74" y="25"/>
                    <a:pt x="64" y="18"/>
                    <a:pt x="53" y="15"/>
                  </a:cubicBezTo>
                  <a:cubicBezTo>
                    <a:pt x="53" y="11"/>
                    <a:pt x="53" y="11"/>
                    <a:pt x="53" y="11"/>
                  </a:cubicBezTo>
                  <a:cubicBezTo>
                    <a:pt x="53" y="5"/>
                    <a:pt x="49" y="0"/>
                    <a:pt x="43" y="0"/>
                  </a:cubicBezTo>
                  <a:cubicBezTo>
                    <a:pt x="37" y="0"/>
                    <a:pt x="32" y="5"/>
                    <a:pt x="32" y="11"/>
                  </a:cubicBezTo>
                  <a:cubicBezTo>
                    <a:pt x="32" y="15"/>
                    <a:pt x="32" y="15"/>
                    <a:pt x="32" y="15"/>
                  </a:cubicBezTo>
                  <a:cubicBezTo>
                    <a:pt x="14" y="20"/>
                    <a:pt x="0" y="36"/>
                    <a:pt x="0" y="56"/>
                  </a:cubicBezTo>
                  <a:cubicBezTo>
                    <a:pt x="0" y="76"/>
                    <a:pt x="14" y="92"/>
                    <a:pt x="32" y="97"/>
                  </a:cubicBezTo>
                  <a:cubicBezTo>
                    <a:pt x="32" y="138"/>
                    <a:pt x="32" y="138"/>
                    <a:pt x="32" y="138"/>
                  </a:cubicBezTo>
                  <a:cubicBezTo>
                    <a:pt x="28" y="136"/>
                    <a:pt x="24" y="132"/>
                    <a:pt x="23" y="127"/>
                  </a:cubicBezTo>
                  <a:cubicBezTo>
                    <a:pt x="21" y="122"/>
                    <a:pt x="14" y="119"/>
                    <a:pt x="9" y="121"/>
                  </a:cubicBezTo>
                  <a:cubicBezTo>
                    <a:pt x="3" y="123"/>
                    <a:pt x="0" y="129"/>
                    <a:pt x="2" y="134"/>
                  </a:cubicBezTo>
                  <a:cubicBezTo>
                    <a:pt x="7" y="148"/>
                    <a:pt x="19" y="158"/>
                    <a:pt x="32" y="161"/>
                  </a:cubicBezTo>
                  <a:cubicBezTo>
                    <a:pt x="32" y="171"/>
                    <a:pt x="32" y="171"/>
                    <a:pt x="32" y="171"/>
                  </a:cubicBezTo>
                  <a:cubicBezTo>
                    <a:pt x="32" y="177"/>
                    <a:pt x="37" y="181"/>
                    <a:pt x="43" y="181"/>
                  </a:cubicBezTo>
                  <a:cubicBezTo>
                    <a:pt x="49" y="181"/>
                    <a:pt x="53" y="177"/>
                    <a:pt x="53" y="171"/>
                  </a:cubicBezTo>
                  <a:cubicBezTo>
                    <a:pt x="53" y="161"/>
                    <a:pt x="53" y="161"/>
                    <a:pt x="53" y="161"/>
                  </a:cubicBezTo>
                  <a:cubicBezTo>
                    <a:pt x="72" y="156"/>
                    <a:pt x="85" y="140"/>
                    <a:pt x="85" y="120"/>
                  </a:cubicBezTo>
                  <a:cubicBezTo>
                    <a:pt x="85" y="100"/>
                    <a:pt x="72" y="84"/>
                    <a:pt x="53" y="79"/>
                  </a:cubicBezTo>
                  <a:close/>
                  <a:moveTo>
                    <a:pt x="21" y="56"/>
                  </a:moveTo>
                  <a:cubicBezTo>
                    <a:pt x="21" y="48"/>
                    <a:pt x="26" y="41"/>
                    <a:pt x="32" y="38"/>
                  </a:cubicBezTo>
                  <a:cubicBezTo>
                    <a:pt x="32" y="74"/>
                    <a:pt x="32" y="74"/>
                    <a:pt x="32" y="74"/>
                  </a:cubicBezTo>
                  <a:cubicBezTo>
                    <a:pt x="26" y="71"/>
                    <a:pt x="21" y="64"/>
                    <a:pt x="21" y="56"/>
                  </a:cubicBezTo>
                  <a:close/>
                  <a:moveTo>
                    <a:pt x="53" y="138"/>
                  </a:moveTo>
                  <a:cubicBezTo>
                    <a:pt x="53" y="102"/>
                    <a:pt x="53" y="102"/>
                    <a:pt x="53" y="102"/>
                  </a:cubicBezTo>
                  <a:cubicBezTo>
                    <a:pt x="60" y="105"/>
                    <a:pt x="64" y="112"/>
                    <a:pt x="64" y="120"/>
                  </a:cubicBezTo>
                  <a:cubicBezTo>
                    <a:pt x="64" y="128"/>
                    <a:pt x="60" y="135"/>
                    <a:pt x="5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8" name="Freeform 901">
              <a:extLst>
                <a:ext uri="{FF2B5EF4-FFF2-40B4-BE49-F238E27FC236}">
                  <a16:creationId xmlns:a16="http://schemas.microsoft.com/office/drawing/2014/main" id="{60367F3E-B8B1-4A6A-BE7E-C1AA07974355}"/>
                </a:ext>
              </a:extLst>
            </p:cNvPr>
            <p:cNvSpPr>
              <a:spLocks noEditPoints="1"/>
            </p:cNvSpPr>
            <p:nvPr/>
          </p:nvSpPr>
          <p:spPr bwMode="auto">
            <a:xfrm>
              <a:off x="3863" y="38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09" name="Freeform 965">
            <a:extLst>
              <a:ext uri="{FF2B5EF4-FFF2-40B4-BE49-F238E27FC236}">
                <a16:creationId xmlns:a16="http://schemas.microsoft.com/office/drawing/2014/main" id="{1FBF3422-E2F1-4B96-95F2-C5887D9D7BBB}"/>
              </a:ext>
            </a:extLst>
          </p:cNvPr>
          <p:cNvSpPr>
            <a:spLocks noChangeAspect="1" noEditPoints="1"/>
          </p:cNvSpPr>
          <p:nvPr/>
        </p:nvSpPr>
        <p:spPr bwMode="auto">
          <a:xfrm>
            <a:off x="8317280" y="3302682"/>
            <a:ext cx="367041" cy="367041"/>
          </a:xfrm>
          <a:custGeom>
            <a:avLst/>
            <a:gdLst>
              <a:gd name="T0" fmla="*/ 330 w 512"/>
              <a:gd name="T1" fmla="*/ 304 h 512"/>
              <a:gd name="T2" fmla="*/ 309 w 512"/>
              <a:gd name="T3" fmla="*/ 320 h 512"/>
              <a:gd name="T4" fmla="*/ 288 w 512"/>
              <a:gd name="T5" fmla="*/ 304 h 512"/>
              <a:gd name="T6" fmla="*/ 309 w 512"/>
              <a:gd name="T7" fmla="*/ 288 h 512"/>
              <a:gd name="T8" fmla="*/ 330 w 512"/>
              <a:gd name="T9" fmla="*/ 304 h 512"/>
              <a:gd name="T10" fmla="*/ 149 w 512"/>
              <a:gd name="T11" fmla="*/ 330 h 512"/>
              <a:gd name="T12" fmla="*/ 128 w 512"/>
              <a:gd name="T13" fmla="*/ 346 h 512"/>
              <a:gd name="T14" fmla="*/ 149 w 512"/>
              <a:gd name="T15" fmla="*/ 362 h 512"/>
              <a:gd name="T16" fmla="*/ 170 w 512"/>
              <a:gd name="T17" fmla="*/ 346 h 512"/>
              <a:gd name="T18" fmla="*/ 149 w 512"/>
              <a:gd name="T19" fmla="*/ 330 h 512"/>
              <a:gd name="T20" fmla="*/ 192 w 512"/>
              <a:gd name="T21" fmla="*/ 198 h 512"/>
              <a:gd name="T22" fmla="*/ 330 w 512"/>
              <a:gd name="T23" fmla="*/ 152 h 512"/>
              <a:gd name="T24" fmla="*/ 330 w 512"/>
              <a:gd name="T25" fmla="*/ 132 h 512"/>
              <a:gd name="T26" fmla="*/ 192 w 512"/>
              <a:gd name="T27" fmla="*/ 178 h 512"/>
              <a:gd name="T28" fmla="*/ 192 w 512"/>
              <a:gd name="T29" fmla="*/ 1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52 w 512"/>
              <a:gd name="T41" fmla="*/ 117 h 512"/>
              <a:gd name="T42" fmla="*/ 351 w 512"/>
              <a:gd name="T43" fmla="*/ 114 h 512"/>
              <a:gd name="T44" fmla="*/ 338 w 512"/>
              <a:gd name="T45" fmla="*/ 107 h 512"/>
              <a:gd name="T46" fmla="*/ 178 w 512"/>
              <a:gd name="T47" fmla="*/ 160 h 512"/>
              <a:gd name="T48" fmla="*/ 170 w 512"/>
              <a:gd name="T49" fmla="*/ 170 h 512"/>
              <a:gd name="T50" fmla="*/ 170 w 512"/>
              <a:gd name="T51" fmla="*/ 314 h 512"/>
              <a:gd name="T52" fmla="*/ 149 w 512"/>
              <a:gd name="T53" fmla="*/ 309 h 512"/>
              <a:gd name="T54" fmla="*/ 106 w 512"/>
              <a:gd name="T55" fmla="*/ 346 h 512"/>
              <a:gd name="T56" fmla="*/ 149 w 512"/>
              <a:gd name="T57" fmla="*/ 384 h 512"/>
              <a:gd name="T58" fmla="*/ 192 w 512"/>
              <a:gd name="T59" fmla="*/ 346 h 512"/>
              <a:gd name="T60" fmla="*/ 192 w 512"/>
              <a:gd name="T61" fmla="*/ 221 h 512"/>
              <a:gd name="T62" fmla="*/ 330 w 512"/>
              <a:gd name="T63" fmla="*/ 174 h 512"/>
              <a:gd name="T64" fmla="*/ 330 w 512"/>
              <a:gd name="T65" fmla="*/ 272 h 512"/>
              <a:gd name="T66" fmla="*/ 309 w 512"/>
              <a:gd name="T67" fmla="*/ 266 h 512"/>
              <a:gd name="T68" fmla="*/ 266 w 512"/>
              <a:gd name="T69" fmla="*/ 304 h 512"/>
              <a:gd name="T70" fmla="*/ 309 w 512"/>
              <a:gd name="T71" fmla="*/ 341 h 512"/>
              <a:gd name="T72" fmla="*/ 352 w 512"/>
              <a:gd name="T73" fmla="*/ 304 h 512"/>
              <a:gd name="T74" fmla="*/ 352 w 512"/>
              <a:gd name="T75" fmla="*/ 117 h 512"/>
              <a:gd name="T76" fmla="*/ 352 w 512"/>
              <a:gd name="T7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30" y="304"/>
                </a:moveTo>
                <a:cubicBezTo>
                  <a:pt x="330" y="312"/>
                  <a:pt x="321" y="320"/>
                  <a:pt x="309" y="320"/>
                </a:cubicBezTo>
                <a:cubicBezTo>
                  <a:pt x="297" y="320"/>
                  <a:pt x="288" y="312"/>
                  <a:pt x="288" y="304"/>
                </a:cubicBezTo>
                <a:cubicBezTo>
                  <a:pt x="288" y="295"/>
                  <a:pt x="297" y="288"/>
                  <a:pt x="309" y="288"/>
                </a:cubicBezTo>
                <a:cubicBezTo>
                  <a:pt x="321" y="288"/>
                  <a:pt x="330" y="295"/>
                  <a:pt x="330" y="304"/>
                </a:cubicBezTo>
                <a:close/>
                <a:moveTo>
                  <a:pt x="149" y="330"/>
                </a:moveTo>
                <a:cubicBezTo>
                  <a:pt x="137" y="330"/>
                  <a:pt x="128" y="338"/>
                  <a:pt x="128" y="346"/>
                </a:cubicBezTo>
                <a:cubicBezTo>
                  <a:pt x="128" y="355"/>
                  <a:pt x="137" y="362"/>
                  <a:pt x="149" y="362"/>
                </a:cubicBezTo>
                <a:cubicBezTo>
                  <a:pt x="161" y="362"/>
                  <a:pt x="170" y="355"/>
                  <a:pt x="170" y="346"/>
                </a:cubicBezTo>
                <a:cubicBezTo>
                  <a:pt x="170" y="338"/>
                  <a:pt x="161" y="330"/>
                  <a:pt x="149" y="330"/>
                </a:cubicBezTo>
                <a:close/>
                <a:moveTo>
                  <a:pt x="192" y="198"/>
                </a:moveTo>
                <a:cubicBezTo>
                  <a:pt x="330" y="152"/>
                  <a:pt x="330" y="152"/>
                  <a:pt x="330" y="152"/>
                </a:cubicBezTo>
                <a:cubicBezTo>
                  <a:pt x="330" y="132"/>
                  <a:pt x="330" y="132"/>
                  <a:pt x="330" y="132"/>
                </a:cubicBezTo>
                <a:cubicBezTo>
                  <a:pt x="192" y="178"/>
                  <a:pt x="192" y="178"/>
                  <a:pt x="192" y="178"/>
                </a:cubicBezTo>
                <a:lnTo>
                  <a:pt x="192" y="19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17"/>
                </a:moveTo>
                <a:cubicBezTo>
                  <a:pt x="352" y="116"/>
                  <a:pt x="351" y="115"/>
                  <a:pt x="351" y="114"/>
                </a:cubicBezTo>
                <a:cubicBezTo>
                  <a:pt x="349" y="108"/>
                  <a:pt x="343" y="105"/>
                  <a:pt x="338" y="107"/>
                </a:cubicBezTo>
                <a:cubicBezTo>
                  <a:pt x="178" y="160"/>
                  <a:pt x="178" y="160"/>
                  <a:pt x="178" y="160"/>
                </a:cubicBezTo>
                <a:cubicBezTo>
                  <a:pt x="173" y="162"/>
                  <a:pt x="170" y="166"/>
                  <a:pt x="170" y="170"/>
                </a:cubicBezTo>
                <a:cubicBezTo>
                  <a:pt x="170" y="314"/>
                  <a:pt x="170" y="314"/>
                  <a:pt x="170" y="314"/>
                </a:cubicBezTo>
                <a:cubicBezTo>
                  <a:pt x="164" y="311"/>
                  <a:pt x="157" y="309"/>
                  <a:pt x="149" y="309"/>
                </a:cubicBezTo>
                <a:cubicBezTo>
                  <a:pt x="125" y="309"/>
                  <a:pt x="106" y="326"/>
                  <a:pt x="106" y="346"/>
                </a:cubicBezTo>
                <a:cubicBezTo>
                  <a:pt x="106" y="367"/>
                  <a:pt x="125" y="384"/>
                  <a:pt x="149" y="384"/>
                </a:cubicBezTo>
                <a:cubicBezTo>
                  <a:pt x="173" y="384"/>
                  <a:pt x="192" y="367"/>
                  <a:pt x="192" y="346"/>
                </a:cubicBezTo>
                <a:cubicBezTo>
                  <a:pt x="192" y="221"/>
                  <a:pt x="192" y="221"/>
                  <a:pt x="192" y="221"/>
                </a:cubicBezTo>
                <a:cubicBezTo>
                  <a:pt x="330" y="174"/>
                  <a:pt x="330" y="174"/>
                  <a:pt x="330" y="174"/>
                </a:cubicBezTo>
                <a:cubicBezTo>
                  <a:pt x="330" y="272"/>
                  <a:pt x="330" y="272"/>
                  <a:pt x="330" y="272"/>
                </a:cubicBezTo>
                <a:cubicBezTo>
                  <a:pt x="324" y="268"/>
                  <a:pt x="317" y="266"/>
                  <a:pt x="309" y="266"/>
                </a:cubicBezTo>
                <a:cubicBezTo>
                  <a:pt x="285" y="266"/>
                  <a:pt x="266" y="283"/>
                  <a:pt x="266" y="304"/>
                </a:cubicBezTo>
                <a:cubicBezTo>
                  <a:pt x="266" y="324"/>
                  <a:pt x="285" y="341"/>
                  <a:pt x="309" y="341"/>
                </a:cubicBezTo>
                <a:cubicBezTo>
                  <a:pt x="333" y="341"/>
                  <a:pt x="352" y="324"/>
                  <a:pt x="352" y="304"/>
                </a:cubicBezTo>
                <a:cubicBezTo>
                  <a:pt x="352" y="117"/>
                  <a:pt x="352" y="117"/>
                  <a:pt x="352" y="117"/>
                </a:cubicBezTo>
                <a:cubicBezTo>
                  <a:pt x="352" y="117"/>
                  <a:pt x="352" y="117"/>
                  <a:pt x="352" y="11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10" name="Group 968">
            <a:extLst>
              <a:ext uri="{FF2B5EF4-FFF2-40B4-BE49-F238E27FC236}">
                <a16:creationId xmlns:a16="http://schemas.microsoft.com/office/drawing/2014/main" id="{C0B825A4-0E8A-46C5-94BB-F09A0BE49599}"/>
              </a:ext>
            </a:extLst>
          </p:cNvPr>
          <p:cNvGrpSpPr>
            <a:grpSpLocks noChangeAspect="1"/>
          </p:cNvGrpSpPr>
          <p:nvPr/>
        </p:nvGrpSpPr>
        <p:grpSpPr bwMode="auto">
          <a:xfrm>
            <a:off x="8751861" y="3302682"/>
            <a:ext cx="367041" cy="367041"/>
            <a:chOff x="1138" y="4015"/>
            <a:chExt cx="340" cy="340"/>
          </a:xfrm>
          <a:solidFill>
            <a:schemeClr val="accent5"/>
          </a:solidFill>
        </p:grpSpPr>
        <p:sp>
          <p:nvSpPr>
            <p:cNvPr id="711" name="Freeform 969">
              <a:extLst>
                <a:ext uri="{FF2B5EF4-FFF2-40B4-BE49-F238E27FC236}">
                  <a16:creationId xmlns:a16="http://schemas.microsoft.com/office/drawing/2014/main" id="{14962122-433D-4C95-A0E8-89A505450F90}"/>
                </a:ext>
              </a:extLst>
            </p:cNvPr>
            <p:cNvSpPr>
              <a:spLocks noEditPoints="1"/>
            </p:cNvSpPr>
            <p:nvPr/>
          </p:nvSpPr>
          <p:spPr bwMode="auto">
            <a:xfrm>
              <a:off x="1138" y="40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2" name="Freeform 970">
              <a:extLst>
                <a:ext uri="{FF2B5EF4-FFF2-40B4-BE49-F238E27FC236}">
                  <a16:creationId xmlns:a16="http://schemas.microsoft.com/office/drawing/2014/main" id="{7A5BAC13-6E99-4F32-A787-4A5A236BEA15}"/>
                </a:ext>
              </a:extLst>
            </p:cNvPr>
            <p:cNvSpPr>
              <a:spLocks noEditPoints="1"/>
            </p:cNvSpPr>
            <p:nvPr/>
          </p:nvSpPr>
          <p:spPr bwMode="auto">
            <a:xfrm>
              <a:off x="1208" y="4085"/>
              <a:ext cx="164" cy="185"/>
            </a:xfrm>
            <a:custGeom>
              <a:avLst/>
              <a:gdLst>
                <a:gd name="T0" fmla="*/ 246 w 246"/>
                <a:gd name="T1" fmla="*/ 12 h 279"/>
                <a:gd name="T2" fmla="*/ 245 w 246"/>
                <a:gd name="T3" fmla="*/ 9 h 279"/>
                <a:gd name="T4" fmla="*/ 232 w 246"/>
                <a:gd name="T5" fmla="*/ 2 h 279"/>
                <a:gd name="T6" fmla="*/ 72 w 246"/>
                <a:gd name="T7" fmla="*/ 55 h 279"/>
                <a:gd name="T8" fmla="*/ 64 w 246"/>
                <a:gd name="T9" fmla="*/ 65 h 279"/>
                <a:gd name="T10" fmla="*/ 64 w 246"/>
                <a:gd name="T11" fmla="*/ 209 h 279"/>
                <a:gd name="T12" fmla="*/ 43 w 246"/>
                <a:gd name="T13" fmla="*/ 204 h 279"/>
                <a:gd name="T14" fmla="*/ 0 w 246"/>
                <a:gd name="T15" fmla="*/ 241 h 279"/>
                <a:gd name="T16" fmla="*/ 43 w 246"/>
                <a:gd name="T17" fmla="*/ 279 h 279"/>
                <a:gd name="T18" fmla="*/ 86 w 246"/>
                <a:gd name="T19" fmla="*/ 241 h 279"/>
                <a:gd name="T20" fmla="*/ 86 w 246"/>
                <a:gd name="T21" fmla="*/ 116 h 279"/>
                <a:gd name="T22" fmla="*/ 224 w 246"/>
                <a:gd name="T23" fmla="*/ 69 h 279"/>
                <a:gd name="T24" fmla="*/ 224 w 246"/>
                <a:gd name="T25" fmla="*/ 167 h 279"/>
                <a:gd name="T26" fmla="*/ 203 w 246"/>
                <a:gd name="T27" fmla="*/ 161 h 279"/>
                <a:gd name="T28" fmla="*/ 160 w 246"/>
                <a:gd name="T29" fmla="*/ 199 h 279"/>
                <a:gd name="T30" fmla="*/ 203 w 246"/>
                <a:gd name="T31" fmla="*/ 236 h 279"/>
                <a:gd name="T32" fmla="*/ 246 w 246"/>
                <a:gd name="T33" fmla="*/ 199 h 279"/>
                <a:gd name="T34" fmla="*/ 246 w 246"/>
                <a:gd name="T35" fmla="*/ 12 h 279"/>
                <a:gd name="T36" fmla="*/ 246 w 246"/>
                <a:gd name="T37" fmla="*/ 12 h 279"/>
                <a:gd name="T38" fmla="*/ 43 w 246"/>
                <a:gd name="T39" fmla="*/ 257 h 279"/>
                <a:gd name="T40" fmla="*/ 22 w 246"/>
                <a:gd name="T41" fmla="*/ 241 h 279"/>
                <a:gd name="T42" fmla="*/ 43 w 246"/>
                <a:gd name="T43" fmla="*/ 225 h 279"/>
                <a:gd name="T44" fmla="*/ 64 w 246"/>
                <a:gd name="T45" fmla="*/ 241 h 279"/>
                <a:gd name="T46" fmla="*/ 43 w 246"/>
                <a:gd name="T47" fmla="*/ 257 h 279"/>
                <a:gd name="T48" fmla="*/ 203 w 246"/>
                <a:gd name="T49" fmla="*/ 215 h 279"/>
                <a:gd name="T50" fmla="*/ 182 w 246"/>
                <a:gd name="T51" fmla="*/ 199 h 279"/>
                <a:gd name="T52" fmla="*/ 203 w 246"/>
                <a:gd name="T53" fmla="*/ 183 h 279"/>
                <a:gd name="T54" fmla="*/ 224 w 246"/>
                <a:gd name="T55" fmla="*/ 199 h 279"/>
                <a:gd name="T56" fmla="*/ 203 w 246"/>
                <a:gd name="T57" fmla="*/ 215 h 279"/>
                <a:gd name="T58" fmla="*/ 86 w 246"/>
                <a:gd name="T59" fmla="*/ 93 h 279"/>
                <a:gd name="T60" fmla="*/ 86 w 246"/>
                <a:gd name="T61" fmla="*/ 73 h 279"/>
                <a:gd name="T62" fmla="*/ 224 w 246"/>
                <a:gd name="T63" fmla="*/ 27 h 279"/>
                <a:gd name="T64" fmla="*/ 224 w 246"/>
                <a:gd name="T65" fmla="*/ 47 h 279"/>
                <a:gd name="T66" fmla="*/ 86 w 246"/>
                <a:gd name="T67" fmla="*/ 9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79">
                  <a:moveTo>
                    <a:pt x="246" y="12"/>
                  </a:moveTo>
                  <a:cubicBezTo>
                    <a:pt x="246" y="11"/>
                    <a:pt x="245" y="10"/>
                    <a:pt x="245" y="9"/>
                  </a:cubicBezTo>
                  <a:cubicBezTo>
                    <a:pt x="243" y="3"/>
                    <a:pt x="237" y="0"/>
                    <a:pt x="232" y="2"/>
                  </a:cubicBezTo>
                  <a:cubicBezTo>
                    <a:pt x="72" y="55"/>
                    <a:pt x="72" y="55"/>
                    <a:pt x="72" y="55"/>
                  </a:cubicBezTo>
                  <a:cubicBezTo>
                    <a:pt x="67" y="57"/>
                    <a:pt x="64" y="61"/>
                    <a:pt x="64" y="65"/>
                  </a:cubicBezTo>
                  <a:cubicBezTo>
                    <a:pt x="64" y="209"/>
                    <a:pt x="64" y="209"/>
                    <a:pt x="64" y="209"/>
                  </a:cubicBezTo>
                  <a:cubicBezTo>
                    <a:pt x="58" y="206"/>
                    <a:pt x="51" y="204"/>
                    <a:pt x="43" y="204"/>
                  </a:cubicBezTo>
                  <a:cubicBezTo>
                    <a:pt x="19" y="204"/>
                    <a:pt x="0" y="221"/>
                    <a:pt x="0" y="241"/>
                  </a:cubicBezTo>
                  <a:cubicBezTo>
                    <a:pt x="0" y="262"/>
                    <a:pt x="19" y="279"/>
                    <a:pt x="43" y="279"/>
                  </a:cubicBezTo>
                  <a:cubicBezTo>
                    <a:pt x="67" y="279"/>
                    <a:pt x="86" y="262"/>
                    <a:pt x="86" y="241"/>
                  </a:cubicBezTo>
                  <a:cubicBezTo>
                    <a:pt x="86" y="116"/>
                    <a:pt x="86" y="116"/>
                    <a:pt x="86" y="116"/>
                  </a:cubicBezTo>
                  <a:cubicBezTo>
                    <a:pt x="224" y="69"/>
                    <a:pt x="224" y="69"/>
                    <a:pt x="224" y="69"/>
                  </a:cubicBezTo>
                  <a:cubicBezTo>
                    <a:pt x="224" y="167"/>
                    <a:pt x="224" y="167"/>
                    <a:pt x="224" y="167"/>
                  </a:cubicBezTo>
                  <a:cubicBezTo>
                    <a:pt x="218" y="163"/>
                    <a:pt x="211" y="161"/>
                    <a:pt x="203" y="161"/>
                  </a:cubicBezTo>
                  <a:cubicBezTo>
                    <a:pt x="179" y="161"/>
                    <a:pt x="160" y="178"/>
                    <a:pt x="160" y="199"/>
                  </a:cubicBezTo>
                  <a:cubicBezTo>
                    <a:pt x="160" y="219"/>
                    <a:pt x="179" y="236"/>
                    <a:pt x="203" y="236"/>
                  </a:cubicBezTo>
                  <a:cubicBezTo>
                    <a:pt x="227" y="236"/>
                    <a:pt x="246" y="219"/>
                    <a:pt x="246" y="199"/>
                  </a:cubicBezTo>
                  <a:cubicBezTo>
                    <a:pt x="246" y="12"/>
                    <a:pt x="246" y="12"/>
                    <a:pt x="246" y="12"/>
                  </a:cubicBezTo>
                  <a:cubicBezTo>
                    <a:pt x="246" y="12"/>
                    <a:pt x="246" y="12"/>
                    <a:pt x="246" y="12"/>
                  </a:cubicBezTo>
                  <a:close/>
                  <a:moveTo>
                    <a:pt x="43" y="257"/>
                  </a:moveTo>
                  <a:cubicBezTo>
                    <a:pt x="31" y="257"/>
                    <a:pt x="22" y="250"/>
                    <a:pt x="22" y="241"/>
                  </a:cubicBezTo>
                  <a:cubicBezTo>
                    <a:pt x="22" y="233"/>
                    <a:pt x="31" y="225"/>
                    <a:pt x="43" y="225"/>
                  </a:cubicBezTo>
                  <a:cubicBezTo>
                    <a:pt x="55" y="225"/>
                    <a:pt x="64" y="233"/>
                    <a:pt x="64" y="241"/>
                  </a:cubicBezTo>
                  <a:cubicBezTo>
                    <a:pt x="64" y="250"/>
                    <a:pt x="55" y="257"/>
                    <a:pt x="43" y="257"/>
                  </a:cubicBezTo>
                  <a:close/>
                  <a:moveTo>
                    <a:pt x="203" y="215"/>
                  </a:moveTo>
                  <a:cubicBezTo>
                    <a:pt x="191" y="215"/>
                    <a:pt x="182" y="207"/>
                    <a:pt x="182" y="199"/>
                  </a:cubicBezTo>
                  <a:cubicBezTo>
                    <a:pt x="182" y="190"/>
                    <a:pt x="191" y="183"/>
                    <a:pt x="203" y="183"/>
                  </a:cubicBezTo>
                  <a:cubicBezTo>
                    <a:pt x="215" y="183"/>
                    <a:pt x="224" y="190"/>
                    <a:pt x="224" y="199"/>
                  </a:cubicBezTo>
                  <a:cubicBezTo>
                    <a:pt x="224" y="207"/>
                    <a:pt x="215" y="215"/>
                    <a:pt x="203" y="215"/>
                  </a:cubicBezTo>
                  <a:close/>
                  <a:moveTo>
                    <a:pt x="86" y="93"/>
                  </a:moveTo>
                  <a:cubicBezTo>
                    <a:pt x="86" y="73"/>
                    <a:pt x="86" y="73"/>
                    <a:pt x="86" y="73"/>
                  </a:cubicBezTo>
                  <a:cubicBezTo>
                    <a:pt x="224" y="27"/>
                    <a:pt x="224" y="27"/>
                    <a:pt x="224" y="27"/>
                  </a:cubicBezTo>
                  <a:cubicBezTo>
                    <a:pt x="224" y="47"/>
                    <a:pt x="224" y="47"/>
                    <a:pt x="224" y="47"/>
                  </a:cubicBezTo>
                  <a:lnTo>
                    <a:pt x="86"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13" name="Freeform 938">
            <a:extLst>
              <a:ext uri="{FF2B5EF4-FFF2-40B4-BE49-F238E27FC236}">
                <a16:creationId xmlns:a16="http://schemas.microsoft.com/office/drawing/2014/main" id="{0DDEDFE8-9D31-42B5-8ECC-732608D581B1}"/>
              </a:ext>
            </a:extLst>
          </p:cNvPr>
          <p:cNvSpPr>
            <a:spLocks noChangeAspect="1" noEditPoints="1"/>
          </p:cNvSpPr>
          <p:nvPr/>
        </p:nvSpPr>
        <p:spPr bwMode="auto">
          <a:xfrm>
            <a:off x="9186442" y="3302682"/>
            <a:ext cx="367041" cy="367041"/>
          </a:xfrm>
          <a:custGeom>
            <a:avLst/>
            <a:gdLst>
              <a:gd name="T0" fmla="*/ 305 w 512"/>
              <a:gd name="T1" fmla="*/ 234 h 512"/>
              <a:gd name="T2" fmla="*/ 266 w 512"/>
              <a:gd name="T3" fmla="*/ 234 h 512"/>
              <a:gd name="T4" fmla="*/ 266 w 512"/>
              <a:gd name="T5" fmla="*/ 192 h 512"/>
              <a:gd name="T6" fmla="*/ 298 w 512"/>
              <a:gd name="T7" fmla="*/ 192 h 512"/>
              <a:gd name="T8" fmla="*/ 301 w 512"/>
              <a:gd name="T9" fmla="*/ 196 h 512"/>
              <a:gd name="T10" fmla="*/ 305 w 512"/>
              <a:gd name="T11" fmla="*/ 234 h 512"/>
              <a:gd name="T12" fmla="*/ 245 w 512"/>
              <a:gd name="T13" fmla="*/ 192 h 512"/>
              <a:gd name="T14" fmla="*/ 214 w 512"/>
              <a:gd name="T15" fmla="*/ 192 h 512"/>
              <a:gd name="T16" fmla="*/ 211 w 512"/>
              <a:gd name="T17" fmla="*/ 195 h 512"/>
              <a:gd name="T18" fmla="*/ 207 w 512"/>
              <a:gd name="T19" fmla="*/ 234 h 512"/>
              <a:gd name="T20" fmla="*/ 245 w 512"/>
              <a:gd name="T21" fmla="*/ 234 h 512"/>
              <a:gd name="T22" fmla="*/ 245 w 512"/>
              <a:gd name="T23" fmla="*/ 192 h 512"/>
              <a:gd name="T24" fmla="*/ 205 w 512"/>
              <a:gd name="T25" fmla="*/ 256 h 512"/>
              <a:gd name="T26" fmla="*/ 197 w 512"/>
              <a:gd name="T27" fmla="*/ 336 h 512"/>
              <a:gd name="T28" fmla="*/ 256 w 512"/>
              <a:gd name="T29" fmla="*/ 394 h 512"/>
              <a:gd name="T30" fmla="*/ 315 w 512"/>
              <a:gd name="T31" fmla="*/ 335 h 512"/>
              <a:gd name="T32" fmla="*/ 307 w 512"/>
              <a:gd name="T33" fmla="*/ 256 h 512"/>
              <a:gd name="T34" fmla="*/ 205 w 512"/>
              <a:gd name="T35" fmla="*/ 256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36 w 512"/>
              <a:gd name="T47" fmla="*/ 334 h 512"/>
              <a:gd name="T48" fmla="*/ 322 w 512"/>
              <a:gd name="T49" fmla="*/ 195 h 512"/>
              <a:gd name="T50" fmla="*/ 298 w 512"/>
              <a:gd name="T51" fmla="*/ 170 h 512"/>
              <a:gd name="T52" fmla="*/ 266 w 512"/>
              <a:gd name="T53" fmla="*/ 170 h 512"/>
              <a:gd name="T54" fmla="*/ 266 w 512"/>
              <a:gd name="T55" fmla="*/ 168 h 512"/>
              <a:gd name="T56" fmla="*/ 256 w 512"/>
              <a:gd name="T57" fmla="*/ 132 h 512"/>
              <a:gd name="T58" fmla="*/ 248 w 512"/>
              <a:gd name="T59" fmla="*/ 106 h 512"/>
              <a:gd name="T60" fmla="*/ 238 w 512"/>
              <a:gd name="T61" fmla="*/ 96 h 512"/>
              <a:gd name="T62" fmla="*/ 227 w 512"/>
              <a:gd name="T63" fmla="*/ 106 h 512"/>
              <a:gd name="T64" fmla="*/ 237 w 512"/>
              <a:gd name="T65" fmla="*/ 143 h 512"/>
              <a:gd name="T66" fmla="*/ 245 w 512"/>
              <a:gd name="T67" fmla="*/ 168 h 512"/>
              <a:gd name="T68" fmla="*/ 245 w 512"/>
              <a:gd name="T69" fmla="*/ 170 h 512"/>
              <a:gd name="T70" fmla="*/ 214 w 512"/>
              <a:gd name="T71" fmla="*/ 170 h 512"/>
              <a:gd name="T72" fmla="*/ 189 w 512"/>
              <a:gd name="T73" fmla="*/ 194 h 512"/>
              <a:gd name="T74" fmla="*/ 175 w 512"/>
              <a:gd name="T75" fmla="*/ 334 h 512"/>
              <a:gd name="T76" fmla="*/ 175 w 512"/>
              <a:gd name="T77" fmla="*/ 335 h 512"/>
              <a:gd name="T78" fmla="*/ 256 w 512"/>
              <a:gd name="T79" fmla="*/ 416 h 512"/>
              <a:gd name="T80" fmla="*/ 336 w 512"/>
              <a:gd name="T81" fmla="*/ 3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05" y="234"/>
                </a:moveTo>
                <a:cubicBezTo>
                  <a:pt x="266" y="234"/>
                  <a:pt x="266" y="234"/>
                  <a:pt x="266" y="234"/>
                </a:cubicBezTo>
                <a:cubicBezTo>
                  <a:pt x="266" y="192"/>
                  <a:pt x="266" y="192"/>
                  <a:pt x="266" y="192"/>
                </a:cubicBezTo>
                <a:cubicBezTo>
                  <a:pt x="298" y="192"/>
                  <a:pt x="298" y="192"/>
                  <a:pt x="298" y="192"/>
                </a:cubicBezTo>
                <a:cubicBezTo>
                  <a:pt x="299" y="192"/>
                  <a:pt x="301" y="193"/>
                  <a:pt x="301" y="196"/>
                </a:cubicBezTo>
                <a:lnTo>
                  <a:pt x="305" y="234"/>
                </a:lnTo>
                <a:close/>
                <a:moveTo>
                  <a:pt x="245" y="192"/>
                </a:moveTo>
                <a:cubicBezTo>
                  <a:pt x="214" y="192"/>
                  <a:pt x="214" y="192"/>
                  <a:pt x="214" y="192"/>
                </a:cubicBezTo>
                <a:cubicBezTo>
                  <a:pt x="212" y="192"/>
                  <a:pt x="211" y="193"/>
                  <a:pt x="211" y="195"/>
                </a:cubicBezTo>
                <a:cubicBezTo>
                  <a:pt x="207" y="234"/>
                  <a:pt x="207" y="234"/>
                  <a:pt x="207" y="234"/>
                </a:cubicBezTo>
                <a:cubicBezTo>
                  <a:pt x="245" y="234"/>
                  <a:pt x="245" y="234"/>
                  <a:pt x="245" y="234"/>
                </a:cubicBezTo>
                <a:lnTo>
                  <a:pt x="245" y="192"/>
                </a:lnTo>
                <a:close/>
                <a:moveTo>
                  <a:pt x="205" y="256"/>
                </a:moveTo>
                <a:cubicBezTo>
                  <a:pt x="197" y="336"/>
                  <a:pt x="197" y="336"/>
                  <a:pt x="197" y="336"/>
                </a:cubicBezTo>
                <a:cubicBezTo>
                  <a:pt x="197" y="368"/>
                  <a:pt x="223" y="394"/>
                  <a:pt x="256" y="394"/>
                </a:cubicBezTo>
                <a:cubicBezTo>
                  <a:pt x="288" y="394"/>
                  <a:pt x="315" y="368"/>
                  <a:pt x="315" y="335"/>
                </a:cubicBezTo>
                <a:cubicBezTo>
                  <a:pt x="307" y="256"/>
                  <a:pt x="307" y="256"/>
                  <a:pt x="307" y="256"/>
                </a:cubicBezTo>
                <a:lnTo>
                  <a:pt x="205"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6" y="334"/>
                </a:moveTo>
                <a:cubicBezTo>
                  <a:pt x="322" y="195"/>
                  <a:pt x="322" y="195"/>
                  <a:pt x="322" y="195"/>
                </a:cubicBezTo>
                <a:cubicBezTo>
                  <a:pt x="322" y="182"/>
                  <a:pt x="311" y="170"/>
                  <a:pt x="298" y="170"/>
                </a:cubicBezTo>
                <a:cubicBezTo>
                  <a:pt x="266" y="170"/>
                  <a:pt x="266" y="170"/>
                  <a:pt x="266" y="170"/>
                </a:cubicBezTo>
                <a:cubicBezTo>
                  <a:pt x="266" y="168"/>
                  <a:pt x="266" y="168"/>
                  <a:pt x="266" y="168"/>
                </a:cubicBezTo>
                <a:cubicBezTo>
                  <a:pt x="266" y="149"/>
                  <a:pt x="260" y="139"/>
                  <a:pt x="256" y="132"/>
                </a:cubicBezTo>
                <a:cubicBezTo>
                  <a:pt x="252" y="125"/>
                  <a:pt x="248" y="119"/>
                  <a:pt x="248" y="106"/>
                </a:cubicBezTo>
                <a:cubicBezTo>
                  <a:pt x="248" y="100"/>
                  <a:pt x="244" y="96"/>
                  <a:pt x="238" y="96"/>
                </a:cubicBezTo>
                <a:cubicBezTo>
                  <a:pt x="232" y="96"/>
                  <a:pt x="227" y="100"/>
                  <a:pt x="227" y="106"/>
                </a:cubicBezTo>
                <a:cubicBezTo>
                  <a:pt x="227" y="125"/>
                  <a:pt x="233" y="135"/>
                  <a:pt x="237" y="143"/>
                </a:cubicBezTo>
                <a:cubicBezTo>
                  <a:pt x="242" y="150"/>
                  <a:pt x="245" y="155"/>
                  <a:pt x="245" y="168"/>
                </a:cubicBezTo>
                <a:cubicBezTo>
                  <a:pt x="245" y="170"/>
                  <a:pt x="245" y="170"/>
                  <a:pt x="245" y="170"/>
                </a:cubicBezTo>
                <a:cubicBezTo>
                  <a:pt x="214" y="170"/>
                  <a:pt x="214" y="170"/>
                  <a:pt x="214" y="170"/>
                </a:cubicBezTo>
                <a:cubicBezTo>
                  <a:pt x="200" y="170"/>
                  <a:pt x="189" y="182"/>
                  <a:pt x="189" y="194"/>
                </a:cubicBezTo>
                <a:cubicBezTo>
                  <a:pt x="175" y="334"/>
                  <a:pt x="175" y="334"/>
                  <a:pt x="175" y="334"/>
                </a:cubicBezTo>
                <a:cubicBezTo>
                  <a:pt x="175" y="335"/>
                  <a:pt x="175" y="335"/>
                  <a:pt x="175" y="335"/>
                </a:cubicBezTo>
                <a:cubicBezTo>
                  <a:pt x="175" y="380"/>
                  <a:pt x="211" y="416"/>
                  <a:pt x="256" y="416"/>
                </a:cubicBezTo>
                <a:cubicBezTo>
                  <a:pt x="300" y="416"/>
                  <a:pt x="336" y="380"/>
                  <a:pt x="336" y="33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14" name="Group 941">
            <a:extLst>
              <a:ext uri="{FF2B5EF4-FFF2-40B4-BE49-F238E27FC236}">
                <a16:creationId xmlns:a16="http://schemas.microsoft.com/office/drawing/2014/main" id="{538155A4-68C2-45C4-BE41-33F79F3338E4}"/>
              </a:ext>
            </a:extLst>
          </p:cNvPr>
          <p:cNvGrpSpPr>
            <a:grpSpLocks noChangeAspect="1"/>
          </p:cNvGrpSpPr>
          <p:nvPr/>
        </p:nvGrpSpPr>
        <p:grpSpPr bwMode="auto">
          <a:xfrm>
            <a:off x="9621023" y="3302682"/>
            <a:ext cx="367041" cy="367041"/>
            <a:chOff x="6569" y="3572"/>
            <a:chExt cx="340" cy="340"/>
          </a:xfrm>
          <a:solidFill>
            <a:schemeClr val="accent4"/>
          </a:solidFill>
        </p:grpSpPr>
        <p:sp>
          <p:nvSpPr>
            <p:cNvPr id="715" name="Freeform 942">
              <a:extLst>
                <a:ext uri="{FF2B5EF4-FFF2-40B4-BE49-F238E27FC236}">
                  <a16:creationId xmlns:a16="http://schemas.microsoft.com/office/drawing/2014/main" id="{BB238363-4B26-4F59-9333-9AEE915B7E19}"/>
                </a:ext>
              </a:extLst>
            </p:cNvPr>
            <p:cNvSpPr>
              <a:spLocks noEditPoints="1"/>
            </p:cNvSpPr>
            <p:nvPr/>
          </p:nvSpPr>
          <p:spPr bwMode="auto">
            <a:xfrm>
              <a:off x="6569"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6" name="Freeform 943">
              <a:extLst>
                <a:ext uri="{FF2B5EF4-FFF2-40B4-BE49-F238E27FC236}">
                  <a16:creationId xmlns:a16="http://schemas.microsoft.com/office/drawing/2014/main" id="{CD6B6179-0242-4E64-A450-638297B21904}"/>
                </a:ext>
              </a:extLst>
            </p:cNvPr>
            <p:cNvSpPr>
              <a:spLocks noEditPoints="1"/>
            </p:cNvSpPr>
            <p:nvPr/>
          </p:nvSpPr>
          <p:spPr bwMode="auto">
            <a:xfrm>
              <a:off x="6685" y="3636"/>
              <a:ext cx="107" cy="212"/>
            </a:xfrm>
            <a:custGeom>
              <a:avLst/>
              <a:gdLst>
                <a:gd name="T0" fmla="*/ 147 w 161"/>
                <a:gd name="T1" fmla="*/ 99 h 320"/>
                <a:gd name="T2" fmla="*/ 123 w 161"/>
                <a:gd name="T3" fmla="*/ 74 h 320"/>
                <a:gd name="T4" fmla="*/ 91 w 161"/>
                <a:gd name="T5" fmla="*/ 74 h 320"/>
                <a:gd name="T6" fmla="*/ 91 w 161"/>
                <a:gd name="T7" fmla="*/ 72 h 320"/>
                <a:gd name="T8" fmla="*/ 81 w 161"/>
                <a:gd name="T9" fmla="*/ 36 h 320"/>
                <a:gd name="T10" fmla="*/ 73 w 161"/>
                <a:gd name="T11" fmla="*/ 10 h 320"/>
                <a:gd name="T12" fmla="*/ 63 w 161"/>
                <a:gd name="T13" fmla="*/ 0 h 320"/>
                <a:gd name="T14" fmla="*/ 52 w 161"/>
                <a:gd name="T15" fmla="*/ 10 h 320"/>
                <a:gd name="T16" fmla="*/ 62 w 161"/>
                <a:gd name="T17" fmla="*/ 47 h 320"/>
                <a:gd name="T18" fmla="*/ 70 w 161"/>
                <a:gd name="T19" fmla="*/ 72 h 320"/>
                <a:gd name="T20" fmla="*/ 70 w 161"/>
                <a:gd name="T21" fmla="*/ 74 h 320"/>
                <a:gd name="T22" fmla="*/ 39 w 161"/>
                <a:gd name="T23" fmla="*/ 74 h 320"/>
                <a:gd name="T24" fmla="*/ 14 w 161"/>
                <a:gd name="T25" fmla="*/ 98 h 320"/>
                <a:gd name="T26" fmla="*/ 0 w 161"/>
                <a:gd name="T27" fmla="*/ 238 h 320"/>
                <a:gd name="T28" fmla="*/ 0 w 161"/>
                <a:gd name="T29" fmla="*/ 239 h 320"/>
                <a:gd name="T30" fmla="*/ 81 w 161"/>
                <a:gd name="T31" fmla="*/ 320 h 320"/>
                <a:gd name="T32" fmla="*/ 161 w 161"/>
                <a:gd name="T33" fmla="*/ 238 h 320"/>
                <a:gd name="T34" fmla="*/ 147 w 161"/>
                <a:gd name="T35" fmla="*/ 99 h 320"/>
                <a:gd name="T36" fmla="*/ 126 w 161"/>
                <a:gd name="T37" fmla="*/ 100 h 320"/>
                <a:gd name="T38" fmla="*/ 130 w 161"/>
                <a:gd name="T39" fmla="*/ 138 h 320"/>
                <a:gd name="T40" fmla="*/ 91 w 161"/>
                <a:gd name="T41" fmla="*/ 138 h 320"/>
                <a:gd name="T42" fmla="*/ 91 w 161"/>
                <a:gd name="T43" fmla="*/ 96 h 320"/>
                <a:gd name="T44" fmla="*/ 123 w 161"/>
                <a:gd name="T45" fmla="*/ 96 h 320"/>
                <a:gd name="T46" fmla="*/ 126 w 161"/>
                <a:gd name="T47" fmla="*/ 100 h 320"/>
                <a:gd name="T48" fmla="*/ 39 w 161"/>
                <a:gd name="T49" fmla="*/ 96 h 320"/>
                <a:gd name="T50" fmla="*/ 70 w 161"/>
                <a:gd name="T51" fmla="*/ 96 h 320"/>
                <a:gd name="T52" fmla="*/ 70 w 161"/>
                <a:gd name="T53" fmla="*/ 138 h 320"/>
                <a:gd name="T54" fmla="*/ 32 w 161"/>
                <a:gd name="T55" fmla="*/ 138 h 320"/>
                <a:gd name="T56" fmla="*/ 36 w 161"/>
                <a:gd name="T57" fmla="*/ 99 h 320"/>
                <a:gd name="T58" fmla="*/ 39 w 161"/>
                <a:gd name="T59" fmla="*/ 96 h 320"/>
                <a:gd name="T60" fmla="*/ 81 w 161"/>
                <a:gd name="T61" fmla="*/ 298 h 320"/>
                <a:gd name="T62" fmla="*/ 22 w 161"/>
                <a:gd name="T63" fmla="*/ 240 h 320"/>
                <a:gd name="T64" fmla="*/ 30 w 161"/>
                <a:gd name="T65" fmla="*/ 160 h 320"/>
                <a:gd name="T66" fmla="*/ 132 w 161"/>
                <a:gd name="T67" fmla="*/ 160 h 320"/>
                <a:gd name="T68" fmla="*/ 140 w 161"/>
                <a:gd name="T69" fmla="*/ 239 h 320"/>
                <a:gd name="T70" fmla="*/ 81 w 161"/>
                <a:gd name="T7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320">
                  <a:moveTo>
                    <a:pt x="147" y="99"/>
                  </a:moveTo>
                  <a:cubicBezTo>
                    <a:pt x="147" y="86"/>
                    <a:pt x="136" y="74"/>
                    <a:pt x="123" y="74"/>
                  </a:cubicBezTo>
                  <a:cubicBezTo>
                    <a:pt x="91" y="74"/>
                    <a:pt x="91" y="74"/>
                    <a:pt x="91" y="74"/>
                  </a:cubicBezTo>
                  <a:cubicBezTo>
                    <a:pt x="91" y="72"/>
                    <a:pt x="91" y="72"/>
                    <a:pt x="91" y="72"/>
                  </a:cubicBezTo>
                  <a:cubicBezTo>
                    <a:pt x="91" y="53"/>
                    <a:pt x="85" y="43"/>
                    <a:pt x="81" y="36"/>
                  </a:cubicBezTo>
                  <a:cubicBezTo>
                    <a:pt x="77" y="29"/>
                    <a:pt x="73" y="23"/>
                    <a:pt x="73" y="10"/>
                  </a:cubicBezTo>
                  <a:cubicBezTo>
                    <a:pt x="73" y="4"/>
                    <a:pt x="69" y="0"/>
                    <a:pt x="63" y="0"/>
                  </a:cubicBezTo>
                  <a:cubicBezTo>
                    <a:pt x="57" y="0"/>
                    <a:pt x="52" y="4"/>
                    <a:pt x="52" y="10"/>
                  </a:cubicBezTo>
                  <a:cubicBezTo>
                    <a:pt x="52" y="29"/>
                    <a:pt x="58" y="39"/>
                    <a:pt x="62" y="47"/>
                  </a:cubicBezTo>
                  <a:cubicBezTo>
                    <a:pt x="67" y="54"/>
                    <a:pt x="70" y="59"/>
                    <a:pt x="70" y="72"/>
                  </a:cubicBezTo>
                  <a:cubicBezTo>
                    <a:pt x="70" y="74"/>
                    <a:pt x="70" y="74"/>
                    <a:pt x="70" y="74"/>
                  </a:cubicBezTo>
                  <a:cubicBezTo>
                    <a:pt x="39" y="74"/>
                    <a:pt x="39" y="74"/>
                    <a:pt x="39" y="74"/>
                  </a:cubicBezTo>
                  <a:cubicBezTo>
                    <a:pt x="25" y="74"/>
                    <a:pt x="14" y="86"/>
                    <a:pt x="14" y="98"/>
                  </a:cubicBezTo>
                  <a:cubicBezTo>
                    <a:pt x="0" y="238"/>
                    <a:pt x="0" y="238"/>
                    <a:pt x="0" y="238"/>
                  </a:cubicBezTo>
                  <a:cubicBezTo>
                    <a:pt x="0" y="239"/>
                    <a:pt x="0" y="239"/>
                    <a:pt x="0" y="239"/>
                  </a:cubicBezTo>
                  <a:cubicBezTo>
                    <a:pt x="0" y="284"/>
                    <a:pt x="36" y="320"/>
                    <a:pt x="81" y="320"/>
                  </a:cubicBezTo>
                  <a:cubicBezTo>
                    <a:pt x="125" y="320"/>
                    <a:pt x="161" y="284"/>
                    <a:pt x="161" y="238"/>
                  </a:cubicBezTo>
                  <a:lnTo>
                    <a:pt x="147" y="99"/>
                  </a:lnTo>
                  <a:close/>
                  <a:moveTo>
                    <a:pt x="126" y="100"/>
                  </a:moveTo>
                  <a:cubicBezTo>
                    <a:pt x="130" y="138"/>
                    <a:pt x="130" y="138"/>
                    <a:pt x="130" y="138"/>
                  </a:cubicBezTo>
                  <a:cubicBezTo>
                    <a:pt x="91" y="138"/>
                    <a:pt x="91" y="138"/>
                    <a:pt x="91" y="138"/>
                  </a:cubicBezTo>
                  <a:cubicBezTo>
                    <a:pt x="91" y="96"/>
                    <a:pt x="91" y="96"/>
                    <a:pt x="91" y="96"/>
                  </a:cubicBezTo>
                  <a:cubicBezTo>
                    <a:pt x="123" y="96"/>
                    <a:pt x="123" y="96"/>
                    <a:pt x="123" y="96"/>
                  </a:cubicBezTo>
                  <a:cubicBezTo>
                    <a:pt x="124" y="96"/>
                    <a:pt x="126" y="97"/>
                    <a:pt x="126" y="100"/>
                  </a:cubicBezTo>
                  <a:close/>
                  <a:moveTo>
                    <a:pt x="39" y="96"/>
                  </a:moveTo>
                  <a:cubicBezTo>
                    <a:pt x="70" y="96"/>
                    <a:pt x="70" y="96"/>
                    <a:pt x="70" y="96"/>
                  </a:cubicBezTo>
                  <a:cubicBezTo>
                    <a:pt x="70" y="138"/>
                    <a:pt x="70" y="138"/>
                    <a:pt x="70" y="138"/>
                  </a:cubicBezTo>
                  <a:cubicBezTo>
                    <a:pt x="32" y="138"/>
                    <a:pt x="32" y="138"/>
                    <a:pt x="32" y="138"/>
                  </a:cubicBezTo>
                  <a:cubicBezTo>
                    <a:pt x="36" y="99"/>
                    <a:pt x="36" y="99"/>
                    <a:pt x="36" y="99"/>
                  </a:cubicBezTo>
                  <a:cubicBezTo>
                    <a:pt x="36" y="97"/>
                    <a:pt x="37" y="96"/>
                    <a:pt x="39" y="96"/>
                  </a:cubicBezTo>
                  <a:close/>
                  <a:moveTo>
                    <a:pt x="81" y="298"/>
                  </a:moveTo>
                  <a:cubicBezTo>
                    <a:pt x="48" y="298"/>
                    <a:pt x="22" y="272"/>
                    <a:pt x="22" y="240"/>
                  </a:cubicBezTo>
                  <a:cubicBezTo>
                    <a:pt x="30" y="160"/>
                    <a:pt x="30" y="160"/>
                    <a:pt x="30" y="160"/>
                  </a:cubicBezTo>
                  <a:cubicBezTo>
                    <a:pt x="132" y="160"/>
                    <a:pt x="132" y="160"/>
                    <a:pt x="132" y="160"/>
                  </a:cubicBezTo>
                  <a:cubicBezTo>
                    <a:pt x="140" y="239"/>
                    <a:pt x="140" y="239"/>
                    <a:pt x="140" y="239"/>
                  </a:cubicBezTo>
                  <a:cubicBezTo>
                    <a:pt x="140" y="272"/>
                    <a:pt x="113" y="298"/>
                    <a:pt x="81"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17" name="Freeform 468">
            <a:extLst>
              <a:ext uri="{FF2B5EF4-FFF2-40B4-BE49-F238E27FC236}">
                <a16:creationId xmlns:a16="http://schemas.microsoft.com/office/drawing/2014/main" id="{0D3170D7-CCB1-464E-B881-E65129376009}"/>
              </a:ext>
            </a:extLst>
          </p:cNvPr>
          <p:cNvSpPr>
            <a:spLocks noChangeAspect="1" noEditPoints="1"/>
          </p:cNvSpPr>
          <p:nvPr/>
        </p:nvSpPr>
        <p:spPr bwMode="auto">
          <a:xfrm>
            <a:off x="10055604" y="3302682"/>
            <a:ext cx="367041" cy="367041"/>
          </a:xfrm>
          <a:custGeom>
            <a:avLst/>
            <a:gdLst>
              <a:gd name="T0" fmla="*/ 0 w 512"/>
              <a:gd name="T1" fmla="*/ 256 h 512"/>
              <a:gd name="T2" fmla="*/ 512 w 512"/>
              <a:gd name="T3" fmla="*/ 256 h 512"/>
              <a:gd name="T4" fmla="*/ 416 w 512"/>
              <a:gd name="T5" fmla="*/ 352 h 512"/>
              <a:gd name="T6" fmla="*/ 106 w 512"/>
              <a:gd name="T7" fmla="*/ 362 h 512"/>
              <a:gd name="T8" fmla="*/ 96 w 512"/>
              <a:gd name="T9" fmla="*/ 224 h 512"/>
              <a:gd name="T10" fmla="*/ 240 w 512"/>
              <a:gd name="T11" fmla="*/ 213 h 512"/>
              <a:gd name="T12" fmla="*/ 224 w 512"/>
              <a:gd name="T13" fmla="*/ 181 h 512"/>
              <a:gd name="T14" fmla="*/ 245 w 512"/>
              <a:gd name="T15" fmla="*/ 138 h 512"/>
              <a:gd name="T16" fmla="*/ 266 w 512"/>
              <a:gd name="T17" fmla="*/ 138 h 512"/>
              <a:gd name="T18" fmla="*/ 245 w 512"/>
              <a:gd name="T19" fmla="*/ 181 h 512"/>
              <a:gd name="T20" fmla="*/ 265 w 512"/>
              <a:gd name="T21" fmla="*/ 213 h 512"/>
              <a:gd name="T22" fmla="*/ 416 w 512"/>
              <a:gd name="T23" fmla="*/ 224 h 512"/>
              <a:gd name="T24" fmla="*/ 117 w 512"/>
              <a:gd name="T25" fmla="*/ 341 h 512"/>
              <a:gd name="T26" fmla="*/ 394 w 512"/>
              <a:gd name="T27" fmla="*/ 234 h 512"/>
              <a:gd name="T28" fmla="*/ 117 w 512"/>
              <a:gd name="T29" fmla="*/ 341 h 512"/>
              <a:gd name="T30" fmla="*/ 373 w 512"/>
              <a:gd name="T31" fmla="*/ 256 h 512"/>
              <a:gd name="T32" fmla="*/ 352 w 512"/>
              <a:gd name="T33" fmla="*/ 256 h 512"/>
              <a:gd name="T34" fmla="*/ 362 w 512"/>
              <a:gd name="T35" fmla="*/ 277 h 512"/>
              <a:gd name="T36" fmla="*/ 362 w 512"/>
              <a:gd name="T37" fmla="*/ 298 h 512"/>
              <a:gd name="T38" fmla="*/ 362 w 512"/>
              <a:gd name="T39" fmla="*/ 277 h 512"/>
              <a:gd name="T40" fmla="*/ 373 w 512"/>
              <a:gd name="T41" fmla="*/ 320 h 512"/>
              <a:gd name="T42" fmla="*/ 352 w 512"/>
              <a:gd name="T43" fmla="*/ 320 h 512"/>
              <a:gd name="T44" fmla="*/ 320 w 512"/>
              <a:gd name="T45" fmla="*/ 245 h 512"/>
              <a:gd name="T46" fmla="*/ 320 w 512"/>
              <a:gd name="T47" fmla="*/ 266 h 512"/>
              <a:gd name="T48" fmla="*/ 320 w 512"/>
              <a:gd name="T49" fmla="*/ 245 h 512"/>
              <a:gd name="T50" fmla="*/ 330 w 512"/>
              <a:gd name="T51" fmla="*/ 288 h 512"/>
              <a:gd name="T52" fmla="*/ 309 w 512"/>
              <a:gd name="T53" fmla="*/ 288 h 512"/>
              <a:gd name="T54" fmla="*/ 277 w 512"/>
              <a:gd name="T55" fmla="*/ 245 h 512"/>
              <a:gd name="T56" fmla="*/ 277 w 512"/>
              <a:gd name="T57" fmla="*/ 266 h 512"/>
              <a:gd name="T58" fmla="*/ 277 w 512"/>
              <a:gd name="T59" fmla="*/ 245 h 512"/>
              <a:gd name="T60" fmla="*/ 288 w 512"/>
              <a:gd name="T61" fmla="*/ 288 h 512"/>
              <a:gd name="T62" fmla="*/ 266 w 512"/>
              <a:gd name="T63" fmla="*/ 288 h 512"/>
              <a:gd name="T64" fmla="*/ 234 w 512"/>
              <a:gd name="T65" fmla="*/ 245 h 512"/>
              <a:gd name="T66" fmla="*/ 234 w 512"/>
              <a:gd name="T67" fmla="*/ 266 h 512"/>
              <a:gd name="T68" fmla="*/ 234 w 512"/>
              <a:gd name="T69" fmla="*/ 245 h 512"/>
              <a:gd name="T70" fmla="*/ 245 w 512"/>
              <a:gd name="T71" fmla="*/ 288 h 512"/>
              <a:gd name="T72" fmla="*/ 224 w 512"/>
              <a:gd name="T73" fmla="*/ 288 h 512"/>
              <a:gd name="T74" fmla="*/ 192 w 512"/>
              <a:gd name="T75" fmla="*/ 245 h 512"/>
              <a:gd name="T76" fmla="*/ 192 w 512"/>
              <a:gd name="T77" fmla="*/ 266 h 512"/>
              <a:gd name="T78" fmla="*/ 192 w 512"/>
              <a:gd name="T79" fmla="*/ 245 h 512"/>
              <a:gd name="T80" fmla="*/ 202 w 512"/>
              <a:gd name="T81" fmla="*/ 288 h 512"/>
              <a:gd name="T82" fmla="*/ 181 w 512"/>
              <a:gd name="T83" fmla="*/ 288 h 512"/>
              <a:gd name="T84" fmla="*/ 192 w 512"/>
              <a:gd name="T85" fmla="*/ 309 h 512"/>
              <a:gd name="T86" fmla="*/ 320 w 512"/>
              <a:gd name="T87" fmla="*/ 320 h 512"/>
              <a:gd name="T88" fmla="*/ 192 w 512"/>
              <a:gd name="T89" fmla="*/ 330 h 512"/>
              <a:gd name="T90" fmla="*/ 192 w 512"/>
              <a:gd name="T91" fmla="*/ 309 h 512"/>
              <a:gd name="T92" fmla="*/ 160 w 512"/>
              <a:gd name="T93" fmla="*/ 256 h 512"/>
              <a:gd name="T94" fmla="*/ 138 w 512"/>
              <a:gd name="T95" fmla="*/ 256 h 512"/>
              <a:gd name="T96" fmla="*/ 149 w 512"/>
              <a:gd name="T97" fmla="*/ 277 h 512"/>
              <a:gd name="T98" fmla="*/ 149 w 512"/>
              <a:gd name="T99" fmla="*/ 298 h 512"/>
              <a:gd name="T100" fmla="*/ 149 w 512"/>
              <a:gd name="T101" fmla="*/ 277 h 512"/>
              <a:gd name="T102" fmla="*/ 160 w 512"/>
              <a:gd name="T103" fmla="*/ 320 h 512"/>
              <a:gd name="T104" fmla="*/ 138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52"/>
                </a:moveTo>
                <a:cubicBezTo>
                  <a:pt x="416" y="358"/>
                  <a:pt x="411" y="362"/>
                  <a:pt x="405" y="362"/>
                </a:cubicBezTo>
                <a:cubicBezTo>
                  <a:pt x="106" y="362"/>
                  <a:pt x="106" y="362"/>
                  <a:pt x="106" y="362"/>
                </a:cubicBezTo>
                <a:cubicBezTo>
                  <a:pt x="100" y="362"/>
                  <a:pt x="96" y="358"/>
                  <a:pt x="96" y="352"/>
                </a:cubicBezTo>
                <a:cubicBezTo>
                  <a:pt x="96" y="224"/>
                  <a:pt x="96" y="224"/>
                  <a:pt x="96" y="224"/>
                </a:cubicBezTo>
                <a:cubicBezTo>
                  <a:pt x="96" y="218"/>
                  <a:pt x="100" y="213"/>
                  <a:pt x="106" y="213"/>
                </a:cubicBezTo>
                <a:cubicBezTo>
                  <a:pt x="240" y="213"/>
                  <a:pt x="240" y="213"/>
                  <a:pt x="240" y="213"/>
                </a:cubicBezTo>
                <a:cubicBezTo>
                  <a:pt x="240" y="212"/>
                  <a:pt x="239" y="211"/>
                  <a:pt x="237" y="210"/>
                </a:cubicBezTo>
                <a:cubicBezTo>
                  <a:pt x="232" y="204"/>
                  <a:pt x="224" y="196"/>
                  <a:pt x="224" y="181"/>
                </a:cubicBezTo>
                <a:cubicBezTo>
                  <a:pt x="224" y="166"/>
                  <a:pt x="232" y="158"/>
                  <a:pt x="237" y="152"/>
                </a:cubicBezTo>
                <a:cubicBezTo>
                  <a:pt x="243" y="147"/>
                  <a:pt x="245" y="144"/>
                  <a:pt x="245" y="138"/>
                </a:cubicBezTo>
                <a:cubicBezTo>
                  <a:pt x="245" y="132"/>
                  <a:pt x="250" y="128"/>
                  <a:pt x="256" y="128"/>
                </a:cubicBezTo>
                <a:cubicBezTo>
                  <a:pt x="262" y="128"/>
                  <a:pt x="266" y="132"/>
                  <a:pt x="266" y="138"/>
                </a:cubicBezTo>
                <a:cubicBezTo>
                  <a:pt x="266" y="153"/>
                  <a:pt x="258" y="161"/>
                  <a:pt x="253" y="167"/>
                </a:cubicBezTo>
                <a:cubicBezTo>
                  <a:pt x="247" y="172"/>
                  <a:pt x="245" y="175"/>
                  <a:pt x="245" y="181"/>
                </a:cubicBezTo>
                <a:cubicBezTo>
                  <a:pt x="245" y="187"/>
                  <a:pt x="247" y="190"/>
                  <a:pt x="253" y="195"/>
                </a:cubicBezTo>
                <a:cubicBezTo>
                  <a:pt x="257" y="199"/>
                  <a:pt x="262" y="204"/>
                  <a:pt x="265" y="213"/>
                </a:cubicBezTo>
                <a:cubicBezTo>
                  <a:pt x="405" y="213"/>
                  <a:pt x="405" y="213"/>
                  <a:pt x="405" y="213"/>
                </a:cubicBezTo>
                <a:cubicBezTo>
                  <a:pt x="411" y="213"/>
                  <a:pt x="416" y="218"/>
                  <a:pt x="416" y="224"/>
                </a:cubicBezTo>
                <a:lnTo>
                  <a:pt x="416" y="352"/>
                </a:lnTo>
                <a:close/>
                <a:moveTo>
                  <a:pt x="117" y="341"/>
                </a:moveTo>
                <a:cubicBezTo>
                  <a:pt x="394" y="341"/>
                  <a:pt x="394" y="341"/>
                  <a:pt x="394" y="341"/>
                </a:cubicBezTo>
                <a:cubicBezTo>
                  <a:pt x="394" y="234"/>
                  <a:pt x="394" y="234"/>
                  <a:pt x="394" y="234"/>
                </a:cubicBezTo>
                <a:cubicBezTo>
                  <a:pt x="117" y="234"/>
                  <a:pt x="117" y="234"/>
                  <a:pt x="117" y="234"/>
                </a:cubicBezTo>
                <a:lnTo>
                  <a:pt x="117" y="341"/>
                </a:lnTo>
                <a:close/>
                <a:moveTo>
                  <a:pt x="362" y="245"/>
                </a:moveTo>
                <a:cubicBezTo>
                  <a:pt x="368" y="245"/>
                  <a:pt x="373" y="250"/>
                  <a:pt x="373" y="256"/>
                </a:cubicBezTo>
                <a:cubicBezTo>
                  <a:pt x="373" y="262"/>
                  <a:pt x="368" y="266"/>
                  <a:pt x="362" y="266"/>
                </a:cubicBezTo>
                <a:cubicBezTo>
                  <a:pt x="356" y="266"/>
                  <a:pt x="352" y="262"/>
                  <a:pt x="352" y="256"/>
                </a:cubicBezTo>
                <a:cubicBezTo>
                  <a:pt x="352" y="250"/>
                  <a:pt x="356" y="245"/>
                  <a:pt x="362" y="245"/>
                </a:cubicBezTo>
                <a:close/>
                <a:moveTo>
                  <a:pt x="362" y="277"/>
                </a:moveTo>
                <a:cubicBezTo>
                  <a:pt x="368" y="277"/>
                  <a:pt x="373" y="282"/>
                  <a:pt x="373" y="288"/>
                </a:cubicBezTo>
                <a:cubicBezTo>
                  <a:pt x="373" y="294"/>
                  <a:pt x="368" y="298"/>
                  <a:pt x="362" y="298"/>
                </a:cubicBezTo>
                <a:cubicBezTo>
                  <a:pt x="356" y="298"/>
                  <a:pt x="352" y="294"/>
                  <a:pt x="352" y="288"/>
                </a:cubicBezTo>
                <a:cubicBezTo>
                  <a:pt x="352" y="282"/>
                  <a:pt x="356" y="277"/>
                  <a:pt x="362" y="277"/>
                </a:cubicBezTo>
                <a:close/>
                <a:moveTo>
                  <a:pt x="362" y="309"/>
                </a:moveTo>
                <a:cubicBezTo>
                  <a:pt x="368" y="309"/>
                  <a:pt x="373" y="314"/>
                  <a:pt x="373" y="320"/>
                </a:cubicBezTo>
                <a:cubicBezTo>
                  <a:pt x="373" y="326"/>
                  <a:pt x="368" y="330"/>
                  <a:pt x="362" y="330"/>
                </a:cubicBezTo>
                <a:cubicBezTo>
                  <a:pt x="356" y="330"/>
                  <a:pt x="352" y="326"/>
                  <a:pt x="352" y="320"/>
                </a:cubicBezTo>
                <a:cubicBezTo>
                  <a:pt x="352" y="314"/>
                  <a:pt x="356" y="309"/>
                  <a:pt x="362" y="309"/>
                </a:cubicBezTo>
                <a:close/>
                <a:moveTo>
                  <a:pt x="320" y="245"/>
                </a:moveTo>
                <a:cubicBezTo>
                  <a:pt x="326" y="245"/>
                  <a:pt x="330" y="250"/>
                  <a:pt x="330" y="256"/>
                </a:cubicBezTo>
                <a:cubicBezTo>
                  <a:pt x="330" y="262"/>
                  <a:pt x="326" y="266"/>
                  <a:pt x="320" y="266"/>
                </a:cubicBezTo>
                <a:cubicBezTo>
                  <a:pt x="314" y="266"/>
                  <a:pt x="309" y="262"/>
                  <a:pt x="309" y="256"/>
                </a:cubicBezTo>
                <a:cubicBezTo>
                  <a:pt x="309" y="250"/>
                  <a:pt x="314" y="245"/>
                  <a:pt x="320" y="245"/>
                </a:cubicBezTo>
                <a:close/>
                <a:moveTo>
                  <a:pt x="320" y="277"/>
                </a:moveTo>
                <a:cubicBezTo>
                  <a:pt x="326" y="277"/>
                  <a:pt x="330" y="282"/>
                  <a:pt x="330" y="288"/>
                </a:cubicBezTo>
                <a:cubicBezTo>
                  <a:pt x="330" y="294"/>
                  <a:pt x="326" y="298"/>
                  <a:pt x="320" y="298"/>
                </a:cubicBezTo>
                <a:cubicBezTo>
                  <a:pt x="314" y="298"/>
                  <a:pt x="309" y="294"/>
                  <a:pt x="309" y="288"/>
                </a:cubicBezTo>
                <a:cubicBezTo>
                  <a:pt x="309" y="282"/>
                  <a:pt x="314" y="277"/>
                  <a:pt x="320" y="277"/>
                </a:cubicBezTo>
                <a:close/>
                <a:moveTo>
                  <a:pt x="277" y="245"/>
                </a:moveTo>
                <a:cubicBezTo>
                  <a:pt x="283" y="245"/>
                  <a:pt x="288" y="250"/>
                  <a:pt x="288" y="256"/>
                </a:cubicBezTo>
                <a:cubicBezTo>
                  <a:pt x="288" y="262"/>
                  <a:pt x="283" y="266"/>
                  <a:pt x="277" y="266"/>
                </a:cubicBezTo>
                <a:cubicBezTo>
                  <a:pt x="271" y="266"/>
                  <a:pt x="266" y="262"/>
                  <a:pt x="266" y="256"/>
                </a:cubicBezTo>
                <a:cubicBezTo>
                  <a:pt x="266" y="250"/>
                  <a:pt x="271" y="245"/>
                  <a:pt x="277" y="245"/>
                </a:cubicBezTo>
                <a:close/>
                <a:moveTo>
                  <a:pt x="277" y="277"/>
                </a:moveTo>
                <a:cubicBezTo>
                  <a:pt x="283" y="277"/>
                  <a:pt x="288" y="282"/>
                  <a:pt x="288" y="288"/>
                </a:cubicBezTo>
                <a:cubicBezTo>
                  <a:pt x="288" y="294"/>
                  <a:pt x="283" y="298"/>
                  <a:pt x="277" y="298"/>
                </a:cubicBezTo>
                <a:cubicBezTo>
                  <a:pt x="271" y="298"/>
                  <a:pt x="266" y="294"/>
                  <a:pt x="266" y="288"/>
                </a:cubicBezTo>
                <a:cubicBezTo>
                  <a:pt x="266" y="282"/>
                  <a:pt x="271" y="277"/>
                  <a:pt x="277" y="277"/>
                </a:cubicBezTo>
                <a:close/>
                <a:moveTo>
                  <a:pt x="234" y="245"/>
                </a:moveTo>
                <a:cubicBezTo>
                  <a:pt x="240" y="245"/>
                  <a:pt x="245" y="250"/>
                  <a:pt x="245" y="256"/>
                </a:cubicBezTo>
                <a:cubicBezTo>
                  <a:pt x="245" y="262"/>
                  <a:pt x="240" y="266"/>
                  <a:pt x="234" y="266"/>
                </a:cubicBezTo>
                <a:cubicBezTo>
                  <a:pt x="228" y="266"/>
                  <a:pt x="224" y="262"/>
                  <a:pt x="224" y="256"/>
                </a:cubicBezTo>
                <a:cubicBezTo>
                  <a:pt x="224" y="250"/>
                  <a:pt x="228" y="245"/>
                  <a:pt x="234" y="245"/>
                </a:cubicBezTo>
                <a:close/>
                <a:moveTo>
                  <a:pt x="234" y="277"/>
                </a:moveTo>
                <a:cubicBezTo>
                  <a:pt x="240" y="277"/>
                  <a:pt x="245" y="282"/>
                  <a:pt x="245" y="288"/>
                </a:cubicBezTo>
                <a:cubicBezTo>
                  <a:pt x="245" y="294"/>
                  <a:pt x="240" y="298"/>
                  <a:pt x="234" y="298"/>
                </a:cubicBezTo>
                <a:cubicBezTo>
                  <a:pt x="228" y="298"/>
                  <a:pt x="224" y="294"/>
                  <a:pt x="224" y="288"/>
                </a:cubicBezTo>
                <a:cubicBezTo>
                  <a:pt x="224" y="282"/>
                  <a:pt x="228" y="277"/>
                  <a:pt x="234" y="277"/>
                </a:cubicBezTo>
                <a:close/>
                <a:moveTo>
                  <a:pt x="192" y="245"/>
                </a:moveTo>
                <a:cubicBezTo>
                  <a:pt x="198" y="245"/>
                  <a:pt x="202" y="250"/>
                  <a:pt x="202" y="256"/>
                </a:cubicBezTo>
                <a:cubicBezTo>
                  <a:pt x="202" y="262"/>
                  <a:pt x="198" y="266"/>
                  <a:pt x="192" y="266"/>
                </a:cubicBezTo>
                <a:cubicBezTo>
                  <a:pt x="186" y="266"/>
                  <a:pt x="181" y="262"/>
                  <a:pt x="181" y="256"/>
                </a:cubicBezTo>
                <a:cubicBezTo>
                  <a:pt x="181" y="250"/>
                  <a:pt x="186" y="245"/>
                  <a:pt x="192" y="245"/>
                </a:cubicBezTo>
                <a:close/>
                <a:moveTo>
                  <a:pt x="192" y="277"/>
                </a:moveTo>
                <a:cubicBezTo>
                  <a:pt x="198" y="277"/>
                  <a:pt x="202" y="282"/>
                  <a:pt x="202" y="288"/>
                </a:cubicBezTo>
                <a:cubicBezTo>
                  <a:pt x="202" y="294"/>
                  <a:pt x="198" y="298"/>
                  <a:pt x="192" y="298"/>
                </a:cubicBezTo>
                <a:cubicBezTo>
                  <a:pt x="186" y="298"/>
                  <a:pt x="181" y="294"/>
                  <a:pt x="181" y="288"/>
                </a:cubicBezTo>
                <a:cubicBezTo>
                  <a:pt x="181" y="282"/>
                  <a:pt x="186" y="277"/>
                  <a:pt x="192" y="277"/>
                </a:cubicBezTo>
                <a:close/>
                <a:moveTo>
                  <a:pt x="192" y="309"/>
                </a:moveTo>
                <a:cubicBezTo>
                  <a:pt x="309" y="309"/>
                  <a:pt x="309" y="309"/>
                  <a:pt x="309" y="309"/>
                </a:cubicBezTo>
                <a:cubicBezTo>
                  <a:pt x="315" y="309"/>
                  <a:pt x="320" y="314"/>
                  <a:pt x="320" y="320"/>
                </a:cubicBezTo>
                <a:cubicBezTo>
                  <a:pt x="320" y="326"/>
                  <a:pt x="315" y="330"/>
                  <a:pt x="309" y="330"/>
                </a:cubicBezTo>
                <a:cubicBezTo>
                  <a:pt x="192" y="330"/>
                  <a:pt x="192" y="330"/>
                  <a:pt x="192" y="330"/>
                </a:cubicBezTo>
                <a:cubicBezTo>
                  <a:pt x="186" y="330"/>
                  <a:pt x="181" y="326"/>
                  <a:pt x="181" y="320"/>
                </a:cubicBezTo>
                <a:cubicBezTo>
                  <a:pt x="181" y="314"/>
                  <a:pt x="186" y="309"/>
                  <a:pt x="192" y="309"/>
                </a:cubicBezTo>
                <a:close/>
                <a:moveTo>
                  <a:pt x="149" y="245"/>
                </a:moveTo>
                <a:cubicBezTo>
                  <a:pt x="155" y="245"/>
                  <a:pt x="160" y="250"/>
                  <a:pt x="160" y="256"/>
                </a:cubicBezTo>
                <a:cubicBezTo>
                  <a:pt x="160" y="262"/>
                  <a:pt x="155" y="266"/>
                  <a:pt x="149" y="266"/>
                </a:cubicBezTo>
                <a:cubicBezTo>
                  <a:pt x="143" y="266"/>
                  <a:pt x="138" y="262"/>
                  <a:pt x="138" y="256"/>
                </a:cubicBezTo>
                <a:cubicBezTo>
                  <a:pt x="138" y="250"/>
                  <a:pt x="143" y="245"/>
                  <a:pt x="149" y="245"/>
                </a:cubicBezTo>
                <a:close/>
                <a:moveTo>
                  <a:pt x="149" y="277"/>
                </a:moveTo>
                <a:cubicBezTo>
                  <a:pt x="155" y="277"/>
                  <a:pt x="160" y="282"/>
                  <a:pt x="160" y="288"/>
                </a:cubicBezTo>
                <a:cubicBezTo>
                  <a:pt x="160" y="294"/>
                  <a:pt x="155" y="298"/>
                  <a:pt x="149" y="298"/>
                </a:cubicBezTo>
                <a:cubicBezTo>
                  <a:pt x="143" y="298"/>
                  <a:pt x="138" y="294"/>
                  <a:pt x="138" y="288"/>
                </a:cubicBezTo>
                <a:cubicBezTo>
                  <a:pt x="138" y="282"/>
                  <a:pt x="143" y="277"/>
                  <a:pt x="149" y="277"/>
                </a:cubicBezTo>
                <a:close/>
                <a:moveTo>
                  <a:pt x="149" y="309"/>
                </a:moveTo>
                <a:cubicBezTo>
                  <a:pt x="155" y="309"/>
                  <a:pt x="160" y="314"/>
                  <a:pt x="160" y="320"/>
                </a:cubicBezTo>
                <a:cubicBezTo>
                  <a:pt x="160" y="326"/>
                  <a:pt x="155" y="330"/>
                  <a:pt x="149" y="330"/>
                </a:cubicBezTo>
                <a:cubicBezTo>
                  <a:pt x="143" y="330"/>
                  <a:pt x="138" y="326"/>
                  <a:pt x="138" y="320"/>
                </a:cubicBezTo>
                <a:cubicBezTo>
                  <a:pt x="138" y="314"/>
                  <a:pt x="143" y="309"/>
                  <a:pt x="149" y="30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18" name="Group 471">
            <a:extLst>
              <a:ext uri="{FF2B5EF4-FFF2-40B4-BE49-F238E27FC236}">
                <a16:creationId xmlns:a16="http://schemas.microsoft.com/office/drawing/2014/main" id="{04ADC270-F33C-4BA2-8C6A-258554052A33}"/>
              </a:ext>
            </a:extLst>
          </p:cNvPr>
          <p:cNvGrpSpPr>
            <a:grpSpLocks noChangeAspect="1"/>
          </p:cNvGrpSpPr>
          <p:nvPr/>
        </p:nvGrpSpPr>
        <p:grpSpPr bwMode="auto">
          <a:xfrm>
            <a:off x="10490185" y="3302682"/>
            <a:ext cx="367041" cy="367041"/>
            <a:chOff x="6130" y="3025"/>
            <a:chExt cx="340" cy="340"/>
          </a:xfrm>
          <a:solidFill>
            <a:schemeClr val="accent5"/>
          </a:solidFill>
        </p:grpSpPr>
        <p:sp>
          <p:nvSpPr>
            <p:cNvPr id="719" name="Freeform 533">
              <a:extLst>
                <a:ext uri="{FF2B5EF4-FFF2-40B4-BE49-F238E27FC236}">
                  <a16:creationId xmlns:a16="http://schemas.microsoft.com/office/drawing/2014/main" id="{060FC87C-C32A-4240-9841-D8E2C051FCF4}"/>
                </a:ext>
              </a:extLst>
            </p:cNvPr>
            <p:cNvSpPr>
              <a:spLocks noEditPoints="1"/>
            </p:cNvSpPr>
            <p:nvPr/>
          </p:nvSpPr>
          <p:spPr bwMode="auto">
            <a:xfrm>
              <a:off x="6130" y="302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0" name="Freeform 534">
              <a:extLst>
                <a:ext uri="{FF2B5EF4-FFF2-40B4-BE49-F238E27FC236}">
                  <a16:creationId xmlns:a16="http://schemas.microsoft.com/office/drawing/2014/main" id="{4D29E4E7-2AB3-4F88-A6E6-607CB3FAC8B3}"/>
                </a:ext>
              </a:extLst>
            </p:cNvPr>
            <p:cNvSpPr>
              <a:spLocks noEditPoints="1"/>
            </p:cNvSpPr>
            <p:nvPr/>
          </p:nvSpPr>
          <p:spPr bwMode="auto">
            <a:xfrm>
              <a:off x="6194" y="3110"/>
              <a:ext cx="212" cy="155"/>
            </a:xfrm>
            <a:custGeom>
              <a:avLst/>
              <a:gdLst>
                <a:gd name="T0" fmla="*/ 169 w 320"/>
                <a:gd name="T1" fmla="*/ 85 h 234"/>
                <a:gd name="T2" fmla="*/ 149 w 320"/>
                <a:gd name="T3" fmla="*/ 53 h 234"/>
                <a:gd name="T4" fmla="*/ 170 w 320"/>
                <a:gd name="T5" fmla="*/ 10 h 234"/>
                <a:gd name="T6" fmla="*/ 149 w 320"/>
                <a:gd name="T7" fmla="*/ 10 h 234"/>
                <a:gd name="T8" fmla="*/ 128 w 320"/>
                <a:gd name="T9" fmla="*/ 53 h 234"/>
                <a:gd name="T10" fmla="*/ 144 w 320"/>
                <a:gd name="T11" fmla="*/ 85 h 234"/>
                <a:gd name="T12" fmla="*/ 0 w 320"/>
                <a:gd name="T13" fmla="*/ 96 h 234"/>
                <a:gd name="T14" fmla="*/ 10 w 320"/>
                <a:gd name="T15" fmla="*/ 234 h 234"/>
                <a:gd name="T16" fmla="*/ 320 w 320"/>
                <a:gd name="T17" fmla="*/ 224 h 234"/>
                <a:gd name="T18" fmla="*/ 309 w 320"/>
                <a:gd name="T19" fmla="*/ 85 h 234"/>
                <a:gd name="T20" fmla="*/ 21 w 320"/>
                <a:gd name="T21" fmla="*/ 213 h 234"/>
                <a:gd name="T22" fmla="*/ 298 w 320"/>
                <a:gd name="T23" fmla="*/ 106 h 234"/>
                <a:gd name="T24" fmla="*/ 96 w 320"/>
                <a:gd name="T25" fmla="*/ 181 h 234"/>
                <a:gd name="T26" fmla="*/ 224 w 320"/>
                <a:gd name="T27" fmla="*/ 192 h 234"/>
                <a:gd name="T28" fmla="*/ 96 w 320"/>
                <a:gd name="T29" fmla="*/ 202 h 234"/>
                <a:gd name="T30" fmla="*/ 96 w 320"/>
                <a:gd name="T31" fmla="*/ 181 h 234"/>
                <a:gd name="T32" fmla="*/ 53 w 320"/>
                <a:gd name="T33" fmla="*/ 202 h 234"/>
                <a:gd name="T34" fmla="*/ 53 w 320"/>
                <a:gd name="T35" fmla="*/ 181 h 234"/>
                <a:gd name="T36" fmla="*/ 64 w 320"/>
                <a:gd name="T37" fmla="*/ 160 h 234"/>
                <a:gd name="T38" fmla="*/ 42 w 320"/>
                <a:gd name="T39" fmla="*/ 160 h 234"/>
                <a:gd name="T40" fmla="*/ 64 w 320"/>
                <a:gd name="T41" fmla="*/ 160 h 234"/>
                <a:gd name="T42" fmla="*/ 53 w 320"/>
                <a:gd name="T43" fmla="*/ 138 h 234"/>
                <a:gd name="T44" fmla="*/ 53 w 320"/>
                <a:gd name="T45" fmla="*/ 117 h 234"/>
                <a:gd name="T46" fmla="*/ 85 w 320"/>
                <a:gd name="T47" fmla="*/ 160 h 234"/>
                <a:gd name="T48" fmla="*/ 106 w 320"/>
                <a:gd name="T49" fmla="*/ 160 h 234"/>
                <a:gd name="T50" fmla="*/ 85 w 320"/>
                <a:gd name="T51" fmla="*/ 160 h 234"/>
                <a:gd name="T52" fmla="*/ 96 w 320"/>
                <a:gd name="T53" fmla="*/ 117 h 234"/>
                <a:gd name="T54" fmla="*/ 96 w 320"/>
                <a:gd name="T55" fmla="*/ 138 h 234"/>
                <a:gd name="T56" fmla="*/ 128 w 320"/>
                <a:gd name="T57" fmla="*/ 160 h 234"/>
                <a:gd name="T58" fmla="*/ 149 w 320"/>
                <a:gd name="T59" fmla="*/ 160 h 234"/>
                <a:gd name="T60" fmla="*/ 128 w 320"/>
                <a:gd name="T61" fmla="*/ 160 h 234"/>
                <a:gd name="T62" fmla="*/ 138 w 320"/>
                <a:gd name="T63" fmla="*/ 117 h 234"/>
                <a:gd name="T64" fmla="*/ 138 w 320"/>
                <a:gd name="T65" fmla="*/ 138 h 234"/>
                <a:gd name="T66" fmla="*/ 170 w 320"/>
                <a:gd name="T67" fmla="*/ 160 h 234"/>
                <a:gd name="T68" fmla="*/ 192 w 320"/>
                <a:gd name="T69" fmla="*/ 160 h 234"/>
                <a:gd name="T70" fmla="*/ 170 w 320"/>
                <a:gd name="T71" fmla="*/ 160 h 234"/>
                <a:gd name="T72" fmla="*/ 181 w 320"/>
                <a:gd name="T73" fmla="*/ 117 h 234"/>
                <a:gd name="T74" fmla="*/ 181 w 320"/>
                <a:gd name="T75" fmla="*/ 138 h 234"/>
                <a:gd name="T76" fmla="*/ 213 w 320"/>
                <a:gd name="T77" fmla="*/ 160 h 234"/>
                <a:gd name="T78" fmla="*/ 234 w 320"/>
                <a:gd name="T79" fmla="*/ 160 h 234"/>
                <a:gd name="T80" fmla="*/ 213 w 320"/>
                <a:gd name="T81" fmla="*/ 160 h 234"/>
                <a:gd name="T82" fmla="*/ 224 w 320"/>
                <a:gd name="T83" fmla="*/ 117 h 234"/>
                <a:gd name="T84" fmla="*/ 224 w 320"/>
                <a:gd name="T85" fmla="*/ 138 h 234"/>
                <a:gd name="T86" fmla="*/ 256 w 320"/>
                <a:gd name="T87" fmla="*/ 160 h 234"/>
                <a:gd name="T88" fmla="*/ 277 w 320"/>
                <a:gd name="T89" fmla="*/ 160 h 234"/>
                <a:gd name="T90" fmla="*/ 256 w 320"/>
                <a:gd name="T91" fmla="*/ 160 h 234"/>
                <a:gd name="T92" fmla="*/ 266 w 320"/>
                <a:gd name="T93" fmla="*/ 181 h 234"/>
                <a:gd name="T94" fmla="*/ 266 w 320"/>
                <a:gd name="T95" fmla="*/ 202 h 234"/>
                <a:gd name="T96" fmla="*/ 256 w 320"/>
                <a:gd name="T97" fmla="*/ 128 h 234"/>
                <a:gd name="T98" fmla="*/ 277 w 320"/>
                <a:gd name="T99" fmla="*/ 128 h 234"/>
                <a:gd name="T100" fmla="*/ 256 w 320"/>
                <a:gd name="T101" fmla="*/ 1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4">
                  <a:moveTo>
                    <a:pt x="309" y="85"/>
                  </a:moveTo>
                  <a:cubicBezTo>
                    <a:pt x="169" y="85"/>
                    <a:pt x="169" y="85"/>
                    <a:pt x="169" y="85"/>
                  </a:cubicBezTo>
                  <a:cubicBezTo>
                    <a:pt x="166" y="76"/>
                    <a:pt x="161" y="71"/>
                    <a:pt x="157" y="67"/>
                  </a:cubicBezTo>
                  <a:cubicBezTo>
                    <a:pt x="151" y="62"/>
                    <a:pt x="149" y="59"/>
                    <a:pt x="149" y="53"/>
                  </a:cubicBezTo>
                  <a:cubicBezTo>
                    <a:pt x="149" y="47"/>
                    <a:pt x="151" y="44"/>
                    <a:pt x="157" y="39"/>
                  </a:cubicBezTo>
                  <a:cubicBezTo>
                    <a:pt x="162" y="33"/>
                    <a:pt x="170" y="25"/>
                    <a:pt x="170" y="10"/>
                  </a:cubicBezTo>
                  <a:cubicBezTo>
                    <a:pt x="170" y="4"/>
                    <a:pt x="166" y="0"/>
                    <a:pt x="160" y="0"/>
                  </a:cubicBezTo>
                  <a:cubicBezTo>
                    <a:pt x="154" y="0"/>
                    <a:pt x="149" y="4"/>
                    <a:pt x="149" y="10"/>
                  </a:cubicBezTo>
                  <a:cubicBezTo>
                    <a:pt x="149" y="16"/>
                    <a:pt x="147" y="19"/>
                    <a:pt x="141" y="24"/>
                  </a:cubicBezTo>
                  <a:cubicBezTo>
                    <a:pt x="136" y="30"/>
                    <a:pt x="128" y="38"/>
                    <a:pt x="128" y="53"/>
                  </a:cubicBezTo>
                  <a:cubicBezTo>
                    <a:pt x="128" y="68"/>
                    <a:pt x="136" y="76"/>
                    <a:pt x="141" y="82"/>
                  </a:cubicBezTo>
                  <a:cubicBezTo>
                    <a:pt x="143" y="83"/>
                    <a:pt x="144" y="84"/>
                    <a:pt x="144" y="85"/>
                  </a:cubicBezTo>
                  <a:cubicBezTo>
                    <a:pt x="10" y="85"/>
                    <a:pt x="10" y="85"/>
                    <a:pt x="10" y="85"/>
                  </a:cubicBezTo>
                  <a:cubicBezTo>
                    <a:pt x="4" y="85"/>
                    <a:pt x="0" y="90"/>
                    <a:pt x="0" y="96"/>
                  </a:cubicBezTo>
                  <a:cubicBezTo>
                    <a:pt x="0" y="224"/>
                    <a:pt x="0" y="224"/>
                    <a:pt x="0" y="224"/>
                  </a:cubicBezTo>
                  <a:cubicBezTo>
                    <a:pt x="0" y="230"/>
                    <a:pt x="4" y="234"/>
                    <a:pt x="10" y="234"/>
                  </a:cubicBezTo>
                  <a:cubicBezTo>
                    <a:pt x="309" y="234"/>
                    <a:pt x="309" y="234"/>
                    <a:pt x="309" y="234"/>
                  </a:cubicBezTo>
                  <a:cubicBezTo>
                    <a:pt x="315" y="234"/>
                    <a:pt x="320" y="230"/>
                    <a:pt x="320" y="224"/>
                  </a:cubicBezTo>
                  <a:cubicBezTo>
                    <a:pt x="320" y="96"/>
                    <a:pt x="320" y="96"/>
                    <a:pt x="320" y="96"/>
                  </a:cubicBezTo>
                  <a:cubicBezTo>
                    <a:pt x="320" y="90"/>
                    <a:pt x="315" y="85"/>
                    <a:pt x="309" y="85"/>
                  </a:cubicBezTo>
                  <a:close/>
                  <a:moveTo>
                    <a:pt x="298" y="213"/>
                  </a:moveTo>
                  <a:cubicBezTo>
                    <a:pt x="21" y="213"/>
                    <a:pt x="21" y="213"/>
                    <a:pt x="21" y="213"/>
                  </a:cubicBezTo>
                  <a:cubicBezTo>
                    <a:pt x="21" y="106"/>
                    <a:pt x="21" y="106"/>
                    <a:pt x="21" y="106"/>
                  </a:cubicBezTo>
                  <a:cubicBezTo>
                    <a:pt x="298" y="106"/>
                    <a:pt x="298" y="106"/>
                    <a:pt x="298" y="106"/>
                  </a:cubicBezTo>
                  <a:lnTo>
                    <a:pt x="298" y="213"/>
                  </a:lnTo>
                  <a:close/>
                  <a:moveTo>
                    <a:pt x="96" y="181"/>
                  </a:moveTo>
                  <a:cubicBezTo>
                    <a:pt x="213" y="181"/>
                    <a:pt x="213" y="181"/>
                    <a:pt x="213" y="181"/>
                  </a:cubicBezTo>
                  <a:cubicBezTo>
                    <a:pt x="219" y="181"/>
                    <a:pt x="224" y="186"/>
                    <a:pt x="224" y="192"/>
                  </a:cubicBezTo>
                  <a:cubicBezTo>
                    <a:pt x="224" y="198"/>
                    <a:pt x="219" y="202"/>
                    <a:pt x="213" y="202"/>
                  </a:cubicBezTo>
                  <a:cubicBezTo>
                    <a:pt x="96" y="202"/>
                    <a:pt x="96" y="202"/>
                    <a:pt x="96" y="202"/>
                  </a:cubicBezTo>
                  <a:cubicBezTo>
                    <a:pt x="90" y="202"/>
                    <a:pt x="85" y="198"/>
                    <a:pt x="85" y="192"/>
                  </a:cubicBezTo>
                  <a:cubicBezTo>
                    <a:pt x="85" y="186"/>
                    <a:pt x="90" y="181"/>
                    <a:pt x="96" y="181"/>
                  </a:cubicBezTo>
                  <a:close/>
                  <a:moveTo>
                    <a:pt x="64" y="192"/>
                  </a:moveTo>
                  <a:cubicBezTo>
                    <a:pt x="64" y="198"/>
                    <a:pt x="59" y="202"/>
                    <a:pt x="53" y="202"/>
                  </a:cubicBezTo>
                  <a:cubicBezTo>
                    <a:pt x="47" y="202"/>
                    <a:pt x="42" y="198"/>
                    <a:pt x="42" y="192"/>
                  </a:cubicBezTo>
                  <a:cubicBezTo>
                    <a:pt x="42" y="186"/>
                    <a:pt x="47" y="181"/>
                    <a:pt x="53" y="181"/>
                  </a:cubicBezTo>
                  <a:cubicBezTo>
                    <a:pt x="59" y="181"/>
                    <a:pt x="64" y="186"/>
                    <a:pt x="64" y="192"/>
                  </a:cubicBezTo>
                  <a:close/>
                  <a:moveTo>
                    <a:pt x="64" y="160"/>
                  </a:moveTo>
                  <a:cubicBezTo>
                    <a:pt x="64" y="166"/>
                    <a:pt x="59" y="170"/>
                    <a:pt x="53" y="170"/>
                  </a:cubicBezTo>
                  <a:cubicBezTo>
                    <a:pt x="47" y="170"/>
                    <a:pt x="42" y="166"/>
                    <a:pt x="42" y="160"/>
                  </a:cubicBezTo>
                  <a:cubicBezTo>
                    <a:pt x="42" y="154"/>
                    <a:pt x="47" y="149"/>
                    <a:pt x="53" y="149"/>
                  </a:cubicBezTo>
                  <a:cubicBezTo>
                    <a:pt x="59" y="149"/>
                    <a:pt x="64" y="154"/>
                    <a:pt x="64" y="160"/>
                  </a:cubicBezTo>
                  <a:close/>
                  <a:moveTo>
                    <a:pt x="64" y="128"/>
                  </a:moveTo>
                  <a:cubicBezTo>
                    <a:pt x="64" y="134"/>
                    <a:pt x="59" y="138"/>
                    <a:pt x="53" y="138"/>
                  </a:cubicBezTo>
                  <a:cubicBezTo>
                    <a:pt x="47" y="138"/>
                    <a:pt x="42" y="134"/>
                    <a:pt x="42" y="128"/>
                  </a:cubicBezTo>
                  <a:cubicBezTo>
                    <a:pt x="42" y="122"/>
                    <a:pt x="47" y="117"/>
                    <a:pt x="53" y="117"/>
                  </a:cubicBezTo>
                  <a:cubicBezTo>
                    <a:pt x="59" y="117"/>
                    <a:pt x="64" y="122"/>
                    <a:pt x="64" y="128"/>
                  </a:cubicBezTo>
                  <a:close/>
                  <a:moveTo>
                    <a:pt x="85" y="160"/>
                  </a:moveTo>
                  <a:cubicBezTo>
                    <a:pt x="85" y="154"/>
                    <a:pt x="90" y="149"/>
                    <a:pt x="96" y="149"/>
                  </a:cubicBezTo>
                  <a:cubicBezTo>
                    <a:pt x="102" y="149"/>
                    <a:pt x="106" y="154"/>
                    <a:pt x="106" y="160"/>
                  </a:cubicBezTo>
                  <a:cubicBezTo>
                    <a:pt x="106" y="166"/>
                    <a:pt x="102" y="170"/>
                    <a:pt x="96" y="170"/>
                  </a:cubicBezTo>
                  <a:cubicBezTo>
                    <a:pt x="90" y="170"/>
                    <a:pt x="85" y="166"/>
                    <a:pt x="85" y="160"/>
                  </a:cubicBezTo>
                  <a:close/>
                  <a:moveTo>
                    <a:pt x="85" y="128"/>
                  </a:moveTo>
                  <a:cubicBezTo>
                    <a:pt x="85" y="122"/>
                    <a:pt x="90" y="117"/>
                    <a:pt x="96" y="117"/>
                  </a:cubicBezTo>
                  <a:cubicBezTo>
                    <a:pt x="102" y="117"/>
                    <a:pt x="106" y="122"/>
                    <a:pt x="106" y="128"/>
                  </a:cubicBezTo>
                  <a:cubicBezTo>
                    <a:pt x="106" y="134"/>
                    <a:pt x="102" y="138"/>
                    <a:pt x="96" y="138"/>
                  </a:cubicBezTo>
                  <a:cubicBezTo>
                    <a:pt x="90" y="138"/>
                    <a:pt x="85" y="134"/>
                    <a:pt x="85" y="128"/>
                  </a:cubicBezTo>
                  <a:close/>
                  <a:moveTo>
                    <a:pt x="128" y="160"/>
                  </a:moveTo>
                  <a:cubicBezTo>
                    <a:pt x="128" y="154"/>
                    <a:pt x="132" y="149"/>
                    <a:pt x="138" y="149"/>
                  </a:cubicBezTo>
                  <a:cubicBezTo>
                    <a:pt x="144" y="149"/>
                    <a:pt x="149" y="154"/>
                    <a:pt x="149" y="160"/>
                  </a:cubicBezTo>
                  <a:cubicBezTo>
                    <a:pt x="149" y="166"/>
                    <a:pt x="144" y="170"/>
                    <a:pt x="138" y="170"/>
                  </a:cubicBezTo>
                  <a:cubicBezTo>
                    <a:pt x="132" y="170"/>
                    <a:pt x="128" y="166"/>
                    <a:pt x="128" y="160"/>
                  </a:cubicBezTo>
                  <a:close/>
                  <a:moveTo>
                    <a:pt x="128" y="128"/>
                  </a:moveTo>
                  <a:cubicBezTo>
                    <a:pt x="128" y="122"/>
                    <a:pt x="132" y="117"/>
                    <a:pt x="138" y="117"/>
                  </a:cubicBezTo>
                  <a:cubicBezTo>
                    <a:pt x="144" y="117"/>
                    <a:pt x="149" y="122"/>
                    <a:pt x="149" y="128"/>
                  </a:cubicBezTo>
                  <a:cubicBezTo>
                    <a:pt x="149" y="134"/>
                    <a:pt x="144" y="138"/>
                    <a:pt x="138" y="138"/>
                  </a:cubicBezTo>
                  <a:cubicBezTo>
                    <a:pt x="132" y="138"/>
                    <a:pt x="128" y="134"/>
                    <a:pt x="128" y="128"/>
                  </a:cubicBezTo>
                  <a:close/>
                  <a:moveTo>
                    <a:pt x="170" y="160"/>
                  </a:moveTo>
                  <a:cubicBezTo>
                    <a:pt x="170" y="154"/>
                    <a:pt x="175" y="149"/>
                    <a:pt x="181" y="149"/>
                  </a:cubicBezTo>
                  <a:cubicBezTo>
                    <a:pt x="187" y="149"/>
                    <a:pt x="192" y="154"/>
                    <a:pt x="192" y="160"/>
                  </a:cubicBezTo>
                  <a:cubicBezTo>
                    <a:pt x="192" y="166"/>
                    <a:pt x="187" y="170"/>
                    <a:pt x="181" y="170"/>
                  </a:cubicBezTo>
                  <a:cubicBezTo>
                    <a:pt x="175" y="170"/>
                    <a:pt x="170" y="166"/>
                    <a:pt x="170" y="160"/>
                  </a:cubicBezTo>
                  <a:close/>
                  <a:moveTo>
                    <a:pt x="170" y="128"/>
                  </a:moveTo>
                  <a:cubicBezTo>
                    <a:pt x="170" y="122"/>
                    <a:pt x="175" y="117"/>
                    <a:pt x="181" y="117"/>
                  </a:cubicBezTo>
                  <a:cubicBezTo>
                    <a:pt x="187" y="117"/>
                    <a:pt x="192" y="122"/>
                    <a:pt x="192" y="128"/>
                  </a:cubicBezTo>
                  <a:cubicBezTo>
                    <a:pt x="192" y="134"/>
                    <a:pt x="187" y="138"/>
                    <a:pt x="181" y="138"/>
                  </a:cubicBezTo>
                  <a:cubicBezTo>
                    <a:pt x="175" y="138"/>
                    <a:pt x="170" y="134"/>
                    <a:pt x="170" y="128"/>
                  </a:cubicBezTo>
                  <a:close/>
                  <a:moveTo>
                    <a:pt x="213" y="160"/>
                  </a:moveTo>
                  <a:cubicBezTo>
                    <a:pt x="213" y="154"/>
                    <a:pt x="218" y="149"/>
                    <a:pt x="224" y="149"/>
                  </a:cubicBezTo>
                  <a:cubicBezTo>
                    <a:pt x="230" y="149"/>
                    <a:pt x="234" y="154"/>
                    <a:pt x="234" y="160"/>
                  </a:cubicBezTo>
                  <a:cubicBezTo>
                    <a:pt x="234" y="166"/>
                    <a:pt x="230" y="170"/>
                    <a:pt x="224" y="170"/>
                  </a:cubicBezTo>
                  <a:cubicBezTo>
                    <a:pt x="218" y="170"/>
                    <a:pt x="213" y="166"/>
                    <a:pt x="213" y="160"/>
                  </a:cubicBezTo>
                  <a:close/>
                  <a:moveTo>
                    <a:pt x="213" y="128"/>
                  </a:moveTo>
                  <a:cubicBezTo>
                    <a:pt x="213" y="122"/>
                    <a:pt x="218" y="117"/>
                    <a:pt x="224" y="117"/>
                  </a:cubicBezTo>
                  <a:cubicBezTo>
                    <a:pt x="230" y="117"/>
                    <a:pt x="234" y="122"/>
                    <a:pt x="234" y="128"/>
                  </a:cubicBezTo>
                  <a:cubicBezTo>
                    <a:pt x="234" y="134"/>
                    <a:pt x="230" y="138"/>
                    <a:pt x="224" y="138"/>
                  </a:cubicBezTo>
                  <a:cubicBezTo>
                    <a:pt x="218" y="138"/>
                    <a:pt x="213" y="134"/>
                    <a:pt x="213" y="128"/>
                  </a:cubicBezTo>
                  <a:close/>
                  <a:moveTo>
                    <a:pt x="256" y="160"/>
                  </a:moveTo>
                  <a:cubicBezTo>
                    <a:pt x="256" y="154"/>
                    <a:pt x="260" y="149"/>
                    <a:pt x="266" y="149"/>
                  </a:cubicBezTo>
                  <a:cubicBezTo>
                    <a:pt x="272" y="149"/>
                    <a:pt x="277" y="154"/>
                    <a:pt x="277" y="160"/>
                  </a:cubicBezTo>
                  <a:cubicBezTo>
                    <a:pt x="277" y="166"/>
                    <a:pt x="272" y="170"/>
                    <a:pt x="266" y="170"/>
                  </a:cubicBezTo>
                  <a:cubicBezTo>
                    <a:pt x="260" y="170"/>
                    <a:pt x="256" y="166"/>
                    <a:pt x="256" y="160"/>
                  </a:cubicBezTo>
                  <a:close/>
                  <a:moveTo>
                    <a:pt x="256" y="192"/>
                  </a:moveTo>
                  <a:cubicBezTo>
                    <a:pt x="256" y="186"/>
                    <a:pt x="260" y="181"/>
                    <a:pt x="266" y="181"/>
                  </a:cubicBezTo>
                  <a:cubicBezTo>
                    <a:pt x="272" y="181"/>
                    <a:pt x="277" y="186"/>
                    <a:pt x="277" y="192"/>
                  </a:cubicBezTo>
                  <a:cubicBezTo>
                    <a:pt x="277" y="198"/>
                    <a:pt x="272" y="202"/>
                    <a:pt x="266" y="202"/>
                  </a:cubicBezTo>
                  <a:cubicBezTo>
                    <a:pt x="260" y="202"/>
                    <a:pt x="256" y="198"/>
                    <a:pt x="256" y="192"/>
                  </a:cubicBezTo>
                  <a:close/>
                  <a:moveTo>
                    <a:pt x="256" y="128"/>
                  </a:moveTo>
                  <a:cubicBezTo>
                    <a:pt x="256" y="122"/>
                    <a:pt x="260" y="117"/>
                    <a:pt x="266" y="117"/>
                  </a:cubicBezTo>
                  <a:cubicBezTo>
                    <a:pt x="272" y="117"/>
                    <a:pt x="277" y="122"/>
                    <a:pt x="277" y="128"/>
                  </a:cubicBezTo>
                  <a:cubicBezTo>
                    <a:pt x="277" y="134"/>
                    <a:pt x="272" y="138"/>
                    <a:pt x="266" y="138"/>
                  </a:cubicBezTo>
                  <a:cubicBezTo>
                    <a:pt x="260" y="138"/>
                    <a:pt x="256" y="134"/>
                    <a:pt x="256"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21" name="Freeform 207">
            <a:extLst>
              <a:ext uri="{FF2B5EF4-FFF2-40B4-BE49-F238E27FC236}">
                <a16:creationId xmlns:a16="http://schemas.microsoft.com/office/drawing/2014/main" id="{682DCB98-922F-42AD-A2E2-C6E506071B23}"/>
              </a:ext>
            </a:extLst>
          </p:cNvPr>
          <p:cNvSpPr>
            <a:spLocks noChangeAspect="1" noEditPoints="1"/>
          </p:cNvSpPr>
          <p:nvPr/>
        </p:nvSpPr>
        <p:spPr bwMode="auto">
          <a:xfrm>
            <a:off x="10924766" y="3302682"/>
            <a:ext cx="368121" cy="367041"/>
          </a:xfrm>
          <a:custGeom>
            <a:avLst/>
            <a:gdLst>
              <a:gd name="T0" fmla="*/ 149 w 512"/>
              <a:gd name="T1" fmla="*/ 266 h 512"/>
              <a:gd name="T2" fmla="*/ 142 w 512"/>
              <a:gd name="T3" fmla="*/ 267 h 512"/>
              <a:gd name="T4" fmla="*/ 178 w 512"/>
              <a:gd name="T5" fmla="*/ 160 h 512"/>
              <a:gd name="T6" fmla="*/ 333 w 512"/>
              <a:gd name="T7" fmla="*/ 160 h 512"/>
              <a:gd name="T8" fmla="*/ 369 w 512"/>
              <a:gd name="T9" fmla="*/ 267 h 512"/>
              <a:gd name="T10" fmla="*/ 362 w 512"/>
              <a:gd name="T11" fmla="*/ 266 h 512"/>
              <a:gd name="T12" fmla="*/ 149 w 512"/>
              <a:gd name="T13" fmla="*/ 266 h 512"/>
              <a:gd name="T14" fmla="*/ 373 w 512"/>
              <a:gd name="T15" fmla="*/ 299 h 512"/>
              <a:gd name="T16" fmla="*/ 373 w 512"/>
              <a:gd name="T17" fmla="*/ 341 h 512"/>
              <a:gd name="T18" fmla="*/ 362 w 512"/>
              <a:gd name="T19" fmla="*/ 352 h 512"/>
              <a:gd name="T20" fmla="*/ 149 w 512"/>
              <a:gd name="T21" fmla="*/ 352 h 512"/>
              <a:gd name="T22" fmla="*/ 138 w 512"/>
              <a:gd name="T23" fmla="*/ 341 h 512"/>
              <a:gd name="T24" fmla="*/ 138 w 512"/>
              <a:gd name="T25" fmla="*/ 299 h 512"/>
              <a:gd name="T26" fmla="*/ 149 w 512"/>
              <a:gd name="T27" fmla="*/ 288 h 512"/>
              <a:gd name="T28" fmla="*/ 362 w 512"/>
              <a:gd name="T29" fmla="*/ 288 h 512"/>
              <a:gd name="T30" fmla="*/ 373 w 512"/>
              <a:gd name="T31" fmla="*/ 299 h 512"/>
              <a:gd name="T32" fmla="*/ 309 w 512"/>
              <a:gd name="T33" fmla="*/ 320 h 512"/>
              <a:gd name="T34" fmla="*/ 298 w 512"/>
              <a:gd name="T35" fmla="*/ 309 h 512"/>
              <a:gd name="T36" fmla="*/ 288 w 512"/>
              <a:gd name="T37" fmla="*/ 320 h 512"/>
              <a:gd name="T38" fmla="*/ 298 w 512"/>
              <a:gd name="T39" fmla="*/ 330 h 512"/>
              <a:gd name="T40" fmla="*/ 309 w 512"/>
              <a:gd name="T41" fmla="*/ 320 h 512"/>
              <a:gd name="T42" fmla="*/ 352 w 512"/>
              <a:gd name="T43" fmla="*/ 320 h 512"/>
              <a:gd name="T44" fmla="*/ 341 w 512"/>
              <a:gd name="T45" fmla="*/ 309 h 512"/>
              <a:gd name="T46" fmla="*/ 330 w 512"/>
              <a:gd name="T47" fmla="*/ 320 h 512"/>
              <a:gd name="T48" fmla="*/ 341 w 512"/>
              <a:gd name="T49" fmla="*/ 330 h 512"/>
              <a:gd name="T50" fmla="*/ 352 w 512"/>
              <a:gd name="T51" fmla="*/ 320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94 w 512"/>
              <a:gd name="T63" fmla="*/ 277 h 512"/>
              <a:gd name="T64" fmla="*/ 394 w 512"/>
              <a:gd name="T65" fmla="*/ 274 h 512"/>
              <a:gd name="T66" fmla="*/ 351 w 512"/>
              <a:gd name="T67" fmla="*/ 146 h 512"/>
              <a:gd name="T68" fmla="*/ 351 w 512"/>
              <a:gd name="T69" fmla="*/ 145 h 512"/>
              <a:gd name="T70" fmla="*/ 341 w 512"/>
              <a:gd name="T71" fmla="*/ 138 h 512"/>
              <a:gd name="T72" fmla="*/ 170 w 512"/>
              <a:gd name="T73" fmla="*/ 138 h 512"/>
              <a:gd name="T74" fmla="*/ 160 w 512"/>
              <a:gd name="T75" fmla="*/ 145 h 512"/>
              <a:gd name="T76" fmla="*/ 160 w 512"/>
              <a:gd name="T77" fmla="*/ 146 h 512"/>
              <a:gd name="T78" fmla="*/ 118 w 512"/>
              <a:gd name="T79" fmla="*/ 274 h 512"/>
              <a:gd name="T80" fmla="*/ 117 w 512"/>
              <a:gd name="T81" fmla="*/ 277 h 512"/>
              <a:gd name="T82" fmla="*/ 117 w 512"/>
              <a:gd name="T83" fmla="*/ 298 h 512"/>
              <a:gd name="T84" fmla="*/ 117 w 512"/>
              <a:gd name="T85" fmla="*/ 298 h 512"/>
              <a:gd name="T86" fmla="*/ 117 w 512"/>
              <a:gd name="T87" fmla="*/ 299 h 512"/>
              <a:gd name="T88" fmla="*/ 117 w 512"/>
              <a:gd name="T89" fmla="*/ 341 h 512"/>
              <a:gd name="T90" fmla="*/ 149 w 512"/>
              <a:gd name="T91" fmla="*/ 373 h 512"/>
              <a:gd name="T92" fmla="*/ 362 w 512"/>
              <a:gd name="T93" fmla="*/ 373 h 512"/>
              <a:gd name="T94" fmla="*/ 394 w 512"/>
              <a:gd name="T95" fmla="*/ 341 h 512"/>
              <a:gd name="T96" fmla="*/ 394 w 512"/>
              <a:gd name="T97" fmla="*/ 299 h 512"/>
              <a:gd name="T98" fmla="*/ 394 w 512"/>
              <a:gd name="T99" fmla="*/ 298 h 512"/>
              <a:gd name="T100" fmla="*/ 394 w 512"/>
              <a:gd name="T101" fmla="*/ 298 h 512"/>
              <a:gd name="T102" fmla="*/ 394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49" y="266"/>
                </a:moveTo>
                <a:cubicBezTo>
                  <a:pt x="147" y="266"/>
                  <a:pt x="144" y="267"/>
                  <a:pt x="142" y="267"/>
                </a:cubicBezTo>
                <a:cubicBezTo>
                  <a:pt x="178" y="160"/>
                  <a:pt x="178" y="160"/>
                  <a:pt x="178" y="160"/>
                </a:cubicBezTo>
                <a:cubicBezTo>
                  <a:pt x="333" y="160"/>
                  <a:pt x="333" y="160"/>
                  <a:pt x="333" y="160"/>
                </a:cubicBezTo>
                <a:cubicBezTo>
                  <a:pt x="369" y="267"/>
                  <a:pt x="369" y="267"/>
                  <a:pt x="369" y="267"/>
                </a:cubicBezTo>
                <a:cubicBezTo>
                  <a:pt x="367" y="267"/>
                  <a:pt x="365" y="266"/>
                  <a:pt x="362" y="266"/>
                </a:cubicBezTo>
                <a:lnTo>
                  <a:pt x="149" y="266"/>
                </a:lnTo>
                <a:close/>
                <a:moveTo>
                  <a:pt x="373" y="299"/>
                </a:moveTo>
                <a:cubicBezTo>
                  <a:pt x="373" y="341"/>
                  <a:pt x="373" y="341"/>
                  <a:pt x="373" y="341"/>
                </a:cubicBezTo>
                <a:cubicBezTo>
                  <a:pt x="373" y="347"/>
                  <a:pt x="368" y="352"/>
                  <a:pt x="362" y="352"/>
                </a:cubicBezTo>
                <a:cubicBezTo>
                  <a:pt x="149" y="352"/>
                  <a:pt x="149" y="352"/>
                  <a:pt x="149" y="352"/>
                </a:cubicBezTo>
                <a:cubicBezTo>
                  <a:pt x="143" y="352"/>
                  <a:pt x="138" y="347"/>
                  <a:pt x="138" y="341"/>
                </a:cubicBezTo>
                <a:cubicBezTo>
                  <a:pt x="138" y="299"/>
                  <a:pt x="138" y="299"/>
                  <a:pt x="138" y="299"/>
                </a:cubicBezTo>
                <a:cubicBezTo>
                  <a:pt x="138" y="293"/>
                  <a:pt x="143" y="288"/>
                  <a:pt x="149" y="288"/>
                </a:cubicBezTo>
                <a:cubicBezTo>
                  <a:pt x="362" y="288"/>
                  <a:pt x="362" y="288"/>
                  <a:pt x="362" y="288"/>
                </a:cubicBezTo>
                <a:cubicBezTo>
                  <a:pt x="368" y="288"/>
                  <a:pt x="373" y="293"/>
                  <a:pt x="373" y="299"/>
                </a:cubicBezTo>
                <a:close/>
                <a:moveTo>
                  <a:pt x="309" y="320"/>
                </a:moveTo>
                <a:cubicBezTo>
                  <a:pt x="309" y="314"/>
                  <a:pt x="304" y="309"/>
                  <a:pt x="298" y="309"/>
                </a:cubicBezTo>
                <a:cubicBezTo>
                  <a:pt x="292" y="309"/>
                  <a:pt x="288" y="314"/>
                  <a:pt x="288" y="320"/>
                </a:cubicBezTo>
                <a:cubicBezTo>
                  <a:pt x="288" y="326"/>
                  <a:pt x="292" y="330"/>
                  <a:pt x="298" y="330"/>
                </a:cubicBezTo>
                <a:cubicBezTo>
                  <a:pt x="304" y="330"/>
                  <a:pt x="309" y="326"/>
                  <a:pt x="309" y="320"/>
                </a:cubicBezTo>
                <a:close/>
                <a:moveTo>
                  <a:pt x="352" y="320"/>
                </a:moveTo>
                <a:cubicBezTo>
                  <a:pt x="352" y="314"/>
                  <a:pt x="347" y="309"/>
                  <a:pt x="341" y="309"/>
                </a:cubicBezTo>
                <a:cubicBezTo>
                  <a:pt x="335" y="309"/>
                  <a:pt x="330" y="314"/>
                  <a:pt x="330" y="320"/>
                </a:cubicBezTo>
                <a:cubicBezTo>
                  <a:pt x="330" y="326"/>
                  <a:pt x="335" y="330"/>
                  <a:pt x="341" y="330"/>
                </a:cubicBezTo>
                <a:cubicBezTo>
                  <a:pt x="347" y="330"/>
                  <a:pt x="352" y="326"/>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77"/>
                </a:moveTo>
                <a:cubicBezTo>
                  <a:pt x="394" y="276"/>
                  <a:pt x="394" y="275"/>
                  <a:pt x="394" y="274"/>
                </a:cubicBezTo>
                <a:cubicBezTo>
                  <a:pt x="351" y="146"/>
                  <a:pt x="351" y="146"/>
                  <a:pt x="351" y="146"/>
                </a:cubicBezTo>
                <a:cubicBezTo>
                  <a:pt x="351" y="145"/>
                  <a:pt x="351" y="145"/>
                  <a:pt x="351" y="145"/>
                </a:cubicBezTo>
                <a:cubicBezTo>
                  <a:pt x="349" y="141"/>
                  <a:pt x="346" y="138"/>
                  <a:pt x="341" y="138"/>
                </a:cubicBezTo>
                <a:cubicBezTo>
                  <a:pt x="170" y="138"/>
                  <a:pt x="170" y="138"/>
                  <a:pt x="170" y="138"/>
                </a:cubicBezTo>
                <a:cubicBezTo>
                  <a:pt x="166" y="138"/>
                  <a:pt x="162" y="141"/>
                  <a:pt x="160" y="145"/>
                </a:cubicBezTo>
                <a:cubicBezTo>
                  <a:pt x="160" y="145"/>
                  <a:pt x="160" y="145"/>
                  <a:pt x="160" y="146"/>
                </a:cubicBezTo>
                <a:cubicBezTo>
                  <a:pt x="118" y="274"/>
                  <a:pt x="118" y="274"/>
                  <a:pt x="118" y="274"/>
                </a:cubicBezTo>
                <a:cubicBezTo>
                  <a:pt x="117" y="275"/>
                  <a:pt x="117" y="276"/>
                  <a:pt x="117" y="277"/>
                </a:cubicBezTo>
                <a:cubicBezTo>
                  <a:pt x="117" y="298"/>
                  <a:pt x="117" y="298"/>
                  <a:pt x="117" y="298"/>
                </a:cubicBezTo>
                <a:cubicBezTo>
                  <a:pt x="117" y="298"/>
                  <a:pt x="117" y="298"/>
                  <a:pt x="117" y="298"/>
                </a:cubicBezTo>
                <a:cubicBezTo>
                  <a:pt x="117" y="298"/>
                  <a:pt x="117" y="298"/>
                  <a:pt x="117" y="299"/>
                </a:cubicBezTo>
                <a:cubicBezTo>
                  <a:pt x="117" y="341"/>
                  <a:pt x="117" y="341"/>
                  <a:pt x="117" y="341"/>
                </a:cubicBezTo>
                <a:cubicBezTo>
                  <a:pt x="117" y="359"/>
                  <a:pt x="131" y="373"/>
                  <a:pt x="149" y="373"/>
                </a:cubicBezTo>
                <a:cubicBezTo>
                  <a:pt x="362" y="373"/>
                  <a:pt x="362" y="373"/>
                  <a:pt x="362" y="373"/>
                </a:cubicBezTo>
                <a:cubicBezTo>
                  <a:pt x="380" y="373"/>
                  <a:pt x="394" y="359"/>
                  <a:pt x="394" y="341"/>
                </a:cubicBezTo>
                <a:cubicBezTo>
                  <a:pt x="394" y="299"/>
                  <a:pt x="394" y="299"/>
                  <a:pt x="394" y="299"/>
                </a:cubicBezTo>
                <a:cubicBezTo>
                  <a:pt x="394" y="298"/>
                  <a:pt x="394" y="298"/>
                  <a:pt x="394" y="298"/>
                </a:cubicBezTo>
                <a:cubicBezTo>
                  <a:pt x="394" y="298"/>
                  <a:pt x="394" y="298"/>
                  <a:pt x="394" y="298"/>
                </a:cubicBezTo>
                <a:lnTo>
                  <a:pt x="394" y="27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22" name="Group 210">
            <a:extLst>
              <a:ext uri="{FF2B5EF4-FFF2-40B4-BE49-F238E27FC236}">
                <a16:creationId xmlns:a16="http://schemas.microsoft.com/office/drawing/2014/main" id="{EE998141-3BAC-4B74-8709-1D761B5BE0B3}"/>
              </a:ext>
            </a:extLst>
          </p:cNvPr>
          <p:cNvGrpSpPr>
            <a:grpSpLocks noChangeAspect="1"/>
          </p:cNvGrpSpPr>
          <p:nvPr/>
        </p:nvGrpSpPr>
        <p:grpSpPr bwMode="auto">
          <a:xfrm>
            <a:off x="11360430" y="3302682"/>
            <a:ext cx="368121" cy="367041"/>
            <a:chOff x="1926" y="713"/>
            <a:chExt cx="341" cy="340"/>
          </a:xfrm>
          <a:solidFill>
            <a:schemeClr val="accent3"/>
          </a:solidFill>
        </p:grpSpPr>
        <p:sp>
          <p:nvSpPr>
            <p:cNvPr id="723" name="Freeform 211">
              <a:extLst>
                <a:ext uri="{FF2B5EF4-FFF2-40B4-BE49-F238E27FC236}">
                  <a16:creationId xmlns:a16="http://schemas.microsoft.com/office/drawing/2014/main" id="{9C70FF28-26D5-4993-B24B-9E3FD962B73E}"/>
                </a:ext>
              </a:extLst>
            </p:cNvPr>
            <p:cNvSpPr>
              <a:spLocks noEditPoints="1"/>
            </p:cNvSpPr>
            <p:nvPr/>
          </p:nvSpPr>
          <p:spPr bwMode="auto">
            <a:xfrm>
              <a:off x="1926" y="71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4" name="Freeform 212">
              <a:extLst>
                <a:ext uri="{FF2B5EF4-FFF2-40B4-BE49-F238E27FC236}">
                  <a16:creationId xmlns:a16="http://schemas.microsoft.com/office/drawing/2014/main" id="{4DC54F96-9C2B-4345-9854-FB002C209CB2}"/>
                </a:ext>
              </a:extLst>
            </p:cNvPr>
            <p:cNvSpPr>
              <a:spLocks noEditPoints="1"/>
            </p:cNvSpPr>
            <p:nvPr/>
          </p:nvSpPr>
          <p:spPr bwMode="auto">
            <a:xfrm>
              <a:off x="2004" y="890"/>
              <a:ext cx="184" cy="71"/>
            </a:xfrm>
            <a:custGeom>
              <a:avLst/>
              <a:gdLst>
                <a:gd name="T0" fmla="*/ 245 w 277"/>
                <a:gd name="T1" fmla="*/ 107 h 107"/>
                <a:gd name="T2" fmla="*/ 32 w 277"/>
                <a:gd name="T3" fmla="*/ 107 h 107"/>
                <a:gd name="T4" fmla="*/ 0 w 277"/>
                <a:gd name="T5" fmla="*/ 75 h 107"/>
                <a:gd name="T6" fmla="*/ 0 w 277"/>
                <a:gd name="T7" fmla="*/ 33 h 107"/>
                <a:gd name="T8" fmla="*/ 32 w 277"/>
                <a:gd name="T9" fmla="*/ 0 h 107"/>
                <a:gd name="T10" fmla="*/ 245 w 277"/>
                <a:gd name="T11" fmla="*/ 0 h 107"/>
                <a:gd name="T12" fmla="*/ 277 w 277"/>
                <a:gd name="T13" fmla="*/ 33 h 107"/>
                <a:gd name="T14" fmla="*/ 277 w 277"/>
                <a:gd name="T15" fmla="*/ 75 h 107"/>
                <a:gd name="T16" fmla="*/ 245 w 277"/>
                <a:gd name="T17" fmla="*/ 107 h 107"/>
                <a:gd name="T18" fmla="*/ 32 w 277"/>
                <a:gd name="T19" fmla="*/ 22 h 107"/>
                <a:gd name="T20" fmla="*/ 21 w 277"/>
                <a:gd name="T21" fmla="*/ 33 h 107"/>
                <a:gd name="T22" fmla="*/ 21 w 277"/>
                <a:gd name="T23" fmla="*/ 75 h 107"/>
                <a:gd name="T24" fmla="*/ 32 w 277"/>
                <a:gd name="T25" fmla="*/ 86 h 107"/>
                <a:gd name="T26" fmla="*/ 245 w 277"/>
                <a:gd name="T27" fmla="*/ 86 h 107"/>
                <a:gd name="T28" fmla="*/ 256 w 277"/>
                <a:gd name="T29" fmla="*/ 75 h 107"/>
                <a:gd name="T30" fmla="*/ 256 w 277"/>
                <a:gd name="T31" fmla="*/ 33 h 107"/>
                <a:gd name="T32" fmla="*/ 245 w 277"/>
                <a:gd name="T33" fmla="*/ 22 h 107"/>
                <a:gd name="T34" fmla="*/ 32 w 277"/>
                <a:gd name="T35" fmla="*/ 2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07">
                  <a:moveTo>
                    <a:pt x="245" y="107"/>
                  </a:moveTo>
                  <a:cubicBezTo>
                    <a:pt x="32" y="107"/>
                    <a:pt x="32" y="107"/>
                    <a:pt x="32" y="107"/>
                  </a:cubicBezTo>
                  <a:cubicBezTo>
                    <a:pt x="14" y="107"/>
                    <a:pt x="0" y="93"/>
                    <a:pt x="0" y="75"/>
                  </a:cubicBezTo>
                  <a:cubicBezTo>
                    <a:pt x="0" y="33"/>
                    <a:pt x="0" y="33"/>
                    <a:pt x="0" y="33"/>
                  </a:cubicBezTo>
                  <a:cubicBezTo>
                    <a:pt x="0" y="15"/>
                    <a:pt x="14" y="0"/>
                    <a:pt x="32" y="0"/>
                  </a:cubicBezTo>
                  <a:cubicBezTo>
                    <a:pt x="245" y="0"/>
                    <a:pt x="245" y="0"/>
                    <a:pt x="245" y="0"/>
                  </a:cubicBezTo>
                  <a:cubicBezTo>
                    <a:pt x="263" y="0"/>
                    <a:pt x="277" y="15"/>
                    <a:pt x="277" y="33"/>
                  </a:cubicBezTo>
                  <a:cubicBezTo>
                    <a:pt x="277" y="75"/>
                    <a:pt x="277" y="75"/>
                    <a:pt x="277" y="75"/>
                  </a:cubicBezTo>
                  <a:cubicBezTo>
                    <a:pt x="277" y="93"/>
                    <a:pt x="263" y="107"/>
                    <a:pt x="245" y="107"/>
                  </a:cubicBezTo>
                  <a:close/>
                  <a:moveTo>
                    <a:pt x="32" y="22"/>
                  </a:moveTo>
                  <a:cubicBezTo>
                    <a:pt x="26" y="22"/>
                    <a:pt x="21" y="27"/>
                    <a:pt x="21" y="33"/>
                  </a:cubicBezTo>
                  <a:cubicBezTo>
                    <a:pt x="21" y="75"/>
                    <a:pt x="21" y="75"/>
                    <a:pt x="21" y="75"/>
                  </a:cubicBezTo>
                  <a:cubicBezTo>
                    <a:pt x="21" y="81"/>
                    <a:pt x="26" y="86"/>
                    <a:pt x="32" y="86"/>
                  </a:cubicBezTo>
                  <a:cubicBezTo>
                    <a:pt x="245" y="86"/>
                    <a:pt x="245" y="86"/>
                    <a:pt x="245" y="86"/>
                  </a:cubicBezTo>
                  <a:cubicBezTo>
                    <a:pt x="251" y="86"/>
                    <a:pt x="256" y="81"/>
                    <a:pt x="256" y="75"/>
                  </a:cubicBezTo>
                  <a:cubicBezTo>
                    <a:pt x="256" y="33"/>
                    <a:pt x="256" y="33"/>
                    <a:pt x="256" y="33"/>
                  </a:cubicBezTo>
                  <a:cubicBezTo>
                    <a:pt x="256" y="27"/>
                    <a:pt x="251" y="22"/>
                    <a:pt x="245" y="22"/>
                  </a:cubicBezTo>
                  <a:lnTo>
                    <a:pt x="32"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5" name="Freeform 213">
              <a:extLst>
                <a:ext uri="{FF2B5EF4-FFF2-40B4-BE49-F238E27FC236}">
                  <a16:creationId xmlns:a16="http://schemas.microsoft.com/office/drawing/2014/main" id="{5E3447E4-6B71-4C83-B509-DF2326778598}"/>
                </a:ext>
              </a:extLst>
            </p:cNvPr>
            <p:cNvSpPr>
              <a:spLocks/>
            </p:cNvSpPr>
            <p:nvPr/>
          </p:nvSpPr>
          <p:spPr bwMode="auto">
            <a:xfrm>
              <a:off x="2004" y="804"/>
              <a:ext cx="43" cy="114"/>
            </a:xfrm>
            <a:custGeom>
              <a:avLst/>
              <a:gdLst>
                <a:gd name="T0" fmla="*/ 11 w 65"/>
                <a:gd name="T1" fmla="*/ 172 h 172"/>
                <a:gd name="T2" fmla="*/ 0 w 65"/>
                <a:gd name="T3" fmla="*/ 161 h 172"/>
                <a:gd name="T4" fmla="*/ 0 w 65"/>
                <a:gd name="T5" fmla="*/ 140 h 172"/>
                <a:gd name="T6" fmla="*/ 1 w 65"/>
                <a:gd name="T7" fmla="*/ 137 h 172"/>
                <a:gd name="T8" fmla="*/ 43 w 65"/>
                <a:gd name="T9" fmla="*/ 9 h 172"/>
                <a:gd name="T10" fmla="*/ 57 w 65"/>
                <a:gd name="T11" fmla="*/ 2 h 172"/>
                <a:gd name="T12" fmla="*/ 63 w 65"/>
                <a:gd name="T13" fmla="*/ 15 h 172"/>
                <a:gd name="T14" fmla="*/ 21 w 65"/>
                <a:gd name="T15" fmla="*/ 142 h 172"/>
                <a:gd name="T16" fmla="*/ 21 w 65"/>
                <a:gd name="T17" fmla="*/ 161 h 172"/>
                <a:gd name="T18" fmla="*/ 11 w 65"/>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72">
                  <a:moveTo>
                    <a:pt x="11" y="172"/>
                  </a:moveTo>
                  <a:cubicBezTo>
                    <a:pt x="5" y="172"/>
                    <a:pt x="0" y="167"/>
                    <a:pt x="0" y="161"/>
                  </a:cubicBezTo>
                  <a:cubicBezTo>
                    <a:pt x="0" y="140"/>
                    <a:pt x="0" y="140"/>
                    <a:pt x="0" y="140"/>
                  </a:cubicBezTo>
                  <a:cubicBezTo>
                    <a:pt x="0" y="139"/>
                    <a:pt x="0" y="138"/>
                    <a:pt x="1" y="137"/>
                  </a:cubicBezTo>
                  <a:cubicBezTo>
                    <a:pt x="43" y="9"/>
                    <a:pt x="43" y="9"/>
                    <a:pt x="43" y="9"/>
                  </a:cubicBezTo>
                  <a:cubicBezTo>
                    <a:pt x="45" y="3"/>
                    <a:pt x="51" y="0"/>
                    <a:pt x="57" y="2"/>
                  </a:cubicBezTo>
                  <a:cubicBezTo>
                    <a:pt x="62" y="4"/>
                    <a:pt x="65" y="10"/>
                    <a:pt x="63" y="15"/>
                  </a:cubicBezTo>
                  <a:cubicBezTo>
                    <a:pt x="21" y="142"/>
                    <a:pt x="21" y="142"/>
                    <a:pt x="21" y="142"/>
                  </a:cubicBezTo>
                  <a:cubicBezTo>
                    <a:pt x="21" y="161"/>
                    <a:pt x="21" y="161"/>
                    <a:pt x="21" y="161"/>
                  </a:cubicBezTo>
                  <a:cubicBezTo>
                    <a:pt x="21" y="167"/>
                    <a:pt x="17" y="172"/>
                    <a:pt x="11"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6" name="Freeform 214">
              <a:extLst>
                <a:ext uri="{FF2B5EF4-FFF2-40B4-BE49-F238E27FC236}">
                  <a16:creationId xmlns:a16="http://schemas.microsoft.com/office/drawing/2014/main" id="{E28DB2C2-3096-40C8-805E-288B1F373A2F}"/>
                </a:ext>
              </a:extLst>
            </p:cNvPr>
            <p:cNvSpPr>
              <a:spLocks/>
            </p:cNvSpPr>
            <p:nvPr/>
          </p:nvSpPr>
          <p:spPr bwMode="auto">
            <a:xfrm>
              <a:off x="2145" y="804"/>
              <a:ext cx="43" cy="114"/>
            </a:xfrm>
            <a:custGeom>
              <a:avLst/>
              <a:gdLst>
                <a:gd name="T0" fmla="*/ 55 w 65"/>
                <a:gd name="T1" fmla="*/ 172 h 172"/>
                <a:gd name="T2" fmla="*/ 44 w 65"/>
                <a:gd name="T3" fmla="*/ 161 h 172"/>
                <a:gd name="T4" fmla="*/ 44 w 65"/>
                <a:gd name="T5" fmla="*/ 142 h 172"/>
                <a:gd name="T6" fmla="*/ 2 w 65"/>
                <a:gd name="T7" fmla="*/ 15 h 172"/>
                <a:gd name="T8" fmla="*/ 9 w 65"/>
                <a:gd name="T9" fmla="*/ 2 h 172"/>
                <a:gd name="T10" fmla="*/ 22 w 65"/>
                <a:gd name="T11" fmla="*/ 9 h 172"/>
                <a:gd name="T12" fmla="*/ 65 w 65"/>
                <a:gd name="T13" fmla="*/ 137 h 172"/>
                <a:gd name="T14" fmla="*/ 65 w 65"/>
                <a:gd name="T15" fmla="*/ 140 h 172"/>
                <a:gd name="T16" fmla="*/ 65 w 65"/>
                <a:gd name="T17" fmla="*/ 161 h 172"/>
                <a:gd name="T18" fmla="*/ 55 w 65"/>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72">
                  <a:moveTo>
                    <a:pt x="55" y="172"/>
                  </a:moveTo>
                  <a:cubicBezTo>
                    <a:pt x="49" y="172"/>
                    <a:pt x="44" y="167"/>
                    <a:pt x="44" y="161"/>
                  </a:cubicBezTo>
                  <a:cubicBezTo>
                    <a:pt x="44" y="142"/>
                    <a:pt x="44" y="142"/>
                    <a:pt x="44" y="142"/>
                  </a:cubicBezTo>
                  <a:cubicBezTo>
                    <a:pt x="2" y="15"/>
                    <a:pt x="2" y="15"/>
                    <a:pt x="2" y="15"/>
                  </a:cubicBezTo>
                  <a:cubicBezTo>
                    <a:pt x="0" y="10"/>
                    <a:pt x="3" y="4"/>
                    <a:pt x="9" y="2"/>
                  </a:cubicBezTo>
                  <a:cubicBezTo>
                    <a:pt x="14" y="0"/>
                    <a:pt x="20" y="3"/>
                    <a:pt x="22" y="9"/>
                  </a:cubicBezTo>
                  <a:cubicBezTo>
                    <a:pt x="65" y="137"/>
                    <a:pt x="65" y="137"/>
                    <a:pt x="65" y="137"/>
                  </a:cubicBezTo>
                  <a:cubicBezTo>
                    <a:pt x="65" y="138"/>
                    <a:pt x="65" y="139"/>
                    <a:pt x="65" y="140"/>
                  </a:cubicBezTo>
                  <a:cubicBezTo>
                    <a:pt x="65" y="161"/>
                    <a:pt x="65" y="161"/>
                    <a:pt x="65" y="161"/>
                  </a:cubicBezTo>
                  <a:cubicBezTo>
                    <a:pt x="65" y="167"/>
                    <a:pt x="61" y="172"/>
                    <a:pt x="55"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7" name="Freeform 215">
              <a:extLst>
                <a:ext uri="{FF2B5EF4-FFF2-40B4-BE49-F238E27FC236}">
                  <a16:creationId xmlns:a16="http://schemas.microsoft.com/office/drawing/2014/main" id="{A4F7D2D7-83EB-4265-97F9-72824BBB7528}"/>
                </a:ext>
              </a:extLst>
            </p:cNvPr>
            <p:cNvSpPr>
              <a:spLocks/>
            </p:cNvSpPr>
            <p:nvPr/>
          </p:nvSpPr>
          <p:spPr bwMode="auto">
            <a:xfrm>
              <a:off x="2033" y="805"/>
              <a:ext cx="127" cy="14"/>
            </a:xfrm>
            <a:custGeom>
              <a:avLst/>
              <a:gdLst>
                <a:gd name="T0" fmla="*/ 181 w 192"/>
                <a:gd name="T1" fmla="*/ 22 h 22"/>
                <a:gd name="T2" fmla="*/ 10 w 192"/>
                <a:gd name="T3" fmla="*/ 22 h 22"/>
                <a:gd name="T4" fmla="*/ 0 w 192"/>
                <a:gd name="T5" fmla="*/ 11 h 22"/>
                <a:gd name="T6" fmla="*/ 10 w 192"/>
                <a:gd name="T7" fmla="*/ 0 h 22"/>
                <a:gd name="T8" fmla="*/ 181 w 192"/>
                <a:gd name="T9" fmla="*/ 0 h 22"/>
                <a:gd name="T10" fmla="*/ 192 w 192"/>
                <a:gd name="T11" fmla="*/ 11 h 22"/>
                <a:gd name="T12" fmla="*/ 181 w 192"/>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92" h="22">
                  <a:moveTo>
                    <a:pt x="181" y="22"/>
                  </a:moveTo>
                  <a:cubicBezTo>
                    <a:pt x="10" y="22"/>
                    <a:pt x="10" y="22"/>
                    <a:pt x="10" y="22"/>
                  </a:cubicBezTo>
                  <a:cubicBezTo>
                    <a:pt x="4" y="22"/>
                    <a:pt x="0" y="17"/>
                    <a:pt x="0" y="11"/>
                  </a:cubicBezTo>
                  <a:cubicBezTo>
                    <a:pt x="0" y="5"/>
                    <a:pt x="4" y="0"/>
                    <a:pt x="10" y="0"/>
                  </a:cubicBezTo>
                  <a:cubicBezTo>
                    <a:pt x="181" y="0"/>
                    <a:pt x="181" y="0"/>
                    <a:pt x="181" y="0"/>
                  </a:cubicBezTo>
                  <a:cubicBezTo>
                    <a:pt x="187" y="0"/>
                    <a:pt x="192" y="5"/>
                    <a:pt x="192" y="11"/>
                  </a:cubicBezTo>
                  <a:cubicBezTo>
                    <a:pt x="192" y="17"/>
                    <a:pt x="187" y="22"/>
                    <a:pt x="18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8" name="Freeform 216">
              <a:extLst>
                <a:ext uri="{FF2B5EF4-FFF2-40B4-BE49-F238E27FC236}">
                  <a16:creationId xmlns:a16="http://schemas.microsoft.com/office/drawing/2014/main" id="{ED762CB9-8D9E-4AC2-8440-05D66EDA9F08}"/>
                </a:ext>
              </a:extLst>
            </p:cNvPr>
            <p:cNvSpPr>
              <a:spLocks/>
            </p:cNvSpPr>
            <p:nvPr/>
          </p:nvSpPr>
          <p:spPr bwMode="auto">
            <a:xfrm>
              <a:off x="2146" y="918"/>
              <a:ext cx="14" cy="14"/>
            </a:xfrm>
            <a:custGeom>
              <a:avLst/>
              <a:gdLst>
                <a:gd name="T0" fmla="*/ 11 w 22"/>
                <a:gd name="T1" fmla="*/ 22 h 22"/>
                <a:gd name="T2" fmla="*/ 3 w 22"/>
                <a:gd name="T3" fmla="*/ 19 h 22"/>
                <a:gd name="T4" fmla="*/ 1 w 22"/>
                <a:gd name="T5" fmla="*/ 16 h 22"/>
                <a:gd name="T6" fmla="*/ 0 w 22"/>
                <a:gd name="T7" fmla="*/ 12 h 22"/>
                <a:gd name="T8" fmla="*/ 1 w 22"/>
                <a:gd name="T9" fmla="*/ 8 h 22"/>
                <a:gd name="T10" fmla="*/ 3 w 22"/>
                <a:gd name="T11" fmla="*/ 4 h 22"/>
                <a:gd name="T12" fmla="*/ 5 w 22"/>
                <a:gd name="T13" fmla="*/ 3 h 22"/>
                <a:gd name="T14" fmla="*/ 7 w 22"/>
                <a:gd name="T15" fmla="*/ 2 h 22"/>
                <a:gd name="T16" fmla="*/ 9 w 22"/>
                <a:gd name="T17" fmla="*/ 1 h 22"/>
                <a:gd name="T18" fmla="*/ 19 w 22"/>
                <a:gd name="T19" fmla="*/ 4 h 22"/>
                <a:gd name="T20" fmla="*/ 21 w 22"/>
                <a:gd name="T21" fmla="*/ 8 h 22"/>
                <a:gd name="T22" fmla="*/ 22 w 22"/>
                <a:gd name="T23" fmla="*/ 12 h 22"/>
                <a:gd name="T24" fmla="*/ 21 w 22"/>
                <a:gd name="T25" fmla="*/ 16 h 22"/>
                <a:gd name="T26" fmla="*/ 19 w 22"/>
                <a:gd name="T27" fmla="*/ 19 h 22"/>
                <a:gd name="T28" fmla="*/ 15 w 22"/>
                <a:gd name="T29" fmla="*/ 21 h 22"/>
                <a:gd name="T30" fmla="*/ 11 w 22"/>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2">
                  <a:moveTo>
                    <a:pt x="11" y="22"/>
                  </a:moveTo>
                  <a:cubicBezTo>
                    <a:pt x="8" y="22"/>
                    <a:pt x="5" y="21"/>
                    <a:pt x="3" y="19"/>
                  </a:cubicBezTo>
                  <a:cubicBezTo>
                    <a:pt x="2" y="18"/>
                    <a:pt x="2" y="17"/>
                    <a:pt x="1" y="16"/>
                  </a:cubicBezTo>
                  <a:cubicBezTo>
                    <a:pt x="1" y="14"/>
                    <a:pt x="0" y="13"/>
                    <a:pt x="0" y="12"/>
                  </a:cubicBezTo>
                  <a:cubicBezTo>
                    <a:pt x="0" y="10"/>
                    <a:pt x="1" y="9"/>
                    <a:pt x="1" y="8"/>
                  </a:cubicBezTo>
                  <a:cubicBezTo>
                    <a:pt x="2" y="6"/>
                    <a:pt x="2" y="5"/>
                    <a:pt x="3" y="4"/>
                  </a:cubicBezTo>
                  <a:cubicBezTo>
                    <a:pt x="4" y="4"/>
                    <a:pt x="4" y="3"/>
                    <a:pt x="5" y="3"/>
                  </a:cubicBezTo>
                  <a:cubicBezTo>
                    <a:pt x="6" y="2"/>
                    <a:pt x="6" y="2"/>
                    <a:pt x="7" y="2"/>
                  </a:cubicBezTo>
                  <a:cubicBezTo>
                    <a:pt x="8" y="2"/>
                    <a:pt x="8" y="1"/>
                    <a:pt x="9" y="1"/>
                  </a:cubicBezTo>
                  <a:cubicBezTo>
                    <a:pt x="12" y="0"/>
                    <a:pt x="16" y="2"/>
                    <a:pt x="19" y="4"/>
                  </a:cubicBezTo>
                  <a:cubicBezTo>
                    <a:pt x="20" y="5"/>
                    <a:pt x="20" y="6"/>
                    <a:pt x="21" y="8"/>
                  </a:cubicBezTo>
                  <a:cubicBezTo>
                    <a:pt x="21" y="9"/>
                    <a:pt x="22" y="10"/>
                    <a:pt x="22" y="12"/>
                  </a:cubicBezTo>
                  <a:cubicBezTo>
                    <a:pt x="22" y="13"/>
                    <a:pt x="21" y="14"/>
                    <a:pt x="21" y="16"/>
                  </a:cubicBezTo>
                  <a:cubicBezTo>
                    <a:pt x="20" y="17"/>
                    <a:pt x="20" y="18"/>
                    <a:pt x="19" y="19"/>
                  </a:cubicBezTo>
                  <a:cubicBezTo>
                    <a:pt x="18" y="20"/>
                    <a:pt x="16" y="21"/>
                    <a:pt x="15" y="21"/>
                  </a:cubicBezTo>
                  <a:cubicBezTo>
                    <a:pt x="14" y="22"/>
                    <a:pt x="12"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9" name="Freeform 217">
              <a:extLst>
                <a:ext uri="{FF2B5EF4-FFF2-40B4-BE49-F238E27FC236}">
                  <a16:creationId xmlns:a16="http://schemas.microsoft.com/office/drawing/2014/main" id="{2F3A9D9E-05E5-490A-876A-7A0666F6DF73}"/>
                </a:ext>
              </a:extLst>
            </p:cNvPr>
            <p:cNvSpPr>
              <a:spLocks/>
            </p:cNvSpPr>
            <p:nvPr/>
          </p:nvSpPr>
          <p:spPr bwMode="auto">
            <a:xfrm>
              <a:off x="2118" y="918"/>
              <a:ext cx="14" cy="14"/>
            </a:xfrm>
            <a:custGeom>
              <a:avLst/>
              <a:gdLst>
                <a:gd name="T0" fmla="*/ 10 w 21"/>
                <a:gd name="T1" fmla="*/ 22 h 22"/>
                <a:gd name="T2" fmla="*/ 6 w 21"/>
                <a:gd name="T3" fmla="*/ 21 h 22"/>
                <a:gd name="T4" fmla="*/ 3 w 21"/>
                <a:gd name="T5" fmla="*/ 19 h 22"/>
                <a:gd name="T6" fmla="*/ 1 w 21"/>
                <a:gd name="T7" fmla="*/ 16 h 22"/>
                <a:gd name="T8" fmla="*/ 0 w 21"/>
                <a:gd name="T9" fmla="*/ 12 h 22"/>
                <a:gd name="T10" fmla="*/ 1 w 21"/>
                <a:gd name="T11" fmla="*/ 8 h 22"/>
                <a:gd name="T12" fmla="*/ 3 w 21"/>
                <a:gd name="T13" fmla="*/ 4 h 22"/>
                <a:gd name="T14" fmla="*/ 12 w 21"/>
                <a:gd name="T15" fmla="*/ 1 h 22"/>
                <a:gd name="T16" fmla="*/ 14 w 21"/>
                <a:gd name="T17" fmla="*/ 2 h 22"/>
                <a:gd name="T18" fmla="*/ 16 w 21"/>
                <a:gd name="T19" fmla="*/ 3 h 22"/>
                <a:gd name="T20" fmla="*/ 18 w 21"/>
                <a:gd name="T21" fmla="*/ 4 h 22"/>
                <a:gd name="T22" fmla="*/ 20 w 21"/>
                <a:gd name="T23" fmla="*/ 8 h 22"/>
                <a:gd name="T24" fmla="*/ 21 w 21"/>
                <a:gd name="T25" fmla="*/ 12 h 22"/>
                <a:gd name="T26" fmla="*/ 20 w 21"/>
                <a:gd name="T27" fmla="*/ 16 h 22"/>
                <a:gd name="T28" fmla="*/ 18 w 21"/>
                <a:gd name="T29" fmla="*/ 19 h 22"/>
                <a:gd name="T30" fmla="*/ 10 w 21"/>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2">
                  <a:moveTo>
                    <a:pt x="10" y="22"/>
                  </a:moveTo>
                  <a:cubicBezTo>
                    <a:pt x="9" y="22"/>
                    <a:pt x="8" y="22"/>
                    <a:pt x="6" y="21"/>
                  </a:cubicBezTo>
                  <a:cubicBezTo>
                    <a:pt x="5" y="21"/>
                    <a:pt x="4" y="20"/>
                    <a:pt x="3" y="19"/>
                  </a:cubicBezTo>
                  <a:cubicBezTo>
                    <a:pt x="2" y="18"/>
                    <a:pt x="1" y="17"/>
                    <a:pt x="1" y="16"/>
                  </a:cubicBezTo>
                  <a:cubicBezTo>
                    <a:pt x="0" y="14"/>
                    <a:pt x="0" y="13"/>
                    <a:pt x="0" y="12"/>
                  </a:cubicBezTo>
                  <a:cubicBezTo>
                    <a:pt x="0" y="10"/>
                    <a:pt x="0" y="9"/>
                    <a:pt x="1" y="8"/>
                  </a:cubicBezTo>
                  <a:cubicBezTo>
                    <a:pt x="1" y="6"/>
                    <a:pt x="2" y="5"/>
                    <a:pt x="3" y="4"/>
                  </a:cubicBezTo>
                  <a:cubicBezTo>
                    <a:pt x="5" y="2"/>
                    <a:pt x="9" y="0"/>
                    <a:pt x="12" y="1"/>
                  </a:cubicBezTo>
                  <a:cubicBezTo>
                    <a:pt x="13" y="1"/>
                    <a:pt x="14" y="2"/>
                    <a:pt x="14" y="2"/>
                  </a:cubicBezTo>
                  <a:cubicBezTo>
                    <a:pt x="15" y="2"/>
                    <a:pt x="16" y="2"/>
                    <a:pt x="16" y="3"/>
                  </a:cubicBezTo>
                  <a:cubicBezTo>
                    <a:pt x="17" y="3"/>
                    <a:pt x="17" y="4"/>
                    <a:pt x="18" y="4"/>
                  </a:cubicBezTo>
                  <a:cubicBezTo>
                    <a:pt x="19" y="5"/>
                    <a:pt x="20" y="6"/>
                    <a:pt x="20" y="8"/>
                  </a:cubicBezTo>
                  <a:cubicBezTo>
                    <a:pt x="21" y="9"/>
                    <a:pt x="21" y="10"/>
                    <a:pt x="21" y="12"/>
                  </a:cubicBezTo>
                  <a:cubicBezTo>
                    <a:pt x="21" y="13"/>
                    <a:pt x="21" y="14"/>
                    <a:pt x="20" y="16"/>
                  </a:cubicBezTo>
                  <a:cubicBezTo>
                    <a:pt x="20" y="17"/>
                    <a:pt x="19" y="18"/>
                    <a:pt x="18" y="19"/>
                  </a:cubicBezTo>
                  <a:cubicBezTo>
                    <a:pt x="16" y="21"/>
                    <a:pt x="13" y="22"/>
                    <a:pt x="10"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0" name="Freeform 636">
            <a:extLst>
              <a:ext uri="{FF2B5EF4-FFF2-40B4-BE49-F238E27FC236}">
                <a16:creationId xmlns:a16="http://schemas.microsoft.com/office/drawing/2014/main" id="{E08E2242-DA91-4920-8FA8-4CDD920CADC0}"/>
              </a:ext>
            </a:extLst>
          </p:cNvPr>
          <p:cNvSpPr>
            <a:spLocks noChangeAspect="1" noEditPoints="1"/>
          </p:cNvSpPr>
          <p:nvPr/>
        </p:nvSpPr>
        <p:spPr bwMode="auto">
          <a:xfrm>
            <a:off x="468980" y="4113334"/>
            <a:ext cx="367041" cy="367041"/>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31" name="Group 639">
            <a:extLst>
              <a:ext uri="{FF2B5EF4-FFF2-40B4-BE49-F238E27FC236}">
                <a16:creationId xmlns:a16="http://schemas.microsoft.com/office/drawing/2014/main" id="{B395F6E9-0D1C-413D-808F-0E7D708316D9}"/>
              </a:ext>
            </a:extLst>
          </p:cNvPr>
          <p:cNvGrpSpPr>
            <a:grpSpLocks noChangeAspect="1"/>
          </p:cNvGrpSpPr>
          <p:nvPr/>
        </p:nvGrpSpPr>
        <p:grpSpPr bwMode="auto">
          <a:xfrm>
            <a:off x="904207" y="4113334"/>
            <a:ext cx="367041" cy="368120"/>
            <a:chOff x="5418" y="2871"/>
            <a:chExt cx="340" cy="341"/>
          </a:xfrm>
          <a:solidFill>
            <a:schemeClr val="accent1"/>
          </a:solidFill>
        </p:grpSpPr>
        <p:sp>
          <p:nvSpPr>
            <p:cNvPr id="732" name="Freeform 640">
              <a:extLst>
                <a:ext uri="{FF2B5EF4-FFF2-40B4-BE49-F238E27FC236}">
                  <a16:creationId xmlns:a16="http://schemas.microsoft.com/office/drawing/2014/main" id="{65304FAB-32AC-4092-870F-2FE9AF492291}"/>
                </a:ext>
              </a:extLst>
            </p:cNvPr>
            <p:cNvSpPr>
              <a:spLocks noEditPoints="1"/>
            </p:cNvSpPr>
            <p:nvPr/>
          </p:nvSpPr>
          <p:spPr bwMode="auto">
            <a:xfrm>
              <a:off x="5481" y="2948"/>
              <a:ext cx="214" cy="157"/>
            </a:xfrm>
            <a:custGeom>
              <a:avLst/>
              <a:gdLst>
                <a:gd name="T0" fmla="*/ 182 w 322"/>
                <a:gd name="T1" fmla="*/ 30 h 236"/>
                <a:gd name="T2" fmla="*/ 175 w 322"/>
                <a:gd name="T3" fmla="*/ 23 h 236"/>
                <a:gd name="T4" fmla="*/ 166 w 322"/>
                <a:gd name="T5" fmla="*/ 24 h 236"/>
                <a:gd name="T6" fmla="*/ 6 w 322"/>
                <a:gd name="T7" fmla="*/ 120 h 236"/>
                <a:gd name="T8" fmla="*/ 1 w 322"/>
                <a:gd name="T9" fmla="*/ 132 h 236"/>
                <a:gd name="T10" fmla="*/ 15 w 322"/>
                <a:gd name="T11" fmla="*/ 185 h 236"/>
                <a:gd name="T12" fmla="*/ 25 w 322"/>
                <a:gd name="T13" fmla="*/ 193 h 236"/>
                <a:gd name="T14" fmla="*/ 75 w 322"/>
                <a:gd name="T15" fmla="*/ 193 h 236"/>
                <a:gd name="T16" fmla="*/ 75 w 322"/>
                <a:gd name="T17" fmla="*/ 193 h 236"/>
                <a:gd name="T18" fmla="*/ 118 w 322"/>
                <a:gd name="T19" fmla="*/ 236 h 236"/>
                <a:gd name="T20" fmla="*/ 161 w 322"/>
                <a:gd name="T21" fmla="*/ 193 h 236"/>
                <a:gd name="T22" fmla="*/ 161 w 322"/>
                <a:gd name="T23" fmla="*/ 193 h 236"/>
                <a:gd name="T24" fmla="*/ 214 w 322"/>
                <a:gd name="T25" fmla="*/ 193 h 236"/>
                <a:gd name="T26" fmla="*/ 214 w 322"/>
                <a:gd name="T27" fmla="*/ 193 h 236"/>
                <a:gd name="T28" fmla="*/ 223 w 322"/>
                <a:gd name="T29" fmla="*/ 189 h 236"/>
                <a:gd name="T30" fmla="*/ 224 w 322"/>
                <a:gd name="T31" fmla="*/ 179 h 236"/>
                <a:gd name="T32" fmla="*/ 182 w 322"/>
                <a:gd name="T33" fmla="*/ 30 h 236"/>
                <a:gd name="T34" fmla="*/ 139 w 322"/>
                <a:gd name="T35" fmla="*/ 193 h 236"/>
                <a:gd name="T36" fmla="*/ 118 w 322"/>
                <a:gd name="T37" fmla="*/ 214 h 236"/>
                <a:gd name="T38" fmla="*/ 97 w 322"/>
                <a:gd name="T39" fmla="*/ 193 h 236"/>
                <a:gd name="T40" fmla="*/ 97 w 322"/>
                <a:gd name="T41" fmla="*/ 193 h 236"/>
                <a:gd name="T42" fmla="*/ 139 w 322"/>
                <a:gd name="T43" fmla="*/ 193 h 236"/>
                <a:gd name="T44" fmla="*/ 139 w 322"/>
                <a:gd name="T45" fmla="*/ 193 h 236"/>
                <a:gd name="T46" fmla="*/ 33 w 322"/>
                <a:gd name="T47" fmla="*/ 172 h 236"/>
                <a:gd name="T48" fmla="*/ 24 w 322"/>
                <a:gd name="T49" fmla="*/ 134 h 236"/>
                <a:gd name="T50" fmla="*/ 165 w 322"/>
                <a:gd name="T51" fmla="*/ 49 h 236"/>
                <a:gd name="T52" fmla="*/ 200 w 322"/>
                <a:gd name="T53" fmla="*/ 172 h 236"/>
                <a:gd name="T54" fmla="*/ 33 w 322"/>
                <a:gd name="T55" fmla="*/ 172 h 236"/>
                <a:gd name="T56" fmla="*/ 238 w 322"/>
                <a:gd name="T57" fmla="*/ 107 h 236"/>
                <a:gd name="T58" fmla="*/ 235 w 322"/>
                <a:gd name="T59" fmla="*/ 108 h 236"/>
                <a:gd name="T60" fmla="*/ 225 w 322"/>
                <a:gd name="T61" fmla="*/ 100 h 236"/>
                <a:gd name="T62" fmla="*/ 232 w 322"/>
                <a:gd name="T63" fmla="*/ 87 h 236"/>
                <a:gd name="T64" fmla="*/ 307 w 322"/>
                <a:gd name="T65" fmla="*/ 65 h 236"/>
                <a:gd name="T66" fmla="*/ 320 w 322"/>
                <a:gd name="T67" fmla="*/ 73 h 236"/>
                <a:gd name="T68" fmla="*/ 313 w 322"/>
                <a:gd name="T69" fmla="*/ 86 h 236"/>
                <a:gd name="T70" fmla="*/ 238 w 322"/>
                <a:gd name="T71" fmla="*/ 107 h 236"/>
                <a:gd name="T72" fmla="*/ 206 w 322"/>
                <a:gd name="T73" fmla="*/ 61 h 236"/>
                <a:gd name="T74" fmla="*/ 207 w 322"/>
                <a:gd name="T75" fmla="*/ 46 h 236"/>
                <a:gd name="T76" fmla="*/ 261 w 322"/>
                <a:gd name="T77" fmla="*/ 3 h 236"/>
                <a:gd name="T78" fmla="*/ 276 w 322"/>
                <a:gd name="T79" fmla="*/ 5 h 236"/>
                <a:gd name="T80" fmla="*/ 274 w 322"/>
                <a:gd name="T81" fmla="*/ 20 h 236"/>
                <a:gd name="T82" fmla="*/ 221 w 322"/>
                <a:gd name="T83" fmla="*/ 63 h 236"/>
                <a:gd name="T84" fmla="*/ 214 w 322"/>
                <a:gd name="T85" fmla="*/ 65 h 236"/>
                <a:gd name="T86" fmla="*/ 206 w 322"/>
                <a:gd name="T87" fmla="*/ 61 h 236"/>
                <a:gd name="T88" fmla="*/ 321 w 322"/>
                <a:gd name="T89" fmla="*/ 163 h 236"/>
                <a:gd name="T90" fmla="*/ 310 w 322"/>
                <a:gd name="T91" fmla="*/ 172 h 236"/>
                <a:gd name="T92" fmla="*/ 308 w 322"/>
                <a:gd name="T93" fmla="*/ 172 h 236"/>
                <a:gd name="T94" fmla="*/ 244 w 322"/>
                <a:gd name="T95" fmla="*/ 161 h 236"/>
                <a:gd name="T96" fmla="*/ 235 w 322"/>
                <a:gd name="T97" fmla="*/ 149 h 236"/>
                <a:gd name="T98" fmla="*/ 248 w 322"/>
                <a:gd name="T99" fmla="*/ 140 h 236"/>
                <a:gd name="T100" fmla="*/ 312 w 322"/>
                <a:gd name="T101" fmla="*/ 150 h 236"/>
                <a:gd name="T102" fmla="*/ 321 w 322"/>
                <a:gd name="T103" fmla="*/ 16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236">
                  <a:moveTo>
                    <a:pt x="182" y="30"/>
                  </a:moveTo>
                  <a:cubicBezTo>
                    <a:pt x="181" y="27"/>
                    <a:pt x="178" y="24"/>
                    <a:pt x="175" y="23"/>
                  </a:cubicBezTo>
                  <a:cubicBezTo>
                    <a:pt x="172" y="22"/>
                    <a:pt x="169" y="22"/>
                    <a:pt x="166" y="24"/>
                  </a:cubicBezTo>
                  <a:cubicBezTo>
                    <a:pt x="6" y="120"/>
                    <a:pt x="6" y="120"/>
                    <a:pt x="6" y="120"/>
                  </a:cubicBezTo>
                  <a:cubicBezTo>
                    <a:pt x="2" y="122"/>
                    <a:pt x="0" y="127"/>
                    <a:pt x="1" y="132"/>
                  </a:cubicBezTo>
                  <a:cubicBezTo>
                    <a:pt x="15" y="185"/>
                    <a:pt x="15" y="185"/>
                    <a:pt x="15" y="185"/>
                  </a:cubicBezTo>
                  <a:cubicBezTo>
                    <a:pt x="16" y="190"/>
                    <a:pt x="20" y="193"/>
                    <a:pt x="25" y="193"/>
                  </a:cubicBezTo>
                  <a:cubicBezTo>
                    <a:pt x="75" y="193"/>
                    <a:pt x="75" y="193"/>
                    <a:pt x="75" y="193"/>
                  </a:cubicBezTo>
                  <a:cubicBezTo>
                    <a:pt x="75" y="193"/>
                    <a:pt x="75" y="193"/>
                    <a:pt x="75" y="193"/>
                  </a:cubicBezTo>
                  <a:cubicBezTo>
                    <a:pt x="75" y="217"/>
                    <a:pt x="94" y="236"/>
                    <a:pt x="118" y="236"/>
                  </a:cubicBezTo>
                  <a:cubicBezTo>
                    <a:pt x="142" y="236"/>
                    <a:pt x="161" y="217"/>
                    <a:pt x="161" y="193"/>
                  </a:cubicBezTo>
                  <a:cubicBezTo>
                    <a:pt x="161" y="193"/>
                    <a:pt x="161" y="193"/>
                    <a:pt x="161" y="193"/>
                  </a:cubicBezTo>
                  <a:cubicBezTo>
                    <a:pt x="214" y="193"/>
                    <a:pt x="214" y="193"/>
                    <a:pt x="214" y="193"/>
                  </a:cubicBezTo>
                  <a:cubicBezTo>
                    <a:pt x="214" y="193"/>
                    <a:pt x="214" y="193"/>
                    <a:pt x="214" y="193"/>
                  </a:cubicBezTo>
                  <a:cubicBezTo>
                    <a:pt x="217" y="193"/>
                    <a:pt x="221" y="191"/>
                    <a:pt x="223" y="189"/>
                  </a:cubicBezTo>
                  <a:cubicBezTo>
                    <a:pt x="225" y="186"/>
                    <a:pt x="225" y="183"/>
                    <a:pt x="224" y="179"/>
                  </a:cubicBezTo>
                  <a:lnTo>
                    <a:pt x="182" y="30"/>
                  </a:lnTo>
                  <a:close/>
                  <a:moveTo>
                    <a:pt x="139" y="193"/>
                  </a:moveTo>
                  <a:cubicBezTo>
                    <a:pt x="139" y="205"/>
                    <a:pt x="130" y="214"/>
                    <a:pt x="118" y="214"/>
                  </a:cubicBezTo>
                  <a:cubicBezTo>
                    <a:pt x="106" y="214"/>
                    <a:pt x="97" y="205"/>
                    <a:pt x="97" y="193"/>
                  </a:cubicBezTo>
                  <a:cubicBezTo>
                    <a:pt x="97" y="193"/>
                    <a:pt x="97" y="193"/>
                    <a:pt x="97" y="193"/>
                  </a:cubicBezTo>
                  <a:cubicBezTo>
                    <a:pt x="139" y="193"/>
                    <a:pt x="139" y="193"/>
                    <a:pt x="139" y="193"/>
                  </a:cubicBezTo>
                  <a:cubicBezTo>
                    <a:pt x="139" y="193"/>
                    <a:pt x="139" y="193"/>
                    <a:pt x="139" y="193"/>
                  </a:cubicBezTo>
                  <a:close/>
                  <a:moveTo>
                    <a:pt x="33" y="172"/>
                  </a:moveTo>
                  <a:cubicBezTo>
                    <a:pt x="24" y="134"/>
                    <a:pt x="24" y="134"/>
                    <a:pt x="24" y="134"/>
                  </a:cubicBezTo>
                  <a:cubicBezTo>
                    <a:pt x="165" y="49"/>
                    <a:pt x="165" y="49"/>
                    <a:pt x="165" y="49"/>
                  </a:cubicBezTo>
                  <a:cubicBezTo>
                    <a:pt x="200" y="172"/>
                    <a:pt x="200" y="172"/>
                    <a:pt x="200" y="172"/>
                  </a:cubicBezTo>
                  <a:lnTo>
                    <a:pt x="33" y="172"/>
                  </a:lnTo>
                  <a:close/>
                  <a:moveTo>
                    <a:pt x="238" y="107"/>
                  </a:moveTo>
                  <a:cubicBezTo>
                    <a:pt x="237" y="108"/>
                    <a:pt x="236" y="108"/>
                    <a:pt x="235" y="108"/>
                  </a:cubicBezTo>
                  <a:cubicBezTo>
                    <a:pt x="231" y="108"/>
                    <a:pt x="226" y="105"/>
                    <a:pt x="225" y="100"/>
                  </a:cubicBezTo>
                  <a:cubicBezTo>
                    <a:pt x="223" y="94"/>
                    <a:pt x="227" y="88"/>
                    <a:pt x="232" y="87"/>
                  </a:cubicBezTo>
                  <a:cubicBezTo>
                    <a:pt x="307" y="65"/>
                    <a:pt x="307" y="65"/>
                    <a:pt x="307" y="65"/>
                  </a:cubicBezTo>
                  <a:cubicBezTo>
                    <a:pt x="313" y="64"/>
                    <a:pt x="319" y="67"/>
                    <a:pt x="320" y="73"/>
                  </a:cubicBezTo>
                  <a:cubicBezTo>
                    <a:pt x="322" y="78"/>
                    <a:pt x="319" y="84"/>
                    <a:pt x="313" y="86"/>
                  </a:cubicBezTo>
                  <a:lnTo>
                    <a:pt x="238" y="107"/>
                  </a:lnTo>
                  <a:close/>
                  <a:moveTo>
                    <a:pt x="206" y="61"/>
                  </a:moveTo>
                  <a:cubicBezTo>
                    <a:pt x="202" y="56"/>
                    <a:pt x="203" y="50"/>
                    <a:pt x="207" y="46"/>
                  </a:cubicBezTo>
                  <a:cubicBezTo>
                    <a:pt x="261" y="3"/>
                    <a:pt x="261" y="3"/>
                    <a:pt x="261" y="3"/>
                  </a:cubicBezTo>
                  <a:cubicBezTo>
                    <a:pt x="265" y="0"/>
                    <a:pt x="272" y="0"/>
                    <a:pt x="276" y="5"/>
                  </a:cubicBezTo>
                  <a:cubicBezTo>
                    <a:pt x="279" y="10"/>
                    <a:pt x="279" y="16"/>
                    <a:pt x="274" y="20"/>
                  </a:cubicBezTo>
                  <a:cubicBezTo>
                    <a:pt x="221" y="63"/>
                    <a:pt x="221" y="63"/>
                    <a:pt x="221" y="63"/>
                  </a:cubicBezTo>
                  <a:cubicBezTo>
                    <a:pt x="219" y="64"/>
                    <a:pt x="216" y="65"/>
                    <a:pt x="214" y="65"/>
                  </a:cubicBezTo>
                  <a:cubicBezTo>
                    <a:pt x="211" y="65"/>
                    <a:pt x="208" y="64"/>
                    <a:pt x="206" y="61"/>
                  </a:cubicBezTo>
                  <a:close/>
                  <a:moveTo>
                    <a:pt x="321" y="163"/>
                  </a:moveTo>
                  <a:cubicBezTo>
                    <a:pt x="320" y="168"/>
                    <a:pt x="315" y="172"/>
                    <a:pt x="310" y="172"/>
                  </a:cubicBezTo>
                  <a:cubicBezTo>
                    <a:pt x="309" y="172"/>
                    <a:pt x="309" y="172"/>
                    <a:pt x="308" y="172"/>
                  </a:cubicBezTo>
                  <a:cubicBezTo>
                    <a:pt x="244" y="161"/>
                    <a:pt x="244" y="161"/>
                    <a:pt x="244" y="161"/>
                  </a:cubicBezTo>
                  <a:cubicBezTo>
                    <a:pt x="238" y="160"/>
                    <a:pt x="235" y="154"/>
                    <a:pt x="235" y="149"/>
                  </a:cubicBezTo>
                  <a:cubicBezTo>
                    <a:pt x="236" y="143"/>
                    <a:pt x="242" y="139"/>
                    <a:pt x="248" y="140"/>
                  </a:cubicBezTo>
                  <a:cubicBezTo>
                    <a:pt x="312" y="150"/>
                    <a:pt x="312" y="150"/>
                    <a:pt x="312" y="150"/>
                  </a:cubicBezTo>
                  <a:cubicBezTo>
                    <a:pt x="318" y="151"/>
                    <a:pt x="321" y="157"/>
                    <a:pt x="321" y="1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3" name="Freeform 641">
              <a:extLst>
                <a:ext uri="{FF2B5EF4-FFF2-40B4-BE49-F238E27FC236}">
                  <a16:creationId xmlns:a16="http://schemas.microsoft.com/office/drawing/2014/main" id="{C3DD9B25-F9AF-462E-A2AD-854A5F2658B2}"/>
                </a:ext>
              </a:extLst>
            </p:cNvPr>
            <p:cNvSpPr>
              <a:spLocks noEditPoints="1"/>
            </p:cNvSpPr>
            <p:nvPr/>
          </p:nvSpPr>
          <p:spPr bwMode="auto">
            <a:xfrm>
              <a:off x="5418" y="28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4" name="Freeform 947">
            <a:extLst>
              <a:ext uri="{FF2B5EF4-FFF2-40B4-BE49-F238E27FC236}">
                <a16:creationId xmlns:a16="http://schemas.microsoft.com/office/drawing/2014/main" id="{881E2170-7C8D-465B-896F-8CB331A63B04}"/>
              </a:ext>
            </a:extLst>
          </p:cNvPr>
          <p:cNvSpPr>
            <a:spLocks noChangeAspect="1" noEditPoints="1"/>
          </p:cNvSpPr>
          <p:nvPr/>
        </p:nvSpPr>
        <p:spPr bwMode="auto">
          <a:xfrm>
            <a:off x="1339434" y="4113334"/>
            <a:ext cx="367041" cy="367041"/>
          </a:xfrm>
          <a:custGeom>
            <a:avLst/>
            <a:gdLst>
              <a:gd name="T0" fmla="*/ 245 w 512"/>
              <a:gd name="T1" fmla="*/ 330 h 512"/>
              <a:gd name="T2" fmla="*/ 213 w 512"/>
              <a:gd name="T3" fmla="*/ 352 h 512"/>
              <a:gd name="T4" fmla="*/ 266 w 512"/>
              <a:gd name="T5" fmla="*/ 352 h 512"/>
              <a:gd name="T6" fmla="*/ 298 w 512"/>
              <a:gd name="T7" fmla="*/ 330 h 512"/>
              <a:gd name="T8" fmla="*/ 266 w 512"/>
              <a:gd name="T9" fmla="*/ 352 h 512"/>
              <a:gd name="T10" fmla="*/ 192 w 512"/>
              <a:gd name="T11" fmla="*/ 352 h 512"/>
              <a:gd name="T12" fmla="*/ 160 w 512"/>
              <a:gd name="T13" fmla="*/ 330 h 512"/>
              <a:gd name="T14" fmla="*/ 245 w 512"/>
              <a:gd name="T15" fmla="*/ 160 h 512"/>
              <a:gd name="T16" fmla="*/ 213 w 512"/>
              <a:gd name="T17" fmla="*/ 181 h 512"/>
              <a:gd name="T18" fmla="*/ 245 w 512"/>
              <a:gd name="T19" fmla="*/ 160 h 512"/>
              <a:gd name="T20" fmla="*/ 160 w 512"/>
              <a:gd name="T21" fmla="*/ 160 h 512"/>
              <a:gd name="T22" fmla="*/ 192 w 512"/>
              <a:gd name="T23" fmla="*/ 181 h 512"/>
              <a:gd name="T24" fmla="*/ 320 w 512"/>
              <a:gd name="T25" fmla="*/ 352 h 512"/>
              <a:gd name="T26" fmla="*/ 352 w 512"/>
              <a:gd name="T27" fmla="*/ 330 h 512"/>
              <a:gd name="T28" fmla="*/ 320 w 512"/>
              <a:gd name="T29" fmla="*/ 352 h 512"/>
              <a:gd name="T30" fmla="*/ 352 w 512"/>
              <a:gd name="T31" fmla="*/ 181 h 512"/>
              <a:gd name="T32" fmla="*/ 320 w 512"/>
              <a:gd name="T33" fmla="*/ 160 h 512"/>
              <a:gd name="T34" fmla="*/ 512 w 512"/>
              <a:gd name="T35" fmla="*/ 256 h 512"/>
              <a:gd name="T36" fmla="*/ 0 w 512"/>
              <a:gd name="T37" fmla="*/ 256 h 512"/>
              <a:gd name="T38" fmla="*/ 512 w 512"/>
              <a:gd name="T39" fmla="*/ 256 h 512"/>
              <a:gd name="T40" fmla="*/ 373 w 512"/>
              <a:gd name="T41" fmla="*/ 160 h 512"/>
              <a:gd name="T42" fmla="*/ 416 w 512"/>
              <a:gd name="T43" fmla="*/ 149 h 512"/>
              <a:gd name="T44" fmla="*/ 106 w 512"/>
              <a:gd name="T45" fmla="*/ 138 h 512"/>
              <a:gd name="T46" fmla="*/ 106 w 512"/>
              <a:gd name="T47" fmla="*/ 160 h 512"/>
              <a:gd name="T48" fmla="*/ 138 w 512"/>
              <a:gd name="T49" fmla="*/ 181 h 512"/>
              <a:gd name="T50" fmla="*/ 96 w 512"/>
              <a:gd name="T51" fmla="*/ 192 h 512"/>
              <a:gd name="T52" fmla="*/ 138 w 512"/>
              <a:gd name="T53" fmla="*/ 202 h 512"/>
              <a:gd name="T54" fmla="*/ 106 w 512"/>
              <a:gd name="T55" fmla="*/ 309 h 512"/>
              <a:gd name="T56" fmla="*/ 106 w 512"/>
              <a:gd name="T57" fmla="*/ 330 h 512"/>
              <a:gd name="T58" fmla="*/ 138 w 512"/>
              <a:gd name="T59" fmla="*/ 352 h 512"/>
              <a:gd name="T60" fmla="*/ 96 w 512"/>
              <a:gd name="T61" fmla="*/ 362 h 512"/>
              <a:gd name="T62" fmla="*/ 405 w 512"/>
              <a:gd name="T63" fmla="*/ 373 h 512"/>
              <a:gd name="T64" fmla="*/ 405 w 512"/>
              <a:gd name="T65" fmla="*/ 352 h 512"/>
              <a:gd name="T66" fmla="*/ 373 w 512"/>
              <a:gd name="T67" fmla="*/ 330 h 512"/>
              <a:gd name="T68" fmla="*/ 416 w 512"/>
              <a:gd name="T69" fmla="*/ 320 h 512"/>
              <a:gd name="T70" fmla="*/ 373 w 512"/>
              <a:gd name="T71" fmla="*/ 309 h 512"/>
              <a:gd name="T72" fmla="*/ 405 w 512"/>
              <a:gd name="T73" fmla="*/ 202 h 512"/>
              <a:gd name="T74" fmla="*/ 405 w 512"/>
              <a:gd name="T75" fmla="*/ 181 h 512"/>
              <a:gd name="T76" fmla="*/ 298 w 512"/>
              <a:gd name="T77" fmla="*/ 160 h 512"/>
              <a:gd name="T78" fmla="*/ 266 w 512"/>
              <a:gd name="T79" fmla="*/ 181 h 512"/>
              <a:gd name="T80" fmla="*/ 298 w 512"/>
              <a:gd name="T81" fmla="*/ 160 h 512"/>
              <a:gd name="T82" fmla="*/ 352 w 512"/>
              <a:gd name="T83" fmla="*/ 309 h 512"/>
              <a:gd name="T84" fmla="*/ 160 w 512"/>
              <a:gd name="T8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13" y="330"/>
                </a:moveTo>
                <a:cubicBezTo>
                  <a:pt x="245" y="330"/>
                  <a:pt x="245" y="330"/>
                  <a:pt x="245" y="330"/>
                </a:cubicBezTo>
                <a:cubicBezTo>
                  <a:pt x="245" y="352"/>
                  <a:pt x="245" y="352"/>
                  <a:pt x="245" y="352"/>
                </a:cubicBezTo>
                <a:cubicBezTo>
                  <a:pt x="213" y="352"/>
                  <a:pt x="213" y="352"/>
                  <a:pt x="213" y="352"/>
                </a:cubicBezTo>
                <a:lnTo>
                  <a:pt x="213" y="330"/>
                </a:lnTo>
                <a:close/>
                <a:moveTo>
                  <a:pt x="266" y="352"/>
                </a:moveTo>
                <a:cubicBezTo>
                  <a:pt x="298" y="352"/>
                  <a:pt x="298" y="352"/>
                  <a:pt x="298" y="352"/>
                </a:cubicBezTo>
                <a:cubicBezTo>
                  <a:pt x="298" y="330"/>
                  <a:pt x="298" y="330"/>
                  <a:pt x="298" y="330"/>
                </a:cubicBezTo>
                <a:cubicBezTo>
                  <a:pt x="266" y="330"/>
                  <a:pt x="266" y="330"/>
                  <a:pt x="266" y="330"/>
                </a:cubicBezTo>
                <a:lnTo>
                  <a:pt x="266" y="352"/>
                </a:lnTo>
                <a:close/>
                <a:moveTo>
                  <a:pt x="160" y="352"/>
                </a:moveTo>
                <a:cubicBezTo>
                  <a:pt x="192" y="352"/>
                  <a:pt x="192" y="352"/>
                  <a:pt x="192" y="352"/>
                </a:cubicBezTo>
                <a:cubicBezTo>
                  <a:pt x="192" y="330"/>
                  <a:pt x="192" y="330"/>
                  <a:pt x="192" y="330"/>
                </a:cubicBezTo>
                <a:cubicBezTo>
                  <a:pt x="160" y="330"/>
                  <a:pt x="160" y="330"/>
                  <a:pt x="160" y="330"/>
                </a:cubicBezTo>
                <a:lnTo>
                  <a:pt x="160" y="352"/>
                </a:lnTo>
                <a:close/>
                <a:moveTo>
                  <a:pt x="245" y="160"/>
                </a:moveTo>
                <a:cubicBezTo>
                  <a:pt x="213" y="160"/>
                  <a:pt x="213" y="160"/>
                  <a:pt x="213" y="160"/>
                </a:cubicBezTo>
                <a:cubicBezTo>
                  <a:pt x="213" y="181"/>
                  <a:pt x="213" y="181"/>
                  <a:pt x="213" y="181"/>
                </a:cubicBezTo>
                <a:cubicBezTo>
                  <a:pt x="245" y="181"/>
                  <a:pt x="245" y="181"/>
                  <a:pt x="245" y="181"/>
                </a:cubicBezTo>
                <a:lnTo>
                  <a:pt x="245" y="160"/>
                </a:lnTo>
                <a:close/>
                <a:moveTo>
                  <a:pt x="192" y="160"/>
                </a:moveTo>
                <a:cubicBezTo>
                  <a:pt x="160" y="160"/>
                  <a:pt x="160" y="160"/>
                  <a:pt x="160" y="160"/>
                </a:cubicBezTo>
                <a:cubicBezTo>
                  <a:pt x="160" y="181"/>
                  <a:pt x="160" y="181"/>
                  <a:pt x="160" y="181"/>
                </a:cubicBezTo>
                <a:cubicBezTo>
                  <a:pt x="192" y="181"/>
                  <a:pt x="192" y="181"/>
                  <a:pt x="192" y="181"/>
                </a:cubicBezTo>
                <a:lnTo>
                  <a:pt x="192" y="160"/>
                </a:lnTo>
                <a:close/>
                <a:moveTo>
                  <a:pt x="320" y="352"/>
                </a:moveTo>
                <a:cubicBezTo>
                  <a:pt x="352" y="352"/>
                  <a:pt x="352" y="352"/>
                  <a:pt x="352" y="352"/>
                </a:cubicBezTo>
                <a:cubicBezTo>
                  <a:pt x="352" y="330"/>
                  <a:pt x="352" y="330"/>
                  <a:pt x="352" y="330"/>
                </a:cubicBezTo>
                <a:cubicBezTo>
                  <a:pt x="320" y="330"/>
                  <a:pt x="320" y="330"/>
                  <a:pt x="320" y="330"/>
                </a:cubicBezTo>
                <a:lnTo>
                  <a:pt x="320" y="352"/>
                </a:lnTo>
                <a:close/>
                <a:moveTo>
                  <a:pt x="320" y="181"/>
                </a:moveTo>
                <a:cubicBezTo>
                  <a:pt x="352" y="181"/>
                  <a:pt x="352" y="181"/>
                  <a:pt x="352" y="181"/>
                </a:cubicBezTo>
                <a:cubicBezTo>
                  <a:pt x="352" y="160"/>
                  <a:pt x="352" y="160"/>
                  <a:pt x="352" y="160"/>
                </a:cubicBezTo>
                <a:cubicBezTo>
                  <a:pt x="320" y="160"/>
                  <a:pt x="320" y="160"/>
                  <a:pt x="320" y="160"/>
                </a:cubicBezTo>
                <a:lnTo>
                  <a:pt x="320" y="18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60"/>
                  <a:pt x="373" y="160"/>
                  <a:pt x="373" y="160"/>
                </a:cubicBezTo>
                <a:cubicBezTo>
                  <a:pt x="405" y="160"/>
                  <a:pt x="405" y="160"/>
                  <a:pt x="405" y="160"/>
                </a:cubicBezTo>
                <a:cubicBezTo>
                  <a:pt x="411" y="160"/>
                  <a:pt x="416" y="155"/>
                  <a:pt x="416" y="149"/>
                </a:cubicBezTo>
                <a:cubicBezTo>
                  <a:pt x="416" y="143"/>
                  <a:pt x="411" y="138"/>
                  <a:pt x="405" y="138"/>
                </a:cubicBezTo>
                <a:cubicBezTo>
                  <a:pt x="106" y="138"/>
                  <a:pt x="106" y="138"/>
                  <a:pt x="106" y="138"/>
                </a:cubicBezTo>
                <a:cubicBezTo>
                  <a:pt x="100" y="138"/>
                  <a:pt x="96" y="143"/>
                  <a:pt x="96" y="149"/>
                </a:cubicBezTo>
                <a:cubicBezTo>
                  <a:pt x="96" y="155"/>
                  <a:pt x="100" y="160"/>
                  <a:pt x="106" y="160"/>
                </a:cubicBezTo>
                <a:cubicBezTo>
                  <a:pt x="138" y="160"/>
                  <a:pt x="138" y="160"/>
                  <a:pt x="138" y="160"/>
                </a:cubicBezTo>
                <a:cubicBezTo>
                  <a:pt x="138" y="181"/>
                  <a:pt x="138" y="181"/>
                  <a:pt x="138" y="181"/>
                </a:cubicBezTo>
                <a:cubicBezTo>
                  <a:pt x="106" y="181"/>
                  <a:pt x="106" y="181"/>
                  <a:pt x="106" y="181"/>
                </a:cubicBezTo>
                <a:cubicBezTo>
                  <a:pt x="100" y="181"/>
                  <a:pt x="96" y="186"/>
                  <a:pt x="96" y="192"/>
                </a:cubicBezTo>
                <a:cubicBezTo>
                  <a:pt x="96" y="198"/>
                  <a:pt x="100" y="202"/>
                  <a:pt x="106" y="202"/>
                </a:cubicBezTo>
                <a:cubicBezTo>
                  <a:pt x="138" y="202"/>
                  <a:pt x="138" y="202"/>
                  <a:pt x="138" y="202"/>
                </a:cubicBezTo>
                <a:cubicBezTo>
                  <a:pt x="138" y="309"/>
                  <a:pt x="138" y="309"/>
                  <a:pt x="138" y="309"/>
                </a:cubicBezTo>
                <a:cubicBezTo>
                  <a:pt x="106" y="309"/>
                  <a:pt x="106" y="309"/>
                  <a:pt x="106" y="309"/>
                </a:cubicBezTo>
                <a:cubicBezTo>
                  <a:pt x="100" y="309"/>
                  <a:pt x="96" y="314"/>
                  <a:pt x="96" y="320"/>
                </a:cubicBezTo>
                <a:cubicBezTo>
                  <a:pt x="96" y="326"/>
                  <a:pt x="100" y="330"/>
                  <a:pt x="106" y="330"/>
                </a:cubicBezTo>
                <a:cubicBezTo>
                  <a:pt x="138" y="330"/>
                  <a:pt x="138" y="330"/>
                  <a:pt x="138" y="330"/>
                </a:cubicBezTo>
                <a:cubicBezTo>
                  <a:pt x="138" y="352"/>
                  <a:pt x="138" y="352"/>
                  <a:pt x="138" y="352"/>
                </a:cubicBezTo>
                <a:cubicBezTo>
                  <a:pt x="106" y="352"/>
                  <a:pt x="106" y="352"/>
                  <a:pt x="106" y="352"/>
                </a:cubicBezTo>
                <a:cubicBezTo>
                  <a:pt x="100" y="352"/>
                  <a:pt x="96" y="356"/>
                  <a:pt x="96" y="362"/>
                </a:cubicBezTo>
                <a:cubicBezTo>
                  <a:pt x="96" y="368"/>
                  <a:pt x="100" y="373"/>
                  <a:pt x="106" y="373"/>
                </a:cubicBezTo>
                <a:cubicBezTo>
                  <a:pt x="405" y="373"/>
                  <a:pt x="405" y="373"/>
                  <a:pt x="405" y="373"/>
                </a:cubicBezTo>
                <a:cubicBezTo>
                  <a:pt x="411" y="373"/>
                  <a:pt x="416" y="368"/>
                  <a:pt x="416" y="362"/>
                </a:cubicBezTo>
                <a:cubicBezTo>
                  <a:pt x="416" y="356"/>
                  <a:pt x="411" y="352"/>
                  <a:pt x="405" y="352"/>
                </a:cubicBezTo>
                <a:cubicBezTo>
                  <a:pt x="373" y="352"/>
                  <a:pt x="373" y="352"/>
                  <a:pt x="373" y="352"/>
                </a:cubicBezTo>
                <a:cubicBezTo>
                  <a:pt x="373" y="330"/>
                  <a:pt x="373" y="330"/>
                  <a:pt x="373" y="330"/>
                </a:cubicBezTo>
                <a:cubicBezTo>
                  <a:pt x="405" y="330"/>
                  <a:pt x="405" y="330"/>
                  <a:pt x="405" y="330"/>
                </a:cubicBezTo>
                <a:cubicBezTo>
                  <a:pt x="411" y="330"/>
                  <a:pt x="416" y="326"/>
                  <a:pt x="416" y="320"/>
                </a:cubicBezTo>
                <a:cubicBezTo>
                  <a:pt x="416" y="314"/>
                  <a:pt x="411" y="309"/>
                  <a:pt x="405" y="309"/>
                </a:cubicBezTo>
                <a:cubicBezTo>
                  <a:pt x="373" y="309"/>
                  <a:pt x="373" y="309"/>
                  <a:pt x="373" y="309"/>
                </a:cubicBezTo>
                <a:cubicBezTo>
                  <a:pt x="373" y="202"/>
                  <a:pt x="373" y="202"/>
                  <a:pt x="373" y="202"/>
                </a:cubicBezTo>
                <a:cubicBezTo>
                  <a:pt x="405" y="202"/>
                  <a:pt x="405" y="202"/>
                  <a:pt x="405" y="202"/>
                </a:cubicBezTo>
                <a:cubicBezTo>
                  <a:pt x="411" y="202"/>
                  <a:pt x="416" y="198"/>
                  <a:pt x="416" y="192"/>
                </a:cubicBezTo>
                <a:cubicBezTo>
                  <a:pt x="416" y="186"/>
                  <a:pt x="411" y="181"/>
                  <a:pt x="405" y="181"/>
                </a:cubicBezTo>
                <a:lnTo>
                  <a:pt x="373" y="181"/>
                </a:lnTo>
                <a:close/>
                <a:moveTo>
                  <a:pt x="298" y="160"/>
                </a:moveTo>
                <a:cubicBezTo>
                  <a:pt x="266" y="160"/>
                  <a:pt x="266" y="160"/>
                  <a:pt x="266" y="160"/>
                </a:cubicBezTo>
                <a:cubicBezTo>
                  <a:pt x="266" y="181"/>
                  <a:pt x="266" y="181"/>
                  <a:pt x="266" y="181"/>
                </a:cubicBezTo>
                <a:cubicBezTo>
                  <a:pt x="298" y="181"/>
                  <a:pt x="298" y="181"/>
                  <a:pt x="298" y="181"/>
                </a:cubicBezTo>
                <a:lnTo>
                  <a:pt x="298" y="160"/>
                </a:lnTo>
                <a:close/>
                <a:moveTo>
                  <a:pt x="160" y="309"/>
                </a:moveTo>
                <a:cubicBezTo>
                  <a:pt x="352" y="309"/>
                  <a:pt x="352" y="309"/>
                  <a:pt x="352" y="309"/>
                </a:cubicBezTo>
                <a:cubicBezTo>
                  <a:pt x="352" y="202"/>
                  <a:pt x="352" y="202"/>
                  <a:pt x="352" y="202"/>
                </a:cubicBezTo>
                <a:cubicBezTo>
                  <a:pt x="160" y="202"/>
                  <a:pt x="160" y="202"/>
                  <a:pt x="160" y="202"/>
                </a:cubicBezTo>
                <a:lnTo>
                  <a:pt x="160"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35" name="Group 950">
            <a:extLst>
              <a:ext uri="{FF2B5EF4-FFF2-40B4-BE49-F238E27FC236}">
                <a16:creationId xmlns:a16="http://schemas.microsoft.com/office/drawing/2014/main" id="{9394021A-FE93-4655-A056-331266CADA0B}"/>
              </a:ext>
            </a:extLst>
          </p:cNvPr>
          <p:cNvGrpSpPr>
            <a:grpSpLocks noChangeAspect="1"/>
          </p:cNvGrpSpPr>
          <p:nvPr/>
        </p:nvGrpSpPr>
        <p:grpSpPr bwMode="auto">
          <a:xfrm>
            <a:off x="1774661" y="4113334"/>
            <a:ext cx="367041" cy="367041"/>
            <a:chOff x="7370" y="3509"/>
            <a:chExt cx="340" cy="340"/>
          </a:xfrm>
          <a:solidFill>
            <a:schemeClr val="accent4"/>
          </a:solidFill>
        </p:grpSpPr>
        <p:sp>
          <p:nvSpPr>
            <p:cNvPr id="736" name="Freeform 951">
              <a:extLst>
                <a:ext uri="{FF2B5EF4-FFF2-40B4-BE49-F238E27FC236}">
                  <a16:creationId xmlns:a16="http://schemas.microsoft.com/office/drawing/2014/main" id="{52F19F58-6164-474D-B0AC-A369B05B76C9}"/>
                </a:ext>
              </a:extLst>
            </p:cNvPr>
            <p:cNvSpPr>
              <a:spLocks noEditPoints="1"/>
            </p:cNvSpPr>
            <p:nvPr/>
          </p:nvSpPr>
          <p:spPr bwMode="auto">
            <a:xfrm>
              <a:off x="7370" y="3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7" name="Freeform 952">
              <a:extLst>
                <a:ext uri="{FF2B5EF4-FFF2-40B4-BE49-F238E27FC236}">
                  <a16:creationId xmlns:a16="http://schemas.microsoft.com/office/drawing/2014/main" id="{8CECFC35-13A4-427D-8B10-3B44EF7ED295}"/>
                </a:ext>
              </a:extLst>
            </p:cNvPr>
            <p:cNvSpPr>
              <a:spLocks noEditPoints="1"/>
            </p:cNvSpPr>
            <p:nvPr/>
          </p:nvSpPr>
          <p:spPr bwMode="auto">
            <a:xfrm>
              <a:off x="7434" y="3601"/>
              <a:ext cx="212" cy="156"/>
            </a:xfrm>
            <a:custGeom>
              <a:avLst/>
              <a:gdLst>
                <a:gd name="T0" fmla="*/ 320 w 320"/>
                <a:gd name="T1" fmla="*/ 54 h 235"/>
                <a:gd name="T2" fmla="*/ 277 w 320"/>
                <a:gd name="T3" fmla="*/ 43 h 235"/>
                <a:gd name="T4" fmla="*/ 309 w 320"/>
                <a:gd name="T5" fmla="*/ 22 h 235"/>
                <a:gd name="T6" fmla="*/ 309 w 320"/>
                <a:gd name="T7" fmla="*/ 0 h 235"/>
                <a:gd name="T8" fmla="*/ 0 w 320"/>
                <a:gd name="T9" fmla="*/ 11 h 235"/>
                <a:gd name="T10" fmla="*/ 42 w 320"/>
                <a:gd name="T11" fmla="*/ 22 h 235"/>
                <a:gd name="T12" fmla="*/ 10 w 320"/>
                <a:gd name="T13" fmla="*/ 43 h 235"/>
                <a:gd name="T14" fmla="*/ 10 w 320"/>
                <a:gd name="T15" fmla="*/ 64 h 235"/>
                <a:gd name="T16" fmla="*/ 42 w 320"/>
                <a:gd name="T17" fmla="*/ 171 h 235"/>
                <a:gd name="T18" fmla="*/ 0 w 320"/>
                <a:gd name="T19" fmla="*/ 182 h 235"/>
                <a:gd name="T20" fmla="*/ 42 w 320"/>
                <a:gd name="T21" fmla="*/ 192 h 235"/>
                <a:gd name="T22" fmla="*/ 10 w 320"/>
                <a:gd name="T23" fmla="*/ 214 h 235"/>
                <a:gd name="T24" fmla="*/ 10 w 320"/>
                <a:gd name="T25" fmla="*/ 235 h 235"/>
                <a:gd name="T26" fmla="*/ 320 w 320"/>
                <a:gd name="T27" fmla="*/ 224 h 235"/>
                <a:gd name="T28" fmla="*/ 277 w 320"/>
                <a:gd name="T29" fmla="*/ 214 h 235"/>
                <a:gd name="T30" fmla="*/ 309 w 320"/>
                <a:gd name="T31" fmla="*/ 192 h 235"/>
                <a:gd name="T32" fmla="*/ 309 w 320"/>
                <a:gd name="T33" fmla="*/ 171 h 235"/>
                <a:gd name="T34" fmla="*/ 277 w 320"/>
                <a:gd name="T35" fmla="*/ 64 h 235"/>
                <a:gd name="T36" fmla="*/ 256 w 320"/>
                <a:gd name="T37" fmla="*/ 43 h 235"/>
                <a:gd name="T38" fmla="*/ 224 w 320"/>
                <a:gd name="T39" fmla="*/ 22 h 235"/>
                <a:gd name="T40" fmla="*/ 256 w 320"/>
                <a:gd name="T41" fmla="*/ 43 h 235"/>
                <a:gd name="T42" fmla="*/ 170 w 320"/>
                <a:gd name="T43" fmla="*/ 22 h 235"/>
                <a:gd name="T44" fmla="*/ 202 w 320"/>
                <a:gd name="T45" fmla="*/ 43 h 235"/>
                <a:gd name="T46" fmla="*/ 117 w 320"/>
                <a:gd name="T47" fmla="*/ 43 h 235"/>
                <a:gd name="T48" fmla="*/ 149 w 320"/>
                <a:gd name="T49" fmla="*/ 22 h 235"/>
                <a:gd name="T50" fmla="*/ 117 w 320"/>
                <a:gd name="T51" fmla="*/ 43 h 235"/>
                <a:gd name="T52" fmla="*/ 96 w 320"/>
                <a:gd name="T53" fmla="*/ 22 h 235"/>
                <a:gd name="T54" fmla="*/ 64 w 320"/>
                <a:gd name="T55" fmla="*/ 43 h 235"/>
                <a:gd name="T56" fmla="*/ 64 w 320"/>
                <a:gd name="T57" fmla="*/ 192 h 235"/>
                <a:gd name="T58" fmla="*/ 96 w 320"/>
                <a:gd name="T59" fmla="*/ 214 h 235"/>
                <a:gd name="T60" fmla="*/ 64 w 320"/>
                <a:gd name="T61" fmla="*/ 192 h 235"/>
                <a:gd name="T62" fmla="*/ 149 w 320"/>
                <a:gd name="T63" fmla="*/ 214 h 235"/>
                <a:gd name="T64" fmla="*/ 117 w 320"/>
                <a:gd name="T65" fmla="*/ 192 h 235"/>
                <a:gd name="T66" fmla="*/ 202 w 320"/>
                <a:gd name="T67" fmla="*/ 192 h 235"/>
                <a:gd name="T68" fmla="*/ 170 w 320"/>
                <a:gd name="T69" fmla="*/ 214 h 235"/>
                <a:gd name="T70" fmla="*/ 202 w 320"/>
                <a:gd name="T71" fmla="*/ 192 h 235"/>
                <a:gd name="T72" fmla="*/ 224 w 320"/>
                <a:gd name="T73" fmla="*/ 214 h 235"/>
                <a:gd name="T74" fmla="*/ 256 w 320"/>
                <a:gd name="T75" fmla="*/ 192 h 235"/>
                <a:gd name="T76" fmla="*/ 256 w 320"/>
                <a:gd name="T77" fmla="*/ 171 h 235"/>
                <a:gd name="T78" fmla="*/ 64 w 320"/>
                <a:gd name="T79" fmla="*/ 64 h 235"/>
                <a:gd name="T80" fmla="*/ 256 w 320"/>
                <a:gd name="T81" fmla="*/ 17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35">
                  <a:moveTo>
                    <a:pt x="309" y="64"/>
                  </a:moveTo>
                  <a:cubicBezTo>
                    <a:pt x="315" y="64"/>
                    <a:pt x="320" y="60"/>
                    <a:pt x="320" y="54"/>
                  </a:cubicBezTo>
                  <a:cubicBezTo>
                    <a:pt x="320" y="48"/>
                    <a:pt x="315" y="43"/>
                    <a:pt x="309" y="43"/>
                  </a:cubicBezTo>
                  <a:cubicBezTo>
                    <a:pt x="277" y="43"/>
                    <a:pt x="277" y="43"/>
                    <a:pt x="277" y="43"/>
                  </a:cubicBezTo>
                  <a:cubicBezTo>
                    <a:pt x="277" y="22"/>
                    <a:pt x="277" y="22"/>
                    <a:pt x="277" y="22"/>
                  </a:cubicBezTo>
                  <a:cubicBezTo>
                    <a:pt x="309" y="22"/>
                    <a:pt x="309" y="22"/>
                    <a:pt x="309" y="22"/>
                  </a:cubicBezTo>
                  <a:cubicBezTo>
                    <a:pt x="315" y="22"/>
                    <a:pt x="320" y="17"/>
                    <a:pt x="320" y="11"/>
                  </a:cubicBezTo>
                  <a:cubicBezTo>
                    <a:pt x="320" y="5"/>
                    <a:pt x="315" y="0"/>
                    <a:pt x="309" y="0"/>
                  </a:cubicBezTo>
                  <a:cubicBezTo>
                    <a:pt x="10" y="0"/>
                    <a:pt x="10" y="0"/>
                    <a:pt x="10" y="0"/>
                  </a:cubicBezTo>
                  <a:cubicBezTo>
                    <a:pt x="4" y="0"/>
                    <a:pt x="0" y="5"/>
                    <a:pt x="0" y="11"/>
                  </a:cubicBezTo>
                  <a:cubicBezTo>
                    <a:pt x="0" y="17"/>
                    <a:pt x="4" y="22"/>
                    <a:pt x="10" y="22"/>
                  </a:cubicBezTo>
                  <a:cubicBezTo>
                    <a:pt x="42" y="22"/>
                    <a:pt x="42" y="22"/>
                    <a:pt x="42" y="22"/>
                  </a:cubicBezTo>
                  <a:cubicBezTo>
                    <a:pt x="42" y="43"/>
                    <a:pt x="42" y="43"/>
                    <a:pt x="42" y="43"/>
                  </a:cubicBezTo>
                  <a:cubicBezTo>
                    <a:pt x="10" y="43"/>
                    <a:pt x="10" y="43"/>
                    <a:pt x="10" y="43"/>
                  </a:cubicBezTo>
                  <a:cubicBezTo>
                    <a:pt x="4" y="43"/>
                    <a:pt x="0" y="48"/>
                    <a:pt x="0" y="54"/>
                  </a:cubicBezTo>
                  <a:cubicBezTo>
                    <a:pt x="0" y="60"/>
                    <a:pt x="4" y="64"/>
                    <a:pt x="10" y="64"/>
                  </a:cubicBezTo>
                  <a:cubicBezTo>
                    <a:pt x="42" y="64"/>
                    <a:pt x="42" y="64"/>
                    <a:pt x="42" y="64"/>
                  </a:cubicBezTo>
                  <a:cubicBezTo>
                    <a:pt x="42" y="171"/>
                    <a:pt x="42" y="171"/>
                    <a:pt x="42" y="171"/>
                  </a:cubicBezTo>
                  <a:cubicBezTo>
                    <a:pt x="10" y="171"/>
                    <a:pt x="10" y="171"/>
                    <a:pt x="10" y="171"/>
                  </a:cubicBezTo>
                  <a:cubicBezTo>
                    <a:pt x="4" y="171"/>
                    <a:pt x="0" y="176"/>
                    <a:pt x="0" y="182"/>
                  </a:cubicBezTo>
                  <a:cubicBezTo>
                    <a:pt x="0" y="188"/>
                    <a:pt x="4" y="192"/>
                    <a:pt x="10" y="192"/>
                  </a:cubicBezTo>
                  <a:cubicBezTo>
                    <a:pt x="42" y="192"/>
                    <a:pt x="42" y="192"/>
                    <a:pt x="42" y="192"/>
                  </a:cubicBezTo>
                  <a:cubicBezTo>
                    <a:pt x="42" y="214"/>
                    <a:pt x="42" y="214"/>
                    <a:pt x="42" y="214"/>
                  </a:cubicBezTo>
                  <a:cubicBezTo>
                    <a:pt x="10" y="214"/>
                    <a:pt x="10" y="214"/>
                    <a:pt x="10" y="214"/>
                  </a:cubicBezTo>
                  <a:cubicBezTo>
                    <a:pt x="4" y="214"/>
                    <a:pt x="0" y="218"/>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ubicBezTo>
                    <a:pt x="277" y="214"/>
                    <a:pt x="277" y="214"/>
                    <a:pt x="277" y="214"/>
                  </a:cubicBezTo>
                  <a:cubicBezTo>
                    <a:pt x="277" y="192"/>
                    <a:pt x="277" y="192"/>
                    <a:pt x="277" y="192"/>
                  </a:cubicBezTo>
                  <a:cubicBezTo>
                    <a:pt x="309" y="192"/>
                    <a:pt x="309" y="192"/>
                    <a:pt x="309" y="192"/>
                  </a:cubicBezTo>
                  <a:cubicBezTo>
                    <a:pt x="315" y="192"/>
                    <a:pt x="320" y="188"/>
                    <a:pt x="320" y="182"/>
                  </a:cubicBezTo>
                  <a:cubicBezTo>
                    <a:pt x="320" y="176"/>
                    <a:pt x="315" y="171"/>
                    <a:pt x="309" y="171"/>
                  </a:cubicBezTo>
                  <a:cubicBezTo>
                    <a:pt x="277" y="171"/>
                    <a:pt x="277" y="171"/>
                    <a:pt x="277" y="171"/>
                  </a:cubicBezTo>
                  <a:cubicBezTo>
                    <a:pt x="277" y="64"/>
                    <a:pt x="277" y="64"/>
                    <a:pt x="277" y="64"/>
                  </a:cubicBezTo>
                  <a:lnTo>
                    <a:pt x="309" y="64"/>
                  </a:lnTo>
                  <a:close/>
                  <a:moveTo>
                    <a:pt x="256" y="43"/>
                  </a:moveTo>
                  <a:cubicBezTo>
                    <a:pt x="224" y="43"/>
                    <a:pt x="224" y="43"/>
                    <a:pt x="224" y="43"/>
                  </a:cubicBezTo>
                  <a:cubicBezTo>
                    <a:pt x="224" y="22"/>
                    <a:pt x="224" y="22"/>
                    <a:pt x="224" y="22"/>
                  </a:cubicBezTo>
                  <a:cubicBezTo>
                    <a:pt x="256" y="22"/>
                    <a:pt x="256" y="22"/>
                    <a:pt x="256" y="22"/>
                  </a:cubicBezTo>
                  <a:lnTo>
                    <a:pt x="256" y="43"/>
                  </a:lnTo>
                  <a:close/>
                  <a:moveTo>
                    <a:pt x="170" y="43"/>
                  </a:moveTo>
                  <a:cubicBezTo>
                    <a:pt x="170" y="22"/>
                    <a:pt x="170" y="22"/>
                    <a:pt x="170" y="22"/>
                  </a:cubicBezTo>
                  <a:cubicBezTo>
                    <a:pt x="202" y="22"/>
                    <a:pt x="202" y="22"/>
                    <a:pt x="202" y="22"/>
                  </a:cubicBezTo>
                  <a:cubicBezTo>
                    <a:pt x="202" y="43"/>
                    <a:pt x="202" y="43"/>
                    <a:pt x="202" y="43"/>
                  </a:cubicBezTo>
                  <a:lnTo>
                    <a:pt x="170" y="43"/>
                  </a:lnTo>
                  <a:close/>
                  <a:moveTo>
                    <a:pt x="117" y="43"/>
                  </a:moveTo>
                  <a:cubicBezTo>
                    <a:pt x="117" y="22"/>
                    <a:pt x="117" y="22"/>
                    <a:pt x="117" y="22"/>
                  </a:cubicBezTo>
                  <a:cubicBezTo>
                    <a:pt x="149" y="22"/>
                    <a:pt x="149" y="22"/>
                    <a:pt x="149" y="22"/>
                  </a:cubicBezTo>
                  <a:cubicBezTo>
                    <a:pt x="149" y="43"/>
                    <a:pt x="149" y="43"/>
                    <a:pt x="149" y="43"/>
                  </a:cubicBezTo>
                  <a:lnTo>
                    <a:pt x="117" y="43"/>
                  </a:lnTo>
                  <a:close/>
                  <a:moveTo>
                    <a:pt x="64" y="22"/>
                  </a:moveTo>
                  <a:cubicBezTo>
                    <a:pt x="96" y="22"/>
                    <a:pt x="96" y="22"/>
                    <a:pt x="96" y="22"/>
                  </a:cubicBezTo>
                  <a:cubicBezTo>
                    <a:pt x="96" y="43"/>
                    <a:pt x="96" y="43"/>
                    <a:pt x="96" y="43"/>
                  </a:cubicBezTo>
                  <a:cubicBezTo>
                    <a:pt x="64" y="43"/>
                    <a:pt x="64" y="43"/>
                    <a:pt x="64" y="43"/>
                  </a:cubicBezTo>
                  <a:lnTo>
                    <a:pt x="64" y="22"/>
                  </a:lnTo>
                  <a:close/>
                  <a:moveTo>
                    <a:pt x="64" y="192"/>
                  </a:moveTo>
                  <a:cubicBezTo>
                    <a:pt x="96" y="192"/>
                    <a:pt x="96" y="192"/>
                    <a:pt x="96" y="192"/>
                  </a:cubicBezTo>
                  <a:cubicBezTo>
                    <a:pt x="96" y="214"/>
                    <a:pt x="96" y="214"/>
                    <a:pt x="96" y="214"/>
                  </a:cubicBezTo>
                  <a:cubicBezTo>
                    <a:pt x="64" y="214"/>
                    <a:pt x="64" y="214"/>
                    <a:pt x="64" y="214"/>
                  </a:cubicBezTo>
                  <a:lnTo>
                    <a:pt x="64" y="192"/>
                  </a:lnTo>
                  <a:close/>
                  <a:moveTo>
                    <a:pt x="149" y="192"/>
                  </a:moveTo>
                  <a:cubicBezTo>
                    <a:pt x="149" y="214"/>
                    <a:pt x="149" y="214"/>
                    <a:pt x="149" y="214"/>
                  </a:cubicBezTo>
                  <a:cubicBezTo>
                    <a:pt x="117" y="214"/>
                    <a:pt x="117" y="214"/>
                    <a:pt x="117" y="214"/>
                  </a:cubicBezTo>
                  <a:cubicBezTo>
                    <a:pt x="117" y="192"/>
                    <a:pt x="117" y="192"/>
                    <a:pt x="117" y="192"/>
                  </a:cubicBezTo>
                  <a:lnTo>
                    <a:pt x="149" y="192"/>
                  </a:lnTo>
                  <a:close/>
                  <a:moveTo>
                    <a:pt x="202" y="192"/>
                  </a:moveTo>
                  <a:cubicBezTo>
                    <a:pt x="202" y="214"/>
                    <a:pt x="202" y="214"/>
                    <a:pt x="202" y="214"/>
                  </a:cubicBezTo>
                  <a:cubicBezTo>
                    <a:pt x="170" y="214"/>
                    <a:pt x="170" y="214"/>
                    <a:pt x="170" y="214"/>
                  </a:cubicBezTo>
                  <a:cubicBezTo>
                    <a:pt x="170" y="192"/>
                    <a:pt x="170" y="192"/>
                    <a:pt x="170" y="192"/>
                  </a:cubicBezTo>
                  <a:lnTo>
                    <a:pt x="202" y="192"/>
                  </a:lnTo>
                  <a:close/>
                  <a:moveTo>
                    <a:pt x="256" y="214"/>
                  </a:moveTo>
                  <a:cubicBezTo>
                    <a:pt x="224" y="214"/>
                    <a:pt x="224" y="214"/>
                    <a:pt x="224" y="214"/>
                  </a:cubicBezTo>
                  <a:cubicBezTo>
                    <a:pt x="224" y="192"/>
                    <a:pt x="224" y="192"/>
                    <a:pt x="224" y="192"/>
                  </a:cubicBezTo>
                  <a:cubicBezTo>
                    <a:pt x="256" y="192"/>
                    <a:pt x="256" y="192"/>
                    <a:pt x="256" y="192"/>
                  </a:cubicBezTo>
                  <a:lnTo>
                    <a:pt x="256" y="214"/>
                  </a:lnTo>
                  <a:close/>
                  <a:moveTo>
                    <a:pt x="256" y="171"/>
                  </a:moveTo>
                  <a:cubicBezTo>
                    <a:pt x="64" y="171"/>
                    <a:pt x="64" y="171"/>
                    <a:pt x="64" y="171"/>
                  </a:cubicBezTo>
                  <a:cubicBezTo>
                    <a:pt x="64" y="64"/>
                    <a:pt x="64" y="64"/>
                    <a:pt x="64" y="64"/>
                  </a:cubicBezTo>
                  <a:cubicBezTo>
                    <a:pt x="256" y="64"/>
                    <a:pt x="256" y="64"/>
                    <a:pt x="256" y="64"/>
                  </a:cubicBezTo>
                  <a:lnTo>
                    <a:pt x="256" y="1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8" name="TextBox 737">
            <a:extLst>
              <a:ext uri="{FF2B5EF4-FFF2-40B4-BE49-F238E27FC236}">
                <a16:creationId xmlns:a16="http://schemas.microsoft.com/office/drawing/2014/main" id="{226DB4D3-B068-4413-9E10-4ED15FE609C4}"/>
              </a:ext>
            </a:extLst>
          </p:cNvPr>
          <p:cNvSpPr txBox="1"/>
          <p:nvPr/>
        </p:nvSpPr>
        <p:spPr>
          <a:xfrm>
            <a:off x="1315471" y="450417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ovie clip</a:t>
            </a:r>
          </a:p>
        </p:txBody>
      </p:sp>
      <p:sp>
        <p:nvSpPr>
          <p:cNvPr id="739" name="TextBox 738">
            <a:extLst>
              <a:ext uri="{FF2B5EF4-FFF2-40B4-BE49-F238E27FC236}">
                <a16:creationId xmlns:a16="http://schemas.microsoft.com/office/drawing/2014/main" id="{482A14F0-8EFA-43AA-9709-A34B62CE22A4}"/>
              </a:ext>
            </a:extLst>
          </p:cNvPr>
          <p:cNvSpPr txBox="1"/>
          <p:nvPr/>
        </p:nvSpPr>
        <p:spPr>
          <a:xfrm>
            <a:off x="2177516" y="450417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crochip</a:t>
            </a:r>
          </a:p>
        </p:txBody>
      </p:sp>
      <p:sp>
        <p:nvSpPr>
          <p:cNvPr id="740" name="TextBox 739">
            <a:extLst>
              <a:ext uri="{FF2B5EF4-FFF2-40B4-BE49-F238E27FC236}">
                <a16:creationId xmlns:a16="http://schemas.microsoft.com/office/drawing/2014/main" id="{715305F4-3177-4525-9054-EFEA2CE856CC}"/>
              </a:ext>
            </a:extLst>
          </p:cNvPr>
          <p:cNvSpPr txBox="1"/>
          <p:nvPr/>
        </p:nvSpPr>
        <p:spPr>
          <a:xfrm>
            <a:off x="4801752"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crophone 2</a:t>
            </a:r>
          </a:p>
        </p:txBody>
      </p:sp>
      <p:sp>
        <p:nvSpPr>
          <p:cNvPr id="741" name="TextBox 740">
            <a:extLst>
              <a:ext uri="{FF2B5EF4-FFF2-40B4-BE49-F238E27FC236}">
                <a16:creationId xmlns:a16="http://schemas.microsoft.com/office/drawing/2014/main" id="{166CDFA0-A51F-4B92-A163-0F983060B735}"/>
              </a:ext>
            </a:extLst>
          </p:cNvPr>
          <p:cNvSpPr txBox="1"/>
          <p:nvPr/>
        </p:nvSpPr>
        <p:spPr>
          <a:xfrm>
            <a:off x="5675439" y="4504177"/>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crophone 2 off</a:t>
            </a:r>
          </a:p>
        </p:txBody>
      </p:sp>
      <p:sp>
        <p:nvSpPr>
          <p:cNvPr id="742" name="TextBox 741">
            <a:extLst>
              <a:ext uri="{FF2B5EF4-FFF2-40B4-BE49-F238E27FC236}">
                <a16:creationId xmlns:a16="http://schemas.microsoft.com/office/drawing/2014/main" id="{935C6633-444F-4D3B-9C7A-010E1DFD306C}"/>
              </a:ext>
            </a:extLst>
          </p:cNvPr>
          <p:cNvSpPr txBox="1"/>
          <p:nvPr/>
        </p:nvSpPr>
        <p:spPr>
          <a:xfrm>
            <a:off x="3928065"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icrophone 1</a:t>
            </a:r>
          </a:p>
        </p:txBody>
      </p:sp>
      <p:sp>
        <p:nvSpPr>
          <p:cNvPr id="743" name="TextBox 742">
            <a:extLst>
              <a:ext uri="{FF2B5EF4-FFF2-40B4-BE49-F238E27FC236}">
                <a16:creationId xmlns:a16="http://schemas.microsoft.com/office/drawing/2014/main" id="{856F97EA-9642-4169-8DC3-8D2C2586E782}"/>
              </a:ext>
            </a:extLst>
          </p:cNvPr>
          <p:cNvSpPr txBox="1"/>
          <p:nvPr/>
        </p:nvSpPr>
        <p:spPr>
          <a:xfrm>
            <a:off x="6549126"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D</a:t>
            </a:r>
          </a:p>
        </p:txBody>
      </p:sp>
      <p:sp>
        <p:nvSpPr>
          <p:cNvPr id="744" name="TextBox 743">
            <a:extLst>
              <a:ext uri="{FF2B5EF4-FFF2-40B4-BE49-F238E27FC236}">
                <a16:creationId xmlns:a16="http://schemas.microsoft.com/office/drawing/2014/main" id="{45B3BEDF-4312-469F-A48A-CFC4F2D79E85}"/>
              </a:ext>
            </a:extLst>
          </p:cNvPr>
          <p:cNvSpPr txBox="1"/>
          <p:nvPr/>
        </p:nvSpPr>
        <p:spPr>
          <a:xfrm>
            <a:off x="9170187"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ype cursor</a:t>
            </a:r>
          </a:p>
        </p:txBody>
      </p:sp>
      <p:sp>
        <p:nvSpPr>
          <p:cNvPr id="745" name="TextBox 744">
            <a:extLst>
              <a:ext uri="{FF2B5EF4-FFF2-40B4-BE49-F238E27FC236}">
                <a16:creationId xmlns:a16="http://schemas.microsoft.com/office/drawing/2014/main" id="{35A82683-0282-4055-91D8-879D440018B5}"/>
              </a:ext>
            </a:extLst>
          </p:cNvPr>
          <p:cNvSpPr txBox="1"/>
          <p:nvPr/>
        </p:nvSpPr>
        <p:spPr>
          <a:xfrm>
            <a:off x="8296500" y="4504177"/>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bject ungroup</a:t>
            </a:r>
          </a:p>
        </p:txBody>
      </p:sp>
      <p:sp>
        <p:nvSpPr>
          <p:cNvPr id="746" name="TextBox 745">
            <a:extLst>
              <a:ext uri="{FF2B5EF4-FFF2-40B4-BE49-F238E27FC236}">
                <a16:creationId xmlns:a16="http://schemas.microsoft.com/office/drawing/2014/main" id="{B2F494D7-652A-41DC-A9E3-AA998D41A0FC}"/>
              </a:ext>
            </a:extLst>
          </p:cNvPr>
          <p:cNvSpPr txBox="1"/>
          <p:nvPr/>
        </p:nvSpPr>
        <p:spPr>
          <a:xfrm>
            <a:off x="7422813"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bject group</a:t>
            </a:r>
          </a:p>
        </p:txBody>
      </p:sp>
      <p:sp>
        <p:nvSpPr>
          <p:cNvPr id="747" name="TextBox 746">
            <a:extLst>
              <a:ext uri="{FF2B5EF4-FFF2-40B4-BE49-F238E27FC236}">
                <a16:creationId xmlns:a16="http://schemas.microsoft.com/office/drawing/2014/main" id="{D4206B36-2BA0-4639-8D92-86EA152D3762}"/>
              </a:ext>
            </a:extLst>
          </p:cNvPr>
          <p:cNvSpPr txBox="1"/>
          <p:nvPr/>
        </p:nvSpPr>
        <p:spPr>
          <a:xfrm>
            <a:off x="3054378" y="450417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CTV</a:t>
            </a:r>
          </a:p>
        </p:txBody>
      </p:sp>
      <p:sp>
        <p:nvSpPr>
          <p:cNvPr id="748" name="Freeform 831">
            <a:extLst>
              <a:ext uri="{FF2B5EF4-FFF2-40B4-BE49-F238E27FC236}">
                <a16:creationId xmlns:a16="http://schemas.microsoft.com/office/drawing/2014/main" id="{2EA11F88-BA0E-4566-A3F6-D8C032C11CCA}"/>
              </a:ext>
            </a:extLst>
          </p:cNvPr>
          <p:cNvSpPr>
            <a:spLocks noChangeAspect="1" noEditPoints="1"/>
          </p:cNvSpPr>
          <p:nvPr/>
        </p:nvSpPr>
        <p:spPr bwMode="auto">
          <a:xfrm>
            <a:off x="2209888" y="4113334"/>
            <a:ext cx="367041" cy="367041"/>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49" name="Group 834">
            <a:extLst>
              <a:ext uri="{FF2B5EF4-FFF2-40B4-BE49-F238E27FC236}">
                <a16:creationId xmlns:a16="http://schemas.microsoft.com/office/drawing/2014/main" id="{FFE3FB06-8953-4741-A379-5DD3449F3471}"/>
              </a:ext>
            </a:extLst>
          </p:cNvPr>
          <p:cNvGrpSpPr>
            <a:grpSpLocks noChangeAspect="1"/>
          </p:cNvGrpSpPr>
          <p:nvPr/>
        </p:nvGrpSpPr>
        <p:grpSpPr bwMode="auto">
          <a:xfrm>
            <a:off x="2645115" y="4113334"/>
            <a:ext cx="367041" cy="367041"/>
            <a:chOff x="5977" y="3324"/>
            <a:chExt cx="340" cy="340"/>
          </a:xfrm>
          <a:solidFill>
            <a:schemeClr val="accent3"/>
          </a:solidFill>
        </p:grpSpPr>
        <p:sp>
          <p:nvSpPr>
            <p:cNvPr id="750" name="Freeform 835">
              <a:extLst>
                <a:ext uri="{FF2B5EF4-FFF2-40B4-BE49-F238E27FC236}">
                  <a16:creationId xmlns:a16="http://schemas.microsoft.com/office/drawing/2014/main" id="{024FCF9F-F9ED-4824-945E-535E7BFAD89D}"/>
                </a:ext>
              </a:extLst>
            </p:cNvPr>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1" name="Freeform 836">
              <a:extLst>
                <a:ext uri="{FF2B5EF4-FFF2-40B4-BE49-F238E27FC236}">
                  <a16:creationId xmlns:a16="http://schemas.microsoft.com/office/drawing/2014/main" id="{2DC7D8E8-2BAA-4131-A5D9-F46106031291}"/>
                </a:ext>
              </a:extLst>
            </p:cNvPr>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2" name="Freeform 837">
              <a:extLst>
                <a:ext uri="{FF2B5EF4-FFF2-40B4-BE49-F238E27FC236}">
                  <a16:creationId xmlns:a16="http://schemas.microsoft.com/office/drawing/2014/main" id="{2FA30F5B-5548-4959-8CD5-A91A2A7CA013}"/>
                </a:ext>
              </a:extLst>
            </p:cNvPr>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53" name="Freeform 869">
            <a:extLst>
              <a:ext uri="{FF2B5EF4-FFF2-40B4-BE49-F238E27FC236}">
                <a16:creationId xmlns:a16="http://schemas.microsoft.com/office/drawing/2014/main" id="{23DE8E4D-150A-4FE9-A570-D635FC7A5CC6}"/>
              </a:ext>
            </a:extLst>
          </p:cNvPr>
          <p:cNvSpPr>
            <a:spLocks noChangeAspect="1" noEditPoints="1"/>
          </p:cNvSpPr>
          <p:nvPr/>
        </p:nvSpPr>
        <p:spPr bwMode="auto">
          <a:xfrm>
            <a:off x="3080342" y="4113334"/>
            <a:ext cx="369064" cy="367982"/>
          </a:xfrm>
          <a:custGeom>
            <a:avLst/>
            <a:gdLst>
              <a:gd name="T0" fmla="*/ 277 w 512"/>
              <a:gd name="T1" fmla="*/ 131 h 512"/>
              <a:gd name="T2" fmla="*/ 125 w 512"/>
              <a:gd name="T3" fmla="*/ 274 h 512"/>
              <a:gd name="T4" fmla="*/ 190 w 512"/>
              <a:gd name="T5" fmla="*/ 307 h 512"/>
              <a:gd name="T6" fmla="*/ 325 w 512"/>
              <a:gd name="T7" fmla="*/ 171 h 512"/>
              <a:gd name="T8" fmla="*/ 277 w 512"/>
              <a:gd name="T9" fmla="*/ 131 h 512"/>
              <a:gd name="T10" fmla="*/ 277 w 512"/>
              <a:gd name="T11" fmla="*/ 181 h 512"/>
              <a:gd name="T12" fmla="*/ 266 w 512"/>
              <a:gd name="T13" fmla="*/ 170 h 512"/>
              <a:gd name="T14" fmla="*/ 277 w 512"/>
              <a:gd name="T15" fmla="*/ 160 h 512"/>
              <a:gd name="T16" fmla="*/ 288 w 512"/>
              <a:gd name="T17" fmla="*/ 170 h 512"/>
              <a:gd name="T18" fmla="*/ 277 w 512"/>
              <a:gd name="T19" fmla="*/ 181 h 512"/>
              <a:gd name="T20" fmla="*/ 256 w 512"/>
              <a:gd name="T21" fmla="*/ 0 h 512"/>
              <a:gd name="T22" fmla="*/ 0 w 512"/>
              <a:gd name="T23" fmla="*/ 256 h 512"/>
              <a:gd name="T24" fmla="*/ 256 w 512"/>
              <a:gd name="T25" fmla="*/ 512 h 512"/>
              <a:gd name="T26" fmla="*/ 512 w 512"/>
              <a:gd name="T27" fmla="*/ 256 h 512"/>
              <a:gd name="T28" fmla="*/ 256 w 512"/>
              <a:gd name="T29" fmla="*/ 0 h 512"/>
              <a:gd name="T30" fmla="*/ 416 w 512"/>
              <a:gd name="T31" fmla="*/ 362 h 512"/>
              <a:gd name="T32" fmla="*/ 405 w 512"/>
              <a:gd name="T33" fmla="*/ 373 h 512"/>
              <a:gd name="T34" fmla="*/ 394 w 512"/>
              <a:gd name="T35" fmla="*/ 362 h 512"/>
              <a:gd name="T36" fmla="*/ 394 w 512"/>
              <a:gd name="T37" fmla="*/ 320 h 512"/>
              <a:gd name="T38" fmla="*/ 288 w 512"/>
              <a:gd name="T39" fmla="*/ 320 h 512"/>
              <a:gd name="T40" fmla="*/ 277 w 512"/>
              <a:gd name="T41" fmla="*/ 309 h 512"/>
              <a:gd name="T42" fmla="*/ 277 w 512"/>
              <a:gd name="T43" fmla="*/ 249 h 512"/>
              <a:gd name="T44" fmla="*/ 199 w 512"/>
              <a:gd name="T45" fmla="*/ 327 h 512"/>
              <a:gd name="T46" fmla="*/ 192 w 512"/>
              <a:gd name="T47" fmla="*/ 330 h 512"/>
              <a:gd name="T48" fmla="*/ 187 w 512"/>
              <a:gd name="T49" fmla="*/ 329 h 512"/>
              <a:gd name="T50" fmla="*/ 102 w 512"/>
              <a:gd name="T51" fmla="*/ 287 h 512"/>
              <a:gd name="T52" fmla="*/ 96 w 512"/>
              <a:gd name="T53" fmla="*/ 279 h 512"/>
              <a:gd name="T54" fmla="*/ 99 w 512"/>
              <a:gd name="T55" fmla="*/ 269 h 512"/>
              <a:gd name="T56" fmla="*/ 270 w 512"/>
              <a:gd name="T57" fmla="*/ 109 h 512"/>
              <a:gd name="T58" fmla="*/ 284 w 512"/>
              <a:gd name="T59" fmla="*/ 109 h 512"/>
              <a:gd name="T60" fmla="*/ 348 w 512"/>
              <a:gd name="T61" fmla="*/ 162 h 512"/>
              <a:gd name="T62" fmla="*/ 352 w 512"/>
              <a:gd name="T63" fmla="*/ 170 h 512"/>
              <a:gd name="T64" fmla="*/ 349 w 512"/>
              <a:gd name="T65" fmla="*/ 178 h 512"/>
              <a:gd name="T66" fmla="*/ 298 w 512"/>
              <a:gd name="T67" fmla="*/ 228 h 512"/>
              <a:gd name="T68" fmla="*/ 298 w 512"/>
              <a:gd name="T69" fmla="*/ 298 h 512"/>
              <a:gd name="T70" fmla="*/ 394 w 512"/>
              <a:gd name="T71" fmla="*/ 298 h 512"/>
              <a:gd name="T72" fmla="*/ 394 w 512"/>
              <a:gd name="T73" fmla="*/ 256 h 512"/>
              <a:gd name="T74" fmla="*/ 405 w 512"/>
              <a:gd name="T75" fmla="*/ 245 h 512"/>
              <a:gd name="T76" fmla="*/ 416 w 512"/>
              <a:gd name="T77" fmla="*/ 256 h 512"/>
              <a:gd name="T78" fmla="*/ 416 w 512"/>
              <a:gd name="T7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77" y="131"/>
                </a:moveTo>
                <a:cubicBezTo>
                  <a:pt x="125" y="274"/>
                  <a:pt x="125" y="274"/>
                  <a:pt x="125" y="274"/>
                </a:cubicBezTo>
                <a:cubicBezTo>
                  <a:pt x="190" y="307"/>
                  <a:pt x="190" y="307"/>
                  <a:pt x="190" y="307"/>
                </a:cubicBezTo>
                <a:cubicBezTo>
                  <a:pt x="325" y="171"/>
                  <a:pt x="325" y="171"/>
                  <a:pt x="325" y="171"/>
                </a:cubicBezTo>
                <a:lnTo>
                  <a:pt x="277" y="131"/>
                </a:lnTo>
                <a:close/>
                <a:moveTo>
                  <a:pt x="277" y="181"/>
                </a:moveTo>
                <a:cubicBezTo>
                  <a:pt x="271" y="181"/>
                  <a:pt x="266" y="176"/>
                  <a:pt x="266" y="170"/>
                </a:cubicBezTo>
                <a:cubicBezTo>
                  <a:pt x="266" y="164"/>
                  <a:pt x="271" y="160"/>
                  <a:pt x="277" y="160"/>
                </a:cubicBezTo>
                <a:cubicBezTo>
                  <a:pt x="283" y="160"/>
                  <a:pt x="288" y="164"/>
                  <a:pt x="288" y="170"/>
                </a:cubicBezTo>
                <a:cubicBezTo>
                  <a:pt x="288" y="176"/>
                  <a:pt x="283" y="181"/>
                  <a:pt x="277" y="181"/>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399" y="373"/>
                  <a:pt x="394" y="368"/>
                  <a:pt x="394" y="362"/>
                </a:cubicBezTo>
                <a:cubicBezTo>
                  <a:pt x="394" y="320"/>
                  <a:pt x="394" y="320"/>
                  <a:pt x="394" y="320"/>
                </a:cubicBezTo>
                <a:cubicBezTo>
                  <a:pt x="288" y="320"/>
                  <a:pt x="288" y="320"/>
                  <a:pt x="288" y="320"/>
                </a:cubicBezTo>
                <a:cubicBezTo>
                  <a:pt x="282" y="320"/>
                  <a:pt x="277" y="315"/>
                  <a:pt x="277" y="309"/>
                </a:cubicBezTo>
                <a:cubicBezTo>
                  <a:pt x="277" y="249"/>
                  <a:pt x="277" y="249"/>
                  <a:pt x="277" y="249"/>
                </a:cubicBezTo>
                <a:cubicBezTo>
                  <a:pt x="199" y="327"/>
                  <a:pt x="199" y="327"/>
                  <a:pt x="199" y="327"/>
                </a:cubicBezTo>
                <a:cubicBezTo>
                  <a:pt x="197" y="329"/>
                  <a:pt x="194" y="330"/>
                  <a:pt x="192" y="330"/>
                </a:cubicBezTo>
                <a:cubicBezTo>
                  <a:pt x="190" y="330"/>
                  <a:pt x="188" y="330"/>
                  <a:pt x="187" y="329"/>
                </a:cubicBezTo>
                <a:cubicBezTo>
                  <a:pt x="102" y="287"/>
                  <a:pt x="102" y="287"/>
                  <a:pt x="102" y="287"/>
                </a:cubicBezTo>
                <a:cubicBezTo>
                  <a:pt x="98" y="285"/>
                  <a:pt x="96" y="282"/>
                  <a:pt x="96" y="279"/>
                </a:cubicBezTo>
                <a:cubicBezTo>
                  <a:pt x="95" y="275"/>
                  <a:pt x="96" y="272"/>
                  <a:pt x="99" y="269"/>
                </a:cubicBezTo>
                <a:cubicBezTo>
                  <a:pt x="270" y="109"/>
                  <a:pt x="270" y="109"/>
                  <a:pt x="270" y="109"/>
                </a:cubicBezTo>
                <a:cubicBezTo>
                  <a:pt x="274" y="106"/>
                  <a:pt x="280" y="105"/>
                  <a:pt x="284" y="109"/>
                </a:cubicBezTo>
                <a:cubicBezTo>
                  <a:pt x="348" y="162"/>
                  <a:pt x="348" y="162"/>
                  <a:pt x="348" y="162"/>
                </a:cubicBezTo>
                <a:cubicBezTo>
                  <a:pt x="350" y="164"/>
                  <a:pt x="352" y="167"/>
                  <a:pt x="352" y="170"/>
                </a:cubicBezTo>
                <a:cubicBezTo>
                  <a:pt x="352" y="173"/>
                  <a:pt x="351" y="176"/>
                  <a:pt x="349" y="178"/>
                </a:cubicBezTo>
                <a:cubicBezTo>
                  <a:pt x="298" y="228"/>
                  <a:pt x="298" y="228"/>
                  <a:pt x="298" y="228"/>
                </a:cubicBezTo>
                <a:cubicBezTo>
                  <a:pt x="298" y="298"/>
                  <a:pt x="298" y="298"/>
                  <a:pt x="298" y="298"/>
                </a:cubicBezTo>
                <a:cubicBezTo>
                  <a:pt x="394" y="298"/>
                  <a:pt x="394" y="298"/>
                  <a:pt x="394" y="298"/>
                </a:cubicBezTo>
                <a:cubicBezTo>
                  <a:pt x="394" y="256"/>
                  <a:pt x="394" y="256"/>
                  <a:pt x="394" y="256"/>
                </a:cubicBezTo>
                <a:cubicBezTo>
                  <a:pt x="394" y="250"/>
                  <a:pt x="399" y="245"/>
                  <a:pt x="405" y="245"/>
                </a:cubicBezTo>
                <a:cubicBezTo>
                  <a:pt x="411" y="245"/>
                  <a:pt x="416" y="250"/>
                  <a:pt x="416" y="256"/>
                </a:cubicBezTo>
                <a:lnTo>
                  <a:pt x="416" y="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54" name="Group 872">
            <a:extLst>
              <a:ext uri="{FF2B5EF4-FFF2-40B4-BE49-F238E27FC236}">
                <a16:creationId xmlns:a16="http://schemas.microsoft.com/office/drawing/2014/main" id="{DE44ED17-04EF-4BFF-BBEF-32537928F23E}"/>
              </a:ext>
            </a:extLst>
          </p:cNvPr>
          <p:cNvGrpSpPr>
            <a:grpSpLocks noChangeAspect="1"/>
          </p:cNvGrpSpPr>
          <p:nvPr/>
        </p:nvGrpSpPr>
        <p:grpSpPr bwMode="auto">
          <a:xfrm>
            <a:off x="3517592" y="4113334"/>
            <a:ext cx="367982" cy="367982"/>
            <a:chOff x="4335" y="3710"/>
            <a:chExt cx="340" cy="340"/>
          </a:xfrm>
          <a:solidFill>
            <a:schemeClr val="accent4"/>
          </a:solidFill>
        </p:grpSpPr>
        <p:sp>
          <p:nvSpPr>
            <p:cNvPr id="755" name="Freeform 873">
              <a:extLst>
                <a:ext uri="{FF2B5EF4-FFF2-40B4-BE49-F238E27FC236}">
                  <a16:creationId xmlns:a16="http://schemas.microsoft.com/office/drawing/2014/main" id="{59A40176-B18C-4687-A5D2-40AFE61ED9DE}"/>
                </a:ext>
              </a:extLst>
            </p:cNvPr>
            <p:cNvSpPr>
              <a:spLocks noEditPoints="1"/>
            </p:cNvSpPr>
            <p:nvPr/>
          </p:nvSpPr>
          <p:spPr bwMode="auto">
            <a:xfrm>
              <a:off x="4398" y="3780"/>
              <a:ext cx="213" cy="178"/>
            </a:xfrm>
            <a:custGeom>
              <a:avLst/>
              <a:gdLst>
                <a:gd name="T0" fmla="*/ 310 w 321"/>
                <a:gd name="T1" fmla="*/ 140 h 268"/>
                <a:gd name="T2" fmla="*/ 299 w 321"/>
                <a:gd name="T3" fmla="*/ 151 h 268"/>
                <a:gd name="T4" fmla="*/ 299 w 321"/>
                <a:gd name="T5" fmla="*/ 193 h 268"/>
                <a:gd name="T6" fmla="*/ 203 w 321"/>
                <a:gd name="T7" fmla="*/ 193 h 268"/>
                <a:gd name="T8" fmla="*/ 203 w 321"/>
                <a:gd name="T9" fmla="*/ 123 h 268"/>
                <a:gd name="T10" fmla="*/ 254 w 321"/>
                <a:gd name="T11" fmla="*/ 73 h 268"/>
                <a:gd name="T12" fmla="*/ 257 w 321"/>
                <a:gd name="T13" fmla="*/ 65 h 268"/>
                <a:gd name="T14" fmla="*/ 253 w 321"/>
                <a:gd name="T15" fmla="*/ 57 h 268"/>
                <a:gd name="T16" fmla="*/ 189 w 321"/>
                <a:gd name="T17" fmla="*/ 4 h 268"/>
                <a:gd name="T18" fmla="*/ 175 w 321"/>
                <a:gd name="T19" fmla="*/ 4 h 268"/>
                <a:gd name="T20" fmla="*/ 4 w 321"/>
                <a:gd name="T21" fmla="*/ 164 h 268"/>
                <a:gd name="T22" fmla="*/ 1 w 321"/>
                <a:gd name="T23" fmla="*/ 174 h 268"/>
                <a:gd name="T24" fmla="*/ 7 w 321"/>
                <a:gd name="T25" fmla="*/ 182 h 268"/>
                <a:gd name="T26" fmla="*/ 92 w 321"/>
                <a:gd name="T27" fmla="*/ 224 h 268"/>
                <a:gd name="T28" fmla="*/ 97 w 321"/>
                <a:gd name="T29" fmla="*/ 225 h 268"/>
                <a:gd name="T30" fmla="*/ 104 w 321"/>
                <a:gd name="T31" fmla="*/ 222 h 268"/>
                <a:gd name="T32" fmla="*/ 182 w 321"/>
                <a:gd name="T33" fmla="*/ 144 h 268"/>
                <a:gd name="T34" fmla="*/ 182 w 321"/>
                <a:gd name="T35" fmla="*/ 204 h 268"/>
                <a:gd name="T36" fmla="*/ 193 w 321"/>
                <a:gd name="T37" fmla="*/ 215 h 268"/>
                <a:gd name="T38" fmla="*/ 299 w 321"/>
                <a:gd name="T39" fmla="*/ 215 h 268"/>
                <a:gd name="T40" fmla="*/ 299 w 321"/>
                <a:gd name="T41" fmla="*/ 257 h 268"/>
                <a:gd name="T42" fmla="*/ 310 w 321"/>
                <a:gd name="T43" fmla="*/ 268 h 268"/>
                <a:gd name="T44" fmla="*/ 321 w 321"/>
                <a:gd name="T45" fmla="*/ 257 h 268"/>
                <a:gd name="T46" fmla="*/ 321 w 321"/>
                <a:gd name="T47" fmla="*/ 151 h 268"/>
                <a:gd name="T48" fmla="*/ 310 w 321"/>
                <a:gd name="T49" fmla="*/ 140 h 268"/>
                <a:gd name="T50" fmla="*/ 95 w 321"/>
                <a:gd name="T51" fmla="*/ 202 h 268"/>
                <a:gd name="T52" fmla="*/ 30 w 321"/>
                <a:gd name="T53" fmla="*/ 169 h 268"/>
                <a:gd name="T54" fmla="*/ 182 w 321"/>
                <a:gd name="T55" fmla="*/ 26 h 268"/>
                <a:gd name="T56" fmla="*/ 230 w 321"/>
                <a:gd name="T57" fmla="*/ 66 h 268"/>
                <a:gd name="T58" fmla="*/ 95 w 321"/>
                <a:gd name="T59" fmla="*/ 202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1" h="268">
                  <a:moveTo>
                    <a:pt x="310" y="140"/>
                  </a:moveTo>
                  <a:cubicBezTo>
                    <a:pt x="304" y="140"/>
                    <a:pt x="299" y="145"/>
                    <a:pt x="299" y="151"/>
                  </a:cubicBezTo>
                  <a:cubicBezTo>
                    <a:pt x="299" y="193"/>
                    <a:pt x="299" y="193"/>
                    <a:pt x="299" y="193"/>
                  </a:cubicBezTo>
                  <a:cubicBezTo>
                    <a:pt x="203" y="193"/>
                    <a:pt x="203" y="193"/>
                    <a:pt x="203" y="193"/>
                  </a:cubicBezTo>
                  <a:cubicBezTo>
                    <a:pt x="203" y="123"/>
                    <a:pt x="203" y="123"/>
                    <a:pt x="203" y="123"/>
                  </a:cubicBezTo>
                  <a:cubicBezTo>
                    <a:pt x="254" y="73"/>
                    <a:pt x="254" y="73"/>
                    <a:pt x="254" y="73"/>
                  </a:cubicBezTo>
                  <a:cubicBezTo>
                    <a:pt x="256" y="71"/>
                    <a:pt x="257" y="68"/>
                    <a:pt x="257" y="65"/>
                  </a:cubicBezTo>
                  <a:cubicBezTo>
                    <a:pt x="257" y="62"/>
                    <a:pt x="255" y="59"/>
                    <a:pt x="253" y="57"/>
                  </a:cubicBezTo>
                  <a:cubicBezTo>
                    <a:pt x="189" y="4"/>
                    <a:pt x="189" y="4"/>
                    <a:pt x="189" y="4"/>
                  </a:cubicBezTo>
                  <a:cubicBezTo>
                    <a:pt x="185" y="0"/>
                    <a:pt x="179" y="1"/>
                    <a:pt x="175" y="4"/>
                  </a:cubicBezTo>
                  <a:cubicBezTo>
                    <a:pt x="4" y="164"/>
                    <a:pt x="4" y="164"/>
                    <a:pt x="4" y="164"/>
                  </a:cubicBezTo>
                  <a:cubicBezTo>
                    <a:pt x="1" y="167"/>
                    <a:pt x="0" y="170"/>
                    <a:pt x="1" y="174"/>
                  </a:cubicBezTo>
                  <a:cubicBezTo>
                    <a:pt x="1" y="177"/>
                    <a:pt x="3" y="180"/>
                    <a:pt x="7" y="182"/>
                  </a:cubicBezTo>
                  <a:cubicBezTo>
                    <a:pt x="92" y="224"/>
                    <a:pt x="92" y="224"/>
                    <a:pt x="92" y="224"/>
                  </a:cubicBezTo>
                  <a:cubicBezTo>
                    <a:pt x="93" y="225"/>
                    <a:pt x="95" y="225"/>
                    <a:pt x="97" y="225"/>
                  </a:cubicBezTo>
                  <a:cubicBezTo>
                    <a:pt x="99" y="225"/>
                    <a:pt x="102" y="224"/>
                    <a:pt x="104" y="222"/>
                  </a:cubicBezTo>
                  <a:cubicBezTo>
                    <a:pt x="182" y="144"/>
                    <a:pt x="182" y="144"/>
                    <a:pt x="182" y="144"/>
                  </a:cubicBezTo>
                  <a:cubicBezTo>
                    <a:pt x="182" y="204"/>
                    <a:pt x="182" y="204"/>
                    <a:pt x="182" y="204"/>
                  </a:cubicBezTo>
                  <a:cubicBezTo>
                    <a:pt x="182" y="210"/>
                    <a:pt x="187" y="215"/>
                    <a:pt x="193" y="215"/>
                  </a:cubicBezTo>
                  <a:cubicBezTo>
                    <a:pt x="299" y="215"/>
                    <a:pt x="299" y="215"/>
                    <a:pt x="299" y="215"/>
                  </a:cubicBezTo>
                  <a:cubicBezTo>
                    <a:pt x="299" y="257"/>
                    <a:pt x="299" y="257"/>
                    <a:pt x="299" y="257"/>
                  </a:cubicBezTo>
                  <a:cubicBezTo>
                    <a:pt x="299" y="263"/>
                    <a:pt x="304" y="268"/>
                    <a:pt x="310" y="268"/>
                  </a:cubicBezTo>
                  <a:cubicBezTo>
                    <a:pt x="316" y="268"/>
                    <a:pt x="321" y="263"/>
                    <a:pt x="321" y="257"/>
                  </a:cubicBezTo>
                  <a:cubicBezTo>
                    <a:pt x="321" y="151"/>
                    <a:pt x="321" y="151"/>
                    <a:pt x="321" y="151"/>
                  </a:cubicBezTo>
                  <a:cubicBezTo>
                    <a:pt x="321" y="145"/>
                    <a:pt x="316" y="140"/>
                    <a:pt x="310" y="140"/>
                  </a:cubicBezTo>
                  <a:close/>
                  <a:moveTo>
                    <a:pt x="95" y="202"/>
                  </a:moveTo>
                  <a:cubicBezTo>
                    <a:pt x="30" y="169"/>
                    <a:pt x="30" y="169"/>
                    <a:pt x="30" y="169"/>
                  </a:cubicBezTo>
                  <a:cubicBezTo>
                    <a:pt x="182" y="26"/>
                    <a:pt x="182" y="26"/>
                    <a:pt x="182" y="26"/>
                  </a:cubicBezTo>
                  <a:cubicBezTo>
                    <a:pt x="230" y="66"/>
                    <a:pt x="230" y="66"/>
                    <a:pt x="230" y="66"/>
                  </a:cubicBezTo>
                  <a:lnTo>
                    <a:pt x="95" y="2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6" name="Oval 874">
              <a:extLst>
                <a:ext uri="{FF2B5EF4-FFF2-40B4-BE49-F238E27FC236}">
                  <a16:creationId xmlns:a16="http://schemas.microsoft.com/office/drawing/2014/main" id="{3C326150-5D5C-4860-B107-10CE8420461B}"/>
                </a:ext>
              </a:extLst>
            </p:cNvPr>
            <p:cNvSpPr>
              <a:spLocks noChangeArrowheads="1"/>
            </p:cNvSpPr>
            <p:nvPr/>
          </p:nvSpPr>
          <p:spPr bwMode="auto">
            <a:xfrm>
              <a:off x="4512" y="3816"/>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7" name="Freeform 875">
              <a:extLst>
                <a:ext uri="{FF2B5EF4-FFF2-40B4-BE49-F238E27FC236}">
                  <a16:creationId xmlns:a16="http://schemas.microsoft.com/office/drawing/2014/main" id="{5C728104-6D87-43EB-971F-2748AEDDF2BD}"/>
                </a:ext>
              </a:extLst>
            </p:cNvPr>
            <p:cNvSpPr>
              <a:spLocks noEditPoints="1"/>
            </p:cNvSpPr>
            <p:nvPr/>
          </p:nvSpPr>
          <p:spPr bwMode="auto">
            <a:xfrm>
              <a:off x="4335" y="37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58" name="Freeform 841">
            <a:extLst>
              <a:ext uri="{FF2B5EF4-FFF2-40B4-BE49-F238E27FC236}">
                <a16:creationId xmlns:a16="http://schemas.microsoft.com/office/drawing/2014/main" id="{11786D71-8C49-4B53-BCA0-C6B3034B4EE6}"/>
              </a:ext>
            </a:extLst>
          </p:cNvPr>
          <p:cNvSpPr>
            <a:spLocks noChangeAspect="1" noEditPoints="1"/>
          </p:cNvSpPr>
          <p:nvPr/>
        </p:nvSpPr>
        <p:spPr bwMode="auto">
          <a:xfrm>
            <a:off x="3953760" y="4113334"/>
            <a:ext cx="368120" cy="367041"/>
          </a:xfrm>
          <a:custGeom>
            <a:avLst/>
            <a:gdLst>
              <a:gd name="T0" fmla="*/ 270 w 512"/>
              <a:gd name="T1" fmla="*/ 198 h 512"/>
              <a:gd name="T2" fmla="*/ 165 w 512"/>
              <a:gd name="T3" fmla="*/ 316 h 512"/>
              <a:gd name="T4" fmla="*/ 196 w 512"/>
              <a:gd name="T5" fmla="*/ 347 h 512"/>
              <a:gd name="T6" fmla="*/ 313 w 512"/>
              <a:gd name="T7" fmla="*/ 241 h 512"/>
              <a:gd name="T8" fmla="*/ 286 w 512"/>
              <a:gd name="T9" fmla="*/ 226 h 512"/>
              <a:gd name="T10" fmla="*/ 270 w 512"/>
              <a:gd name="T11" fmla="*/ 198 h 512"/>
              <a:gd name="T12" fmla="*/ 263 w 512"/>
              <a:gd name="T13" fmla="*/ 263 h 512"/>
              <a:gd name="T14" fmla="*/ 248 w 512"/>
              <a:gd name="T15" fmla="*/ 263 h 512"/>
              <a:gd name="T16" fmla="*/ 248 w 512"/>
              <a:gd name="T17" fmla="*/ 248 h 512"/>
              <a:gd name="T18" fmla="*/ 263 w 512"/>
              <a:gd name="T19" fmla="*/ 248 h 512"/>
              <a:gd name="T20" fmla="*/ 263 w 512"/>
              <a:gd name="T21" fmla="*/ 263 h 512"/>
              <a:gd name="T22" fmla="*/ 150 w 512"/>
              <a:gd name="T23" fmla="*/ 331 h 512"/>
              <a:gd name="T24" fmla="*/ 180 w 512"/>
              <a:gd name="T25" fmla="*/ 361 h 512"/>
              <a:gd name="T26" fmla="*/ 165 w 512"/>
              <a:gd name="T27" fmla="*/ 376 h 512"/>
              <a:gd name="T28" fmla="*/ 135 w 512"/>
              <a:gd name="T29" fmla="*/ 346 h 512"/>
              <a:gd name="T30" fmla="*/ 150 w 512"/>
              <a:gd name="T31" fmla="*/ 331 h 512"/>
              <a:gd name="T32" fmla="*/ 294 w 512"/>
              <a:gd name="T33" fmla="*/ 159 h 512"/>
              <a:gd name="T34" fmla="*/ 353 w 512"/>
              <a:gd name="T35" fmla="*/ 217 h 512"/>
              <a:gd name="T36" fmla="*/ 301 w 512"/>
              <a:gd name="T37" fmla="*/ 210 h 512"/>
              <a:gd name="T38" fmla="*/ 288 w 512"/>
              <a:gd name="T39" fmla="*/ 180 h 512"/>
              <a:gd name="T40" fmla="*/ 294 w 512"/>
              <a:gd name="T41" fmla="*/ 159 h 512"/>
              <a:gd name="T42" fmla="*/ 256 w 512"/>
              <a:gd name="T43" fmla="*/ 0 h 512"/>
              <a:gd name="T44" fmla="*/ 0 w 512"/>
              <a:gd name="T45" fmla="*/ 256 h 512"/>
              <a:gd name="T46" fmla="*/ 256 w 512"/>
              <a:gd name="T47" fmla="*/ 512 h 512"/>
              <a:gd name="T48" fmla="*/ 512 w 512"/>
              <a:gd name="T49" fmla="*/ 256 h 512"/>
              <a:gd name="T50" fmla="*/ 256 w 512"/>
              <a:gd name="T51" fmla="*/ 0 h 512"/>
              <a:gd name="T52" fmla="*/ 376 w 512"/>
              <a:gd name="T53" fmla="*/ 226 h 512"/>
              <a:gd name="T54" fmla="*/ 344 w 512"/>
              <a:gd name="T55" fmla="*/ 243 h 512"/>
              <a:gd name="T56" fmla="*/ 203 w 512"/>
              <a:gd name="T57" fmla="*/ 369 h 512"/>
              <a:gd name="T58" fmla="*/ 173 w 512"/>
              <a:gd name="T59" fmla="*/ 399 h 512"/>
              <a:gd name="T60" fmla="*/ 165 w 512"/>
              <a:gd name="T61" fmla="*/ 402 h 512"/>
              <a:gd name="T62" fmla="*/ 158 w 512"/>
              <a:gd name="T63" fmla="*/ 399 h 512"/>
              <a:gd name="T64" fmla="*/ 112 w 512"/>
              <a:gd name="T65" fmla="*/ 354 h 512"/>
              <a:gd name="T66" fmla="*/ 109 w 512"/>
              <a:gd name="T67" fmla="*/ 346 h 512"/>
              <a:gd name="T68" fmla="*/ 112 w 512"/>
              <a:gd name="T69" fmla="*/ 339 h 512"/>
              <a:gd name="T70" fmla="*/ 142 w 512"/>
              <a:gd name="T71" fmla="*/ 309 h 512"/>
              <a:gd name="T72" fmla="*/ 268 w 512"/>
              <a:gd name="T73" fmla="*/ 168 h 512"/>
              <a:gd name="T74" fmla="*/ 286 w 512"/>
              <a:gd name="T75" fmla="*/ 135 h 512"/>
              <a:gd name="T76" fmla="*/ 331 w 512"/>
              <a:gd name="T77" fmla="*/ 116 h 512"/>
              <a:gd name="T78" fmla="*/ 376 w 512"/>
              <a:gd name="T79" fmla="*/ 135 h 512"/>
              <a:gd name="T80" fmla="*/ 395 w 512"/>
              <a:gd name="T81" fmla="*/ 180 h 512"/>
              <a:gd name="T82" fmla="*/ 376 w 512"/>
              <a:gd name="T83" fmla="*/ 226 h 512"/>
              <a:gd name="T84" fmla="*/ 361 w 512"/>
              <a:gd name="T85" fmla="*/ 150 h 512"/>
              <a:gd name="T86" fmla="*/ 374 w 512"/>
              <a:gd name="T87" fmla="*/ 180 h 512"/>
              <a:gd name="T88" fmla="*/ 368 w 512"/>
              <a:gd name="T89" fmla="*/ 202 h 512"/>
              <a:gd name="T90" fmla="*/ 310 w 512"/>
              <a:gd name="T91" fmla="*/ 144 h 512"/>
              <a:gd name="T92" fmla="*/ 331 w 512"/>
              <a:gd name="T93" fmla="*/ 138 h 512"/>
              <a:gd name="T94" fmla="*/ 361 w 512"/>
              <a:gd name="T95" fmla="*/ 1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70" y="198"/>
                </a:moveTo>
                <a:cubicBezTo>
                  <a:pt x="165" y="316"/>
                  <a:pt x="165" y="316"/>
                  <a:pt x="165" y="316"/>
                </a:cubicBezTo>
                <a:cubicBezTo>
                  <a:pt x="196" y="347"/>
                  <a:pt x="196" y="347"/>
                  <a:pt x="196" y="347"/>
                </a:cubicBezTo>
                <a:cubicBezTo>
                  <a:pt x="313" y="241"/>
                  <a:pt x="313" y="241"/>
                  <a:pt x="313" y="241"/>
                </a:cubicBezTo>
                <a:cubicBezTo>
                  <a:pt x="303" y="239"/>
                  <a:pt x="294" y="233"/>
                  <a:pt x="286" y="226"/>
                </a:cubicBezTo>
                <a:cubicBezTo>
                  <a:pt x="278" y="218"/>
                  <a:pt x="273" y="208"/>
                  <a:pt x="270" y="198"/>
                </a:cubicBezTo>
                <a:close/>
                <a:moveTo>
                  <a:pt x="263" y="263"/>
                </a:moveTo>
                <a:cubicBezTo>
                  <a:pt x="259" y="267"/>
                  <a:pt x="252" y="267"/>
                  <a:pt x="248" y="263"/>
                </a:cubicBezTo>
                <a:cubicBezTo>
                  <a:pt x="244" y="259"/>
                  <a:pt x="244" y="252"/>
                  <a:pt x="248" y="248"/>
                </a:cubicBezTo>
                <a:cubicBezTo>
                  <a:pt x="252" y="244"/>
                  <a:pt x="259" y="244"/>
                  <a:pt x="263" y="248"/>
                </a:cubicBezTo>
                <a:cubicBezTo>
                  <a:pt x="267" y="252"/>
                  <a:pt x="267" y="259"/>
                  <a:pt x="263" y="263"/>
                </a:cubicBezTo>
                <a:close/>
                <a:moveTo>
                  <a:pt x="150" y="331"/>
                </a:moveTo>
                <a:cubicBezTo>
                  <a:pt x="180" y="361"/>
                  <a:pt x="180" y="361"/>
                  <a:pt x="180" y="361"/>
                </a:cubicBezTo>
                <a:cubicBezTo>
                  <a:pt x="165" y="376"/>
                  <a:pt x="165" y="376"/>
                  <a:pt x="165" y="376"/>
                </a:cubicBezTo>
                <a:cubicBezTo>
                  <a:pt x="135" y="346"/>
                  <a:pt x="135" y="346"/>
                  <a:pt x="135" y="346"/>
                </a:cubicBezTo>
                <a:lnTo>
                  <a:pt x="150" y="331"/>
                </a:lnTo>
                <a:close/>
                <a:moveTo>
                  <a:pt x="294" y="159"/>
                </a:moveTo>
                <a:cubicBezTo>
                  <a:pt x="353" y="217"/>
                  <a:pt x="353" y="217"/>
                  <a:pt x="353" y="217"/>
                </a:cubicBezTo>
                <a:cubicBezTo>
                  <a:pt x="336" y="226"/>
                  <a:pt x="315" y="224"/>
                  <a:pt x="301" y="210"/>
                </a:cubicBezTo>
                <a:cubicBezTo>
                  <a:pt x="293" y="202"/>
                  <a:pt x="288" y="192"/>
                  <a:pt x="288" y="180"/>
                </a:cubicBezTo>
                <a:cubicBezTo>
                  <a:pt x="288" y="173"/>
                  <a:pt x="291" y="165"/>
                  <a:pt x="294" y="159"/>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6" y="226"/>
                </a:moveTo>
                <a:cubicBezTo>
                  <a:pt x="367" y="235"/>
                  <a:pt x="356" y="241"/>
                  <a:pt x="344" y="243"/>
                </a:cubicBezTo>
                <a:cubicBezTo>
                  <a:pt x="203" y="369"/>
                  <a:pt x="203" y="369"/>
                  <a:pt x="203" y="369"/>
                </a:cubicBezTo>
                <a:cubicBezTo>
                  <a:pt x="173" y="399"/>
                  <a:pt x="173" y="399"/>
                  <a:pt x="173" y="399"/>
                </a:cubicBezTo>
                <a:cubicBezTo>
                  <a:pt x="171" y="401"/>
                  <a:pt x="168" y="402"/>
                  <a:pt x="165" y="402"/>
                </a:cubicBezTo>
                <a:cubicBezTo>
                  <a:pt x="162" y="402"/>
                  <a:pt x="160" y="401"/>
                  <a:pt x="158" y="399"/>
                </a:cubicBezTo>
                <a:cubicBezTo>
                  <a:pt x="112" y="354"/>
                  <a:pt x="112" y="354"/>
                  <a:pt x="112" y="354"/>
                </a:cubicBezTo>
                <a:cubicBezTo>
                  <a:pt x="110" y="352"/>
                  <a:pt x="109" y="349"/>
                  <a:pt x="109" y="346"/>
                </a:cubicBezTo>
                <a:cubicBezTo>
                  <a:pt x="109" y="343"/>
                  <a:pt x="110" y="341"/>
                  <a:pt x="112" y="339"/>
                </a:cubicBezTo>
                <a:cubicBezTo>
                  <a:pt x="142" y="309"/>
                  <a:pt x="142" y="309"/>
                  <a:pt x="142" y="309"/>
                </a:cubicBezTo>
                <a:cubicBezTo>
                  <a:pt x="268" y="168"/>
                  <a:pt x="268" y="168"/>
                  <a:pt x="268" y="168"/>
                </a:cubicBezTo>
                <a:cubicBezTo>
                  <a:pt x="271" y="155"/>
                  <a:pt x="277" y="144"/>
                  <a:pt x="286" y="135"/>
                </a:cubicBezTo>
                <a:cubicBezTo>
                  <a:pt x="298" y="123"/>
                  <a:pt x="314" y="116"/>
                  <a:pt x="331" y="116"/>
                </a:cubicBezTo>
                <a:cubicBezTo>
                  <a:pt x="348" y="116"/>
                  <a:pt x="364" y="123"/>
                  <a:pt x="376" y="135"/>
                </a:cubicBezTo>
                <a:cubicBezTo>
                  <a:pt x="388" y="147"/>
                  <a:pt x="395" y="163"/>
                  <a:pt x="395" y="180"/>
                </a:cubicBezTo>
                <a:cubicBezTo>
                  <a:pt x="395" y="197"/>
                  <a:pt x="388" y="213"/>
                  <a:pt x="376" y="226"/>
                </a:cubicBezTo>
                <a:close/>
                <a:moveTo>
                  <a:pt x="361" y="150"/>
                </a:moveTo>
                <a:cubicBezTo>
                  <a:pt x="369" y="158"/>
                  <a:pt x="374" y="169"/>
                  <a:pt x="374" y="180"/>
                </a:cubicBezTo>
                <a:cubicBezTo>
                  <a:pt x="374" y="188"/>
                  <a:pt x="372" y="195"/>
                  <a:pt x="368" y="202"/>
                </a:cubicBezTo>
                <a:cubicBezTo>
                  <a:pt x="310" y="144"/>
                  <a:pt x="310" y="144"/>
                  <a:pt x="310" y="144"/>
                </a:cubicBezTo>
                <a:cubicBezTo>
                  <a:pt x="316" y="140"/>
                  <a:pt x="323" y="138"/>
                  <a:pt x="331" y="138"/>
                </a:cubicBezTo>
                <a:cubicBezTo>
                  <a:pt x="342" y="138"/>
                  <a:pt x="353" y="142"/>
                  <a:pt x="361" y="15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59" name="Group 844">
            <a:extLst>
              <a:ext uri="{FF2B5EF4-FFF2-40B4-BE49-F238E27FC236}">
                <a16:creationId xmlns:a16="http://schemas.microsoft.com/office/drawing/2014/main" id="{7A431774-71C2-4A76-ABFA-5915CBF0B984}"/>
              </a:ext>
            </a:extLst>
          </p:cNvPr>
          <p:cNvGrpSpPr>
            <a:grpSpLocks noChangeAspect="1"/>
          </p:cNvGrpSpPr>
          <p:nvPr/>
        </p:nvGrpSpPr>
        <p:grpSpPr bwMode="auto">
          <a:xfrm>
            <a:off x="4390066" y="4113334"/>
            <a:ext cx="367041" cy="367041"/>
            <a:chOff x="6259" y="4031"/>
            <a:chExt cx="340" cy="340"/>
          </a:xfrm>
          <a:solidFill>
            <a:schemeClr val="accent3"/>
          </a:solidFill>
        </p:grpSpPr>
        <p:sp>
          <p:nvSpPr>
            <p:cNvPr id="760" name="Freeform 845">
              <a:extLst>
                <a:ext uri="{FF2B5EF4-FFF2-40B4-BE49-F238E27FC236}">
                  <a16:creationId xmlns:a16="http://schemas.microsoft.com/office/drawing/2014/main" id="{63BCE6C0-045E-4D93-91BD-5EF7C1CEC4E9}"/>
                </a:ext>
              </a:extLst>
            </p:cNvPr>
            <p:cNvSpPr>
              <a:spLocks noEditPoints="1"/>
            </p:cNvSpPr>
            <p:nvPr/>
          </p:nvSpPr>
          <p:spPr bwMode="auto">
            <a:xfrm>
              <a:off x="6259" y="40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1" name="Freeform 846">
              <a:extLst>
                <a:ext uri="{FF2B5EF4-FFF2-40B4-BE49-F238E27FC236}">
                  <a16:creationId xmlns:a16="http://schemas.microsoft.com/office/drawing/2014/main" id="{399A8BF9-35E7-4A56-AE74-C480430692D1}"/>
                </a:ext>
              </a:extLst>
            </p:cNvPr>
            <p:cNvSpPr>
              <a:spLocks noEditPoints="1"/>
            </p:cNvSpPr>
            <p:nvPr/>
          </p:nvSpPr>
          <p:spPr bwMode="auto">
            <a:xfrm>
              <a:off x="6331" y="4108"/>
              <a:ext cx="190" cy="190"/>
            </a:xfrm>
            <a:custGeom>
              <a:avLst/>
              <a:gdLst>
                <a:gd name="T0" fmla="*/ 267 w 286"/>
                <a:gd name="T1" fmla="*/ 110 h 286"/>
                <a:gd name="T2" fmla="*/ 286 w 286"/>
                <a:gd name="T3" fmla="*/ 64 h 286"/>
                <a:gd name="T4" fmla="*/ 267 w 286"/>
                <a:gd name="T5" fmla="*/ 19 h 286"/>
                <a:gd name="T6" fmla="*/ 222 w 286"/>
                <a:gd name="T7" fmla="*/ 0 h 286"/>
                <a:gd name="T8" fmla="*/ 177 w 286"/>
                <a:gd name="T9" fmla="*/ 19 h 286"/>
                <a:gd name="T10" fmla="*/ 159 w 286"/>
                <a:gd name="T11" fmla="*/ 52 h 286"/>
                <a:gd name="T12" fmla="*/ 33 w 286"/>
                <a:gd name="T13" fmla="*/ 193 h 286"/>
                <a:gd name="T14" fmla="*/ 3 w 286"/>
                <a:gd name="T15" fmla="*/ 223 h 286"/>
                <a:gd name="T16" fmla="*/ 0 w 286"/>
                <a:gd name="T17" fmla="*/ 230 h 286"/>
                <a:gd name="T18" fmla="*/ 3 w 286"/>
                <a:gd name="T19" fmla="*/ 238 h 286"/>
                <a:gd name="T20" fmla="*/ 49 w 286"/>
                <a:gd name="T21" fmla="*/ 283 h 286"/>
                <a:gd name="T22" fmla="*/ 56 w 286"/>
                <a:gd name="T23" fmla="*/ 286 h 286"/>
                <a:gd name="T24" fmla="*/ 64 w 286"/>
                <a:gd name="T25" fmla="*/ 283 h 286"/>
                <a:gd name="T26" fmla="*/ 94 w 286"/>
                <a:gd name="T27" fmla="*/ 253 h 286"/>
                <a:gd name="T28" fmla="*/ 235 w 286"/>
                <a:gd name="T29" fmla="*/ 127 h 286"/>
                <a:gd name="T30" fmla="*/ 267 w 286"/>
                <a:gd name="T31" fmla="*/ 110 h 286"/>
                <a:gd name="T32" fmla="*/ 185 w 286"/>
                <a:gd name="T33" fmla="*/ 43 h 286"/>
                <a:gd name="T34" fmla="*/ 244 w 286"/>
                <a:gd name="T35" fmla="*/ 101 h 286"/>
                <a:gd name="T36" fmla="*/ 192 w 286"/>
                <a:gd name="T37" fmla="*/ 94 h 286"/>
                <a:gd name="T38" fmla="*/ 179 w 286"/>
                <a:gd name="T39" fmla="*/ 64 h 286"/>
                <a:gd name="T40" fmla="*/ 185 w 286"/>
                <a:gd name="T41" fmla="*/ 43 h 286"/>
                <a:gd name="T42" fmla="*/ 252 w 286"/>
                <a:gd name="T43" fmla="*/ 34 h 286"/>
                <a:gd name="T44" fmla="*/ 265 w 286"/>
                <a:gd name="T45" fmla="*/ 64 h 286"/>
                <a:gd name="T46" fmla="*/ 259 w 286"/>
                <a:gd name="T47" fmla="*/ 86 h 286"/>
                <a:gd name="T48" fmla="*/ 201 w 286"/>
                <a:gd name="T49" fmla="*/ 28 h 286"/>
                <a:gd name="T50" fmla="*/ 222 w 286"/>
                <a:gd name="T51" fmla="*/ 22 h 286"/>
                <a:gd name="T52" fmla="*/ 252 w 286"/>
                <a:gd name="T53" fmla="*/ 34 h 286"/>
                <a:gd name="T54" fmla="*/ 161 w 286"/>
                <a:gd name="T55" fmla="*/ 82 h 286"/>
                <a:gd name="T56" fmla="*/ 177 w 286"/>
                <a:gd name="T57" fmla="*/ 110 h 286"/>
                <a:gd name="T58" fmla="*/ 204 w 286"/>
                <a:gd name="T59" fmla="*/ 125 h 286"/>
                <a:gd name="T60" fmla="*/ 87 w 286"/>
                <a:gd name="T61" fmla="*/ 231 h 286"/>
                <a:gd name="T62" fmla="*/ 56 w 286"/>
                <a:gd name="T63" fmla="*/ 200 h 286"/>
                <a:gd name="T64" fmla="*/ 161 w 286"/>
                <a:gd name="T65" fmla="*/ 82 h 286"/>
                <a:gd name="T66" fmla="*/ 56 w 286"/>
                <a:gd name="T67" fmla="*/ 260 h 286"/>
                <a:gd name="T68" fmla="*/ 26 w 286"/>
                <a:gd name="T69" fmla="*/ 230 h 286"/>
                <a:gd name="T70" fmla="*/ 41 w 286"/>
                <a:gd name="T71" fmla="*/ 215 h 286"/>
                <a:gd name="T72" fmla="*/ 71 w 286"/>
                <a:gd name="T73" fmla="*/ 245 h 286"/>
                <a:gd name="T74" fmla="*/ 56 w 286"/>
                <a:gd name="T75" fmla="*/ 26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6" h="286">
                  <a:moveTo>
                    <a:pt x="267" y="110"/>
                  </a:moveTo>
                  <a:cubicBezTo>
                    <a:pt x="279" y="97"/>
                    <a:pt x="286" y="81"/>
                    <a:pt x="286" y="64"/>
                  </a:cubicBezTo>
                  <a:cubicBezTo>
                    <a:pt x="286" y="47"/>
                    <a:pt x="279" y="31"/>
                    <a:pt x="267" y="19"/>
                  </a:cubicBezTo>
                  <a:cubicBezTo>
                    <a:pt x="255" y="7"/>
                    <a:pt x="239" y="0"/>
                    <a:pt x="222" y="0"/>
                  </a:cubicBezTo>
                  <a:cubicBezTo>
                    <a:pt x="205" y="0"/>
                    <a:pt x="189" y="7"/>
                    <a:pt x="177" y="19"/>
                  </a:cubicBezTo>
                  <a:cubicBezTo>
                    <a:pt x="168" y="28"/>
                    <a:pt x="162" y="39"/>
                    <a:pt x="159" y="52"/>
                  </a:cubicBezTo>
                  <a:cubicBezTo>
                    <a:pt x="33" y="193"/>
                    <a:pt x="33" y="193"/>
                    <a:pt x="33" y="193"/>
                  </a:cubicBezTo>
                  <a:cubicBezTo>
                    <a:pt x="3" y="223"/>
                    <a:pt x="3" y="223"/>
                    <a:pt x="3" y="223"/>
                  </a:cubicBezTo>
                  <a:cubicBezTo>
                    <a:pt x="1" y="225"/>
                    <a:pt x="0" y="227"/>
                    <a:pt x="0" y="230"/>
                  </a:cubicBezTo>
                  <a:cubicBezTo>
                    <a:pt x="0" y="233"/>
                    <a:pt x="1" y="236"/>
                    <a:pt x="3" y="238"/>
                  </a:cubicBezTo>
                  <a:cubicBezTo>
                    <a:pt x="49" y="283"/>
                    <a:pt x="49" y="283"/>
                    <a:pt x="49" y="283"/>
                  </a:cubicBezTo>
                  <a:cubicBezTo>
                    <a:pt x="51" y="285"/>
                    <a:pt x="53" y="286"/>
                    <a:pt x="56" y="286"/>
                  </a:cubicBezTo>
                  <a:cubicBezTo>
                    <a:pt x="59" y="286"/>
                    <a:pt x="62" y="285"/>
                    <a:pt x="64" y="283"/>
                  </a:cubicBezTo>
                  <a:cubicBezTo>
                    <a:pt x="94" y="253"/>
                    <a:pt x="94" y="253"/>
                    <a:pt x="94" y="253"/>
                  </a:cubicBezTo>
                  <a:cubicBezTo>
                    <a:pt x="235" y="127"/>
                    <a:pt x="235" y="127"/>
                    <a:pt x="235" y="127"/>
                  </a:cubicBezTo>
                  <a:cubicBezTo>
                    <a:pt x="247" y="125"/>
                    <a:pt x="258" y="119"/>
                    <a:pt x="267" y="110"/>
                  </a:cubicBezTo>
                  <a:close/>
                  <a:moveTo>
                    <a:pt x="185" y="43"/>
                  </a:moveTo>
                  <a:cubicBezTo>
                    <a:pt x="244" y="101"/>
                    <a:pt x="244" y="101"/>
                    <a:pt x="244" y="101"/>
                  </a:cubicBezTo>
                  <a:cubicBezTo>
                    <a:pt x="227" y="110"/>
                    <a:pt x="206" y="108"/>
                    <a:pt x="192" y="94"/>
                  </a:cubicBezTo>
                  <a:cubicBezTo>
                    <a:pt x="184" y="86"/>
                    <a:pt x="179" y="76"/>
                    <a:pt x="179" y="64"/>
                  </a:cubicBezTo>
                  <a:cubicBezTo>
                    <a:pt x="179" y="57"/>
                    <a:pt x="182" y="49"/>
                    <a:pt x="185" y="43"/>
                  </a:cubicBezTo>
                  <a:close/>
                  <a:moveTo>
                    <a:pt x="252" y="34"/>
                  </a:moveTo>
                  <a:cubicBezTo>
                    <a:pt x="260" y="42"/>
                    <a:pt x="265" y="53"/>
                    <a:pt x="265" y="64"/>
                  </a:cubicBezTo>
                  <a:cubicBezTo>
                    <a:pt x="265" y="72"/>
                    <a:pt x="263" y="79"/>
                    <a:pt x="259" y="86"/>
                  </a:cubicBezTo>
                  <a:cubicBezTo>
                    <a:pt x="201" y="28"/>
                    <a:pt x="201" y="28"/>
                    <a:pt x="201" y="28"/>
                  </a:cubicBezTo>
                  <a:cubicBezTo>
                    <a:pt x="207" y="24"/>
                    <a:pt x="214" y="22"/>
                    <a:pt x="222" y="22"/>
                  </a:cubicBezTo>
                  <a:cubicBezTo>
                    <a:pt x="233" y="22"/>
                    <a:pt x="244" y="26"/>
                    <a:pt x="252" y="34"/>
                  </a:cubicBezTo>
                  <a:close/>
                  <a:moveTo>
                    <a:pt x="161" y="82"/>
                  </a:moveTo>
                  <a:cubicBezTo>
                    <a:pt x="164" y="92"/>
                    <a:pt x="169" y="102"/>
                    <a:pt x="177" y="110"/>
                  </a:cubicBezTo>
                  <a:cubicBezTo>
                    <a:pt x="185" y="117"/>
                    <a:pt x="194" y="123"/>
                    <a:pt x="204" y="125"/>
                  </a:cubicBezTo>
                  <a:cubicBezTo>
                    <a:pt x="87" y="231"/>
                    <a:pt x="87" y="231"/>
                    <a:pt x="87" y="231"/>
                  </a:cubicBezTo>
                  <a:cubicBezTo>
                    <a:pt x="56" y="200"/>
                    <a:pt x="56" y="200"/>
                    <a:pt x="56" y="200"/>
                  </a:cubicBezTo>
                  <a:lnTo>
                    <a:pt x="161" y="82"/>
                  </a:lnTo>
                  <a:close/>
                  <a:moveTo>
                    <a:pt x="56" y="260"/>
                  </a:moveTo>
                  <a:cubicBezTo>
                    <a:pt x="26" y="230"/>
                    <a:pt x="26" y="230"/>
                    <a:pt x="26" y="230"/>
                  </a:cubicBezTo>
                  <a:cubicBezTo>
                    <a:pt x="41" y="215"/>
                    <a:pt x="41" y="215"/>
                    <a:pt x="41" y="215"/>
                  </a:cubicBezTo>
                  <a:cubicBezTo>
                    <a:pt x="71" y="245"/>
                    <a:pt x="71" y="245"/>
                    <a:pt x="71" y="245"/>
                  </a:cubicBezTo>
                  <a:lnTo>
                    <a:pt x="56" y="26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2" name="Freeform 847">
              <a:extLst>
                <a:ext uri="{FF2B5EF4-FFF2-40B4-BE49-F238E27FC236}">
                  <a16:creationId xmlns:a16="http://schemas.microsoft.com/office/drawing/2014/main" id="{CABA527F-57CE-4AC4-BE3D-BB579AE1F582}"/>
                </a:ext>
              </a:extLst>
            </p:cNvPr>
            <p:cNvSpPr>
              <a:spLocks/>
            </p:cNvSpPr>
            <p:nvPr/>
          </p:nvSpPr>
          <p:spPr bwMode="auto">
            <a:xfrm>
              <a:off x="6421" y="4193"/>
              <a:ext cx="15" cy="15"/>
            </a:xfrm>
            <a:custGeom>
              <a:avLst/>
              <a:gdLst>
                <a:gd name="T0" fmla="*/ 19 w 23"/>
                <a:gd name="T1" fmla="*/ 19 h 23"/>
                <a:gd name="T2" fmla="*/ 19 w 23"/>
                <a:gd name="T3" fmla="*/ 4 h 23"/>
                <a:gd name="T4" fmla="*/ 4 w 23"/>
                <a:gd name="T5" fmla="*/ 4 h 23"/>
                <a:gd name="T6" fmla="*/ 4 w 23"/>
                <a:gd name="T7" fmla="*/ 19 h 23"/>
                <a:gd name="T8" fmla="*/ 19 w 23"/>
                <a:gd name="T9" fmla="*/ 19 h 23"/>
              </a:gdLst>
              <a:ahLst/>
              <a:cxnLst>
                <a:cxn ang="0">
                  <a:pos x="T0" y="T1"/>
                </a:cxn>
                <a:cxn ang="0">
                  <a:pos x="T2" y="T3"/>
                </a:cxn>
                <a:cxn ang="0">
                  <a:pos x="T4" y="T5"/>
                </a:cxn>
                <a:cxn ang="0">
                  <a:pos x="T6" y="T7"/>
                </a:cxn>
                <a:cxn ang="0">
                  <a:pos x="T8" y="T9"/>
                </a:cxn>
              </a:cxnLst>
              <a:rect l="0" t="0" r="r" b="b"/>
              <a:pathLst>
                <a:path w="23" h="23">
                  <a:moveTo>
                    <a:pt x="19" y="19"/>
                  </a:moveTo>
                  <a:cubicBezTo>
                    <a:pt x="23" y="15"/>
                    <a:pt x="23" y="8"/>
                    <a:pt x="19" y="4"/>
                  </a:cubicBezTo>
                  <a:cubicBezTo>
                    <a:pt x="15" y="0"/>
                    <a:pt x="8" y="0"/>
                    <a:pt x="4" y="4"/>
                  </a:cubicBezTo>
                  <a:cubicBezTo>
                    <a:pt x="0" y="8"/>
                    <a:pt x="0" y="15"/>
                    <a:pt x="4" y="19"/>
                  </a:cubicBezTo>
                  <a:cubicBezTo>
                    <a:pt x="8" y="23"/>
                    <a:pt x="15" y="23"/>
                    <a:pt x="19"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3" name="Freeform 848">
              <a:extLst>
                <a:ext uri="{FF2B5EF4-FFF2-40B4-BE49-F238E27FC236}">
                  <a16:creationId xmlns:a16="http://schemas.microsoft.com/office/drawing/2014/main" id="{68ECC197-1427-43B4-B5E2-2FC0309D3729}"/>
                </a:ext>
              </a:extLst>
            </p:cNvPr>
            <p:cNvSpPr>
              <a:spLocks noEditPoints="1"/>
            </p:cNvSpPr>
            <p:nvPr/>
          </p:nvSpPr>
          <p:spPr bwMode="auto">
            <a:xfrm>
              <a:off x="6259" y="40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64" name="Freeform 852">
            <a:extLst>
              <a:ext uri="{FF2B5EF4-FFF2-40B4-BE49-F238E27FC236}">
                <a16:creationId xmlns:a16="http://schemas.microsoft.com/office/drawing/2014/main" id="{0EF9E6E4-69A4-4409-83CD-986D9ECDCBE5}"/>
              </a:ext>
            </a:extLst>
          </p:cNvPr>
          <p:cNvSpPr>
            <a:spLocks noChangeAspect="1" noEditPoints="1"/>
          </p:cNvSpPr>
          <p:nvPr/>
        </p:nvSpPr>
        <p:spPr bwMode="auto">
          <a:xfrm>
            <a:off x="4825293" y="4113334"/>
            <a:ext cx="367041" cy="368121"/>
          </a:xfrm>
          <a:custGeom>
            <a:avLst/>
            <a:gdLst>
              <a:gd name="T0" fmla="*/ 256 w 512"/>
              <a:gd name="T1" fmla="*/ 309 h 512"/>
              <a:gd name="T2" fmla="*/ 202 w 512"/>
              <a:gd name="T3" fmla="*/ 256 h 512"/>
              <a:gd name="T4" fmla="*/ 202 w 512"/>
              <a:gd name="T5" fmla="*/ 149 h 512"/>
              <a:gd name="T6" fmla="*/ 256 w 512"/>
              <a:gd name="T7" fmla="*/ 96 h 512"/>
              <a:gd name="T8" fmla="*/ 309 w 512"/>
              <a:gd name="T9" fmla="*/ 149 h 512"/>
              <a:gd name="T10" fmla="*/ 309 w 512"/>
              <a:gd name="T11" fmla="*/ 256 h 512"/>
              <a:gd name="T12" fmla="*/ 256 w 512"/>
              <a:gd name="T13" fmla="*/ 309 h 512"/>
              <a:gd name="T14" fmla="*/ 256 w 512"/>
              <a:gd name="T15" fmla="*/ 117 h 512"/>
              <a:gd name="T16" fmla="*/ 224 w 512"/>
              <a:gd name="T17" fmla="*/ 149 h 512"/>
              <a:gd name="T18" fmla="*/ 224 w 512"/>
              <a:gd name="T19" fmla="*/ 256 h 512"/>
              <a:gd name="T20" fmla="*/ 256 w 512"/>
              <a:gd name="T21" fmla="*/ 288 h 512"/>
              <a:gd name="T22" fmla="*/ 288 w 512"/>
              <a:gd name="T23" fmla="*/ 256 h 512"/>
              <a:gd name="T24" fmla="*/ 288 w 512"/>
              <a:gd name="T25" fmla="*/ 149 h 512"/>
              <a:gd name="T26" fmla="*/ 256 w 512"/>
              <a:gd name="T27" fmla="*/ 117 h 512"/>
              <a:gd name="T28" fmla="*/ 256 w 512"/>
              <a:gd name="T29" fmla="*/ 0 h 512"/>
              <a:gd name="T30" fmla="*/ 0 w 512"/>
              <a:gd name="T31" fmla="*/ 256 h 512"/>
              <a:gd name="T32" fmla="*/ 256 w 512"/>
              <a:gd name="T33" fmla="*/ 512 h 512"/>
              <a:gd name="T34" fmla="*/ 512 w 512"/>
              <a:gd name="T35" fmla="*/ 256 h 512"/>
              <a:gd name="T36" fmla="*/ 256 w 512"/>
              <a:gd name="T37" fmla="*/ 0 h 512"/>
              <a:gd name="T38" fmla="*/ 266 w 512"/>
              <a:gd name="T39" fmla="*/ 351 h 512"/>
              <a:gd name="T40" fmla="*/ 266 w 512"/>
              <a:gd name="T41" fmla="*/ 394 h 512"/>
              <a:gd name="T42" fmla="*/ 309 w 512"/>
              <a:gd name="T43" fmla="*/ 394 h 512"/>
              <a:gd name="T44" fmla="*/ 320 w 512"/>
              <a:gd name="T45" fmla="*/ 405 h 512"/>
              <a:gd name="T46" fmla="*/ 309 w 512"/>
              <a:gd name="T47" fmla="*/ 416 h 512"/>
              <a:gd name="T48" fmla="*/ 202 w 512"/>
              <a:gd name="T49" fmla="*/ 416 h 512"/>
              <a:gd name="T50" fmla="*/ 192 w 512"/>
              <a:gd name="T51" fmla="*/ 405 h 512"/>
              <a:gd name="T52" fmla="*/ 202 w 512"/>
              <a:gd name="T53" fmla="*/ 394 h 512"/>
              <a:gd name="T54" fmla="*/ 245 w 512"/>
              <a:gd name="T55" fmla="*/ 394 h 512"/>
              <a:gd name="T56" fmla="*/ 245 w 512"/>
              <a:gd name="T57" fmla="*/ 351 h 512"/>
              <a:gd name="T58" fmla="*/ 160 w 512"/>
              <a:gd name="T59" fmla="*/ 256 h 512"/>
              <a:gd name="T60" fmla="*/ 170 w 512"/>
              <a:gd name="T61" fmla="*/ 245 h 512"/>
              <a:gd name="T62" fmla="*/ 181 w 512"/>
              <a:gd name="T63" fmla="*/ 256 h 512"/>
              <a:gd name="T64" fmla="*/ 256 w 512"/>
              <a:gd name="T65" fmla="*/ 330 h 512"/>
              <a:gd name="T66" fmla="*/ 330 w 512"/>
              <a:gd name="T67" fmla="*/ 256 h 512"/>
              <a:gd name="T68" fmla="*/ 341 w 512"/>
              <a:gd name="T69" fmla="*/ 245 h 512"/>
              <a:gd name="T70" fmla="*/ 352 w 512"/>
              <a:gd name="T71" fmla="*/ 256 h 512"/>
              <a:gd name="T72" fmla="*/ 266 w 512"/>
              <a:gd name="T7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51"/>
                </a:moveTo>
                <a:cubicBezTo>
                  <a:pt x="266" y="394"/>
                  <a:pt x="266" y="394"/>
                  <a:pt x="266" y="394"/>
                </a:cubicBezTo>
                <a:cubicBezTo>
                  <a:pt x="309" y="394"/>
                  <a:pt x="309" y="394"/>
                  <a:pt x="309" y="394"/>
                </a:cubicBezTo>
                <a:cubicBezTo>
                  <a:pt x="315" y="394"/>
                  <a:pt x="320" y="399"/>
                  <a:pt x="320" y="405"/>
                </a:cubicBezTo>
                <a:cubicBezTo>
                  <a:pt x="320" y="411"/>
                  <a:pt x="315" y="416"/>
                  <a:pt x="309" y="416"/>
                </a:cubicBezTo>
                <a:cubicBezTo>
                  <a:pt x="202" y="416"/>
                  <a:pt x="202" y="416"/>
                  <a:pt x="202" y="416"/>
                </a:cubicBezTo>
                <a:cubicBezTo>
                  <a:pt x="196" y="416"/>
                  <a:pt x="192" y="411"/>
                  <a:pt x="192" y="405"/>
                </a:cubicBezTo>
                <a:cubicBezTo>
                  <a:pt x="192" y="399"/>
                  <a:pt x="196" y="394"/>
                  <a:pt x="202" y="394"/>
                </a:cubicBezTo>
                <a:cubicBezTo>
                  <a:pt x="245" y="394"/>
                  <a:pt x="245" y="394"/>
                  <a:pt x="245" y="394"/>
                </a:cubicBezTo>
                <a:cubicBezTo>
                  <a:pt x="245" y="351"/>
                  <a:pt x="245" y="351"/>
                  <a:pt x="245" y="351"/>
                </a:cubicBezTo>
                <a:cubicBezTo>
                  <a:pt x="197" y="346"/>
                  <a:pt x="160" y="305"/>
                  <a:pt x="160" y="256"/>
                </a:cubicBezTo>
                <a:cubicBezTo>
                  <a:pt x="160" y="250"/>
                  <a:pt x="164" y="245"/>
                  <a:pt x="170" y="245"/>
                </a:cubicBezTo>
                <a:cubicBezTo>
                  <a:pt x="176" y="245"/>
                  <a:pt x="181" y="250"/>
                  <a:pt x="181" y="256"/>
                </a:cubicBezTo>
                <a:cubicBezTo>
                  <a:pt x="181" y="297"/>
                  <a:pt x="214" y="330"/>
                  <a:pt x="256" y="330"/>
                </a:cubicBezTo>
                <a:cubicBezTo>
                  <a:pt x="297" y="330"/>
                  <a:pt x="330" y="297"/>
                  <a:pt x="330" y="256"/>
                </a:cubicBezTo>
                <a:cubicBezTo>
                  <a:pt x="330" y="250"/>
                  <a:pt x="335" y="245"/>
                  <a:pt x="341" y="245"/>
                </a:cubicBezTo>
                <a:cubicBezTo>
                  <a:pt x="347" y="245"/>
                  <a:pt x="352" y="250"/>
                  <a:pt x="352" y="256"/>
                </a:cubicBezTo>
                <a:cubicBezTo>
                  <a:pt x="352" y="305"/>
                  <a:pt x="314" y="346"/>
                  <a:pt x="266" y="35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65" name="Freeform 682">
            <a:extLst>
              <a:ext uri="{FF2B5EF4-FFF2-40B4-BE49-F238E27FC236}">
                <a16:creationId xmlns:a16="http://schemas.microsoft.com/office/drawing/2014/main" id="{2E4A2E1B-2F6A-4DB1-BA9A-354126F85EA4}"/>
              </a:ext>
            </a:extLst>
          </p:cNvPr>
          <p:cNvSpPr>
            <a:spLocks noChangeAspect="1" noEditPoints="1"/>
          </p:cNvSpPr>
          <p:nvPr/>
        </p:nvSpPr>
        <p:spPr bwMode="auto">
          <a:xfrm>
            <a:off x="5260520" y="4113334"/>
            <a:ext cx="368120"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56 w 512"/>
              <a:gd name="T21" fmla="*/ 309 h 512"/>
              <a:gd name="T22" fmla="*/ 202 w 512"/>
              <a:gd name="T23" fmla="*/ 256 h 512"/>
              <a:gd name="T24" fmla="*/ 202 w 512"/>
              <a:gd name="T25" fmla="*/ 149 h 512"/>
              <a:gd name="T26" fmla="*/ 256 w 512"/>
              <a:gd name="T27" fmla="*/ 96 h 512"/>
              <a:gd name="T28" fmla="*/ 309 w 512"/>
              <a:gd name="T29" fmla="*/ 149 h 512"/>
              <a:gd name="T30" fmla="*/ 309 w 512"/>
              <a:gd name="T31" fmla="*/ 256 h 512"/>
              <a:gd name="T32" fmla="*/ 256 w 512"/>
              <a:gd name="T33" fmla="*/ 309 h 512"/>
              <a:gd name="T34" fmla="*/ 256 w 512"/>
              <a:gd name="T35" fmla="*/ 117 h 512"/>
              <a:gd name="T36" fmla="*/ 224 w 512"/>
              <a:gd name="T37" fmla="*/ 149 h 512"/>
              <a:gd name="T38" fmla="*/ 224 w 512"/>
              <a:gd name="T39" fmla="*/ 256 h 512"/>
              <a:gd name="T40" fmla="*/ 256 w 512"/>
              <a:gd name="T41" fmla="*/ 288 h 512"/>
              <a:gd name="T42" fmla="*/ 288 w 512"/>
              <a:gd name="T43" fmla="*/ 256 h 512"/>
              <a:gd name="T44" fmla="*/ 288 w 512"/>
              <a:gd name="T45" fmla="*/ 149 h 512"/>
              <a:gd name="T46" fmla="*/ 256 w 512"/>
              <a:gd name="T47" fmla="*/ 117 h 512"/>
              <a:gd name="T48" fmla="*/ 352 w 512"/>
              <a:gd name="T49" fmla="*/ 256 h 512"/>
              <a:gd name="T50" fmla="*/ 341 w 512"/>
              <a:gd name="T51" fmla="*/ 245 h 512"/>
              <a:gd name="T52" fmla="*/ 330 w 512"/>
              <a:gd name="T53" fmla="*/ 256 h 512"/>
              <a:gd name="T54" fmla="*/ 256 w 512"/>
              <a:gd name="T55" fmla="*/ 330 h 512"/>
              <a:gd name="T56" fmla="*/ 181 w 512"/>
              <a:gd name="T57" fmla="*/ 256 h 512"/>
              <a:gd name="T58" fmla="*/ 170 w 512"/>
              <a:gd name="T59" fmla="*/ 245 h 512"/>
              <a:gd name="T60" fmla="*/ 160 w 512"/>
              <a:gd name="T61" fmla="*/ 256 h 512"/>
              <a:gd name="T62" fmla="*/ 245 w 512"/>
              <a:gd name="T63" fmla="*/ 351 h 512"/>
              <a:gd name="T64" fmla="*/ 245 w 512"/>
              <a:gd name="T65" fmla="*/ 394 h 512"/>
              <a:gd name="T66" fmla="*/ 202 w 512"/>
              <a:gd name="T67" fmla="*/ 394 h 512"/>
              <a:gd name="T68" fmla="*/ 192 w 512"/>
              <a:gd name="T69" fmla="*/ 405 h 512"/>
              <a:gd name="T70" fmla="*/ 202 w 512"/>
              <a:gd name="T71" fmla="*/ 416 h 512"/>
              <a:gd name="T72" fmla="*/ 309 w 512"/>
              <a:gd name="T73" fmla="*/ 416 h 512"/>
              <a:gd name="T74" fmla="*/ 320 w 512"/>
              <a:gd name="T75" fmla="*/ 405 h 512"/>
              <a:gd name="T76" fmla="*/ 309 w 512"/>
              <a:gd name="T77" fmla="*/ 394 h 512"/>
              <a:gd name="T78" fmla="*/ 266 w 512"/>
              <a:gd name="T79" fmla="*/ 394 h 512"/>
              <a:gd name="T80" fmla="*/ 266 w 512"/>
              <a:gd name="T81" fmla="*/ 351 h 512"/>
              <a:gd name="T82" fmla="*/ 352 w 512"/>
              <a:gd name="T8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352" y="256"/>
                </a:moveTo>
                <a:cubicBezTo>
                  <a:pt x="352" y="250"/>
                  <a:pt x="347" y="245"/>
                  <a:pt x="341" y="245"/>
                </a:cubicBezTo>
                <a:cubicBezTo>
                  <a:pt x="335" y="245"/>
                  <a:pt x="330" y="250"/>
                  <a:pt x="330" y="256"/>
                </a:cubicBezTo>
                <a:cubicBezTo>
                  <a:pt x="330" y="297"/>
                  <a:pt x="297" y="330"/>
                  <a:pt x="256" y="330"/>
                </a:cubicBezTo>
                <a:cubicBezTo>
                  <a:pt x="214" y="330"/>
                  <a:pt x="181" y="297"/>
                  <a:pt x="181" y="256"/>
                </a:cubicBezTo>
                <a:cubicBezTo>
                  <a:pt x="181" y="250"/>
                  <a:pt x="176" y="245"/>
                  <a:pt x="170" y="245"/>
                </a:cubicBezTo>
                <a:cubicBezTo>
                  <a:pt x="164" y="245"/>
                  <a:pt x="160" y="250"/>
                  <a:pt x="160" y="256"/>
                </a:cubicBezTo>
                <a:cubicBezTo>
                  <a:pt x="160" y="305"/>
                  <a:pt x="197" y="346"/>
                  <a:pt x="245" y="351"/>
                </a:cubicBezTo>
                <a:cubicBezTo>
                  <a:pt x="245" y="394"/>
                  <a:pt x="245" y="394"/>
                  <a:pt x="245" y="394"/>
                </a:cubicBezTo>
                <a:cubicBezTo>
                  <a:pt x="202" y="394"/>
                  <a:pt x="202" y="394"/>
                  <a:pt x="202" y="394"/>
                </a:cubicBezTo>
                <a:cubicBezTo>
                  <a:pt x="196" y="394"/>
                  <a:pt x="192" y="399"/>
                  <a:pt x="192" y="405"/>
                </a:cubicBezTo>
                <a:cubicBezTo>
                  <a:pt x="192" y="411"/>
                  <a:pt x="196" y="416"/>
                  <a:pt x="202" y="416"/>
                </a:cubicBezTo>
                <a:cubicBezTo>
                  <a:pt x="309" y="416"/>
                  <a:pt x="309" y="416"/>
                  <a:pt x="309" y="416"/>
                </a:cubicBezTo>
                <a:cubicBezTo>
                  <a:pt x="315" y="416"/>
                  <a:pt x="320" y="411"/>
                  <a:pt x="320" y="405"/>
                </a:cubicBezTo>
                <a:cubicBezTo>
                  <a:pt x="320" y="399"/>
                  <a:pt x="315" y="394"/>
                  <a:pt x="309" y="394"/>
                </a:cubicBezTo>
                <a:cubicBezTo>
                  <a:pt x="266" y="394"/>
                  <a:pt x="266" y="394"/>
                  <a:pt x="266" y="394"/>
                </a:cubicBezTo>
                <a:cubicBezTo>
                  <a:pt x="266" y="351"/>
                  <a:pt x="266" y="351"/>
                  <a:pt x="266" y="351"/>
                </a:cubicBezTo>
                <a:cubicBezTo>
                  <a:pt x="314" y="346"/>
                  <a:pt x="352" y="305"/>
                  <a:pt x="352" y="25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66" name="Freeform 860">
            <a:extLst>
              <a:ext uri="{FF2B5EF4-FFF2-40B4-BE49-F238E27FC236}">
                <a16:creationId xmlns:a16="http://schemas.microsoft.com/office/drawing/2014/main" id="{616D1326-030C-4D0A-842D-A5053038250F}"/>
              </a:ext>
            </a:extLst>
          </p:cNvPr>
          <p:cNvSpPr>
            <a:spLocks noChangeAspect="1" noEditPoints="1"/>
          </p:cNvSpPr>
          <p:nvPr/>
        </p:nvSpPr>
        <p:spPr bwMode="auto">
          <a:xfrm>
            <a:off x="5696826" y="4113334"/>
            <a:ext cx="367041" cy="367041"/>
          </a:xfrm>
          <a:custGeom>
            <a:avLst/>
            <a:gdLst>
              <a:gd name="T0" fmla="*/ 288 w 512"/>
              <a:gd name="T1" fmla="*/ 149 h 512"/>
              <a:gd name="T2" fmla="*/ 288 w 512"/>
              <a:gd name="T3" fmla="*/ 209 h 512"/>
              <a:gd name="T4" fmla="*/ 227 w 512"/>
              <a:gd name="T5" fmla="*/ 269 h 512"/>
              <a:gd name="T6" fmla="*/ 224 w 512"/>
              <a:gd name="T7" fmla="*/ 256 h 512"/>
              <a:gd name="T8" fmla="*/ 224 w 512"/>
              <a:gd name="T9" fmla="*/ 149 h 512"/>
              <a:gd name="T10" fmla="*/ 256 w 512"/>
              <a:gd name="T11" fmla="*/ 117 h 512"/>
              <a:gd name="T12" fmla="*/ 288 w 512"/>
              <a:gd name="T13" fmla="*/ 149 h 512"/>
              <a:gd name="T14" fmla="*/ 256 w 512"/>
              <a:gd name="T15" fmla="*/ 288 h 512"/>
              <a:gd name="T16" fmla="*/ 288 w 512"/>
              <a:gd name="T17" fmla="*/ 256 h 512"/>
              <a:gd name="T18" fmla="*/ 288 w 512"/>
              <a:gd name="T19" fmla="*/ 239 h 512"/>
              <a:gd name="T20" fmla="*/ 242 w 512"/>
              <a:gd name="T21" fmla="*/ 284 h 512"/>
              <a:gd name="T22" fmla="*/ 256 w 512"/>
              <a:gd name="T23" fmla="*/ 288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91 w 512"/>
              <a:gd name="T35" fmla="*/ 120 h 512"/>
              <a:gd name="T36" fmla="*/ 376 w 512"/>
              <a:gd name="T37" fmla="*/ 120 h 512"/>
              <a:gd name="T38" fmla="*/ 309 w 512"/>
              <a:gd name="T39" fmla="*/ 187 h 512"/>
              <a:gd name="T40" fmla="*/ 309 w 512"/>
              <a:gd name="T41" fmla="*/ 149 h 512"/>
              <a:gd name="T42" fmla="*/ 256 w 512"/>
              <a:gd name="T43" fmla="*/ 96 h 512"/>
              <a:gd name="T44" fmla="*/ 202 w 512"/>
              <a:gd name="T45" fmla="*/ 149 h 512"/>
              <a:gd name="T46" fmla="*/ 202 w 512"/>
              <a:gd name="T47" fmla="*/ 256 h 512"/>
              <a:gd name="T48" fmla="*/ 211 w 512"/>
              <a:gd name="T49" fmla="*/ 285 h 512"/>
              <a:gd name="T50" fmla="*/ 196 w 512"/>
              <a:gd name="T51" fmla="*/ 300 h 512"/>
              <a:gd name="T52" fmla="*/ 181 w 512"/>
              <a:gd name="T53" fmla="*/ 256 h 512"/>
              <a:gd name="T54" fmla="*/ 170 w 512"/>
              <a:gd name="T55" fmla="*/ 245 h 512"/>
              <a:gd name="T56" fmla="*/ 160 w 512"/>
              <a:gd name="T57" fmla="*/ 256 h 512"/>
              <a:gd name="T58" fmla="*/ 181 w 512"/>
              <a:gd name="T59" fmla="*/ 316 h 512"/>
              <a:gd name="T60" fmla="*/ 120 w 512"/>
              <a:gd name="T61" fmla="*/ 376 h 512"/>
              <a:gd name="T62" fmla="*/ 120 w 512"/>
              <a:gd name="T63" fmla="*/ 391 h 512"/>
              <a:gd name="T64" fmla="*/ 128 w 512"/>
              <a:gd name="T65" fmla="*/ 394 h 512"/>
              <a:gd name="T66" fmla="*/ 135 w 512"/>
              <a:gd name="T67" fmla="*/ 391 h 512"/>
              <a:gd name="T68" fmla="*/ 196 w 512"/>
              <a:gd name="T69" fmla="*/ 331 h 512"/>
              <a:gd name="T70" fmla="*/ 245 w 512"/>
              <a:gd name="T71" fmla="*/ 351 h 512"/>
              <a:gd name="T72" fmla="*/ 245 w 512"/>
              <a:gd name="T73" fmla="*/ 394 h 512"/>
              <a:gd name="T74" fmla="*/ 202 w 512"/>
              <a:gd name="T75" fmla="*/ 394 h 512"/>
              <a:gd name="T76" fmla="*/ 192 w 512"/>
              <a:gd name="T77" fmla="*/ 405 h 512"/>
              <a:gd name="T78" fmla="*/ 202 w 512"/>
              <a:gd name="T79" fmla="*/ 416 h 512"/>
              <a:gd name="T80" fmla="*/ 309 w 512"/>
              <a:gd name="T81" fmla="*/ 416 h 512"/>
              <a:gd name="T82" fmla="*/ 320 w 512"/>
              <a:gd name="T83" fmla="*/ 405 h 512"/>
              <a:gd name="T84" fmla="*/ 309 w 512"/>
              <a:gd name="T85" fmla="*/ 394 h 512"/>
              <a:gd name="T86" fmla="*/ 266 w 512"/>
              <a:gd name="T87" fmla="*/ 394 h 512"/>
              <a:gd name="T88" fmla="*/ 266 w 512"/>
              <a:gd name="T89" fmla="*/ 351 h 512"/>
              <a:gd name="T90" fmla="*/ 352 w 512"/>
              <a:gd name="T91" fmla="*/ 256 h 512"/>
              <a:gd name="T92" fmla="*/ 341 w 512"/>
              <a:gd name="T93" fmla="*/ 245 h 512"/>
              <a:gd name="T94" fmla="*/ 330 w 512"/>
              <a:gd name="T95" fmla="*/ 256 h 512"/>
              <a:gd name="T96" fmla="*/ 256 w 512"/>
              <a:gd name="T97" fmla="*/ 330 h 512"/>
              <a:gd name="T98" fmla="*/ 211 w 512"/>
              <a:gd name="T99" fmla="*/ 315 h 512"/>
              <a:gd name="T100" fmla="*/ 226 w 512"/>
              <a:gd name="T101" fmla="*/ 300 h 512"/>
              <a:gd name="T102" fmla="*/ 256 w 512"/>
              <a:gd name="T103" fmla="*/ 309 h 512"/>
              <a:gd name="T104" fmla="*/ 309 w 512"/>
              <a:gd name="T105" fmla="*/ 256 h 512"/>
              <a:gd name="T106" fmla="*/ 309 w 512"/>
              <a:gd name="T107" fmla="*/ 217 h 512"/>
              <a:gd name="T108" fmla="*/ 391 w 512"/>
              <a:gd name="T109" fmla="*/ 135 h 512"/>
              <a:gd name="T110" fmla="*/ 391 w 512"/>
              <a:gd name="T111"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149"/>
                </a:moveTo>
                <a:cubicBezTo>
                  <a:pt x="288" y="209"/>
                  <a:pt x="288" y="209"/>
                  <a:pt x="288" y="209"/>
                </a:cubicBezTo>
                <a:cubicBezTo>
                  <a:pt x="227" y="269"/>
                  <a:pt x="227" y="269"/>
                  <a:pt x="227" y="269"/>
                </a:cubicBezTo>
                <a:cubicBezTo>
                  <a:pt x="225" y="265"/>
                  <a:pt x="224" y="261"/>
                  <a:pt x="224" y="256"/>
                </a:cubicBezTo>
                <a:cubicBezTo>
                  <a:pt x="224" y="149"/>
                  <a:pt x="224" y="149"/>
                  <a:pt x="224" y="149"/>
                </a:cubicBezTo>
                <a:cubicBezTo>
                  <a:pt x="224" y="131"/>
                  <a:pt x="238" y="117"/>
                  <a:pt x="256" y="117"/>
                </a:cubicBezTo>
                <a:cubicBezTo>
                  <a:pt x="273" y="117"/>
                  <a:pt x="288" y="131"/>
                  <a:pt x="288" y="149"/>
                </a:cubicBezTo>
                <a:close/>
                <a:moveTo>
                  <a:pt x="256" y="288"/>
                </a:moveTo>
                <a:cubicBezTo>
                  <a:pt x="273" y="288"/>
                  <a:pt x="288" y="273"/>
                  <a:pt x="288" y="256"/>
                </a:cubicBezTo>
                <a:cubicBezTo>
                  <a:pt x="288" y="239"/>
                  <a:pt x="288" y="239"/>
                  <a:pt x="288" y="239"/>
                </a:cubicBezTo>
                <a:cubicBezTo>
                  <a:pt x="242" y="284"/>
                  <a:pt x="242" y="284"/>
                  <a:pt x="242" y="284"/>
                </a:cubicBezTo>
                <a:cubicBezTo>
                  <a:pt x="246" y="286"/>
                  <a:pt x="251" y="288"/>
                  <a:pt x="256" y="2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120"/>
                </a:moveTo>
                <a:cubicBezTo>
                  <a:pt x="387" y="116"/>
                  <a:pt x="380" y="116"/>
                  <a:pt x="376" y="120"/>
                </a:cubicBezTo>
                <a:cubicBezTo>
                  <a:pt x="309" y="187"/>
                  <a:pt x="309" y="187"/>
                  <a:pt x="309" y="187"/>
                </a:cubicBezTo>
                <a:cubicBezTo>
                  <a:pt x="309" y="149"/>
                  <a:pt x="309" y="149"/>
                  <a:pt x="309" y="149"/>
                </a:cubicBezTo>
                <a:cubicBezTo>
                  <a:pt x="309" y="120"/>
                  <a:pt x="285" y="96"/>
                  <a:pt x="256" y="96"/>
                </a:cubicBezTo>
                <a:cubicBezTo>
                  <a:pt x="226" y="96"/>
                  <a:pt x="202" y="120"/>
                  <a:pt x="202" y="149"/>
                </a:cubicBezTo>
                <a:cubicBezTo>
                  <a:pt x="202" y="256"/>
                  <a:pt x="202" y="256"/>
                  <a:pt x="202" y="256"/>
                </a:cubicBezTo>
                <a:cubicBezTo>
                  <a:pt x="202" y="267"/>
                  <a:pt x="206" y="277"/>
                  <a:pt x="211" y="285"/>
                </a:cubicBezTo>
                <a:cubicBezTo>
                  <a:pt x="196" y="300"/>
                  <a:pt x="196" y="300"/>
                  <a:pt x="196" y="300"/>
                </a:cubicBezTo>
                <a:cubicBezTo>
                  <a:pt x="187" y="288"/>
                  <a:pt x="181" y="272"/>
                  <a:pt x="181" y="256"/>
                </a:cubicBezTo>
                <a:cubicBezTo>
                  <a:pt x="181" y="250"/>
                  <a:pt x="176" y="245"/>
                  <a:pt x="170" y="245"/>
                </a:cubicBezTo>
                <a:cubicBezTo>
                  <a:pt x="164" y="245"/>
                  <a:pt x="160" y="250"/>
                  <a:pt x="160" y="256"/>
                </a:cubicBezTo>
                <a:cubicBezTo>
                  <a:pt x="160" y="278"/>
                  <a:pt x="168" y="299"/>
                  <a:pt x="181" y="316"/>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96" y="331"/>
                  <a:pt x="196" y="331"/>
                  <a:pt x="196" y="331"/>
                </a:cubicBezTo>
                <a:cubicBezTo>
                  <a:pt x="210" y="342"/>
                  <a:pt x="227" y="349"/>
                  <a:pt x="245" y="351"/>
                </a:cubicBezTo>
                <a:cubicBezTo>
                  <a:pt x="245" y="394"/>
                  <a:pt x="245" y="394"/>
                  <a:pt x="245" y="394"/>
                </a:cubicBezTo>
                <a:cubicBezTo>
                  <a:pt x="202" y="394"/>
                  <a:pt x="202" y="394"/>
                  <a:pt x="202" y="394"/>
                </a:cubicBezTo>
                <a:cubicBezTo>
                  <a:pt x="196" y="394"/>
                  <a:pt x="192" y="399"/>
                  <a:pt x="192" y="405"/>
                </a:cubicBezTo>
                <a:cubicBezTo>
                  <a:pt x="192" y="411"/>
                  <a:pt x="196" y="416"/>
                  <a:pt x="202" y="416"/>
                </a:cubicBezTo>
                <a:cubicBezTo>
                  <a:pt x="309" y="416"/>
                  <a:pt x="309" y="416"/>
                  <a:pt x="309" y="416"/>
                </a:cubicBezTo>
                <a:cubicBezTo>
                  <a:pt x="315" y="416"/>
                  <a:pt x="320" y="411"/>
                  <a:pt x="320" y="405"/>
                </a:cubicBezTo>
                <a:cubicBezTo>
                  <a:pt x="320" y="399"/>
                  <a:pt x="315" y="394"/>
                  <a:pt x="309" y="394"/>
                </a:cubicBezTo>
                <a:cubicBezTo>
                  <a:pt x="266" y="394"/>
                  <a:pt x="266" y="394"/>
                  <a:pt x="266" y="394"/>
                </a:cubicBezTo>
                <a:cubicBezTo>
                  <a:pt x="266" y="351"/>
                  <a:pt x="266" y="351"/>
                  <a:pt x="266" y="351"/>
                </a:cubicBezTo>
                <a:cubicBezTo>
                  <a:pt x="314" y="346"/>
                  <a:pt x="352" y="305"/>
                  <a:pt x="352" y="256"/>
                </a:cubicBezTo>
                <a:cubicBezTo>
                  <a:pt x="352" y="250"/>
                  <a:pt x="347" y="245"/>
                  <a:pt x="341" y="245"/>
                </a:cubicBezTo>
                <a:cubicBezTo>
                  <a:pt x="335" y="245"/>
                  <a:pt x="330" y="250"/>
                  <a:pt x="330" y="256"/>
                </a:cubicBezTo>
                <a:cubicBezTo>
                  <a:pt x="330" y="297"/>
                  <a:pt x="297" y="330"/>
                  <a:pt x="256" y="330"/>
                </a:cubicBezTo>
                <a:cubicBezTo>
                  <a:pt x="239" y="330"/>
                  <a:pt x="224" y="325"/>
                  <a:pt x="211" y="315"/>
                </a:cubicBezTo>
                <a:cubicBezTo>
                  <a:pt x="226" y="300"/>
                  <a:pt x="226" y="300"/>
                  <a:pt x="226" y="300"/>
                </a:cubicBezTo>
                <a:cubicBezTo>
                  <a:pt x="235" y="306"/>
                  <a:pt x="245" y="309"/>
                  <a:pt x="256" y="309"/>
                </a:cubicBezTo>
                <a:cubicBezTo>
                  <a:pt x="285" y="309"/>
                  <a:pt x="309" y="285"/>
                  <a:pt x="309" y="256"/>
                </a:cubicBezTo>
                <a:cubicBezTo>
                  <a:pt x="309" y="217"/>
                  <a:pt x="309" y="217"/>
                  <a:pt x="309" y="217"/>
                </a:cubicBezTo>
                <a:cubicBezTo>
                  <a:pt x="391" y="135"/>
                  <a:pt x="391" y="135"/>
                  <a:pt x="391" y="135"/>
                </a:cubicBezTo>
                <a:cubicBezTo>
                  <a:pt x="395" y="131"/>
                  <a:pt x="395" y="124"/>
                  <a:pt x="391" y="1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67" name="Group 863">
            <a:extLst>
              <a:ext uri="{FF2B5EF4-FFF2-40B4-BE49-F238E27FC236}">
                <a16:creationId xmlns:a16="http://schemas.microsoft.com/office/drawing/2014/main" id="{72F5AB28-0C3F-446E-BC6B-C8D6CCFA1257}"/>
              </a:ext>
            </a:extLst>
          </p:cNvPr>
          <p:cNvGrpSpPr>
            <a:grpSpLocks noChangeAspect="1"/>
          </p:cNvGrpSpPr>
          <p:nvPr/>
        </p:nvGrpSpPr>
        <p:grpSpPr bwMode="auto">
          <a:xfrm>
            <a:off x="6132053" y="4113334"/>
            <a:ext cx="367041" cy="367041"/>
            <a:chOff x="2318" y="3860"/>
            <a:chExt cx="340" cy="340"/>
          </a:xfrm>
          <a:solidFill>
            <a:schemeClr val="accent4"/>
          </a:solidFill>
        </p:grpSpPr>
        <p:sp>
          <p:nvSpPr>
            <p:cNvPr id="768" name="Freeform 864">
              <a:extLst>
                <a:ext uri="{FF2B5EF4-FFF2-40B4-BE49-F238E27FC236}">
                  <a16:creationId xmlns:a16="http://schemas.microsoft.com/office/drawing/2014/main" id="{DD5AF087-1D34-4153-9DAD-CFF3E667389F}"/>
                </a:ext>
              </a:extLst>
            </p:cNvPr>
            <p:cNvSpPr>
              <a:spLocks noEditPoints="1"/>
            </p:cNvSpPr>
            <p:nvPr/>
          </p:nvSpPr>
          <p:spPr bwMode="auto">
            <a:xfrm>
              <a:off x="2395" y="3924"/>
              <a:ext cx="185" cy="212"/>
            </a:xfrm>
            <a:custGeom>
              <a:avLst/>
              <a:gdLst>
                <a:gd name="T0" fmla="*/ 140 w 279"/>
                <a:gd name="T1" fmla="*/ 213 h 320"/>
                <a:gd name="T2" fmla="*/ 193 w 279"/>
                <a:gd name="T3" fmla="*/ 160 h 320"/>
                <a:gd name="T4" fmla="*/ 193 w 279"/>
                <a:gd name="T5" fmla="*/ 121 h 320"/>
                <a:gd name="T6" fmla="*/ 275 w 279"/>
                <a:gd name="T7" fmla="*/ 39 h 320"/>
                <a:gd name="T8" fmla="*/ 275 w 279"/>
                <a:gd name="T9" fmla="*/ 24 h 320"/>
                <a:gd name="T10" fmla="*/ 260 w 279"/>
                <a:gd name="T11" fmla="*/ 24 h 320"/>
                <a:gd name="T12" fmla="*/ 193 w 279"/>
                <a:gd name="T13" fmla="*/ 91 h 320"/>
                <a:gd name="T14" fmla="*/ 193 w 279"/>
                <a:gd name="T15" fmla="*/ 53 h 320"/>
                <a:gd name="T16" fmla="*/ 140 w 279"/>
                <a:gd name="T17" fmla="*/ 0 h 320"/>
                <a:gd name="T18" fmla="*/ 86 w 279"/>
                <a:gd name="T19" fmla="*/ 53 h 320"/>
                <a:gd name="T20" fmla="*/ 86 w 279"/>
                <a:gd name="T21" fmla="*/ 160 h 320"/>
                <a:gd name="T22" fmla="*/ 95 w 279"/>
                <a:gd name="T23" fmla="*/ 189 h 320"/>
                <a:gd name="T24" fmla="*/ 80 w 279"/>
                <a:gd name="T25" fmla="*/ 204 h 320"/>
                <a:gd name="T26" fmla="*/ 65 w 279"/>
                <a:gd name="T27" fmla="*/ 160 h 320"/>
                <a:gd name="T28" fmla="*/ 54 w 279"/>
                <a:gd name="T29" fmla="*/ 149 h 320"/>
                <a:gd name="T30" fmla="*/ 44 w 279"/>
                <a:gd name="T31" fmla="*/ 160 h 320"/>
                <a:gd name="T32" fmla="*/ 65 w 279"/>
                <a:gd name="T33" fmla="*/ 220 h 320"/>
                <a:gd name="T34" fmla="*/ 4 w 279"/>
                <a:gd name="T35" fmla="*/ 280 h 320"/>
                <a:gd name="T36" fmla="*/ 4 w 279"/>
                <a:gd name="T37" fmla="*/ 295 h 320"/>
                <a:gd name="T38" fmla="*/ 12 w 279"/>
                <a:gd name="T39" fmla="*/ 298 h 320"/>
                <a:gd name="T40" fmla="*/ 19 w 279"/>
                <a:gd name="T41" fmla="*/ 295 h 320"/>
                <a:gd name="T42" fmla="*/ 80 w 279"/>
                <a:gd name="T43" fmla="*/ 235 h 320"/>
                <a:gd name="T44" fmla="*/ 129 w 279"/>
                <a:gd name="T45" fmla="*/ 255 h 320"/>
                <a:gd name="T46" fmla="*/ 129 w 279"/>
                <a:gd name="T47" fmla="*/ 298 h 320"/>
                <a:gd name="T48" fmla="*/ 86 w 279"/>
                <a:gd name="T49" fmla="*/ 298 h 320"/>
                <a:gd name="T50" fmla="*/ 76 w 279"/>
                <a:gd name="T51" fmla="*/ 309 h 320"/>
                <a:gd name="T52" fmla="*/ 86 w 279"/>
                <a:gd name="T53" fmla="*/ 320 h 320"/>
                <a:gd name="T54" fmla="*/ 193 w 279"/>
                <a:gd name="T55" fmla="*/ 320 h 320"/>
                <a:gd name="T56" fmla="*/ 204 w 279"/>
                <a:gd name="T57" fmla="*/ 309 h 320"/>
                <a:gd name="T58" fmla="*/ 193 w 279"/>
                <a:gd name="T59" fmla="*/ 298 h 320"/>
                <a:gd name="T60" fmla="*/ 150 w 279"/>
                <a:gd name="T61" fmla="*/ 298 h 320"/>
                <a:gd name="T62" fmla="*/ 150 w 279"/>
                <a:gd name="T63" fmla="*/ 255 h 320"/>
                <a:gd name="T64" fmla="*/ 236 w 279"/>
                <a:gd name="T65" fmla="*/ 160 h 320"/>
                <a:gd name="T66" fmla="*/ 225 w 279"/>
                <a:gd name="T67" fmla="*/ 149 h 320"/>
                <a:gd name="T68" fmla="*/ 214 w 279"/>
                <a:gd name="T69" fmla="*/ 160 h 320"/>
                <a:gd name="T70" fmla="*/ 140 w 279"/>
                <a:gd name="T71" fmla="*/ 234 h 320"/>
                <a:gd name="T72" fmla="*/ 95 w 279"/>
                <a:gd name="T73" fmla="*/ 219 h 320"/>
                <a:gd name="T74" fmla="*/ 110 w 279"/>
                <a:gd name="T75" fmla="*/ 204 h 320"/>
                <a:gd name="T76" fmla="*/ 140 w 279"/>
                <a:gd name="T77" fmla="*/ 213 h 320"/>
                <a:gd name="T78" fmla="*/ 172 w 279"/>
                <a:gd name="T79" fmla="*/ 160 h 320"/>
                <a:gd name="T80" fmla="*/ 140 w 279"/>
                <a:gd name="T81" fmla="*/ 192 h 320"/>
                <a:gd name="T82" fmla="*/ 126 w 279"/>
                <a:gd name="T83" fmla="*/ 188 h 320"/>
                <a:gd name="T84" fmla="*/ 172 w 279"/>
                <a:gd name="T85" fmla="*/ 143 h 320"/>
                <a:gd name="T86" fmla="*/ 172 w 279"/>
                <a:gd name="T87" fmla="*/ 160 h 320"/>
                <a:gd name="T88" fmla="*/ 108 w 279"/>
                <a:gd name="T89" fmla="*/ 160 h 320"/>
                <a:gd name="T90" fmla="*/ 108 w 279"/>
                <a:gd name="T91" fmla="*/ 53 h 320"/>
                <a:gd name="T92" fmla="*/ 140 w 279"/>
                <a:gd name="T93" fmla="*/ 21 h 320"/>
                <a:gd name="T94" fmla="*/ 172 w 279"/>
                <a:gd name="T95" fmla="*/ 53 h 320"/>
                <a:gd name="T96" fmla="*/ 172 w 279"/>
                <a:gd name="T97" fmla="*/ 113 h 320"/>
                <a:gd name="T98" fmla="*/ 111 w 279"/>
                <a:gd name="T99" fmla="*/ 173 h 320"/>
                <a:gd name="T100" fmla="*/ 108 w 279"/>
                <a:gd name="T101"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9" h="320">
                  <a:moveTo>
                    <a:pt x="140" y="213"/>
                  </a:moveTo>
                  <a:cubicBezTo>
                    <a:pt x="169" y="213"/>
                    <a:pt x="193" y="189"/>
                    <a:pt x="193" y="160"/>
                  </a:cubicBezTo>
                  <a:cubicBezTo>
                    <a:pt x="193" y="121"/>
                    <a:pt x="193" y="121"/>
                    <a:pt x="193" y="121"/>
                  </a:cubicBezTo>
                  <a:cubicBezTo>
                    <a:pt x="275" y="39"/>
                    <a:pt x="275" y="39"/>
                    <a:pt x="275" y="39"/>
                  </a:cubicBezTo>
                  <a:cubicBezTo>
                    <a:pt x="279" y="35"/>
                    <a:pt x="279" y="28"/>
                    <a:pt x="275" y="24"/>
                  </a:cubicBezTo>
                  <a:cubicBezTo>
                    <a:pt x="271" y="20"/>
                    <a:pt x="264" y="20"/>
                    <a:pt x="260" y="24"/>
                  </a:cubicBezTo>
                  <a:cubicBezTo>
                    <a:pt x="193" y="91"/>
                    <a:pt x="193" y="91"/>
                    <a:pt x="193" y="91"/>
                  </a:cubicBezTo>
                  <a:cubicBezTo>
                    <a:pt x="193" y="53"/>
                    <a:pt x="193" y="53"/>
                    <a:pt x="193" y="53"/>
                  </a:cubicBezTo>
                  <a:cubicBezTo>
                    <a:pt x="193" y="24"/>
                    <a:pt x="169" y="0"/>
                    <a:pt x="140" y="0"/>
                  </a:cubicBezTo>
                  <a:cubicBezTo>
                    <a:pt x="110" y="0"/>
                    <a:pt x="86" y="24"/>
                    <a:pt x="86" y="53"/>
                  </a:cubicBezTo>
                  <a:cubicBezTo>
                    <a:pt x="86" y="160"/>
                    <a:pt x="86" y="160"/>
                    <a:pt x="86" y="160"/>
                  </a:cubicBezTo>
                  <a:cubicBezTo>
                    <a:pt x="86" y="171"/>
                    <a:pt x="90" y="181"/>
                    <a:pt x="95" y="189"/>
                  </a:cubicBezTo>
                  <a:cubicBezTo>
                    <a:pt x="80" y="204"/>
                    <a:pt x="80" y="204"/>
                    <a:pt x="80" y="204"/>
                  </a:cubicBezTo>
                  <a:cubicBezTo>
                    <a:pt x="71" y="192"/>
                    <a:pt x="65" y="176"/>
                    <a:pt x="65" y="160"/>
                  </a:cubicBezTo>
                  <a:cubicBezTo>
                    <a:pt x="65" y="154"/>
                    <a:pt x="60" y="149"/>
                    <a:pt x="54" y="149"/>
                  </a:cubicBezTo>
                  <a:cubicBezTo>
                    <a:pt x="48" y="149"/>
                    <a:pt x="44" y="154"/>
                    <a:pt x="44" y="160"/>
                  </a:cubicBezTo>
                  <a:cubicBezTo>
                    <a:pt x="44" y="182"/>
                    <a:pt x="52" y="203"/>
                    <a:pt x="65" y="220"/>
                  </a:cubicBezTo>
                  <a:cubicBezTo>
                    <a:pt x="4" y="280"/>
                    <a:pt x="4" y="280"/>
                    <a:pt x="4" y="280"/>
                  </a:cubicBezTo>
                  <a:cubicBezTo>
                    <a:pt x="0" y="284"/>
                    <a:pt x="0" y="291"/>
                    <a:pt x="4" y="295"/>
                  </a:cubicBezTo>
                  <a:cubicBezTo>
                    <a:pt x="6" y="297"/>
                    <a:pt x="9" y="298"/>
                    <a:pt x="12" y="298"/>
                  </a:cubicBezTo>
                  <a:cubicBezTo>
                    <a:pt x="14" y="298"/>
                    <a:pt x="17" y="297"/>
                    <a:pt x="19" y="295"/>
                  </a:cubicBezTo>
                  <a:cubicBezTo>
                    <a:pt x="80" y="235"/>
                    <a:pt x="80" y="235"/>
                    <a:pt x="80" y="235"/>
                  </a:cubicBezTo>
                  <a:cubicBezTo>
                    <a:pt x="94" y="246"/>
                    <a:pt x="111" y="253"/>
                    <a:pt x="129" y="255"/>
                  </a:cubicBezTo>
                  <a:cubicBezTo>
                    <a:pt x="129" y="298"/>
                    <a:pt x="129" y="298"/>
                    <a:pt x="129" y="298"/>
                  </a:cubicBezTo>
                  <a:cubicBezTo>
                    <a:pt x="86" y="298"/>
                    <a:pt x="86" y="298"/>
                    <a:pt x="86" y="298"/>
                  </a:cubicBezTo>
                  <a:cubicBezTo>
                    <a:pt x="80" y="298"/>
                    <a:pt x="76" y="303"/>
                    <a:pt x="76" y="309"/>
                  </a:cubicBezTo>
                  <a:cubicBezTo>
                    <a:pt x="76" y="315"/>
                    <a:pt x="80" y="320"/>
                    <a:pt x="86" y="320"/>
                  </a:cubicBezTo>
                  <a:cubicBezTo>
                    <a:pt x="193" y="320"/>
                    <a:pt x="193" y="320"/>
                    <a:pt x="193" y="320"/>
                  </a:cubicBezTo>
                  <a:cubicBezTo>
                    <a:pt x="199" y="320"/>
                    <a:pt x="204" y="315"/>
                    <a:pt x="204" y="309"/>
                  </a:cubicBezTo>
                  <a:cubicBezTo>
                    <a:pt x="204" y="303"/>
                    <a:pt x="199" y="298"/>
                    <a:pt x="193" y="298"/>
                  </a:cubicBezTo>
                  <a:cubicBezTo>
                    <a:pt x="150" y="298"/>
                    <a:pt x="150" y="298"/>
                    <a:pt x="150" y="298"/>
                  </a:cubicBezTo>
                  <a:cubicBezTo>
                    <a:pt x="150" y="255"/>
                    <a:pt x="150" y="255"/>
                    <a:pt x="150" y="255"/>
                  </a:cubicBezTo>
                  <a:cubicBezTo>
                    <a:pt x="198" y="250"/>
                    <a:pt x="236" y="209"/>
                    <a:pt x="236" y="160"/>
                  </a:cubicBezTo>
                  <a:cubicBezTo>
                    <a:pt x="236" y="154"/>
                    <a:pt x="231" y="149"/>
                    <a:pt x="225" y="149"/>
                  </a:cubicBezTo>
                  <a:cubicBezTo>
                    <a:pt x="219" y="149"/>
                    <a:pt x="214" y="154"/>
                    <a:pt x="214" y="160"/>
                  </a:cubicBezTo>
                  <a:cubicBezTo>
                    <a:pt x="214" y="201"/>
                    <a:pt x="181" y="234"/>
                    <a:pt x="140" y="234"/>
                  </a:cubicBezTo>
                  <a:cubicBezTo>
                    <a:pt x="123" y="234"/>
                    <a:pt x="108" y="229"/>
                    <a:pt x="95" y="219"/>
                  </a:cubicBezTo>
                  <a:cubicBezTo>
                    <a:pt x="110" y="204"/>
                    <a:pt x="110" y="204"/>
                    <a:pt x="110" y="204"/>
                  </a:cubicBezTo>
                  <a:cubicBezTo>
                    <a:pt x="119" y="210"/>
                    <a:pt x="129" y="213"/>
                    <a:pt x="140" y="213"/>
                  </a:cubicBezTo>
                  <a:close/>
                  <a:moveTo>
                    <a:pt x="172" y="160"/>
                  </a:moveTo>
                  <a:cubicBezTo>
                    <a:pt x="172" y="177"/>
                    <a:pt x="157" y="192"/>
                    <a:pt x="140" y="192"/>
                  </a:cubicBezTo>
                  <a:cubicBezTo>
                    <a:pt x="135" y="192"/>
                    <a:pt x="130" y="190"/>
                    <a:pt x="126" y="188"/>
                  </a:cubicBezTo>
                  <a:cubicBezTo>
                    <a:pt x="172" y="143"/>
                    <a:pt x="172" y="143"/>
                    <a:pt x="172" y="143"/>
                  </a:cubicBezTo>
                  <a:lnTo>
                    <a:pt x="172" y="160"/>
                  </a:lnTo>
                  <a:close/>
                  <a:moveTo>
                    <a:pt x="108" y="160"/>
                  </a:moveTo>
                  <a:cubicBezTo>
                    <a:pt x="108" y="53"/>
                    <a:pt x="108" y="53"/>
                    <a:pt x="108" y="53"/>
                  </a:cubicBezTo>
                  <a:cubicBezTo>
                    <a:pt x="108" y="35"/>
                    <a:pt x="122" y="21"/>
                    <a:pt x="140" y="21"/>
                  </a:cubicBezTo>
                  <a:cubicBezTo>
                    <a:pt x="157" y="21"/>
                    <a:pt x="172" y="35"/>
                    <a:pt x="172" y="53"/>
                  </a:cubicBezTo>
                  <a:cubicBezTo>
                    <a:pt x="172" y="113"/>
                    <a:pt x="172" y="113"/>
                    <a:pt x="172" y="113"/>
                  </a:cubicBezTo>
                  <a:cubicBezTo>
                    <a:pt x="111" y="173"/>
                    <a:pt x="111" y="173"/>
                    <a:pt x="111" y="173"/>
                  </a:cubicBezTo>
                  <a:cubicBezTo>
                    <a:pt x="109" y="169"/>
                    <a:pt x="108" y="165"/>
                    <a:pt x="108"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9" name="Freeform 865">
              <a:extLst>
                <a:ext uri="{FF2B5EF4-FFF2-40B4-BE49-F238E27FC236}">
                  <a16:creationId xmlns:a16="http://schemas.microsoft.com/office/drawing/2014/main" id="{BEFE25C4-52E0-40F6-A01B-7151FA12BCB7}"/>
                </a:ext>
              </a:extLst>
            </p:cNvPr>
            <p:cNvSpPr>
              <a:spLocks noEditPoints="1"/>
            </p:cNvSpPr>
            <p:nvPr/>
          </p:nvSpPr>
          <p:spPr bwMode="auto">
            <a:xfrm>
              <a:off x="2318" y="38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70" name="Freeform 879">
            <a:extLst>
              <a:ext uri="{FF2B5EF4-FFF2-40B4-BE49-F238E27FC236}">
                <a16:creationId xmlns:a16="http://schemas.microsoft.com/office/drawing/2014/main" id="{6295A4A1-480C-4324-A34F-446E158E32BE}"/>
              </a:ext>
            </a:extLst>
          </p:cNvPr>
          <p:cNvSpPr>
            <a:spLocks noChangeAspect="1" noEditPoints="1"/>
          </p:cNvSpPr>
          <p:nvPr/>
        </p:nvSpPr>
        <p:spPr bwMode="auto">
          <a:xfrm>
            <a:off x="6567280" y="4113334"/>
            <a:ext cx="367982" cy="367982"/>
          </a:xfrm>
          <a:custGeom>
            <a:avLst/>
            <a:gdLst>
              <a:gd name="T0" fmla="*/ 256 w 512"/>
              <a:gd name="T1" fmla="*/ 309 h 512"/>
              <a:gd name="T2" fmla="*/ 309 w 512"/>
              <a:gd name="T3" fmla="*/ 256 h 512"/>
              <a:gd name="T4" fmla="*/ 256 w 512"/>
              <a:gd name="T5" fmla="*/ 202 h 512"/>
              <a:gd name="T6" fmla="*/ 202 w 512"/>
              <a:gd name="T7" fmla="*/ 256 h 512"/>
              <a:gd name="T8" fmla="*/ 233 w 512"/>
              <a:gd name="T9" fmla="*/ 233 h 512"/>
              <a:gd name="T10" fmla="*/ 278 w 512"/>
              <a:gd name="T11" fmla="*/ 233 h 512"/>
              <a:gd name="T12" fmla="*/ 256 w 512"/>
              <a:gd name="T13" fmla="*/ 288 h 512"/>
              <a:gd name="T14" fmla="*/ 233 w 512"/>
              <a:gd name="T15" fmla="*/ 233 h 512"/>
              <a:gd name="T16" fmla="*/ 158 w 512"/>
              <a:gd name="T17" fmla="*/ 158 h 512"/>
              <a:gd name="T18" fmla="*/ 213 w 512"/>
              <a:gd name="T19" fmla="*/ 195 h 512"/>
              <a:gd name="T20" fmla="*/ 195 w 512"/>
              <a:gd name="T21" fmla="*/ 213 h 512"/>
              <a:gd name="T22" fmla="*/ 279 w 512"/>
              <a:gd name="T23" fmla="*/ 326 h 512"/>
              <a:gd name="T24" fmla="*/ 256 w 512"/>
              <a:gd name="T25" fmla="*/ 394 h 512"/>
              <a:gd name="T26" fmla="*/ 117 w 512"/>
              <a:gd name="T27" fmla="*/ 256 h 512"/>
              <a:gd name="T28" fmla="*/ 141 w 512"/>
              <a:gd name="T29" fmla="*/ 207 h 512"/>
              <a:gd name="T30" fmla="*/ 181 w 512"/>
              <a:gd name="T31" fmla="*/ 256 h 512"/>
              <a:gd name="T32" fmla="*/ 256 w 512"/>
              <a:gd name="T33" fmla="*/ 330 h 512"/>
              <a:gd name="T34" fmla="*/ 248 w 512"/>
              <a:gd name="T35" fmla="*/ 263 h 512"/>
              <a:gd name="T36" fmla="*/ 256 w 512"/>
              <a:gd name="T37" fmla="*/ 245 h 512"/>
              <a:gd name="T38" fmla="*/ 263 w 512"/>
              <a:gd name="T39" fmla="*/ 248 h 512"/>
              <a:gd name="T40" fmla="*/ 248 w 512"/>
              <a:gd name="T41" fmla="*/ 263 h 512"/>
              <a:gd name="T42" fmla="*/ 0 w 512"/>
              <a:gd name="T43" fmla="*/ 256 h 512"/>
              <a:gd name="T44" fmla="*/ 512 w 512"/>
              <a:gd name="T45" fmla="*/ 256 h 512"/>
              <a:gd name="T46" fmla="*/ 369 w 512"/>
              <a:gd name="T47" fmla="*/ 369 h 512"/>
              <a:gd name="T48" fmla="*/ 143 w 512"/>
              <a:gd name="T49" fmla="*/ 369 h 512"/>
              <a:gd name="T50" fmla="*/ 143 w 512"/>
              <a:gd name="T51" fmla="*/ 143 h 512"/>
              <a:gd name="T52" fmla="*/ 369 w 512"/>
              <a:gd name="T53" fmla="*/ 143 h 512"/>
              <a:gd name="T54" fmla="*/ 369 w 512"/>
              <a:gd name="T55" fmla="*/ 369 h 512"/>
              <a:gd name="T56" fmla="*/ 394 w 512"/>
              <a:gd name="T57" fmla="*/ 256 h 512"/>
              <a:gd name="T58" fmla="*/ 326 w 512"/>
              <a:gd name="T59" fmla="*/ 279 h 512"/>
              <a:gd name="T60" fmla="*/ 308 w 512"/>
              <a:gd name="T61" fmla="*/ 203 h 512"/>
              <a:gd name="T62" fmla="*/ 232 w 512"/>
              <a:gd name="T63" fmla="*/ 185 h 512"/>
              <a:gd name="T64" fmla="*/ 256 w 512"/>
              <a:gd name="T65" fmla="*/ 117 h 512"/>
              <a:gd name="T66" fmla="*/ 317 w 512"/>
              <a:gd name="T67" fmla="*/ 298 h 512"/>
              <a:gd name="T68" fmla="*/ 354 w 512"/>
              <a:gd name="T69" fmla="*/ 354 h 512"/>
              <a:gd name="T70" fmla="*/ 298 w 512"/>
              <a:gd name="T71" fmla="*/ 317 h 512"/>
              <a:gd name="T72" fmla="*/ 317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18" y="293"/>
                </a:moveTo>
                <a:cubicBezTo>
                  <a:pt x="228" y="303"/>
                  <a:pt x="241" y="309"/>
                  <a:pt x="256" y="309"/>
                </a:cubicBezTo>
                <a:cubicBezTo>
                  <a:pt x="270" y="309"/>
                  <a:pt x="283" y="303"/>
                  <a:pt x="293" y="293"/>
                </a:cubicBezTo>
                <a:cubicBezTo>
                  <a:pt x="303" y="283"/>
                  <a:pt x="309" y="270"/>
                  <a:pt x="309" y="256"/>
                </a:cubicBezTo>
                <a:cubicBezTo>
                  <a:pt x="309" y="241"/>
                  <a:pt x="303" y="228"/>
                  <a:pt x="293" y="218"/>
                </a:cubicBezTo>
                <a:cubicBezTo>
                  <a:pt x="283" y="208"/>
                  <a:pt x="270" y="202"/>
                  <a:pt x="256" y="202"/>
                </a:cubicBezTo>
                <a:cubicBezTo>
                  <a:pt x="241" y="202"/>
                  <a:pt x="228" y="208"/>
                  <a:pt x="218" y="218"/>
                </a:cubicBezTo>
                <a:cubicBezTo>
                  <a:pt x="208" y="228"/>
                  <a:pt x="202" y="241"/>
                  <a:pt x="202" y="256"/>
                </a:cubicBezTo>
                <a:cubicBezTo>
                  <a:pt x="202" y="270"/>
                  <a:pt x="208" y="283"/>
                  <a:pt x="218" y="293"/>
                </a:cubicBezTo>
                <a:close/>
                <a:moveTo>
                  <a:pt x="233" y="233"/>
                </a:moveTo>
                <a:cubicBezTo>
                  <a:pt x="245" y="221"/>
                  <a:pt x="266" y="221"/>
                  <a:pt x="278" y="233"/>
                </a:cubicBezTo>
                <a:cubicBezTo>
                  <a:pt x="278" y="233"/>
                  <a:pt x="278" y="233"/>
                  <a:pt x="278" y="233"/>
                </a:cubicBezTo>
                <a:cubicBezTo>
                  <a:pt x="291" y="245"/>
                  <a:pt x="291" y="266"/>
                  <a:pt x="278" y="278"/>
                </a:cubicBezTo>
                <a:cubicBezTo>
                  <a:pt x="272" y="284"/>
                  <a:pt x="264" y="288"/>
                  <a:pt x="256" y="288"/>
                </a:cubicBezTo>
                <a:cubicBezTo>
                  <a:pt x="247" y="288"/>
                  <a:pt x="239" y="284"/>
                  <a:pt x="233" y="278"/>
                </a:cubicBezTo>
                <a:cubicBezTo>
                  <a:pt x="221" y="266"/>
                  <a:pt x="221" y="246"/>
                  <a:pt x="233" y="233"/>
                </a:cubicBezTo>
                <a:close/>
                <a:moveTo>
                  <a:pt x="138" y="182"/>
                </a:moveTo>
                <a:cubicBezTo>
                  <a:pt x="144" y="173"/>
                  <a:pt x="150" y="165"/>
                  <a:pt x="158" y="158"/>
                </a:cubicBezTo>
                <a:cubicBezTo>
                  <a:pt x="165" y="150"/>
                  <a:pt x="173" y="144"/>
                  <a:pt x="182" y="138"/>
                </a:cubicBezTo>
                <a:cubicBezTo>
                  <a:pt x="213" y="195"/>
                  <a:pt x="213" y="195"/>
                  <a:pt x="213" y="195"/>
                </a:cubicBezTo>
                <a:cubicBezTo>
                  <a:pt x="209" y="197"/>
                  <a:pt x="206" y="200"/>
                  <a:pt x="203" y="203"/>
                </a:cubicBezTo>
                <a:cubicBezTo>
                  <a:pt x="200" y="206"/>
                  <a:pt x="197" y="209"/>
                  <a:pt x="195" y="213"/>
                </a:cubicBezTo>
                <a:lnTo>
                  <a:pt x="138" y="182"/>
                </a:lnTo>
                <a:close/>
                <a:moveTo>
                  <a:pt x="279" y="326"/>
                </a:moveTo>
                <a:cubicBezTo>
                  <a:pt x="311" y="383"/>
                  <a:pt x="311" y="383"/>
                  <a:pt x="311" y="383"/>
                </a:cubicBezTo>
                <a:cubicBezTo>
                  <a:pt x="294" y="390"/>
                  <a:pt x="275" y="394"/>
                  <a:pt x="256" y="394"/>
                </a:cubicBezTo>
                <a:cubicBezTo>
                  <a:pt x="219" y="394"/>
                  <a:pt x="184" y="380"/>
                  <a:pt x="158" y="354"/>
                </a:cubicBezTo>
                <a:cubicBezTo>
                  <a:pt x="131" y="328"/>
                  <a:pt x="117" y="293"/>
                  <a:pt x="117" y="256"/>
                </a:cubicBezTo>
                <a:cubicBezTo>
                  <a:pt x="117" y="236"/>
                  <a:pt x="121" y="218"/>
                  <a:pt x="128" y="201"/>
                </a:cubicBezTo>
                <a:cubicBezTo>
                  <a:pt x="141" y="207"/>
                  <a:pt x="141" y="207"/>
                  <a:pt x="141" y="207"/>
                </a:cubicBezTo>
                <a:cubicBezTo>
                  <a:pt x="185" y="232"/>
                  <a:pt x="185" y="232"/>
                  <a:pt x="185" y="232"/>
                </a:cubicBezTo>
                <a:cubicBezTo>
                  <a:pt x="182" y="239"/>
                  <a:pt x="181" y="247"/>
                  <a:pt x="181" y="256"/>
                </a:cubicBezTo>
                <a:cubicBezTo>
                  <a:pt x="181" y="276"/>
                  <a:pt x="189" y="294"/>
                  <a:pt x="203" y="308"/>
                </a:cubicBezTo>
                <a:cubicBezTo>
                  <a:pt x="217" y="323"/>
                  <a:pt x="236" y="330"/>
                  <a:pt x="256" y="330"/>
                </a:cubicBezTo>
                <a:cubicBezTo>
                  <a:pt x="264" y="330"/>
                  <a:pt x="272" y="329"/>
                  <a:pt x="279" y="326"/>
                </a:cubicBezTo>
                <a:close/>
                <a:moveTo>
                  <a:pt x="248" y="263"/>
                </a:moveTo>
                <a:cubicBezTo>
                  <a:pt x="244" y="259"/>
                  <a:pt x="244" y="252"/>
                  <a:pt x="248" y="248"/>
                </a:cubicBezTo>
                <a:cubicBezTo>
                  <a:pt x="250" y="246"/>
                  <a:pt x="253" y="245"/>
                  <a:pt x="256" y="245"/>
                </a:cubicBezTo>
                <a:cubicBezTo>
                  <a:pt x="259" y="245"/>
                  <a:pt x="261" y="246"/>
                  <a:pt x="263" y="248"/>
                </a:cubicBezTo>
                <a:cubicBezTo>
                  <a:pt x="263" y="248"/>
                  <a:pt x="263" y="248"/>
                  <a:pt x="263" y="248"/>
                </a:cubicBezTo>
                <a:cubicBezTo>
                  <a:pt x="267" y="252"/>
                  <a:pt x="267" y="259"/>
                  <a:pt x="263" y="263"/>
                </a:cubicBezTo>
                <a:cubicBezTo>
                  <a:pt x="259" y="267"/>
                  <a:pt x="252" y="267"/>
                  <a:pt x="248"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9" y="369"/>
                </a:moveTo>
                <a:cubicBezTo>
                  <a:pt x="339" y="399"/>
                  <a:pt x="298" y="416"/>
                  <a:pt x="256" y="416"/>
                </a:cubicBezTo>
                <a:cubicBezTo>
                  <a:pt x="213" y="416"/>
                  <a:pt x="173" y="399"/>
                  <a:pt x="143" y="369"/>
                </a:cubicBezTo>
                <a:cubicBezTo>
                  <a:pt x="112" y="339"/>
                  <a:pt x="96" y="298"/>
                  <a:pt x="96" y="256"/>
                </a:cubicBezTo>
                <a:cubicBezTo>
                  <a:pt x="96" y="213"/>
                  <a:pt x="112" y="173"/>
                  <a:pt x="143" y="143"/>
                </a:cubicBezTo>
                <a:cubicBezTo>
                  <a:pt x="173" y="112"/>
                  <a:pt x="213" y="96"/>
                  <a:pt x="256" y="96"/>
                </a:cubicBezTo>
                <a:cubicBezTo>
                  <a:pt x="298" y="96"/>
                  <a:pt x="339" y="112"/>
                  <a:pt x="369" y="143"/>
                </a:cubicBezTo>
                <a:cubicBezTo>
                  <a:pt x="399" y="173"/>
                  <a:pt x="416" y="213"/>
                  <a:pt x="416" y="256"/>
                </a:cubicBezTo>
                <a:cubicBezTo>
                  <a:pt x="416" y="298"/>
                  <a:pt x="399" y="339"/>
                  <a:pt x="369" y="369"/>
                </a:cubicBezTo>
                <a:close/>
                <a:moveTo>
                  <a:pt x="354" y="158"/>
                </a:moveTo>
                <a:cubicBezTo>
                  <a:pt x="380" y="184"/>
                  <a:pt x="394" y="219"/>
                  <a:pt x="394" y="256"/>
                </a:cubicBezTo>
                <a:cubicBezTo>
                  <a:pt x="394" y="275"/>
                  <a:pt x="390" y="294"/>
                  <a:pt x="383" y="311"/>
                </a:cubicBezTo>
                <a:cubicBezTo>
                  <a:pt x="326" y="279"/>
                  <a:pt x="326" y="279"/>
                  <a:pt x="326" y="279"/>
                </a:cubicBezTo>
                <a:cubicBezTo>
                  <a:pt x="329" y="272"/>
                  <a:pt x="330" y="264"/>
                  <a:pt x="330" y="256"/>
                </a:cubicBezTo>
                <a:cubicBezTo>
                  <a:pt x="330" y="236"/>
                  <a:pt x="323" y="217"/>
                  <a:pt x="308" y="203"/>
                </a:cubicBezTo>
                <a:cubicBezTo>
                  <a:pt x="294" y="189"/>
                  <a:pt x="276" y="181"/>
                  <a:pt x="256" y="181"/>
                </a:cubicBezTo>
                <a:cubicBezTo>
                  <a:pt x="247" y="181"/>
                  <a:pt x="239" y="182"/>
                  <a:pt x="232" y="185"/>
                </a:cubicBezTo>
                <a:cubicBezTo>
                  <a:pt x="201" y="128"/>
                  <a:pt x="201" y="128"/>
                  <a:pt x="201" y="128"/>
                </a:cubicBezTo>
                <a:cubicBezTo>
                  <a:pt x="218" y="121"/>
                  <a:pt x="236" y="117"/>
                  <a:pt x="256" y="117"/>
                </a:cubicBezTo>
                <a:cubicBezTo>
                  <a:pt x="293" y="117"/>
                  <a:pt x="328" y="131"/>
                  <a:pt x="354" y="158"/>
                </a:cubicBezTo>
                <a:close/>
                <a:moveTo>
                  <a:pt x="317" y="298"/>
                </a:moveTo>
                <a:cubicBezTo>
                  <a:pt x="373" y="330"/>
                  <a:pt x="373" y="330"/>
                  <a:pt x="373" y="330"/>
                </a:cubicBezTo>
                <a:cubicBezTo>
                  <a:pt x="367" y="338"/>
                  <a:pt x="361" y="346"/>
                  <a:pt x="354" y="354"/>
                </a:cubicBezTo>
                <a:cubicBezTo>
                  <a:pt x="346" y="361"/>
                  <a:pt x="338" y="367"/>
                  <a:pt x="330" y="373"/>
                </a:cubicBezTo>
                <a:cubicBezTo>
                  <a:pt x="298" y="317"/>
                  <a:pt x="298" y="317"/>
                  <a:pt x="298" y="317"/>
                </a:cubicBezTo>
                <a:cubicBezTo>
                  <a:pt x="302" y="314"/>
                  <a:pt x="305" y="312"/>
                  <a:pt x="308" y="308"/>
                </a:cubicBezTo>
                <a:cubicBezTo>
                  <a:pt x="312" y="305"/>
                  <a:pt x="314" y="302"/>
                  <a:pt x="317" y="29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71" name="Group 882">
            <a:extLst>
              <a:ext uri="{FF2B5EF4-FFF2-40B4-BE49-F238E27FC236}">
                <a16:creationId xmlns:a16="http://schemas.microsoft.com/office/drawing/2014/main" id="{3B9EFB87-5ED5-41ED-87C6-259AFFAC15DE}"/>
              </a:ext>
            </a:extLst>
          </p:cNvPr>
          <p:cNvGrpSpPr>
            <a:grpSpLocks noChangeAspect="1"/>
          </p:cNvGrpSpPr>
          <p:nvPr/>
        </p:nvGrpSpPr>
        <p:grpSpPr bwMode="auto">
          <a:xfrm>
            <a:off x="7003448" y="4113334"/>
            <a:ext cx="367982" cy="367982"/>
            <a:chOff x="4643" y="3798"/>
            <a:chExt cx="340" cy="340"/>
          </a:xfrm>
          <a:solidFill>
            <a:schemeClr val="accent4"/>
          </a:solidFill>
        </p:grpSpPr>
        <p:sp>
          <p:nvSpPr>
            <p:cNvPr id="772" name="Freeform 689">
              <a:extLst>
                <a:ext uri="{FF2B5EF4-FFF2-40B4-BE49-F238E27FC236}">
                  <a16:creationId xmlns:a16="http://schemas.microsoft.com/office/drawing/2014/main" id="{7D2F41BD-F9CF-4586-83ED-86D607CEF029}"/>
                </a:ext>
              </a:extLst>
            </p:cNvPr>
            <p:cNvSpPr>
              <a:spLocks/>
            </p:cNvSpPr>
            <p:nvPr/>
          </p:nvSpPr>
          <p:spPr bwMode="auto">
            <a:xfrm>
              <a:off x="4724" y="3916"/>
              <a:ext cx="52" cy="38"/>
            </a:xfrm>
            <a:custGeom>
              <a:avLst/>
              <a:gdLst>
                <a:gd name="T0" fmla="*/ 45 w 52"/>
                <a:gd name="T1" fmla="*/ 38 h 38"/>
                <a:gd name="T2" fmla="*/ 0 w 52"/>
                <a:gd name="T3" fmla="*/ 13 h 38"/>
                <a:gd name="T4" fmla="*/ 7 w 52"/>
                <a:gd name="T5" fmla="*/ 0 h 38"/>
                <a:gd name="T6" fmla="*/ 52 w 52"/>
                <a:gd name="T7" fmla="*/ 25 h 38"/>
                <a:gd name="T8" fmla="*/ 45 w 52"/>
                <a:gd name="T9" fmla="*/ 38 h 38"/>
              </a:gdLst>
              <a:ahLst/>
              <a:cxnLst>
                <a:cxn ang="0">
                  <a:pos x="T0" y="T1"/>
                </a:cxn>
                <a:cxn ang="0">
                  <a:pos x="T2" y="T3"/>
                </a:cxn>
                <a:cxn ang="0">
                  <a:pos x="T4" y="T5"/>
                </a:cxn>
                <a:cxn ang="0">
                  <a:pos x="T6" y="T7"/>
                </a:cxn>
                <a:cxn ang="0">
                  <a:pos x="T8" y="T9"/>
                </a:cxn>
              </a:cxnLst>
              <a:rect l="0" t="0" r="r" b="b"/>
              <a:pathLst>
                <a:path w="52" h="38">
                  <a:moveTo>
                    <a:pt x="45" y="38"/>
                  </a:moveTo>
                  <a:lnTo>
                    <a:pt x="0" y="13"/>
                  </a:lnTo>
                  <a:lnTo>
                    <a:pt x="7" y="0"/>
                  </a:lnTo>
                  <a:lnTo>
                    <a:pt x="52" y="25"/>
                  </a:lnTo>
                  <a:lnTo>
                    <a:pt x="45" y="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3" name="Freeform 690">
              <a:extLst>
                <a:ext uri="{FF2B5EF4-FFF2-40B4-BE49-F238E27FC236}">
                  <a16:creationId xmlns:a16="http://schemas.microsoft.com/office/drawing/2014/main" id="{CA0E1141-DC08-4F55-93EF-A655F95D3BCE}"/>
                </a:ext>
              </a:extLst>
            </p:cNvPr>
            <p:cNvSpPr>
              <a:spLocks/>
            </p:cNvSpPr>
            <p:nvPr/>
          </p:nvSpPr>
          <p:spPr bwMode="auto">
            <a:xfrm>
              <a:off x="4761" y="3879"/>
              <a:ext cx="38" cy="52"/>
            </a:xfrm>
            <a:custGeom>
              <a:avLst/>
              <a:gdLst>
                <a:gd name="T0" fmla="*/ 25 w 38"/>
                <a:gd name="T1" fmla="*/ 52 h 52"/>
                <a:gd name="T2" fmla="*/ 0 w 38"/>
                <a:gd name="T3" fmla="*/ 7 h 52"/>
                <a:gd name="T4" fmla="*/ 13 w 38"/>
                <a:gd name="T5" fmla="*/ 0 h 52"/>
                <a:gd name="T6" fmla="*/ 38 w 38"/>
                <a:gd name="T7" fmla="*/ 45 h 52"/>
                <a:gd name="T8" fmla="*/ 25 w 38"/>
                <a:gd name="T9" fmla="*/ 52 h 52"/>
              </a:gdLst>
              <a:ahLst/>
              <a:cxnLst>
                <a:cxn ang="0">
                  <a:pos x="T0" y="T1"/>
                </a:cxn>
                <a:cxn ang="0">
                  <a:pos x="T2" y="T3"/>
                </a:cxn>
                <a:cxn ang="0">
                  <a:pos x="T4" y="T5"/>
                </a:cxn>
                <a:cxn ang="0">
                  <a:pos x="T6" y="T7"/>
                </a:cxn>
                <a:cxn ang="0">
                  <a:pos x="T8" y="T9"/>
                </a:cxn>
              </a:cxnLst>
              <a:rect l="0" t="0" r="r" b="b"/>
              <a:pathLst>
                <a:path w="38" h="52">
                  <a:moveTo>
                    <a:pt x="25" y="52"/>
                  </a:moveTo>
                  <a:lnTo>
                    <a:pt x="0" y="7"/>
                  </a:lnTo>
                  <a:lnTo>
                    <a:pt x="13" y="0"/>
                  </a:lnTo>
                  <a:lnTo>
                    <a:pt x="38" y="45"/>
                  </a:lnTo>
                  <a:lnTo>
                    <a:pt x="25" y="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4" name="Freeform 691">
              <a:extLst>
                <a:ext uri="{FF2B5EF4-FFF2-40B4-BE49-F238E27FC236}">
                  <a16:creationId xmlns:a16="http://schemas.microsoft.com/office/drawing/2014/main" id="{D259D868-8446-414A-9565-33DD8AF62C02}"/>
                </a:ext>
              </a:extLst>
            </p:cNvPr>
            <p:cNvSpPr>
              <a:spLocks noEditPoints="1"/>
            </p:cNvSpPr>
            <p:nvPr/>
          </p:nvSpPr>
          <p:spPr bwMode="auto">
            <a:xfrm>
              <a:off x="4643" y="37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5" name="Freeform 692">
              <a:extLst>
                <a:ext uri="{FF2B5EF4-FFF2-40B4-BE49-F238E27FC236}">
                  <a16:creationId xmlns:a16="http://schemas.microsoft.com/office/drawing/2014/main" id="{F7AB287B-DEC0-40BD-B48F-A7D6B51A621D}"/>
                </a:ext>
              </a:extLst>
            </p:cNvPr>
            <p:cNvSpPr>
              <a:spLocks noEditPoints="1"/>
            </p:cNvSpPr>
            <p:nvPr/>
          </p:nvSpPr>
          <p:spPr bwMode="auto">
            <a:xfrm>
              <a:off x="4707" y="3862"/>
              <a:ext cx="212" cy="212"/>
            </a:xfrm>
            <a:custGeom>
              <a:avLst/>
              <a:gdLst>
                <a:gd name="T0" fmla="*/ 160 w 320"/>
                <a:gd name="T1" fmla="*/ 0 h 320"/>
                <a:gd name="T2" fmla="*/ 0 w 320"/>
                <a:gd name="T3" fmla="*/ 160 h 320"/>
                <a:gd name="T4" fmla="*/ 160 w 320"/>
                <a:gd name="T5" fmla="*/ 320 h 320"/>
                <a:gd name="T6" fmla="*/ 320 w 320"/>
                <a:gd name="T7" fmla="*/ 160 h 320"/>
                <a:gd name="T8" fmla="*/ 258 w 320"/>
                <a:gd name="T9" fmla="*/ 62 h 320"/>
                <a:gd name="T10" fmla="*/ 287 w 320"/>
                <a:gd name="T11" fmla="*/ 215 h 320"/>
                <a:gd name="T12" fmla="*/ 234 w 320"/>
                <a:gd name="T13" fmla="*/ 160 h 320"/>
                <a:gd name="T14" fmla="*/ 160 w 320"/>
                <a:gd name="T15" fmla="*/ 85 h 320"/>
                <a:gd name="T16" fmla="*/ 105 w 320"/>
                <a:gd name="T17" fmla="*/ 32 h 320"/>
                <a:gd name="T18" fmla="*/ 258 w 320"/>
                <a:gd name="T19" fmla="*/ 62 h 320"/>
                <a:gd name="T20" fmla="*/ 160 w 320"/>
                <a:gd name="T21" fmla="*/ 213 h 320"/>
                <a:gd name="T22" fmla="*/ 106 w 320"/>
                <a:gd name="T23" fmla="*/ 160 h 320"/>
                <a:gd name="T24" fmla="*/ 160 w 320"/>
                <a:gd name="T25" fmla="*/ 106 h 320"/>
                <a:gd name="T26" fmla="*/ 213 w 320"/>
                <a:gd name="T27" fmla="*/ 160 h 320"/>
                <a:gd name="T28" fmla="*/ 62 w 320"/>
                <a:gd name="T29" fmla="*/ 62 h 320"/>
                <a:gd name="T30" fmla="*/ 117 w 320"/>
                <a:gd name="T31" fmla="*/ 99 h 320"/>
                <a:gd name="T32" fmla="*/ 99 w 320"/>
                <a:gd name="T33" fmla="*/ 117 h 320"/>
                <a:gd name="T34" fmla="*/ 62 w 320"/>
                <a:gd name="T35" fmla="*/ 62 h 320"/>
                <a:gd name="T36" fmla="*/ 21 w 320"/>
                <a:gd name="T37" fmla="*/ 160 h 320"/>
                <a:gd name="T38" fmla="*/ 89 w 320"/>
                <a:gd name="T39" fmla="*/ 136 h 320"/>
                <a:gd name="T40" fmla="*/ 107 w 320"/>
                <a:gd name="T41" fmla="*/ 212 h 320"/>
                <a:gd name="T42" fmla="*/ 183 w 320"/>
                <a:gd name="T43" fmla="*/ 230 h 320"/>
                <a:gd name="T44" fmla="*/ 160 w 320"/>
                <a:gd name="T45" fmla="*/ 298 h 320"/>
                <a:gd name="T46" fmla="*/ 258 w 320"/>
                <a:gd name="T47" fmla="*/ 258 h 320"/>
                <a:gd name="T48" fmla="*/ 202 w 320"/>
                <a:gd name="T49" fmla="*/ 221 h 320"/>
                <a:gd name="T50" fmla="*/ 221 w 320"/>
                <a:gd name="T51" fmla="*/ 202 h 320"/>
                <a:gd name="T52" fmla="*/ 258 w 320"/>
                <a:gd name="T53" fmla="*/ 258 h 320"/>
                <a:gd name="T54" fmla="*/ 137 w 320"/>
                <a:gd name="T55" fmla="*/ 137 h 320"/>
                <a:gd name="T56" fmla="*/ 160 w 320"/>
                <a:gd name="T57" fmla="*/ 192 h 320"/>
                <a:gd name="T58" fmla="*/ 182 w 320"/>
                <a:gd name="T59" fmla="*/ 137 h 320"/>
                <a:gd name="T60" fmla="*/ 152 w 320"/>
                <a:gd name="T61" fmla="*/ 167 h 320"/>
                <a:gd name="T62" fmla="*/ 160 w 320"/>
                <a:gd name="T63" fmla="*/ 149 h 320"/>
                <a:gd name="T64" fmla="*/ 167 w 320"/>
                <a:gd name="T65" fmla="*/ 15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0">
                  <a:moveTo>
                    <a:pt x="273" y="47"/>
                  </a:moveTo>
                  <a:cubicBezTo>
                    <a:pt x="243" y="16"/>
                    <a:pt x="202" y="0"/>
                    <a:pt x="160" y="0"/>
                  </a:cubicBezTo>
                  <a:cubicBezTo>
                    <a:pt x="117" y="0"/>
                    <a:pt x="77" y="16"/>
                    <a:pt x="47" y="47"/>
                  </a:cubicBezTo>
                  <a:cubicBezTo>
                    <a:pt x="16" y="77"/>
                    <a:pt x="0" y="117"/>
                    <a:pt x="0" y="160"/>
                  </a:cubicBezTo>
                  <a:cubicBezTo>
                    <a:pt x="0" y="202"/>
                    <a:pt x="16" y="243"/>
                    <a:pt x="47" y="273"/>
                  </a:cubicBezTo>
                  <a:cubicBezTo>
                    <a:pt x="77" y="303"/>
                    <a:pt x="117" y="320"/>
                    <a:pt x="160" y="320"/>
                  </a:cubicBezTo>
                  <a:cubicBezTo>
                    <a:pt x="202" y="320"/>
                    <a:pt x="243" y="303"/>
                    <a:pt x="273" y="273"/>
                  </a:cubicBezTo>
                  <a:cubicBezTo>
                    <a:pt x="303" y="243"/>
                    <a:pt x="320" y="202"/>
                    <a:pt x="320" y="160"/>
                  </a:cubicBezTo>
                  <a:cubicBezTo>
                    <a:pt x="320" y="117"/>
                    <a:pt x="303" y="77"/>
                    <a:pt x="273" y="47"/>
                  </a:cubicBezTo>
                  <a:close/>
                  <a:moveTo>
                    <a:pt x="258" y="62"/>
                  </a:moveTo>
                  <a:cubicBezTo>
                    <a:pt x="284" y="88"/>
                    <a:pt x="298" y="123"/>
                    <a:pt x="298" y="160"/>
                  </a:cubicBezTo>
                  <a:cubicBezTo>
                    <a:pt x="298" y="179"/>
                    <a:pt x="294" y="198"/>
                    <a:pt x="287" y="215"/>
                  </a:cubicBezTo>
                  <a:cubicBezTo>
                    <a:pt x="230" y="183"/>
                    <a:pt x="230" y="183"/>
                    <a:pt x="230" y="183"/>
                  </a:cubicBezTo>
                  <a:cubicBezTo>
                    <a:pt x="233" y="176"/>
                    <a:pt x="234" y="168"/>
                    <a:pt x="234" y="160"/>
                  </a:cubicBezTo>
                  <a:cubicBezTo>
                    <a:pt x="234" y="140"/>
                    <a:pt x="227" y="121"/>
                    <a:pt x="212" y="107"/>
                  </a:cubicBezTo>
                  <a:cubicBezTo>
                    <a:pt x="198" y="93"/>
                    <a:pt x="180" y="85"/>
                    <a:pt x="160" y="85"/>
                  </a:cubicBezTo>
                  <a:cubicBezTo>
                    <a:pt x="151" y="85"/>
                    <a:pt x="143" y="86"/>
                    <a:pt x="136" y="89"/>
                  </a:cubicBezTo>
                  <a:cubicBezTo>
                    <a:pt x="105" y="32"/>
                    <a:pt x="105" y="32"/>
                    <a:pt x="105" y="32"/>
                  </a:cubicBezTo>
                  <a:cubicBezTo>
                    <a:pt x="122" y="25"/>
                    <a:pt x="140" y="21"/>
                    <a:pt x="160" y="21"/>
                  </a:cubicBezTo>
                  <a:cubicBezTo>
                    <a:pt x="197" y="21"/>
                    <a:pt x="232" y="35"/>
                    <a:pt x="258" y="62"/>
                  </a:cubicBezTo>
                  <a:close/>
                  <a:moveTo>
                    <a:pt x="197" y="197"/>
                  </a:moveTo>
                  <a:cubicBezTo>
                    <a:pt x="187" y="207"/>
                    <a:pt x="174" y="213"/>
                    <a:pt x="160" y="213"/>
                  </a:cubicBezTo>
                  <a:cubicBezTo>
                    <a:pt x="145" y="213"/>
                    <a:pt x="132" y="207"/>
                    <a:pt x="122" y="197"/>
                  </a:cubicBezTo>
                  <a:cubicBezTo>
                    <a:pt x="112" y="187"/>
                    <a:pt x="106" y="174"/>
                    <a:pt x="106" y="160"/>
                  </a:cubicBezTo>
                  <a:cubicBezTo>
                    <a:pt x="106" y="145"/>
                    <a:pt x="112" y="132"/>
                    <a:pt x="122" y="122"/>
                  </a:cubicBezTo>
                  <a:cubicBezTo>
                    <a:pt x="132" y="112"/>
                    <a:pt x="145" y="106"/>
                    <a:pt x="160" y="106"/>
                  </a:cubicBezTo>
                  <a:cubicBezTo>
                    <a:pt x="174" y="106"/>
                    <a:pt x="187" y="112"/>
                    <a:pt x="197" y="122"/>
                  </a:cubicBezTo>
                  <a:cubicBezTo>
                    <a:pt x="207" y="132"/>
                    <a:pt x="213" y="145"/>
                    <a:pt x="213" y="160"/>
                  </a:cubicBezTo>
                  <a:cubicBezTo>
                    <a:pt x="213" y="174"/>
                    <a:pt x="207" y="187"/>
                    <a:pt x="197" y="197"/>
                  </a:cubicBezTo>
                  <a:close/>
                  <a:moveTo>
                    <a:pt x="62" y="62"/>
                  </a:moveTo>
                  <a:cubicBezTo>
                    <a:pt x="69" y="54"/>
                    <a:pt x="77" y="48"/>
                    <a:pt x="86" y="42"/>
                  </a:cubicBezTo>
                  <a:cubicBezTo>
                    <a:pt x="117" y="99"/>
                    <a:pt x="117" y="99"/>
                    <a:pt x="117" y="99"/>
                  </a:cubicBezTo>
                  <a:cubicBezTo>
                    <a:pt x="113" y="101"/>
                    <a:pt x="110" y="104"/>
                    <a:pt x="107" y="107"/>
                  </a:cubicBezTo>
                  <a:cubicBezTo>
                    <a:pt x="104" y="110"/>
                    <a:pt x="101" y="113"/>
                    <a:pt x="99" y="117"/>
                  </a:cubicBezTo>
                  <a:cubicBezTo>
                    <a:pt x="42" y="86"/>
                    <a:pt x="42" y="86"/>
                    <a:pt x="42" y="86"/>
                  </a:cubicBezTo>
                  <a:cubicBezTo>
                    <a:pt x="48" y="77"/>
                    <a:pt x="54" y="69"/>
                    <a:pt x="62" y="62"/>
                  </a:cubicBezTo>
                  <a:close/>
                  <a:moveTo>
                    <a:pt x="62" y="258"/>
                  </a:moveTo>
                  <a:cubicBezTo>
                    <a:pt x="35" y="232"/>
                    <a:pt x="21" y="197"/>
                    <a:pt x="21" y="160"/>
                  </a:cubicBezTo>
                  <a:cubicBezTo>
                    <a:pt x="21" y="140"/>
                    <a:pt x="25" y="122"/>
                    <a:pt x="32" y="105"/>
                  </a:cubicBezTo>
                  <a:cubicBezTo>
                    <a:pt x="89" y="136"/>
                    <a:pt x="89" y="136"/>
                    <a:pt x="89" y="136"/>
                  </a:cubicBezTo>
                  <a:cubicBezTo>
                    <a:pt x="86" y="143"/>
                    <a:pt x="85" y="151"/>
                    <a:pt x="85" y="160"/>
                  </a:cubicBezTo>
                  <a:cubicBezTo>
                    <a:pt x="85" y="180"/>
                    <a:pt x="93" y="198"/>
                    <a:pt x="107" y="212"/>
                  </a:cubicBezTo>
                  <a:cubicBezTo>
                    <a:pt x="121" y="227"/>
                    <a:pt x="140" y="234"/>
                    <a:pt x="160" y="234"/>
                  </a:cubicBezTo>
                  <a:cubicBezTo>
                    <a:pt x="168" y="234"/>
                    <a:pt x="176" y="233"/>
                    <a:pt x="183" y="230"/>
                  </a:cubicBezTo>
                  <a:cubicBezTo>
                    <a:pt x="215" y="287"/>
                    <a:pt x="215" y="287"/>
                    <a:pt x="215" y="287"/>
                  </a:cubicBezTo>
                  <a:cubicBezTo>
                    <a:pt x="198" y="294"/>
                    <a:pt x="179" y="298"/>
                    <a:pt x="160" y="298"/>
                  </a:cubicBezTo>
                  <a:cubicBezTo>
                    <a:pt x="123" y="298"/>
                    <a:pt x="88" y="284"/>
                    <a:pt x="62" y="258"/>
                  </a:cubicBezTo>
                  <a:close/>
                  <a:moveTo>
                    <a:pt x="258" y="258"/>
                  </a:moveTo>
                  <a:cubicBezTo>
                    <a:pt x="250" y="265"/>
                    <a:pt x="242" y="271"/>
                    <a:pt x="234" y="277"/>
                  </a:cubicBezTo>
                  <a:cubicBezTo>
                    <a:pt x="202" y="221"/>
                    <a:pt x="202" y="221"/>
                    <a:pt x="202" y="221"/>
                  </a:cubicBezTo>
                  <a:cubicBezTo>
                    <a:pt x="206" y="218"/>
                    <a:pt x="209" y="216"/>
                    <a:pt x="212" y="212"/>
                  </a:cubicBezTo>
                  <a:cubicBezTo>
                    <a:pt x="216" y="209"/>
                    <a:pt x="218" y="206"/>
                    <a:pt x="221" y="202"/>
                  </a:cubicBezTo>
                  <a:cubicBezTo>
                    <a:pt x="277" y="234"/>
                    <a:pt x="277" y="234"/>
                    <a:pt x="277" y="234"/>
                  </a:cubicBezTo>
                  <a:cubicBezTo>
                    <a:pt x="271" y="242"/>
                    <a:pt x="265" y="250"/>
                    <a:pt x="258" y="258"/>
                  </a:cubicBezTo>
                  <a:close/>
                  <a:moveTo>
                    <a:pt x="182" y="137"/>
                  </a:moveTo>
                  <a:cubicBezTo>
                    <a:pt x="170" y="125"/>
                    <a:pt x="149" y="125"/>
                    <a:pt x="137" y="137"/>
                  </a:cubicBezTo>
                  <a:cubicBezTo>
                    <a:pt x="125" y="150"/>
                    <a:pt x="125" y="170"/>
                    <a:pt x="137" y="182"/>
                  </a:cubicBezTo>
                  <a:cubicBezTo>
                    <a:pt x="143" y="188"/>
                    <a:pt x="151" y="192"/>
                    <a:pt x="160" y="192"/>
                  </a:cubicBezTo>
                  <a:cubicBezTo>
                    <a:pt x="168" y="192"/>
                    <a:pt x="176" y="188"/>
                    <a:pt x="182" y="182"/>
                  </a:cubicBezTo>
                  <a:cubicBezTo>
                    <a:pt x="195" y="170"/>
                    <a:pt x="195" y="149"/>
                    <a:pt x="182" y="137"/>
                  </a:cubicBezTo>
                  <a:close/>
                  <a:moveTo>
                    <a:pt x="167" y="167"/>
                  </a:moveTo>
                  <a:cubicBezTo>
                    <a:pt x="163" y="171"/>
                    <a:pt x="156" y="171"/>
                    <a:pt x="152" y="167"/>
                  </a:cubicBezTo>
                  <a:cubicBezTo>
                    <a:pt x="148" y="163"/>
                    <a:pt x="148" y="156"/>
                    <a:pt x="152" y="152"/>
                  </a:cubicBezTo>
                  <a:cubicBezTo>
                    <a:pt x="154" y="150"/>
                    <a:pt x="157" y="149"/>
                    <a:pt x="160" y="149"/>
                  </a:cubicBezTo>
                  <a:cubicBezTo>
                    <a:pt x="163" y="149"/>
                    <a:pt x="165" y="150"/>
                    <a:pt x="167" y="152"/>
                  </a:cubicBezTo>
                  <a:cubicBezTo>
                    <a:pt x="167" y="152"/>
                    <a:pt x="167" y="152"/>
                    <a:pt x="167" y="152"/>
                  </a:cubicBezTo>
                  <a:cubicBezTo>
                    <a:pt x="171" y="156"/>
                    <a:pt x="171" y="163"/>
                    <a:pt x="167" y="1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76" name="Freeform 1020">
            <a:extLst>
              <a:ext uri="{FF2B5EF4-FFF2-40B4-BE49-F238E27FC236}">
                <a16:creationId xmlns:a16="http://schemas.microsoft.com/office/drawing/2014/main" id="{DEC6DFBF-102A-42A5-9071-D4F767C3B519}"/>
              </a:ext>
            </a:extLst>
          </p:cNvPr>
          <p:cNvSpPr>
            <a:spLocks noChangeAspect="1" noEditPoints="1"/>
          </p:cNvSpPr>
          <p:nvPr/>
        </p:nvSpPr>
        <p:spPr bwMode="auto">
          <a:xfrm>
            <a:off x="7439616" y="4113334"/>
            <a:ext cx="367041" cy="368121"/>
          </a:xfrm>
          <a:custGeom>
            <a:avLst/>
            <a:gdLst>
              <a:gd name="T0" fmla="*/ 298 w 512"/>
              <a:gd name="T1" fmla="*/ 245 h 512"/>
              <a:gd name="T2" fmla="*/ 245 w 512"/>
              <a:gd name="T3" fmla="*/ 298 h 512"/>
              <a:gd name="T4" fmla="*/ 266 w 512"/>
              <a:gd name="T5" fmla="*/ 277 h 512"/>
              <a:gd name="T6" fmla="*/ 277 w 512"/>
              <a:gd name="T7" fmla="*/ 245 h 512"/>
              <a:gd name="T8" fmla="*/ 213 w 512"/>
              <a:gd name="T9" fmla="*/ 213 h 512"/>
              <a:gd name="T10" fmla="*/ 256 w 512"/>
              <a:gd name="T11" fmla="*/ 256 h 512"/>
              <a:gd name="T12" fmla="*/ 138 w 512"/>
              <a:gd name="T13" fmla="*/ 373 h 512"/>
              <a:gd name="T14" fmla="*/ 160 w 512"/>
              <a:gd name="T15" fmla="*/ 352 h 512"/>
              <a:gd name="T16" fmla="*/ 138 w 512"/>
              <a:gd name="T17" fmla="*/ 373 h 512"/>
              <a:gd name="T18" fmla="*/ 138 w 512"/>
              <a:gd name="T19" fmla="*/ 138 h 512"/>
              <a:gd name="T20" fmla="*/ 160 w 512"/>
              <a:gd name="T21" fmla="*/ 160 h 512"/>
              <a:gd name="T22" fmla="*/ 352 w 512"/>
              <a:gd name="T23" fmla="*/ 373 h 512"/>
              <a:gd name="T24" fmla="*/ 373 w 512"/>
              <a:gd name="T25" fmla="*/ 352 h 512"/>
              <a:gd name="T26" fmla="*/ 352 w 512"/>
              <a:gd name="T27" fmla="*/ 373 h 512"/>
              <a:gd name="T28" fmla="*/ 373 w 512"/>
              <a:gd name="T29" fmla="*/ 160 h 512"/>
              <a:gd name="T30" fmla="*/ 352 w 512"/>
              <a:gd name="T31" fmla="*/ 138 h 512"/>
              <a:gd name="T32" fmla="*/ 512 w 512"/>
              <a:gd name="T33" fmla="*/ 256 h 512"/>
              <a:gd name="T34" fmla="*/ 0 w 512"/>
              <a:gd name="T35" fmla="*/ 256 h 512"/>
              <a:gd name="T36" fmla="*/ 512 w 512"/>
              <a:gd name="T37" fmla="*/ 256 h 512"/>
              <a:gd name="T38" fmla="*/ 384 w 512"/>
              <a:gd name="T39" fmla="*/ 117 h 512"/>
              <a:gd name="T40" fmla="*/ 330 w 512"/>
              <a:gd name="T41" fmla="*/ 128 h 512"/>
              <a:gd name="T42" fmla="*/ 181 w 512"/>
              <a:gd name="T43" fmla="*/ 138 h 512"/>
              <a:gd name="T44" fmla="*/ 170 w 512"/>
              <a:gd name="T45" fmla="*/ 117 h 512"/>
              <a:gd name="T46" fmla="*/ 117 w 512"/>
              <a:gd name="T47" fmla="*/ 128 h 512"/>
              <a:gd name="T48" fmla="*/ 128 w 512"/>
              <a:gd name="T49" fmla="*/ 181 h 512"/>
              <a:gd name="T50" fmla="*/ 138 w 512"/>
              <a:gd name="T51" fmla="*/ 330 h 512"/>
              <a:gd name="T52" fmla="*/ 117 w 512"/>
              <a:gd name="T53" fmla="*/ 341 h 512"/>
              <a:gd name="T54" fmla="*/ 128 w 512"/>
              <a:gd name="T55" fmla="*/ 394 h 512"/>
              <a:gd name="T56" fmla="*/ 181 w 512"/>
              <a:gd name="T57" fmla="*/ 384 h 512"/>
              <a:gd name="T58" fmla="*/ 330 w 512"/>
              <a:gd name="T59" fmla="*/ 373 h 512"/>
              <a:gd name="T60" fmla="*/ 341 w 512"/>
              <a:gd name="T61" fmla="*/ 394 h 512"/>
              <a:gd name="T62" fmla="*/ 394 w 512"/>
              <a:gd name="T63" fmla="*/ 384 h 512"/>
              <a:gd name="T64" fmla="*/ 384 w 512"/>
              <a:gd name="T65" fmla="*/ 330 h 512"/>
              <a:gd name="T66" fmla="*/ 373 w 512"/>
              <a:gd name="T67" fmla="*/ 181 h 512"/>
              <a:gd name="T68" fmla="*/ 394 w 512"/>
              <a:gd name="T69" fmla="*/ 170 h 512"/>
              <a:gd name="T70" fmla="*/ 352 w 512"/>
              <a:gd name="T71" fmla="*/ 330 h 512"/>
              <a:gd name="T72" fmla="*/ 330 w 512"/>
              <a:gd name="T73" fmla="*/ 341 h 512"/>
              <a:gd name="T74" fmla="*/ 181 w 512"/>
              <a:gd name="T75" fmla="*/ 352 h 512"/>
              <a:gd name="T76" fmla="*/ 170 w 512"/>
              <a:gd name="T77" fmla="*/ 330 h 512"/>
              <a:gd name="T78" fmla="*/ 160 w 512"/>
              <a:gd name="T79" fmla="*/ 181 h 512"/>
              <a:gd name="T80" fmla="*/ 181 w 512"/>
              <a:gd name="T81" fmla="*/ 170 h 512"/>
              <a:gd name="T82" fmla="*/ 330 w 512"/>
              <a:gd name="T83" fmla="*/ 160 h 512"/>
              <a:gd name="T84" fmla="*/ 341 w 512"/>
              <a:gd name="T85" fmla="*/ 181 h 512"/>
              <a:gd name="T86" fmla="*/ 352 w 512"/>
              <a:gd name="T87" fmla="*/ 330 h 512"/>
              <a:gd name="T88" fmla="*/ 309 w 512"/>
              <a:gd name="T89" fmla="*/ 224 h 512"/>
              <a:gd name="T90" fmla="*/ 277 w 512"/>
              <a:gd name="T91" fmla="*/ 202 h 512"/>
              <a:gd name="T92" fmla="*/ 202 w 512"/>
              <a:gd name="T93" fmla="*/ 192 h 512"/>
              <a:gd name="T94" fmla="*/ 192 w 512"/>
              <a:gd name="T95" fmla="*/ 266 h 512"/>
              <a:gd name="T96" fmla="*/ 224 w 512"/>
              <a:gd name="T97" fmla="*/ 277 h 512"/>
              <a:gd name="T98" fmla="*/ 234 w 512"/>
              <a:gd name="T99" fmla="*/ 320 h 512"/>
              <a:gd name="T100" fmla="*/ 320 w 512"/>
              <a:gd name="T10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7" y="245"/>
                </a:moveTo>
                <a:cubicBezTo>
                  <a:pt x="298" y="245"/>
                  <a:pt x="298" y="245"/>
                  <a:pt x="298" y="245"/>
                </a:cubicBezTo>
                <a:cubicBezTo>
                  <a:pt x="298" y="298"/>
                  <a:pt x="298" y="298"/>
                  <a:pt x="298" y="298"/>
                </a:cubicBezTo>
                <a:cubicBezTo>
                  <a:pt x="245" y="298"/>
                  <a:pt x="245" y="298"/>
                  <a:pt x="245" y="298"/>
                </a:cubicBezTo>
                <a:cubicBezTo>
                  <a:pt x="245" y="277"/>
                  <a:pt x="245" y="277"/>
                  <a:pt x="245" y="277"/>
                </a:cubicBezTo>
                <a:cubicBezTo>
                  <a:pt x="266" y="277"/>
                  <a:pt x="266" y="277"/>
                  <a:pt x="266" y="277"/>
                </a:cubicBezTo>
                <a:cubicBezTo>
                  <a:pt x="272" y="277"/>
                  <a:pt x="277" y="272"/>
                  <a:pt x="277" y="266"/>
                </a:cubicBezTo>
                <a:lnTo>
                  <a:pt x="277" y="245"/>
                </a:lnTo>
                <a:close/>
                <a:moveTo>
                  <a:pt x="256" y="213"/>
                </a:moveTo>
                <a:cubicBezTo>
                  <a:pt x="213" y="213"/>
                  <a:pt x="213" y="213"/>
                  <a:pt x="213" y="213"/>
                </a:cubicBezTo>
                <a:cubicBezTo>
                  <a:pt x="213" y="256"/>
                  <a:pt x="213" y="256"/>
                  <a:pt x="213" y="256"/>
                </a:cubicBezTo>
                <a:cubicBezTo>
                  <a:pt x="256" y="256"/>
                  <a:pt x="256" y="256"/>
                  <a:pt x="256" y="256"/>
                </a:cubicBezTo>
                <a:lnTo>
                  <a:pt x="256" y="213"/>
                </a:lnTo>
                <a:close/>
                <a:moveTo>
                  <a:pt x="138" y="373"/>
                </a:moveTo>
                <a:cubicBezTo>
                  <a:pt x="160" y="373"/>
                  <a:pt x="160" y="373"/>
                  <a:pt x="160" y="373"/>
                </a:cubicBezTo>
                <a:cubicBezTo>
                  <a:pt x="160" y="352"/>
                  <a:pt x="160" y="352"/>
                  <a:pt x="160" y="352"/>
                </a:cubicBezTo>
                <a:cubicBezTo>
                  <a:pt x="138" y="352"/>
                  <a:pt x="138" y="352"/>
                  <a:pt x="138" y="352"/>
                </a:cubicBezTo>
                <a:lnTo>
                  <a:pt x="138" y="373"/>
                </a:lnTo>
                <a:close/>
                <a:moveTo>
                  <a:pt x="160" y="138"/>
                </a:moveTo>
                <a:cubicBezTo>
                  <a:pt x="138" y="138"/>
                  <a:pt x="138" y="138"/>
                  <a:pt x="138" y="138"/>
                </a:cubicBezTo>
                <a:cubicBezTo>
                  <a:pt x="138" y="160"/>
                  <a:pt x="138" y="160"/>
                  <a:pt x="138" y="160"/>
                </a:cubicBezTo>
                <a:cubicBezTo>
                  <a:pt x="160" y="160"/>
                  <a:pt x="160" y="160"/>
                  <a:pt x="160" y="160"/>
                </a:cubicBezTo>
                <a:lnTo>
                  <a:pt x="160" y="138"/>
                </a:lnTo>
                <a:close/>
                <a:moveTo>
                  <a:pt x="352" y="373"/>
                </a:moveTo>
                <a:cubicBezTo>
                  <a:pt x="373" y="373"/>
                  <a:pt x="373" y="373"/>
                  <a:pt x="373" y="373"/>
                </a:cubicBezTo>
                <a:cubicBezTo>
                  <a:pt x="373" y="352"/>
                  <a:pt x="373" y="352"/>
                  <a:pt x="373" y="352"/>
                </a:cubicBezTo>
                <a:cubicBezTo>
                  <a:pt x="352" y="352"/>
                  <a:pt x="352" y="352"/>
                  <a:pt x="352" y="352"/>
                </a:cubicBezTo>
                <a:lnTo>
                  <a:pt x="352" y="373"/>
                </a:lnTo>
                <a:close/>
                <a:moveTo>
                  <a:pt x="352" y="160"/>
                </a:moveTo>
                <a:cubicBezTo>
                  <a:pt x="373" y="160"/>
                  <a:pt x="373" y="160"/>
                  <a:pt x="373" y="160"/>
                </a:cubicBezTo>
                <a:cubicBezTo>
                  <a:pt x="373" y="138"/>
                  <a:pt x="373" y="138"/>
                  <a:pt x="373" y="138"/>
                </a:cubicBezTo>
                <a:cubicBezTo>
                  <a:pt x="352" y="138"/>
                  <a:pt x="352" y="138"/>
                  <a:pt x="352" y="138"/>
                </a:cubicBezTo>
                <a:lnTo>
                  <a:pt x="352"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341" y="117"/>
                  <a:pt x="341" y="117"/>
                  <a:pt x="341" y="117"/>
                </a:cubicBezTo>
                <a:cubicBezTo>
                  <a:pt x="335" y="117"/>
                  <a:pt x="330" y="122"/>
                  <a:pt x="330" y="128"/>
                </a:cubicBezTo>
                <a:cubicBezTo>
                  <a:pt x="330" y="138"/>
                  <a:pt x="330" y="138"/>
                  <a:pt x="330" y="138"/>
                </a:cubicBezTo>
                <a:cubicBezTo>
                  <a:pt x="181" y="138"/>
                  <a:pt x="181" y="138"/>
                  <a:pt x="181" y="138"/>
                </a:cubicBezTo>
                <a:cubicBezTo>
                  <a:pt x="181" y="128"/>
                  <a:pt x="181" y="128"/>
                  <a:pt x="181" y="128"/>
                </a:cubicBezTo>
                <a:cubicBezTo>
                  <a:pt x="181" y="122"/>
                  <a:pt x="176" y="117"/>
                  <a:pt x="170" y="117"/>
                </a:cubicBezTo>
                <a:cubicBezTo>
                  <a:pt x="128" y="117"/>
                  <a:pt x="128" y="117"/>
                  <a:pt x="128" y="117"/>
                </a:cubicBezTo>
                <a:cubicBezTo>
                  <a:pt x="122" y="117"/>
                  <a:pt x="117" y="122"/>
                  <a:pt x="117" y="128"/>
                </a:cubicBezTo>
                <a:cubicBezTo>
                  <a:pt x="117" y="170"/>
                  <a:pt x="117" y="170"/>
                  <a:pt x="117" y="170"/>
                </a:cubicBezTo>
                <a:cubicBezTo>
                  <a:pt x="117" y="176"/>
                  <a:pt x="122" y="181"/>
                  <a:pt x="128" y="181"/>
                </a:cubicBezTo>
                <a:cubicBezTo>
                  <a:pt x="138" y="181"/>
                  <a:pt x="138" y="181"/>
                  <a:pt x="138" y="181"/>
                </a:cubicBezTo>
                <a:cubicBezTo>
                  <a:pt x="138" y="330"/>
                  <a:pt x="138" y="330"/>
                  <a:pt x="138" y="330"/>
                </a:cubicBezTo>
                <a:cubicBezTo>
                  <a:pt x="128" y="330"/>
                  <a:pt x="128" y="330"/>
                  <a:pt x="128" y="330"/>
                </a:cubicBezTo>
                <a:cubicBezTo>
                  <a:pt x="122" y="330"/>
                  <a:pt x="117" y="335"/>
                  <a:pt x="117" y="341"/>
                </a:cubicBezTo>
                <a:cubicBezTo>
                  <a:pt x="117" y="384"/>
                  <a:pt x="117" y="384"/>
                  <a:pt x="117" y="384"/>
                </a:cubicBezTo>
                <a:cubicBezTo>
                  <a:pt x="117" y="390"/>
                  <a:pt x="122" y="394"/>
                  <a:pt x="128" y="394"/>
                </a:cubicBezTo>
                <a:cubicBezTo>
                  <a:pt x="170" y="394"/>
                  <a:pt x="170" y="394"/>
                  <a:pt x="170" y="394"/>
                </a:cubicBezTo>
                <a:cubicBezTo>
                  <a:pt x="176" y="394"/>
                  <a:pt x="181" y="390"/>
                  <a:pt x="181" y="384"/>
                </a:cubicBezTo>
                <a:cubicBezTo>
                  <a:pt x="181" y="373"/>
                  <a:pt x="181" y="373"/>
                  <a:pt x="181" y="373"/>
                </a:cubicBezTo>
                <a:cubicBezTo>
                  <a:pt x="330" y="373"/>
                  <a:pt x="330" y="373"/>
                  <a:pt x="330" y="373"/>
                </a:cubicBezTo>
                <a:cubicBezTo>
                  <a:pt x="330" y="384"/>
                  <a:pt x="330" y="384"/>
                  <a:pt x="330" y="384"/>
                </a:cubicBezTo>
                <a:cubicBezTo>
                  <a:pt x="330" y="390"/>
                  <a:pt x="335" y="394"/>
                  <a:pt x="341" y="394"/>
                </a:cubicBezTo>
                <a:cubicBezTo>
                  <a:pt x="384" y="394"/>
                  <a:pt x="384" y="394"/>
                  <a:pt x="384" y="394"/>
                </a:cubicBezTo>
                <a:cubicBezTo>
                  <a:pt x="390" y="394"/>
                  <a:pt x="394" y="390"/>
                  <a:pt x="394" y="384"/>
                </a:cubicBezTo>
                <a:cubicBezTo>
                  <a:pt x="394" y="341"/>
                  <a:pt x="394" y="341"/>
                  <a:pt x="394" y="341"/>
                </a:cubicBezTo>
                <a:cubicBezTo>
                  <a:pt x="394" y="335"/>
                  <a:pt x="390" y="330"/>
                  <a:pt x="384" y="330"/>
                </a:cubicBezTo>
                <a:cubicBezTo>
                  <a:pt x="373" y="330"/>
                  <a:pt x="373" y="330"/>
                  <a:pt x="373" y="330"/>
                </a:cubicBezTo>
                <a:cubicBezTo>
                  <a:pt x="373" y="181"/>
                  <a:pt x="373" y="181"/>
                  <a:pt x="373" y="181"/>
                </a:cubicBezTo>
                <a:cubicBezTo>
                  <a:pt x="384" y="181"/>
                  <a:pt x="384" y="181"/>
                  <a:pt x="384" y="181"/>
                </a:cubicBezTo>
                <a:cubicBezTo>
                  <a:pt x="390" y="181"/>
                  <a:pt x="394" y="176"/>
                  <a:pt x="394" y="170"/>
                </a:cubicBezTo>
                <a:lnTo>
                  <a:pt x="394" y="128"/>
                </a:lnTo>
                <a:close/>
                <a:moveTo>
                  <a:pt x="352" y="330"/>
                </a:moveTo>
                <a:cubicBezTo>
                  <a:pt x="341" y="330"/>
                  <a:pt x="341" y="330"/>
                  <a:pt x="341" y="330"/>
                </a:cubicBezTo>
                <a:cubicBezTo>
                  <a:pt x="335" y="330"/>
                  <a:pt x="330" y="335"/>
                  <a:pt x="330" y="341"/>
                </a:cubicBezTo>
                <a:cubicBezTo>
                  <a:pt x="330" y="352"/>
                  <a:pt x="330" y="352"/>
                  <a:pt x="330" y="352"/>
                </a:cubicBezTo>
                <a:cubicBezTo>
                  <a:pt x="181" y="352"/>
                  <a:pt x="181" y="352"/>
                  <a:pt x="181" y="352"/>
                </a:cubicBezTo>
                <a:cubicBezTo>
                  <a:pt x="181" y="341"/>
                  <a:pt x="181" y="341"/>
                  <a:pt x="181" y="341"/>
                </a:cubicBezTo>
                <a:cubicBezTo>
                  <a:pt x="181" y="335"/>
                  <a:pt x="176" y="330"/>
                  <a:pt x="170" y="330"/>
                </a:cubicBezTo>
                <a:cubicBezTo>
                  <a:pt x="160" y="330"/>
                  <a:pt x="160" y="330"/>
                  <a:pt x="160" y="330"/>
                </a:cubicBezTo>
                <a:cubicBezTo>
                  <a:pt x="160" y="181"/>
                  <a:pt x="160" y="181"/>
                  <a:pt x="160" y="181"/>
                </a:cubicBezTo>
                <a:cubicBezTo>
                  <a:pt x="170" y="181"/>
                  <a:pt x="170" y="181"/>
                  <a:pt x="170" y="181"/>
                </a:cubicBezTo>
                <a:cubicBezTo>
                  <a:pt x="176" y="181"/>
                  <a:pt x="181" y="176"/>
                  <a:pt x="181" y="170"/>
                </a:cubicBezTo>
                <a:cubicBezTo>
                  <a:pt x="181" y="160"/>
                  <a:pt x="181" y="160"/>
                  <a:pt x="181" y="160"/>
                </a:cubicBezTo>
                <a:cubicBezTo>
                  <a:pt x="330" y="160"/>
                  <a:pt x="330" y="160"/>
                  <a:pt x="330" y="160"/>
                </a:cubicBezTo>
                <a:cubicBezTo>
                  <a:pt x="330" y="170"/>
                  <a:pt x="330" y="170"/>
                  <a:pt x="330" y="170"/>
                </a:cubicBezTo>
                <a:cubicBezTo>
                  <a:pt x="330" y="176"/>
                  <a:pt x="335" y="181"/>
                  <a:pt x="341" y="181"/>
                </a:cubicBezTo>
                <a:cubicBezTo>
                  <a:pt x="352" y="181"/>
                  <a:pt x="352" y="181"/>
                  <a:pt x="352" y="181"/>
                </a:cubicBezTo>
                <a:lnTo>
                  <a:pt x="352" y="330"/>
                </a:lnTo>
                <a:close/>
                <a:moveTo>
                  <a:pt x="320" y="234"/>
                </a:moveTo>
                <a:cubicBezTo>
                  <a:pt x="320" y="228"/>
                  <a:pt x="315" y="224"/>
                  <a:pt x="309" y="224"/>
                </a:cubicBezTo>
                <a:cubicBezTo>
                  <a:pt x="277" y="224"/>
                  <a:pt x="277" y="224"/>
                  <a:pt x="277" y="224"/>
                </a:cubicBezTo>
                <a:cubicBezTo>
                  <a:pt x="277" y="202"/>
                  <a:pt x="277" y="202"/>
                  <a:pt x="277" y="202"/>
                </a:cubicBezTo>
                <a:cubicBezTo>
                  <a:pt x="277" y="196"/>
                  <a:pt x="272" y="192"/>
                  <a:pt x="266" y="192"/>
                </a:cubicBezTo>
                <a:cubicBezTo>
                  <a:pt x="202" y="192"/>
                  <a:pt x="202" y="192"/>
                  <a:pt x="202" y="192"/>
                </a:cubicBezTo>
                <a:cubicBezTo>
                  <a:pt x="196" y="192"/>
                  <a:pt x="192" y="196"/>
                  <a:pt x="192" y="202"/>
                </a:cubicBezTo>
                <a:cubicBezTo>
                  <a:pt x="192" y="266"/>
                  <a:pt x="192" y="266"/>
                  <a:pt x="192" y="266"/>
                </a:cubicBezTo>
                <a:cubicBezTo>
                  <a:pt x="192" y="272"/>
                  <a:pt x="196" y="277"/>
                  <a:pt x="202" y="277"/>
                </a:cubicBezTo>
                <a:cubicBezTo>
                  <a:pt x="224" y="277"/>
                  <a:pt x="224" y="277"/>
                  <a:pt x="224" y="277"/>
                </a:cubicBezTo>
                <a:cubicBezTo>
                  <a:pt x="224" y="309"/>
                  <a:pt x="224" y="309"/>
                  <a:pt x="224" y="309"/>
                </a:cubicBezTo>
                <a:cubicBezTo>
                  <a:pt x="224" y="315"/>
                  <a:pt x="228" y="320"/>
                  <a:pt x="234" y="320"/>
                </a:cubicBezTo>
                <a:cubicBezTo>
                  <a:pt x="309" y="320"/>
                  <a:pt x="309" y="320"/>
                  <a:pt x="309" y="320"/>
                </a:cubicBezTo>
                <a:cubicBezTo>
                  <a:pt x="315" y="320"/>
                  <a:pt x="320" y="315"/>
                  <a:pt x="320" y="309"/>
                </a:cubicBezTo>
                <a:lnTo>
                  <a:pt x="320" y="23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77" name="Group 1023">
            <a:extLst>
              <a:ext uri="{FF2B5EF4-FFF2-40B4-BE49-F238E27FC236}">
                <a16:creationId xmlns:a16="http://schemas.microsoft.com/office/drawing/2014/main" id="{3A129F0B-8AD3-4C77-A88D-646D4724A1CF}"/>
              </a:ext>
            </a:extLst>
          </p:cNvPr>
          <p:cNvGrpSpPr>
            <a:grpSpLocks noChangeAspect="1"/>
          </p:cNvGrpSpPr>
          <p:nvPr/>
        </p:nvGrpSpPr>
        <p:grpSpPr bwMode="auto">
          <a:xfrm>
            <a:off x="7874843" y="4113334"/>
            <a:ext cx="367041" cy="367041"/>
            <a:chOff x="5852" y="4018"/>
            <a:chExt cx="340" cy="340"/>
          </a:xfrm>
          <a:solidFill>
            <a:schemeClr val="accent5"/>
          </a:solidFill>
        </p:grpSpPr>
        <p:sp>
          <p:nvSpPr>
            <p:cNvPr id="778" name="Freeform 1024">
              <a:extLst>
                <a:ext uri="{FF2B5EF4-FFF2-40B4-BE49-F238E27FC236}">
                  <a16:creationId xmlns:a16="http://schemas.microsoft.com/office/drawing/2014/main" id="{82C03226-E9AF-4613-BE34-563A966223FF}"/>
                </a:ext>
              </a:extLst>
            </p:cNvPr>
            <p:cNvSpPr>
              <a:spLocks noEditPoints="1"/>
            </p:cNvSpPr>
            <p:nvPr/>
          </p:nvSpPr>
          <p:spPr bwMode="auto">
            <a:xfrm>
              <a:off x="5852" y="40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9" name="Freeform 1025">
              <a:extLst>
                <a:ext uri="{FF2B5EF4-FFF2-40B4-BE49-F238E27FC236}">
                  <a16:creationId xmlns:a16="http://schemas.microsoft.com/office/drawing/2014/main" id="{B33F3027-F666-43A7-B2C8-0327B49F8D55}"/>
                </a:ext>
              </a:extLst>
            </p:cNvPr>
            <p:cNvSpPr>
              <a:spLocks noEditPoints="1"/>
            </p:cNvSpPr>
            <p:nvPr/>
          </p:nvSpPr>
          <p:spPr bwMode="auto">
            <a:xfrm>
              <a:off x="5930" y="4096"/>
              <a:ext cx="184" cy="184"/>
            </a:xfrm>
            <a:custGeom>
              <a:avLst/>
              <a:gdLst>
                <a:gd name="T0" fmla="*/ 277 w 277"/>
                <a:gd name="T1" fmla="*/ 53 h 277"/>
                <a:gd name="T2" fmla="*/ 267 w 277"/>
                <a:gd name="T3" fmla="*/ 0 h 277"/>
                <a:gd name="T4" fmla="*/ 213 w 277"/>
                <a:gd name="T5" fmla="*/ 11 h 277"/>
                <a:gd name="T6" fmla="*/ 64 w 277"/>
                <a:gd name="T7" fmla="*/ 21 h 277"/>
                <a:gd name="T8" fmla="*/ 53 w 277"/>
                <a:gd name="T9" fmla="*/ 0 h 277"/>
                <a:gd name="T10" fmla="*/ 0 w 277"/>
                <a:gd name="T11" fmla="*/ 11 h 277"/>
                <a:gd name="T12" fmla="*/ 11 w 277"/>
                <a:gd name="T13" fmla="*/ 64 h 277"/>
                <a:gd name="T14" fmla="*/ 21 w 277"/>
                <a:gd name="T15" fmla="*/ 213 h 277"/>
                <a:gd name="T16" fmla="*/ 0 w 277"/>
                <a:gd name="T17" fmla="*/ 224 h 277"/>
                <a:gd name="T18" fmla="*/ 11 w 277"/>
                <a:gd name="T19" fmla="*/ 277 h 277"/>
                <a:gd name="T20" fmla="*/ 64 w 277"/>
                <a:gd name="T21" fmla="*/ 267 h 277"/>
                <a:gd name="T22" fmla="*/ 213 w 277"/>
                <a:gd name="T23" fmla="*/ 256 h 277"/>
                <a:gd name="T24" fmla="*/ 224 w 277"/>
                <a:gd name="T25" fmla="*/ 277 h 277"/>
                <a:gd name="T26" fmla="*/ 277 w 277"/>
                <a:gd name="T27" fmla="*/ 267 h 277"/>
                <a:gd name="T28" fmla="*/ 267 w 277"/>
                <a:gd name="T29" fmla="*/ 213 h 277"/>
                <a:gd name="T30" fmla="*/ 256 w 277"/>
                <a:gd name="T31" fmla="*/ 64 h 277"/>
                <a:gd name="T32" fmla="*/ 235 w 277"/>
                <a:gd name="T33" fmla="*/ 21 h 277"/>
                <a:gd name="T34" fmla="*/ 256 w 277"/>
                <a:gd name="T35" fmla="*/ 43 h 277"/>
                <a:gd name="T36" fmla="*/ 235 w 277"/>
                <a:gd name="T37" fmla="*/ 21 h 277"/>
                <a:gd name="T38" fmla="*/ 43 w 277"/>
                <a:gd name="T39" fmla="*/ 21 h 277"/>
                <a:gd name="T40" fmla="*/ 21 w 277"/>
                <a:gd name="T41" fmla="*/ 43 h 277"/>
                <a:gd name="T42" fmla="*/ 43 w 277"/>
                <a:gd name="T43" fmla="*/ 256 h 277"/>
                <a:gd name="T44" fmla="*/ 21 w 277"/>
                <a:gd name="T45" fmla="*/ 235 h 277"/>
                <a:gd name="T46" fmla="*/ 43 w 277"/>
                <a:gd name="T47" fmla="*/ 256 h 277"/>
                <a:gd name="T48" fmla="*/ 235 w 277"/>
                <a:gd name="T49" fmla="*/ 256 h 277"/>
                <a:gd name="T50" fmla="*/ 256 w 277"/>
                <a:gd name="T51" fmla="*/ 235 h 277"/>
                <a:gd name="T52" fmla="*/ 235 w 277"/>
                <a:gd name="T53" fmla="*/ 213 h 277"/>
                <a:gd name="T54" fmla="*/ 213 w 277"/>
                <a:gd name="T55" fmla="*/ 224 h 277"/>
                <a:gd name="T56" fmla="*/ 64 w 277"/>
                <a:gd name="T57" fmla="*/ 235 h 277"/>
                <a:gd name="T58" fmla="*/ 53 w 277"/>
                <a:gd name="T59" fmla="*/ 213 h 277"/>
                <a:gd name="T60" fmla="*/ 43 w 277"/>
                <a:gd name="T61" fmla="*/ 64 h 277"/>
                <a:gd name="T62" fmla="*/ 64 w 277"/>
                <a:gd name="T63" fmla="*/ 53 h 277"/>
                <a:gd name="T64" fmla="*/ 213 w 277"/>
                <a:gd name="T65" fmla="*/ 43 h 277"/>
                <a:gd name="T66" fmla="*/ 224 w 277"/>
                <a:gd name="T67" fmla="*/ 64 h 277"/>
                <a:gd name="T68" fmla="*/ 235 w 277"/>
                <a:gd name="T69" fmla="*/ 213 h 277"/>
                <a:gd name="T70" fmla="*/ 160 w 277"/>
                <a:gd name="T71" fmla="*/ 107 h 277"/>
                <a:gd name="T72" fmla="*/ 149 w 277"/>
                <a:gd name="T73" fmla="*/ 75 h 277"/>
                <a:gd name="T74" fmla="*/ 75 w 277"/>
                <a:gd name="T75" fmla="*/ 85 h 277"/>
                <a:gd name="T76" fmla="*/ 85 w 277"/>
                <a:gd name="T77" fmla="*/ 160 h 277"/>
                <a:gd name="T78" fmla="*/ 107 w 277"/>
                <a:gd name="T79" fmla="*/ 192 h 277"/>
                <a:gd name="T80" fmla="*/ 192 w 277"/>
                <a:gd name="T81" fmla="*/ 203 h 277"/>
                <a:gd name="T82" fmla="*/ 203 w 277"/>
                <a:gd name="T83" fmla="*/ 117 h 277"/>
                <a:gd name="T84" fmla="*/ 96 w 277"/>
                <a:gd name="T85" fmla="*/ 139 h 277"/>
                <a:gd name="T86" fmla="*/ 139 w 277"/>
                <a:gd name="T87" fmla="*/ 96 h 277"/>
                <a:gd name="T88" fmla="*/ 96 w 277"/>
                <a:gd name="T89" fmla="*/ 139 h 277"/>
                <a:gd name="T90" fmla="*/ 128 w 277"/>
                <a:gd name="T91" fmla="*/ 181 h 277"/>
                <a:gd name="T92" fmla="*/ 149 w 277"/>
                <a:gd name="T93" fmla="*/ 160 h 277"/>
                <a:gd name="T94" fmla="*/ 160 w 277"/>
                <a:gd name="T95" fmla="*/ 128 h 277"/>
                <a:gd name="T96" fmla="*/ 181 w 277"/>
                <a:gd name="T97"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277">
                  <a:moveTo>
                    <a:pt x="267" y="64"/>
                  </a:moveTo>
                  <a:cubicBezTo>
                    <a:pt x="273" y="64"/>
                    <a:pt x="277" y="59"/>
                    <a:pt x="277" y="53"/>
                  </a:cubicBezTo>
                  <a:cubicBezTo>
                    <a:pt x="277" y="11"/>
                    <a:pt x="277" y="11"/>
                    <a:pt x="277" y="11"/>
                  </a:cubicBezTo>
                  <a:cubicBezTo>
                    <a:pt x="277" y="5"/>
                    <a:pt x="273" y="0"/>
                    <a:pt x="267" y="0"/>
                  </a:cubicBezTo>
                  <a:cubicBezTo>
                    <a:pt x="224" y="0"/>
                    <a:pt x="224" y="0"/>
                    <a:pt x="224" y="0"/>
                  </a:cubicBezTo>
                  <a:cubicBezTo>
                    <a:pt x="218" y="0"/>
                    <a:pt x="213" y="5"/>
                    <a:pt x="213" y="11"/>
                  </a:cubicBezTo>
                  <a:cubicBezTo>
                    <a:pt x="213" y="21"/>
                    <a:pt x="213" y="21"/>
                    <a:pt x="213" y="21"/>
                  </a:cubicBezTo>
                  <a:cubicBezTo>
                    <a:pt x="64" y="21"/>
                    <a:pt x="64" y="21"/>
                    <a:pt x="64" y="21"/>
                  </a:cubicBezTo>
                  <a:cubicBezTo>
                    <a:pt x="64" y="11"/>
                    <a:pt x="64" y="11"/>
                    <a:pt x="64" y="11"/>
                  </a:cubicBezTo>
                  <a:cubicBezTo>
                    <a:pt x="64" y="5"/>
                    <a:pt x="59" y="0"/>
                    <a:pt x="53" y="0"/>
                  </a:cubicBezTo>
                  <a:cubicBezTo>
                    <a:pt x="11" y="0"/>
                    <a:pt x="11" y="0"/>
                    <a:pt x="11" y="0"/>
                  </a:cubicBezTo>
                  <a:cubicBezTo>
                    <a:pt x="5" y="0"/>
                    <a:pt x="0" y="5"/>
                    <a:pt x="0" y="11"/>
                  </a:cubicBezTo>
                  <a:cubicBezTo>
                    <a:pt x="0" y="53"/>
                    <a:pt x="0" y="53"/>
                    <a:pt x="0" y="53"/>
                  </a:cubicBezTo>
                  <a:cubicBezTo>
                    <a:pt x="0" y="59"/>
                    <a:pt x="5" y="64"/>
                    <a:pt x="11" y="64"/>
                  </a:cubicBezTo>
                  <a:cubicBezTo>
                    <a:pt x="21" y="64"/>
                    <a:pt x="21" y="64"/>
                    <a:pt x="21" y="64"/>
                  </a:cubicBezTo>
                  <a:cubicBezTo>
                    <a:pt x="21" y="213"/>
                    <a:pt x="21" y="213"/>
                    <a:pt x="21" y="213"/>
                  </a:cubicBezTo>
                  <a:cubicBezTo>
                    <a:pt x="11" y="213"/>
                    <a:pt x="11" y="213"/>
                    <a:pt x="11" y="213"/>
                  </a:cubicBezTo>
                  <a:cubicBezTo>
                    <a:pt x="5" y="213"/>
                    <a:pt x="0" y="218"/>
                    <a:pt x="0" y="224"/>
                  </a:cubicBezTo>
                  <a:cubicBezTo>
                    <a:pt x="0" y="267"/>
                    <a:pt x="0" y="267"/>
                    <a:pt x="0" y="267"/>
                  </a:cubicBezTo>
                  <a:cubicBezTo>
                    <a:pt x="0" y="273"/>
                    <a:pt x="5" y="277"/>
                    <a:pt x="11" y="277"/>
                  </a:cubicBezTo>
                  <a:cubicBezTo>
                    <a:pt x="53" y="277"/>
                    <a:pt x="53" y="277"/>
                    <a:pt x="53" y="277"/>
                  </a:cubicBezTo>
                  <a:cubicBezTo>
                    <a:pt x="59" y="277"/>
                    <a:pt x="64" y="273"/>
                    <a:pt x="64" y="267"/>
                  </a:cubicBezTo>
                  <a:cubicBezTo>
                    <a:pt x="64" y="256"/>
                    <a:pt x="64" y="256"/>
                    <a:pt x="64" y="256"/>
                  </a:cubicBezTo>
                  <a:cubicBezTo>
                    <a:pt x="213" y="256"/>
                    <a:pt x="213" y="256"/>
                    <a:pt x="213" y="256"/>
                  </a:cubicBezTo>
                  <a:cubicBezTo>
                    <a:pt x="213" y="267"/>
                    <a:pt x="213" y="267"/>
                    <a:pt x="213" y="267"/>
                  </a:cubicBezTo>
                  <a:cubicBezTo>
                    <a:pt x="213" y="273"/>
                    <a:pt x="218" y="277"/>
                    <a:pt x="224" y="277"/>
                  </a:cubicBezTo>
                  <a:cubicBezTo>
                    <a:pt x="267" y="277"/>
                    <a:pt x="267" y="277"/>
                    <a:pt x="267" y="277"/>
                  </a:cubicBezTo>
                  <a:cubicBezTo>
                    <a:pt x="273" y="277"/>
                    <a:pt x="277" y="273"/>
                    <a:pt x="277" y="267"/>
                  </a:cubicBezTo>
                  <a:cubicBezTo>
                    <a:pt x="277" y="224"/>
                    <a:pt x="277" y="224"/>
                    <a:pt x="277" y="224"/>
                  </a:cubicBezTo>
                  <a:cubicBezTo>
                    <a:pt x="277" y="218"/>
                    <a:pt x="273" y="213"/>
                    <a:pt x="267" y="213"/>
                  </a:cubicBezTo>
                  <a:cubicBezTo>
                    <a:pt x="256" y="213"/>
                    <a:pt x="256" y="213"/>
                    <a:pt x="256" y="213"/>
                  </a:cubicBezTo>
                  <a:cubicBezTo>
                    <a:pt x="256" y="64"/>
                    <a:pt x="256" y="64"/>
                    <a:pt x="256" y="64"/>
                  </a:cubicBezTo>
                  <a:lnTo>
                    <a:pt x="267" y="64"/>
                  </a:lnTo>
                  <a:close/>
                  <a:moveTo>
                    <a:pt x="235" y="21"/>
                  </a:moveTo>
                  <a:cubicBezTo>
                    <a:pt x="256" y="21"/>
                    <a:pt x="256" y="21"/>
                    <a:pt x="256" y="21"/>
                  </a:cubicBezTo>
                  <a:cubicBezTo>
                    <a:pt x="256" y="43"/>
                    <a:pt x="256" y="43"/>
                    <a:pt x="256" y="43"/>
                  </a:cubicBezTo>
                  <a:cubicBezTo>
                    <a:pt x="235" y="43"/>
                    <a:pt x="235" y="43"/>
                    <a:pt x="235" y="43"/>
                  </a:cubicBezTo>
                  <a:lnTo>
                    <a:pt x="235" y="21"/>
                  </a:lnTo>
                  <a:close/>
                  <a:moveTo>
                    <a:pt x="21" y="21"/>
                  </a:moveTo>
                  <a:cubicBezTo>
                    <a:pt x="43" y="21"/>
                    <a:pt x="43" y="21"/>
                    <a:pt x="43" y="21"/>
                  </a:cubicBezTo>
                  <a:cubicBezTo>
                    <a:pt x="43" y="43"/>
                    <a:pt x="43" y="43"/>
                    <a:pt x="43" y="43"/>
                  </a:cubicBezTo>
                  <a:cubicBezTo>
                    <a:pt x="21" y="43"/>
                    <a:pt x="21" y="43"/>
                    <a:pt x="21" y="43"/>
                  </a:cubicBezTo>
                  <a:lnTo>
                    <a:pt x="21" y="21"/>
                  </a:lnTo>
                  <a:close/>
                  <a:moveTo>
                    <a:pt x="43" y="256"/>
                  </a:moveTo>
                  <a:cubicBezTo>
                    <a:pt x="21" y="256"/>
                    <a:pt x="21" y="256"/>
                    <a:pt x="21" y="256"/>
                  </a:cubicBezTo>
                  <a:cubicBezTo>
                    <a:pt x="21" y="235"/>
                    <a:pt x="21" y="235"/>
                    <a:pt x="21" y="235"/>
                  </a:cubicBezTo>
                  <a:cubicBezTo>
                    <a:pt x="43" y="235"/>
                    <a:pt x="43" y="235"/>
                    <a:pt x="43" y="235"/>
                  </a:cubicBezTo>
                  <a:lnTo>
                    <a:pt x="43" y="256"/>
                  </a:lnTo>
                  <a:close/>
                  <a:moveTo>
                    <a:pt x="256" y="256"/>
                  </a:moveTo>
                  <a:cubicBezTo>
                    <a:pt x="235" y="256"/>
                    <a:pt x="235" y="256"/>
                    <a:pt x="235" y="256"/>
                  </a:cubicBezTo>
                  <a:cubicBezTo>
                    <a:pt x="235" y="235"/>
                    <a:pt x="235" y="235"/>
                    <a:pt x="235" y="235"/>
                  </a:cubicBezTo>
                  <a:cubicBezTo>
                    <a:pt x="256" y="235"/>
                    <a:pt x="256" y="235"/>
                    <a:pt x="256" y="235"/>
                  </a:cubicBezTo>
                  <a:lnTo>
                    <a:pt x="256" y="256"/>
                  </a:lnTo>
                  <a:close/>
                  <a:moveTo>
                    <a:pt x="235" y="213"/>
                  </a:moveTo>
                  <a:cubicBezTo>
                    <a:pt x="224" y="213"/>
                    <a:pt x="224" y="213"/>
                    <a:pt x="224" y="213"/>
                  </a:cubicBezTo>
                  <a:cubicBezTo>
                    <a:pt x="218" y="213"/>
                    <a:pt x="213" y="218"/>
                    <a:pt x="213" y="224"/>
                  </a:cubicBezTo>
                  <a:cubicBezTo>
                    <a:pt x="213" y="235"/>
                    <a:pt x="213" y="235"/>
                    <a:pt x="213" y="235"/>
                  </a:cubicBezTo>
                  <a:cubicBezTo>
                    <a:pt x="64" y="235"/>
                    <a:pt x="64" y="235"/>
                    <a:pt x="64" y="235"/>
                  </a:cubicBezTo>
                  <a:cubicBezTo>
                    <a:pt x="64" y="224"/>
                    <a:pt x="64" y="224"/>
                    <a:pt x="64" y="224"/>
                  </a:cubicBezTo>
                  <a:cubicBezTo>
                    <a:pt x="64" y="218"/>
                    <a:pt x="59" y="213"/>
                    <a:pt x="53" y="213"/>
                  </a:cubicBezTo>
                  <a:cubicBezTo>
                    <a:pt x="43" y="213"/>
                    <a:pt x="43" y="213"/>
                    <a:pt x="43" y="213"/>
                  </a:cubicBezTo>
                  <a:cubicBezTo>
                    <a:pt x="43" y="64"/>
                    <a:pt x="43" y="64"/>
                    <a:pt x="43" y="64"/>
                  </a:cubicBezTo>
                  <a:cubicBezTo>
                    <a:pt x="53" y="64"/>
                    <a:pt x="53" y="64"/>
                    <a:pt x="53" y="64"/>
                  </a:cubicBezTo>
                  <a:cubicBezTo>
                    <a:pt x="59" y="64"/>
                    <a:pt x="64" y="59"/>
                    <a:pt x="64" y="53"/>
                  </a:cubicBezTo>
                  <a:cubicBezTo>
                    <a:pt x="64" y="43"/>
                    <a:pt x="64" y="43"/>
                    <a:pt x="64" y="43"/>
                  </a:cubicBezTo>
                  <a:cubicBezTo>
                    <a:pt x="213" y="43"/>
                    <a:pt x="213" y="43"/>
                    <a:pt x="213" y="43"/>
                  </a:cubicBezTo>
                  <a:cubicBezTo>
                    <a:pt x="213" y="53"/>
                    <a:pt x="213" y="53"/>
                    <a:pt x="213" y="53"/>
                  </a:cubicBezTo>
                  <a:cubicBezTo>
                    <a:pt x="213" y="59"/>
                    <a:pt x="218" y="64"/>
                    <a:pt x="224" y="64"/>
                  </a:cubicBezTo>
                  <a:cubicBezTo>
                    <a:pt x="235" y="64"/>
                    <a:pt x="235" y="64"/>
                    <a:pt x="235" y="64"/>
                  </a:cubicBezTo>
                  <a:lnTo>
                    <a:pt x="235" y="213"/>
                  </a:lnTo>
                  <a:close/>
                  <a:moveTo>
                    <a:pt x="192" y="107"/>
                  </a:moveTo>
                  <a:cubicBezTo>
                    <a:pt x="160" y="107"/>
                    <a:pt x="160" y="107"/>
                    <a:pt x="160" y="107"/>
                  </a:cubicBezTo>
                  <a:cubicBezTo>
                    <a:pt x="160" y="85"/>
                    <a:pt x="160" y="85"/>
                    <a:pt x="160" y="85"/>
                  </a:cubicBezTo>
                  <a:cubicBezTo>
                    <a:pt x="160" y="79"/>
                    <a:pt x="155" y="75"/>
                    <a:pt x="149" y="75"/>
                  </a:cubicBezTo>
                  <a:cubicBezTo>
                    <a:pt x="85" y="75"/>
                    <a:pt x="85" y="75"/>
                    <a:pt x="85" y="75"/>
                  </a:cubicBezTo>
                  <a:cubicBezTo>
                    <a:pt x="79" y="75"/>
                    <a:pt x="75" y="79"/>
                    <a:pt x="75" y="85"/>
                  </a:cubicBezTo>
                  <a:cubicBezTo>
                    <a:pt x="75" y="149"/>
                    <a:pt x="75" y="149"/>
                    <a:pt x="75" y="149"/>
                  </a:cubicBezTo>
                  <a:cubicBezTo>
                    <a:pt x="75" y="155"/>
                    <a:pt x="79" y="160"/>
                    <a:pt x="85" y="160"/>
                  </a:cubicBezTo>
                  <a:cubicBezTo>
                    <a:pt x="107" y="160"/>
                    <a:pt x="107" y="160"/>
                    <a:pt x="107" y="160"/>
                  </a:cubicBezTo>
                  <a:cubicBezTo>
                    <a:pt x="107" y="192"/>
                    <a:pt x="107" y="192"/>
                    <a:pt x="107" y="192"/>
                  </a:cubicBezTo>
                  <a:cubicBezTo>
                    <a:pt x="107" y="198"/>
                    <a:pt x="111" y="203"/>
                    <a:pt x="117" y="203"/>
                  </a:cubicBezTo>
                  <a:cubicBezTo>
                    <a:pt x="192" y="203"/>
                    <a:pt x="192" y="203"/>
                    <a:pt x="192" y="203"/>
                  </a:cubicBezTo>
                  <a:cubicBezTo>
                    <a:pt x="198" y="203"/>
                    <a:pt x="203" y="198"/>
                    <a:pt x="203" y="192"/>
                  </a:cubicBezTo>
                  <a:cubicBezTo>
                    <a:pt x="203" y="117"/>
                    <a:pt x="203" y="117"/>
                    <a:pt x="203" y="117"/>
                  </a:cubicBezTo>
                  <a:cubicBezTo>
                    <a:pt x="203" y="111"/>
                    <a:pt x="198" y="107"/>
                    <a:pt x="192" y="107"/>
                  </a:cubicBezTo>
                  <a:close/>
                  <a:moveTo>
                    <a:pt x="96" y="139"/>
                  </a:moveTo>
                  <a:cubicBezTo>
                    <a:pt x="96" y="96"/>
                    <a:pt x="96" y="96"/>
                    <a:pt x="96" y="96"/>
                  </a:cubicBezTo>
                  <a:cubicBezTo>
                    <a:pt x="139" y="96"/>
                    <a:pt x="139" y="96"/>
                    <a:pt x="139" y="96"/>
                  </a:cubicBezTo>
                  <a:cubicBezTo>
                    <a:pt x="139" y="139"/>
                    <a:pt x="139" y="139"/>
                    <a:pt x="139" y="139"/>
                  </a:cubicBezTo>
                  <a:lnTo>
                    <a:pt x="96" y="139"/>
                  </a:lnTo>
                  <a:close/>
                  <a:moveTo>
                    <a:pt x="181" y="181"/>
                  </a:moveTo>
                  <a:cubicBezTo>
                    <a:pt x="128" y="181"/>
                    <a:pt x="128" y="181"/>
                    <a:pt x="128" y="181"/>
                  </a:cubicBezTo>
                  <a:cubicBezTo>
                    <a:pt x="128" y="160"/>
                    <a:pt x="128" y="160"/>
                    <a:pt x="128" y="160"/>
                  </a:cubicBezTo>
                  <a:cubicBezTo>
                    <a:pt x="149" y="160"/>
                    <a:pt x="149" y="160"/>
                    <a:pt x="149" y="160"/>
                  </a:cubicBezTo>
                  <a:cubicBezTo>
                    <a:pt x="155" y="160"/>
                    <a:pt x="160" y="155"/>
                    <a:pt x="160" y="149"/>
                  </a:cubicBezTo>
                  <a:cubicBezTo>
                    <a:pt x="160" y="128"/>
                    <a:pt x="160" y="128"/>
                    <a:pt x="160" y="128"/>
                  </a:cubicBezTo>
                  <a:cubicBezTo>
                    <a:pt x="181" y="128"/>
                    <a:pt x="181" y="128"/>
                    <a:pt x="181" y="128"/>
                  </a:cubicBezTo>
                  <a:lnTo>
                    <a:pt x="181"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80" name="Freeform 1029">
            <a:extLst>
              <a:ext uri="{FF2B5EF4-FFF2-40B4-BE49-F238E27FC236}">
                <a16:creationId xmlns:a16="http://schemas.microsoft.com/office/drawing/2014/main" id="{6030FBA5-A8DC-43A6-8FE9-A353C15720BA}"/>
              </a:ext>
            </a:extLst>
          </p:cNvPr>
          <p:cNvSpPr>
            <a:spLocks noChangeAspect="1" noEditPoints="1"/>
          </p:cNvSpPr>
          <p:nvPr/>
        </p:nvSpPr>
        <p:spPr bwMode="auto">
          <a:xfrm>
            <a:off x="8310070" y="4113334"/>
            <a:ext cx="367041" cy="367041"/>
          </a:xfrm>
          <a:custGeom>
            <a:avLst/>
            <a:gdLst>
              <a:gd name="T0" fmla="*/ 181 w 512"/>
              <a:gd name="T1" fmla="*/ 277 h 512"/>
              <a:gd name="T2" fmla="*/ 160 w 512"/>
              <a:gd name="T3" fmla="*/ 202 h 512"/>
              <a:gd name="T4" fmla="*/ 181 w 512"/>
              <a:gd name="T5" fmla="*/ 181 h 512"/>
              <a:gd name="T6" fmla="*/ 256 w 512"/>
              <a:gd name="T7" fmla="*/ 202 h 512"/>
              <a:gd name="T8" fmla="*/ 256 w 512"/>
              <a:gd name="T9" fmla="*/ 266 h 512"/>
              <a:gd name="T10" fmla="*/ 160 w 512"/>
              <a:gd name="T11" fmla="*/ 160 h 512"/>
              <a:gd name="T12" fmla="*/ 160 w 512"/>
              <a:gd name="T13" fmla="*/ 181 h 512"/>
              <a:gd name="T14" fmla="*/ 266 w 512"/>
              <a:gd name="T15" fmla="*/ 160 h 512"/>
              <a:gd name="T16" fmla="*/ 288 w 512"/>
              <a:gd name="T17" fmla="*/ 160 h 512"/>
              <a:gd name="T18" fmla="*/ 224 w 512"/>
              <a:gd name="T19" fmla="*/ 352 h 512"/>
              <a:gd name="T20" fmla="*/ 266 w 512"/>
              <a:gd name="T21" fmla="*/ 309 h 512"/>
              <a:gd name="T22" fmla="*/ 266 w 512"/>
              <a:gd name="T23" fmla="*/ 288 h 512"/>
              <a:gd name="T24" fmla="*/ 160 w 512"/>
              <a:gd name="T25" fmla="*/ 309 h 512"/>
              <a:gd name="T26" fmla="*/ 138 w 512"/>
              <a:gd name="T27" fmla="*/ 309 h 512"/>
              <a:gd name="T28" fmla="*/ 0 w 512"/>
              <a:gd name="T29" fmla="*/ 256 h 512"/>
              <a:gd name="T30" fmla="*/ 373 w 512"/>
              <a:gd name="T31" fmla="*/ 213 h 512"/>
              <a:gd name="T32" fmla="*/ 309 w 512"/>
              <a:gd name="T33" fmla="*/ 213 h 512"/>
              <a:gd name="T34" fmla="*/ 288 w 512"/>
              <a:gd name="T35" fmla="*/ 202 h 512"/>
              <a:gd name="T36" fmla="*/ 309 w 512"/>
              <a:gd name="T37" fmla="*/ 149 h 512"/>
              <a:gd name="T38" fmla="*/ 245 w 512"/>
              <a:gd name="T39" fmla="*/ 149 h 512"/>
              <a:gd name="T40" fmla="*/ 181 w 512"/>
              <a:gd name="T41" fmla="*/ 149 h 512"/>
              <a:gd name="T42" fmla="*/ 117 w 512"/>
              <a:gd name="T43" fmla="*/ 149 h 512"/>
              <a:gd name="T44" fmla="*/ 138 w 512"/>
              <a:gd name="T45" fmla="*/ 202 h 512"/>
              <a:gd name="T46" fmla="*/ 117 w 512"/>
              <a:gd name="T47" fmla="*/ 277 h 512"/>
              <a:gd name="T48" fmla="*/ 170 w 512"/>
              <a:gd name="T49" fmla="*/ 330 h 512"/>
              <a:gd name="T50" fmla="*/ 202 w 512"/>
              <a:gd name="T51" fmla="*/ 309 h 512"/>
              <a:gd name="T52" fmla="*/ 181 w 512"/>
              <a:gd name="T53" fmla="*/ 341 h 512"/>
              <a:gd name="T54" fmla="*/ 234 w 512"/>
              <a:gd name="T55" fmla="*/ 394 h 512"/>
              <a:gd name="T56" fmla="*/ 309 w 512"/>
              <a:gd name="T57" fmla="*/ 373 h 512"/>
              <a:gd name="T58" fmla="*/ 362 w 512"/>
              <a:gd name="T59" fmla="*/ 394 h 512"/>
              <a:gd name="T60" fmla="*/ 362 w 512"/>
              <a:gd name="T61" fmla="*/ 330 h 512"/>
              <a:gd name="T62" fmla="*/ 362 w 512"/>
              <a:gd name="T63" fmla="*/ 266 h 512"/>
              <a:gd name="T64" fmla="*/ 330 w 512"/>
              <a:gd name="T65" fmla="*/ 266 h 512"/>
              <a:gd name="T66" fmla="*/ 309 w 512"/>
              <a:gd name="T67" fmla="*/ 245 h 512"/>
              <a:gd name="T68" fmla="*/ 298 w 512"/>
              <a:gd name="T69" fmla="*/ 266 h 512"/>
              <a:gd name="T70" fmla="*/ 298 w 512"/>
              <a:gd name="T71" fmla="*/ 330 h 512"/>
              <a:gd name="T72" fmla="*/ 245 w 512"/>
              <a:gd name="T73" fmla="*/ 309 h 512"/>
              <a:gd name="T74" fmla="*/ 234 w 512"/>
              <a:gd name="T75" fmla="*/ 330 h 512"/>
              <a:gd name="T76" fmla="*/ 309 w 512"/>
              <a:gd name="T77" fmla="*/ 352 h 512"/>
              <a:gd name="T78" fmla="*/ 330 w 512"/>
              <a:gd name="T79" fmla="*/ 330 h 512"/>
              <a:gd name="T80" fmla="*/ 352 w 512"/>
              <a:gd name="T81" fmla="*/ 245 h 512"/>
              <a:gd name="T82" fmla="*/ 330 w 512"/>
              <a:gd name="T83" fmla="*/ 245 h 512"/>
              <a:gd name="T84" fmla="*/ 352 w 512"/>
              <a:gd name="T8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45" y="288"/>
                </a:moveTo>
                <a:cubicBezTo>
                  <a:pt x="181" y="288"/>
                  <a:pt x="181" y="288"/>
                  <a:pt x="181" y="288"/>
                </a:cubicBezTo>
                <a:cubicBezTo>
                  <a:pt x="181" y="277"/>
                  <a:pt x="181" y="277"/>
                  <a:pt x="181" y="277"/>
                </a:cubicBezTo>
                <a:cubicBezTo>
                  <a:pt x="181" y="271"/>
                  <a:pt x="176" y="266"/>
                  <a:pt x="170" y="266"/>
                </a:cubicBezTo>
                <a:cubicBezTo>
                  <a:pt x="160" y="266"/>
                  <a:pt x="160" y="266"/>
                  <a:pt x="160" y="266"/>
                </a:cubicBezTo>
                <a:cubicBezTo>
                  <a:pt x="160" y="202"/>
                  <a:pt x="160" y="202"/>
                  <a:pt x="160" y="202"/>
                </a:cubicBezTo>
                <a:cubicBezTo>
                  <a:pt x="170" y="202"/>
                  <a:pt x="170" y="202"/>
                  <a:pt x="170" y="202"/>
                </a:cubicBezTo>
                <a:cubicBezTo>
                  <a:pt x="176" y="202"/>
                  <a:pt x="181" y="198"/>
                  <a:pt x="181" y="192"/>
                </a:cubicBezTo>
                <a:cubicBezTo>
                  <a:pt x="181" y="181"/>
                  <a:pt x="181" y="181"/>
                  <a:pt x="181" y="181"/>
                </a:cubicBezTo>
                <a:cubicBezTo>
                  <a:pt x="245" y="181"/>
                  <a:pt x="245" y="181"/>
                  <a:pt x="245" y="181"/>
                </a:cubicBezTo>
                <a:cubicBezTo>
                  <a:pt x="245" y="192"/>
                  <a:pt x="245" y="192"/>
                  <a:pt x="245" y="192"/>
                </a:cubicBezTo>
                <a:cubicBezTo>
                  <a:pt x="245" y="198"/>
                  <a:pt x="250" y="202"/>
                  <a:pt x="256" y="202"/>
                </a:cubicBezTo>
                <a:cubicBezTo>
                  <a:pt x="266" y="202"/>
                  <a:pt x="266" y="202"/>
                  <a:pt x="266" y="202"/>
                </a:cubicBezTo>
                <a:cubicBezTo>
                  <a:pt x="266" y="266"/>
                  <a:pt x="266" y="266"/>
                  <a:pt x="266" y="266"/>
                </a:cubicBezTo>
                <a:cubicBezTo>
                  <a:pt x="256" y="266"/>
                  <a:pt x="256" y="266"/>
                  <a:pt x="256" y="266"/>
                </a:cubicBezTo>
                <a:cubicBezTo>
                  <a:pt x="250" y="266"/>
                  <a:pt x="245" y="271"/>
                  <a:pt x="245" y="277"/>
                </a:cubicBezTo>
                <a:lnTo>
                  <a:pt x="245" y="288"/>
                </a:lnTo>
                <a:close/>
                <a:moveTo>
                  <a:pt x="160" y="160"/>
                </a:moveTo>
                <a:cubicBezTo>
                  <a:pt x="138" y="160"/>
                  <a:pt x="138" y="160"/>
                  <a:pt x="138" y="160"/>
                </a:cubicBezTo>
                <a:cubicBezTo>
                  <a:pt x="138" y="181"/>
                  <a:pt x="138" y="181"/>
                  <a:pt x="138" y="181"/>
                </a:cubicBezTo>
                <a:cubicBezTo>
                  <a:pt x="160" y="181"/>
                  <a:pt x="160" y="181"/>
                  <a:pt x="160" y="181"/>
                </a:cubicBezTo>
                <a:lnTo>
                  <a:pt x="160" y="160"/>
                </a:lnTo>
                <a:close/>
                <a:moveTo>
                  <a:pt x="288" y="160"/>
                </a:moveTo>
                <a:cubicBezTo>
                  <a:pt x="266" y="160"/>
                  <a:pt x="266" y="160"/>
                  <a:pt x="266" y="160"/>
                </a:cubicBezTo>
                <a:cubicBezTo>
                  <a:pt x="266" y="181"/>
                  <a:pt x="266" y="181"/>
                  <a:pt x="266" y="181"/>
                </a:cubicBezTo>
                <a:cubicBezTo>
                  <a:pt x="288" y="181"/>
                  <a:pt x="288" y="181"/>
                  <a:pt x="288" y="181"/>
                </a:cubicBezTo>
                <a:lnTo>
                  <a:pt x="288" y="160"/>
                </a:lnTo>
                <a:close/>
                <a:moveTo>
                  <a:pt x="202" y="373"/>
                </a:moveTo>
                <a:cubicBezTo>
                  <a:pt x="224" y="373"/>
                  <a:pt x="224" y="373"/>
                  <a:pt x="224" y="373"/>
                </a:cubicBezTo>
                <a:cubicBezTo>
                  <a:pt x="224" y="352"/>
                  <a:pt x="224" y="352"/>
                  <a:pt x="224" y="352"/>
                </a:cubicBezTo>
                <a:cubicBezTo>
                  <a:pt x="202" y="352"/>
                  <a:pt x="202" y="352"/>
                  <a:pt x="202" y="352"/>
                </a:cubicBezTo>
                <a:lnTo>
                  <a:pt x="202" y="373"/>
                </a:lnTo>
                <a:close/>
                <a:moveTo>
                  <a:pt x="266" y="309"/>
                </a:moveTo>
                <a:cubicBezTo>
                  <a:pt x="288" y="309"/>
                  <a:pt x="288" y="309"/>
                  <a:pt x="288" y="309"/>
                </a:cubicBezTo>
                <a:cubicBezTo>
                  <a:pt x="288" y="288"/>
                  <a:pt x="288" y="288"/>
                  <a:pt x="288" y="288"/>
                </a:cubicBezTo>
                <a:cubicBezTo>
                  <a:pt x="266" y="288"/>
                  <a:pt x="266" y="288"/>
                  <a:pt x="266" y="288"/>
                </a:cubicBezTo>
                <a:lnTo>
                  <a:pt x="266" y="309"/>
                </a:lnTo>
                <a:close/>
                <a:moveTo>
                  <a:pt x="138" y="309"/>
                </a:moveTo>
                <a:cubicBezTo>
                  <a:pt x="160" y="309"/>
                  <a:pt x="160" y="309"/>
                  <a:pt x="160" y="309"/>
                </a:cubicBezTo>
                <a:cubicBezTo>
                  <a:pt x="160" y="288"/>
                  <a:pt x="160" y="288"/>
                  <a:pt x="160" y="288"/>
                </a:cubicBezTo>
                <a:cubicBezTo>
                  <a:pt x="138" y="288"/>
                  <a:pt x="138" y="288"/>
                  <a:pt x="138" y="288"/>
                </a:cubicBezTo>
                <a:lnTo>
                  <a:pt x="138"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320" y="202"/>
                  <a:pt x="320" y="202"/>
                  <a:pt x="320" y="202"/>
                </a:cubicBezTo>
                <a:cubicBezTo>
                  <a:pt x="314" y="202"/>
                  <a:pt x="309" y="207"/>
                  <a:pt x="309" y="213"/>
                </a:cubicBezTo>
                <a:cubicBezTo>
                  <a:pt x="309" y="224"/>
                  <a:pt x="309" y="224"/>
                  <a:pt x="309" y="224"/>
                </a:cubicBezTo>
                <a:cubicBezTo>
                  <a:pt x="288" y="224"/>
                  <a:pt x="288" y="224"/>
                  <a:pt x="288" y="224"/>
                </a:cubicBezTo>
                <a:cubicBezTo>
                  <a:pt x="288" y="202"/>
                  <a:pt x="288" y="202"/>
                  <a:pt x="288" y="202"/>
                </a:cubicBezTo>
                <a:cubicBezTo>
                  <a:pt x="298" y="202"/>
                  <a:pt x="298" y="202"/>
                  <a:pt x="298" y="202"/>
                </a:cubicBezTo>
                <a:cubicBezTo>
                  <a:pt x="304" y="202"/>
                  <a:pt x="309" y="198"/>
                  <a:pt x="309" y="192"/>
                </a:cubicBezTo>
                <a:cubicBezTo>
                  <a:pt x="309" y="149"/>
                  <a:pt x="309" y="149"/>
                  <a:pt x="309" y="149"/>
                </a:cubicBezTo>
                <a:cubicBezTo>
                  <a:pt x="309" y="143"/>
                  <a:pt x="304" y="138"/>
                  <a:pt x="298" y="138"/>
                </a:cubicBezTo>
                <a:cubicBezTo>
                  <a:pt x="256" y="138"/>
                  <a:pt x="256" y="138"/>
                  <a:pt x="256" y="138"/>
                </a:cubicBezTo>
                <a:cubicBezTo>
                  <a:pt x="250" y="138"/>
                  <a:pt x="245" y="143"/>
                  <a:pt x="245" y="149"/>
                </a:cubicBezTo>
                <a:cubicBezTo>
                  <a:pt x="245" y="160"/>
                  <a:pt x="245" y="160"/>
                  <a:pt x="245" y="160"/>
                </a:cubicBezTo>
                <a:cubicBezTo>
                  <a:pt x="181" y="160"/>
                  <a:pt x="181" y="160"/>
                  <a:pt x="181" y="160"/>
                </a:cubicBezTo>
                <a:cubicBezTo>
                  <a:pt x="181" y="149"/>
                  <a:pt x="181" y="149"/>
                  <a:pt x="181" y="149"/>
                </a:cubicBezTo>
                <a:cubicBezTo>
                  <a:pt x="181" y="143"/>
                  <a:pt x="176" y="138"/>
                  <a:pt x="170" y="138"/>
                </a:cubicBezTo>
                <a:cubicBezTo>
                  <a:pt x="128" y="138"/>
                  <a:pt x="128" y="138"/>
                  <a:pt x="128" y="138"/>
                </a:cubicBezTo>
                <a:cubicBezTo>
                  <a:pt x="122" y="138"/>
                  <a:pt x="117" y="143"/>
                  <a:pt x="117" y="149"/>
                </a:cubicBezTo>
                <a:cubicBezTo>
                  <a:pt x="117" y="192"/>
                  <a:pt x="117" y="192"/>
                  <a:pt x="117" y="192"/>
                </a:cubicBezTo>
                <a:cubicBezTo>
                  <a:pt x="117" y="198"/>
                  <a:pt x="122" y="202"/>
                  <a:pt x="128" y="202"/>
                </a:cubicBezTo>
                <a:cubicBezTo>
                  <a:pt x="138" y="202"/>
                  <a:pt x="138" y="202"/>
                  <a:pt x="138" y="202"/>
                </a:cubicBezTo>
                <a:cubicBezTo>
                  <a:pt x="138" y="266"/>
                  <a:pt x="138" y="266"/>
                  <a:pt x="138" y="266"/>
                </a:cubicBezTo>
                <a:cubicBezTo>
                  <a:pt x="128" y="266"/>
                  <a:pt x="128" y="266"/>
                  <a:pt x="128" y="266"/>
                </a:cubicBezTo>
                <a:cubicBezTo>
                  <a:pt x="122" y="266"/>
                  <a:pt x="117" y="271"/>
                  <a:pt x="117" y="277"/>
                </a:cubicBezTo>
                <a:cubicBezTo>
                  <a:pt x="117" y="320"/>
                  <a:pt x="117" y="320"/>
                  <a:pt x="117" y="320"/>
                </a:cubicBezTo>
                <a:cubicBezTo>
                  <a:pt x="117" y="326"/>
                  <a:pt x="122" y="330"/>
                  <a:pt x="128" y="330"/>
                </a:cubicBezTo>
                <a:cubicBezTo>
                  <a:pt x="170" y="330"/>
                  <a:pt x="170" y="330"/>
                  <a:pt x="170" y="330"/>
                </a:cubicBezTo>
                <a:cubicBezTo>
                  <a:pt x="176" y="330"/>
                  <a:pt x="181" y="326"/>
                  <a:pt x="181" y="320"/>
                </a:cubicBezTo>
                <a:cubicBezTo>
                  <a:pt x="181" y="309"/>
                  <a:pt x="181" y="309"/>
                  <a:pt x="181" y="309"/>
                </a:cubicBezTo>
                <a:cubicBezTo>
                  <a:pt x="202" y="309"/>
                  <a:pt x="202" y="309"/>
                  <a:pt x="202" y="309"/>
                </a:cubicBezTo>
                <a:cubicBezTo>
                  <a:pt x="202" y="330"/>
                  <a:pt x="202" y="330"/>
                  <a:pt x="202" y="330"/>
                </a:cubicBezTo>
                <a:cubicBezTo>
                  <a:pt x="192" y="330"/>
                  <a:pt x="192" y="330"/>
                  <a:pt x="192" y="330"/>
                </a:cubicBezTo>
                <a:cubicBezTo>
                  <a:pt x="186" y="330"/>
                  <a:pt x="181" y="335"/>
                  <a:pt x="181" y="341"/>
                </a:cubicBezTo>
                <a:cubicBezTo>
                  <a:pt x="181" y="384"/>
                  <a:pt x="181" y="384"/>
                  <a:pt x="181" y="384"/>
                </a:cubicBezTo>
                <a:cubicBezTo>
                  <a:pt x="181" y="390"/>
                  <a:pt x="186" y="394"/>
                  <a:pt x="192" y="394"/>
                </a:cubicBezTo>
                <a:cubicBezTo>
                  <a:pt x="234" y="394"/>
                  <a:pt x="234" y="394"/>
                  <a:pt x="234" y="394"/>
                </a:cubicBezTo>
                <a:cubicBezTo>
                  <a:pt x="240" y="394"/>
                  <a:pt x="245" y="390"/>
                  <a:pt x="245" y="384"/>
                </a:cubicBezTo>
                <a:cubicBezTo>
                  <a:pt x="245" y="373"/>
                  <a:pt x="245" y="373"/>
                  <a:pt x="245" y="373"/>
                </a:cubicBezTo>
                <a:cubicBezTo>
                  <a:pt x="309" y="373"/>
                  <a:pt x="309" y="373"/>
                  <a:pt x="309" y="373"/>
                </a:cubicBezTo>
                <a:cubicBezTo>
                  <a:pt x="309" y="384"/>
                  <a:pt x="309" y="384"/>
                  <a:pt x="309" y="384"/>
                </a:cubicBezTo>
                <a:cubicBezTo>
                  <a:pt x="309" y="390"/>
                  <a:pt x="314" y="394"/>
                  <a:pt x="320" y="394"/>
                </a:cubicBezTo>
                <a:cubicBezTo>
                  <a:pt x="362" y="394"/>
                  <a:pt x="362" y="394"/>
                  <a:pt x="362" y="394"/>
                </a:cubicBezTo>
                <a:cubicBezTo>
                  <a:pt x="368" y="394"/>
                  <a:pt x="373" y="390"/>
                  <a:pt x="373" y="384"/>
                </a:cubicBezTo>
                <a:cubicBezTo>
                  <a:pt x="373" y="341"/>
                  <a:pt x="373" y="341"/>
                  <a:pt x="373" y="341"/>
                </a:cubicBezTo>
                <a:cubicBezTo>
                  <a:pt x="373" y="335"/>
                  <a:pt x="368" y="330"/>
                  <a:pt x="362" y="330"/>
                </a:cubicBezTo>
                <a:cubicBezTo>
                  <a:pt x="352" y="330"/>
                  <a:pt x="352" y="330"/>
                  <a:pt x="352" y="330"/>
                </a:cubicBezTo>
                <a:cubicBezTo>
                  <a:pt x="352" y="266"/>
                  <a:pt x="352" y="266"/>
                  <a:pt x="352" y="266"/>
                </a:cubicBezTo>
                <a:cubicBezTo>
                  <a:pt x="362" y="266"/>
                  <a:pt x="362" y="266"/>
                  <a:pt x="362" y="266"/>
                </a:cubicBezTo>
                <a:cubicBezTo>
                  <a:pt x="368" y="266"/>
                  <a:pt x="373" y="262"/>
                  <a:pt x="373" y="256"/>
                </a:cubicBezTo>
                <a:lnTo>
                  <a:pt x="373" y="213"/>
                </a:lnTo>
                <a:close/>
                <a:moveTo>
                  <a:pt x="330" y="266"/>
                </a:moveTo>
                <a:cubicBezTo>
                  <a:pt x="320" y="266"/>
                  <a:pt x="320" y="266"/>
                  <a:pt x="320" y="266"/>
                </a:cubicBezTo>
                <a:cubicBezTo>
                  <a:pt x="314" y="266"/>
                  <a:pt x="309" y="262"/>
                  <a:pt x="309" y="256"/>
                </a:cubicBezTo>
                <a:cubicBezTo>
                  <a:pt x="309" y="245"/>
                  <a:pt x="309" y="245"/>
                  <a:pt x="309" y="245"/>
                </a:cubicBezTo>
                <a:cubicBezTo>
                  <a:pt x="288" y="245"/>
                  <a:pt x="288" y="245"/>
                  <a:pt x="288" y="245"/>
                </a:cubicBezTo>
                <a:cubicBezTo>
                  <a:pt x="288" y="266"/>
                  <a:pt x="288" y="266"/>
                  <a:pt x="288" y="266"/>
                </a:cubicBezTo>
                <a:cubicBezTo>
                  <a:pt x="298" y="266"/>
                  <a:pt x="298" y="266"/>
                  <a:pt x="298" y="266"/>
                </a:cubicBezTo>
                <a:cubicBezTo>
                  <a:pt x="304" y="266"/>
                  <a:pt x="309" y="271"/>
                  <a:pt x="309" y="277"/>
                </a:cubicBezTo>
                <a:cubicBezTo>
                  <a:pt x="309" y="320"/>
                  <a:pt x="309" y="320"/>
                  <a:pt x="309" y="320"/>
                </a:cubicBezTo>
                <a:cubicBezTo>
                  <a:pt x="309" y="326"/>
                  <a:pt x="304" y="330"/>
                  <a:pt x="298" y="330"/>
                </a:cubicBezTo>
                <a:cubicBezTo>
                  <a:pt x="256" y="330"/>
                  <a:pt x="256" y="330"/>
                  <a:pt x="256" y="330"/>
                </a:cubicBezTo>
                <a:cubicBezTo>
                  <a:pt x="250" y="330"/>
                  <a:pt x="245" y="326"/>
                  <a:pt x="245" y="320"/>
                </a:cubicBezTo>
                <a:cubicBezTo>
                  <a:pt x="245" y="309"/>
                  <a:pt x="245" y="309"/>
                  <a:pt x="245" y="309"/>
                </a:cubicBezTo>
                <a:cubicBezTo>
                  <a:pt x="224" y="309"/>
                  <a:pt x="224" y="309"/>
                  <a:pt x="224" y="309"/>
                </a:cubicBezTo>
                <a:cubicBezTo>
                  <a:pt x="224" y="330"/>
                  <a:pt x="224" y="330"/>
                  <a:pt x="224" y="330"/>
                </a:cubicBezTo>
                <a:cubicBezTo>
                  <a:pt x="234" y="330"/>
                  <a:pt x="234" y="330"/>
                  <a:pt x="234" y="330"/>
                </a:cubicBezTo>
                <a:cubicBezTo>
                  <a:pt x="240" y="330"/>
                  <a:pt x="245" y="335"/>
                  <a:pt x="245" y="341"/>
                </a:cubicBezTo>
                <a:cubicBezTo>
                  <a:pt x="245" y="352"/>
                  <a:pt x="245" y="352"/>
                  <a:pt x="245" y="352"/>
                </a:cubicBezTo>
                <a:cubicBezTo>
                  <a:pt x="309" y="352"/>
                  <a:pt x="309" y="352"/>
                  <a:pt x="309" y="352"/>
                </a:cubicBezTo>
                <a:cubicBezTo>
                  <a:pt x="309" y="341"/>
                  <a:pt x="309" y="341"/>
                  <a:pt x="309" y="341"/>
                </a:cubicBezTo>
                <a:cubicBezTo>
                  <a:pt x="309" y="335"/>
                  <a:pt x="314" y="330"/>
                  <a:pt x="320" y="330"/>
                </a:cubicBezTo>
                <a:cubicBezTo>
                  <a:pt x="330" y="330"/>
                  <a:pt x="330" y="330"/>
                  <a:pt x="330" y="330"/>
                </a:cubicBezTo>
                <a:lnTo>
                  <a:pt x="330" y="266"/>
                </a:lnTo>
                <a:close/>
                <a:moveTo>
                  <a:pt x="330" y="245"/>
                </a:moveTo>
                <a:cubicBezTo>
                  <a:pt x="352" y="245"/>
                  <a:pt x="352" y="245"/>
                  <a:pt x="352" y="245"/>
                </a:cubicBezTo>
                <a:cubicBezTo>
                  <a:pt x="352" y="224"/>
                  <a:pt x="352" y="224"/>
                  <a:pt x="352" y="224"/>
                </a:cubicBezTo>
                <a:cubicBezTo>
                  <a:pt x="330" y="224"/>
                  <a:pt x="330" y="224"/>
                  <a:pt x="330" y="224"/>
                </a:cubicBezTo>
                <a:lnTo>
                  <a:pt x="330" y="245"/>
                </a:lnTo>
                <a:close/>
                <a:moveTo>
                  <a:pt x="330" y="373"/>
                </a:moveTo>
                <a:cubicBezTo>
                  <a:pt x="352" y="373"/>
                  <a:pt x="352" y="373"/>
                  <a:pt x="352" y="373"/>
                </a:cubicBezTo>
                <a:cubicBezTo>
                  <a:pt x="352" y="352"/>
                  <a:pt x="352" y="352"/>
                  <a:pt x="352" y="352"/>
                </a:cubicBezTo>
                <a:cubicBezTo>
                  <a:pt x="330" y="352"/>
                  <a:pt x="330" y="352"/>
                  <a:pt x="330" y="352"/>
                </a:cubicBezTo>
                <a:lnTo>
                  <a:pt x="330" y="37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81" name="Group 1032">
            <a:extLst>
              <a:ext uri="{FF2B5EF4-FFF2-40B4-BE49-F238E27FC236}">
                <a16:creationId xmlns:a16="http://schemas.microsoft.com/office/drawing/2014/main" id="{921160A7-173A-4AB1-8164-EF4BDACAC335}"/>
              </a:ext>
            </a:extLst>
          </p:cNvPr>
          <p:cNvGrpSpPr>
            <a:grpSpLocks noChangeAspect="1"/>
          </p:cNvGrpSpPr>
          <p:nvPr/>
        </p:nvGrpSpPr>
        <p:grpSpPr bwMode="auto">
          <a:xfrm>
            <a:off x="8745297" y="4113334"/>
            <a:ext cx="367041" cy="367041"/>
            <a:chOff x="6579" y="4030"/>
            <a:chExt cx="340" cy="340"/>
          </a:xfrm>
          <a:solidFill>
            <a:schemeClr val="accent5"/>
          </a:solidFill>
        </p:grpSpPr>
        <p:sp>
          <p:nvSpPr>
            <p:cNvPr id="782" name="Freeform 1033">
              <a:extLst>
                <a:ext uri="{FF2B5EF4-FFF2-40B4-BE49-F238E27FC236}">
                  <a16:creationId xmlns:a16="http://schemas.microsoft.com/office/drawing/2014/main" id="{4ABF1F0D-4293-4635-8EAF-F110865A60CE}"/>
                </a:ext>
              </a:extLst>
            </p:cNvPr>
            <p:cNvSpPr>
              <a:spLocks noEditPoints="1"/>
            </p:cNvSpPr>
            <p:nvPr/>
          </p:nvSpPr>
          <p:spPr bwMode="auto">
            <a:xfrm>
              <a:off x="6579" y="403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3" name="Freeform 1034">
              <a:extLst>
                <a:ext uri="{FF2B5EF4-FFF2-40B4-BE49-F238E27FC236}">
                  <a16:creationId xmlns:a16="http://schemas.microsoft.com/office/drawing/2014/main" id="{E6AB01E0-D3EC-4FB3-AC31-F61D77D7679A}"/>
                </a:ext>
              </a:extLst>
            </p:cNvPr>
            <p:cNvSpPr>
              <a:spLocks noEditPoints="1"/>
            </p:cNvSpPr>
            <p:nvPr/>
          </p:nvSpPr>
          <p:spPr bwMode="auto">
            <a:xfrm>
              <a:off x="6657" y="4122"/>
              <a:ext cx="170" cy="170"/>
            </a:xfrm>
            <a:custGeom>
              <a:avLst/>
              <a:gdLst>
                <a:gd name="T0" fmla="*/ 256 w 256"/>
                <a:gd name="T1" fmla="*/ 118 h 256"/>
                <a:gd name="T2" fmla="*/ 245 w 256"/>
                <a:gd name="T3" fmla="*/ 64 h 256"/>
                <a:gd name="T4" fmla="*/ 192 w 256"/>
                <a:gd name="T5" fmla="*/ 75 h 256"/>
                <a:gd name="T6" fmla="*/ 171 w 256"/>
                <a:gd name="T7" fmla="*/ 86 h 256"/>
                <a:gd name="T8" fmla="*/ 181 w 256"/>
                <a:gd name="T9" fmla="*/ 64 h 256"/>
                <a:gd name="T10" fmla="*/ 192 w 256"/>
                <a:gd name="T11" fmla="*/ 11 h 256"/>
                <a:gd name="T12" fmla="*/ 139 w 256"/>
                <a:gd name="T13" fmla="*/ 0 h 256"/>
                <a:gd name="T14" fmla="*/ 128 w 256"/>
                <a:gd name="T15" fmla="*/ 22 h 256"/>
                <a:gd name="T16" fmla="*/ 64 w 256"/>
                <a:gd name="T17" fmla="*/ 11 h 256"/>
                <a:gd name="T18" fmla="*/ 11 w 256"/>
                <a:gd name="T19" fmla="*/ 0 h 256"/>
                <a:gd name="T20" fmla="*/ 0 w 256"/>
                <a:gd name="T21" fmla="*/ 54 h 256"/>
                <a:gd name="T22" fmla="*/ 21 w 256"/>
                <a:gd name="T23" fmla="*/ 64 h 256"/>
                <a:gd name="T24" fmla="*/ 11 w 256"/>
                <a:gd name="T25" fmla="*/ 128 h 256"/>
                <a:gd name="T26" fmla="*/ 0 w 256"/>
                <a:gd name="T27" fmla="*/ 182 h 256"/>
                <a:gd name="T28" fmla="*/ 53 w 256"/>
                <a:gd name="T29" fmla="*/ 192 h 256"/>
                <a:gd name="T30" fmla="*/ 64 w 256"/>
                <a:gd name="T31" fmla="*/ 171 h 256"/>
                <a:gd name="T32" fmla="*/ 85 w 256"/>
                <a:gd name="T33" fmla="*/ 192 h 256"/>
                <a:gd name="T34" fmla="*/ 64 w 256"/>
                <a:gd name="T35" fmla="*/ 203 h 256"/>
                <a:gd name="T36" fmla="*/ 75 w 256"/>
                <a:gd name="T37" fmla="*/ 256 h 256"/>
                <a:gd name="T38" fmla="*/ 128 w 256"/>
                <a:gd name="T39" fmla="*/ 246 h 256"/>
                <a:gd name="T40" fmla="*/ 192 w 256"/>
                <a:gd name="T41" fmla="*/ 235 h 256"/>
                <a:gd name="T42" fmla="*/ 203 w 256"/>
                <a:gd name="T43" fmla="*/ 256 h 256"/>
                <a:gd name="T44" fmla="*/ 256 w 256"/>
                <a:gd name="T45" fmla="*/ 246 h 256"/>
                <a:gd name="T46" fmla="*/ 245 w 256"/>
                <a:gd name="T47" fmla="*/ 192 h 256"/>
                <a:gd name="T48" fmla="*/ 235 w 256"/>
                <a:gd name="T49" fmla="*/ 128 h 256"/>
                <a:gd name="T50" fmla="*/ 213 w 256"/>
                <a:gd name="T51" fmla="*/ 86 h 256"/>
                <a:gd name="T52" fmla="*/ 235 w 256"/>
                <a:gd name="T53" fmla="*/ 107 h 256"/>
                <a:gd name="T54" fmla="*/ 213 w 256"/>
                <a:gd name="T55" fmla="*/ 86 h 256"/>
                <a:gd name="T56" fmla="*/ 171 w 256"/>
                <a:gd name="T57" fmla="*/ 171 h 256"/>
                <a:gd name="T58" fmla="*/ 149 w 256"/>
                <a:gd name="T59" fmla="*/ 150 h 256"/>
                <a:gd name="T60" fmla="*/ 149 w 256"/>
                <a:gd name="T61" fmla="*/ 22 h 256"/>
                <a:gd name="T62" fmla="*/ 171 w 256"/>
                <a:gd name="T63" fmla="*/ 43 h 256"/>
                <a:gd name="T64" fmla="*/ 149 w 256"/>
                <a:gd name="T65" fmla="*/ 22 h 256"/>
                <a:gd name="T66" fmla="*/ 43 w 256"/>
                <a:gd name="T67" fmla="*/ 22 h 256"/>
                <a:gd name="T68" fmla="*/ 21 w 256"/>
                <a:gd name="T69" fmla="*/ 43 h 256"/>
                <a:gd name="T70" fmla="*/ 43 w 256"/>
                <a:gd name="T71" fmla="*/ 171 h 256"/>
                <a:gd name="T72" fmla="*/ 21 w 256"/>
                <a:gd name="T73" fmla="*/ 150 h 256"/>
                <a:gd name="T74" fmla="*/ 43 w 256"/>
                <a:gd name="T75" fmla="*/ 171 h 256"/>
                <a:gd name="T76" fmla="*/ 43 w 256"/>
                <a:gd name="T77" fmla="*/ 128 h 256"/>
                <a:gd name="T78" fmla="*/ 53 w 256"/>
                <a:gd name="T79" fmla="*/ 64 h 256"/>
                <a:gd name="T80" fmla="*/ 64 w 256"/>
                <a:gd name="T81" fmla="*/ 43 h 256"/>
                <a:gd name="T82" fmla="*/ 128 w 256"/>
                <a:gd name="T83" fmla="*/ 54 h 256"/>
                <a:gd name="T84" fmla="*/ 149 w 256"/>
                <a:gd name="T85" fmla="*/ 64 h 256"/>
                <a:gd name="T86" fmla="*/ 139 w 256"/>
                <a:gd name="T87" fmla="*/ 128 h 256"/>
                <a:gd name="T88" fmla="*/ 128 w 256"/>
                <a:gd name="T89" fmla="*/ 150 h 256"/>
                <a:gd name="T90" fmla="*/ 64 w 256"/>
                <a:gd name="T91" fmla="*/ 139 h 256"/>
                <a:gd name="T92" fmla="*/ 107 w 256"/>
                <a:gd name="T93" fmla="*/ 235 h 256"/>
                <a:gd name="T94" fmla="*/ 85 w 256"/>
                <a:gd name="T95" fmla="*/ 214 h 256"/>
                <a:gd name="T96" fmla="*/ 107 w 256"/>
                <a:gd name="T97" fmla="*/ 235 h 256"/>
                <a:gd name="T98" fmla="*/ 213 w 256"/>
                <a:gd name="T99" fmla="*/ 235 h 256"/>
                <a:gd name="T100" fmla="*/ 235 w 256"/>
                <a:gd name="T101" fmla="*/ 214 h 256"/>
                <a:gd name="T102" fmla="*/ 213 w 256"/>
                <a:gd name="T103" fmla="*/ 192 h 256"/>
                <a:gd name="T104" fmla="*/ 192 w 256"/>
                <a:gd name="T105" fmla="*/ 203 h 256"/>
                <a:gd name="T106" fmla="*/ 128 w 256"/>
                <a:gd name="T107" fmla="*/ 214 h 256"/>
                <a:gd name="T108" fmla="*/ 117 w 256"/>
                <a:gd name="T109" fmla="*/ 192 h 256"/>
                <a:gd name="T110" fmla="*/ 107 w 256"/>
                <a:gd name="T111" fmla="*/ 171 h 256"/>
                <a:gd name="T112" fmla="*/ 128 w 256"/>
                <a:gd name="T113" fmla="*/ 182 h 256"/>
                <a:gd name="T114" fmla="*/ 181 w 256"/>
                <a:gd name="T115" fmla="*/ 192 h 256"/>
                <a:gd name="T116" fmla="*/ 192 w 256"/>
                <a:gd name="T117" fmla="*/ 139 h 256"/>
                <a:gd name="T118" fmla="*/ 171 w 256"/>
                <a:gd name="T119" fmla="*/ 128 h 256"/>
                <a:gd name="T120" fmla="*/ 192 w 256"/>
                <a:gd name="T121" fmla="*/ 107 h 256"/>
                <a:gd name="T122" fmla="*/ 203 w 256"/>
                <a:gd name="T123" fmla="*/ 128 h 256"/>
                <a:gd name="T124" fmla="*/ 213 w 256"/>
                <a:gd name="T125"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 h="256">
                  <a:moveTo>
                    <a:pt x="245" y="128"/>
                  </a:moveTo>
                  <a:cubicBezTo>
                    <a:pt x="251" y="128"/>
                    <a:pt x="256" y="124"/>
                    <a:pt x="256" y="118"/>
                  </a:cubicBezTo>
                  <a:cubicBezTo>
                    <a:pt x="256" y="75"/>
                    <a:pt x="256" y="75"/>
                    <a:pt x="256" y="75"/>
                  </a:cubicBezTo>
                  <a:cubicBezTo>
                    <a:pt x="256" y="69"/>
                    <a:pt x="251" y="64"/>
                    <a:pt x="245" y="64"/>
                  </a:cubicBezTo>
                  <a:cubicBezTo>
                    <a:pt x="203" y="64"/>
                    <a:pt x="203" y="64"/>
                    <a:pt x="203" y="64"/>
                  </a:cubicBezTo>
                  <a:cubicBezTo>
                    <a:pt x="197" y="64"/>
                    <a:pt x="192" y="69"/>
                    <a:pt x="192" y="75"/>
                  </a:cubicBezTo>
                  <a:cubicBezTo>
                    <a:pt x="192" y="86"/>
                    <a:pt x="192" y="86"/>
                    <a:pt x="192" y="86"/>
                  </a:cubicBezTo>
                  <a:cubicBezTo>
                    <a:pt x="171" y="86"/>
                    <a:pt x="171" y="86"/>
                    <a:pt x="171" y="86"/>
                  </a:cubicBezTo>
                  <a:cubicBezTo>
                    <a:pt x="171" y="64"/>
                    <a:pt x="171" y="64"/>
                    <a:pt x="171" y="64"/>
                  </a:cubicBezTo>
                  <a:cubicBezTo>
                    <a:pt x="181" y="64"/>
                    <a:pt x="181" y="64"/>
                    <a:pt x="181" y="64"/>
                  </a:cubicBezTo>
                  <a:cubicBezTo>
                    <a:pt x="187" y="64"/>
                    <a:pt x="192" y="60"/>
                    <a:pt x="192" y="54"/>
                  </a:cubicBezTo>
                  <a:cubicBezTo>
                    <a:pt x="192" y="11"/>
                    <a:pt x="192" y="11"/>
                    <a:pt x="192" y="11"/>
                  </a:cubicBezTo>
                  <a:cubicBezTo>
                    <a:pt x="192" y="5"/>
                    <a:pt x="187" y="0"/>
                    <a:pt x="181" y="0"/>
                  </a:cubicBezTo>
                  <a:cubicBezTo>
                    <a:pt x="139" y="0"/>
                    <a:pt x="139" y="0"/>
                    <a:pt x="139" y="0"/>
                  </a:cubicBezTo>
                  <a:cubicBezTo>
                    <a:pt x="133" y="0"/>
                    <a:pt x="128" y="5"/>
                    <a:pt x="128" y="11"/>
                  </a:cubicBezTo>
                  <a:cubicBezTo>
                    <a:pt x="128" y="22"/>
                    <a:pt x="128" y="22"/>
                    <a:pt x="128" y="22"/>
                  </a:cubicBezTo>
                  <a:cubicBezTo>
                    <a:pt x="64" y="22"/>
                    <a:pt x="64" y="22"/>
                    <a:pt x="64" y="22"/>
                  </a:cubicBezTo>
                  <a:cubicBezTo>
                    <a:pt x="64" y="11"/>
                    <a:pt x="64" y="11"/>
                    <a:pt x="64" y="11"/>
                  </a:cubicBezTo>
                  <a:cubicBezTo>
                    <a:pt x="64" y="5"/>
                    <a:pt x="59" y="0"/>
                    <a:pt x="53" y="0"/>
                  </a:cubicBezTo>
                  <a:cubicBezTo>
                    <a:pt x="11" y="0"/>
                    <a:pt x="11" y="0"/>
                    <a:pt x="11" y="0"/>
                  </a:cubicBezTo>
                  <a:cubicBezTo>
                    <a:pt x="5" y="0"/>
                    <a:pt x="0" y="5"/>
                    <a:pt x="0" y="11"/>
                  </a:cubicBezTo>
                  <a:cubicBezTo>
                    <a:pt x="0" y="54"/>
                    <a:pt x="0" y="54"/>
                    <a:pt x="0" y="54"/>
                  </a:cubicBezTo>
                  <a:cubicBezTo>
                    <a:pt x="0" y="60"/>
                    <a:pt x="5" y="64"/>
                    <a:pt x="11" y="64"/>
                  </a:cubicBezTo>
                  <a:cubicBezTo>
                    <a:pt x="21" y="64"/>
                    <a:pt x="21" y="64"/>
                    <a:pt x="21" y="64"/>
                  </a:cubicBezTo>
                  <a:cubicBezTo>
                    <a:pt x="21" y="128"/>
                    <a:pt x="21" y="128"/>
                    <a:pt x="21" y="128"/>
                  </a:cubicBezTo>
                  <a:cubicBezTo>
                    <a:pt x="11" y="128"/>
                    <a:pt x="11" y="128"/>
                    <a:pt x="11" y="128"/>
                  </a:cubicBezTo>
                  <a:cubicBezTo>
                    <a:pt x="5" y="128"/>
                    <a:pt x="0" y="133"/>
                    <a:pt x="0" y="139"/>
                  </a:cubicBezTo>
                  <a:cubicBezTo>
                    <a:pt x="0" y="182"/>
                    <a:pt x="0" y="182"/>
                    <a:pt x="0" y="182"/>
                  </a:cubicBezTo>
                  <a:cubicBezTo>
                    <a:pt x="0" y="188"/>
                    <a:pt x="5" y="192"/>
                    <a:pt x="11" y="192"/>
                  </a:cubicBezTo>
                  <a:cubicBezTo>
                    <a:pt x="53" y="192"/>
                    <a:pt x="53" y="192"/>
                    <a:pt x="53" y="192"/>
                  </a:cubicBezTo>
                  <a:cubicBezTo>
                    <a:pt x="59" y="192"/>
                    <a:pt x="64" y="188"/>
                    <a:pt x="64" y="182"/>
                  </a:cubicBezTo>
                  <a:cubicBezTo>
                    <a:pt x="64" y="171"/>
                    <a:pt x="64" y="171"/>
                    <a:pt x="64" y="171"/>
                  </a:cubicBezTo>
                  <a:cubicBezTo>
                    <a:pt x="85" y="171"/>
                    <a:pt x="85" y="171"/>
                    <a:pt x="85" y="171"/>
                  </a:cubicBezTo>
                  <a:cubicBezTo>
                    <a:pt x="85" y="192"/>
                    <a:pt x="85" y="192"/>
                    <a:pt x="85" y="192"/>
                  </a:cubicBezTo>
                  <a:cubicBezTo>
                    <a:pt x="75" y="192"/>
                    <a:pt x="75" y="192"/>
                    <a:pt x="75" y="192"/>
                  </a:cubicBezTo>
                  <a:cubicBezTo>
                    <a:pt x="69" y="192"/>
                    <a:pt x="64" y="197"/>
                    <a:pt x="64" y="203"/>
                  </a:cubicBezTo>
                  <a:cubicBezTo>
                    <a:pt x="64" y="246"/>
                    <a:pt x="64" y="246"/>
                    <a:pt x="64" y="246"/>
                  </a:cubicBezTo>
                  <a:cubicBezTo>
                    <a:pt x="64" y="252"/>
                    <a:pt x="69" y="256"/>
                    <a:pt x="75" y="256"/>
                  </a:cubicBezTo>
                  <a:cubicBezTo>
                    <a:pt x="117" y="256"/>
                    <a:pt x="117" y="256"/>
                    <a:pt x="117" y="256"/>
                  </a:cubicBezTo>
                  <a:cubicBezTo>
                    <a:pt x="123" y="256"/>
                    <a:pt x="128" y="252"/>
                    <a:pt x="128" y="246"/>
                  </a:cubicBezTo>
                  <a:cubicBezTo>
                    <a:pt x="128" y="235"/>
                    <a:pt x="128" y="235"/>
                    <a:pt x="128" y="235"/>
                  </a:cubicBezTo>
                  <a:cubicBezTo>
                    <a:pt x="192" y="235"/>
                    <a:pt x="192" y="235"/>
                    <a:pt x="192" y="235"/>
                  </a:cubicBezTo>
                  <a:cubicBezTo>
                    <a:pt x="192" y="246"/>
                    <a:pt x="192" y="246"/>
                    <a:pt x="192" y="246"/>
                  </a:cubicBezTo>
                  <a:cubicBezTo>
                    <a:pt x="192" y="252"/>
                    <a:pt x="197" y="256"/>
                    <a:pt x="203" y="256"/>
                  </a:cubicBezTo>
                  <a:cubicBezTo>
                    <a:pt x="245" y="256"/>
                    <a:pt x="245" y="256"/>
                    <a:pt x="245" y="256"/>
                  </a:cubicBezTo>
                  <a:cubicBezTo>
                    <a:pt x="251" y="256"/>
                    <a:pt x="256" y="252"/>
                    <a:pt x="256" y="246"/>
                  </a:cubicBezTo>
                  <a:cubicBezTo>
                    <a:pt x="256" y="203"/>
                    <a:pt x="256" y="203"/>
                    <a:pt x="256" y="203"/>
                  </a:cubicBezTo>
                  <a:cubicBezTo>
                    <a:pt x="256" y="197"/>
                    <a:pt x="251" y="192"/>
                    <a:pt x="245" y="192"/>
                  </a:cubicBezTo>
                  <a:cubicBezTo>
                    <a:pt x="235" y="192"/>
                    <a:pt x="235" y="192"/>
                    <a:pt x="235" y="192"/>
                  </a:cubicBezTo>
                  <a:cubicBezTo>
                    <a:pt x="235" y="128"/>
                    <a:pt x="235" y="128"/>
                    <a:pt x="235" y="128"/>
                  </a:cubicBezTo>
                  <a:lnTo>
                    <a:pt x="245" y="128"/>
                  </a:lnTo>
                  <a:close/>
                  <a:moveTo>
                    <a:pt x="213" y="86"/>
                  </a:moveTo>
                  <a:cubicBezTo>
                    <a:pt x="235" y="86"/>
                    <a:pt x="235" y="86"/>
                    <a:pt x="235" y="86"/>
                  </a:cubicBezTo>
                  <a:cubicBezTo>
                    <a:pt x="235" y="107"/>
                    <a:pt x="235" y="107"/>
                    <a:pt x="235" y="107"/>
                  </a:cubicBezTo>
                  <a:cubicBezTo>
                    <a:pt x="213" y="107"/>
                    <a:pt x="213" y="107"/>
                    <a:pt x="213" y="107"/>
                  </a:cubicBezTo>
                  <a:lnTo>
                    <a:pt x="213" y="86"/>
                  </a:lnTo>
                  <a:close/>
                  <a:moveTo>
                    <a:pt x="171" y="150"/>
                  </a:moveTo>
                  <a:cubicBezTo>
                    <a:pt x="171" y="171"/>
                    <a:pt x="171" y="171"/>
                    <a:pt x="171" y="171"/>
                  </a:cubicBezTo>
                  <a:cubicBezTo>
                    <a:pt x="149" y="171"/>
                    <a:pt x="149" y="171"/>
                    <a:pt x="149" y="171"/>
                  </a:cubicBezTo>
                  <a:cubicBezTo>
                    <a:pt x="149" y="150"/>
                    <a:pt x="149" y="150"/>
                    <a:pt x="149" y="150"/>
                  </a:cubicBezTo>
                  <a:lnTo>
                    <a:pt x="171" y="150"/>
                  </a:lnTo>
                  <a:close/>
                  <a:moveTo>
                    <a:pt x="149" y="22"/>
                  </a:moveTo>
                  <a:cubicBezTo>
                    <a:pt x="171" y="22"/>
                    <a:pt x="171" y="22"/>
                    <a:pt x="171" y="22"/>
                  </a:cubicBezTo>
                  <a:cubicBezTo>
                    <a:pt x="171" y="43"/>
                    <a:pt x="171" y="43"/>
                    <a:pt x="171" y="43"/>
                  </a:cubicBezTo>
                  <a:cubicBezTo>
                    <a:pt x="149" y="43"/>
                    <a:pt x="149" y="43"/>
                    <a:pt x="149" y="43"/>
                  </a:cubicBezTo>
                  <a:lnTo>
                    <a:pt x="149" y="22"/>
                  </a:lnTo>
                  <a:close/>
                  <a:moveTo>
                    <a:pt x="21" y="22"/>
                  </a:moveTo>
                  <a:cubicBezTo>
                    <a:pt x="43" y="22"/>
                    <a:pt x="43" y="22"/>
                    <a:pt x="43" y="22"/>
                  </a:cubicBezTo>
                  <a:cubicBezTo>
                    <a:pt x="43" y="43"/>
                    <a:pt x="43" y="43"/>
                    <a:pt x="43" y="43"/>
                  </a:cubicBezTo>
                  <a:cubicBezTo>
                    <a:pt x="21" y="43"/>
                    <a:pt x="21" y="43"/>
                    <a:pt x="21" y="43"/>
                  </a:cubicBezTo>
                  <a:lnTo>
                    <a:pt x="21" y="22"/>
                  </a:lnTo>
                  <a:close/>
                  <a:moveTo>
                    <a:pt x="43" y="171"/>
                  </a:moveTo>
                  <a:cubicBezTo>
                    <a:pt x="21" y="171"/>
                    <a:pt x="21" y="171"/>
                    <a:pt x="21" y="171"/>
                  </a:cubicBezTo>
                  <a:cubicBezTo>
                    <a:pt x="21" y="150"/>
                    <a:pt x="21" y="150"/>
                    <a:pt x="21" y="150"/>
                  </a:cubicBezTo>
                  <a:cubicBezTo>
                    <a:pt x="43" y="150"/>
                    <a:pt x="43" y="150"/>
                    <a:pt x="43" y="150"/>
                  </a:cubicBezTo>
                  <a:lnTo>
                    <a:pt x="43" y="171"/>
                  </a:lnTo>
                  <a:close/>
                  <a:moveTo>
                    <a:pt x="53" y="128"/>
                  </a:moveTo>
                  <a:cubicBezTo>
                    <a:pt x="43" y="128"/>
                    <a:pt x="43" y="128"/>
                    <a:pt x="43" y="128"/>
                  </a:cubicBezTo>
                  <a:cubicBezTo>
                    <a:pt x="43" y="64"/>
                    <a:pt x="43" y="64"/>
                    <a:pt x="43" y="64"/>
                  </a:cubicBezTo>
                  <a:cubicBezTo>
                    <a:pt x="53" y="64"/>
                    <a:pt x="53" y="64"/>
                    <a:pt x="53" y="64"/>
                  </a:cubicBezTo>
                  <a:cubicBezTo>
                    <a:pt x="59" y="64"/>
                    <a:pt x="64" y="60"/>
                    <a:pt x="64" y="54"/>
                  </a:cubicBezTo>
                  <a:cubicBezTo>
                    <a:pt x="64" y="43"/>
                    <a:pt x="64" y="43"/>
                    <a:pt x="64" y="43"/>
                  </a:cubicBezTo>
                  <a:cubicBezTo>
                    <a:pt x="128" y="43"/>
                    <a:pt x="128" y="43"/>
                    <a:pt x="128" y="43"/>
                  </a:cubicBezTo>
                  <a:cubicBezTo>
                    <a:pt x="128" y="54"/>
                    <a:pt x="128" y="54"/>
                    <a:pt x="128" y="54"/>
                  </a:cubicBezTo>
                  <a:cubicBezTo>
                    <a:pt x="128" y="60"/>
                    <a:pt x="133" y="64"/>
                    <a:pt x="139" y="64"/>
                  </a:cubicBezTo>
                  <a:cubicBezTo>
                    <a:pt x="149" y="64"/>
                    <a:pt x="149" y="64"/>
                    <a:pt x="149" y="64"/>
                  </a:cubicBezTo>
                  <a:cubicBezTo>
                    <a:pt x="149" y="128"/>
                    <a:pt x="149" y="128"/>
                    <a:pt x="149" y="128"/>
                  </a:cubicBezTo>
                  <a:cubicBezTo>
                    <a:pt x="139" y="128"/>
                    <a:pt x="139" y="128"/>
                    <a:pt x="139" y="128"/>
                  </a:cubicBezTo>
                  <a:cubicBezTo>
                    <a:pt x="133" y="128"/>
                    <a:pt x="128" y="133"/>
                    <a:pt x="128" y="139"/>
                  </a:cubicBezTo>
                  <a:cubicBezTo>
                    <a:pt x="128" y="150"/>
                    <a:pt x="128" y="150"/>
                    <a:pt x="128" y="150"/>
                  </a:cubicBezTo>
                  <a:cubicBezTo>
                    <a:pt x="64" y="150"/>
                    <a:pt x="64" y="150"/>
                    <a:pt x="64" y="150"/>
                  </a:cubicBezTo>
                  <a:cubicBezTo>
                    <a:pt x="64" y="139"/>
                    <a:pt x="64" y="139"/>
                    <a:pt x="64" y="139"/>
                  </a:cubicBezTo>
                  <a:cubicBezTo>
                    <a:pt x="64" y="133"/>
                    <a:pt x="59" y="128"/>
                    <a:pt x="53" y="128"/>
                  </a:cubicBezTo>
                  <a:close/>
                  <a:moveTo>
                    <a:pt x="107" y="235"/>
                  </a:moveTo>
                  <a:cubicBezTo>
                    <a:pt x="85" y="235"/>
                    <a:pt x="85" y="235"/>
                    <a:pt x="85" y="235"/>
                  </a:cubicBezTo>
                  <a:cubicBezTo>
                    <a:pt x="85" y="214"/>
                    <a:pt x="85" y="214"/>
                    <a:pt x="85" y="214"/>
                  </a:cubicBezTo>
                  <a:cubicBezTo>
                    <a:pt x="107" y="214"/>
                    <a:pt x="107" y="214"/>
                    <a:pt x="107" y="214"/>
                  </a:cubicBezTo>
                  <a:lnTo>
                    <a:pt x="107" y="235"/>
                  </a:lnTo>
                  <a:close/>
                  <a:moveTo>
                    <a:pt x="235" y="235"/>
                  </a:moveTo>
                  <a:cubicBezTo>
                    <a:pt x="213" y="235"/>
                    <a:pt x="213" y="235"/>
                    <a:pt x="213" y="235"/>
                  </a:cubicBezTo>
                  <a:cubicBezTo>
                    <a:pt x="213" y="214"/>
                    <a:pt x="213" y="214"/>
                    <a:pt x="213" y="214"/>
                  </a:cubicBezTo>
                  <a:cubicBezTo>
                    <a:pt x="235" y="214"/>
                    <a:pt x="235" y="214"/>
                    <a:pt x="235" y="214"/>
                  </a:cubicBezTo>
                  <a:lnTo>
                    <a:pt x="235" y="235"/>
                  </a:lnTo>
                  <a:close/>
                  <a:moveTo>
                    <a:pt x="213" y="192"/>
                  </a:moveTo>
                  <a:cubicBezTo>
                    <a:pt x="203" y="192"/>
                    <a:pt x="203" y="192"/>
                    <a:pt x="203" y="192"/>
                  </a:cubicBezTo>
                  <a:cubicBezTo>
                    <a:pt x="197" y="192"/>
                    <a:pt x="192" y="197"/>
                    <a:pt x="192" y="203"/>
                  </a:cubicBezTo>
                  <a:cubicBezTo>
                    <a:pt x="192" y="214"/>
                    <a:pt x="192" y="214"/>
                    <a:pt x="192" y="214"/>
                  </a:cubicBezTo>
                  <a:cubicBezTo>
                    <a:pt x="128" y="214"/>
                    <a:pt x="128" y="214"/>
                    <a:pt x="128" y="214"/>
                  </a:cubicBezTo>
                  <a:cubicBezTo>
                    <a:pt x="128" y="203"/>
                    <a:pt x="128" y="203"/>
                    <a:pt x="128" y="203"/>
                  </a:cubicBezTo>
                  <a:cubicBezTo>
                    <a:pt x="128" y="197"/>
                    <a:pt x="123" y="192"/>
                    <a:pt x="117" y="192"/>
                  </a:cubicBezTo>
                  <a:cubicBezTo>
                    <a:pt x="107" y="192"/>
                    <a:pt x="107" y="192"/>
                    <a:pt x="107" y="192"/>
                  </a:cubicBezTo>
                  <a:cubicBezTo>
                    <a:pt x="107" y="171"/>
                    <a:pt x="107" y="171"/>
                    <a:pt x="107" y="171"/>
                  </a:cubicBezTo>
                  <a:cubicBezTo>
                    <a:pt x="128" y="171"/>
                    <a:pt x="128" y="171"/>
                    <a:pt x="128" y="171"/>
                  </a:cubicBezTo>
                  <a:cubicBezTo>
                    <a:pt x="128" y="182"/>
                    <a:pt x="128" y="182"/>
                    <a:pt x="128" y="182"/>
                  </a:cubicBezTo>
                  <a:cubicBezTo>
                    <a:pt x="128" y="188"/>
                    <a:pt x="133" y="192"/>
                    <a:pt x="139" y="192"/>
                  </a:cubicBezTo>
                  <a:cubicBezTo>
                    <a:pt x="181" y="192"/>
                    <a:pt x="181" y="192"/>
                    <a:pt x="181" y="192"/>
                  </a:cubicBezTo>
                  <a:cubicBezTo>
                    <a:pt x="187" y="192"/>
                    <a:pt x="192" y="188"/>
                    <a:pt x="192" y="182"/>
                  </a:cubicBezTo>
                  <a:cubicBezTo>
                    <a:pt x="192" y="139"/>
                    <a:pt x="192" y="139"/>
                    <a:pt x="192" y="139"/>
                  </a:cubicBezTo>
                  <a:cubicBezTo>
                    <a:pt x="192" y="133"/>
                    <a:pt x="187" y="128"/>
                    <a:pt x="181" y="128"/>
                  </a:cubicBezTo>
                  <a:cubicBezTo>
                    <a:pt x="171" y="128"/>
                    <a:pt x="171" y="128"/>
                    <a:pt x="171" y="128"/>
                  </a:cubicBezTo>
                  <a:cubicBezTo>
                    <a:pt x="171" y="107"/>
                    <a:pt x="171" y="107"/>
                    <a:pt x="171" y="107"/>
                  </a:cubicBezTo>
                  <a:cubicBezTo>
                    <a:pt x="192" y="107"/>
                    <a:pt x="192" y="107"/>
                    <a:pt x="192" y="107"/>
                  </a:cubicBezTo>
                  <a:cubicBezTo>
                    <a:pt x="192" y="118"/>
                    <a:pt x="192" y="118"/>
                    <a:pt x="192" y="118"/>
                  </a:cubicBezTo>
                  <a:cubicBezTo>
                    <a:pt x="192" y="124"/>
                    <a:pt x="197" y="128"/>
                    <a:pt x="203" y="128"/>
                  </a:cubicBezTo>
                  <a:cubicBezTo>
                    <a:pt x="213" y="128"/>
                    <a:pt x="213" y="128"/>
                    <a:pt x="213" y="128"/>
                  </a:cubicBezTo>
                  <a:lnTo>
                    <a:pt x="213"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84" name="Group 629">
            <a:extLst>
              <a:ext uri="{FF2B5EF4-FFF2-40B4-BE49-F238E27FC236}">
                <a16:creationId xmlns:a16="http://schemas.microsoft.com/office/drawing/2014/main" id="{0313BF5A-7A63-446B-947E-A5CA563BD35F}"/>
              </a:ext>
            </a:extLst>
          </p:cNvPr>
          <p:cNvGrpSpPr>
            <a:grpSpLocks noChangeAspect="1"/>
          </p:cNvGrpSpPr>
          <p:nvPr/>
        </p:nvGrpSpPr>
        <p:grpSpPr bwMode="auto">
          <a:xfrm>
            <a:off x="9618388" y="4113334"/>
            <a:ext cx="369676" cy="370763"/>
            <a:chOff x="5034" y="2282"/>
            <a:chExt cx="340" cy="341"/>
          </a:xfrm>
          <a:solidFill>
            <a:schemeClr val="accent1"/>
          </a:solidFill>
        </p:grpSpPr>
        <p:sp>
          <p:nvSpPr>
            <p:cNvPr id="785" name="Freeform 630">
              <a:extLst>
                <a:ext uri="{FF2B5EF4-FFF2-40B4-BE49-F238E27FC236}">
                  <a16:creationId xmlns:a16="http://schemas.microsoft.com/office/drawing/2014/main" id="{8164F342-3FCE-4BD4-BF3B-7BD7AD4A2BAC}"/>
                </a:ext>
              </a:extLst>
            </p:cNvPr>
            <p:cNvSpPr>
              <a:spLocks noEditPoints="1"/>
            </p:cNvSpPr>
            <p:nvPr/>
          </p:nvSpPr>
          <p:spPr bwMode="auto">
            <a:xfrm>
              <a:off x="5034" y="22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6" name="Freeform 631">
              <a:extLst>
                <a:ext uri="{FF2B5EF4-FFF2-40B4-BE49-F238E27FC236}">
                  <a16:creationId xmlns:a16="http://schemas.microsoft.com/office/drawing/2014/main" id="{15FBD975-91A9-48B9-8593-60CED4F23966}"/>
                </a:ext>
              </a:extLst>
            </p:cNvPr>
            <p:cNvSpPr>
              <a:spLocks/>
            </p:cNvSpPr>
            <p:nvPr/>
          </p:nvSpPr>
          <p:spPr bwMode="auto">
            <a:xfrm>
              <a:off x="5158" y="2360"/>
              <a:ext cx="92" cy="184"/>
            </a:xfrm>
            <a:custGeom>
              <a:avLst/>
              <a:gdLst>
                <a:gd name="T0" fmla="*/ 128 w 139"/>
                <a:gd name="T1" fmla="*/ 256 h 277"/>
                <a:gd name="T2" fmla="*/ 104 w 139"/>
                <a:gd name="T3" fmla="*/ 256 h 277"/>
                <a:gd name="T4" fmla="*/ 80 w 139"/>
                <a:gd name="T5" fmla="*/ 232 h 277"/>
                <a:gd name="T6" fmla="*/ 80 w 139"/>
                <a:gd name="T7" fmla="*/ 149 h 277"/>
                <a:gd name="T8" fmla="*/ 102 w 139"/>
                <a:gd name="T9" fmla="*/ 149 h 277"/>
                <a:gd name="T10" fmla="*/ 112 w 139"/>
                <a:gd name="T11" fmla="*/ 139 h 277"/>
                <a:gd name="T12" fmla="*/ 102 w 139"/>
                <a:gd name="T13" fmla="*/ 128 h 277"/>
                <a:gd name="T14" fmla="*/ 80 w 139"/>
                <a:gd name="T15" fmla="*/ 128 h 277"/>
                <a:gd name="T16" fmla="*/ 80 w 139"/>
                <a:gd name="T17" fmla="*/ 45 h 277"/>
                <a:gd name="T18" fmla="*/ 104 w 139"/>
                <a:gd name="T19" fmla="*/ 21 h 277"/>
                <a:gd name="T20" fmla="*/ 128 w 139"/>
                <a:gd name="T21" fmla="*/ 21 h 277"/>
                <a:gd name="T22" fmla="*/ 139 w 139"/>
                <a:gd name="T23" fmla="*/ 11 h 277"/>
                <a:gd name="T24" fmla="*/ 128 w 139"/>
                <a:gd name="T25" fmla="*/ 0 h 277"/>
                <a:gd name="T26" fmla="*/ 104 w 139"/>
                <a:gd name="T27" fmla="*/ 0 h 277"/>
                <a:gd name="T28" fmla="*/ 70 w 139"/>
                <a:gd name="T29" fmla="*/ 16 h 277"/>
                <a:gd name="T30" fmla="*/ 35 w 139"/>
                <a:gd name="T31" fmla="*/ 0 h 277"/>
                <a:gd name="T32" fmla="*/ 11 w 139"/>
                <a:gd name="T33" fmla="*/ 0 h 277"/>
                <a:gd name="T34" fmla="*/ 0 w 139"/>
                <a:gd name="T35" fmla="*/ 11 h 277"/>
                <a:gd name="T36" fmla="*/ 11 w 139"/>
                <a:gd name="T37" fmla="*/ 21 h 277"/>
                <a:gd name="T38" fmla="*/ 35 w 139"/>
                <a:gd name="T39" fmla="*/ 21 h 277"/>
                <a:gd name="T40" fmla="*/ 59 w 139"/>
                <a:gd name="T41" fmla="*/ 45 h 277"/>
                <a:gd name="T42" fmla="*/ 59 w 139"/>
                <a:gd name="T43" fmla="*/ 128 h 277"/>
                <a:gd name="T44" fmla="*/ 38 w 139"/>
                <a:gd name="T45" fmla="*/ 128 h 277"/>
                <a:gd name="T46" fmla="*/ 27 w 139"/>
                <a:gd name="T47" fmla="*/ 139 h 277"/>
                <a:gd name="T48" fmla="*/ 38 w 139"/>
                <a:gd name="T49" fmla="*/ 149 h 277"/>
                <a:gd name="T50" fmla="*/ 59 w 139"/>
                <a:gd name="T51" fmla="*/ 149 h 277"/>
                <a:gd name="T52" fmla="*/ 59 w 139"/>
                <a:gd name="T53" fmla="*/ 232 h 277"/>
                <a:gd name="T54" fmla="*/ 35 w 139"/>
                <a:gd name="T55" fmla="*/ 256 h 277"/>
                <a:gd name="T56" fmla="*/ 11 w 139"/>
                <a:gd name="T57" fmla="*/ 256 h 277"/>
                <a:gd name="T58" fmla="*/ 0 w 139"/>
                <a:gd name="T59" fmla="*/ 267 h 277"/>
                <a:gd name="T60" fmla="*/ 11 w 139"/>
                <a:gd name="T61" fmla="*/ 277 h 277"/>
                <a:gd name="T62" fmla="*/ 35 w 139"/>
                <a:gd name="T63" fmla="*/ 277 h 277"/>
                <a:gd name="T64" fmla="*/ 70 w 139"/>
                <a:gd name="T65" fmla="*/ 261 h 277"/>
                <a:gd name="T66" fmla="*/ 104 w 139"/>
                <a:gd name="T67" fmla="*/ 277 h 277"/>
                <a:gd name="T68" fmla="*/ 128 w 139"/>
                <a:gd name="T69" fmla="*/ 277 h 277"/>
                <a:gd name="T70" fmla="*/ 139 w 139"/>
                <a:gd name="T71" fmla="*/ 267 h 277"/>
                <a:gd name="T72" fmla="*/ 128 w 139"/>
                <a:gd name="T73"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9" h="277">
                  <a:moveTo>
                    <a:pt x="128" y="256"/>
                  </a:moveTo>
                  <a:cubicBezTo>
                    <a:pt x="104" y="256"/>
                    <a:pt x="104" y="256"/>
                    <a:pt x="104" y="256"/>
                  </a:cubicBezTo>
                  <a:cubicBezTo>
                    <a:pt x="91" y="256"/>
                    <a:pt x="80" y="245"/>
                    <a:pt x="80" y="232"/>
                  </a:cubicBezTo>
                  <a:cubicBezTo>
                    <a:pt x="80" y="149"/>
                    <a:pt x="80" y="149"/>
                    <a:pt x="80" y="149"/>
                  </a:cubicBezTo>
                  <a:cubicBezTo>
                    <a:pt x="102" y="149"/>
                    <a:pt x="102" y="149"/>
                    <a:pt x="102" y="149"/>
                  </a:cubicBezTo>
                  <a:cubicBezTo>
                    <a:pt x="108" y="149"/>
                    <a:pt x="112" y="145"/>
                    <a:pt x="112" y="139"/>
                  </a:cubicBezTo>
                  <a:cubicBezTo>
                    <a:pt x="112" y="133"/>
                    <a:pt x="108" y="128"/>
                    <a:pt x="102" y="128"/>
                  </a:cubicBezTo>
                  <a:cubicBezTo>
                    <a:pt x="80" y="128"/>
                    <a:pt x="80" y="128"/>
                    <a:pt x="80" y="128"/>
                  </a:cubicBezTo>
                  <a:cubicBezTo>
                    <a:pt x="80" y="45"/>
                    <a:pt x="80" y="45"/>
                    <a:pt x="80" y="45"/>
                  </a:cubicBezTo>
                  <a:cubicBezTo>
                    <a:pt x="80" y="32"/>
                    <a:pt x="91" y="21"/>
                    <a:pt x="104" y="21"/>
                  </a:cubicBezTo>
                  <a:cubicBezTo>
                    <a:pt x="128" y="21"/>
                    <a:pt x="128" y="21"/>
                    <a:pt x="128" y="21"/>
                  </a:cubicBezTo>
                  <a:cubicBezTo>
                    <a:pt x="134" y="21"/>
                    <a:pt x="139" y="17"/>
                    <a:pt x="139" y="11"/>
                  </a:cubicBezTo>
                  <a:cubicBezTo>
                    <a:pt x="139" y="5"/>
                    <a:pt x="134" y="0"/>
                    <a:pt x="128" y="0"/>
                  </a:cubicBezTo>
                  <a:cubicBezTo>
                    <a:pt x="104" y="0"/>
                    <a:pt x="104" y="0"/>
                    <a:pt x="104" y="0"/>
                  </a:cubicBezTo>
                  <a:cubicBezTo>
                    <a:pt x="90" y="0"/>
                    <a:pt x="78" y="6"/>
                    <a:pt x="70" y="16"/>
                  </a:cubicBezTo>
                  <a:cubicBezTo>
                    <a:pt x="61" y="6"/>
                    <a:pt x="49" y="0"/>
                    <a:pt x="35" y="0"/>
                  </a:cubicBezTo>
                  <a:cubicBezTo>
                    <a:pt x="11" y="0"/>
                    <a:pt x="11" y="0"/>
                    <a:pt x="11" y="0"/>
                  </a:cubicBezTo>
                  <a:cubicBezTo>
                    <a:pt x="5" y="0"/>
                    <a:pt x="0" y="5"/>
                    <a:pt x="0" y="11"/>
                  </a:cubicBezTo>
                  <a:cubicBezTo>
                    <a:pt x="0" y="17"/>
                    <a:pt x="5" y="21"/>
                    <a:pt x="11" y="21"/>
                  </a:cubicBezTo>
                  <a:cubicBezTo>
                    <a:pt x="35" y="21"/>
                    <a:pt x="35" y="21"/>
                    <a:pt x="35" y="21"/>
                  </a:cubicBezTo>
                  <a:cubicBezTo>
                    <a:pt x="48" y="21"/>
                    <a:pt x="59" y="32"/>
                    <a:pt x="59" y="45"/>
                  </a:cubicBezTo>
                  <a:cubicBezTo>
                    <a:pt x="59" y="128"/>
                    <a:pt x="59" y="128"/>
                    <a:pt x="59" y="128"/>
                  </a:cubicBezTo>
                  <a:cubicBezTo>
                    <a:pt x="38" y="128"/>
                    <a:pt x="38" y="128"/>
                    <a:pt x="38" y="128"/>
                  </a:cubicBezTo>
                  <a:cubicBezTo>
                    <a:pt x="32" y="128"/>
                    <a:pt x="27" y="133"/>
                    <a:pt x="27" y="139"/>
                  </a:cubicBezTo>
                  <a:cubicBezTo>
                    <a:pt x="27" y="145"/>
                    <a:pt x="32" y="149"/>
                    <a:pt x="38" y="149"/>
                  </a:cubicBezTo>
                  <a:cubicBezTo>
                    <a:pt x="59" y="149"/>
                    <a:pt x="59" y="149"/>
                    <a:pt x="59" y="149"/>
                  </a:cubicBezTo>
                  <a:cubicBezTo>
                    <a:pt x="59" y="232"/>
                    <a:pt x="59" y="232"/>
                    <a:pt x="59" y="232"/>
                  </a:cubicBezTo>
                  <a:cubicBezTo>
                    <a:pt x="59" y="245"/>
                    <a:pt x="48" y="256"/>
                    <a:pt x="35" y="256"/>
                  </a:cubicBezTo>
                  <a:cubicBezTo>
                    <a:pt x="11" y="256"/>
                    <a:pt x="11" y="256"/>
                    <a:pt x="11" y="256"/>
                  </a:cubicBezTo>
                  <a:cubicBezTo>
                    <a:pt x="5" y="256"/>
                    <a:pt x="0" y="261"/>
                    <a:pt x="0" y="267"/>
                  </a:cubicBezTo>
                  <a:cubicBezTo>
                    <a:pt x="0" y="273"/>
                    <a:pt x="5" y="277"/>
                    <a:pt x="11" y="277"/>
                  </a:cubicBezTo>
                  <a:cubicBezTo>
                    <a:pt x="35" y="277"/>
                    <a:pt x="35" y="277"/>
                    <a:pt x="35" y="277"/>
                  </a:cubicBezTo>
                  <a:cubicBezTo>
                    <a:pt x="49" y="277"/>
                    <a:pt x="61" y="271"/>
                    <a:pt x="70" y="261"/>
                  </a:cubicBezTo>
                  <a:cubicBezTo>
                    <a:pt x="78" y="271"/>
                    <a:pt x="90" y="277"/>
                    <a:pt x="104" y="277"/>
                  </a:cubicBezTo>
                  <a:cubicBezTo>
                    <a:pt x="128" y="277"/>
                    <a:pt x="128" y="277"/>
                    <a:pt x="128" y="277"/>
                  </a:cubicBezTo>
                  <a:cubicBezTo>
                    <a:pt x="134" y="277"/>
                    <a:pt x="139" y="273"/>
                    <a:pt x="139" y="267"/>
                  </a:cubicBezTo>
                  <a:cubicBezTo>
                    <a:pt x="139" y="261"/>
                    <a:pt x="134" y="256"/>
                    <a:pt x="128"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87" name="Freeform 635">
            <a:extLst>
              <a:ext uri="{FF2B5EF4-FFF2-40B4-BE49-F238E27FC236}">
                <a16:creationId xmlns:a16="http://schemas.microsoft.com/office/drawing/2014/main" id="{7DB028D3-4ED1-4E6A-B4FD-B0E2AA83ECC2}"/>
              </a:ext>
            </a:extLst>
          </p:cNvPr>
          <p:cNvSpPr>
            <a:spLocks noChangeAspect="1" noEditPoints="1"/>
          </p:cNvSpPr>
          <p:nvPr/>
        </p:nvSpPr>
        <p:spPr bwMode="auto">
          <a:xfrm>
            <a:off x="9180524" y="4113334"/>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45 h 512"/>
              <a:gd name="T12" fmla="*/ 298 w 512"/>
              <a:gd name="T13" fmla="*/ 256 h 512"/>
              <a:gd name="T14" fmla="*/ 288 w 512"/>
              <a:gd name="T15" fmla="*/ 266 h 512"/>
              <a:gd name="T16" fmla="*/ 266 w 512"/>
              <a:gd name="T17" fmla="*/ 266 h 512"/>
              <a:gd name="T18" fmla="*/ 266 w 512"/>
              <a:gd name="T19" fmla="*/ 349 h 512"/>
              <a:gd name="T20" fmla="*/ 290 w 512"/>
              <a:gd name="T21" fmla="*/ 373 h 512"/>
              <a:gd name="T22" fmla="*/ 314 w 512"/>
              <a:gd name="T23" fmla="*/ 373 h 512"/>
              <a:gd name="T24" fmla="*/ 325 w 512"/>
              <a:gd name="T25" fmla="*/ 384 h 512"/>
              <a:gd name="T26" fmla="*/ 314 w 512"/>
              <a:gd name="T27" fmla="*/ 394 h 512"/>
              <a:gd name="T28" fmla="*/ 290 w 512"/>
              <a:gd name="T29" fmla="*/ 394 h 512"/>
              <a:gd name="T30" fmla="*/ 256 w 512"/>
              <a:gd name="T31" fmla="*/ 378 h 512"/>
              <a:gd name="T32" fmla="*/ 221 w 512"/>
              <a:gd name="T33" fmla="*/ 394 h 512"/>
              <a:gd name="T34" fmla="*/ 197 w 512"/>
              <a:gd name="T35" fmla="*/ 394 h 512"/>
              <a:gd name="T36" fmla="*/ 186 w 512"/>
              <a:gd name="T37" fmla="*/ 384 h 512"/>
              <a:gd name="T38" fmla="*/ 197 w 512"/>
              <a:gd name="T39" fmla="*/ 373 h 512"/>
              <a:gd name="T40" fmla="*/ 221 w 512"/>
              <a:gd name="T41" fmla="*/ 373 h 512"/>
              <a:gd name="T42" fmla="*/ 245 w 512"/>
              <a:gd name="T43" fmla="*/ 349 h 512"/>
              <a:gd name="T44" fmla="*/ 245 w 512"/>
              <a:gd name="T45" fmla="*/ 266 h 512"/>
              <a:gd name="T46" fmla="*/ 224 w 512"/>
              <a:gd name="T47" fmla="*/ 266 h 512"/>
              <a:gd name="T48" fmla="*/ 213 w 512"/>
              <a:gd name="T49" fmla="*/ 256 h 512"/>
              <a:gd name="T50" fmla="*/ 224 w 512"/>
              <a:gd name="T51" fmla="*/ 245 h 512"/>
              <a:gd name="T52" fmla="*/ 245 w 512"/>
              <a:gd name="T53" fmla="*/ 245 h 512"/>
              <a:gd name="T54" fmla="*/ 245 w 512"/>
              <a:gd name="T55" fmla="*/ 162 h 512"/>
              <a:gd name="T56" fmla="*/ 221 w 512"/>
              <a:gd name="T57" fmla="*/ 138 h 512"/>
              <a:gd name="T58" fmla="*/ 197 w 512"/>
              <a:gd name="T59" fmla="*/ 138 h 512"/>
              <a:gd name="T60" fmla="*/ 186 w 512"/>
              <a:gd name="T61" fmla="*/ 128 h 512"/>
              <a:gd name="T62" fmla="*/ 197 w 512"/>
              <a:gd name="T63" fmla="*/ 117 h 512"/>
              <a:gd name="T64" fmla="*/ 221 w 512"/>
              <a:gd name="T65" fmla="*/ 117 h 512"/>
              <a:gd name="T66" fmla="*/ 256 w 512"/>
              <a:gd name="T67" fmla="*/ 133 h 512"/>
              <a:gd name="T68" fmla="*/ 290 w 512"/>
              <a:gd name="T69" fmla="*/ 117 h 512"/>
              <a:gd name="T70" fmla="*/ 314 w 512"/>
              <a:gd name="T71" fmla="*/ 117 h 512"/>
              <a:gd name="T72" fmla="*/ 325 w 512"/>
              <a:gd name="T73" fmla="*/ 128 h 512"/>
              <a:gd name="T74" fmla="*/ 314 w 512"/>
              <a:gd name="T75" fmla="*/ 138 h 512"/>
              <a:gd name="T76" fmla="*/ 290 w 512"/>
              <a:gd name="T77" fmla="*/ 138 h 512"/>
              <a:gd name="T78" fmla="*/ 266 w 512"/>
              <a:gd name="T79" fmla="*/ 162 h 512"/>
              <a:gd name="T80" fmla="*/ 266 w 512"/>
              <a:gd name="T81" fmla="*/ 245 h 512"/>
              <a:gd name="T82" fmla="*/ 288 w 512"/>
              <a:gd name="T83"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45"/>
                </a:moveTo>
                <a:cubicBezTo>
                  <a:pt x="294" y="245"/>
                  <a:pt x="298" y="250"/>
                  <a:pt x="298" y="256"/>
                </a:cubicBezTo>
                <a:cubicBezTo>
                  <a:pt x="298" y="262"/>
                  <a:pt x="294" y="266"/>
                  <a:pt x="288" y="266"/>
                </a:cubicBezTo>
                <a:cubicBezTo>
                  <a:pt x="266" y="266"/>
                  <a:pt x="266" y="266"/>
                  <a:pt x="266" y="266"/>
                </a:cubicBezTo>
                <a:cubicBezTo>
                  <a:pt x="266" y="349"/>
                  <a:pt x="266" y="349"/>
                  <a:pt x="266" y="349"/>
                </a:cubicBezTo>
                <a:cubicBezTo>
                  <a:pt x="266" y="362"/>
                  <a:pt x="277" y="373"/>
                  <a:pt x="290" y="373"/>
                </a:cubicBezTo>
                <a:cubicBezTo>
                  <a:pt x="314" y="373"/>
                  <a:pt x="314" y="373"/>
                  <a:pt x="314" y="373"/>
                </a:cubicBezTo>
                <a:cubicBezTo>
                  <a:pt x="320" y="373"/>
                  <a:pt x="325" y="378"/>
                  <a:pt x="325" y="384"/>
                </a:cubicBezTo>
                <a:cubicBezTo>
                  <a:pt x="325" y="390"/>
                  <a:pt x="320" y="394"/>
                  <a:pt x="314" y="394"/>
                </a:cubicBezTo>
                <a:cubicBezTo>
                  <a:pt x="290" y="394"/>
                  <a:pt x="290" y="394"/>
                  <a:pt x="290" y="394"/>
                </a:cubicBezTo>
                <a:cubicBezTo>
                  <a:pt x="276" y="394"/>
                  <a:pt x="264" y="388"/>
                  <a:pt x="256" y="378"/>
                </a:cubicBezTo>
                <a:cubicBezTo>
                  <a:pt x="247" y="388"/>
                  <a:pt x="235" y="394"/>
                  <a:pt x="221" y="394"/>
                </a:cubicBezTo>
                <a:cubicBezTo>
                  <a:pt x="197" y="394"/>
                  <a:pt x="197" y="394"/>
                  <a:pt x="197" y="394"/>
                </a:cubicBezTo>
                <a:cubicBezTo>
                  <a:pt x="191" y="394"/>
                  <a:pt x="186" y="390"/>
                  <a:pt x="186" y="384"/>
                </a:cubicBezTo>
                <a:cubicBezTo>
                  <a:pt x="186" y="378"/>
                  <a:pt x="191" y="373"/>
                  <a:pt x="197" y="373"/>
                </a:cubicBezTo>
                <a:cubicBezTo>
                  <a:pt x="221" y="373"/>
                  <a:pt x="221" y="373"/>
                  <a:pt x="221" y="373"/>
                </a:cubicBezTo>
                <a:cubicBezTo>
                  <a:pt x="234" y="373"/>
                  <a:pt x="245" y="362"/>
                  <a:pt x="245" y="349"/>
                </a:cubicBezTo>
                <a:cubicBezTo>
                  <a:pt x="245" y="266"/>
                  <a:pt x="245" y="266"/>
                  <a:pt x="245" y="266"/>
                </a:cubicBezTo>
                <a:cubicBezTo>
                  <a:pt x="224" y="266"/>
                  <a:pt x="224" y="266"/>
                  <a:pt x="224" y="266"/>
                </a:cubicBezTo>
                <a:cubicBezTo>
                  <a:pt x="218" y="266"/>
                  <a:pt x="213" y="262"/>
                  <a:pt x="213" y="256"/>
                </a:cubicBezTo>
                <a:cubicBezTo>
                  <a:pt x="213" y="250"/>
                  <a:pt x="218" y="245"/>
                  <a:pt x="224" y="245"/>
                </a:cubicBezTo>
                <a:cubicBezTo>
                  <a:pt x="245" y="245"/>
                  <a:pt x="245" y="245"/>
                  <a:pt x="245" y="245"/>
                </a:cubicBezTo>
                <a:cubicBezTo>
                  <a:pt x="245" y="162"/>
                  <a:pt x="245" y="162"/>
                  <a:pt x="245" y="162"/>
                </a:cubicBezTo>
                <a:cubicBezTo>
                  <a:pt x="245" y="149"/>
                  <a:pt x="234" y="138"/>
                  <a:pt x="221" y="138"/>
                </a:cubicBezTo>
                <a:cubicBezTo>
                  <a:pt x="197" y="138"/>
                  <a:pt x="197" y="138"/>
                  <a:pt x="197" y="138"/>
                </a:cubicBezTo>
                <a:cubicBezTo>
                  <a:pt x="191" y="138"/>
                  <a:pt x="186" y="134"/>
                  <a:pt x="186" y="128"/>
                </a:cubicBezTo>
                <a:cubicBezTo>
                  <a:pt x="186" y="122"/>
                  <a:pt x="191" y="117"/>
                  <a:pt x="197" y="117"/>
                </a:cubicBezTo>
                <a:cubicBezTo>
                  <a:pt x="221" y="117"/>
                  <a:pt x="221" y="117"/>
                  <a:pt x="221" y="117"/>
                </a:cubicBezTo>
                <a:cubicBezTo>
                  <a:pt x="235" y="117"/>
                  <a:pt x="247" y="123"/>
                  <a:pt x="256" y="133"/>
                </a:cubicBezTo>
                <a:cubicBezTo>
                  <a:pt x="264" y="123"/>
                  <a:pt x="276" y="117"/>
                  <a:pt x="290" y="117"/>
                </a:cubicBezTo>
                <a:cubicBezTo>
                  <a:pt x="314" y="117"/>
                  <a:pt x="314" y="117"/>
                  <a:pt x="314" y="117"/>
                </a:cubicBezTo>
                <a:cubicBezTo>
                  <a:pt x="320" y="117"/>
                  <a:pt x="325" y="122"/>
                  <a:pt x="325" y="128"/>
                </a:cubicBezTo>
                <a:cubicBezTo>
                  <a:pt x="325" y="134"/>
                  <a:pt x="320" y="138"/>
                  <a:pt x="314" y="138"/>
                </a:cubicBezTo>
                <a:cubicBezTo>
                  <a:pt x="290" y="138"/>
                  <a:pt x="290" y="138"/>
                  <a:pt x="290" y="138"/>
                </a:cubicBezTo>
                <a:cubicBezTo>
                  <a:pt x="277" y="138"/>
                  <a:pt x="266" y="149"/>
                  <a:pt x="266" y="162"/>
                </a:cubicBezTo>
                <a:cubicBezTo>
                  <a:pt x="266" y="245"/>
                  <a:pt x="266" y="245"/>
                  <a:pt x="266" y="245"/>
                </a:cubicBezTo>
                <a:lnTo>
                  <a:pt x="288" y="24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585453547"/>
      </p:ext>
    </p:extLst>
  </p:cSld>
  <p:clrMapOvr>
    <a:masterClrMapping/>
  </p:clrMapOvr>
  <p:transition>
    <p:fade/>
  </p:transition>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Media/technology</a:t>
            </a:r>
          </a:p>
        </p:txBody>
      </p:sp>
      <p:sp>
        <p:nvSpPr>
          <p:cNvPr id="4" name="Title 3"/>
          <p:cNvSpPr>
            <a:spLocks noGrp="1"/>
          </p:cNvSpPr>
          <p:nvPr>
            <p:ph type="title"/>
          </p:nvPr>
        </p:nvSpPr>
        <p:spPr/>
        <p:txBody>
          <a:bodyPr/>
          <a:lstStyle/>
          <a:p>
            <a:r>
              <a:rPr lang="en-GB" dirty="0"/>
              <a:t>Iconography</a:t>
            </a:r>
          </a:p>
        </p:txBody>
      </p:sp>
      <p:sp>
        <p:nvSpPr>
          <p:cNvPr id="349" name="TextBox 348">
            <a:extLst>
              <a:ext uri="{FF2B5EF4-FFF2-40B4-BE49-F238E27FC236}">
                <a16:creationId xmlns:a16="http://schemas.microsoft.com/office/drawing/2014/main" id="{33D3BB51-D9F3-432C-BDBB-20E0F529F4F7}"/>
              </a:ext>
            </a:extLst>
          </p:cNvPr>
          <p:cNvSpPr txBox="1"/>
          <p:nvPr/>
        </p:nvSpPr>
        <p:spPr>
          <a:xfrm>
            <a:off x="437816"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op</a:t>
            </a:r>
          </a:p>
        </p:txBody>
      </p:sp>
      <p:grpSp>
        <p:nvGrpSpPr>
          <p:cNvPr id="350" name="Group 334">
            <a:extLst>
              <a:ext uri="{FF2B5EF4-FFF2-40B4-BE49-F238E27FC236}">
                <a16:creationId xmlns:a16="http://schemas.microsoft.com/office/drawing/2014/main" id="{2F5F5099-F6BB-4322-A999-CCBC0BFC7F88}"/>
              </a:ext>
            </a:extLst>
          </p:cNvPr>
          <p:cNvGrpSpPr>
            <a:grpSpLocks noChangeAspect="1"/>
          </p:cNvGrpSpPr>
          <p:nvPr/>
        </p:nvGrpSpPr>
        <p:grpSpPr bwMode="auto">
          <a:xfrm>
            <a:off x="919485" y="1700213"/>
            <a:ext cx="370763" cy="369676"/>
            <a:chOff x="4278" y="1171"/>
            <a:chExt cx="341" cy="340"/>
          </a:xfrm>
          <a:solidFill>
            <a:schemeClr val="accent4"/>
          </a:solidFill>
        </p:grpSpPr>
        <p:sp>
          <p:nvSpPr>
            <p:cNvPr id="351" name="Freeform 335">
              <a:extLst>
                <a:ext uri="{FF2B5EF4-FFF2-40B4-BE49-F238E27FC236}">
                  <a16:creationId xmlns:a16="http://schemas.microsoft.com/office/drawing/2014/main" id="{1875B663-D8A3-4F06-8681-AF22796A226E}"/>
                </a:ext>
              </a:extLst>
            </p:cNvPr>
            <p:cNvSpPr>
              <a:spLocks noEditPoints="1"/>
            </p:cNvSpPr>
            <p:nvPr/>
          </p:nvSpPr>
          <p:spPr bwMode="auto">
            <a:xfrm>
              <a:off x="4356" y="1249"/>
              <a:ext cx="184" cy="184"/>
            </a:xfrm>
            <a:custGeom>
              <a:avLst/>
              <a:gdLst>
                <a:gd name="T0" fmla="*/ 267 w 277"/>
                <a:gd name="T1" fmla="*/ 277 h 277"/>
                <a:gd name="T2" fmla="*/ 11 w 277"/>
                <a:gd name="T3" fmla="*/ 277 h 277"/>
                <a:gd name="T4" fmla="*/ 0 w 277"/>
                <a:gd name="T5" fmla="*/ 267 h 277"/>
                <a:gd name="T6" fmla="*/ 0 w 277"/>
                <a:gd name="T7" fmla="*/ 11 h 277"/>
                <a:gd name="T8" fmla="*/ 11 w 277"/>
                <a:gd name="T9" fmla="*/ 0 h 277"/>
                <a:gd name="T10" fmla="*/ 267 w 277"/>
                <a:gd name="T11" fmla="*/ 0 h 277"/>
                <a:gd name="T12" fmla="*/ 277 w 277"/>
                <a:gd name="T13" fmla="*/ 11 h 277"/>
                <a:gd name="T14" fmla="*/ 277 w 277"/>
                <a:gd name="T15" fmla="*/ 267 h 277"/>
                <a:gd name="T16" fmla="*/ 267 w 277"/>
                <a:gd name="T17" fmla="*/ 277 h 277"/>
                <a:gd name="T18" fmla="*/ 21 w 277"/>
                <a:gd name="T19" fmla="*/ 256 h 277"/>
                <a:gd name="T20" fmla="*/ 256 w 277"/>
                <a:gd name="T21" fmla="*/ 256 h 277"/>
                <a:gd name="T22" fmla="*/ 256 w 277"/>
                <a:gd name="T23" fmla="*/ 21 h 277"/>
                <a:gd name="T24" fmla="*/ 21 w 277"/>
                <a:gd name="T25" fmla="*/ 21 h 277"/>
                <a:gd name="T26" fmla="*/ 21 w 277"/>
                <a:gd name="T2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277">
                  <a:moveTo>
                    <a:pt x="267" y="277"/>
                  </a:moveTo>
                  <a:cubicBezTo>
                    <a:pt x="11" y="277"/>
                    <a:pt x="11" y="277"/>
                    <a:pt x="11" y="277"/>
                  </a:cubicBezTo>
                  <a:cubicBezTo>
                    <a:pt x="5" y="277"/>
                    <a:pt x="0" y="273"/>
                    <a:pt x="0" y="267"/>
                  </a:cubicBezTo>
                  <a:cubicBezTo>
                    <a:pt x="0" y="11"/>
                    <a:pt x="0" y="11"/>
                    <a:pt x="0" y="11"/>
                  </a:cubicBezTo>
                  <a:cubicBezTo>
                    <a:pt x="0" y="5"/>
                    <a:pt x="5" y="0"/>
                    <a:pt x="11" y="0"/>
                  </a:cubicBezTo>
                  <a:cubicBezTo>
                    <a:pt x="267" y="0"/>
                    <a:pt x="267" y="0"/>
                    <a:pt x="267" y="0"/>
                  </a:cubicBezTo>
                  <a:cubicBezTo>
                    <a:pt x="273" y="0"/>
                    <a:pt x="277" y="5"/>
                    <a:pt x="277" y="11"/>
                  </a:cubicBezTo>
                  <a:cubicBezTo>
                    <a:pt x="277" y="267"/>
                    <a:pt x="277" y="267"/>
                    <a:pt x="277" y="267"/>
                  </a:cubicBezTo>
                  <a:cubicBezTo>
                    <a:pt x="277" y="273"/>
                    <a:pt x="273" y="277"/>
                    <a:pt x="267" y="277"/>
                  </a:cubicBezTo>
                  <a:close/>
                  <a:moveTo>
                    <a:pt x="21" y="256"/>
                  </a:moveTo>
                  <a:cubicBezTo>
                    <a:pt x="256" y="256"/>
                    <a:pt x="256" y="256"/>
                    <a:pt x="256" y="256"/>
                  </a:cubicBezTo>
                  <a:cubicBezTo>
                    <a:pt x="256" y="21"/>
                    <a:pt x="256" y="21"/>
                    <a:pt x="256" y="21"/>
                  </a:cubicBezTo>
                  <a:cubicBezTo>
                    <a:pt x="21" y="21"/>
                    <a:pt x="21" y="21"/>
                    <a:pt x="21" y="21"/>
                  </a:cubicBezTo>
                  <a:lnTo>
                    <a:pt x="21"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2" name="Freeform 336">
              <a:extLst>
                <a:ext uri="{FF2B5EF4-FFF2-40B4-BE49-F238E27FC236}">
                  <a16:creationId xmlns:a16="http://schemas.microsoft.com/office/drawing/2014/main" id="{17B9A34F-3139-4FFE-BDBC-31C8CD341825}"/>
                </a:ext>
              </a:extLst>
            </p:cNvPr>
            <p:cNvSpPr>
              <a:spLocks noEditPoints="1"/>
            </p:cNvSpPr>
            <p:nvPr/>
          </p:nvSpPr>
          <p:spPr bwMode="auto">
            <a:xfrm>
              <a:off x="4278" y="11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3" name="Freeform 340">
            <a:extLst>
              <a:ext uri="{FF2B5EF4-FFF2-40B4-BE49-F238E27FC236}">
                <a16:creationId xmlns:a16="http://schemas.microsoft.com/office/drawing/2014/main" id="{732E10BA-4E7A-480D-AFD1-70825A06B48B}"/>
              </a:ext>
            </a:extLst>
          </p:cNvPr>
          <p:cNvSpPr>
            <a:spLocks noChangeAspect="1" noEditPoints="1"/>
          </p:cNvSpPr>
          <p:nvPr/>
        </p:nvSpPr>
        <p:spPr bwMode="auto">
          <a:xfrm>
            <a:off x="483424" y="1700213"/>
            <a:ext cx="369676" cy="370763"/>
          </a:xfrm>
          <a:custGeom>
            <a:avLst/>
            <a:gdLst>
              <a:gd name="T0" fmla="*/ 138 w 512"/>
              <a:gd name="T1" fmla="*/ 138 h 512"/>
              <a:gd name="T2" fmla="*/ 373 w 512"/>
              <a:gd name="T3" fmla="*/ 138 h 512"/>
              <a:gd name="T4" fmla="*/ 373 w 512"/>
              <a:gd name="T5" fmla="*/ 373 h 512"/>
              <a:gd name="T6" fmla="*/ 138 w 512"/>
              <a:gd name="T7" fmla="*/ 373 h 512"/>
              <a:gd name="T8" fmla="*/ 138 w 512"/>
              <a:gd name="T9" fmla="*/ 138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4 w 512"/>
              <a:gd name="T21" fmla="*/ 128 h 512"/>
              <a:gd name="T22" fmla="*/ 384 w 512"/>
              <a:gd name="T23" fmla="*/ 117 h 512"/>
              <a:gd name="T24" fmla="*/ 128 w 512"/>
              <a:gd name="T25" fmla="*/ 117 h 512"/>
              <a:gd name="T26" fmla="*/ 117 w 512"/>
              <a:gd name="T27" fmla="*/ 128 h 512"/>
              <a:gd name="T28" fmla="*/ 117 w 512"/>
              <a:gd name="T29" fmla="*/ 384 h 512"/>
              <a:gd name="T30" fmla="*/ 128 w 512"/>
              <a:gd name="T31" fmla="*/ 394 h 512"/>
              <a:gd name="T32" fmla="*/ 384 w 512"/>
              <a:gd name="T33" fmla="*/ 394 h 512"/>
              <a:gd name="T34" fmla="*/ 394 w 512"/>
              <a:gd name="T35" fmla="*/ 384 h 512"/>
              <a:gd name="T36" fmla="*/ 394 w 512"/>
              <a:gd name="T3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138" y="138"/>
                </a:moveTo>
                <a:cubicBezTo>
                  <a:pt x="373" y="138"/>
                  <a:pt x="373" y="138"/>
                  <a:pt x="373" y="138"/>
                </a:cubicBezTo>
                <a:cubicBezTo>
                  <a:pt x="373" y="373"/>
                  <a:pt x="373" y="373"/>
                  <a:pt x="373" y="373"/>
                </a:cubicBezTo>
                <a:cubicBezTo>
                  <a:pt x="138" y="373"/>
                  <a:pt x="138" y="373"/>
                  <a:pt x="138" y="373"/>
                </a:cubicBezTo>
                <a:lnTo>
                  <a:pt x="138"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128" y="117"/>
                  <a:pt x="128" y="117"/>
                  <a:pt x="128" y="117"/>
                </a:cubicBezTo>
                <a:cubicBezTo>
                  <a:pt x="122" y="117"/>
                  <a:pt x="117" y="122"/>
                  <a:pt x="117" y="128"/>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12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4" name="TextBox 353">
            <a:extLst>
              <a:ext uri="{FF2B5EF4-FFF2-40B4-BE49-F238E27FC236}">
                <a16:creationId xmlns:a16="http://schemas.microsoft.com/office/drawing/2014/main" id="{D79D961D-353B-4C9C-A6D8-F8442A25FC99}"/>
              </a:ext>
            </a:extLst>
          </p:cNvPr>
          <p:cNvSpPr txBox="1"/>
          <p:nvPr/>
        </p:nvSpPr>
        <p:spPr>
          <a:xfrm>
            <a:off x="1312247"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wind</a:t>
            </a:r>
          </a:p>
        </p:txBody>
      </p:sp>
      <p:grpSp>
        <p:nvGrpSpPr>
          <p:cNvPr id="355" name="Group 715">
            <a:extLst>
              <a:ext uri="{FF2B5EF4-FFF2-40B4-BE49-F238E27FC236}">
                <a16:creationId xmlns:a16="http://schemas.microsoft.com/office/drawing/2014/main" id="{69BD6788-79D1-4AF0-AD04-4FE10CA7B2C9}"/>
              </a:ext>
            </a:extLst>
          </p:cNvPr>
          <p:cNvGrpSpPr>
            <a:grpSpLocks noChangeAspect="1"/>
          </p:cNvGrpSpPr>
          <p:nvPr/>
        </p:nvGrpSpPr>
        <p:grpSpPr bwMode="auto">
          <a:xfrm>
            <a:off x="1792039" y="1700213"/>
            <a:ext cx="369021" cy="370106"/>
            <a:chOff x="3459" y="2705"/>
            <a:chExt cx="340" cy="341"/>
          </a:xfrm>
          <a:solidFill>
            <a:schemeClr val="accent2"/>
          </a:solidFill>
        </p:grpSpPr>
        <p:sp>
          <p:nvSpPr>
            <p:cNvPr id="356" name="Freeform 716">
              <a:extLst>
                <a:ext uri="{FF2B5EF4-FFF2-40B4-BE49-F238E27FC236}">
                  <a16:creationId xmlns:a16="http://schemas.microsoft.com/office/drawing/2014/main" id="{1E49DDE8-F447-49DE-8F9F-4522F63119AD}"/>
                </a:ext>
              </a:extLst>
            </p:cNvPr>
            <p:cNvSpPr>
              <a:spLocks noEditPoints="1"/>
            </p:cNvSpPr>
            <p:nvPr/>
          </p:nvSpPr>
          <p:spPr bwMode="auto">
            <a:xfrm>
              <a:off x="3459" y="270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7" name="Freeform 717">
              <a:extLst>
                <a:ext uri="{FF2B5EF4-FFF2-40B4-BE49-F238E27FC236}">
                  <a16:creationId xmlns:a16="http://schemas.microsoft.com/office/drawing/2014/main" id="{ABC73558-49E8-4151-B8AC-DC1940BC1EE0}"/>
                </a:ext>
              </a:extLst>
            </p:cNvPr>
            <p:cNvSpPr>
              <a:spLocks noEditPoints="1"/>
            </p:cNvSpPr>
            <p:nvPr/>
          </p:nvSpPr>
          <p:spPr bwMode="auto">
            <a:xfrm>
              <a:off x="3523" y="2797"/>
              <a:ext cx="205" cy="157"/>
            </a:xfrm>
            <a:custGeom>
              <a:avLst/>
              <a:gdLst>
                <a:gd name="T0" fmla="*/ 298 w 309"/>
                <a:gd name="T1" fmla="*/ 235 h 236"/>
                <a:gd name="T2" fmla="*/ 293 w 309"/>
                <a:gd name="T3" fmla="*/ 233 h 236"/>
                <a:gd name="T4" fmla="*/ 192 w 309"/>
                <a:gd name="T5" fmla="*/ 170 h 236"/>
                <a:gd name="T6" fmla="*/ 192 w 309"/>
                <a:gd name="T7" fmla="*/ 224 h 236"/>
                <a:gd name="T8" fmla="*/ 186 w 309"/>
                <a:gd name="T9" fmla="*/ 234 h 236"/>
                <a:gd name="T10" fmla="*/ 175 w 309"/>
                <a:gd name="T11" fmla="*/ 233 h 236"/>
                <a:gd name="T12" fmla="*/ 5 w 309"/>
                <a:gd name="T13" fmla="*/ 127 h 236"/>
                <a:gd name="T14" fmla="*/ 0 w 309"/>
                <a:gd name="T15" fmla="*/ 118 h 236"/>
                <a:gd name="T16" fmla="*/ 5 w 309"/>
                <a:gd name="T17" fmla="*/ 109 h 236"/>
                <a:gd name="T18" fmla="*/ 175 w 309"/>
                <a:gd name="T19" fmla="*/ 2 h 236"/>
                <a:gd name="T20" fmla="*/ 186 w 309"/>
                <a:gd name="T21" fmla="*/ 2 h 236"/>
                <a:gd name="T22" fmla="*/ 192 w 309"/>
                <a:gd name="T23" fmla="*/ 11 h 236"/>
                <a:gd name="T24" fmla="*/ 192 w 309"/>
                <a:gd name="T25" fmla="*/ 65 h 236"/>
                <a:gd name="T26" fmla="*/ 293 w 309"/>
                <a:gd name="T27" fmla="*/ 2 h 236"/>
                <a:gd name="T28" fmla="*/ 304 w 309"/>
                <a:gd name="T29" fmla="*/ 2 h 236"/>
                <a:gd name="T30" fmla="*/ 309 w 309"/>
                <a:gd name="T31" fmla="*/ 11 h 236"/>
                <a:gd name="T32" fmla="*/ 309 w 309"/>
                <a:gd name="T33" fmla="*/ 224 h 236"/>
                <a:gd name="T34" fmla="*/ 304 w 309"/>
                <a:gd name="T35" fmla="*/ 234 h 236"/>
                <a:gd name="T36" fmla="*/ 298 w 309"/>
                <a:gd name="T37" fmla="*/ 235 h 236"/>
                <a:gd name="T38" fmla="*/ 181 w 309"/>
                <a:gd name="T39" fmla="*/ 140 h 236"/>
                <a:gd name="T40" fmla="*/ 187 w 309"/>
                <a:gd name="T41" fmla="*/ 142 h 236"/>
                <a:gd name="T42" fmla="*/ 288 w 309"/>
                <a:gd name="T43" fmla="*/ 205 h 236"/>
                <a:gd name="T44" fmla="*/ 288 w 309"/>
                <a:gd name="T45" fmla="*/ 30 h 236"/>
                <a:gd name="T46" fmla="*/ 187 w 309"/>
                <a:gd name="T47" fmla="*/ 93 h 236"/>
                <a:gd name="T48" fmla="*/ 176 w 309"/>
                <a:gd name="T49" fmla="*/ 94 h 236"/>
                <a:gd name="T50" fmla="*/ 170 w 309"/>
                <a:gd name="T51" fmla="*/ 84 h 236"/>
                <a:gd name="T52" fmla="*/ 170 w 309"/>
                <a:gd name="T53" fmla="*/ 30 h 236"/>
                <a:gd name="T54" fmla="*/ 30 w 309"/>
                <a:gd name="T55" fmla="*/ 118 h 236"/>
                <a:gd name="T56" fmla="*/ 170 w 309"/>
                <a:gd name="T57" fmla="*/ 205 h 236"/>
                <a:gd name="T58" fmla="*/ 170 w 309"/>
                <a:gd name="T59" fmla="*/ 151 h 236"/>
                <a:gd name="T60" fmla="*/ 176 w 309"/>
                <a:gd name="T61" fmla="*/ 142 h 236"/>
                <a:gd name="T62" fmla="*/ 181 w 309"/>
                <a:gd name="T63"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9" h="236">
                  <a:moveTo>
                    <a:pt x="298" y="235"/>
                  </a:moveTo>
                  <a:cubicBezTo>
                    <a:pt x="296" y="235"/>
                    <a:pt x="294" y="234"/>
                    <a:pt x="293" y="233"/>
                  </a:cubicBezTo>
                  <a:cubicBezTo>
                    <a:pt x="192" y="170"/>
                    <a:pt x="192" y="170"/>
                    <a:pt x="192" y="170"/>
                  </a:cubicBezTo>
                  <a:cubicBezTo>
                    <a:pt x="192" y="224"/>
                    <a:pt x="192" y="224"/>
                    <a:pt x="192" y="224"/>
                  </a:cubicBezTo>
                  <a:cubicBezTo>
                    <a:pt x="192" y="228"/>
                    <a:pt x="190" y="232"/>
                    <a:pt x="186" y="234"/>
                  </a:cubicBezTo>
                  <a:cubicBezTo>
                    <a:pt x="183" y="236"/>
                    <a:pt x="179" y="235"/>
                    <a:pt x="175" y="233"/>
                  </a:cubicBezTo>
                  <a:cubicBezTo>
                    <a:pt x="5" y="127"/>
                    <a:pt x="5" y="127"/>
                    <a:pt x="5" y="127"/>
                  </a:cubicBezTo>
                  <a:cubicBezTo>
                    <a:pt x="2" y="125"/>
                    <a:pt x="0" y="121"/>
                    <a:pt x="0" y="118"/>
                  </a:cubicBezTo>
                  <a:cubicBezTo>
                    <a:pt x="0" y="114"/>
                    <a:pt x="2" y="111"/>
                    <a:pt x="5" y="109"/>
                  </a:cubicBezTo>
                  <a:cubicBezTo>
                    <a:pt x="175" y="2"/>
                    <a:pt x="175" y="2"/>
                    <a:pt x="175" y="2"/>
                  </a:cubicBezTo>
                  <a:cubicBezTo>
                    <a:pt x="179" y="0"/>
                    <a:pt x="183" y="0"/>
                    <a:pt x="186" y="2"/>
                  </a:cubicBezTo>
                  <a:cubicBezTo>
                    <a:pt x="190" y="4"/>
                    <a:pt x="192" y="7"/>
                    <a:pt x="192" y="11"/>
                  </a:cubicBezTo>
                  <a:cubicBezTo>
                    <a:pt x="192" y="65"/>
                    <a:pt x="192" y="65"/>
                    <a:pt x="192" y="65"/>
                  </a:cubicBezTo>
                  <a:cubicBezTo>
                    <a:pt x="293" y="2"/>
                    <a:pt x="293" y="2"/>
                    <a:pt x="293" y="2"/>
                  </a:cubicBezTo>
                  <a:cubicBezTo>
                    <a:pt x="296" y="0"/>
                    <a:pt x="300" y="0"/>
                    <a:pt x="304" y="2"/>
                  </a:cubicBezTo>
                  <a:cubicBezTo>
                    <a:pt x="307" y="4"/>
                    <a:pt x="309" y="7"/>
                    <a:pt x="309" y="11"/>
                  </a:cubicBezTo>
                  <a:cubicBezTo>
                    <a:pt x="309" y="224"/>
                    <a:pt x="309" y="224"/>
                    <a:pt x="309" y="224"/>
                  </a:cubicBezTo>
                  <a:cubicBezTo>
                    <a:pt x="309" y="228"/>
                    <a:pt x="307" y="232"/>
                    <a:pt x="304" y="234"/>
                  </a:cubicBezTo>
                  <a:cubicBezTo>
                    <a:pt x="302" y="235"/>
                    <a:pt x="300" y="235"/>
                    <a:pt x="298" y="235"/>
                  </a:cubicBezTo>
                  <a:close/>
                  <a:moveTo>
                    <a:pt x="181" y="140"/>
                  </a:moveTo>
                  <a:cubicBezTo>
                    <a:pt x="183" y="140"/>
                    <a:pt x="185" y="141"/>
                    <a:pt x="187" y="142"/>
                  </a:cubicBezTo>
                  <a:cubicBezTo>
                    <a:pt x="288" y="205"/>
                    <a:pt x="288" y="205"/>
                    <a:pt x="288" y="205"/>
                  </a:cubicBezTo>
                  <a:cubicBezTo>
                    <a:pt x="288" y="30"/>
                    <a:pt x="288" y="30"/>
                    <a:pt x="288" y="30"/>
                  </a:cubicBezTo>
                  <a:cubicBezTo>
                    <a:pt x="187" y="93"/>
                    <a:pt x="187" y="93"/>
                    <a:pt x="187" y="93"/>
                  </a:cubicBezTo>
                  <a:cubicBezTo>
                    <a:pt x="183" y="95"/>
                    <a:pt x="179" y="96"/>
                    <a:pt x="176" y="94"/>
                  </a:cubicBezTo>
                  <a:cubicBezTo>
                    <a:pt x="172" y="92"/>
                    <a:pt x="170" y="88"/>
                    <a:pt x="170" y="84"/>
                  </a:cubicBezTo>
                  <a:cubicBezTo>
                    <a:pt x="170" y="30"/>
                    <a:pt x="170" y="30"/>
                    <a:pt x="170" y="30"/>
                  </a:cubicBezTo>
                  <a:cubicBezTo>
                    <a:pt x="30" y="118"/>
                    <a:pt x="30" y="118"/>
                    <a:pt x="30" y="118"/>
                  </a:cubicBezTo>
                  <a:cubicBezTo>
                    <a:pt x="170" y="205"/>
                    <a:pt x="170" y="205"/>
                    <a:pt x="170" y="205"/>
                  </a:cubicBezTo>
                  <a:cubicBezTo>
                    <a:pt x="170" y="151"/>
                    <a:pt x="170" y="151"/>
                    <a:pt x="170" y="151"/>
                  </a:cubicBezTo>
                  <a:cubicBezTo>
                    <a:pt x="170" y="147"/>
                    <a:pt x="172" y="144"/>
                    <a:pt x="176" y="142"/>
                  </a:cubicBezTo>
                  <a:cubicBezTo>
                    <a:pt x="177" y="141"/>
                    <a:pt x="179" y="140"/>
                    <a:pt x="181"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8" name="Freeform 721">
            <a:extLst>
              <a:ext uri="{FF2B5EF4-FFF2-40B4-BE49-F238E27FC236}">
                <a16:creationId xmlns:a16="http://schemas.microsoft.com/office/drawing/2014/main" id="{35E1AB2B-961A-490B-9B0F-F13E47304342}"/>
              </a:ext>
            </a:extLst>
          </p:cNvPr>
          <p:cNvSpPr>
            <a:spLocks noChangeAspect="1" noEditPoints="1"/>
          </p:cNvSpPr>
          <p:nvPr/>
        </p:nvSpPr>
        <p:spPr bwMode="auto">
          <a:xfrm>
            <a:off x="1356633" y="1700213"/>
            <a:ext cx="369021" cy="369021"/>
          </a:xfrm>
          <a:custGeom>
            <a:avLst/>
            <a:gdLst>
              <a:gd name="T0" fmla="*/ 283 w 512"/>
              <a:gd name="T1" fmla="*/ 231 h 512"/>
              <a:gd name="T2" fmla="*/ 384 w 512"/>
              <a:gd name="T3" fmla="*/ 168 h 512"/>
              <a:gd name="T4" fmla="*/ 384 w 512"/>
              <a:gd name="T5" fmla="*/ 343 h 512"/>
              <a:gd name="T6" fmla="*/ 283 w 512"/>
              <a:gd name="T7" fmla="*/ 280 h 512"/>
              <a:gd name="T8" fmla="*/ 277 w 512"/>
              <a:gd name="T9" fmla="*/ 278 h 512"/>
              <a:gd name="T10" fmla="*/ 272 w 512"/>
              <a:gd name="T11" fmla="*/ 280 h 512"/>
              <a:gd name="T12" fmla="*/ 266 w 512"/>
              <a:gd name="T13" fmla="*/ 289 h 512"/>
              <a:gd name="T14" fmla="*/ 266 w 512"/>
              <a:gd name="T15" fmla="*/ 343 h 512"/>
              <a:gd name="T16" fmla="*/ 126 w 512"/>
              <a:gd name="T17" fmla="*/ 256 h 512"/>
              <a:gd name="T18" fmla="*/ 266 w 512"/>
              <a:gd name="T19" fmla="*/ 168 h 512"/>
              <a:gd name="T20" fmla="*/ 266 w 512"/>
              <a:gd name="T21" fmla="*/ 222 h 512"/>
              <a:gd name="T22" fmla="*/ 272 w 512"/>
              <a:gd name="T23" fmla="*/ 232 h 512"/>
              <a:gd name="T24" fmla="*/ 283 w 512"/>
              <a:gd name="T25" fmla="*/ 231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05 w 512"/>
              <a:gd name="T37" fmla="*/ 149 h 512"/>
              <a:gd name="T38" fmla="*/ 400 w 512"/>
              <a:gd name="T39" fmla="*/ 140 h 512"/>
              <a:gd name="T40" fmla="*/ 389 w 512"/>
              <a:gd name="T41" fmla="*/ 140 h 512"/>
              <a:gd name="T42" fmla="*/ 288 w 512"/>
              <a:gd name="T43" fmla="*/ 203 h 512"/>
              <a:gd name="T44" fmla="*/ 288 w 512"/>
              <a:gd name="T45" fmla="*/ 149 h 512"/>
              <a:gd name="T46" fmla="*/ 282 w 512"/>
              <a:gd name="T47" fmla="*/ 140 h 512"/>
              <a:gd name="T48" fmla="*/ 271 w 512"/>
              <a:gd name="T49" fmla="*/ 140 h 512"/>
              <a:gd name="T50" fmla="*/ 101 w 512"/>
              <a:gd name="T51" fmla="*/ 247 h 512"/>
              <a:gd name="T52" fmla="*/ 96 w 512"/>
              <a:gd name="T53" fmla="*/ 256 h 512"/>
              <a:gd name="T54" fmla="*/ 101 w 512"/>
              <a:gd name="T55" fmla="*/ 265 h 512"/>
              <a:gd name="T56" fmla="*/ 271 w 512"/>
              <a:gd name="T57" fmla="*/ 371 h 512"/>
              <a:gd name="T58" fmla="*/ 282 w 512"/>
              <a:gd name="T59" fmla="*/ 372 h 512"/>
              <a:gd name="T60" fmla="*/ 288 w 512"/>
              <a:gd name="T61" fmla="*/ 362 h 512"/>
              <a:gd name="T62" fmla="*/ 288 w 512"/>
              <a:gd name="T63" fmla="*/ 308 h 512"/>
              <a:gd name="T64" fmla="*/ 389 w 512"/>
              <a:gd name="T65" fmla="*/ 371 h 512"/>
              <a:gd name="T66" fmla="*/ 394 w 512"/>
              <a:gd name="T67" fmla="*/ 373 h 512"/>
              <a:gd name="T68" fmla="*/ 400 w 512"/>
              <a:gd name="T69" fmla="*/ 372 h 512"/>
              <a:gd name="T70" fmla="*/ 405 w 512"/>
              <a:gd name="T71" fmla="*/ 362 h 512"/>
              <a:gd name="T72" fmla="*/ 405 w 512"/>
              <a:gd name="T73"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3" y="231"/>
                </a:moveTo>
                <a:cubicBezTo>
                  <a:pt x="384" y="168"/>
                  <a:pt x="384" y="168"/>
                  <a:pt x="384" y="168"/>
                </a:cubicBezTo>
                <a:cubicBezTo>
                  <a:pt x="384" y="343"/>
                  <a:pt x="384" y="343"/>
                  <a:pt x="384" y="343"/>
                </a:cubicBezTo>
                <a:cubicBezTo>
                  <a:pt x="283" y="280"/>
                  <a:pt x="283" y="280"/>
                  <a:pt x="283" y="280"/>
                </a:cubicBezTo>
                <a:cubicBezTo>
                  <a:pt x="281" y="279"/>
                  <a:pt x="279" y="278"/>
                  <a:pt x="277" y="278"/>
                </a:cubicBezTo>
                <a:cubicBezTo>
                  <a:pt x="275" y="278"/>
                  <a:pt x="273" y="279"/>
                  <a:pt x="272" y="280"/>
                </a:cubicBezTo>
                <a:cubicBezTo>
                  <a:pt x="268" y="282"/>
                  <a:pt x="266" y="285"/>
                  <a:pt x="266" y="289"/>
                </a:cubicBezTo>
                <a:cubicBezTo>
                  <a:pt x="266" y="343"/>
                  <a:pt x="266" y="343"/>
                  <a:pt x="266" y="343"/>
                </a:cubicBezTo>
                <a:cubicBezTo>
                  <a:pt x="126" y="256"/>
                  <a:pt x="126" y="256"/>
                  <a:pt x="126" y="256"/>
                </a:cubicBezTo>
                <a:cubicBezTo>
                  <a:pt x="266" y="168"/>
                  <a:pt x="266" y="168"/>
                  <a:pt x="266" y="168"/>
                </a:cubicBezTo>
                <a:cubicBezTo>
                  <a:pt x="266" y="222"/>
                  <a:pt x="266" y="222"/>
                  <a:pt x="266" y="222"/>
                </a:cubicBezTo>
                <a:cubicBezTo>
                  <a:pt x="266" y="226"/>
                  <a:pt x="268" y="230"/>
                  <a:pt x="272" y="232"/>
                </a:cubicBezTo>
                <a:cubicBezTo>
                  <a:pt x="275" y="234"/>
                  <a:pt x="279" y="233"/>
                  <a:pt x="283" y="23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5"/>
                  <a:pt x="403" y="142"/>
                  <a:pt x="400" y="140"/>
                </a:cubicBezTo>
                <a:cubicBezTo>
                  <a:pt x="396" y="138"/>
                  <a:pt x="392" y="138"/>
                  <a:pt x="389" y="140"/>
                </a:cubicBezTo>
                <a:cubicBezTo>
                  <a:pt x="288" y="203"/>
                  <a:pt x="288" y="203"/>
                  <a:pt x="288" y="203"/>
                </a:cubicBezTo>
                <a:cubicBezTo>
                  <a:pt x="288" y="149"/>
                  <a:pt x="288" y="149"/>
                  <a:pt x="288" y="149"/>
                </a:cubicBezTo>
                <a:cubicBezTo>
                  <a:pt x="288" y="145"/>
                  <a:pt x="286" y="142"/>
                  <a:pt x="282" y="140"/>
                </a:cubicBezTo>
                <a:cubicBezTo>
                  <a:pt x="279" y="138"/>
                  <a:pt x="275" y="138"/>
                  <a:pt x="271" y="140"/>
                </a:cubicBezTo>
                <a:cubicBezTo>
                  <a:pt x="101" y="247"/>
                  <a:pt x="101" y="247"/>
                  <a:pt x="101" y="247"/>
                </a:cubicBezTo>
                <a:cubicBezTo>
                  <a:pt x="98" y="249"/>
                  <a:pt x="96" y="252"/>
                  <a:pt x="96" y="256"/>
                </a:cubicBezTo>
                <a:cubicBezTo>
                  <a:pt x="96" y="259"/>
                  <a:pt x="98" y="263"/>
                  <a:pt x="101" y="265"/>
                </a:cubicBezTo>
                <a:cubicBezTo>
                  <a:pt x="271" y="371"/>
                  <a:pt x="271" y="371"/>
                  <a:pt x="271" y="371"/>
                </a:cubicBezTo>
                <a:cubicBezTo>
                  <a:pt x="275" y="373"/>
                  <a:pt x="279" y="374"/>
                  <a:pt x="282" y="372"/>
                </a:cubicBezTo>
                <a:cubicBezTo>
                  <a:pt x="286" y="370"/>
                  <a:pt x="288" y="366"/>
                  <a:pt x="288" y="362"/>
                </a:cubicBezTo>
                <a:cubicBezTo>
                  <a:pt x="288" y="308"/>
                  <a:pt x="288" y="308"/>
                  <a:pt x="288" y="308"/>
                </a:cubicBezTo>
                <a:cubicBezTo>
                  <a:pt x="389" y="371"/>
                  <a:pt x="389" y="371"/>
                  <a:pt x="389" y="371"/>
                </a:cubicBezTo>
                <a:cubicBezTo>
                  <a:pt x="390" y="372"/>
                  <a:pt x="392" y="373"/>
                  <a:pt x="394" y="373"/>
                </a:cubicBezTo>
                <a:cubicBezTo>
                  <a:pt x="396" y="373"/>
                  <a:pt x="398" y="373"/>
                  <a:pt x="400" y="372"/>
                </a:cubicBezTo>
                <a:cubicBezTo>
                  <a:pt x="403" y="370"/>
                  <a:pt x="405" y="366"/>
                  <a:pt x="405" y="362"/>
                </a:cubicBezTo>
                <a:lnTo>
                  <a:pt x="405" y="14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9" name="TextBox 358">
            <a:extLst>
              <a:ext uri="{FF2B5EF4-FFF2-40B4-BE49-F238E27FC236}">
                <a16:creationId xmlns:a16="http://schemas.microsoft.com/office/drawing/2014/main" id="{89E21072-AE30-42EA-8D09-348BA8E24F1E}"/>
              </a:ext>
            </a:extLst>
          </p:cNvPr>
          <p:cNvSpPr txBox="1"/>
          <p:nvPr/>
        </p:nvSpPr>
        <p:spPr>
          <a:xfrm>
            <a:off x="2186678"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cord</a:t>
            </a:r>
          </a:p>
        </p:txBody>
      </p:sp>
      <p:grpSp>
        <p:nvGrpSpPr>
          <p:cNvPr id="360" name="Group 594">
            <a:extLst>
              <a:ext uri="{FF2B5EF4-FFF2-40B4-BE49-F238E27FC236}">
                <a16:creationId xmlns:a16="http://schemas.microsoft.com/office/drawing/2014/main" id="{8E006BDC-1488-45A1-8111-609D5B5FBD02}"/>
              </a:ext>
            </a:extLst>
          </p:cNvPr>
          <p:cNvGrpSpPr>
            <a:grpSpLocks noChangeAspect="1"/>
          </p:cNvGrpSpPr>
          <p:nvPr/>
        </p:nvGrpSpPr>
        <p:grpSpPr bwMode="auto">
          <a:xfrm>
            <a:off x="2662851" y="1700213"/>
            <a:ext cx="369021" cy="369021"/>
            <a:chOff x="5828" y="2316"/>
            <a:chExt cx="340" cy="340"/>
          </a:xfrm>
          <a:solidFill>
            <a:schemeClr val="accent1"/>
          </a:solidFill>
        </p:grpSpPr>
        <p:sp>
          <p:nvSpPr>
            <p:cNvPr id="361" name="Freeform 595">
              <a:extLst>
                <a:ext uri="{FF2B5EF4-FFF2-40B4-BE49-F238E27FC236}">
                  <a16:creationId xmlns:a16="http://schemas.microsoft.com/office/drawing/2014/main" id="{A93BE039-5ED9-4442-BCD8-E6BC8C8218A0}"/>
                </a:ext>
              </a:extLst>
            </p:cNvPr>
            <p:cNvSpPr>
              <a:spLocks noEditPoints="1"/>
            </p:cNvSpPr>
            <p:nvPr/>
          </p:nvSpPr>
          <p:spPr bwMode="auto">
            <a:xfrm>
              <a:off x="5892" y="2436"/>
              <a:ext cx="212" cy="92"/>
            </a:xfrm>
            <a:custGeom>
              <a:avLst/>
              <a:gdLst>
                <a:gd name="T0" fmla="*/ 320 w 320"/>
                <a:gd name="T1" fmla="*/ 69 h 139"/>
                <a:gd name="T2" fmla="*/ 250 w 320"/>
                <a:gd name="T3" fmla="*/ 0 h 139"/>
                <a:gd name="T4" fmla="*/ 181 w 320"/>
                <a:gd name="T5" fmla="*/ 69 h 139"/>
                <a:gd name="T6" fmla="*/ 200 w 320"/>
                <a:gd name="T7" fmla="*/ 117 h 139"/>
                <a:gd name="T8" fmla="*/ 119 w 320"/>
                <a:gd name="T9" fmla="*/ 117 h 139"/>
                <a:gd name="T10" fmla="*/ 138 w 320"/>
                <a:gd name="T11" fmla="*/ 69 h 139"/>
                <a:gd name="T12" fmla="*/ 69 w 320"/>
                <a:gd name="T13" fmla="*/ 0 h 139"/>
                <a:gd name="T14" fmla="*/ 0 w 320"/>
                <a:gd name="T15" fmla="*/ 69 h 139"/>
                <a:gd name="T16" fmla="*/ 62 w 320"/>
                <a:gd name="T17" fmla="*/ 138 h 139"/>
                <a:gd name="T18" fmla="*/ 64 w 320"/>
                <a:gd name="T19" fmla="*/ 139 h 139"/>
                <a:gd name="T20" fmla="*/ 256 w 320"/>
                <a:gd name="T21" fmla="*/ 139 h 139"/>
                <a:gd name="T22" fmla="*/ 258 w 320"/>
                <a:gd name="T23" fmla="*/ 138 h 139"/>
                <a:gd name="T24" fmla="*/ 320 w 320"/>
                <a:gd name="T25" fmla="*/ 69 h 139"/>
                <a:gd name="T26" fmla="*/ 21 w 320"/>
                <a:gd name="T27" fmla="*/ 69 h 139"/>
                <a:gd name="T28" fmla="*/ 69 w 320"/>
                <a:gd name="T29" fmla="*/ 21 h 139"/>
                <a:gd name="T30" fmla="*/ 117 w 320"/>
                <a:gd name="T31" fmla="*/ 69 h 139"/>
                <a:gd name="T32" fmla="*/ 69 w 320"/>
                <a:gd name="T33" fmla="*/ 117 h 139"/>
                <a:gd name="T34" fmla="*/ 21 w 320"/>
                <a:gd name="T35" fmla="*/ 69 h 139"/>
                <a:gd name="T36" fmla="*/ 250 w 320"/>
                <a:gd name="T37" fmla="*/ 117 h 139"/>
                <a:gd name="T38" fmla="*/ 202 w 320"/>
                <a:gd name="T39" fmla="*/ 69 h 139"/>
                <a:gd name="T40" fmla="*/ 250 w 320"/>
                <a:gd name="T41" fmla="*/ 21 h 139"/>
                <a:gd name="T42" fmla="*/ 298 w 320"/>
                <a:gd name="T43" fmla="*/ 69 h 139"/>
                <a:gd name="T44" fmla="*/ 250 w 320"/>
                <a:gd name="T45" fmla="*/ 11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0" h="139">
                  <a:moveTo>
                    <a:pt x="320" y="69"/>
                  </a:moveTo>
                  <a:cubicBezTo>
                    <a:pt x="320" y="31"/>
                    <a:pt x="289" y="0"/>
                    <a:pt x="250" y="0"/>
                  </a:cubicBezTo>
                  <a:cubicBezTo>
                    <a:pt x="212" y="0"/>
                    <a:pt x="181" y="31"/>
                    <a:pt x="181" y="69"/>
                  </a:cubicBezTo>
                  <a:cubicBezTo>
                    <a:pt x="181" y="88"/>
                    <a:pt x="188" y="105"/>
                    <a:pt x="200" y="117"/>
                  </a:cubicBezTo>
                  <a:cubicBezTo>
                    <a:pt x="119" y="117"/>
                    <a:pt x="119" y="117"/>
                    <a:pt x="119" y="117"/>
                  </a:cubicBezTo>
                  <a:cubicBezTo>
                    <a:pt x="131" y="105"/>
                    <a:pt x="138" y="88"/>
                    <a:pt x="138" y="69"/>
                  </a:cubicBezTo>
                  <a:cubicBezTo>
                    <a:pt x="138" y="31"/>
                    <a:pt x="107" y="0"/>
                    <a:pt x="69" y="0"/>
                  </a:cubicBezTo>
                  <a:cubicBezTo>
                    <a:pt x="31" y="0"/>
                    <a:pt x="0" y="31"/>
                    <a:pt x="0" y="69"/>
                  </a:cubicBezTo>
                  <a:cubicBezTo>
                    <a:pt x="0" y="105"/>
                    <a:pt x="27" y="135"/>
                    <a:pt x="62" y="138"/>
                  </a:cubicBezTo>
                  <a:cubicBezTo>
                    <a:pt x="62" y="138"/>
                    <a:pt x="63" y="139"/>
                    <a:pt x="64" y="139"/>
                  </a:cubicBezTo>
                  <a:cubicBezTo>
                    <a:pt x="256" y="139"/>
                    <a:pt x="256" y="139"/>
                    <a:pt x="256" y="139"/>
                  </a:cubicBezTo>
                  <a:cubicBezTo>
                    <a:pt x="256" y="139"/>
                    <a:pt x="257" y="138"/>
                    <a:pt x="258" y="138"/>
                  </a:cubicBezTo>
                  <a:cubicBezTo>
                    <a:pt x="292" y="135"/>
                    <a:pt x="320" y="105"/>
                    <a:pt x="320" y="69"/>
                  </a:cubicBezTo>
                  <a:close/>
                  <a:moveTo>
                    <a:pt x="21" y="69"/>
                  </a:moveTo>
                  <a:cubicBezTo>
                    <a:pt x="21" y="43"/>
                    <a:pt x="43" y="21"/>
                    <a:pt x="69" y="21"/>
                  </a:cubicBezTo>
                  <a:cubicBezTo>
                    <a:pt x="95" y="21"/>
                    <a:pt x="117" y="43"/>
                    <a:pt x="117" y="69"/>
                  </a:cubicBezTo>
                  <a:cubicBezTo>
                    <a:pt x="117" y="96"/>
                    <a:pt x="95" y="117"/>
                    <a:pt x="69" y="117"/>
                  </a:cubicBezTo>
                  <a:cubicBezTo>
                    <a:pt x="43" y="117"/>
                    <a:pt x="21" y="96"/>
                    <a:pt x="21" y="69"/>
                  </a:cubicBezTo>
                  <a:close/>
                  <a:moveTo>
                    <a:pt x="250" y="117"/>
                  </a:moveTo>
                  <a:cubicBezTo>
                    <a:pt x="224" y="117"/>
                    <a:pt x="202" y="96"/>
                    <a:pt x="202" y="69"/>
                  </a:cubicBezTo>
                  <a:cubicBezTo>
                    <a:pt x="202" y="43"/>
                    <a:pt x="224" y="21"/>
                    <a:pt x="250" y="21"/>
                  </a:cubicBezTo>
                  <a:cubicBezTo>
                    <a:pt x="277" y="21"/>
                    <a:pt x="298" y="43"/>
                    <a:pt x="298" y="69"/>
                  </a:cubicBezTo>
                  <a:cubicBezTo>
                    <a:pt x="298" y="96"/>
                    <a:pt x="277" y="117"/>
                    <a:pt x="250"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2" name="Freeform 596">
              <a:extLst>
                <a:ext uri="{FF2B5EF4-FFF2-40B4-BE49-F238E27FC236}">
                  <a16:creationId xmlns:a16="http://schemas.microsoft.com/office/drawing/2014/main" id="{6D1D5C2B-E65D-4FF2-92FF-329CE4C1A657}"/>
                </a:ext>
              </a:extLst>
            </p:cNvPr>
            <p:cNvSpPr>
              <a:spLocks noEditPoints="1"/>
            </p:cNvSpPr>
            <p:nvPr/>
          </p:nvSpPr>
          <p:spPr bwMode="auto">
            <a:xfrm>
              <a:off x="5828" y="23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3" name="Freeform 600">
            <a:extLst>
              <a:ext uri="{FF2B5EF4-FFF2-40B4-BE49-F238E27FC236}">
                <a16:creationId xmlns:a16="http://schemas.microsoft.com/office/drawing/2014/main" id="{51170754-CF2D-4297-9B8C-751D2B2B598E}"/>
              </a:ext>
            </a:extLst>
          </p:cNvPr>
          <p:cNvSpPr>
            <a:spLocks noChangeAspect="1" noEditPoints="1"/>
          </p:cNvSpPr>
          <p:nvPr/>
        </p:nvSpPr>
        <p:spPr bwMode="auto">
          <a:xfrm>
            <a:off x="2227445" y="1700213"/>
            <a:ext cx="369021" cy="370106"/>
          </a:xfrm>
          <a:custGeom>
            <a:avLst/>
            <a:gdLst>
              <a:gd name="T0" fmla="*/ 394 w 512"/>
              <a:gd name="T1" fmla="*/ 250 h 512"/>
              <a:gd name="T2" fmla="*/ 346 w 512"/>
              <a:gd name="T3" fmla="*/ 298 h 512"/>
              <a:gd name="T4" fmla="*/ 298 w 512"/>
              <a:gd name="T5" fmla="*/ 250 h 512"/>
              <a:gd name="T6" fmla="*/ 346 w 512"/>
              <a:gd name="T7" fmla="*/ 202 h 512"/>
              <a:gd name="T8" fmla="*/ 394 w 512"/>
              <a:gd name="T9" fmla="*/ 250 h 512"/>
              <a:gd name="T10" fmla="*/ 165 w 512"/>
              <a:gd name="T11" fmla="*/ 202 h 512"/>
              <a:gd name="T12" fmla="*/ 117 w 512"/>
              <a:gd name="T13" fmla="*/ 250 h 512"/>
              <a:gd name="T14" fmla="*/ 165 w 512"/>
              <a:gd name="T15" fmla="*/ 298 h 512"/>
              <a:gd name="T16" fmla="*/ 213 w 512"/>
              <a:gd name="T17" fmla="*/ 250 h 512"/>
              <a:gd name="T18" fmla="*/ 165 w 512"/>
              <a:gd name="T19" fmla="*/ 202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250 h 512"/>
              <a:gd name="T32" fmla="*/ 346 w 512"/>
              <a:gd name="T33" fmla="*/ 181 h 512"/>
              <a:gd name="T34" fmla="*/ 277 w 512"/>
              <a:gd name="T35" fmla="*/ 250 h 512"/>
              <a:gd name="T36" fmla="*/ 296 w 512"/>
              <a:gd name="T37" fmla="*/ 298 h 512"/>
              <a:gd name="T38" fmla="*/ 215 w 512"/>
              <a:gd name="T39" fmla="*/ 298 h 512"/>
              <a:gd name="T40" fmla="*/ 234 w 512"/>
              <a:gd name="T41" fmla="*/ 250 h 512"/>
              <a:gd name="T42" fmla="*/ 165 w 512"/>
              <a:gd name="T43" fmla="*/ 181 h 512"/>
              <a:gd name="T44" fmla="*/ 96 w 512"/>
              <a:gd name="T45" fmla="*/ 250 h 512"/>
              <a:gd name="T46" fmla="*/ 158 w 512"/>
              <a:gd name="T47" fmla="*/ 319 h 512"/>
              <a:gd name="T48" fmla="*/ 160 w 512"/>
              <a:gd name="T49" fmla="*/ 320 h 512"/>
              <a:gd name="T50" fmla="*/ 352 w 512"/>
              <a:gd name="T51" fmla="*/ 320 h 512"/>
              <a:gd name="T52" fmla="*/ 354 w 512"/>
              <a:gd name="T53" fmla="*/ 319 h 512"/>
              <a:gd name="T54" fmla="*/ 416 w 512"/>
              <a:gd name="T55" fmla="*/ 2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394" y="250"/>
                </a:moveTo>
                <a:cubicBezTo>
                  <a:pt x="394" y="277"/>
                  <a:pt x="373" y="298"/>
                  <a:pt x="346" y="298"/>
                </a:cubicBezTo>
                <a:cubicBezTo>
                  <a:pt x="320" y="298"/>
                  <a:pt x="298" y="277"/>
                  <a:pt x="298" y="250"/>
                </a:cubicBezTo>
                <a:cubicBezTo>
                  <a:pt x="298" y="224"/>
                  <a:pt x="320" y="202"/>
                  <a:pt x="346" y="202"/>
                </a:cubicBezTo>
                <a:cubicBezTo>
                  <a:pt x="373" y="202"/>
                  <a:pt x="394" y="224"/>
                  <a:pt x="394" y="250"/>
                </a:cubicBezTo>
                <a:close/>
                <a:moveTo>
                  <a:pt x="165" y="202"/>
                </a:moveTo>
                <a:cubicBezTo>
                  <a:pt x="139" y="202"/>
                  <a:pt x="117" y="224"/>
                  <a:pt x="117" y="250"/>
                </a:cubicBezTo>
                <a:cubicBezTo>
                  <a:pt x="117" y="277"/>
                  <a:pt x="139" y="298"/>
                  <a:pt x="165" y="298"/>
                </a:cubicBezTo>
                <a:cubicBezTo>
                  <a:pt x="191" y="298"/>
                  <a:pt x="213" y="277"/>
                  <a:pt x="213" y="250"/>
                </a:cubicBezTo>
                <a:cubicBezTo>
                  <a:pt x="213" y="224"/>
                  <a:pt x="191" y="202"/>
                  <a:pt x="165" y="20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0"/>
                </a:moveTo>
                <a:cubicBezTo>
                  <a:pt x="416" y="212"/>
                  <a:pt x="385" y="181"/>
                  <a:pt x="346" y="181"/>
                </a:cubicBezTo>
                <a:cubicBezTo>
                  <a:pt x="308" y="181"/>
                  <a:pt x="277" y="212"/>
                  <a:pt x="277" y="250"/>
                </a:cubicBezTo>
                <a:cubicBezTo>
                  <a:pt x="277" y="269"/>
                  <a:pt x="284" y="286"/>
                  <a:pt x="296" y="298"/>
                </a:cubicBezTo>
                <a:cubicBezTo>
                  <a:pt x="215" y="298"/>
                  <a:pt x="215" y="298"/>
                  <a:pt x="215" y="298"/>
                </a:cubicBezTo>
                <a:cubicBezTo>
                  <a:pt x="227" y="286"/>
                  <a:pt x="234" y="269"/>
                  <a:pt x="234" y="250"/>
                </a:cubicBezTo>
                <a:cubicBezTo>
                  <a:pt x="234" y="212"/>
                  <a:pt x="203" y="181"/>
                  <a:pt x="165" y="181"/>
                </a:cubicBezTo>
                <a:cubicBezTo>
                  <a:pt x="127" y="181"/>
                  <a:pt x="96" y="212"/>
                  <a:pt x="96" y="250"/>
                </a:cubicBezTo>
                <a:cubicBezTo>
                  <a:pt x="96" y="286"/>
                  <a:pt x="123" y="316"/>
                  <a:pt x="158" y="319"/>
                </a:cubicBezTo>
                <a:cubicBezTo>
                  <a:pt x="158" y="319"/>
                  <a:pt x="159" y="320"/>
                  <a:pt x="160" y="320"/>
                </a:cubicBezTo>
                <a:cubicBezTo>
                  <a:pt x="352" y="320"/>
                  <a:pt x="352" y="320"/>
                  <a:pt x="352" y="320"/>
                </a:cubicBezTo>
                <a:cubicBezTo>
                  <a:pt x="352" y="320"/>
                  <a:pt x="353" y="319"/>
                  <a:pt x="354" y="319"/>
                </a:cubicBezTo>
                <a:cubicBezTo>
                  <a:pt x="388" y="316"/>
                  <a:pt x="416" y="286"/>
                  <a:pt x="416" y="25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4" name="TextBox 363">
            <a:extLst>
              <a:ext uri="{FF2B5EF4-FFF2-40B4-BE49-F238E27FC236}">
                <a16:creationId xmlns:a16="http://schemas.microsoft.com/office/drawing/2014/main" id="{377A8FF8-6B2A-4A3E-AB1A-C78B33179D3A}"/>
              </a:ext>
            </a:extLst>
          </p:cNvPr>
          <p:cNvSpPr txBox="1"/>
          <p:nvPr/>
        </p:nvSpPr>
        <p:spPr>
          <a:xfrm>
            <a:off x="3061109" y="21051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ject</a:t>
            </a:r>
          </a:p>
        </p:txBody>
      </p:sp>
      <p:sp>
        <p:nvSpPr>
          <p:cNvPr id="365" name="Freeform 453">
            <a:extLst>
              <a:ext uri="{FF2B5EF4-FFF2-40B4-BE49-F238E27FC236}">
                <a16:creationId xmlns:a16="http://schemas.microsoft.com/office/drawing/2014/main" id="{FBE417A5-3086-440B-BC33-852317266CAA}"/>
              </a:ext>
            </a:extLst>
          </p:cNvPr>
          <p:cNvSpPr>
            <a:spLocks noChangeAspect="1" noEditPoints="1"/>
          </p:cNvSpPr>
          <p:nvPr/>
        </p:nvSpPr>
        <p:spPr bwMode="auto">
          <a:xfrm>
            <a:off x="3098257" y="170021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9 w 512"/>
              <a:gd name="T11" fmla="*/ 260 h 512"/>
              <a:gd name="T12" fmla="*/ 247 w 512"/>
              <a:gd name="T13" fmla="*/ 106 h 512"/>
              <a:gd name="T14" fmla="*/ 264 w 512"/>
              <a:gd name="T15" fmla="*/ 106 h 512"/>
              <a:gd name="T16" fmla="*/ 392 w 512"/>
              <a:gd name="T17" fmla="*/ 260 h 512"/>
              <a:gd name="T18" fmla="*/ 393 w 512"/>
              <a:gd name="T19" fmla="*/ 271 h 512"/>
              <a:gd name="T20" fmla="*/ 384 w 512"/>
              <a:gd name="T21" fmla="*/ 277 h 512"/>
              <a:gd name="T22" fmla="*/ 128 w 512"/>
              <a:gd name="T23" fmla="*/ 277 h 512"/>
              <a:gd name="T24" fmla="*/ 118 w 512"/>
              <a:gd name="T25" fmla="*/ 271 h 512"/>
              <a:gd name="T26" fmla="*/ 119 w 512"/>
              <a:gd name="T27" fmla="*/ 260 h 512"/>
              <a:gd name="T28" fmla="*/ 394 w 512"/>
              <a:gd name="T29" fmla="*/ 373 h 512"/>
              <a:gd name="T30" fmla="*/ 384 w 512"/>
              <a:gd name="T31" fmla="*/ 384 h 512"/>
              <a:gd name="T32" fmla="*/ 128 w 512"/>
              <a:gd name="T33" fmla="*/ 384 h 512"/>
              <a:gd name="T34" fmla="*/ 117 w 512"/>
              <a:gd name="T35" fmla="*/ 373 h 512"/>
              <a:gd name="T36" fmla="*/ 117 w 512"/>
              <a:gd name="T37" fmla="*/ 309 h 512"/>
              <a:gd name="T38" fmla="*/ 128 w 512"/>
              <a:gd name="T39" fmla="*/ 298 h 512"/>
              <a:gd name="T40" fmla="*/ 384 w 512"/>
              <a:gd name="T41" fmla="*/ 298 h 512"/>
              <a:gd name="T42" fmla="*/ 394 w 512"/>
              <a:gd name="T43" fmla="*/ 309 h 512"/>
              <a:gd name="T44" fmla="*/ 394 w 512"/>
              <a:gd name="T45" fmla="*/ 373 h 512"/>
              <a:gd name="T46" fmla="*/ 138 w 512"/>
              <a:gd name="T47" fmla="*/ 320 h 512"/>
              <a:gd name="T48" fmla="*/ 373 w 512"/>
              <a:gd name="T49" fmla="*/ 320 h 512"/>
              <a:gd name="T50" fmla="*/ 373 w 512"/>
              <a:gd name="T51" fmla="*/ 362 h 512"/>
              <a:gd name="T52" fmla="*/ 138 w 512"/>
              <a:gd name="T53" fmla="*/ 362 h 512"/>
              <a:gd name="T54" fmla="*/ 138 w 512"/>
              <a:gd name="T55" fmla="*/ 320 h 512"/>
              <a:gd name="T56" fmla="*/ 361 w 512"/>
              <a:gd name="T57" fmla="*/ 256 h 512"/>
              <a:gd name="T58" fmla="*/ 150 w 512"/>
              <a:gd name="T59" fmla="*/ 256 h 512"/>
              <a:gd name="T60" fmla="*/ 256 w 512"/>
              <a:gd name="T61" fmla="*/ 129 h 512"/>
              <a:gd name="T62" fmla="*/ 361 w 512"/>
              <a:gd name="T6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9" y="260"/>
                </a:moveTo>
                <a:cubicBezTo>
                  <a:pt x="247" y="106"/>
                  <a:pt x="247" y="106"/>
                  <a:pt x="247" y="106"/>
                </a:cubicBezTo>
                <a:cubicBezTo>
                  <a:pt x="252" y="101"/>
                  <a:pt x="260" y="101"/>
                  <a:pt x="264" y="106"/>
                </a:cubicBezTo>
                <a:cubicBezTo>
                  <a:pt x="392" y="260"/>
                  <a:pt x="392" y="260"/>
                  <a:pt x="392" y="260"/>
                </a:cubicBezTo>
                <a:cubicBezTo>
                  <a:pt x="395" y="263"/>
                  <a:pt x="395" y="267"/>
                  <a:pt x="393" y="271"/>
                </a:cubicBezTo>
                <a:cubicBezTo>
                  <a:pt x="392" y="275"/>
                  <a:pt x="388" y="277"/>
                  <a:pt x="384" y="277"/>
                </a:cubicBezTo>
                <a:cubicBezTo>
                  <a:pt x="128" y="277"/>
                  <a:pt x="128" y="277"/>
                  <a:pt x="128" y="277"/>
                </a:cubicBezTo>
                <a:cubicBezTo>
                  <a:pt x="124" y="277"/>
                  <a:pt x="120" y="275"/>
                  <a:pt x="118" y="271"/>
                </a:cubicBezTo>
                <a:cubicBezTo>
                  <a:pt x="116" y="267"/>
                  <a:pt x="117" y="263"/>
                  <a:pt x="119" y="260"/>
                </a:cubicBezTo>
                <a:close/>
                <a:moveTo>
                  <a:pt x="394" y="373"/>
                </a:moveTo>
                <a:cubicBezTo>
                  <a:pt x="394" y="379"/>
                  <a:pt x="390" y="384"/>
                  <a:pt x="384" y="384"/>
                </a:cubicBezTo>
                <a:cubicBezTo>
                  <a:pt x="128" y="384"/>
                  <a:pt x="128" y="384"/>
                  <a:pt x="128" y="384"/>
                </a:cubicBezTo>
                <a:cubicBezTo>
                  <a:pt x="122" y="384"/>
                  <a:pt x="117" y="379"/>
                  <a:pt x="117" y="373"/>
                </a:cubicBezTo>
                <a:cubicBezTo>
                  <a:pt x="117" y="309"/>
                  <a:pt x="117" y="309"/>
                  <a:pt x="117" y="309"/>
                </a:cubicBezTo>
                <a:cubicBezTo>
                  <a:pt x="117" y="303"/>
                  <a:pt x="122" y="298"/>
                  <a:pt x="128" y="298"/>
                </a:cubicBezTo>
                <a:cubicBezTo>
                  <a:pt x="384" y="298"/>
                  <a:pt x="384" y="298"/>
                  <a:pt x="384" y="298"/>
                </a:cubicBezTo>
                <a:cubicBezTo>
                  <a:pt x="390" y="298"/>
                  <a:pt x="394" y="303"/>
                  <a:pt x="394" y="309"/>
                </a:cubicBezTo>
                <a:lnTo>
                  <a:pt x="394" y="373"/>
                </a:lnTo>
                <a:close/>
                <a:moveTo>
                  <a:pt x="138" y="320"/>
                </a:moveTo>
                <a:cubicBezTo>
                  <a:pt x="373" y="320"/>
                  <a:pt x="373" y="320"/>
                  <a:pt x="373" y="320"/>
                </a:cubicBezTo>
                <a:cubicBezTo>
                  <a:pt x="373" y="362"/>
                  <a:pt x="373" y="362"/>
                  <a:pt x="373" y="362"/>
                </a:cubicBezTo>
                <a:cubicBezTo>
                  <a:pt x="138" y="362"/>
                  <a:pt x="138" y="362"/>
                  <a:pt x="138" y="362"/>
                </a:cubicBezTo>
                <a:lnTo>
                  <a:pt x="138" y="320"/>
                </a:lnTo>
                <a:close/>
                <a:moveTo>
                  <a:pt x="361" y="256"/>
                </a:moveTo>
                <a:cubicBezTo>
                  <a:pt x="150" y="256"/>
                  <a:pt x="150" y="256"/>
                  <a:pt x="150" y="256"/>
                </a:cubicBezTo>
                <a:cubicBezTo>
                  <a:pt x="256" y="129"/>
                  <a:pt x="256" y="129"/>
                  <a:pt x="256" y="129"/>
                </a:cubicBezTo>
                <a:lnTo>
                  <a:pt x="361" y="25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66" name="Group 456">
            <a:extLst>
              <a:ext uri="{FF2B5EF4-FFF2-40B4-BE49-F238E27FC236}">
                <a16:creationId xmlns:a16="http://schemas.microsoft.com/office/drawing/2014/main" id="{E97FDCFD-0E64-43C7-B550-00F92FBB36B6}"/>
              </a:ext>
            </a:extLst>
          </p:cNvPr>
          <p:cNvGrpSpPr>
            <a:grpSpLocks noChangeAspect="1"/>
          </p:cNvGrpSpPr>
          <p:nvPr/>
        </p:nvGrpSpPr>
        <p:grpSpPr bwMode="auto">
          <a:xfrm>
            <a:off x="3532273" y="1700213"/>
            <a:ext cx="367631" cy="367631"/>
            <a:chOff x="5846" y="1739"/>
            <a:chExt cx="340" cy="340"/>
          </a:xfrm>
          <a:solidFill>
            <a:schemeClr val="accent5"/>
          </a:solidFill>
        </p:grpSpPr>
        <p:sp>
          <p:nvSpPr>
            <p:cNvPr id="367" name="Freeform 457">
              <a:extLst>
                <a:ext uri="{FF2B5EF4-FFF2-40B4-BE49-F238E27FC236}">
                  <a16:creationId xmlns:a16="http://schemas.microsoft.com/office/drawing/2014/main" id="{AED208F1-35C4-4D95-B82B-EDDC8221797C}"/>
                </a:ext>
              </a:extLst>
            </p:cNvPr>
            <p:cNvSpPr>
              <a:spLocks noEditPoints="1"/>
            </p:cNvSpPr>
            <p:nvPr/>
          </p:nvSpPr>
          <p:spPr bwMode="auto">
            <a:xfrm>
              <a:off x="5846" y="1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8" name="Freeform 458">
              <a:extLst>
                <a:ext uri="{FF2B5EF4-FFF2-40B4-BE49-F238E27FC236}">
                  <a16:creationId xmlns:a16="http://schemas.microsoft.com/office/drawing/2014/main" id="{DCFAA607-A310-45D7-8A3C-9F402E5B40C6}"/>
                </a:ext>
              </a:extLst>
            </p:cNvPr>
            <p:cNvSpPr>
              <a:spLocks noEditPoints="1"/>
            </p:cNvSpPr>
            <p:nvPr/>
          </p:nvSpPr>
          <p:spPr bwMode="auto">
            <a:xfrm>
              <a:off x="5924" y="1937"/>
              <a:ext cx="184" cy="57"/>
            </a:xfrm>
            <a:custGeom>
              <a:avLst/>
              <a:gdLst>
                <a:gd name="T0" fmla="*/ 267 w 277"/>
                <a:gd name="T1" fmla="*/ 0 h 86"/>
                <a:gd name="T2" fmla="*/ 11 w 277"/>
                <a:gd name="T3" fmla="*/ 0 h 86"/>
                <a:gd name="T4" fmla="*/ 0 w 277"/>
                <a:gd name="T5" fmla="*/ 11 h 86"/>
                <a:gd name="T6" fmla="*/ 0 w 277"/>
                <a:gd name="T7" fmla="*/ 75 h 86"/>
                <a:gd name="T8" fmla="*/ 11 w 277"/>
                <a:gd name="T9" fmla="*/ 86 h 86"/>
                <a:gd name="T10" fmla="*/ 267 w 277"/>
                <a:gd name="T11" fmla="*/ 86 h 86"/>
                <a:gd name="T12" fmla="*/ 277 w 277"/>
                <a:gd name="T13" fmla="*/ 75 h 86"/>
                <a:gd name="T14" fmla="*/ 277 w 277"/>
                <a:gd name="T15" fmla="*/ 11 h 86"/>
                <a:gd name="T16" fmla="*/ 267 w 277"/>
                <a:gd name="T17" fmla="*/ 0 h 86"/>
                <a:gd name="T18" fmla="*/ 256 w 277"/>
                <a:gd name="T19" fmla="*/ 64 h 86"/>
                <a:gd name="T20" fmla="*/ 21 w 277"/>
                <a:gd name="T21" fmla="*/ 64 h 86"/>
                <a:gd name="T22" fmla="*/ 21 w 277"/>
                <a:gd name="T23" fmla="*/ 22 h 86"/>
                <a:gd name="T24" fmla="*/ 256 w 277"/>
                <a:gd name="T25" fmla="*/ 22 h 86"/>
                <a:gd name="T26" fmla="*/ 256 w 277"/>
                <a:gd name="T27" fmla="*/ 6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86">
                  <a:moveTo>
                    <a:pt x="267" y="0"/>
                  </a:moveTo>
                  <a:cubicBezTo>
                    <a:pt x="11" y="0"/>
                    <a:pt x="11" y="0"/>
                    <a:pt x="11" y="0"/>
                  </a:cubicBezTo>
                  <a:cubicBezTo>
                    <a:pt x="5" y="0"/>
                    <a:pt x="0" y="5"/>
                    <a:pt x="0" y="11"/>
                  </a:cubicBezTo>
                  <a:cubicBezTo>
                    <a:pt x="0" y="75"/>
                    <a:pt x="0" y="75"/>
                    <a:pt x="0" y="75"/>
                  </a:cubicBezTo>
                  <a:cubicBezTo>
                    <a:pt x="0" y="81"/>
                    <a:pt x="5" y="86"/>
                    <a:pt x="11" y="86"/>
                  </a:cubicBezTo>
                  <a:cubicBezTo>
                    <a:pt x="267" y="86"/>
                    <a:pt x="267" y="86"/>
                    <a:pt x="267" y="86"/>
                  </a:cubicBezTo>
                  <a:cubicBezTo>
                    <a:pt x="273" y="86"/>
                    <a:pt x="277" y="81"/>
                    <a:pt x="277" y="75"/>
                  </a:cubicBezTo>
                  <a:cubicBezTo>
                    <a:pt x="277" y="11"/>
                    <a:pt x="277" y="11"/>
                    <a:pt x="277" y="11"/>
                  </a:cubicBezTo>
                  <a:cubicBezTo>
                    <a:pt x="277" y="5"/>
                    <a:pt x="273" y="0"/>
                    <a:pt x="267" y="0"/>
                  </a:cubicBezTo>
                  <a:close/>
                  <a:moveTo>
                    <a:pt x="256" y="64"/>
                  </a:moveTo>
                  <a:cubicBezTo>
                    <a:pt x="21" y="64"/>
                    <a:pt x="21" y="64"/>
                    <a:pt x="21" y="64"/>
                  </a:cubicBezTo>
                  <a:cubicBezTo>
                    <a:pt x="21" y="22"/>
                    <a:pt x="21" y="22"/>
                    <a:pt x="21" y="22"/>
                  </a:cubicBezTo>
                  <a:cubicBezTo>
                    <a:pt x="256" y="22"/>
                    <a:pt x="256" y="22"/>
                    <a:pt x="256" y="22"/>
                  </a:cubicBezTo>
                  <a:lnTo>
                    <a:pt x="256"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9" name="Freeform 459">
              <a:extLst>
                <a:ext uri="{FF2B5EF4-FFF2-40B4-BE49-F238E27FC236}">
                  <a16:creationId xmlns:a16="http://schemas.microsoft.com/office/drawing/2014/main" id="{77640C16-C844-4E7B-A875-9870A9C5C540}"/>
                </a:ext>
              </a:extLst>
            </p:cNvPr>
            <p:cNvSpPr>
              <a:spLocks noEditPoints="1"/>
            </p:cNvSpPr>
            <p:nvPr/>
          </p:nvSpPr>
          <p:spPr bwMode="auto">
            <a:xfrm>
              <a:off x="5923" y="1806"/>
              <a:ext cx="185" cy="117"/>
            </a:xfrm>
            <a:custGeom>
              <a:avLst/>
              <a:gdLst>
                <a:gd name="T0" fmla="*/ 12 w 279"/>
                <a:gd name="T1" fmla="*/ 176 h 176"/>
                <a:gd name="T2" fmla="*/ 268 w 279"/>
                <a:gd name="T3" fmla="*/ 176 h 176"/>
                <a:gd name="T4" fmla="*/ 277 w 279"/>
                <a:gd name="T5" fmla="*/ 170 h 176"/>
                <a:gd name="T6" fmla="*/ 276 w 279"/>
                <a:gd name="T7" fmla="*/ 159 h 176"/>
                <a:gd name="T8" fmla="*/ 148 w 279"/>
                <a:gd name="T9" fmla="*/ 5 h 176"/>
                <a:gd name="T10" fmla="*/ 131 w 279"/>
                <a:gd name="T11" fmla="*/ 5 h 176"/>
                <a:gd name="T12" fmla="*/ 3 w 279"/>
                <a:gd name="T13" fmla="*/ 159 h 176"/>
                <a:gd name="T14" fmla="*/ 2 w 279"/>
                <a:gd name="T15" fmla="*/ 170 h 176"/>
                <a:gd name="T16" fmla="*/ 12 w 279"/>
                <a:gd name="T17" fmla="*/ 176 h 176"/>
                <a:gd name="T18" fmla="*/ 140 w 279"/>
                <a:gd name="T19" fmla="*/ 28 h 176"/>
                <a:gd name="T20" fmla="*/ 245 w 279"/>
                <a:gd name="T21" fmla="*/ 155 h 176"/>
                <a:gd name="T22" fmla="*/ 34 w 279"/>
                <a:gd name="T23" fmla="*/ 155 h 176"/>
                <a:gd name="T24" fmla="*/ 140 w 279"/>
                <a:gd name="T25" fmla="*/ 2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9" h="176">
                  <a:moveTo>
                    <a:pt x="12" y="176"/>
                  </a:moveTo>
                  <a:cubicBezTo>
                    <a:pt x="268" y="176"/>
                    <a:pt x="268" y="176"/>
                    <a:pt x="268" y="176"/>
                  </a:cubicBezTo>
                  <a:cubicBezTo>
                    <a:pt x="272" y="176"/>
                    <a:pt x="276" y="174"/>
                    <a:pt x="277" y="170"/>
                  </a:cubicBezTo>
                  <a:cubicBezTo>
                    <a:pt x="279" y="166"/>
                    <a:pt x="279" y="162"/>
                    <a:pt x="276" y="159"/>
                  </a:cubicBezTo>
                  <a:cubicBezTo>
                    <a:pt x="148" y="5"/>
                    <a:pt x="148" y="5"/>
                    <a:pt x="148" y="5"/>
                  </a:cubicBezTo>
                  <a:cubicBezTo>
                    <a:pt x="144" y="0"/>
                    <a:pt x="136" y="0"/>
                    <a:pt x="131" y="5"/>
                  </a:cubicBezTo>
                  <a:cubicBezTo>
                    <a:pt x="3" y="159"/>
                    <a:pt x="3" y="159"/>
                    <a:pt x="3" y="159"/>
                  </a:cubicBezTo>
                  <a:cubicBezTo>
                    <a:pt x="1" y="162"/>
                    <a:pt x="0" y="166"/>
                    <a:pt x="2" y="170"/>
                  </a:cubicBezTo>
                  <a:cubicBezTo>
                    <a:pt x="4" y="174"/>
                    <a:pt x="8" y="176"/>
                    <a:pt x="12" y="176"/>
                  </a:cubicBezTo>
                  <a:close/>
                  <a:moveTo>
                    <a:pt x="140" y="28"/>
                  </a:moveTo>
                  <a:cubicBezTo>
                    <a:pt x="245" y="155"/>
                    <a:pt x="245" y="155"/>
                    <a:pt x="245" y="155"/>
                  </a:cubicBezTo>
                  <a:cubicBezTo>
                    <a:pt x="34" y="155"/>
                    <a:pt x="34" y="155"/>
                    <a:pt x="34" y="155"/>
                  </a:cubicBezTo>
                  <a:lnTo>
                    <a:pt x="140" y="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0" name="TextBox 369">
            <a:extLst>
              <a:ext uri="{FF2B5EF4-FFF2-40B4-BE49-F238E27FC236}">
                <a16:creationId xmlns:a16="http://schemas.microsoft.com/office/drawing/2014/main" id="{2C2CA858-27DB-4861-905D-8EE97D840279}"/>
              </a:ext>
            </a:extLst>
          </p:cNvPr>
          <p:cNvSpPr txBox="1"/>
          <p:nvPr/>
        </p:nvSpPr>
        <p:spPr>
          <a:xfrm>
            <a:off x="3938715" y="2105125"/>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kip backwards</a:t>
            </a:r>
          </a:p>
        </p:txBody>
      </p:sp>
      <p:sp>
        <p:nvSpPr>
          <p:cNvPr id="371" name="TextBox 370">
            <a:extLst>
              <a:ext uri="{FF2B5EF4-FFF2-40B4-BE49-F238E27FC236}">
                <a16:creationId xmlns:a16="http://schemas.microsoft.com/office/drawing/2014/main" id="{9C7F32BB-4A09-44D0-93FE-5F538C831556}"/>
              </a:ext>
            </a:extLst>
          </p:cNvPr>
          <p:cNvSpPr txBox="1"/>
          <p:nvPr/>
        </p:nvSpPr>
        <p:spPr>
          <a:xfrm>
            <a:off x="4801504" y="21051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kip forward</a:t>
            </a:r>
          </a:p>
        </p:txBody>
      </p:sp>
      <p:sp>
        <p:nvSpPr>
          <p:cNvPr id="372" name="TextBox 371">
            <a:extLst>
              <a:ext uri="{FF2B5EF4-FFF2-40B4-BE49-F238E27FC236}">
                <a16:creationId xmlns:a16="http://schemas.microsoft.com/office/drawing/2014/main" id="{47F54F3F-2B97-4246-8A91-5FC63EBBA74D}"/>
              </a:ext>
            </a:extLst>
          </p:cNvPr>
          <p:cNvSpPr txBox="1"/>
          <p:nvPr/>
        </p:nvSpPr>
        <p:spPr>
          <a:xfrm>
            <a:off x="5679110"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kip forwards</a:t>
            </a:r>
          </a:p>
        </p:txBody>
      </p:sp>
      <p:sp>
        <p:nvSpPr>
          <p:cNvPr id="373" name="TextBox 372">
            <a:extLst>
              <a:ext uri="{FF2B5EF4-FFF2-40B4-BE49-F238E27FC236}">
                <a16:creationId xmlns:a16="http://schemas.microsoft.com/office/drawing/2014/main" id="{6A0B33E7-CB3F-4D2B-A55F-2B82C3055A6E}"/>
              </a:ext>
            </a:extLst>
          </p:cNvPr>
          <p:cNvSpPr txBox="1"/>
          <p:nvPr/>
        </p:nvSpPr>
        <p:spPr>
          <a:xfrm>
            <a:off x="6553541"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kip rewind</a:t>
            </a:r>
          </a:p>
        </p:txBody>
      </p:sp>
      <p:grpSp>
        <p:nvGrpSpPr>
          <p:cNvPr id="374" name="Group 18">
            <a:extLst>
              <a:ext uri="{FF2B5EF4-FFF2-40B4-BE49-F238E27FC236}">
                <a16:creationId xmlns:a16="http://schemas.microsoft.com/office/drawing/2014/main" id="{76C38AC7-5CCA-48A3-A5F2-24A405BB4E3D}"/>
              </a:ext>
            </a:extLst>
          </p:cNvPr>
          <p:cNvGrpSpPr>
            <a:grpSpLocks noChangeAspect="1"/>
          </p:cNvGrpSpPr>
          <p:nvPr/>
        </p:nvGrpSpPr>
        <p:grpSpPr bwMode="auto">
          <a:xfrm>
            <a:off x="7018716" y="1700213"/>
            <a:ext cx="369676" cy="369676"/>
            <a:chOff x="6612" y="6"/>
            <a:chExt cx="340" cy="340"/>
          </a:xfrm>
          <a:solidFill>
            <a:schemeClr val="accent1"/>
          </a:solidFill>
        </p:grpSpPr>
        <p:sp>
          <p:nvSpPr>
            <p:cNvPr id="375" name="Freeform 19">
              <a:extLst>
                <a:ext uri="{FF2B5EF4-FFF2-40B4-BE49-F238E27FC236}">
                  <a16:creationId xmlns:a16="http://schemas.microsoft.com/office/drawing/2014/main" id="{99B1232B-5BC8-4D52-984E-E068E7772F96}"/>
                </a:ext>
              </a:extLst>
            </p:cNvPr>
            <p:cNvSpPr>
              <a:spLocks noEditPoints="1"/>
            </p:cNvSpPr>
            <p:nvPr/>
          </p:nvSpPr>
          <p:spPr bwMode="auto">
            <a:xfrm>
              <a:off x="6704" y="76"/>
              <a:ext cx="156" cy="199"/>
            </a:xfrm>
            <a:custGeom>
              <a:avLst/>
              <a:gdLst>
                <a:gd name="T0" fmla="*/ 229 w 235"/>
                <a:gd name="T1" fmla="*/ 2 h 299"/>
                <a:gd name="T2" fmla="*/ 219 w 235"/>
                <a:gd name="T3" fmla="*/ 2 h 299"/>
                <a:gd name="T4" fmla="*/ 22 w 235"/>
                <a:gd name="T5" fmla="*/ 130 h 299"/>
                <a:gd name="T6" fmla="*/ 22 w 235"/>
                <a:gd name="T7" fmla="*/ 11 h 299"/>
                <a:gd name="T8" fmla="*/ 11 w 235"/>
                <a:gd name="T9" fmla="*/ 0 h 299"/>
                <a:gd name="T10" fmla="*/ 0 w 235"/>
                <a:gd name="T11" fmla="*/ 11 h 299"/>
                <a:gd name="T12" fmla="*/ 0 w 235"/>
                <a:gd name="T13" fmla="*/ 288 h 299"/>
                <a:gd name="T14" fmla="*/ 11 w 235"/>
                <a:gd name="T15" fmla="*/ 299 h 299"/>
                <a:gd name="T16" fmla="*/ 22 w 235"/>
                <a:gd name="T17" fmla="*/ 288 h 299"/>
                <a:gd name="T18" fmla="*/ 22 w 235"/>
                <a:gd name="T19" fmla="*/ 169 h 299"/>
                <a:gd name="T20" fmla="*/ 219 w 235"/>
                <a:gd name="T21" fmla="*/ 297 h 299"/>
                <a:gd name="T22" fmla="*/ 224 w 235"/>
                <a:gd name="T23" fmla="*/ 299 h 299"/>
                <a:gd name="T24" fmla="*/ 229 w 235"/>
                <a:gd name="T25" fmla="*/ 298 h 299"/>
                <a:gd name="T26" fmla="*/ 235 w 235"/>
                <a:gd name="T27" fmla="*/ 288 h 299"/>
                <a:gd name="T28" fmla="*/ 235 w 235"/>
                <a:gd name="T29" fmla="*/ 11 h 299"/>
                <a:gd name="T30" fmla="*/ 229 w 235"/>
                <a:gd name="T31" fmla="*/ 2 h 299"/>
                <a:gd name="T32" fmla="*/ 214 w 235"/>
                <a:gd name="T33" fmla="*/ 269 h 299"/>
                <a:gd name="T34" fmla="*/ 31 w 235"/>
                <a:gd name="T35" fmla="*/ 150 h 299"/>
                <a:gd name="T36" fmla="*/ 214 w 235"/>
                <a:gd name="T37" fmla="*/ 31 h 299"/>
                <a:gd name="T38" fmla="*/ 214 w 235"/>
                <a:gd name="T39" fmla="*/ 26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 h="299">
                  <a:moveTo>
                    <a:pt x="229" y="2"/>
                  </a:moveTo>
                  <a:cubicBezTo>
                    <a:pt x="226" y="0"/>
                    <a:pt x="222" y="0"/>
                    <a:pt x="219" y="2"/>
                  </a:cubicBezTo>
                  <a:cubicBezTo>
                    <a:pt x="22" y="130"/>
                    <a:pt x="22" y="130"/>
                    <a:pt x="22" y="130"/>
                  </a:cubicBezTo>
                  <a:cubicBezTo>
                    <a:pt x="22" y="11"/>
                    <a:pt x="22" y="11"/>
                    <a:pt x="22" y="11"/>
                  </a:cubicBezTo>
                  <a:cubicBezTo>
                    <a:pt x="22" y="5"/>
                    <a:pt x="17" y="0"/>
                    <a:pt x="11" y="0"/>
                  </a:cubicBezTo>
                  <a:cubicBezTo>
                    <a:pt x="5" y="0"/>
                    <a:pt x="0" y="5"/>
                    <a:pt x="0" y="11"/>
                  </a:cubicBezTo>
                  <a:cubicBezTo>
                    <a:pt x="0" y="288"/>
                    <a:pt x="0" y="288"/>
                    <a:pt x="0" y="288"/>
                  </a:cubicBezTo>
                  <a:cubicBezTo>
                    <a:pt x="0" y="294"/>
                    <a:pt x="5" y="299"/>
                    <a:pt x="11" y="299"/>
                  </a:cubicBezTo>
                  <a:cubicBezTo>
                    <a:pt x="17" y="299"/>
                    <a:pt x="22" y="294"/>
                    <a:pt x="22" y="288"/>
                  </a:cubicBezTo>
                  <a:cubicBezTo>
                    <a:pt x="22" y="169"/>
                    <a:pt x="22" y="169"/>
                    <a:pt x="22" y="169"/>
                  </a:cubicBezTo>
                  <a:cubicBezTo>
                    <a:pt x="219" y="297"/>
                    <a:pt x="219" y="297"/>
                    <a:pt x="219" y="297"/>
                  </a:cubicBezTo>
                  <a:cubicBezTo>
                    <a:pt x="220" y="298"/>
                    <a:pt x="222" y="299"/>
                    <a:pt x="224" y="299"/>
                  </a:cubicBezTo>
                  <a:cubicBezTo>
                    <a:pt x="226" y="299"/>
                    <a:pt x="228" y="299"/>
                    <a:pt x="229" y="298"/>
                  </a:cubicBezTo>
                  <a:cubicBezTo>
                    <a:pt x="233" y="296"/>
                    <a:pt x="235" y="292"/>
                    <a:pt x="235" y="288"/>
                  </a:cubicBezTo>
                  <a:cubicBezTo>
                    <a:pt x="235" y="11"/>
                    <a:pt x="235" y="11"/>
                    <a:pt x="235" y="11"/>
                  </a:cubicBezTo>
                  <a:cubicBezTo>
                    <a:pt x="235" y="7"/>
                    <a:pt x="233" y="3"/>
                    <a:pt x="229" y="2"/>
                  </a:cubicBezTo>
                  <a:close/>
                  <a:moveTo>
                    <a:pt x="214" y="269"/>
                  </a:moveTo>
                  <a:cubicBezTo>
                    <a:pt x="31" y="150"/>
                    <a:pt x="31" y="150"/>
                    <a:pt x="31" y="150"/>
                  </a:cubicBezTo>
                  <a:cubicBezTo>
                    <a:pt x="214" y="31"/>
                    <a:pt x="214" y="31"/>
                    <a:pt x="214" y="31"/>
                  </a:cubicBezTo>
                  <a:lnTo>
                    <a:pt x="214" y="26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6" name="Freeform 20">
              <a:extLst>
                <a:ext uri="{FF2B5EF4-FFF2-40B4-BE49-F238E27FC236}">
                  <a16:creationId xmlns:a16="http://schemas.microsoft.com/office/drawing/2014/main" id="{A40A83A9-A004-47C7-912E-FDB9B253A016}"/>
                </a:ext>
              </a:extLst>
            </p:cNvPr>
            <p:cNvSpPr>
              <a:spLocks noEditPoints="1"/>
            </p:cNvSpPr>
            <p:nvPr/>
          </p:nvSpPr>
          <p:spPr bwMode="auto">
            <a:xfrm>
              <a:off x="6612"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7" name="Freeform 24">
            <a:extLst>
              <a:ext uri="{FF2B5EF4-FFF2-40B4-BE49-F238E27FC236}">
                <a16:creationId xmlns:a16="http://schemas.microsoft.com/office/drawing/2014/main" id="{E5B72CF8-7CEF-476B-871D-3A12A93167AF}"/>
              </a:ext>
            </a:extLst>
          </p:cNvPr>
          <p:cNvSpPr>
            <a:spLocks noChangeAspect="1" noEditPoints="1"/>
          </p:cNvSpPr>
          <p:nvPr/>
        </p:nvSpPr>
        <p:spPr bwMode="auto">
          <a:xfrm>
            <a:off x="6582655" y="1700213"/>
            <a:ext cx="369676" cy="369676"/>
          </a:xfrm>
          <a:custGeom>
            <a:avLst/>
            <a:gdLst>
              <a:gd name="T0" fmla="*/ 169 w 512"/>
              <a:gd name="T1" fmla="*/ 256 h 512"/>
              <a:gd name="T2" fmla="*/ 352 w 512"/>
              <a:gd name="T3" fmla="*/ 137 h 512"/>
              <a:gd name="T4" fmla="*/ 352 w 512"/>
              <a:gd name="T5" fmla="*/ 375 h 512"/>
              <a:gd name="T6" fmla="*/ 169 w 512"/>
              <a:gd name="T7" fmla="*/ 256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373 w 512"/>
              <a:gd name="T19" fmla="*/ 117 h 512"/>
              <a:gd name="T20" fmla="*/ 367 w 512"/>
              <a:gd name="T21" fmla="*/ 108 h 512"/>
              <a:gd name="T22" fmla="*/ 357 w 512"/>
              <a:gd name="T23" fmla="*/ 108 h 512"/>
              <a:gd name="T24" fmla="*/ 160 w 512"/>
              <a:gd name="T25" fmla="*/ 236 h 512"/>
              <a:gd name="T26" fmla="*/ 160 w 512"/>
              <a:gd name="T27" fmla="*/ 117 h 512"/>
              <a:gd name="T28" fmla="*/ 149 w 512"/>
              <a:gd name="T29" fmla="*/ 106 h 512"/>
              <a:gd name="T30" fmla="*/ 138 w 512"/>
              <a:gd name="T31" fmla="*/ 117 h 512"/>
              <a:gd name="T32" fmla="*/ 138 w 512"/>
              <a:gd name="T33" fmla="*/ 394 h 512"/>
              <a:gd name="T34" fmla="*/ 149 w 512"/>
              <a:gd name="T35" fmla="*/ 405 h 512"/>
              <a:gd name="T36" fmla="*/ 160 w 512"/>
              <a:gd name="T37" fmla="*/ 394 h 512"/>
              <a:gd name="T38" fmla="*/ 160 w 512"/>
              <a:gd name="T39" fmla="*/ 275 h 512"/>
              <a:gd name="T40" fmla="*/ 357 w 512"/>
              <a:gd name="T41" fmla="*/ 403 h 512"/>
              <a:gd name="T42" fmla="*/ 362 w 512"/>
              <a:gd name="T43" fmla="*/ 405 h 512"/>
              <a:gd name="T44" fmla="*/ 367 w 512"/>
              <a:gd name="T45" fmla="*/ 404 h 512"/>
              <a:gd name="T46" fmla="*/ 373 w 512"/>
              <a:gd name="T47" fmla="*/ 394 h 512"/>
              <a:gd name="T48" fmla="*/ 373 w 512"/>
              <a:gd name="T49"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169" y="256"/>
                </a:moveTo>
                <a:cubicBezTo>
                  <a:pt x="352" y="137"/>
                  <a:pt x="352" y="137"/>
                  <a:pt x="352" y="137"/>
                </a:cubicBezTo>
                <a:cubicBezTo>
                  <a:pt x="352" y="375"/>
                  <a:pt x="352" y="375"/>
                  <a:pt x="352" y="375"/>
                </a:cubicBezTo>
                <a:lnTo>
                  <a:pt x="169"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3"/>
                  <a:pt x="371" y="109"/>
                  <a:pt x="367" y="108"/>
                </a:cubicBezTo>
                <a:cubicBezTo>
                  <a:pt x="364" y="106"/>
                  <a:pt x="360" y="106"/>
                  <a:pt x="357" y="108"/>
                </a:cubicBezTo>
                <a:cubicBezTo>
                  <a:pt x="160" y="236"/>
                  <a:pt x="160" y="236"/>
                  <a:pt x="160" y="236"/>
                </a:cubicBezTo>
                <a:cubicBezTo>
                  <a:pt x="160" y="117"/>
                  <a:pt x="160" y="117"/>
                  <a:pt x="160" y="117"/>
                </a:cubicBezTo>
                <a:cubicBezTo>
                  <a:pt x="160" y="111"/>
                  <a:pt x="155" y="106"/>
                  <a:pt x="149" y="106"/>
                </a:cubicBezTo>
                <a:cubicBezTo>
                  <a:pt x="143" y="106"/>
                  <a:pt x="138" y="111"/>
                  <a:pt x="138" y="117"/>
                </a:cubicBezTo>
                <a:cubicBezTo>
                  <a:pt x="138" y="394"/>
                  <a:pt x="138" y="394"/>
                  <a:pt x="138" y="394"/>
                </a:cubicBezTo>
                <a:cubicBezTo>
                  <a:pt x="138" y="400"/>
                  <a:pt x="143" y="405"/>
                  <a:pt x="149" y="405"/>
                </a:cubicBezTo>
                <a:cubicBezTo>
                  <a:pt x="155" y="405"/>
                  <a:pt x="160" y="400"/>
                  <a:pt x="160" y="394"/>
                </a:cubicBezTo>
                <a:cubicBezTo>
                  <a:pt x="160" y="275"/>
                  <a:pt x="160" y="275"/>
                  <a:pt x="160" y="275"/>
                </a:cubicBezTo>
                <a:cubicBezTo>
                  <a:pt x="357" y="403"/>
                  <a:pt x="357" y="403"/>
                  <a:pt x="357" y="403"/>
                </a:cubicBezTo>
                <a:cubicBezTo>
                  <a:pt x="358" y="404"/>
                  <a:pt x="360" y="405"/>
                  <a:pt x="362" y="405"/>
                </a:cubicBezTo>
                <a:cubicBezTo>
                  <a:pt x="364" y="405"/>
                  <a:pt x="366" y="405"/>
                  <a:pt x="367" y="404"/>
                </a:cubicBezTo>
                <a:cubicBezTo>
                  <a:pt x="371" y="402"/>
                  <a:pt x="373" y="398"/>
                  <a:pt x="373" y="394"/>
                </a:cubicBezTo>
                <a:lnTo>
                  <a:pt x="373" y="1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8" name="Freeform 28">
            <a:extLst>
              <a:ext uri="{FF2B5EF4-FFF2-40B4-BE49-F238E27FC236}">
                <a16:creationId xmlns:a16="http://schemas.microsoft.com/office/drawing/2014/main" id="{CB638187-EF4B-4249-B23C-4CAF5442D91D}"/>
              </a:ext>
            </a:extLst>
          </p:cNvPr>
          <p:cNvSpPr>
            <a:spLocks noChangeAspect="1" noEditPoints="1"/>
          </p:cNvSpPr>
          <p:nvPr/>
        </p:nvSpPr>
        <p:spPr bwMode="auto">
          <a:xfrm>
            <a:off x="6146594" y="1700213"/>
            <a:ext cx="369676" cy="36967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38 h 512"/>
              <a:gd name="T22" fmla="*/ 394 w 512"/>
              <a:gd name="T23" fmla="*/ 149 h 512"/>
              <a:gd name="T24" fmla="*/ 394 w 512"/>
              <a:gd name="T25" fmla="*/ 243 h 512"/>
              <a:gd name="T26" fmla="*/ 229 w 512"/>
              <a:gd name="T27" fmla="*/ 140 h 512"/>
              <a:gd name="T28" fmla="*/ 218 w 512"/>
              <a:gd name="T29" fmla="*/ 140 h 512"/>
              <a:gd name="T30" fmla="*/ 213 w 512"/>
              <a:gd name="T31" fmla="*/ 149 h 512"/>
              <a:gd name="T32" fmla="*/ 213 w 512"/>
              <a:gd name="T33" fmla="*/ 203 h 512"/>
              <a:gd name="T34" fmla="*/ 112 w 512"/>
              <a:gd name="T35" fmla="*/ 140 h 512"/>
              <a:gd name="T36" fmla="*/ 101 w 512"/>
              <a:gd name="T37" fmla="*/ 140 h 512"/>
              <a:gd name="T38" fmla="*/ 96 w 512"/>
              <a:gd name="T39" fmla="*/ 149 h 512"/>
              <a:gd name="T40" fmla="*/ 96 w 512"/>
              <a:gd name="T41" fmla="*/ 362 h 512"/>
              <a:gd name="T42" fmla="*/ 101 w 512"/>
              <a:gd name="T43" fmla="*/ 372 h 512"/>
              <a:gd name="T44" fmla="*/ 112 w 512"/>
              <a:gd name="T45" fmla="*/ 371 h 512"/>
              <a:gd name="T46" fmla="*/ 213 w 512"/>
              <a:gd name="T47" fmla="*/ 308 h 512"/>
              <a:gd name="T48" fmla="*/ 213 w 512"/>
              <a:gd name="T49" fmla="*/ 362 h 512"/>
              <a:gd name="T50" fmla="*/ 218 w 512"/>
              <a:gd name="T51" fmla="*/ 372 h 512"/>
              <a:gd name="T52" fmla="*/ 224 w 512"/>
              <a:gd name="T53" fmla="*/ 373 h 512"/>
              <a:gd name="T54" fmla="*/ 229 w 512"/>
              <a:gd name="T55" fmla="*/ 371 h 512"/>
              <a:gd name="T56" fmla="*/ 394 w 512"/>
              <a:gd name="T57" fmla="*/ 268 h 512"/>
              <a:gd name="T58" fmla="*/ 394 w 512"/>
              <a:gd name="T59" fmla="*/ 362 h 512"/>
              <a:gd name="T60" fmla="*/ 405 w 512"/>
              <a:gd name="T61" fmla="*/ 373 h 512"/>
              <a:gd name="T62" fmla="*/ 416 w 512"/>
              <a:gd name="T63" fmla="*/ 362 h 512"/>
              <a:gd name="T64" fmla="*/ 416 w 512"/>
              <a:gd name="T65" fmla="*/ 149 h 512"/>
              <a:gd name="T66" fmla="*/ 405 w 512"/>
              <a:gd name="T67" fmla="*/ 138 h 512"/>
              <a:gd name="T68" fmla="*/ 234 w 512"/>
              <a:gd name="T69" fmla="*/ 343 h 512"/>
              <a:gd name="T70" fmla="*/ 234 w 512"/>
              <a:gd name="T71" fmla="*/ 289 h 512"/>
              <a:gd name="T72" fmla="*/ 229 w 512"/>
              <a:gd name="T73" fmla="*/ 280 h 512"/>
              <a:gd name="T74" fmla="*/ 224 w 512"/>
              <a:gd name="T75" fmla="*/ 278 h 512"/>
              <a:gd name="T76" fmla="*/ 218 w 512"/>
              <a:gd name="T77" fmla="*/ 280 h 512"/>
              <a:gd name="T78" fmla="*/ 117 w 512"/>
              <a:gd name="T79" fmla="*/ 343 h 512"/>
              <a:gd name="T80" fmla="*/ 117 w 512"/>
              <a:gd name="T81" fmla="*/ 168 h 512"/>
              <a:gd name="T82" fmla="*/ 218 w 512"/>
              <a:gd name="T83" fmla="*/ 231 h 512"/>
              <a:gd name="T84" fmla="*/ 229 w 512"/>
              <a:gd name="T85" fmla="*/ 232 h 512"/>
              <a:gd name="T86" fmla="*/ 234 w 512"/>
              <a:gd name="T87" fmla="*/ 222 h 512"/>
              <a:gd name="T88" fmla="*/ 234 w 512"/>
              <a:gd name="T89" fmla="*/ 168 h 512"/>
              <a:gd name="T90" fmla="*/ 374 w 512"/>
              <a:gd name="T91" fmla="*/ 256 h 512"/>
              <a:gd name="T92" fmla="*/ 234 w 512"/>
              <a:gd name="T93"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38"/>
                </a:moveTo>
                <a:cubicBezTo>
                  <a:pt x="399" y="138"/>
                  <a:pt x="394" y="143"/>
                  <a:pt x="394" y="149"/>
                </a:cubicBezTo>
                <a:cubicBezTo>
                  <a:pt x="394" y="243"/>
                  <a:pt x="394" y="243"/>
                  <a:pt x="394" y="243"/>
                </a:cubicBezTo>
                <a:cubicBezTo>
                  <a:pt x="229" y="140"/>
                  <a:pt x="229" y="140"/>
                  <a:pt x="229" y="140"/>
                </a:cubicBezTo>
                <a:cubicBezTo>
                  <a:pt x="226" y="138"/>
                  <a:pt x="222" y="138"/>
                  <a:pt x="218" y="140"/>
                </a:cubicBezTo>
                <a:cubicBezTo>
                  <a:pt x="215" y="142"/>
                  <a:pt x="213" y="145"/>
                  <a:pt x="213" y="149"/>
                </a:cubicBezTo>
                <a:cubicBezTo>
                  <a:pt x="213" y="203"/>
                  <a:pt x="213" y="203"/>
                  <a:pt x="213" y="203"/>
                </a:cubicBezTo>
                <a:cubicBezTo>
                  <a:pt x="112" y="140"/>
                  <a:pt x="112" y="140"/>
                  <a:pt x="112" y="140"/>
                </a:cubicBezTo>
                <a:cubicBezTo>
                  <a:pt x="109" y="138"/>
                  <a:pt x="105" y="138"/>
                  <a:pt x="101" y="140"/>
                </a:cubicBezTo>
                <a:cubicBezTo>
                  <a:pt x="98" y="142"/>
                  <a:pt x="96" y="145"/>
                  <a:pt x="96" y="149"/>
                </a:cubicBezTo>
                <a:cubicBezTo>
                  <a:pt x="96" y="362"/>
                  <a:pt x="96" y="362"/>
                  <a:pt x="96" y="362"/>
                </a:cubicBezTo>
                <a:cubicBezTo>
                  <a:pt x="96" y="366"/>
                  <a:pt x="98" y="370"/>
                  <a:pt x="101" y="372"/>
                </a:cubicBezTo>
                <a:cubicBezTo>
                  <a:pt x="105" y="374"/>
                  <a:pt x="109" y="373"/>
                  <a:pt x="112" y="371"/>
                </a:cubicBezTo>
                <a:cubicBezTo>
                  <a:pt x="213" y="308"/>
                  <a:pt x="213" y="308"/>
                  <a:pt x="213" y="308"/>
                </a:cubicBezTo>
                <a:cubicBezTo>
                  <a:pt x="213" y="362"/>
                  <a:pt x="213" y="362"/>
                  <a:pt x="213" y="362"/>
                </a:cubicBezTo>
                <a:cubicBezTo>
                  <a:pt x="213" y="366"/>
                  <a:pt x="215" y="370"/>
                  <a:pt x="218" y="372"/>
                </a:cubicBezTo>
                <a:cubicBezTo>
                  <a:pt x="220" y="373"/>
                  <a:pt x="222" y="373"/>
                  <a:pt x="224" y="373"/>
                </a:cubicBezTo>
                <a:cubicBezTo>
                  <a:pt x="226" y="373"/>
                  <a:pt x="228" y="372"/>
                  <a:pt x="229" y="371"/>
                </a:cubicBezTo>
                <a:cubicBezTo>
                  <a:pt x="394" y="268"/>
                  <a:pt x="394" y="268"/>
                  <a:pt x="394" y="268"/>
                </a:cubicBezTo>
                <a:cubicBezTo>
                  <a:pt x="394" y="362"/>
                  <a:pt x="394" y="362"/>
                  <a:pt x="394" y="362"/>
                </a:cubicBezTo>
                <a:cubicBezTo>
                  <a:pt x="394" y="368"/>
                  <a:pt x="399" y="373"/>
                  <a:pt x="405" y="373"/>
                </a:cubicBezTo>
                <a:cubicBezTo>
                  <a:pt x="411" y="373"/>
                  <a:pt x="416" y="368"/>
                  <a:pt x="416" y="362"/>
                </a:cubicBezTo>
                <a:cubicBezTo>
                  <a:pt x="416" y="149"/>
                  <a:pt x="416" y="149"/>
                  <a:pt x="416" y="149"/>
                </a:cubicBezTo>
                <a:cubicBezTo>
                  <a:pt x="416" y="143"/>
                  <a:pt x="411" y="138"/>
                  <a:pt x="405" y="138"/>
                </a:cubicBezTo>
                <a:close/>
                <a:moveTo>
                  <a:pt x="234" y="343"/>
                </a:moveTo>
                <a:cubicBezTo>
                  <a:pt x="234" y="289"/>
                  <a:pt x="234" y="289"/>
                  <a:pt x="234" y="289"/>
                </a:cubicBezTo>
                <a:cubicBezTo>
                  <a:pt x="234" y="285"/>
                  <a:pt x="232" y="282"/>
                  <a:pt x="229" y="280"/>
                </a:cubicBezTo>
                <a:cubicBezTo>
                  <a:pt x="227" y="279"/>
                  <a:pt x="225" y="278"/>
                  <a:pt x="224" y="278"/>
                </a:cubicBezTo>
                <a:cubicBezTo>
                  <a:pt x="222" y="278"/>
                  <a:pt x="220" y="279"/>
                  <a:pt x="218" y="280"/>
                </a:cubicBezTo>
                <a:cubicBezTo>
                  <a:pt x="117" y="343"/>
                  <a:pt x="117" y="343"/>
                  <a:pt x="117" y="343"/>
                </a:cubicBezTo>
                <a:cubicBezTo>
                  <a:pt x="117" y="168"/>
                  <a:pt x="117" y="168"/>
                  <a:pt x="117" y="168"/>
                </a:cubicBezTo>
                <a:cubicBezTo>
                  <a:pt x="218" y="231"/>
                  <a:pt x="218" y="231"/>
                  <a:pt x="218" y="231"/>
                </a:cubicBezTo>
                <a:cubicBezTo>
                  <a:pt x="221" y="233"/>
                  <a:pt x="225" y="234"/>
                  <a:pt x="229" y="232"/>
                </a:cubicBezTo>
                <a:cubicBezTo>
                  <a:pt x="232" y="230"/>
                  <a:pt x="234" y="226"/>
                  <a:pt x="234" y="222"/>
                </a:cubicBezTo>
                <a:cubicBezTo>
                  <a:pt x="234" y="168"/>
                  <a:pt x="234" y="168"/>
                  <a:pt x="234" y="168"/>
                </a:cubicBezTo>
                <a:cubicBezTo>
                  <a:pt x="374" y="256"/>
                  <a:pt x="374" y="256"/>
                  <a:pt x="374" y="256"/>
                </a:cubicBezTo>
                <a:lnTo>
                  <a:pt x="234" y="34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9" name="Freeform 32">
            <a:extLst>
              <a:ext uri="{FF2B5EF4-FFF2-40B4-BE49-F238E27FC236}">
                <a16:creationId xmlns:a16="http://schemas.microsoft.com/office/drawing/2014/main" id="{6D0081C0-8167-4456-8C8F-115501485DDF}"/>
              </a:ext>
            </a:extLst>
          </p:cNvPr>
          <p:cNvSpPr>
            <a:spLocks noChangeAspect="1" noEditPoints="1"/>
          </p:cNvSpPr>
          <p:nvPr/>
        </p:nvSpPr>
        <p:spPr bwMode="auto">
          <a:xfrm>
            <a:off x="5710533" y="1700213"/>
            <a:ext cx="369676" cy="369676"/>
          </a:xfrm>
          <a:custGeom>
            <a:avLst/>
            <a:gdLst>
              <a:gd name="T0" fmla="*/ 234 w 512"/>
              <a:gd name="T1" fmla="*/ 168 h 512"/>
              <a:gd name="T2" fmla="*/ 374 w 512"/>
              <a:gd name="T3" fmla="*/ 256 h 512"/>
              <a:gd name="T4" fmla="*/ 234 w 512"/>
              <a:gd name="T5" fmla="*/ 343 h 512"/>
              <a:gd name="T6" fmla="*/ 234 w 512"/>
              <a:gd name="T7" fmla="*/ 289 h 512"/>
              <a:gd name="T8" fmla="*/ 229 w 512"/>
              <a:gd name="T9" fmla="*/ 280 h 512"/>
              <a:gd name="T10" fmla="*/ 224 w 512"/>
              <a:gd name="T11" fmla="*/ 278 h 512"/>
              <a:gd name="T12" fmla="*/ 218 w 512"/>
              <a:gd name="T13" fmla="*/ 280 h 512"/>
              <a:gd name="T14" fmla="*/ 117 w 512"/>
              <a:gd name="T15" fmla="*/ 343 h 512"/>
              <a:gd name="T16" fmla="*/ 117 w 512"/>
              <a:gd name="T17" fmla="*/ 168 h 512"/>
              <a:gd name="T18" fmla="*/ 218 w 512"/>
              <a:gd name="T19" fmla="*/ 231 h 512"/>
              <a:gd name="T20" fmla="*/ 229 w 512"/>
              <a:gd name="T21" fmla="*/ 232 h 512"/>
              <a:gd name="T22" fmla="*/ 234 w 512"/>
              <a:gd name="T23" fmla="*/ 222 h 512"/>
              <a:gd name="T24" fmla="*/ 234 w 512"/>
              <a:gd name="T25" fmla="*/ 16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49 h 512"/>
              <a:gd name="T38" fmla="*/ 405 w 512"/>
              <a:gd name="T39" fmla="*/ 138 h 512"/>
              <a:gd name="T40" fmla="*/ 394 w 512"/>
              <a:gd name="T41" fmla="*/ 149 h 512"/>
              <a:gd name="T42" fmla="*/ 394 w 512"/>
              <a:gd name="T43" fmla="*/ 243 h 512"/>
              <a:gd name="T44" fmla="*/ 229 w 512"/>
              <a:gd name="T45" fmla="*/ 140 h 512"/>
              <a:gd name="T46" fmla="*/ 218 w 512"/>
              <a:gd name="T47" fmla="*/ 140 h 512"/>
              <a:gd name="T48" fmla="*/ 213 w 512"/>
              <a:gd name="T49" fmla="*/ 149 h 512"/>
              <a:gd name="T50" fmla="*/ 213 w 512"/>
              <a:gd name="T51" fmla="*/ 203 h 512"/>
              <a:gd name="T52" fmla="*/ 112 w 512"/>
              <a:gd name="T53" fmla="*/ 140 h 512"/>
              <a:gd name="T54" fmla="*/ 101 w 512"/>
              <a:gd name="T55" fmla="*/ 140 h 512"/>
              <a:gd name="T56" fmla="*/ 96 w 512"/>
              <a:gd name="T57" fmla="*/ 149 h 512"/>
              <a:gd name="T58" fmla="*/ 96 w 512"/>
              <a:gd name="T59" fmla="*/ 362 h 512"/>
              <a:gd name="T60" fmla="*/ 101 w 512"/>
              <a:gd name="T61" fmla="*/ 372 h 512"/>
              <a:gd name="T62" fmla="*/ 112 w 512"/>
              <a:gd name="T63" fmla="*/ 371 h 512"/>
              <a:gd name="T64" fmla="*/ 213 w 512"/>
              <a:gd name="T65" fmla="*/ 308 h 512"/>
              <a:gd name="T66" fmla="*/ 213 w 512"/>
              <a:gd name="T67" fmla="*/ 362 h 512"/>
              <a:gd name="T68" fmla="*/ 218 w 512"/>
              <a:gd name="T69" fmla="*/ 372 h 512"/>
              <a:gd name="T70" fmla="*/ 224 w 512"/>
              <a:gd name="T71" fmla="*/ 373 h 512"/>
              <a:gd name="T72" fmla="*/ 229 w 512"/>
              <a:gd name="T73" fmla="*/ 371 h 512"/>
              <a:gd name="T74" fmla="*/ 394 w 512"/>
              <a:gd name="T75" fmla="*/ 268 h 512"/>
              <a:gd name="T76" fmla="*/ 394 w 512"/>
              <a:gd name="T77" fmla="*/ 362 h 512"/>
              <a:gd name="T78" fmla="*/ 405 w 512"/>
              <a:gd name="T79" fmla="*/ 373 h 512"/>
              <a:gd name="T80" fmla="*/ 416 w 512"/>
              <a:gd name="T81" fmla="*/ 362 h 512"/>
              <a:gd name="T82" fmla="*/ 416 w 512"/>
              <a:gd name="T83"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34" y="168"/>
                </a:moveTo>
                <a:cubicBezTo>
                  <a:pt x="374" y="256"/>
                  <a:pt x="374" y="256"/>
                  <a:pt x="374" y="256"/>
                </a:cubicBezTo>
                <a:cubicBezTo>
                  <a:pt x="234" y="343"/>
                  <a:pt x="234" y="343"/>
                  <a:pt x="234" y="343"/>
                </a:cubicBezTo>
                <a:cubicBezTo>
                  <a:pt x="234" y="289"/>
                  <a:pt x="234" y="289"/>
                  <a:pt x="234" y="289"/>
                </a:cubicBezTo>
                <a:cubicBezTo>
                  <a:pt x="234" y="285"/>
                  <a:pt x="232" y="282"/>
                  <a:pt x="229" y="280"/>
                </a:cubicBezTo>
                <a:cubicBezTo>
                  <a:pt x="227" y="279"/>
                  <a:pt x="225" y="278"/>
                  <a:pt x="224" y="278"/>
                </a:cubicBezTo>
                <a:cubicBezTo>
                  <a:pt x="222" y="278"/>
                  <a:pt x="220" y="279"/>
                  <a:pt x="218" y="280"/>
                </a:cubicBezTo>
                <a:cubicBezTo>
                  <a:pt x="117" y="343"/>
                  <a:pt x="117" y="343"/>
                  <a:pt x="117" y="343"/>
                </a:cubicBezTo>
                <a:cubicBezTo>
                  <a:pt x="117" y="168"/>
                  <a:pt x="117" y="168"/>
                  <a:pt x="117" y="168"/>
                </a:cubicBezTo>
                <a:cubicBezTo>
                  <a:pt x="218" y="231"/>
                  <a:pt x="218" y="231"/>
                  <a:pt x="218" y="231"/>
                </a:cubicBezTo>
                <a:cubicBezTo>
                  <a:pt x="221" y="233"/>
                  <a:pt x="225" y="234"/>
                  <a:pt x="229" y="232"/>
                </a:cubicBezTo>
                <a:cubicBezTo>
                  <a:pt x="232" y="230"/>
                  <a:pt x="234" y="226"/>
                  <a:pt x="234" y="222"/>
                </a:cubicBezTo>
                <a:lnTo>
                  <a:pt x="234" y="16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99" y="138"/>
                  <a:pt x="394" y="143"/>
                  <a:pt x="394" y="149"/>
                </a:cubicBezTo>
                <a:cubicBezTo>
                  <a:pt x="394" y="243"/>
                  <a:pt x="394" y="243"/>
                  <a:pt x="394" y="243"/>
                </a:cubicBezTo>
                <a:cubicBezTo>
                  <a:pt x="229" y="140"/>
                  <a:pt x="229" y="140"/>
                  <a:pt x="229" y="140"/>
                </a:cubicBezTo>
                <a:cubicBezTo>
                  <a:pt x="226" y="138"/>
                  <a:pt x="222" y="138"/>
                  <a:pt x="218" y="140"/>
                </a:cubicBezTo>
                <a:cubicBezTo>
                  <a:pt x="215" y="142"/>
                  <a:pt x="213" y="145"/>
                  <a:pt x="213" y="149"/>
                </a:cubicBezTo>
                <a:cubicBezTo>
                  <a:pt x="213" y="203"/>
                  <a:pt x="213" y="203"/>
                  <a:pt x="213" y="203"/>
                </a:cubicBezTo>
                <a:cubicBezTo>
                  <a:pt x="112" y="140"/>
                  <a:pt x="112" y="140"/>
                  <a:pt x="112" y="140"/>
                </a:cubicBezTo>
                <a:cubicBezTo>
                  <a:pt x="109" y="138"/>
                  <a:pt x="105" y="138"/>
                  <a:pt x="101" y="140"/>
                </a:cubicBezTo>
                <a:cubicBezTo>
                  <a:pt x="98" y="142"/>
                  <a:pt x="96" y="145"/>
                  <a:pt x="96" y="149"/>
                </a:cubicBezTo>
                <a:cubicBezTo>
                  <a:pt x="96" y="362"/>
                  <a:pt x="96" y="362"/>
                  <a:pt x="96" y="362"/>
                </a:cubicBezTo>
                <a:cubicBezTo>
                  <a:pt x="96" y="366"/>
                  <a:pt x="98" y="370"/>
                  <a:pt x="101" y="372"/>
                </a:cubicBezTo>
                <a:cubicBezTo>
                  <a:pt x="105" y="374"/>
                  <a:pt x="109" y="373"/>
                  <a:pt x="112" y="371"/>
                </a:cubicBezTo>
                <a:cubicBezTo>
                  <a:pt x="213" y="308"/>
                  <a:pt x="213" y="308"/>
                  <a:pt x="213" y="308"/>
                </a:cubicBezTo>
                <a:cubicBezTo>
                  <a:pt x="213" y="362"/>
                  <a:pt x="213" y="362"/>
                  <a:pt x="213" y="362"/>
                </a:cubicBezTo>
                <a:cubicBezTo>
                  <a:pt x="213" y="366"/>
                  <a:pt x="215" y="370"/>
                  <a:pt x="218" y="372"/>
                </a:cubicBezTo>
                <a:cubicBezTo>
                  <a:pt x="220" y="373"/>
                  <a:pt x="222" y="373"/>
                  <a:pt x="224" y="373"/>
                </a:cubicBezTo>
                <a:cubicBezTo>
                  <a:pt x="226" y="373"/>
                  <a:pt x="228" y="372"/>
                  <a:pt x="229" y="371"/>
                </a:cubicBezTo>
                <a:cubicBezTo>
                  <a:pt x="394" y="268"/>
                  <a:pt x="394" y="268"/>
                  <a:pt x="394" y="268"/>
                </a:cubicBezTo>
                <a:cubicBezTo>
                  <a:pt x="394" y="362"/>
                  <a:pt x="394" y="362"/>
                  <a:pt x="394" y="362"/>
                </a:cubicBezTo>
                <a:cubicBezTo>
                  <a:pt x="394" y="368"/>
                  <a:pt x="399" y="373"/>
                  <a:pt x="405" y="373"/>
                </a:cubicBezTo>
                <a:cubicBezTo>
                  <a:pt x="411" y="373"/>
                  <a:pt x="416" y="368"/>
                  <a:pt x="416" y="362"/>
                </a:cubicBezTo>
                <a:lnTo>
                  <a:pt x="416" y="14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0" name="Group 35">
            <a:extLst>
              <a:ext uri="{FF2B5EF4-FFF2-40B4-BE49-F238E27FC236}">
                <a16:creationId xmlns:a16="http://schemas.microsoft.com/office/drawing/2014/main" id="{6C65B55E-C02D-4A49-8EAF-6214068D4F9F}"/>
              </a:ext>
            </a:extLst>
          </p:cNvPr>
          <p:cNvGrpSpPr>
            <a:grpSpLocks noChangeAspect="1"/>
          </p:cNvGrpSpPr>
          <p:nvPr/>
        </p:nvGrpSpPr>
        <p:grpSpPr bwMode="auto">
          <a:xfrm>
            <a:off x="5274472" y="1700213"/>
            <a:ext cx="369676" cy="369676"/>
            <a:chOff x="5170" y="0"/>
            <a:chExt cx="340" cy="340"/>
          </a:xfrm>
          <a:solidFill>
            <a:schemeClr val="accent1"/>
          </a:solidFill>
        </p:grpSpPr>
        <p:sp>
          <p:nvSpPr>
            <p:cNvPr id="381" name="Freeform 36">
              <a:extLst>
                <a:ext uri="{FF2B5EF4-FFF2-40B4-BE49-F238E27FC236}">
                  <a16:creationId xmlns:a16="http://schemas.microsoft.com/office/drawing/2014/main" id="{280D521A-3A21-437C-95EE-F3704A321BD6}"/>
                </a:ext>
              </a:extLst>
            </p:cNvPr>
            <p:cNvSpPr>
              <a:spLocks noEditPoints="1"/>
            </p:cNvSpPr>
            <p:nvPr/>
          </p:nvSpPr>
          <p:spPr bwMode="auto">
            <a:xfrm>
              <a:off x="5262" y="70"/>
              <a:ext cx="156" cy="200"/>
            </a:xfrm>
            <a:custGeom>
              <a:avLst/>
              <a:gdLst>
                <a:gd name="T0" fmla="*/ 224 w 234"/>
                <a:gd name="T1" fmla="*/ 1 h 300"/>
                <a:gd name="T2" fmla="*/ 213 w 234"/>
                <a:gd name="T3" fmla="*/ 12 h 300"/>
                <a:gd name="T4" fmla="*/ 213 w 234"/>
                <a:gd name="T5" fmla="*/ 131 h 300"/>
                <a:gd name="T6" fmla="*/ 16 w 234"/>
                <a:gd name="T7" fmla="*/ 3 h 300"/>
                <a:gd name="T8" fmla="*/ 5 w 234"/>
                <a:gd name="T9" fmla="*/ 2 h 300"/>
                <a:gd name="T10" fmla="*/ 0 w 234"/>
                <a:gd name="T11" fmla="*/ 12 h 300"/>
                <a:gd name="T12" fmla="*/ 0 w 234"/>
                <a:gd name="T13" fmla="*/ 289 h 300"/>
                <a:gd name="T14" fmla="*/ 5 w 234"/>
                <a:gd name="T15" fmla="*/ 298 h 300"/>
                <a:gd name="T16" fmla="*/ 10 w 234"/>
                <a:gd name="T17" fmla="*/ 300 h 300"/>
                <a:gd name="T18" fmla="*/ 16 w 234"/>
                <a:gd name="T19" fmla="*/ 298 h 300"/>
                <a:gd name="T20" fmla="*/ 213 w 234"/>
                <a:gd name="T21" fmla="*/ 170 h 300"/>
                <a:gd name="T22" fmla="*/ 213 w 234"/>
                <a:gd name="T23" fmla="*/ 289 h 300"/>
                <a:gd name="T24" fmla="*/ 224 w 234"/>
                <a:gd name="T25" fmla="*/ 300 h 300"/>
                <a:gd name="T26" fmla="*/ 234 w 234"/>
                <a:gd name="T27" fmla="*/ 289 h 300"/>
                <a:gd name="T28" fmla="*/ 234 w 234"/>
                <a:gd name="T29" fmla="*/ 12 h 300"/>
                <a:gd name="T30" fmla="*/ 224 w 234"/>
                <a:gd name="T31" fmla="*/ 1 h 300"/>
                <a:gd name="T32" fmla="*/ 21 w 234"/>
                <a:gd name="T33" fmla="*/ 269 h 300"/>
                <a:gd name="T34" fmla="*/ 21 w 234"/>
                <a:gd name="T35" fmla="*/ 31 h 300"/>
                <a:gd name="T36" fmla="*/ 204 w 234"/>
                <a:gd name="T37" fmla="*/ 150 h 300"/>
                <a:gd name="T38" fmla="*/ 21 w 234"/>
                <a:gd name="T39" fmla="*/ 26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4" h="300">
                  <a:moveTo>
                    <a:pt x="224" y="1"/>
                  </a:moveTo>
                  <a:cubicBezTo>
                    <a:pt x="218" y="1"/>
                    <a:pt x="213" y="6"/>
                    <a:pt x="213" y="12"/>
                  </a:cubicBezTo>
                  <a:cubicBezTo>
                    <a:pt x="213" y="131"/>
                    <a:pt x="213" y="131"/>
                    <a:pt x="213" y="131"/>
                  </a:cubicBezTo>
                  <a:cubicBezTo>
                    <a:pt x="16" y="3"/>
                    <a:pt x="16" y="3"/>
                    <a:pt x="16" y="3"/>
                  </a:cubicBezTo>
                  <a:cubicBezTo>
                    <a:pt x="13" y="1"/>
                    <a:pt x="9" y="0"/>
                    <a:pt x="5" y="2"/>
                  </a:cubicBezTo>
                  <a:cubicBezTo>
                    <a:pt x="2" y="4"/>
                    <a:pt x="0" y="8"/>
                    <a:pt x="0" y="12"/>
                  </a:cubicBezTo>
                  <a:cubicBezTo>
                    <a:pt x="0" y="289"/>
                    <a:pt x="0" y="289"/>
                    <a:pt x="0" y="289"/>
                  </a:cubicBezTo>
                  <a:cubicBezTo>
                    <a:pt x="0" y="293"/>
                    <a:pt x="2" y="297"/>
                    <a:pt x="5" y="298"/>
                  </a:cubicBezTo>
                  <a:cubicBezTo>
                    <a:pt x="7" y="299"/>
                    <a:pt x="9" y="300"/>
                    <a:pt x="10" y="300"/>
                  </a:cubicBezTo>
                  <a:cubicBezTo>
                    <a:pt x="12" y="300"/>
                    <a:pt x="14" y="299"/>
                    <a:pt x="16" y="298"/>
                  </a:cubicBezTo>
                  <a:cubicBezTo>
                    <a:pt x="213" y="170"/>
                    <a:pt x="213" y="170"/>
                    <a:pt x="213" y="170"/>
                  </a:cubicBezTo>
                  <a:cubicBezTo>
                    <a:pt x="213" y="289"/>
                    <a:pt x="213" y="289"/>
                    <a:pt x="213" y="289"/>
                  </a:cubicBezTo>
                  <a:cubicBezTo>
                    <a:pt x="213" y="295"/>
                    <a:pt x="218" y="300"/>
                    <a:pt x="224" y="300"/>
                  </a:cubicBezTo>
                  <a:cubicBezTo>
                    <a:pt x="230" y="300"/>
                    <a:pt x="234" y="295"/>
                    <a:pt x="234" y="289"/>
                  </a:cubicBezTo>
                  <a:cubicBezTo>
                    <a:pt x="234" y="12"/>
                    <a:pt x="234" y="12"/>
                    <a:pt x="234" y="12"/>
                  </a:cubicBezTo>
                  <a:cubicBezTo>
                    <a:pt x="234" y="6"/>
                    <a:pt x="230" y="1"/>
                    <a:pt x="224" y="1"/>
                  </a:cubicBezTo>
                  <a:close/>
                  <a:moveTo>
                    <a:pt x="21" y="269"/>
                  </a:moveTo>
                  <a:cubicBezTo>
                    <a:pt x="21" y="31"/>
                    <a:pt x="21" y="31"/>
                    <a:pt x="21" y="31"/>
                  </a:cubicBezTo>
                  <a:cubicBezTo>
                    <a:pt x="204" y="150"/>
                    <a:pt x="204" y="150"/>
                    <a:pt x="204" y="150"/>
                  </a:cubicBezTo>
                  <a:lnTo>
                    <a:pt x="21" y="26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2" name="Freeform 37">
              <a:extLst>
                <a:ext uri="{FF2B5EF4-FFF2-40B4-BE49-F238E27FC236}">
                  <a16:creationId xmlns:a16="http://schemas.microsoft.com/office/drawing/2014/main" id="{DDC31EBF-BFF1-4A10-A85D-873474CCEFA8}"/>
                </a:ext>
              </a:extLst>
            </p:cNvPr>
            <p:cNvSpPr>
              <a:spLocks noEditPoints="1"/>
            </p:cNvSpPr>
            <p:nvPr/>
          </p:nvSpPr>
          <p:spPr bwMode="auto">
            <a:xfrm>
              <a:off x="5170" y="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3" name="Freeform 41">
            <a:extLst>
              <a:ext uri="{FF2B5EF4-FFF2-40B4-BE49-F238E27FC236}">
                <a16:creationId xmlns:a16="http://schemas.microsoft.com/office/drawing/2014/main" id="{38C29437-7CA7-440A-A703-2B67B448C80B}"/>
              </a:ext>
            </a:extLst>
          </p:cNvPr>
          <p:cNvSpPr>
            <a:spLocks noChangeAspect="1" noEditPoints="1"/>
          </p:cNvSpPr>
          <p:nvPr/>
        </p:nvSpPr>
        <p:spPr bwMode="auto">
          <a:xfrm>
            <a:off x="4838411" y="1700213"/>
            <a:ext cx="369676" cy="369676"/>
          </a:xfrm>
          <a:custGeom>
            <a:avLst/>
            <a:gdLst>
              <a:gd name="T0" fmla="*/ 160 w 512"/>
              <a:gd name="T1" fmla="*/ 137 h 512"/>
              <a:gd name="T2" fmla="*/ 343 w 512"/>
              <a:gd name="T3" fmla="*/ 256 h 512"/>
              <a:gd name="T4" fmla="*/ 160 w 512"/>
              <a:gd name="T5" fmla="*/ 375 h 512"/>
              <a:gd name="T6" fmla="*/ 160 w 512"/>
              <a:gd name="T7" fmla="*/ 137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373 w 512"/>
              <a:gd name="T19" fmla="*/ 118 h 512"/>
              <a:gd name="T20" fmla="*/ 363 w 512"/>
              <a:gd name="T21" fmla="*/ 107 h 512"/>
              <a:gd name="T22" fmla="*/ 352 w 512"/>
              <a:gd name="T23" fmla="*/ 118 h 512"/>
              <a:gd name="T24" fmla="*/ 352 w 512"/>
              <a:gd name="T25" fmla="*/ 237 h 512"/>
              <a:gd name="T26" fmla="*/ 155 w 512"/>
              <a:gd name="T27" fmla="*/ 109 h 512"/>
              <a:gd name="T28" fmla="*/ 144 w 512"/>
              <a:gd name="T29" fmla="*/ 108 h 512"/>
              <a:gd name="T30" fmla="*/ 139 w 512"/>
              <a:gd name="T31" fmla="*/ 118 h 512"/>
              <a:gd name="T32" fmla="*/ 139 w 512"/>
              <a:gd name="T33" fmla="*/ 395 h 512"/>
              <a:gd name="T34" fmla="*/ 144 w 512"/>
              <a:gd name="T35" fmla="*/ 404 h 512"/>
              <a:gd name="T36" fmla="*/ 149 w 512"/>
              <a:gd name="T37" fmla="*/ 406 h 512"/>
              <a:gd name="T38" fmla="*/ 155 w 512"/>
              <a:gd name="T39" fmla="*/ 404 h 512"/>
              <a:gd name="T40" fmla="*/ 352 w 512"/>
              <a:gd name="T41" fmla="*/ 276 h 512"/>
              <a:gd name="T42" fmla="*/ 352 w 512"/>
              <a:gd name="T43" fmla="*/ 395 h 512"/>
              <a:gd name="T44" fmla="*/ 363 w 512"/>
              <a:gd name="T45" fmla="*/ 406 h 512"/>
              <a:gd name="T46" fmla="*/ 373 w 512"/>
              <a:gd name="T47" fmla="*/ 395 h 512"/>
              <a:gd name="T48" fmla="*/ 373 w 512"/>
              <a:gd name="T49" fmla="*/ 11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160" y="137"/>
                </a:moveTo>
                <a:cubicBezTo>
                  <a:pt x="343" y="256"/>
                  <a:pt x="343" y="256"/>
                  <a:pt x="343" y="256"/>
                </a:cubicBezTo>
                <a:cubicBezTo>
                  <a:pt x="160" y="375"/>
                  <a:pt x="160" y="375"/>
                  <a:pt x="160" y="375"/>
                </a:cubicBezTo>
                <a:lnTo>
                  <a:pt x="160" y="13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18"/>
                </a:moveTo>
                <a:cubicBezTo>
                  <a:pt x="373" y="112"/>
                  <a:pt x="369" y="107"/>
                  <a:pt x="363" y="107"/>
                </a:cubicBezTo>
                <a:cubicBezTo>
                  <a:pt x="357" y="107"/>
                  <a:pt x="352" y="112"/>
                  <a:pt x="352" y="118"/>
                </a:cubicBezTo>
                <a:cubicBezTo>
                  <a:pt x="352" y="237"/>
                  <a:pt x="352" y="237"/>
                  <a:pt x="352" y="237"/>
                </a:cubicBezTo>
                <a:cubicBezTo>
                  <a:pt x="155" y="109"/>
                  <a:pt x="155" y="109"/>
                  <a:pt x="155" y="109"/>
                </a:cubicBezTo>
                <a:cubicBezTo>
                  <a:pt x="152" y="107"/>
                  <a:pt x="148" y="106"/>
                  <a:pt x="144" y="108"/>
                </a:cubicBezTo>
                <a:cubicBezTo>
                  <a:pt x="141" y="110"/>
                  <a:pt x="139" y="114"/>
                  <a:pt x="139" y="118"/>
                </a:cubicBezTo>
                <a:cubicBezTo>
                  <a:pt x="139" y="395"/>
                  <a:pt x="139" y="395"/>
                  <a:pt x="139" y="395"/>
                </a:cubicBezTo>
                <a:cubicBezTo>
                  <a:pt x="139" y="399"/>
                  <a:pt x="141" y="403"/>
                  <a:pt x="144" y="404"/>
                </a:cubicBezTo>
                <a:cubicBezTo>
                  <a:pt x="146" y="405"/>
                  <a:pt x="148" y="406"/>
                  <a:pt x="149" y="406"/>
                </a:cubicBezTo>
                <a:cubicBezTo>
                  <a:pt x="151" y="406"/>
                  <a:pt x="153" y="405"/>
                  <a:pt x="155" y="404"/>
                </a:cubicBezTo>
                <a:cubicBezTo>
                  <a:pt x="352" y="276"/>
                  <a:pt x="352" y="276"/>
                  <a:pt x="352" y="276"/>
                </a:cubicBezTo>
                <a:cubicBezTo>
                  <a:pt x="352" y="395"/>
                  <a:pt x="352" y="395"/>
                  <a:pt x="352" y="395"/>
                </a:cubicBezTo>
                <a:cubicBezTo>
                  <a:pt x="352" y="401"/>
                  <a:pt x="357" y="406"/>
                  <a:pt x="363" y="406"/>
                </a:cubicBezTo>
                <a:cubicBezTo>
                  <a:pt x="369" y="406"/>
                  <a:pt x="373" y="401"/>
                  <a:pt x="373" y="395"/>
                </a:cubicBezTo>
                <a:lnTo>
                  <a:pt x="373" y="11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4" name="Freeform 45">
            <a:extLst>
              <a:ext uri="{FF2B5EF4-FFF2-40B4-BE49-F238E27FC236}">
                <a16:creationId xmlns:a16="http://schemas.microsoft.com/office/drawing/2014/main" id="{EC6DE070-6344-4F5C-ACD8-82F91DC1336F}"/>
              </a:ext>
            </a:extLst>
          </p:cNvPr>
          <p:cNvSpPr>
            <a:spLocks noChangeAspect="1" noEditPoints="1"/>
          </p:cNvSpPr>
          <p:nvPr/>
        </p:nvSpPr>
        <p:spPr bwMode="auto">
          <a:xfrm>
            <a:off x="4402350" y="1700213"/>
            <a:ext cx="369676" cy="36967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0 w 512"/>
              <a:gd name="T21" fmla="*/ 140 h 512"/>
              <a:gd name="T22" fmla="*/ 399 w 512"/>
              <a:gd name="T23" fmla="*/ 140 h 512"/>
              <a:gd name="T24" fmla="*/ 298 w 512"/>
              <a:gd name="T25" fmla="*/ 203 h 512"/>
              <a:gd name="T26" fmla="*/ 298 w 512"/>
              <a:gd name="T27" fmla="*/ 149 h 512"/>
              <a:gd name="T28" fmla="*/ 293 w 512"/>
              <a:gd name="T29" fmla="*/ 140 h 512"/>
              <a:gd name="T30" fmla="*/ 282 w 512"/>
              <a:gd name="T31" fmla="*/ 140 h 512"/>
              <a:gd name="T32" fmla="*/ 117 w 512"/>
              <a:gd name="T33" fmla="*/ 243 h 512"/>
              <a:gd name="T34" fmla="*/ 117 w 512"/>
              <a:gd name="T35" fmla="*/ 149 h 512"/>
              <a:gd name="T36" fmla="*/ 106 w 512"/>
              <a:gd name="T37" fmla="*/ 138 h 512"/>
              <a:gd name="T38" fmla="*/ 96 w 512"/>
              <a:gd name="T39" fmla="*/ 149 h 512"/>
              <a:gd name="T40" fmla="*/ 96 w 512"/>
              <a:gd name="T41" fmla="*/ 362 h 512"/>
              <a:gd name="T42" fmla="*/ 106 w 512"/>
              <a:gd name="T43" fmla="*/ 373 h 512"/>
              <a:gd name="T44" fmla="*/ 117 w 512"/>
              <a:gd name="T45" fmla="*/ 362 h 512"/>
              <a:gd name="T46" fmla="*/ 117 w 512"/>
              <a:gd name="T47" fmla="*/ 268 h 512"/>
              <a:gd name="T48" fmla="*/ 282 w 512"/>
              <a:gd name="T49" fmla="*/ 371 h 512"/>
              <a:gd name="T50" fmla="*/ 293 w 512"/>
              <a:gd name="T51" fmla="*/ 372 h 512"/>
              <a:gd name="T52" fmla="*/ 298 w 512"/>
              <a:gd name="T53" fmla="*/ 362 h 512"/>
              <a:gd name="T54" fmla="*/ 298 w 512"/>
              <a:gd name="T55" fmla="*/ 308 h 512"/>
              <a:gd name="T56" fmla="*/ 399 w 512"/>
              <a:gd name="T57" fmla="*/ 371 h 512"/>
              <a:gd name="T58" fmla="*/ 405 w 512"/>
              <a:gd name="T59" fmla="*/ 373 h 512"/>
              <a:gd name="T60" fmla="*/ 410 w 512"/>
              <a:gd name="T61" fmla="*/ 372 h 512"/>
              <a:gd name="T62" fmla="*/ 416 w 512"/>
              <a:gd name="T63" fmla="*/ 362 h 512"/>
              <a:gd name="T64" fmla="*/ 416 w 512"/>
              <a:gd name="T65" fmla="*/ 149 h 512"/>
              <a:gd name="T66" fmla="*/ 410 w 512"/>
              <a:gd name="T67" fmla="*/ 140 h 512"/>
              <a:gd name="T68" fmla="*/ 394 w 512"/>
              <a:gd name="T69" fmla="*/ 343 h 512"/>
              <a:gd name="T70" fmla="*/ 293 w 512"/>
              <a:gd name="T71" fmla="*/ 280 h 512"/>
              <a:gd name="T72" fmla="*/ 288 w 512"/>
              <a:gd name="T73" fmla="*/ 278 h 512"/>
              <a:gd name="T74" fmla="*/ 282 w 512"/>
              <a:gd name="T75" fmla="*/ 280 h 512"/>
              <a:gd name="T76" fmla="*/ 277 w 512"/>
              <a:gd name="T77" fmla="*/ 289 h 512"/>
              <a:gd name="T78" fmla="*/ 277 w 512"/>
              <a:gd name="T79" fmla="*/ 343 h 512"/>
              <a:gd name="T80" fmla="*/ 137 w 512"/>
              <a:gd name="T81" fmla="*/ 256 h 512"/>
              <a:gd name="T82" fmla="*/ 277 w 512"/>
              <a:gd name="T83" fmla="*/ 168 h 512"/>
              <a:gd name="T84" fmla="*/ 277 w 512"/>
              <a:gd name="T85" fmla="*/ 222 h 512"/>
              <a:gd name="T86" fmla="*/ 282 w 512"/>
              <a:gd name="T87" fmla="*/ 232 h 512"/>
              <a:gd name="T88" fmla="*/ 293 w 512"/>
              <a:gd name="T89" fmla="*/ 231 h 512"/>
              <a:gd name="T90" fmla="*/ 394 w 512"/>
              <a:gd name="T91" fmla="*/ 168 h 512"/>
              <a:gd name="T92" fmla="*/ 394 w 512"/>
              <a:gd name="T93"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0" y="140"/>
                </a:moveTo>
                <a:cubicBezTo>
                  <a:pt x="407" y="138"/>
                  <a:pt x="403" y="138"/>
                  <a:pt x="399" y="140"/>
                </a:cubicBezTo>
                <a:cubicBezTo>
                  <a:pt x="298" y="203"/>
                  <a:pt x="298" y="203"/>
                  <a:pt x="298" y="203"/>
                </a:cubicBezTo>
                <a:cubicBezTo>
                  <a:pt x="298" y="149"/>
                  <a:pt x="298" y="149"/>
                  <a:pt x="298" y="149"/>
                </a:cubicBezTo>
                <a:cubicBezTo>
                  <a:pt x="298" y="145"/>
                  <a:pt x="296" y="142"/>
                  <a:pt x="293" y="140"/>
                </a:cubicBezTo>
                <a:cubicBezTo>
                  <a:pt x="289" y="138"/>
                  <a:pt x="285" y="138"/>
                  <a:pt x="282" y="140"/>
                </a:cubicBezTo>
                <a:cubicBezTo>
                  <a:pt x="117" y="243"/>
                  <a:pt x="117" y="243"/>
                  <a:pt x="117" y="243"/>
                </a:cubicBezTo>
                <a:cubicBezTo>
                  <a:pt x="117" y="149"/>
                  <a:pt x="117" y="149"/>
                  <a:pt x="117" y="149"/>
                </a:cubicBezTo>
                <a:cubicBezTo>
                  <a:pt x="117" y="143"/>
                  <a:pt x="112" y="138"/>
                  <a:pt x="106" y="138"/>
                </a:cubicBezTo>
                <a:cubicBezTo>
                  <a:pt x="100" y="138"/>
                  <a:pt x="96" y="143"/>
                  <a:pt x="96" y="149"/>
                </a:cubicBezTo>
                <a:cubicBezTo>
                  <a:pt x="96" y="362"/>
                  <a:pt x="96" y="362"/>
                  <a:pt x="96" y="362"/>
                </a:cubicBezTo>
                <a:cubicBezTo>
                  <a:pt x="96" y="368"/>
                  <a:pt x="100" y="373"/>
                  <a:pt x="106" y="373"/>
                </a:cubicBezTo>
                <a:cubicBezTo>
                  <a:pt x="112" y="373"/>
                  <a:pt x="117" y="368"/>
                  <a:pt x="117" y="362"/>
                </a:cubicBezTo>
                <a:cubicBezTo>
                  <a:pt x="117" y="268"/>
                  <a:pt x="117" y="268"/>
                  <a:pt x="117" y="268"/>
                </a:cubicBezTo>
                <a:cubicBezTo>
                  <a:pt x="282" y="371"/>
                  <a:pt x="282" y="371"/>
                  <a:pt x="282" y="371"/>
                </a:cubicBezTo>
                <a:cubicBezTo>
                  <a:pt x="285" y="373"/>
                  <a:pt x="289" y="374"/>
                  <a:pt x="293" y="372"/>
                </a:cubicBezTo>
                <a:cubicBezTo>
                  <a:pt x="296" y="370"/>
                  <a:pt x="298" y="366"/>
                  <a:pt x="298" y="362"/>
                </a:cubicBezTo>
                <a:cubicBezTo>
                  <a:pt x="298" y="308"/>
                  <a:pt x="298" y="308"/>
                  <a:pt x="298" y="308"/>
                </a:cubicBezTo>
                <a:cubicBezTo>
                  <a:pt x="399" y="371"/>
                  <a:pt x="399" y="371"/>
                  <a:pt x="399" y="371"/>
                </a:cubicBezTo>
                <a:cubicBezTo>
                  <a:pt x="401" y="372"/>
                  <a:pt x="403" y="373"/>
                  <a:pt x="405" y="373"/>
                </a:cubicBezTo>
                <a:cubicBezTo>
                  <a:pt x="407" y="373"/>
                  <a:pt x="409" y="373"/>
                  <a:pt x="410" y="372"/>
                </a:cubicBezTo>
                <a:cubicBezTo>
                  <a:pt x="414" y="370"/>
                  <a:pt x="416" y="366"/>
                  <a:pt x="416" y="362"/>
                </a:cubicBezTo>
                <a:cubicBezTo>
                  <a:pt x="416" y="149"/>
                  <a:pt x="416" y="149"/>
                  <a:pt x="416" y="149"/>
                </a:cubicBezTo>
                <a:cubicBezTo>
                  <a:pt x="416" y="145"/>
                  <a:pt x="414" y="142"/>
                  <a:pt x="410" y="140"/>
                </a:cubicBezTo>
                <a:close/>
                <a:moveTo>
                  <a:pt x="394" y="343"/>
                </a:moveTo>
                <a:cubicBezTo>
                  <a:pt x="293" y="280"/>
                  <a:pt x="293" y="280"/>
                  <a:pt x="293" y="280"/>
                </a:cubicBezTo>
                <a:cubicBezTo>
                  <a:pt x="292" y="279"/>
                  <a:pt x="290" y="278"/>
                  <a:pt x="288" y="278"/>
                </a:cubicBezTo>
                <a:cubicBezTo>
                  <a:pt x="286" y="278"/>
                  <a:pt x="284" y="279"/>
                  <a:pt x="282" y="280"/>
                </a:cubicBezTo>
                <a:cubicBezTo>
                  <a:pt x="279" y="282"/>
                  <a:pt x="277" y="285"/>
                  <a:pt x="277" y="289"/>
                </a:cubicBezTo>
                <a:cubicBezTo>
                  <a:pt x="277" y="343"/>
                  <a:pt x="277" y="343"/>
                  <a:pt x="277" y="343"/>
                </a:cubicBezTo>
                <a:cubicBezTo>
                  <a:pt x="137" y="256"/>
                  <a:pt x="137" y="256"/>
                  <a:pt x="137" y="256"/>
                </a:cubicBezTo>
                <a:cubicBezTo>
                  <a:pt x="277" y="168"/>
                  <a:pt x="277" y="168"/>
                  <a:pt x="277" y="168"/>
                </a:cubicBezTo>
                <a:cubicBezTo>
                  <a:pt x="277" y="222"/>
                  <a:pt x="277" y="222"/>
                  <a:pt x="277" y="222"/>
                </a:cubicBezTo>
                <a:cubicBezTo>
                  <a:pt x="277" y="226"/>
                  <a:pt x="279" y="230"/>
                  <a:pt x="282" y="232"/>
                </a:cubicBezTo>
                <a:cubicBezTo>
                  <a:pt x="286" y="234"/>
                  <a:pt x="290" y="233"/>
                  <a:pt x="293" y="231"/>
                </a:cubicBezTo>
                <a:cubicBezTo>
                  <a:pt x="394" y="168"/>
                  <a:pt x="394" y="168"/>
                  <a:pt x="394" y="168"/>
                </a:cubicBezTo>
                <a:lnTo>
                  <a:pt x="394" y="34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5" name="Group 48">
            <a:extLst>
              <a:ext uri="{FF2B5EF4-FFF2-40B4-BE49-F238E27FC236}">
                <a16:creationId xmlns:a16="http://schemas.microsoft.com/office/drawing/2014/main" id="{365DBDC6-C247-4BB8-9437-AC3B9F8ABC3E}"/>
              </a:ext>
            </a:extLst>
          </p:cNvPr>
          <p:cNvGrpSpPr>
            <a:grpSpLocks noChangeAspect="1"/>
          </p:cNvGrpSpPr>
          <p:nvPr/>
        </p:nvGrpSpPr>
        <p:grpSpPr bwMode="auto">
          <a:xfrm>
            <a:off x="3966289" y="1700213"/>
            <a:ext cx="369676" cy="369676"/>
            <a:chOff x="4094" y="6"/>
            <a:chExt cx="340" cy="340"/>
          </a:xfrm>
          <a:solidFill>
            <a:schemeClr val="accent1"/>
          </a:solidFill>
        </p:grpSpPr>
        <p:sp>
          <p:nvSpPr>
            <p:cNvPr id="386" name="Freeform 49">
              <a:extLst>
                <a:ext uri="{FF2B5EF4-FFF2-40B4-BE49-F238E27FC236}">
                  <a16:creationId xmlns:a16="http://schemas.microsoft.com/office/drawing/2014/main" id="{6A87FF88-7FBF-4F30-85EE-3D06556439D2}"/>
                </a:ext>
              </a:extLst>
            </p:cNvPr>
            <p:cNvSpPr>
              <a:spLocks noEditPoints="1"/>
            </p:cNvSpPr>
            <p:nvPr/>
          </p:nvSpPr>
          <p:spPr bwMode="auto">
            <a:xfrm>
              <a:off x="4094" y="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10 w 512"/>
                <a:gd name="T13" fmla="*/ 372 h 512"/>
                <a:gd name="T14" fmla="*/ 405 w 512"/>
                <a:gd name="T15" fmla="*/ 373 h 512"/>
                <a:gd name="T16" fmla="*/ 399 w 512"/>
                <a:gd name="T17" fmla="*/ 371 h 512"/>
                <a:gd name="T18" fmla="*/ 298 w 512"/>
                <a:gd name="T19" fmla="*/ 308 h 512"/>
                <a:gd name="T20" fmla="*/ 298 w 512"/>
                <a:gd name="T21" fmla="*/ 362 h 512"/>
                <a:gd name="T22" fmla="*/ 293 w 512"/>
                <a:gd name="T23" fmla="*/ 372 h 512"/>
                <a:gd name="T24" fmla="*/ 282 w 512"/>
                <a:gd name="T25" fmla="*/ 371 h 512"/>
                <a:gd name="T26" fmla="*/ 117 w 512"/>
                <a:gd name="T27" fmla="*/ 268 h 512"/>
                <a:gd name="T28" fmla="*/ 117 w 512"/>
                <a:gd name="T29" fmla="*/ 362 h 512"/>
                <a:gd name="T30" fmla="*/ 106 w 512"/>
                <a:gd name="T31" fmla="*/ 373 h 512"/>
                <a:gd name="T32" fmla="*/ 96 w 512"/>
                <a:gd name="T33" fmla="*/ 362 h 512"/>
                <a:gd name="T34" fmla="*/ 96 w 512"/>
                <a:gd name="T35" fmla="*/ 149 h 512"/>
                <a:gd name="T36" fmla="*/ 106 w 512"/>
                <a:gd name="T37" fmla="*/ 138 h 512"/>
                <a:gd name="T38" fmla="*/ 117 w 512"/>
                <a:gd name="T39" fmla="*/ 149 h 512"/>
                <a:gd name="T40" fmla="*/ 117 w 512"/>
                <a:gd name="T41" fmla="*/ 243 h 512"/>
                <a:gd name="T42" fmla="*/ 282 w 512"/>
                <a:gd name="T43" fmla="*/ 140 h 512"/>
                <a:gd name="T44" fmla="*/ 293 w 512"/>
                <a:gd name="T45" fmla="*/ 140 h 512"/>
                <a:gd name="T46" fmla="*/ 298 w 512"/>
                <a:gd name="T47" fmla="*/ 149 h 512"/>
                <a:gd name="T48" fmla="*/ 298 w 512"/>
                <a:gd name="T49" fmla="*/ 203 h 512"/>
                <a:gd name="T50" fmla="*/ 399 w 512"/>
                <a:gd name="T51" fmla="*/ 140 h 512"/>
                <a:gd name="T52" fmla="*/ 410 w 512"/>
                <a:gd name="T53" fmla="*/ 140 h 512"/>
                <a:gd name="T54" fmla="*/ 416 w 512"/>
                <a:gd name="T55" fmla="*/ 149 h 512"/>
                <a:gd name="T56" fmla="*/ 416 w 512"/>
                <a:gd name="T5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6"/>
                    <a:pt x="414" y="370"/>
                    <a:pt x="410" y="372"/>
                  </a:cubicBezTo>
                  <a:cubicBezTo>
                    <a:pt x="409" y="373"/>
                    <a:pt x="407" y="373"/>
                    <a:pt x="405" y="373"/>
                  </a:cubicBezTo>
                  <a:cubicBezTo>
                    <a:pt x="403" y="373"/>
                    <a:pt x="401" y="372"/>
                    <a:pt x="399" y="371"/>
                  </a:cubicBezTo>
                  <a:cubicBezTo>
                    <a:pt x="298" y="308"/>
                    <a:pt x="298" y="308"/>
                    <a:pt x="298" y="308"/>
                  </a:cubicBezTo>
                  <a:cubicBezTo>
                    <a:pt x="298" y="362"/>
                    <a:pt x="298" y="362"/>
                    <a:pt x="298" y="362"/>
                  </a:cubicBezTo>
                  <a:cubicBezTo>
                    <a:pt x="298" y="366"/>
                    <a:pt x="296" y="370"/>
                    <a:pt x="293" y="372"/>
                  </a:cubicBezTo>
                  <a:cubicBezTo>
                    <a:pt x="289" y="374"/>
                    <a:pt x="285" y="373"/>
                    <a:pt x="282" y="371"/>
                  </a:cubicBezTo>
                  <a:cubicBezTo>
                    <a:pt x="117" y="268"/>
                    <a:pt x="117" y="268"/>
                    <a:pt x="117" y="268"/>
                  </a:cubicBezTo>
                  <a:cubicBezTo>
                    <a:pt x="117" y="362"/>
                    <a:pt x="117" y="362"/>
                    <a:pt x="117" y="362"/>
                  </a:cubicBezTo>
                  <a:cubicBezTo>
                    <a:pt x="117" y="368"/>
                    <a:pt x="112"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243"/>
                    <a:pt x="117" y="243"/>
                    <a:pt x="117" y="243"/>
                  </a:cubicBezTo>
                  <a:cubicBezTo>
                    <a:pt x="282" y="140"/>
                    <a:pt x="282" y="140"/>
                    <a:pt x="282" y="140"/>
                  </a:cubicBezTo>
                  <a:cubicBezTo>
                    <a:pt x="285" y="138"/>
                    <a:pt x="289" y="138"/>
                    <a:pt x="293" y="140"/>
                  </a:cubicBezTo>
                  <a:cubicBezTo>
                    <a:pt x="296" y="142"/>
                    <a:pt x="298" y="145"/>
                    <a:pt x="298" y="149"/>
                  </a:cubicBezTo>
                  <a:cubicBezTo>
                    <a:pt x="298" y="203"/>
                    <a:pt x="298" y="203"/>
                    <a:pt x="298" y="203"/>
                  </a:cubicBezTo>
                  <a:cubicBezTo>
                    <a:pt x="399" y="140"/>
                    <a:pt x="399" y="140"/>
                    <a:pt x="399" y="140"/>
                  </a:cubicBezTo>
                  <a:cubicBezTo>
                    <a:pt x="403" y="138"/>
                    <a:pt x="407" y="138"/>
                    <a:pt x="410" y="140"/>
                  </a:cubicBezTo>
                  <a:cubicBezTo>
                    <a:pt x="414" y="142"/>
                    <a:pt x="416" y="145"/>
                    <a:pt x="416" y="149"/>
                  </a:cubicBezTo>
                  <a:lnTo>
                    <a:pt x="416"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7" name="Freeform 50">
              <a:extLst>
                <a:ext uri="{FF2B5EF4-FFF2-40B4-BE49-F238E27FC236}">
                  <a16:creationId xmlns:a16="http://schemas.microsoft.com/office/drawing/2014/main" id="{D9B8432A-5200-4AE2-95EE-11716DBDF669}"/>
                </a:ext>
              </a:extLst>
            </p:cNvPr>
            <p:cNvSpPr>
              <a:spLocks/>
            </p:cNvSpPr>
            <p:nvPr/>
          </p:nvSpPr>
          <p:spPr bwMode="auto">
            <a:xfrm>
              <a:off x="4185" y="118"/>
              <a:ext cx="171" cy="116"/>
            </a:xfrm>
            <a:custGeom>
              <a:avLst/>
              <a:gdLst>
                <a:gd name="T0" fmla="*/ 145 w 257"/>
                <a:gd name="T1" fmla="*/ 64 h 175"/>
                <a:gd name="T2" fmla="*/ 140 w 257"/>
                <a:gd name="T3" fmla="*/ 54 h 175"/>
                <a:gd name="T4" fmla="*/ 140 w 257"/>
                <a:gd name="T5" fmla="*/ 0 h 175"/>
                <a:gd name="T6" fmla="*/ 0 w 257"/>
                <a:gd name="T7" fmla="*/ 88 h 175"/>
                <a:gd name="T8" fmla="*/ 140 w 257"/>
                <a:gd name="T9" fmla="*/ 175 h 175"/>
                <a:gd name="T10" fmla="*/ 140 w 257"/>
                <a:gd name="T11" fmla="*/ 121 h 175"/>
                <a:gd name="T12" fmla="*/ 145 w 257"/>
                <a:gd name="T13" fmla="*/ 112 h 175"/>
                <a:gd name="T14" fmla="*/ 151 w 257"/>
                <a:gd name="T15" fmla="*/ 110 h 175"/>
                <a:gd name="T16" fmla="*/ 156 w 257"/>
                <a:gd name="T17" fmla="*/ 112 h 175"/>
                <a:gd name="T18" fmla="*/ 257 w 257"/>
                <a:gd name="T19" fmla="*/ 175 h 175"/>
                <a:gd name="T20" fmla="*/ 257 w 257"/>
                <a:gd name="T21" fmla="*/ 0 h 175"/>
                <a:gd name="T22" fmla="*/ 156 w 257"/>
                <a:gd name="T23" fmla="*/ 63 h 175"/>
                <a:gd name="T24" fmla="*/ 145 w 257"/>
                <a:gd name="T25" fmla="*/ 6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175">
                  <a:moveTo>
                    <a:pt x="145" y="64"/>
                  </a:moveTo>
                  <a:cubicBezTo>
                    <a:pt x="142" y="62"/>
                    <a:pt x="140" y="58"/>
                    <a:pt x="140" y="54"/>
                  </a:cubicBezTo>
                  <a:cubicBezTo>
                    <a:pt x="140" y="0"/>
                    <a:pt x="140" y="0"/>
                    <a:pt x="140" y="0"/>
                  </a:cubicBezTo>
                  <a:cubicBezTo>
                    <a:pt x="0" y="88"/>
                    <a:pt x="0" y="88"/>
                    <a:pt x="0" y="88"/>
                  </a:cubicBezTo>
                  <a:cubicBezTo>
                    <a:pt x="140" y="175"/>
                    <a:pt x="140" y="175"/>
                    <a:pt x="140" y="175"/>
                  </a:cubicBezTo>
                  <a:cubicBezTo>
                    <a:pt x="140" y="121"/>
                    <a:pt x="140" y="121"/>
                    <a:pt x="140" y="121"/>
                  </a:cubicBezTo>
                  <a:cubicBezTo>
                    <a:pt x="140" y="117"/>
                    <a:pt x="142" y="114"/>
                    <a:pt x="145" y="112"/>
                  </a:cubicBezTo>
                  <a:cubicBezTo>
                    <a:pt x="147" y="111"/>
                    <a:pt x="149" y="110"/>
                    <a:pt x="151" y="110"/>
                  </a:cubicBezTo>
                  <a:cubicBezTo>
                    <a:pt x="153" y="110"/>
                    <a:pt x="155" y="111"/>
                    <a:pt x="156" y="112"/>
                  </a:cubicBezTo>
                  <a:cubicBezTo>
                    <a:pt x="257" y="175"/>
                    <a:pt x="257" y="175"/>
                    <a:pt x="257" y="175"/>
                  </a:cubicBezTo>
                  <a:cubicBezTo>
                    <a:pt x="257" y="0"/>
                    <a:pt x="257" y="0"/>
                    <a:pt x="257" y="0"/>
                  </a:cubicBezTo>
                  <a:cubicBezTo>
                    <a:pt x="156" y="63"/>
                    <a:pt x="156" y="63"/>
                    <a:pt x="156" y="63"/>
                  </a:cubicBezTo>
                  <a:cubicBezTo>
                    <a:pt x="153" y="65"/>
                    <a:pt x="149" y="66"/>
                    <a:pt x="145"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8" name="TextBox 387">
            <a:extLst>
              <a:ext uri="{FF2B5EF4-FFF2-40B4-BE49-F238E27FC236}">
                <a16:creationId xmlns:a16="http://schemas.microsoft.com/office/drawing/2014/main" id="{C4A49391-7666-4CF4-9EF2-38E0551F3BBD}"/>
              </a:ext>
            </a:extLst>
          </p:cNvPr>
          <p:cNvSpPr txBox="1"/>
          <p:nvPr/>
        </p:nvSpPr>
        <p:spPr>
          <a:xfrm>
            <a:off x="45517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ute</a:t>
            </a:r>
          </a:p>
        </p:txBody>
      </p:sp>
      <p:sp>
        <p:nvSpPr>
          <p:cNvPr id="389" name="TextBox 388">
            <a:extLst>
              <a:ext uri="{FF2B5EF4-FFF2-40B4-BE49-F238E27FC236}">
                <a16:creationId xmlns:a16="http://schemas.microsoft.com/office/drawing/2014/main" id="{8E7A936F-9C44-49A5-A0C5-F1CCC1B5DD95}"/>
              </a:ext>
            </a:extLst>
          </p:cNvPr>
          <p:cNvSpPr txBox="1"/>
          <p:nvPr/>
        </p:nvSpPr>
        <p:spPr>
          <a:xfrm>
            <a:off x="132670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Volume 1</a:t>
            </a:r>
          </a:p>
        </p:txBody>
      </p:sp>
      <p:sp>
        <p:nvSpPr>
          <p:cNvPr id="390" name="TextBox 389">
            <a:extLst>
              <a:ext uri="{FF2B5EF4-FFF2-40B4-BE49-F238E27FC236}">
                <a16:creationId xmlns:a16="http://schemas.microsoft.com/office/drawing/2014/main" id="{035C8F80-E773-4E40-9C54-B4D26AF49CB5}"/>
              </a:ext>
            </a:extLst>
          </p:cNvPr>
          <p:cNvSpPr txBox="1"/>
          <p:nvPr/>
        </p:nvSpPr>
        <p:spPr>
          <a:xfrm>
            <a:off x="219823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Volume2</a:t>
            </a:r>
          </a:p>
        </p:txBody>
      </p:sp>
      <p:sp>
        <p:nvSpPr>
          <p:cNvPr id="391" name="TextBox 390">
            <a:extLst>
              <a:ext uri="{FF2B5EF4-FFF2-40B4-BE49-F238E27FC236}">
                <a16:creationId xmlns:a16="http://schemas.microsoft.com/office/drawing/2014/main" id="{29275F24-1238-4870-B7A1-81243DED303B}"/>
              </a:ext>
            </a:extLst>
          </p:cNvPr>
          <p:cNvSpPr txBox="1"/>
          <p:nvPr/>
        </p:nvSpPr>
        <p:spPr>
          <a:xfrm>
            <a:off x="306976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Volume 3</a:t>
            </a:r>
          </a:p>
        </p:txBody>
      </p:sp>
      <p:grpSp>
        <p:nvGrpSpPr>
          <p:cNvPr id="392" name="Group 700">
            <a:extLst>
              <a:ext uri="{FF2B5EF4-FFF2-40B4-BE49-F238E27FC236}">
                <a16:creationId xmlns:a16="http://schemas.microsoft.com/office/drawing/2014/main" id="{28BC917E-314D-403D-8542-13D96FF0EA2D}"/>
              </a:ext>
            </a:extLst>
          </p:cNvPr>
          <p:cNvGrpSpPr>
            <a:grpSpLocks noChangeAspect="1"/>
          </p:cNvGrpSpPr>
          <p:nvPr/>
        </p:nvGrpSpPr>
        <p:grpSpPr bwMode="auto">
          <a:xfrm>
            <a:off x="2654480" y="2532035"/>
            <a:ext cx="369676" cy="369676"/>
            <a:chOff x="7347" y="2631"/>
            <a:chExt cx="340" cy="340"/>
          </a:xfrm>
          <a:solidFill>
            <a:schemeClr val="accent2"/>
          </a:solidFill>
        </p:grpSpPr>
        <p:sp>
          <p:nvSpPr>
            <p:cNvPr id="393" name="Freeform 701">
              <a:extLst>
                <a:ext uri="{FF2B5EF4-FFF2-40B4-BE49-F238E27FC236}">
                  <a16:creationId xmlns:a16="http://schemas.microsoft.com/office/drawing/2014/main" id="{5C2D0593-859F-4729-A4DC-21B974F63EB9}"/>
                </a:ext>
              </a:extLst>
            </p:cNvPr>
            <p:cNvSpPr>
              <a:spLocks noEditPoints="1"/>
            </p:cNvSpPr>
            <p:nvPr/>
          </p:nvSpPr>
          <p:spPr bwMode="auto">
            <a:xfrm>
              <a:off x="7411" y="2715"/>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Freeform 702">
              <a:extLst>
                <a:ext uri="{FF2B5EF4-FFF2-40B4-BE49-F238E27FC236}">
                  <a16:creationId xmlns:a16="http://schemas.microsoft.com/office/drawing/2014/main" id="{F6841EC0-5F9B-4F0D-98DD-7E555DC062B8}"/>
                </a:ext>
              </a:extLst>
            </p:cNvPr>
            <p:cNvSpPr>
              <a:spLocks/>
            </p:cNvSpPr>
            <p:nvPr/>
          </p:nvSpPr>
          <p:spPr bwMode="auto">
            <a:xfrm>
              <a:off x="7532" y="2778"/>
              <a:ext cx="20" cy="44"/>
            </a:xfrm>
            <a:custGeom>
              <a:avLst/>
              <a:gdLst>
                <a:gd name="T0" fmla="*/ 5 w 31"/>
                <a:gd name="T1" fmla="*/ 4 h 66"/>
                <a:gd name="T2" fmla="*/ 4 w 31"/>
                <a:gd name="T3" fmla="*/ 19 h 66"/>
                <a:gd name="T4" fmla="*/ 10 w 31"/>
                <a:gd name="T5" fmla="*/ 34 h 66"/>
                <a:gd name="T6" fmla="*/ 4 w 31"/>
                <a:gd name="T7" fmla="*/ 48 h 66"/>
                <a:gd name="T8" fmla="*/ 5 w 31"/>
                <a:gd name="T9" fmla="*/ 63 h 66"/>
                <a:gd name="T10" fmla="*/ 12 w 31"/>
                <a:gd name="T11" fmla="*/ 66 h 66"/>
                <a:gd name="T12" fmla="*/ 20 w 31"/>
                <a:gd name="T13" fmla="*/ 62 h 66"/>
                <a:gd name="T14" fmla="*/ 31 w 31"/>
                <a:gd name="T15" fmla="*/ 34 h 66"/>
                <a:gd name="T16" fmla="*/ 20 w 31"/>
                <a:gd name="T17" fmla="*/ 5 h 66"/>
                <a:gd name="T18" fmla="*/ 5 w 31"/>
                <a:gd name="T19"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6">
                  <a:moveTo>
                    <a:pt x="5" y="4"/>
                  </a:moveTo>
                  <a:cubicBezTo>
                    <a:pt x="1" y="8"/>
                    <a:pt x="0" y="15"/>
                    <a:pt x="4" y="19"/>
                  </a:cubicBezTo>
                  <a:cubicBezTo>
                    <a:pt x="8" y="23"/>
                    <a:pt x="10" y="28"/>
                    <a:pt x="10" y="34"/>
                  </a:cubicBezTo>
                  <a:cubicBezTo>
                    <a:pt x="10" y="39"/>
                    <a:pt x="8" y="44"/>
                    <a:pt x="4" y="48"/>
                  </a:cubicBezTo>
                  <a:cubicBezTo>
                    <a:pt x="0" y="52"/>
                    <a:pt x="1" y="59"/>
                    <a:pt x="5" y="63"/>
                  </a:cubicBezTo>
                  <a:cubicBezTo>
                    <a:pt x="7" y="65"/>
                    <a:pt x="10" y="66"/>
                    <a:pt x="12" y="66"/>
                  </a:cubicBezTo>
                  <a:cubicBezTo>
                    <a:pt x="15" y="66"/>
                    <a:pt x="18" y="64"/>
                    <a:pt x="20" y="62"/>
                  </a:cubicBezTo>
                  <a:cubicBezTo>
                    <a:pt x="27" y="54"/>
                    <a:pt x="31" y="44"/>
                    <a:pt x="31" y="34"/>
                  </a:cubicBezTo>
                  <a:cubicBezTo>
                    <a:pt x="31" y="23"/>
                    <a:pt x="27" y="13"/>
                    <a:pt x="20" y="5"/>
                  </a:cubicBezTo>
                  <a:cubicBezTo>
                    <a:pt x="16" y="1"/>
                    <a:pt x="9" y="0"/>
                    <a:pt x="5"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5" name="Freeform 703">
              <a:extLst>
                <a:ext uri="{FF2B5EF4-FFF2-40B4-BE49-F238E27FC236}">
                  <a16:creationId xmlns:a16="http://schemas.microsoft.com/office/drawing/2014/main" id="{B1E5849E-4324-4F76-9548-0CE07AC17DE1}"/>
                </a:ext>
              </a:extLst>
            </p:cNvPr>
            <p:cNvSpPr>
              <a:spLocks/>
            </p:cNvSpPr>
            <p:nvPr/>
          </p:nvSpPr>
          <p:spPr bwMode="auto">
            <a:xfrm>
              <a:off x="7554" y="2751"/>
              <a:ext cx="33" cy="99"/>
            </a:xfrm>
            <a:custGeom>
              <a:avLst/>
              <a:gdLst>
                <a:gd name="T0" fmla="*/ 19 w 51"/>
                <a:gd name="T1" fmla="*/ 4 h 150"/>
                <a:gd name="T2" fmla="*/ 4 w 51"/>
                <a:gd name="T3" fmla="*/ 5 h 150"/>
                <a:gd name="T4" fmla="*/ 5 w 51"/>
                <a:gd name="T5" fmla="*/ 20 h 150"/>
                <a:gd name="T6" fmla="*/ 30 w 51"/>
                <a:gd name="T7" fmla="*/ 76 h 150"/>
                <a:gd name="T8" fmla="*/ 5 w 51"/>
                <a:gd name="T9" fmla="*/ 132 h 150"/>
                <a:gd name="T10" fmla="*/ 4 w 51"/>
                <a:gd name="T11" fmla="*/ 147 h 150"/>
                <a:gd name="T12" fmla="*/ 12 w 51"/>
                <a:gd name="T13" fmla="*/ 150 h 150"/>
                <a:gd name="T14" fmla="*/ 19 w 51"/>
                <a:gd name="T15" fmla="*/ 148 h 150"/>
                <a:gd name="T16" fmla="*/ 51 w 51"/>
                <a:gd name="T17" fmla="*/ 76 h 150"/>
                <a:gd name="T18" fmla="*/ 19 w 51"/>
                <a:gd name="T19"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150">
                  <a:moveTo>
                    <a:pt x="19" y="4"/>
                  </a:moveTo>
                  <a:cubicBezTo>
                    <a:pt x="14" y="0"/>
                    <a:pt x="8" y="0"/>
                    <a:pt x="4" y="5"/>
                  </a:cubicBezTo>
                  <a:cubicBezTo>
                    <a:pt x="0" y="9"/>
                    <a:pt x="0" y="16"/>
                    <a:pt x="5" y="20"/>
                  </a:cubicBezTo>
                  <a:cubicBezTo>
                    <a:pt x="21" y="34"/>
                    <a:pt x="30" y="54"/>
                    <a:pt x="30" y="76"/>
                  </a:cubicBezTo>
                  <a:cubicBezTo>
                    <a:pt x="30" y="97"/>
                    <a:pt x="21" y="117"/>
                    <a:pt x="5" y="132"/>
                  </a:cubicBezTo>
                  <a:cubicBezTo>
                    <a:pt x="0" y="136"/>
                    <a:pt x="0" y="142"/>
                    <a:pt x="4" y="147"/>
                  </a:cubicBezTo>
                  <a:cubicBezTo>
                    <a:pt x="6" y="149"/>
                    <a:pt x="9" y="150"/>
                    <a:pt x="12" y="150"/>
                  </a:cubicBezTo>
                  <a:cubicBezTo>
                    <a:pt x="14" y="150"/>
                    <a:pt x="17" y="149"/>
                    <a:pt x="19" y="148"/>
                  </a:cubicBezTo>
                  <a:cubicBezTo>
                    <a:pt x="39" y="129"/>
                    <a:pt x="51" y="103"/>
                    <a:pt x="51" y="76"/>
                  </a:cubicBezTo>
                  <a:cubicBezTo>
                    <a:pt x="51" y="48"/>
                    <a:pt x="39" y="22"/>
                    <a:pt x="19"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6" name="Freeform 704">
              <a:extLst>
                <a:ext uri="{FF2B5EF4-FFF2-40B4-BE49-F238E27FC236}">
                  <a16:creationId xmlns:a16="http://schemas.microsoft.com/office/drawing/2014/main" id="{58A8BB56-BF1E-429E-B8A7-682940D0FB9C}"/>
                </a:ext>
              </a:extLst>
            </p:cNvPr>
            <p:cNvSpPr>
              <a:spLocks noEditPoints="1"/>
            </p:cNvSpPr>
            <p:nvPr/>
          </p:nvSpPr>
          <p:spPr bwMode="auto">
            <a:xfrm>
              <a:off x="7347" y="26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7" name="Freeform 708">
            <a:extLst>
              <a:ext uri="{FF2B5EF4-FFF2-40B4-BE49-F238E27FC236}">
                <a16:creationId xmlns:a16="http://schemas.microsoft.com/office/drawing/2014/main" id="{957CFCE4-5174-4497-B72B-3C48DDA8E477}"/>
              </a:ext>
            </a:extLst>
          </p:cNvPr>
          <p:cNvSpPr>
            <a:spLocks noChangeAspect="1" noEditPoints="1"/>
          </p:cNvSpPr>
          <p:nvPr/>
        </p:nvSpPr>
        <p:spPr bwMode="auto">
          <a:xfrm>
            <a:off x="2217654" y="2532035"/>
            <a:ext cx="369676" cy="369676"/>
          </a:xfrm>
          <a:custGeom>
            <a:avLst/>
            <a:gdLst>
              <a:gd name="T0" fmla="*/ 167 w 512"/>
              <a:gd name="T1" fmla="*/ 221 h 512"/>
              <a:gd name="T2" fmla="*/ 234 w 512"/>
              <a:gd name="T3" fmla="*/ 162 h 512"/>
              <a:gd name="T4" fmla="*/ 234 w 512"/>
              <a:gd name="T5" fmla="*/ 349 h 512"/>
              <a:gd name="T6" fmla="*/ 167 w 512"/>
              <a:gd name="T7" fmla="*/ 290 h 512"/>
              <a:gd name="T8" fmla="*/ 160 w 512"/>
              <a:gd name="T9" fmla="*/ 288 h 512"/>
              <a:gd name="T10" fmla="*/ 117 w 512"/>
              <a:gd name="T11" fmla="*/ 288 h 512"/>
              <a:gd name="T12" fmla="*/ 117 w 512"/>
              <a:gd name="T13" fmla="*/ 224 h 512"/>
              <a:gd name="T14" fmla="*/ 160 w 512"/>
              <a:gd name="T15" fmla="*/ 224 h 512"/>
              <a:gd name="T16" fmla="*/ 167 w 512"/>
              <a:gd name="T17" fmla="*/ 221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56 w 512"/>
              <a:gd name="T29" fmla="*/ 138 h 512"/>
              <a:gd name="T30" fmla="*/ 249 w 512"/>
              <a:gd name="T31" fmla="*/ 129 h 512"/>
              <a:gd name="T32" fmla="*/ 238 w 512"/>
              <a:gd name="T33" fmla="*/ 130 h 512"/>
              <a:gd name="T34" fmla="*/ 156 w 512"/>
              <a:gd name="T35" fmla="*/ 202 h 512"/>
              <a:gd name="T36" fmla="*/ 106 w 512"/>
              <a:gd name="T37" fmla="*/ 202 h 512"/>
              <a:gd name="T38" fmla="*/ 96 w 512"/>
              <a:gd name="T39" fmla="*/ 213 h 512"/>
              <a:gd name="T40" fmla="*/ 96 w 512"/>
              <a:gd name="T41" fmla="*/ 298 h 512"/>
              <a:gd name="T42" fmla="*/ 106 w 512"/>
              <a:gd name="T43" fmla="*/ 309 h 512"/>
              <a:gd name="T44" fmla="*/ 156 w 512"/>
              <a:gd name="T45" fmla="*/ 309 h 512"/>
              <a:gd name="T46" fmla="*/ 238 w 512"/>
              <a:gd name="T47" fmla="*/ 381 h 512"/>
              <a:gd name="T48" fmla="*/ 245 w 512"/>
              <a:gd name="T49" fmla="*/ 384 h 512"/>
              <a:gd name="T50" fmla="*/ 249 w 512"/>
              <a:gd name="T51" fmla="*/ 383 h 512"/>
              <a:gd name="T52" fmla="*/ 256 w 512"/>
              <a:gd name="T53" fmla="*/ 373 h 512"/>
              <a:gd name="T54" fmla="*/ 256 w 512"/>
              <a:gd name="T55" fmla="*/ 138 h 512"/>
              <a:gd name="T56" fmla="*/ 309 w 512"/>
              <a:gd name="T57" fmla="*/ 256 h 512"/>
              <a:gd name="T58" fmla="*/ 298 w 512"/>
              <a:gd name="T59" fmla="*/ 227 h 512"/>
              <a:gd name="T60" fmla="*/ 283 w 512"/>
              <a:gd name="T61" fmla="*/ 226 h 512"/>
              <a:gd name="T62" fmla="*/ 282 w 512"/>
              <a:gd name="T63" fmla="*/ 241 h 512"/>
              <a:gd name="T64" fmla="*/ 288 w 512"/>
              <a:gd name="T65" fmla="*/ 256 h 512"/>
              <a:gd name="T66" fmla="*/ 282 w 512"/>
              <a:gd name="T67" fmla="*/ 270 h 512"/>
              <a:gd name="T68" fmla="*/ 283 w 512"/>
              <a:gd name="T69" fmla="*/ 285 h 512"/>
              <a:gd name="T70" fmla="*/ 290 w 512"/>
              <a:gd name="T71" fmla="*/ 288 h 512"/>
              <a:gd name="T72" fmla="*/ 298 w 512"/>
              <a:gd name="T73" fmla="*/ 284 h 512"/>
              <a:gd name="T74" fmla="*/ 309 w 512"/>
              <a:gd name="T75" fmla="*/ 256 h 512"/>
              <a:gd name="T76" fmla="*/ 362 w 512"/>
              <a:gd name="T77" fmla="*/ 256 h 512"/>
              <a:gd name="T78" fmla="*/ 330 w 512"/>
              <a:gd name="T79" fmla="*/ 184 h 512"/>
              <a:gd name="T80" fmla="*/ 315 w 512"/>
              <a:gd name="T81" fmla="*/ 185 h 512"/>
              <a:gd name="T82" fmla="*/ 316 w 512"/>
              <a:gd name="T83" fmla="*/ 200 h 512"/>
              <a:gd name="T84" fmla="*/ 341 w 512"/>
              <a:gd name="T85" fmla="*/ 256 h 512"/>
              <a:gd name="T86" fmla="*/ 316 w 512"/>
              <a:gd name="T87" fmla="*/ 312 h 512"/>
              <a:gd name="T88" fmla="*/ 315 w 512"/>
              <a:gd name="T89" fmla="*/ 327 h 512"/>
              <a:gd name="T90" fmla="*/ 323 w 512"/>
              <a:gd name="T91" fmla="*/ 330 h 512"/>
              <a:gd name="T92" fmla="*/ 330 w 512"/>
              <a:gd name="T93" fmla="*/ 328 h 512"/>
              <a:gd name="T94" fmla="*/ 362 w 512"/>
              <a:gd name="T95"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167" y="221"/>
                </a:moveTo>
                <a:cubicBezTo>
                  <a:pt x="234" y="162"/>
                  <a:pt x="234" y="162"/>
                  <a:pt x="234" y="162"/>
                </a:cubicBezTo>
                <a:cubicBezTo>
                  <a:pt x="234" y="349"/>
                  <a:pt x="234" y="349"/>
                  <a:pt x="234" y="349"/>
                </a:cubicBezTo>
                <a:cubicBezTo>
                  <a:pt x="167" y="290"/>
                  <a:pt x="167" y="290"/>
                  <a:pt x="167" y="290"/>
                </a:cubicBezTo>
                <a:cubicBezTo>
                  <a:pt x="165" y="289"/>
                  <a:pt x="162" y="288"/>
                  <a:pt x="160" y="288"/>
                </a:cubicBezTo>
                <a:cubicBezTo>
                  <a:pt x="117" y="288"/>
                  <a:pt x="117" y="288"/>
                  <a:pt x="117" y="288"/>
                </a:cubicBezTo>
                <a:cubicBezTo>
                  <a:pt x="117" y="224"/>
                  <a:pt x="117" y="224"/>
                  <a:pt x="117" y="224"/>
                </a:cubicBezTo>
                <a:cubicBezTo>
                  <a:pt x="160" y="224"/>
                  <a:pt x="160" y="224"/>
                  <a:pt x="160" y="224"/>
                </a:cubicBezTo>
                <a:cubicBezTo>
                  <a:pt x="162" y="224"/>
                  <a:pt x="165" y="223"/>
                  <a:pt x="167" y="22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6" y="138"/>
                </a:moveTo>
                <a:cubicBezTo>
                  <a:pt x="256" y="134"/>
                  <a:pt x="253" y="130"/>
                  <a:pt x="249" y="129"/>
                </a:cubicBezTo>
                <a:cubicBezTo>
                  <a:pt x="246" y="127"/>
                  <a:pt x="241" y="128"/>
                  <a:pt x="238" y="130"/>
                </a:cubicBezTo>
                <a:cubicBezTo>
                  <a:pt x="156" y="202"/>
                  <a:pt x="156" y="202"/>
                  <a:pt x="156" y="202"/>
                </a:cubicBezTo>
                <a:cubicBezTo>
                  <a:pt x="106" y="202"/>
                  <a:pt x="106" y="202"/>
                  <a:pt x="106" y="202"/>
                </a:cubicBezTo>
                <a:cubicBezTo>
                  <a:pt x="100" y="202"/>
                  <a:pt x="96" y="207"/>
                  <a:pt x="96" y="213"/>
                </a:cubicBezTo>
                <a:cubicBezTo>
                  <a:pt x="96" y="298"/>
                  <a:pt x="96" y="298"/>
                  <a:pt x="96" y="298"/>
                </a:cubicBezTo>
                <a:cubicBezTo>
                  <a:pt x="96" y="304"/>
                  <a:pt x="100" y="309"/>
                  <a:pt x="106" y="309"/>
                </a:cubicBezTo>
                <a:cubicBezTo>
                  <a:pt x="156" y="309"/>
                  <a:pt x="156" y="309"/>
                  <a:pt x="156" y="309"/>
                </a:cubicBezTo>
                <a:cubicBezTo>
                  <a:pt x="238" y="381"/>
                  <a:pt x="238" y="381"/>
                  <a:pt x="238" y="381"/>
                </a:cubicBezTo>
                <a:cubicBezTo>
                  <a:pt x="240" y="383"/>
                  <a:pt x="242" y="384"/>
                  <a:pt x="245" y="384"/>
                </a:cubicBezTo>
                <a:cubicBezTo>
                  <a:pt x="246" y="384"/>
                  <a:pt x="248" y="383"/>
                  <a:pt x="249" y="383"/>
                </a:cubicBezTo>
                <a:cubicBezTo>
                  <a:pt x="253" y="381"/>
                  <a:pt x="256" y="377"/>
                  <a:pt x="256" y="373"/>
                </a:cubicBezTo>
                <a:lnTo>
                  <a:pt x="256" y="138"/>
                </a:lnTo>
                <a:close/>
                <a:moveTo>
                  <a:pt x="309" y="256"/>
                </a:moveTo>
                <a:cubicBezTo>
                  <a:pt x="309" y="245"/>
                  <a:pt x="305" y="235"/>
                  <a:pt x="298" y="227"/>
                </a:cubicBezTo>
                <a:cubicBezTo>
                  <a:pt x="294" y="223"/>
                  <a:pt x="287" y="222"/>
                  <a:pt x="283" y="226"/>
                </a:cubicBezTo>
                <a:cubicBezTo>
                  <a:pt x="279" y="230"/>
                  <a:pt x="278" y="237"/>
                  <a:pt x="282" y="241"/>
                </a:cubicBezTo>
                <a:cubicBezTo>
                  <a:pt x="286" y="245"/>
                  <a:pt x="288" y="250"/>
                  <a:pt x="288" y="256"/>
                </a:cubicBezTo>
                <a:cubicBezTo>
                  <a:pt x="288" y="261"/>
                  <a:pt x="286" y="266"/>
                  <a:pt x="282" y="270"/>
                </a:cubicBezTo>
                <a:cubicBezTo>
                  <a:pt x="278" y="274"/>
                  <a:pt x="279" y="281"/>
                  <a:pt x="283" y="285"/>
                </a:cubicBezTo>
                <a:cubicBezTo>
                  <a:pt x="285" y="287"/>
                  <a:pt x="288" y="288"/>
                  <a:pt x="290" y="288"/>
                </a:cubicBezTo>
                <a:cubicBezTo>
                  <a:pt x="293" y="288"/>
                  <a:pt x="296" y="286"/>
                  <a:pt x="298" y="284"/>
                </a:cubicBezTo>
                <a:cubicBezTo>
                  <a:pt x="305" y="276"/>
                  <a:pt x="309" y="266"/>
                  <a:pt x="309" y="256"/>
                </a:cubicBezTo>
                <a:close/>
                <a:moveTo>
                  <a:pt x="362" y="256"/>
                </a:moveTo>
                <a:cubicBezTo>
                  <a:pt x="362" y="228"/>
                  <a:pt x="350" y="202"/>
                  <a:pt x="330" y="184"/>
                </a:cubicBezTo>
                <a:cubicBezTo>
                  <a:pt x="325" y="180"/>
                  <a:pt x="319" y="180"/>
                  <a:pt x="315" y="185"/>
                </a:cubicBezTo>
                <a:cubicBezTo>
                  <a:pt x="311" y="189"/>
                  <a:pt x="311" y="196"/>
                  <a:pt x="316" y="200"/>
                </a:cubicBezTo>
                <a:cubicBezTo>
                  <a:pt x="332" y="214"/>
                  <a:pt x="341" y="234"/>
                  <a:pt x="341" y="256"/>
                </a:cubicBezTo>
                <a:cubicBezTo>
                  <a:pt x="341" y="277"/>
                  <a:pt x="332" y="297"/>
                  <a:pt x="316" y="312"/>
                </a:cubicBezTo>
                <a:cubicBezTo>
                  <a:pt x="311" y="316"/>
                  <a:pt x="311" y="322"/>
                  <a:pt x="315" y="327"/>
                </a:cubicBezTo>
                <a:cubicBezTo>
                  <a:pt x="317" y="329"/>
                  <a:pt x="320" y="330"/>
                  <a:pt x="323" y="330"/>
                </a:cubicBezTo>
                <a:cubicBezTo>
                  <a:pt x="325" y="330"/>
                  <a:pt x="328" y="329"/>
                  <a:pt x="330" y="328"/>
                </a:cubicBezTo>
                <a:cubicBezTo>
                  <a:pt x="350" y="309"/>
                  <a:pt x="362" y="283"/>
                  <a:pt x="362" y="2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98" name="Group 711">
            <a:extLst>
              <a:ext uri="{FF2B5EF4-FFF2-40B4-BE49-F238E27FC236}">
                <a16:creationId xmlns:a16="http://schemas.microsoft.com/office/drawing/2014/main" id="{3B1AEB2E-F859-40BB-89CD-3A7D2AC24ED0}"/>
              </a:ext>
            </a:extLst>
          </p:cNvPr>
          <p:cNvGrpSpPr>
            <a:grpSpLocks noChangeAspect="1"/>
          </p:cNvGrpSpPr>
          <p:nvPr/>
        </p:nvGrpSpPr>
        <p:grpSpPr bwMode="auto">
          <a:xfrm>
            <a:off x="1780828" y="2532035"/>
            <a:ext cx="369676" cy="370763"/>
            <a:chOff x="6611" y="2635"/>
            <a:chExt cx="340" cy="341"/>
          </a:xfrm>
          <a:solidFill>
            <a:schemeClr val="accent2"/>
          </a:solidFill>
        </p:grpSpPr>
        <p:sp>
          <p:nvSpPr>
            <p:cNvPr id="399" name="Freeform 712">
              <a:extLst>
                <a:ext uri="{FF2B5EF4-FFF2-40B4-BE49-F238E27FC236}">
                  <a16:creationId xmlns:a16="http://schemas.microsoft.com/office/drawing/2014/main" id="{449956AA-BA7C-4252-B7CB-3B6EF5215018}"/>
                </a:ext>
              </a:extLst>
            </p:cNvPr>
            <p:cNvSpPr>
              <a:spLocks noEditPoints="1"/>
            </p:cNvSpPr>
            <p:nvPr/>
          </p:nvSpPr>
          <p:spPr bwMode="auto">
            <a:xfrm>
              <a:off x="6675" y="2720"/>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0" name="Freeform 713">
              <a:extLst>
                <a:ext uri="{FF2B5EF4-FFF2-40B4-BE49-F238E27FC236}">
                  <a16:creationId xmlns:a16="http://schemas.microsoft.com/office/drawing/2014/main" id="{70E92FEB-2F76-44F2-986A-E375C4444BA7}"/>
                </a:ext>
              </a:extLst>
            </p:cNvPr>
            <p:cNvSpPr>
              <a:spLocks/>
            </p:cNvSpPr>
            <p:nvPr/>
          </p:nvSpPr>
          <p:spPr bwMode="auto">
            <a:xfrm>
              <a:off x="6796" y="2783"/>
              <a:ext cx="20" cy="44"/>
            </a:xfrm>
            <a:custGeom>
              <a:avLst/>
              <a:gdLst>
                <a:gd name="T0" fmla="*/ 20 w 31"/>
                <a:gd name="T1" fmla="*/ 5 h 66"/>
                <a:gd name="T2" fmla="*/ 5 w 31"/>
                <a:gd name="T3" fmla="*/ 4 h 66"/>
                <a:gd name="T4" fmla="*/ 4 w 31"/>
                <a:gd name="T5" fmla="*/ 19 h 66"/>
                <a:gd name="T6" fmla="*/ 10 w 31"/>
                <a:gd name="T7" fmla="*/ 34 h 66"/>
                <a:gd name="T8" fmla="*/ 4 w 31"/>
                <a:gd name="T9" fmla="*/ 48 h 66"/>
                <a:gd name="T10" fmla="*/ 5 w 31"/>
                <a:gd name="T11" fmla="*/ 63 h 66"/>
                <a:gd name="T12" fmla="*/ 12 w 31"/>
                <a:gd name="T13" fmla="*/ 66 h 66"/>
                <a:gd name="T14" fmla="*/ 20 w 31"/>
                <a:gd name="T15" fmla="*/ 62 h 66"/>
                <a:gd name="T16" fmla="*/ 31 w 31"/>
                <a:gd name="T17" fmla="*/ 34 h 66"/>
                <a:gd name="T18" fmla="*/ 20 w 31"/>
                <a:gd name="T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6">
                  <a:moveTo>
                    <a:pt x="20" y="5"/>
                  </a:moveTo>
                  <a:cubicBezTo>
                    <a:pt x="16" y="1"/>
                    <a:pt x="9" y="0"/>
                    <a:pt x="5" y="4"/>
                  </a:cubicBezTo>
                  <a:cubicBezTo>
                    <a:pt x="1" y="8"/>
                    <a:pt x="0" y="15"/>
                    <a:pt x="4" y="19"/>
                  </a:cubicBezTo>
                  <a:cubicBezTo>
                    <a:pt x="8" y="23"/>
                    <a:pt x="10" y="28"/>
                    <a:pt x="10" y="34"/>
                  </a:cubicBezTo>
                  <a:cubicBezTo>
                    <a:pt x="10" y="39"/>
                    <a:pt x="8" y="44"/>
                    <a:pt x="4" y="48"/>
                  </a:cubicBezTo>
                  <a:cubicBezTo>
                    <a:pt x="0" y="52"/>
                    <a:pt x="1" y="59"/>
                    <a:pt x="5" y="63"/>
                  </a:cubicBezTo>
                  <a:cubicBezTo>
                    <a:pt x="7" y="65"/>
                    <a:pt x="10" y="66"/>
                    <a:pt x="12" y="66"/>
                  </a:cubicBezTo>
                  <a:cubicBezTo>
                    <a:pt x="15" y="66"/>
                    <a:pt x="18" y="64"/>
                    <a:pt x="20" y="62"/>
                  </a:cubicBezTo>
                  <a:cubicBezTo>
                    <a:pt x="27" y="54"/>
                    <a:pt x="31" y="44"/>
                    <a:pt x="31" y="34"/>
                  </a:cubicBezTo>
                  <a:cubicBezTo>
                    <a:pt x="31" y="23"/>
                    <a:pt x="27" y="13"/>
                    <a:pt x="2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1" name="Freeform 714">
              <a:extLst>
                <a:ext uri="{FF2B5EF4-FFF2-40B4-BE49-F238E27FC236}">
                  <a16:creationId xmlns:a16="http://schemas.microsoft.com/office/drawing/2014/main" id="{D24083BD-426C-4C3B-A632-77FA4D921A7F}"/>
                </a:ext>
              </a:extLst>
            </p:cNvPr>
            <p:cNvSpPr>
              <a:spLocks noEditPoints="1"/>
            </p:cNvSpPr>
            <p:nvPr/>
          </p:nvSpPr>
          <p:spPr bwMode="auto">
            <a:xfrm>
              <a:off x="6611" y="263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2" name="Freeform 718">
            <a:extLst>
              <a:ext uri="{FF2B5EF4-FFF2-40B4-BE49-F238E27FC236}">
                <a16:creationId xmlns:a16="http://schemas.microsoft.com/office/drawing/2014/main" id="{169BD049-E4FC-4FDF-87A1-E57BAAADBD3C}"/>
              </a:ext>
            </a:extLst>
          </p:cNvPr>
          <p:cNvSpPr>
            <a:spLocks noChangeAspect="1" noEditPoints="1"/>
          </p:cNvSpPr>
          <p:nvPr/>
        </p:nvSpPr>
        <p:spPr bwMode="auto">
          <a:xfrm>
            <a:off x="1344002" y="253203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249 w 512"/>
              <a:gd name="T13" fmla="*/ 383 h 512"/>
              <a:gd name="T14" fmla="*/ 245 w 512"/>
              <a:gd name="T15" fmla="*/ 384 h 512"/>
              <a:gd name="T16" fmla="*/ 238 w 512"/>
              <a:gd name="T17" fmla="*/ 381 h 512"/>
              <a:gd name="T18" fmla="*/ 156 w 512"/>
              <a:gd name="T19" fmla="*/ 309 h 512"/>
              <a:gd name="T20" fmla="*/ 106 w 512"/>
              <a:gd name="T21" fmla="*/ 309 h 512"/>
              <a:gd name="T22" fmla="*/ 96 w 512"/>
              <a:gd name="T23" fmla="*/ 298 h 512"/>
              <a:gd name="T24" fmla="*/ 96 w 512"/>
              <a:gd name="T25" fmla="*/ 213 h 512"/>
              <a:gd name="T26" fmla="*/ 106 w 512"/>
              <a:gd name="T27" fmla="*/ 202 h 512"/>
              <a:gd name="T28" fmla="*/ 156 w 512"/>
              <a:gd name="T29" fmla="*/ 202 h 512"/>
              <a:gd name="T30" fmla="*/ 238 w 512"/>
              <a:gd name="T31" fmla="*/ 130 h 512"/>
              <a:gd name="T32" fmla="*/ 249 w 512"/>
              <a:gd name="T33" fmla="*/ 129 h 512"/>
              <a:gd name="T34" fmla="*/ 256 w 512"/>
              <a:gd name="T35" fmla="*/ 138 h 512"/>
              <a:gd name="T36" fmla="*/ 256 w 512"/>
              <a:gd name="T37" fmla="*/ 373 h 512"/>
              <a:gd name="T38" fmla="*/ 298 w 512"/>
              <a:gd name="T39" fmla="*/ 284 h 512"/>
              <a:gd name="T40" fmla="*/ 290 w 512"/>
              <a:gd name="T41" fmla="*/ 288 h 512"/>
              <a:gd name="T42" fmla="*/ 283 w 512"/>
              <a:gd name="T43" fmla="*/ 285 h 512"/>
              <a:gd name="T44" fmla="*/ 282 w 512"/>
              <a:gd name="T45" fmla="*/ 270 h 512"/>
              <a:gd name="T46" fmla="*/ 288 w 512"/>
              <a:gd name="T47" fmla="*/ 256 h 512"/>
              <a:gd name="T48" fmla="*/ 282 w 512"/>
              <a:gd name="T49" fmla="*/ 241 h 512"/>
              <a:gd name="T50" fmla="*/ 283 w 512"/>
              <a:gd name="T51" fmla="*/ 226 h 512"/>
              <a:gd name="T52" fmla="*/ 298 w 512"/>
              <a:gd name="T53" fmla="*/ 227 h 512"/>
              <a:gd name="T54" fmla="*/ 309 w 512"/>
              <a:gd name="T55" fmla="*/ 256 h 512"/>
              <a:gd name="T56" fmla="*/ 298 w 512"/>
              <a:gd name="T57" fmla="*/ 284 h 512"/>
              <a:gd name="T58" fmla="*/ 167 w 512"/>
              <a:gd name="T59" fmla="*/ 221 h 512"/>
              <a:gd name="T60" fmla="*/ 234 w 512"/>
              <a:gd name="T61" fmla="*/ 162 h 512"/>
              <a:gd name="T62" fmla="*/ 234 w 512"/>
              <a:gd name="T63" fmla="*/ 349 h 512"/>
              <a:gd name="T64" fmla="*/ 167 w 512"/>
              <a:gd name="T65" fmla="*/ 290 h 512"/>
              <a:gd name="T66" fmla="*/ 160 w 512"/>
              <a:gd name="T67" fmla="*/ 288 h 512"/>
              <a:gd name="T68" fmla="*/ 117 w 512"/>
              <a:gd name="T69" fmla="*/ 288 h 512"/>
              <a:gd name="T70" fmla="*/ 117 w 512"/>
              <a:gd name="T71" fmla="*/ 224 h 512"/>
              <a:gd name="T72" fmla="*/ 160 w 512"/>
              <a:gd name="T73" fmla="*/ 224 h 512"/>
              <a:gd name="T74" fmla="*/ 167 w 512"/>
              <a:gd name="T75"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256" y="377"/>
                  <a:pt x="253" y="381"/>
                  <a:pt x="249" y="383"/>
                </a:cubicBezTo>
                <a:cubicBezTo>
                  <a:pt x="248" y="383"/>
                  <a:pt x="246" y="384"/>
                  <a:pt x="245" y="384"/>
                </a:cubicBezTo>
                <a:cubicBezTo>
                  <a:pt x="242" y="384"/>
                  <a:pt x="240" y="383"/>
                  <a:pt x="238" y="381"/>
                </a:cubicBezTo>
                <a:cubicBezTo>
                  <a:pt x="156" y="309"/>
                  <a:pt x="156" y="309"/>
                  <a:pt x="156" y="309"/>
                </a:cubicBezTo>
                <a:cubicBezTo>
                  <a:pt x="106" y="309"/>
                  <a:pt x="106" y="309"/>
                  <a:pt x="106" y="309"/>
                </a:cubicBezTo>
                <a:cubicBezTo>
                  <a:pt x="100" y="309"/>
                  <a:pt x="96" y="304"/>
                  <a:pt x="96" y="298"/>
                </a:cubicBezTo>
                <a:cubicBezTo>
                  <a:pt x="96" y="213"/>
                  <a:pt x="96" y="213"/>
                  <a:pt x="96" y="213"/>
                </a:cubicBezTo>
                <a:cubicBezTo>
                  <a:pt x="96" y="207"/>
                  <a:pt x="100" y="202"/>
                  <a:pt x="106" y="202"/>
                </a:cubicBezTo>
                <a:cubicBezTo>
                  <a:pt x="156" y="202"/>
                  <a:pt x="156" y="202"/>
                  <a:pt x="156" y="202"/>
                </a:cubicBezTo>
                <a:cubicBezTo>
                  <a:pt x="238" y="130"/>
                  <a:pt x="238" y="130"/>
                  <a:pt x="238" y="130"/>
                </a:cubicBezTo>
                <a:cubicBezTo>
                  <a:pt x="241" y="128"/>
                  <a:pt x="246" y="127"/>
                  <a:pt x="249" y="129"/>
                </a:cubicBezTo>
                <a:cubicBezTo>
                  <a:pt x="253" y="130"/>
                  <a:pt x="256" y="134"/>
                  <a:pt x="256" y="138"/>
                </a:cubicBezTo>
                <a:lnTo>
                  <a:pt x="256" y="373"/>
                </a:lnTo>
                <a:close/>
                <a:moveTo>
                  <a:pt x="298" y="284"/>
                </a:moveTo>
                <a:cubicBezTo>
                  <a:pt x="296" y="286"/>
                  <a:pt x="293" y="288"/>
                  <a:pt x="290" y="288"/>
                </a:cubicBezTo>
                <a:cubicBezTo>
                  <a:pt x="288" y="288"/>
                  <a:pt x="285" y="287"/>
                  <a:pt x="283" y="285"/>
                </a:cubicBezTo>
                <a:cubicBezTo>
                  <a:pt x="279" y="281"/>
                  <a:pt x="278" y="274"/>
                  <a:pt x="282" y="270"/>
                </a:cubicBezTo>
                <a:cubicBezTo>
                  <a:pt x="286" y="266"/>
                  <a:pt x="288" y="261"/>
                  <a:pt x="288" y="256"/>
                </a:cubicBezTo>
                <a:cubicBezTo>
                  <a:pt x="288" y="250"/>
                  <a:pt x="286" y="245"/>
                  <a:pt x="282" y="241"/>
                </a:cubicBezTo>
                <a:cubicBezTo>
                  <a:pt x="278" y="237"/>
                  <a:pt x="279" y="230"/>
                  <a:pt x="283" y="226"/>
                </a:cubicBezTo>
                <a:cubicBezTo>
                  <a:pt x="287" y="222"/>
                  <a:pt x="294" y="223"/>
                  <a:pt x="298" y="227"/>
                </a:cubicBezTo>
                <a:cubicBezTo>
                  <a:pt x="305" y="235"/>
                  <a:pt x="309" y="245"/>
                  <a:pt x="309" y="256"/>
                </a:cubicBezTo>
                <a:cubicBezTo>
                  <a:pt x="309" y="266"/>
                  <a:pt x="305" y="276"/>
                  <a:pt x="298" y="284"/>
                </a:cubicBezTo>
                <a:close/>
                <a:moveTo>
                  <a:pt x="167" y="221"/>
                </a:moveTo>
                <a:cubicBezTo>
                  <a:pt x="234" y="162"/>
                  <a:pt x="234" y="162"/>
                  <a:pt x="234" y="162"/>
                </a:cubicBezTo>
                <a:cubicBezTo>
                  <a:pt x="234" y="349"/>
                  <a:pt x="234" y="349"/>
                  <a:pt x="234" y="349"/>
                </a:cubicBezTo>
                <a:cubicBezTo>
                  <a:pt x="167" y="290"/>
                  <a:pt x="167" y="290"/>
                  <a:pt x="167" y="290"/>
                </a:cubicBezTo>
                <a:cubicBezTo>
                  <a:pt x="165" y="289"/>
                  <a:pt x="162" y="288"/>
                  <a:pt x="160" y="288"/>
                </a:cubicBezTo>
                <a:cubicBezTo>
                  <a:pt x="117" y="288"/>
                  <a:pt x="117" y="288"/>
                  <a:pt x="117" y="288"/>
                </a:cubicBezTo>
                <a:cubicBezTo>
                  <a:pt x="117" y="224"/>
                  <a:pt x="117" y="224"/>
                  <a:pt x="117" y="224"/>
                </a:cubicBezTo>
                <a:cubicBezTo>
                  <a:pt x="160" y="224"/>
                  <a:pt x="160" y="224"/>
                  <a:pt x="160" y="224"/>
                </a:cubicBezTo>
                <a:cubicBezTo>
                  <a:pt x="162" y="224"/>
                  <a:pt x="165" y="223"/>
                  <a:pt x="167" y="22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3" name="Group 721">
            <a:extLst>
              <a:ext uri="{FF2B5EF4-FFF2-40B4-BE49-F238E27FC236}">
                <a16:creationId xmlns:a16="http://schemas.microsoft.com/office/drawing/2014/main" id="{75B99024-E672-4214-866A-BFB88A26CD74}"/>
              </a:ext>
            </a:extLst>
          </p:cNvPr>
          <p:cNvGrpSpPr>
            <a:grpSpLocks noChangeAspect="1"/>
          </p:cNvGrpSpPr>
          <p:nvPr/>
        </p:nvGrpSpPr>
        <p:grpSpPr bwMode="auto">
          <a:xfrm>
            <a:off x="907176" y="2532035"/>
            <a:ext cx="369676" cy="370763"/>
            <a:chOff x="5832" y="2619"/>
            <a:chExt cx="340" cy="341"/>
          </a:xfrm>
          <a:solidFill>
            <a:schemeClr val="accent2"/>
          </a:solidFill>
        </p:grpSpPr>
        <p:sp>
          <p:nvSpPr>
            <p:cNvPr id="404" name="Freeform 722">
              <a:extLst>
                <a:ext uri="{FF2B5EF4-FFF2-40B4-BE49-F238E27FC236}">
                  <a16:creationId xmlns:a16="http://schemas.microsoft.com/office/drawing/2014/main" id="{A3FB4919-C384-46B1-AB6B-B588D94B9A0B}"/>
                </a:ext>
              </a:extLst>
            </p:cNvPr>
            <p:cNvSpPr>
              <a:spLocks noEditPoints="1"/>
            </p:cNvSpPr>
            <p:nvPr/>
          </p:nvSpPr>
          <p:spPr bwMode="auto">
            <a:xfrm>
              <a:off x="5896" y="2704"/>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5" name="Freeform 723">
              <a:extLst>
                <a:ext uri="{FF2B5EF4-FFF2-40B4-BE49-F238E27FC236}">
                  <a16:creationId xmlns:a16="http://schemas.microsoft.com/office/drawing/2014/main" id="{D19ED951-8627-4E77-847C-0B00365F05BF}"/>
                </a:ext>
              </a:extLst>
            </p:cNvPr>
            <p:cNvSpPr>
              <a:spLocks/>
            </p:cNvSpPr>
            <p:nvPr/>
          </p:nvSpPr>
          <p:spPr bwMode="auto">
            <a:xfrm>
              <a:off x="6023" y="2753"/>
              <a:ext cx="71" cy="72"/>
            </a:xfrm>
            <a:custGeom>
              <a:avLst/>
              <a:gdLst>
                <a:gd name="T0" fmla="*/ 69 w 108"/>
                <a:gd name="T1" fmla="*/ 55 h 108"/>
                <a:gd name="T2" fmla="*/ 104 w 108"/>
                <a:gd name="T3" fmla="*/ 20 h 108"/>
                <a:gd name="T4" fmla="*/ 104 w 108"/>
                <a:gd name="T5" fmla="*/ 4 h 108"/>
                <a:gd name="T6" fmla="*/ 89 w 108"/>
                <a:gd name="T7" fmla="*/ 4 h 108"/>
                <a:gd name="T8" fmla="*/ 54 w 108"/>
                <a:gd name="T9" fmla="*/ 40 h 108"/>
                <a:gd name="T10" fmla="*/ 19 w 108"/>
                <a:gd name="T11" fmla="*/ 4 h 108"/>
                <a:gd name="T12" fmla="*/ 4 w 108"/>
                <a:gd name="T13" fmla="*/ 4 h 108"/>
                <a:gd name="T14" fmla="*/ 4 w 108"/>
                <a:gd name="T15" fmla="*/ 20 h 108"/>
                <a:gd name="T16" fmla="*/ 39 w 108"/>
                <a:gd name="T17" fmla="*/ 55 h 108"/>
                <a:gd name="T18" fmla="*/ 4 w 108"/>
                <a:gd name="T19" fmla="*/ 90 h 108"/>
                <a:gd name="T20" fmla="*/ 4 w 108"/>
                <a:gd name="T21" fmla="*/ 105 h 108"/>
                <a:gd name="T22" fmla="*/ 11 w 108"/>
                <a:gd name="T23" fmla="*/ 108 h 108"/>
                <a:gd name="T24" fmla="*/ 19 w 108"/>
                <a:gd name="T25" fmla="*/ 105 h 108"/>
                <a:gd name="T26" fmla="*/ 54 w 108"/>
                <a:gd name="T27" fmla="*/ 70 h 108"/>
                <a:gd name="T28" fmla="*/ 89 w 108"/>
                <a:gd name="T29" fmla="*/ 105 h 108"/>
                <a:gd name="T30" fmla="*/ 97 w 108"/>
                <a:gd name="T31" fmla="*/ 108 h 108"/>
                <a:gd name="T32" fmla="*/ 104 w 108"/>
                <a:gd name="T33" fmla="*/ 105 h 108"/>
                <a:gd name="T34" fmla="*/ 104 w 108"/>
                <a:gd name="T35" fmla="*/ 90 h 108"/>
                <a:gd name="T36" fmla="*/ 69 w 108"/>
                <a:gd name="T37" fmla="*/ 5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08">
                  <a:moveTo>
                    <a:pt x="69" y="55"/>
                  </a:moveTo>
                  <a:cubicBezTo>
                    <a:pt x="104" y="20"/>
                    <a:pt x="104" y="20"/>
                    <a:pt x="104" y="20"/>
                  </a:cubicBezTo>
                  <a:cubicBezTo>
                    <a:pt x="108" y="15"/>
                    <a:pt x="108" y="9"/>
                    <a:pt x="104" y="4"/>
                  </a:cubicBezTo>
                  <a:cubicBezTo>
                    <a:pt x="100" y="0"/>
                    <a:pt x="93" y="0"/>
                    <a:pt x="89" y="4"/>
                  </a:cubicBezTo>
                  <a:cubicBezTo>
                    <a:pt x="54" y="40"/>
                    <a:pt x="54" y="40"/>
                    <a:pt x="54" y="40"/>
                  </a:cubicBezTo>
                  <a:cubicBezTo>
                    <a:pt x="19" y="4"/>
                    <a:pt x="19" y="4"/>
                    <a:pt x="19" y="4"/>
                  </a:cubicBezTo>
                  <a:cubicBezTo>
                    <a:pt x="15" y="0"/>
                    <a:pt x="8" y="0"/>
                    <a:pt x="4" y="4"/>
                  </a:cubicBezTo>
                  <a:cubicBezTo>
                    <a:pt x="0" y="9"/>
                    <a:pt x="0" y="15"/>
                    <a:pt x="4" y="20"/>
                  </a:cubicBezTo>
                  <a:cubicBezTo>
                    <a:pt x="39" y="55"/>
                    <a:pt x="39" y="55"/>
                    <a:pt x="39" y="55"/>
                  </a:cubicBezTo>
                  <a:cubicBezTo>
                    <a:pt x="4" y="90"/>
                    <a:pt x="4" y="90"/>
                    <a:pt x="4" y="90"/>
                  </a:cubicBezTo>
                  <a:cubicBezTo>
                    <a:pt x="0" y="94"/>
                    <a:pt x="0" y="101"/>
                    <a:pt x="4" y="105"/>
                  </a:cubicBezTo>
                  <a:cubicBezTo>
                    <a:pt x="6" y="107"/>
                    <a:pt x="9" y="108"/>
                    <a:pt x="11" y="108"/>
                  </a:cubicBezTo>
                  <a:cubicBezTo>
                    <a:pt x="14" y="108"/>
                    <a:pt x="17" y="107"/>
                    <a:pt x="19" y="105"/>
                  </a:cubicBezTo>
                  <a:cubicBezTo>
                    <a:pt x="54" y="70"/>
                    <a:pt x="54" y="70"/>
                    <a:pt x="54" y="70"/>
                  </a:cubicBezTo>
                  <a:cubicBezTo>
                    <a:pt x="89" y="105"/>
                    <a:pt x="89" y="105"/>
                    <a:pt x="89" y="105"/>
                  </a:cubicBezTo>
                  <a:cubicBezTo>
                    <a:pt x="91" y="107"/>
                    <a:pt x="94" y="108"/>
                    <a:pt x="97" y="108"/>
                  </a:cubicBezTo>
                  <a:cubicBezTo>
                    <a:pt x="99" y="108"/>
                    <a:pt x="102" y="107"/>
                    <a:pt x="104" y="105"/>
                  </a:cubicBezTo>
                  <a:cubicBezTo>
                    <a:pt x="108" y="101"/>
                    <a:pt x="108" y="94"/>
                    <a:pt x="104" y="90"/>
                  </a:cubicBezTo>
                  <a:lnTo>
                    <a:pt x="69" y="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6" name="Freeform 724">
              <a:extLst>
                <a:ext uri="{FF2B5EF4-FFF2-40B4-BE49-F238E27FC236}">
                  <a16:creationId xmlns:a16="http://schemas.microsoft.com/office/drawing/2014/main" id="{F28CA839-7C75-4F7A-B226-91734FCABDFA}"/>
                </a:ext>
              </a:extLst>
            </p:cNvPr>
            <p:cNvSpPr>
              <a:spLocks noEditPoints="1"/>
            </p:cNvSpPr>
            <p:nvPr/>
          </p:nvSpPr>
          <p:spPr bwMode="auto">
            <a:xfrm>
              <a:off x="5832" y="26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7" name="Freeform 728">
            <a:extLst>
              <a:ext uri="{FF2B5EF4-FFF2-40B4-BE49-F238E27FC236}">
                <a16:creationId xmlns:a16="http://schemas.microsoft.com/office/drawing/2014/main" id="{6F9C9B9B-7631-44D8-9FD4-4CB8C1C58CCF}"/>
              </a:ext>
            </a:extLst>
          </p:cNvPr>
          <p:cNvSpPr>
            <a:spLocks noChangeAspect="1" noEditPoints="1"/>
          </p:cNvSpPr>
          <p:nvPr/>
        </p:nvSpPr>
        <p:spPr bwMode="auto">
          <a:xfrm>
            <a:off x="470350" y="2532035"/>
            <a:ext cx="369676" cy="369676"/>
          </a:xfrm>
          <a:custGeom>
            <a:avLst/>
            <a:gdLst>
              <a:gd name="T0" fmla="*/ 167 w 512"/>
              <a:gd name="T1" fmla="*/ 221 h 512"/>
              <a:gd name="T2" fmla="*/ 234 w 512"/>
              <a:gd name="T3" fmla="*/ 162 h 512"/>
              <a:gd name="T4" fmla="*/ 234 w 512"/>
              <a:gd name="T5" fmla="*/ 349 h 512"/>
              <a:gd name="T6" fmla="*/ 167 w 512"/>
              <a:gd name="T7" fmla="*/ 290 h 512"/>
              <a:gd name="T8" fmla="*/ 160 w 512"/>
              <a:gd name="T9" fmla="*/ 288 h 512"/>
              <a:gd name="T10" fmla="*/ 117 w 512"/>
              <a:gd name="T11" fmla="*/ 288 h 512"/>
              <a:gd name="T12" fmla="*/ 117 w 512"/>
              <a:gd name="T13" fmla="*/ 224 h 512"/>
              <a:gd name="T14" fmla="*/ 160 w 512"/>
              <a:gd name="T15" fmla="*/ 224 h 512"/>
              <a:gd name="T16" fmla="*/ 167 w 512"/>
              <a:gd name="T17" fmla="*/ 221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56 w 512"/>
              <a:gd name="T29" fmla="*/ 138 h 512"/>
              <a:gd name="T30" fmla="*/ 249 w 512"/>
              <a:gd name="T31" fmla="*/ 129 h 512"/>
              <a:gd name="T32" fmla="*/ 238 w 512"/>
              <a:gd name="T33" fmla="*/ 130 h 512"/>
              <a:gd name="T34" fmla="*/ 156 w 512"/>
              <a:gd name="T35" fmla="*/ 202 h 512"/>
              <a:gd name="T36" fmla="*/ 106 w 512"/>
              <a:gd name="T37" fmla="*/ 202 h 512"/>
              <a:gd name="T38" fmla="*/ 96 w 512"/>
              <a:gd name="T39" fmla="*/ 213 h 512"/>
              <a:gd name="T40" fmla="*/ 96 w 512"/>
              <a:gd name="T41" fmla="*/ 298 h 512"/>
              <a:gd name="T42" fmla="*/ 106 w 512"/>
              <a:gd name="T43" fmla="*/ 309 h 512"/>
              <a:gd name="T44" fmla="*/ 156 w 512"/>
              <a:gd name="T45" fmla="*/ 309 h 512"/>
              <a:gd name="T46" fmla="*/ 238 w 512"/>
              <a:gd name="T47" fmla="*/ 381 h 512"/>
              <a:gd name="T48" fmla="*/ 245 w 512"/>
              <a:gd name="T49" fmla="*/ 384 h 512"/>
              <a:gd name="T50" fmla="*/ 249 w 512"/>
              <a:gd name="T51" fmla="*/ 383 h 512"/>
              <a:gd name="T52" fmla="*/ 256 w 512"/>
              <a:gd name="T53" fmla="*/ 373 h 512"/>
              <a:gd name="T54" fmla="*/ 256 w 512"/>
              <a:gd name="T55" fmla="*/ 138 h 512"/>
              <a:gd name="T56" fmla="*/ 356 w 512"/>
              <a:gd name="T57" fmla="*/ 256 h 512"/>
              <a:gd name="T58" fmla="*/ 391 w 512"/>
              <a:gd name="T59" fmla="*/ 221 h 512"/>
              <a:gd name="T60" fmla="*/ 391 w 512"/>
              <a:gd name="T61" fmla="*/ 205 h 512"/>
              <a:gd name="T62" fmla="*/ 376 w 512"/>
              <a:gd name="T63" fmla="*/ 205 h 512"/>
              <a:gd name="T64" fmla="*/ 341 w 512"/>
              <a:gd name="T65" fmla="*/ 241 h 512"/>
              <a:gd name="T66" fmla="*/ 306 w 512"/>
              <a:gd name="T67" fmla="*/ 205 h 512"/>
              <a:gd name="T68" fmla="*/ 291 w 512"/>
              <a:gd name="T69" fmla="*/ 205 h 512"/>
              <a:gd name="T70" fmla="*/ 291 w 512"/>
              <a:gd name="T71" fmla="*/ 221 h 512"/>
              <a:gd name="T72" fmla="*/ 326 w 512"/>
              <a:gd name="T73" fmla="*/ 256 h 512"/>
              <a:gd name="T74" fmla="*/ 291 w 512"/>
              <a:gd name="T75" fmla="*/ 291 h 512"/>
              <a:gd name="T76" fmla="*/ 291 w 512"/>
              <a:gd name="T77" fmla="*/ 306 h 512"/>
              <a:gd name="T78" fmla="*/ 298 w 512"/>
              <a:gd name="T79" fmla="*/ 309 h 512"/>
              <a:gd name="T80" fmla="*/ 306 w 512"/>
              <a:gd name="T81" fmla="*/ 306 h 512"/>
              <a:gd name="T82" fmla="*/ 341 w 512"/>
              <a:gd name="T83" fmla="*/ 271 h 512"/>
              <a:gd name="T84" fmla="*/ 376 w 512"/>
              <a:gd name="T85" fmla="*/ 306 h 512"/>
              <a:gd name="T86" fmla="*/ 384 w 512"/>
              <a:gd name="T87" fmla="*/ 309 h 512"/>
              <a:gd name="T88" fmla="*/ 391 w 512"/>
              <a:gd name="T89" fmla="*/ 306 h 512"/>
              <a:gd name="T90" fmla="*/ 391 w 512"/>
              <a:gd name="T91" fmla="*/ 291 h 512"/>
              <a:gd name="T92" fmla="*/ 356 w 512"/>
              <a:gd name="T9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167" y="221"/>
                </a:moveTo>
                <a:cubicBezTo>
                  <a:pt x="234" y="162"/>
                  <a:pt x="234" y="162"/>
                  <a:pt x="234" y="162"/>
                </a:cubicBezTo>
                <a:cubicBezTo>
                  <a:pt x="234" y="349"/>
                  <a:pt x="234" y="349"/>
                  <a:pt x="234" y="349"/>
                </a:cubicBezTo>
                <a:cubicBezTo>
                  <a:pt x="167" y="290"/>
                  <a:pt x="167" y="290"/>
                  <a:pt x="167" y="290"/>
                </a:cubicBezTo>
                <a:cubicBezTo>
                  <a:pt x="165" y="289"/>
                  <a:pt x="162" y="288"/>
                  <a:pt x="160" y="288"/>
                </a:cubicBezTo>
                <a:cubicBezTo>
                  <a:pt x="117" y="288"/>
                  <a:pt x="117" y="288"/>
                  <a:pt x="117" y="288"/>
                </a:cubicBezTo>
                <a:cubicBezTo>
                  <a:pt x="117" y="224"/>
                  <a:pt x="117" y="224"/>
                  <a:pt x="117" y="224"/>
                </a:cubicBezTo>
                <a:cubicBezTo>
                  <a:pt x="160" y="224"/>
                  <a:pt x="160" y="224"/>
                  <a:pt x="160" y="224"/>
                </a:cubicBezTo>
                <a:cubicBezTo>
                  <a:pt x="162" y="224"/>
                  <a:pt x="165" y="223"/>
                  <a:pt x="167" y="22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6" y="138"/>
                </a:moveTo>
                <a:cubicBezTo>
                  <a:pt x="256" y="134"/>
                  <a:pt x="253" y="130"/>
                  <a:pt x="249" y="129"/>
                </a:cubicBezTo>
                <a:cubicBezTo>
                  <a:pt x="246" y="127"/>
                  <a:pt x="241" y="128"/>
                  <a:pt x="238" y="130"/>
                </a:cubicBezTo>
                <a:cubicBezTo>
                  <a:pt x="156" y="202"/>
                  <a:pt x="156" y="202"/>
                  <a:pt x="156" y="202"/>
                </a:cubicBezTo>
                <a:cubicBezTo>
                  <a:pt x="106" y="202"/>
                  <a:pt x="106" y="202"/>
                  <a:pt x="106" y="202"/>
                </a:cubicBezTo>
                <a:cubicBezTo>
                  <a:pt x="100" y="202"/>
                  <a:pt x="96" y="207"/>
                  <a:pt x="96" y="213"/>
                </a:cubicBezTo>
                <a:cubicBezTo>
                  <a:pt x="96" y="298"/>
                  <a:pt x="96" y="298"/>
                  <a:pt x="96" y="298"/>
                </a:cubicBezTo>
                <a:cubicBezTo>
                  <a:pt x="96" y="304"/>
                  <a:pt x="100" y="309"/>
                  <a:pt x="106" y="309"/>
                </a:cubicBezTo>
                <a:cubicBezTo>
                  <a:pt x="156" y="309"/>
                  <a:pt x="156" y="309"/>
                  <a:pt x="156" y="309"/>
                </a:cubicBezTo>
                <a:cubicBezTo>
                  <a:pt x="238" y="381"/>
                  <a:pt x="238" y="381"/>
                  <a:pt x="238" y="381"/>
                </a:cubicBezTo>
                <a:cubicBezTo>
                  <a:pt x="240" y="383"/>
                  <a:pt x="242" y="384"/>
                  <a:pt x="245" y="384"/>
                </a:cubicBezTo>
                <a:cubicBezTo>
                  <a:pt x="246" y="384"/>
                  <a:pt x="248" y="383"/>
                  <a:pt x="249" y="383"/>
                </a:cubicBezTo>
                <a:cubicBezTo>
                  <a:pt x="253" y="381"/>
                  <a:pt x="256" y="377"/>
                  <a:pt x="256" y="373"/>
                </a:cubicBezTo>
                <a:lnTo>
                  <a:pt x="256" y="138"/>
                </a:lnTo>
                <a:close/>
                <a:moveTo>
                  <a:pt x="356" y="256"/>
                </a:moveTo>
                <a:cubicBezTo>
                  <a:pt x="391" y="221"/>
                  <a:pt x="391" y="221"/>
                  <a:pt x="391" y="221"/>
                </a:cubicBezTo>
                <a:cubicBezTo>
                  <a:pt x="395" y="216"/>
                  <a:pt x="395" y="210"/>
                  <a:pt x="391" y="205"/>
                </a:cubicBezTo>
                <a:cubicBezTo>
                  <a:pt x="387" y="201"/>
                  <a:pt x="380" y="201"/>
                  <a:pt x="376" y="205"/>
                </a:cubicBezTo>
                <a:cubicBezTo>
                  <a:pt x="341" y="241"/>
                  <a:pt x="341" y="241"/>
                  <a:pt x="341" y="241"/>
                </a:cubicBezTo>
                <a:cubicBezTo>
                  <a:pt x="306" y="205"/>
                  <a:pt x="306" y="205"/>
                  <a:pt x="306" y="205"/>
                </a:cubicBezTo>
                <a:cubicBezTo>
                  <a:pt x="302" y="201"/>
                  <a:pt x="295" y="201"/>
                  <a:pt x="291" y="205"/>
                </a:cubicBezTo>
                <a:cubicBezTo>
                  <a:pt x="287" y="210"/>
                  <a:pt x="287" y="216"/>
                  <a:pt x="291" y="221"/>
                </a:cubicBezTo>
                <a:cubicBezTo>
                  <a:pt x="326" y="256"/>
                  <a:pt x="326" y="256"/>
                  <a:pt x="326" y="256"/>
                </a:cubicBezTo>
                <a:cubicBezTo>
                  <a:pt x="291" y="291"/>
                  <a:pt x="291" y="291"/>
                  <a:pt x="291" y="291"/>
                </a:cubicBezTo>
                <a:cubicBezTo>
                  <a:pt x="287" y="295"/>
                  <a:pt x="287" y="302"/>
                  <a:pt x="291" y="306"/>
                </a:cubicBezTo>
                <a:cubicBezTo>
                  <a:pt x="293" y="308"/>
                  <a:pt x="296" y="309"/>
                  <a:pt x="298" y="309"/>
                </a:cubicBezTo>
                <a:cubicBezTo>
                  <a:pt x="301" y="309"/>
                  <a:pt x="304" y="308"/>
                  <a:pt x="306" y="306"/>
                </a:cubicBezTo>
                <a:cubicBezTo>
                  <a:pt x="341" y="271"/>
                  <a:pt x="341" y="271"/>
                  <a:pt x="341" y="271"/>
                </a:cubicBezTo>
                <a:cubicBezTo>
                  <a:pt x="376" y="306"/>
                  <a:pt x="376" y="306"/>
                  <a:pt x="376" y="306"/>
                </a:cubicBezTo>
                <a:cubicBezTo>
                  <a:pt x="378" y="308"/>
                  <a:pt x="381" y="309"/>
                  <a:pt x="384" y="309"/>
                </a:cubicBezTo>
                <a:cubicBezTo>
                  <a:pt x="386" y="309"/>
                  <a:pt x="389" y="308"/>
                  <a:pt x="391" y="306"/>
                </a:cubicBezTo>
                <a:cubicBezTo>
                  <a:pt x="395" y="302"/>
                  <a:pt x="395" y="295"/>
                  <a:pt x="391" y="291"/>
                </a:cubicBezTo>
                <a:lnTo>
                  <a:pt x="356" y="25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8" name="Group 903">
            <a:extLst>
              <a:ext uri="{FF2B5EF4-FFF2-40B4-BE49-F238E27FC236}">
                <a16:creationId xmlns:a16="http://schemas.microsoft.com/office/drawing/2014/main" id="{B934663C-BE56-4E0A-9863-0758A8350CE5}"/>
              </a:ext>
            </a:extLst>
          </p:cNvPr>
          <p:cNvGrpSpPr>
            <a:grpSpLocks noChangeAspect="1"/>
          </p:cNvGrpSpPr>
          <p:nvPr/>
        </p:nvGrpSpPr>
        <p:grpSpPr bwMode="auto">
          <a:xfrm>
            <a:off x="3528132" y="2532035"/>
            <a:ext cx="370763" cy="369676"/>
            <a:chOff x="396" y="3068"/>
            <a:chExt cx="341" cy="340"/>
          </a:xfrm>
          <a:solidFill>
            <a:schemeClr val="accent3"/>
          </a:solidFill>
        </p:grpSpPr>
        <p:sp>
          <p:nvSpPr>
            <p:cNvPr id="409" name="Freeform 504">
              <a:extLst>
                <a:ext uri="{FF2B5EF4-FFF2-40B4-BE49-F238E27FC236}">
                  <a16:creationId xmlns:a16="http://schemas.microsoft.com/office/drawing/2014/main" id="{885904AF-20EC-4B75-892E-39460FD97D4E}"/>
                </a:ext>
              </a:extLst>
            </p:cNvPr>
            <p:cNvSpPr>
              <a:spLocks noEditPoints="1"/>
            </p:cNvSpPr>
            <p:nvPr/>
          </p:nvSpPr>
          <p:spPr bwMode="auto">
            <a:xfrm>
              <a:off x="460" y="3152"/>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0" name="Freeform 505">
              <a:extLst>
                <a:ext uri="{FF2B5EF4-FFF2-40B4-BE49-F238E27FC236}">
                  <a16:creationId xmlns:a16="http://schemas.microsoft.com/office/drawing/2014/main" id="{568F5826-46CC-4FCD-8CCD-C4B7B82F7BEB}"/>
                </a:ext>
              </a:extLst>
            </p:cNvPr>
            <p:cNvSpPr>
              <a:spLocks/>
            </p:cNvSpPr>
            <p:nvPr/>
          </p:nvSpPr>
          <p:spPr bwMode="auto">
            <a:xfrm>
              <a:off x="581" y="3215"/>
              <a:ext cx="21" cy="44"/>
            </a:xfrm>
            <a:custGeom>
              <a:avLst/>
              <a:gdLst>
                <a:gd name="T0" fmla="*/ 5 w 31"/>
                <a:gd name="T1" fmla="*/ 4 h 66"/>
                <a:gd name="T2" fmla="*/ 4 w 31"/>
                <a:gd name="T3" fmla="*/ 19 h 66"/>
                <a:gd name="T4" fmla="*/ 10 w 31"/>
                <a:gd name="T5" fmla="*/ 34 h 66"/>
                <a:gd name="T6" fmla="*/ 4 w 31"/>
                <a:gd name="T7" fmla="*/ 48 h 66"/>
                <a:gd name="T8" fmla="*/ 5 w 31"/>
                <a:gd name="T9" fmla="*/ 63 h 66"/>
                <a:gd name="T10" fmla="*/ 12 w 31"/>
                <a:gd name="T11" fmla="*/ 66 h 66"/>
                <a:gd name="T12" fmla="*/ 20 w 31"/>
                <a:gd name="T13" fmla="*/ 62 h 66"/>
                <a:gd name="T14" fmla="*/ 31 w 31"/>
                <a:gd name="T15" fmla="*/ 34 h 66"/>
                <a:gd name="T16" fmla="*/ 20 w 31"/>
                <a:gd name="T17" fmla="*/ 5 h 66"/>
                <a:gd name="T18" fmla="*/ 5 w 31"/>
                <a:gd name="T19"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6">
                  <a:moveTo>
                    <a:pt x="5" y="4"/>
                  </a:moveTo>
                  <a:cubicBezTo>
                    <a:pt x="1" y="8"/>
                    <a:pt x="0" y="15"/>
                    <a:pt x="4" y="19"/>
                  </a:cubicBezTo>
                  <a:cubicBezTo>
                    <a:pt x="8" y="23"/>
                    <a:pt x="10" y="28"/>
                    <a:pt x="10" y="34"/>
                  </a:cubicBezTo>
                  <a:cubicBezTo>
                    <a:pt x="10" y="39"/>
                    <a:pt x="8" y="44"/>
                    <a:pt x="4" y="48"/>
                  </a:cubicBezTo>
                  <a:cubicBezTo>
                    <a:pt x="0" y="52"/>
                    <a:pt x="1" y="59"/>
                    <a:pt x="5" y="63"/>
                  </a:cubicBezTo>
                  <a:cubicBezTo>
                    <a:pt x="7" y="65"/>
                    <a:pt x="10" y="66"/>
                    <a:pt x="12" y="66"/>
                  </a:cubicBezTo>
                  <a:cubicBezTo>
                    <a:pt x="15" y="66"/>
                    <a:pt x="18" y="64"/>
                    <a:pt x="20" y="62"/>
                  </a:cubicBezTo>
                  <a:cubicBezTo>
                    <a:pt x="27" y="54"/>
                    <a:pt x="31" y="44"/>
                    <a:pt x="31" y="34"/>
                  </a:cubicBezTo>
                  <a:cubicBezTo>
                    <a:pt x="31" y="23"/>
                    <a:pt x="27" y="13"/>
                    <a:pt x="20" y="5"/>
                  </a:cubicBezTo>
                  <a:cubicBezTo>
                    <a:pt x="16" y="1"/>
                    <a:pt x="9" y="0"/>
                    <a:pt x="5"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1" name="Freeform 506">
              <a:extLst>
                <a:ext uri="{FF2B5EF4-FFF2-40B4-BE49-F238E27FC236}">
                  <a16:creationId xmlns:a16="http://schemas.microsoft.com/office/drawing/2014/main" id="{7ED49CB4-2123-472A-AB8C-5415649DAF1E}"/>
                </a:ext>
              </a:extLst>
            </p:cNvPr>
            <p:cNvSpPr>
              <a:spLocks/>
            </p:cNvSpPr>
            <p:nvPr/>
          </p:nvSpPr>
          <p:spPr bwMode="auto">
            <a:xfrm>
              <a:off x="603" y="3188"/>
              <a:ext cx="34" cy="99"/>
            </a:xfrm>
            <a:custGeom>
              <a:avLst/>
              <a:gdLst>
                <a:gd name="T0" fmla="*/ 19 w 51"/>
                <a:gd name="T1" fmla="*/ 4 h 150"/>
                <a:gd name="T2" fmla="*/ 4 w 51"/>
                <a:gd name="T3" fmla="*/ 5 h 150"/>
                <a:gd name="T4" fmla="*/ 5 w 51"/>
                <a:gd name="T5" fmla="*/ 20 h 150"/>
                <a:gd name="T6" fmla="*/ 30 w 51"/>
                <a:gd name="T7" fmla="*/ 76 h 150"/>
                <a:gd name="T8" fmla="*/ 5 w 51"/>
                <a:gd name="T9" fmla="*/ 132 h 150"/>
                <a:gd name="T10" fmla="*/ 4 w 51"/>
                <a:gd name="T11" fmla="*/ 147 h 150"/>
                <a:gd name="T12" fmla="*/ 12 w 51"/>
                <a:gd name="T13" fmla="*/ 150 h 150"/>
                <a:gd name="T14" fmla="*/ 19 w 51"/>
                <a:gd name="T15" fmla="*/ 148 h 150"/>
                <a:gd name="T16" fmla="*/ 51 w 51"/>
                <a:gd name="T17" fmla="*/ 76 h 150"/>
                <a:gd name="T18" fmla="*/ 19 w 51"/>
                <a:gd name="T19"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150">
                  <a:moveTo>
                    <a:pt x="19" y="4"/>
                  </a:moveTo>
                  <a:cubicBezTo>
                    <a:pt x="14" y="0"/>
                    <a:pt x="8" y="0"/>
                    <a:pt x="4" y="5"/>
                  </a:cubicBezTo>
                  <a:cubicBezTo>
                    <a:pt x="0" y="9"/>
                    <a:pt x="0" y="16"/>
                    <a:pt x="5" y="20"/>
                  </a:cubicBezTo>
                  <a:cubicBezTo>
                    <a:pt x="21" y="34"/>
                    <a:pt x="30" y="54"/>
                    <a:pt x="30" y="76"/>
                  </a:cubicBezTo>
                  <a:cubicBezTo>
                    <a:pt x="30" y="97"/>
                    <a:pt x="21" y="117"/>
                    <a:pt x="5" y="132"/>
                  </a:cubicBezTo>
                  <a:cubicBezTo>
                    <a:pt x="0" y="136"/>
                    <a:pt x="0" y="142"/>
                    <a:pt x="4" y="147"/>
                  </a:cubicBezTo>
                  <a:cubicBezTo>
                    <a:pt x="6" y="149"/>
                    <a:pt x="9" y="150"/>
                    <a:pt x="12" y="150"/>
                  </a:cubicBezTo>
                  <a:cubicBezTo>
                    <a:pt x="14" y="150"/>
                    <a:pt x="17" y="149"/>
                    <a:pt x="19" y="148"/>
                  </a:cubicBezTo>
                  <a:cubicBezTo>
                    <a:pt x="39" y="129"/>
                    <a:pt x="51" y="103"/>
                    <a:pt x="51" y="76"/>
                  </a:cubicBezTo>
                  <a:cubicBezTo>
                    <a:pt x="51" y="48"/>
                    <a:pt x="39" y="22"/>
                    <a:pt x="19"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2" name="Freeform 507">
              <a:extLst>
                <a:ext uri="{FF2B5EF4-FFF2-40B4-BE49-F238E27FC236}">
                  <a16:creationId xmlns:a16="http://schemas.microsoft.com/office/drawing/2014/main" id="{56DDD562-CA72-47A4-B815-A2D36E2BEDF7}"/>
                </a:ext>
              </a:extLst>
            </p:cNvPr>
            <p:cNvSpPr>
              <a:spLocks/>
            </p:cNvSpPr>
            <p:nvPr/>
          </p:nvSpPr>
          <p:spPr bwMode="auto">
            <a:xfrm>
              <a:off x="624" y="3159"/>
              <a:ext cx="49" cy="157"/>
            </a:xfrm>
            <a:custGeom>
              <a:avLst/>
              <a:gdLst>
                <a:gd name="T0" fmla="*/ 19 w 73"/>
                <a:gd name="T1" fmla="*/ 4 h 236"/>
                <a:gd name="T2" fmla="*/ 4 w 73"/>
                <a:gd name="T3" fmla="*/ 5 h 236"/>
                <a:gd name="T4" fmla="*/ 5 w 73"/>
                <a:gd name="T5" fmla="*/ 20 h 236"/>
                <a:gd name="T6" fmla="*/ 51 w 73"/>
                <a:gd name="T7" fmla="*/ 119 h 236"/>
                <a:gd name="T8" fmla="*/ 5 w 73"/>
                <a:gd name="T9" fmla="*/ 217 h 236"/>
                <a:gd name="T10" fmla="*/ 4 w 73"/>
                <a:gd name="T11" fmla="*/ 232 h 236"/>
                <a:gd name="T12" fmla="*/ 12 w 73"/>
                <a:gd name="T13" fmla="*/ 236 h 236"/>
                <a:gd name="T14" fmla="*/ 19 w 73"/>
                <a:gd name="T15" fmla="*/ 234 h 236"/>
                <a:gd name="T16" fmla="*/ 73 w 73"/>
                <a:gd name="T17" fmla="*/ 119 h 236"/>
                <a:gd name="T18" fmla="*/ 19 w 73"/>
                <a:gd name="T19"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236">
                  <a:moveTo>
                    <a:pt x="19" y="4"/>
                  </a:moveTo>
                  <a:cubicBezTo>
                    <a:pt x="14" y="0"/>
                    <a:pt x="8" y="1"/>
                    <a:pt x="4" y="5"/>
                  </a:cubicBezTo>
                  <a:cubicBezTo>
                    <a:pt x="0" y="10"/>
                    <a:pt x="1" y="16"/>
                    <a:pt x="5" y="20"/>
                  </a:cubicBezTo>
                  <a:cubicBezTo>
                    <a:pt x="34" y="45"/>
                    <a:pt x="51" y="81"/>
                    <a:pt x="51" y="119"/>
                  </a:cubicBezTo>
                  <a:cubicBezTo>
                    <a:pt x="51" y="157"/>
                    <a:pt x="34" y="193"/>
                    <a:pt x="5" y="217"/>
                  </a:cubicBezTo>
                  <a:cubicBezTo>
                    <a:pt x="1" y="221"/>
                    <a:pt x="0" y="228"/>
                    <a:pt x="4" y="232"/>
                  </a:cubicBezTo>
                  <a:cubicBezTo>
                    <a:pt x="6" y="235"/>
                    <a:pt x="9" y="236"/>
                    <a:pt x="12" y="236"/>
                  </a:cubicBezTo>
                  <a:cubicBezTo>
                    <a:pt x="14" y="236"/>
                    <a:pt x="17" y="235"/>
                    <a:pt x="19" y="234"/>
                  </a:cubicBezTo>
                  <a:cubicBezTo>
                    <a:pt x="53" y="205"/>
                    <a:pt x="73" y="163"/>
                    <a:pt x="73" y="119"/>
                  </a:cubicBezTo>
                  <a:cubicBezTo>
                    <a:pt x="73" y="74"/>
                    <a:pt x="53" y="32"/>
                    <a:pt x="19"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3" name="Freeform 508">
              <a:extLst>
                <a:ext uri="{FF2B5EF4-FFF2-40B4-BE49-F238E27FC236}">
                  <a16:creationId xmlns:a16="http://schemas.microsoft.com/office/drawing/2014/main" id="{5DAB0865-FAF5-49BA-A26A-A8F09DD2903B}"/>
                </a:ext>
              </a:extLst>
            </p:cNvPr>
            <p:cNvSpPr>
              <a:spLocks noEditPoints="1"/>
            </p:cNvSpPr>
            <p:nvPr/>
          </p:nvSpPr>
          <p:spPr bwMode="auto">
            <a:xfrm>
              <a:off x="396" y="306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4" name="Freeform 912">
            <a:extLst>
              <a:ext uri="{FF2B5EF4-FFF2-40B4-BE49-F238E27FC236}">
                <a16:creationId xmlns:a16="http://schemas.microsoft.com/office/drawing/2014/main" id="{E00AD58E-CC4B-40CC-BF0D-BF7ACB4929E5}"/>
              </a:ext>
            </a:extLst>
          </p:cNvPr>
          <p:cNvSpPr>
            <a:spLocks noChangeAspect="1" noEditPoints="1"/>
          </p:cNvSpPr>
          <p:nvPr/>
        </p:nvSpPr>
        <p:spPr bwMode="auto">
          <a:xfrm>
            <a:off x="3091306" y="2532035"/>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249 w 512"/>
              <a:gd name="T13" fmla="*/ 383 h 512"/>
              <a:gd name="T14" fmla="*/ 245 w 512"/>
              <a:gd name="T15" fmla="*/ 384 h 512"/>
              <a:gd name="T16" fmla="*/ 238 w 512"/>
              <a:gd name="T17" fmla="*/ 381 h 512"/>
              <a:gd name="T18" fmla="*/ 156 w 512"/>
              <a:gd name="T19" fmla="*/ 309 h 512"/>
              <a:gd name="T20" fmla="*/ 106 w 512"/>
              <a:gd name="T21" fmla="*/ 309 h 512"/>
              <a:gd name="T22" fmla="*/ 96 w 512"/>
              <a:gd name="T23" fmla="*/ 298 h 512"/>
              <a:gd name="T24" fmla="*/ 96 w 512"/>
              <a:gd name="T25" fmla="*/ 213 h 512"/>
              <a:gd name="T26" fmla="*/ 106 w 512"/>
              <a:gd name="T27" fmla="*/ 202 h 512"/>
              <a:gd name="T28" fmla="*/ 156 w 512"/>
              <a:gd name="T29" fmla="*/ 202 h 512"/>
              <a:gd name="T30" fmla="*/ 238 w 512"/>
              <a:gd name="T31" fmla="*/ 130 h 512"/>
              <a:gd name="T32" fmla="*/ 249 w 512"/>
              <a:gd name="T33" fmla="*/ 129 h 512"/>
              <a:gd name="T34" fmla="*/ 256 w 512"/>
              <a:gd name="T35" fmla="*/ 138 h 512"/>
              <a:gd name="T36" fmla="*/ 256 w 512"/>
              <a:gd name="T37" fmla="*/ 373 h 512"/>
              <a:gd name="T38" fmla="*/ 298 w 512"/>
              <a:gd name="T39" fmla="*/ 284 h 512"/>
              <a:gd name="T40" fmla="*/ 290 w 512"/>
              <a:gd name="T41" fmla="*/ 288 h 512"/>
              <a:gd name="T42" fmla="*/ 283 w 512"/>
              <a:gd name="T43" fmla="*/ 285 h 512"/>
              <a:gd name="T44" fmla="*/ 282 w 512"/>
              <a:gd name="T45" fmla="*/ 270 h 512"/>
              <a:gd name="T46" fmla="*/ 288 w 512"/>
              <a:gd name="T47" fmla="*/ 256 h 512"/>
              <a:gd name="T48" fmla="*/ 282 w 512"/>
              <a:gd name="T49" fmla="*/ 241 h 512"/>
              <a:gd name="T50" fmla="*/ 283 w 512"/>
              <a:gd name="T51" fmla="*/ 226 h 512"/>
              <a:gd name="T52" fmla="*/ 298 w 512"/>
              <a:gd name="T53" fmla="*/ 227 h 512"/>
              <a:gd name="T54" fmla="*/ 309 w 512"/>
              <a:gd name="T55" fmla="*/ 256 h 512"/>
              <a:gd name="T56" fmla="*/ 298 w 512"/>
              <a:gd name="T57" fmla="*/ 284 h 512"/>
              <a:gd name="T58" fmla="*/ 330 w 512"/>
              <a:gd name="T59" fmla="*/ 328 h 512"/>
              <a:gd name="T60" fmla="*/ 323 w 512"/>
              <a:gd name="T61" fmla="*/ 330 h 512"/>
              <a:gd name="T62" fmla="*/ 315 w 512"/>
              <a:gd name="T63" fmla="*/ 327 h 512"/>
              <a:gd name="T64" fmla="*/ 316 w 512"/>
              <a:gd name="T65" fmla="*/ 312 h 512"/>
              <a:gd name="T66" fmla="*/ 341 w 512"/>
              <a:gd name="T67" fmla="*/ 256 h 512"/>
              <a:gd name="T68" fmla="*/ 316 w 512"/>
              <a:gd name="T69" fmla="*/ 200 h 512"/>
              <a:gd name="T70" fmla="*/ 315 w 512"/>
              <a:gd name="T71" fmla="*/ 185 h 512"/>
              <a:gd name="T72" fmla="*/ 330 w 512"/>
              <a:gd name="T73" fmla="*/ 184 h 512"/>
              <a:gd name="T74" fmla="*/ 362 w 512"/>
              <a:gd name="T75" fmla="*/ 256 h 512"/>
              <a:gd name="T76" fmla="*/ 330 w 512"/>
              <a:gd name="T77" fmla="*/ 328 h 512"/>
              <a:gd name="T78" fmla="*/ 362 w 512"/>
              <a:gd name="T79" fmla="*/ 371 h 512"/>
              <a:gd name="T80" fmla="*/ 355 w 512"/>
              <a:gd name="T81" fmla="*/ 373 h 512"/>
              <a:gd name="T82" fmla="*/ 347 w 512"/>
              <a:gd name="T83" fmla="*/ 369 h 512"/>
              <a:gd name="T84" fmla="*/ 348 w 512"/>
              <a:gd name="T85" fmla="*/ 354 h 512"/>
              <a:gd name="T86" fmla="*/ 394 w 512"/>
              <a:gd name="T87" fmla="*/ 256 h 512"/>
              <a:gd name="T88" fmla="*/ 348 w 512"/>
              <a:gd name="T89" fmla="*/ 157 h 512"/>
              <a:gd name="T90" fmla="*/ 347 w 512"/>
              <a:gd name="T91" fmla="*/ 142 h 512"/>
              <a:gd name="T92" fmla="*/ 362 w 512"/>
              <a:gd name="T93" fmla="*/ 141 h 512"/>
              <a:gd name="T94" fmla="*/ 416 w 512"/>
              <a:gd name="T95" fmla="*/ 256 h 512"/>
              <a:gd name="T96" fmla="*/ 362 w 512"/>
              <a:gd name="T97" fmla="*/ 371 h 512"/>
              <a:gd name="T98" fmla="*/ 167 w 512"/>
              <a:gd name="T99" fmla="*/ 221 h 512"/>
              <a:gd name="T100" fmla="*/ 234 w 512"/>
              <a:gd name="T101" fmla="*/ 162 h 512"/>
              <a:gd name="T102" fmla="*/ 234 w 512"/>
              <a:gd name="T103" fmla="*/ 349 h 512"/>
              <a:gd name="T104" fmla="*/ 167 w 512"/>
              <a:gd name="T105" fmla="*/ 290 h 512"/>
              <a:gd name="T106" fmla="*/ 160 w 512"/>
              <a:gd name="T107" fmla="*/ 288 h 512"/>
              <a:gd name="T108" fmla="*/ 117 w 512"/>
              <a:gd name="T109" fmla="*/ 288 h 512"/>
              <a:gd name="T110" fmla="*/ 117 w 512"/>
              <a:gd name="T111" fmla="*/ 224 h 512"/>
              <a:gd name="T112" fmla="*/ 160 w 512"/>
              <a:gd name="T113" fmla="*/ 224 h 512"/>
              <a:gd name="T114" fmla="*/ 167 w 512"/>
              <a:gd name="T115"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256" y="377"/>
                  <a:pt x="253" y="381"/>
                  <a:pt x="249" y="383"/>
                </a:cubicBezTo>
                <a:cubicBezTo>
                  <a:pt x="248" y="383"/>
                  <a:pt x="246" y="384"/>
                  <a:pt x="245" y="384"/>
                </a:cubicBezTo>
                <a:cubicBezTo>
                  <a:pt x="242" y="384"/>
                  <a:pt x="240" y="383"/>
                  <a:pt x="238" y="381"/>
                </a:cubicBezTo>
                <a:cubicBezTo>
                  <a:pt x="156" y="309"/>
                  <a:pt x="156" y="309"/>
                  <a:pt x="156" y="309"/>
                </a:cubicBezTo>
                <a:cubicBezTo>
                  <a:pt x="106" y="309"/>
                  <a:pt x="106" y="309"/>
                  <a:pt x="106" y="309"/>
                </a:cubicBezTo>
                <a:cubicBezTo>
                  <a:pt x="100" y="309"/>
                  <a:pt x="96" y="304"/>
                  <a:pt x="96" y="298"/>
                </a:cubicBezTo>
                <a:cubicBezTo>
                  <a:pt x="96" y="213"/>
                  <a:pt x="96" y="213"/>
                  <a:pt x="96" y="213"/>
                </a:cubicBezTo>
                <a:cubicBezTo>
                  <a:pt x="96" y="207"/>
                  <a:pt x="100" y="202"/>
                  <a:pt x="106" y="202"/>
                </a:cubicBezTo>
                <a:cubicBezTo>
                  <a:pt x="156" y="202"/>
                  <a:pt x="156" y="202"/>
                  <a:pt x="156" y="202"/>
                </a:cubicBezTo>
                <a:cubicBezTo>
                  <a:pt x="238" y="130"/>
                  <a:pt x="238" y="130"/>
                  <a:pt x="238" y="130"/>
                </a:cubicBezTo>
                <a:cubicBezTo>
                  <a:pt x="241" y="128"/>
                  <a:pt x="246" y="127"/>
                  <a:pt x="249" y="129"/>
                </a:cubicBezTo>
                <a:cubicBezTo>
                  <a:pt x="253" y="130"/>
                  <a:pt x="256" y="134"/>
                  <a:pt x="256" y="138"/>
                </a:cubicBezTo>
                <a:lnTo>
                  <a:pt x="256" y="373"/>
                </a:lnTo>
                <a:close/>
                <a:moveTo>
                  <a:pt x="298" y="284"/>
                </a:moveTo>
                <a:cubicBezTo>
                  <a:pt x="296" y="286"/>
                  <a:pt x="293" y="288"/>
                  <a:pt x="290" y="288"/>
                </a:cubicBezTo>
                <a:cubicBezTo>
                  <a:pt x="288" y="288"/>
                  <a:pt x="285" y="287"/>
                  <a:pt x="283" y="285"/>
                </a:cubicBezTo>
                <a:cubicBezTo>
                  <a:pt x="279" y="281"/>
                  <a:pt x="278" y="274"/>
                  <a:pt x="282" y="270"/>
                </a:cubicBezTo>
                <a:cubicBezTo>
                  <a:pt x="286" y="266"/>
                  <a:pt x="288" y="261"/>
                  <a:pt x="288" y="256"/>
                </a:cubicBezTo>
                <a:cubicBezTo>
                  <a:pt x="288" y="250"/>
                  <a:pt x="286" y="245"/>
                  <a:pt x="282" y="241"/>
                </a:cubicBezTo>
                <a:cubicBezTo>
                  <a:pt x="278" y="237"/>
                  <a:pt x="279" y="230"/>
                  <a:pt x="283" y="226"/>
                </a:cubicBezTo>
                <a:cubicBezTo>
                  <a:pt x="287" y="222"/>
                  <a:pt x="294" y="223"/>
                  <a:pt x="298" y="227"/>
                </a:cubicBezTo>
                <a:cubicBezTo>
                  <a:pt x="305" y="235"/>
                  <a:pt x="309" y="245"/>
                  <a:pt x="309" y="256"/>
                </a:cubicBezTo>
                <a:cubicBezTo>
                  <a:pt x="309" y="266"/>
                  <a:pt x="305" y="276"/>
                  <a:pt x="298" y="284"/>
                </a:cubicBezTo>
                <a:close/>
                <a:moveTo>
                  <a:pt x="330" y="328"/>
                </a:moveTo>
                <a:cubicBezTo>
                  <a:pt x="328" y="329"/>
                  <a:pt x="325" y="330"/>
                  <a:pt x="323" y="330"/>
                </a:cubicBezTo>
                <a:cubicBezTo>
                  <a:pt x="320" y="330"/>
                  <a:pt x="317" y="329"/>
                  <a:pt x="315" y="327"/>
                </a:cubicBezTo>
                <a:cubicBezTo>
                  <a:pt x="311" y="322"/>
                  <a:pt x="311" y="316"/>
                  <a:pt x="316" y="312"/>
                </a:cubicBezTo>
                <a:cubicBezTo>
                  <a:pt x="332" y="297"/>
                  <a:pt x="341" y="277"/>
                  <a:pt x="341" y="256"/>
                </a:cubicBezTo>
                <a:cubicBezTo>
                  <a:pt x="341" y="234"/>
                  <a:pt x="332" y="214"/>
                  <a:pt x="316" y="200"/>
                </a:cubicBezTo>
                <a:cubicBezTo>
                  <a:pt x="311" y="196"/>
                  <a:pt x="311" y="189"/>
                  <a:pt x="315" y="185"/>
                </a:cubicBezTo>
                <a:cubicBezTo>
                  <a:pt x="319" y="180"/>
                  <a:pt x="325" y="180"/>
                  <a:pt x="330" y="184"/>
                </a:cubicBezTo>
                <a:cubicBezTo>
                  <a:pt x="350" y="202"/>
                  <a:pt x="362" y="228"/>
                  <a:pt x="362" y="256"/>
                </a:cubicBezTo>
                <a:cubicBezTo>
                  <a:pt x="362" y="283"/>
                  <a:pt x="350" y="309"/>
                  <a:pt x="330" y="328"/>
                </a:cubicBezTo>
                <a:close/>
                <a:moveTo>
                  <a:pt x="362" y="371"/>
                </a:moveTo>
                <a:cubicBezTo>
                  <a:pt x="360" y="372"/>
                  <a:pt x="357" y="373"/>
                  <a:pt x="355" y="373"/>
                </a:cubicBezTo>
                <a:cubicBezTo>
                  <a:pt x="352" y="373"/>
                  <a:pt x="349" y="372"/>
                  <a:pt x="347" y="369"/>
                </a:cubicBezTo>
                <a:cubicBezTo>
                  <a:pt x="343" y="365"/>
                  <a:pt x="344" y="358"/>
                  <a:pt x="348" y="354"/>
                </a:cubicBezTo>
                <a:cubicBezTo>
                  <a:pt x="377" y="330"/>
                  <a:pt x="394" y="294"/>
                  <a:pt x="394" y="256"/>
                </a:cubicBezTo>
                <a:cubicBezTo>
                  <a:pt x="394" y="218"/>
                  <a:pt x="377" y="182"/>
                  <a:pt x="348" y="157"/>
                </a:cubicBezTo>
                <a:cubicBezTo>
                  <a:pt x="344" y="153"/>
                  <a:pt x="343" y="147"/>
                  <a:pt x="347" y="142"/>
                </a:cubicBezTo>
                <a:cubicBezTo>
                  <a:pt x="351" y="138"/>
                  <a:pt x="357" y="137"/>
                  <a:pt x="362" y="141"/>
                </a:cubicBezTo>
                <a:cubicBezTo>
                  <a:pt x="396" y="169"/>
                  <a:pt x="416" y="211"/>
                  <a:pt x="416" y="256"/>
                </a:cubicBezTo>
                <a:cubicBezTo>
                  <a:pt x="416" y="300"/>
                  <a:pt x="396" y="342"/>
                  <a:pt x="362" y="371"/>
                </a:cubicBezTo>
                <a:close/>
                <a:moveTo>
                  <a:pt x="167" y="221"/>
                </a:moveTo>
                <a:cubicBezTo>
                  <a:pt x="234" y="162"/>
                  <a:pt x="234" y="162"/>
                  <a:pt x="234" y="162"/>
                </a:cubicBezTo>
                <a:cubicBezTo>
                  <a:pt x="234" y="349"/>
                  <a:pt x="234" y="349"/>
                  <a:pt x="234" y="349"/>
                </a:cubicBezTo>
                <a:cubicBezTo>
                  <a:pt x="167" y="290"/>
                  <a:pt x="167" y="290"/>
                  <a:pt x="167" y="290"/>
                </a:cubicBezTo>
                <a:cubicBezTo>
                  <a:pt x="165" y="289"/>
                  <a:pt x="162" y="288"/>
                  <a:pt x="160" y="288"/>
                </a:cubicBezTo>
                <a:cubicBezTo>
                  <a:pt x="117" y="288"/>
                  <a:pt x="117" y="288"/>
                  <a:pt x="117" y="288"/>
                </a:cubicBezTo>
                <a:cubicBezTo>
                  <a:pt x="117" y="224"/>
                  <a:pt x="117" y="224"/>
                  <a:pt x="117" y="224"/>
                </a:cubicBezTo>
                <a:cubicBezTo>
                  <a:pt x="160" y="224"/>
                  <a:pt x="160" y="224"/>
                  <a:pt x="160" y="224"/>
                </a:cubicBezTo>
                <a:cubicBezTo>
                  <a:pt x="162" y="224"/>
                  <a:pt x="165" y="223"/>
                  <a:pt x="167" y="22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5" name="TextBox 414">
            <a:extLst>
              <a:ext uri="{FF2B5EF4-FFF2-40B4-BE49-F238E27FC236}">
                <a16:creationId xmlns:a16="http://schemas.microsoft.com/office/drawing/2014/main" id="{42EED8D4-F805-4559-AD97-26A07F3B35D1}"/>
              </a:ext>
            </a:extLst>
          </p:cNvPr>
          <p:cNvSpPr txBox="1"/>
          <p:nvPr/>
        </p:nvSpPr>
        <p:spPr>
          <a:xfrm>
            <a:off x="6555889" y="295231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movie</a:t>
            </a:r>
          </a:p>
        </p:txBody>
      </p:sp>
      <p:sp>
        <p:nvSpPr>
          <p:cNvPr id="416" name="TextBox 415">
            <a:extLst>
              <a:ext uri="{FF2B5EF4-FFF2-40B4-BE49-F238E27FC236}">
                <a16:creationId xmlns:a16="http://schemas.microsoft.com/office/drawing/2014/main" id="{F61EFF0A-27DD-459F-BE63-84582E3B367E}"/>
              </a:ext>
            </a:extLst>
          </p:cNvPr>
          <p:cNvSpPr txBox="1"/>
          <p:nvPr/>
        </p:nvSpPr>
        <p:spPr>
          <a:xfrm>
            <a:off x="7430594"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new</a:t>
            </a:r>
          </a:p>
        </p:txBody>
      </p:sp>
      <p:sp>
        <p:nvSpPr>
          <p:cNvPr id="417" name="TextBox 416">
            <a:extLst>
              <a:ext uri="{FF2B5EF4-FFF2-40B4-BE49-F238E27FC236}">
                <a16:creationId xmlns:a16="http://schemas.microsoft.com/office/drawing/2014/main" id="{C15599B4-F6E1-4D76-A62F-103D8BAA947F}"/>
              </a:ext>
            </a:extLst>
          </p:cNvPr>
          <p:cNvSpPr txBox="1"/>
          <p:nvPr/>
        </p:nvSpPr>
        <p:spPr>
          <a:xfrm>
            <a:off x="9173654"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picture</a:t>
            </a:r>
          </a:p>
        </p:txBody>
      </p:sp>
      <p:sp>
        <p:nvSpPr>
          <p:cNvPr id="418" name="TextBox 417">
            <a:extLst>
              <a:ext uri="{FF2B5EF4-FFF2-40B4-BE49-F238E27FC236}">
                <a16:creationId xmlns:a16="http://schemas.microsoft.com/office/drawing/2014/main" id="{6956E9A1-72A5-447C-8EA7-280A7D96527E}"/>
              </a:ext>
            </a:extLst>
          </p:cNvPr>
          <p:cNvSpPr txBox="1"/>
          <p:nvPr/>
        </p:nvSpPr>
        <p:spPr>
          <a:xfrm>
            <a:off x="10045184"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Ppt</a:t>
            </a:r>
          </a:p>
        </p:txBody>
      </p:sp>
      <p:sp>
        <p:nvSpPr>
          <p:cNvPr id="419" name="TextBox 418">
            <a:extLst>
              <a:ext uri="{FF2B5EF4-FFF2-40B4-BE49-F238E27FC236}">
                <a16:creationId xmlns:a16="http://schemas.microsoft.com/office/drawing/2014/main" id="{97C9A1A2-5B1A-47E6-ACBB-AB7602B48419}"/>
              </a:ext>
            </a:extLst>
          </p:cNvPr>
          <p:cNvSpPr txBox="1"/>
          <p:nvPr/>
        </p:nvSpPr>
        <p:spPr>
          <a:xfrm>
            <a:off x="8302124"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Pdf</a:t>
            </a:r>
          </a:p>
        </p:txBody>
      </p:sp>
      <p:sp>
        <p:nvSpPr>
          <p:cNvPr id="420" name="TextBox 419">
            <a:extLst>
              <a:ext uri="{FF2B5EF4-FFF2-40B4-BE49-F238E27FC236}">
                <a16:creationId xmlns:a16="http://schemas.microsoft.com/office/drawing/2014/main" id="{DA354749-4E27-4854-9626-02ED9579B1B7}"/>
              </a:ext>
            </a:extLst>
          </p:cNvPr>
          <p:cNvSpPr txBox="1"/>
          <p:nvPr/>
        </p:nvSpPr>
        <p:spPr>
          <a:xfrm>
            <a:off x="10916708"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Xls</a:t>
            </a:r>
          </a:p>
        </p:txBody>
      </p:sp>
      <p:sp>
        <p:nvSpPr>
          <p:cNvPr id="421" name="TextBox 420">
            <a:extLst>
              <a:ext uri="{FF2B5EF4-FFF2-40B4-BE49-F238E27FC236}">
                <a16:creationId xmlns:a16="http://schemas.microsoft.com/office/drawing/2014/main" id="{30E526F5-4D55-4F63-9E91-1D2F8C597900}"/>
              </a:ext>
            </a:extLst>
          </p:cNvPr>
          <p:cNvSpPr txBox="1"/>
          <p:nvPr/>
        </p:nvSpPr>
        <p:spPr>
          <a:xfrm>
            <a:off x="469520"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Zip</a:t>
            </a:r>
          </a:p>
        </p:txBody>
      </p:sp>
      <p:grpSp>
        <p:nvGrpSpPr>
          <p:cNvPr id="422" name="Group 688">
            <a:extLst>
              <a:ext uri="{FF2B5EF4-FFF2-40B4-BE49-F238E27FC236}">
                <a16:creationId xmlns:a16="http://schemas.microsoft.com/office/drawing/2014/main" id="{5F747D1B-3BB7-4AB5-9916-E6A3ABF74D70}"/>
              </a:ext>
            </a:extLst>
          </p:cNvPr>
          <p:cNvGrpSpPr>
            <a:grpSpLocks noChangeAspect="1"/>
          </p:cNvGrpSpPr>
          <p:nvPr/>
        </p:nvGrpSpPr>
        <p:grpSpPr bwMode="auto">
          <a:xfrm>
            <a:off x="6578592" y="2532035"/>
            <a:ext cx="367631" cy="367631"/>
            <a:chOff x="797" y="2771"/>
            <a:chExt cx="340" cy="340"/>
          </a:xfrm>
          <a:solidFill>
            <a:schemeClr val="accent2"/>
          </a:solidFill>
        </p:grpSpPr>
        <p:sp>
          <p:nvSpPr>
            <p:cNvPr id="423" name="Freeform 689">
              <a:extLst>
                <a:ext uri="{FF2B5EF4-FFF2-40B4-BE49-F238E27FC236}">
                  <a16:creationId xmlns:a16="http://schemas.microsoft.com/office/drawing/2014/main" id="{13498AAD-F8C8-416D-A58C-B61914153E7E}"/>
                </a:ext>
              </a:extLst>
            </p:cNvPr>
            <p:cNvSpPr>
              <a:spLocks/>
            </p:cNvSpPr>
            <p:nvPr/>
          </p:nvSpPr>
          <p:spPr bwMode="auto">
            <a:xfrm>
              <a:off x="946" y="2932"/>
              <a:ext cx="36" cy="46"/>
            </a:xfrm>
            <a:custGeom>
              <a:avLst/>
              <a:gdLst>
                <a:gd name="T0" fmla="*/ 0 w 36"/>
                <a:gd name="T1" fmla="*/ 0 h 46"/>
                <a:gd name="T2" fmla="*/ 0 w 36"/>
                <a:gd name="T3" fmla="*/ 46 h 46"/>
                <a:gd name="T4" fmla="*/ 36 w 36"/>
                <a:gd name="T5" fmla="*/ 23 h 46"/>
                <a:gd name="T6" fmla="*/ 0 w 36"/>
                <a:gd name="T7" fmla="*/ 0 h 46"/>
              </a:gdLst>
              <a:ahLst/>
              <a:cxnLst>
                <a:cxn ang="0">
                  <a:pos x="T0" y="T1"/>
                </a:cxn>
                <a:cxn ang="0">
                  <a:pos x="T2" y="T3"/>
                </a:cxn>
                <a:cxn ang="0">
                  <a:pos x="T4" y="T5"/>
                </a:cxn>
                <a:cxn ang="0">
                  <a:pos x="T6" y="T7"/>
                </a:cxn>
              </a:cxnLst>
              <a:rect l="0" t="0" r="r" b="b"/>
              <a:pathLst>
                <a:path w="36" h="46">
                  <a:moveTo>
                    <a:pt x="0" y="0"/>
                  </a:moveTo>
                  <a:lnTo>
                    <a:pt x="0" y="46"/>
                  </a:lnTo>
                  <a:lnTo>
                    <a:pt x="36" y="23"/>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4" name="Freeform 690">
              <a:extLst>
                <a:ext uri="{FF2B5EF4-FFF2-40B4-BE49-F238E27FC236}">
                  <a16:creationId xmlns:a16="http://schemas.microsoft.com/office/drawing/2014/main" id="{7738F555-5D7A-4F92-87E5-043BB6C11B9F}"/>
                </a:ext>
              </a:extLst>
            </p:cNvPr>
            <p:cNvSpPr>
              <a:spLocks/>
            </p:cNvSpPr>
            <p:nvPr/>
          </p:nvSpPr>
          <p:spPr bwMode="auto">
            <a:xfrm>
              <a:off x="995" y="2859"/>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5" name="Freeform 691">
              <a:extLst>
                <a:ext uri="{FF2B5EF4-FFF2-40B4-BE49-F238E27FC236}">
                  <a16:creationId xmlns:a16="http://schemas.microsoft.com/office/drawing/2014/main" id="{81F3CF26-8906-4AB0-8E71-047708BE1A2A}"/>
                </a:ext>
              </a:extLst>
            </p:cNvPr>
            <p:cNvSpPr>
              <a:spLocks noEditPoints="1"/>
            </p:cNvSpPr>
            <p:nvPr/>
          </p:nvSpPr>
          <p:spPr bwMode="auto">
            <a:xfrm>
              <a:off x="903" y="2849"/>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 name="T16" fmla="*/ 149 w 192"/>
                <a:gd name="T17" fmla="*/ 160 h 277"/>
                <a:gd name="T18" fmla="*/ 144 w 192"/>
                <a:gd name="T19" fmla="*/ 169 h 277"/>
                <a:gd name="T20" fmla="*/ 59 w 192"/>
                <a:gd name="T21" fmla="*/ 222 h 277"/>
                <a:gd name="T22" fmla="*/ 53 w 192"/>
                <a:gd name="T23" fmla="*/ 224 h 277"/>
                <a:gd name="T24" fmla="*/ 48 w 192"/>
                <a:gd name="T25" fmla="*/ 223 h 277"/>
                <a:gd name="T26" fmla="*/ 42 w 192"/>
                <a:gd name="T27" fmla="*/ 213 h 277"/>
                <a:gd name="T28" fmla="*/ 42 w 192"/>
                <a:gd name="T29" fmla="*/ 107 h 277"/>
                <a:gd name="T30" fmla="*/ 48 w 192"/>
                <a:gd name="T31" fmla="*/ 97 h 277"/>
                <a:gd name="T32" fmla="*/ 59 w 192"/>
                <a:gd name="T33" fmla="*/ 98 h 277"/>
                <a:gd name="T34" fmla="*/ 144 w 192"/>
                <a:gd name="T35" fmla="*/ 151 h 277"/>
                <a:gd name="T36" fmla="*/ 149 w 192"/>
                <a:gd name="T37" fmla="*/ 16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moveTo>
                    <a:pt x="149" y="160"/>
                  </a:moveTo>
                  <a:cubicBezTo>
                    <a:pt x="149" y="164"/>
                    <a:pt x="147" y="167"/>
                    <a:pt x="144" y="169"/>
                  </a:cubicBezTo>
                  <a:cubicBezTo>
                    <a:pt x="59" y="222"/>
                    <a:pt x="59" y="222"/>
                    <a:pt x="59" y="222"/>
                  </a:cubicBezTo>
                  <a:cubicBezTo>
                    <a:pt x="57" y="223"/>
                    <a:pt x="55" y="224"/>
                    <a:pt x="53" y="224"/>
                  </a:cubicBezTo>
                  <a:cubicBezTo>
                    <a:pt x="51" y="224"/>
                    <a:pt x="49" y="224"/>
                    <a:pt x="48" y="223"/>
                  </a:cubicBezTo>
                  <a:cubicBezTo>
                    <a:pt x="44" y="221"/>
                    <a:pt x="42" y="217"/>
                    <a:pt x="42" y="213"/>
                  </a:cubicBezTo>
                  <a:cubicBezTo>
                    <a:pt x="42" y="107"/>
                    <a:pt x="42" y="107"/>
                    <a:pt x="42" y="107"/>
                  </a:cubicBezTo>
                  <a:cubicBezTo>
                    <a:pt x="42" y="103"/>
                    <a:pt x="44" y="99"/>
                    <a:pt x="48" y="97"/>
                  </a:cubicBezTo>
                  <a:cubicBezTo>
                    <a:pt x="51" y="95"/>
                    <a:pt x="55" y="96"/>
                    <a:pt x="59" y="98"/>
                  </a:cubicBezTo>
                  <a:cubicBezTo>
                    <a:pt x="144" y="151"/>
                    <a:pt x="144" y="151"/>
                    <a:pt x="144" y="151"/>
                  </a:cubicBezTo>
                  <a:cubicBezTo>
                    <a:pt x="147" y="153"/>
                    <a:pt x="149" y="156"/>
                    <a:pt x="149"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6" name="Freeform 692">
              <a:extLst>
                <a:ext uri="{FF2B5EF4-FFF2-40B4-BE49-F238E27FC236}">
                  <a16:creationId xmlns:a16="http://schemas.microsoft.com/office/drawing/2014/main" id="{398CDF1A-079D-4276-B37D-49B8B2B8A568}"/>
                </a:ext>
              </a:extLst>
            </p:cNvPr>
            <p:cNvSpPr>
              <a:spLocks noEditPoints="1"/>
            </p:cNvSpPr>
            <p:nvPr/>
          </p:nvSpPr>
          <p:spPr bwMode="auto">
            <a:xfrm>
              <a:off x="797" y="277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27" name="Group 695">
            <a:extLst>
              <a:ext uri="{FF2B5EF4-FFF2-40B4-BE49-F238E27FC236}">
                <a16:creationId xmlns:a16="http://schemas.microsoft.com/office/drawing/2014/main" id="{D0FEAE69-1D54-4604-9A71-B4E42CDCC89D}"/>
              </a:ext>
            </a:extLst>
          </p:cNvPr>
          <p:cNvGrpSpPr>
            <a:grpSpLocks noChangeAspect="1"/>
          </p:cNvGrpSpPr>
          <p:nvPr/>
        </p:nvGrpSpPr>
        <p:grpSpPr bwMode="auto">
          <a:xfrm>
            <a:off x="7013373" y="2532035"/>
            <a:ext cx="367631" cy="367631"/>
            <a:chOff x="1174" y="2776"/>
            <a:chExt cx="340" cy="340"/>
          </a:xfrm>
          <a:solidFill>
            <a:schemeClr val="accent2"/>
          </a:solidFill>
        </p:grpSpPr>
        <p:sp>
          <p:nvSpPr>
            <p:cNvPr id="428" name="Freeform 696">
              <a:extLst>
                <a:ext uri="{FF2B5EF4-FFF2-40B4-BE49-F238E27FC236}">
                  <a16:creationId xmlns:a16="http://schemas.microsoft.com/office/drawing/2014/main" id="{C4356AE3-AADF-43E6-8147-D4BBA7A2E38F}"/>
                </a:ext>
              </a:extLst>
            </p:cNvPr>
            <p:cNvSpPr>
              <a:spLocks noEditPoints="1"/>
            </p:cNvSpPr>
            <p:nvPr/>
          </p:nvSpPr>
          <p:spPr bwMode="auto">
            <a:xfrm>
              <a:off x="1266" y="2840"/>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9" name="Freeform 697">
              <a:extLst>
                <a:ext uri="{FF2B5EF4-FFF2-40B4-BE49-F238E27FC236}">
                  <a16:creationId xmlns:a16="http://schemas.microsoft.com/office/drawing/2014/main" id="{657DC25B-95EF-4398-9E1C-654E220AAD81}"/>
                </a:ext>
              </a:extLst>
            </p:cNvPr>
            <p:cNvSpPr>
              <a:spLocks noEditPoints="1"/>
            </p:cNvSpPr>
            <p:nvPr/>
          </p:nvSpPr>
          <p:spPr bwMode="auto">
            <a:xfrm>
              <a:off x="1308" y="2917"/>
              <a:ext cx="71" cy="85"/>
            </a:xfrm>
            <a:custGeom>
              <a:avLst/>
              <a:gdLst>
                <a:gd name="T0" fmla="*/ 102 w 107"/>
                <a:gd name="T1" fmla="*/ 56 h 129"/>
                <a:gd name="T2" fmla="*/ 17 w 107"/>
                <a:gd name="T3" fmla="*/ 3 h 129"/>
                <a:gd name="T4" fmla="*/ 6 w 107"/>
                <a:gd name="T5" fmla="*/ 2 h 129"/>
                <a:gd name="T6" fmla="*/ 0 w 107"/>
                <a:gd name="T7" fmla="*/ 12 h 129"/>
                <a:gd name="T8" fmla="*/ 0 w 107"/>
                <a:gd name="T9" fmla="*/ 118 h 129"/>
                <a:gd name="T10" fmla="*/ 6 w 107"/>
                <a:gd name="T11" fmla="*/ 128 h 129"/>
                <a:gd name="T12" fmla="*/ 11 w 107"/>
                <a:gd name="T13" fmla="*/ 129 h 129"/>
                <a:gd name="T14" fmla="*/ 17 w 107"/>
                <a:gd name="T15" fmla="*/ 127 h 129"/>
                <a:gd name="T16" fmla="*/ 102 w 107"/>
                <a:gd name="T17" fmla="*/ 74 h 129"/>
                <a:gd name="T18" fmla="*/ 107 w 107"/>
                <a:gd name="T19" fmla="*/ 65 h 129"/>
                <a:gd name="T20" fmla="*/ 102 w 107"/>
                <a:gd name="T21" fmla="*/ 56 h 129"/>
                <a:gd name="T22" fmla="*/ 22 w 107"/>
                <a:gd name="T23" fmla="*/ 99 h 129"/>
                <a:gd name="T24" fmla="*/ 22 w 107"/>
                <a:gd name="T25" fmla="*/ 31 h 129"/>
                <a:gd name="T26" fmla="*/ 76 w 107"/>
                <a:gd name="T27" fmla="*/ 65 h 129"/>
                <a:gd name="T28" fmla="*/ 22 w 107"/>
                <a:gd name="T29" fmla="*/ 9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129">
                  <a:moveTo>
                    <a:pt x="102" y="56"/>
                  </a:moveTo>
                  <a:cubicBezTo>
                    <a:pt x="17" y="3"/>
                    <a:pt x="17" y="3"/>
                    <a:pt x="17" y="3"/>
                  </a:cubicBezTo>
                  <a:cubicBezTo>
                    <a:pt x="13" y="1"/>
                    <a:pt x="9" y="0"/>
                    <a:pt x="6" y="2"/>
                  </a:cubicBezTo>
                  <a:cubicBezTo>
                    <a:pt x="2" y="4"/>
                    <a:pt x="0" y="8"/>
                    <a:pt x="0" y="12"/>
                  </a:cubicBezTo>
                  <a:cubicBezTo>
                    <a:pt x="0" y="118"/>
                    <a:pt x="0" y="118"/>
                    <a:pt x="0" y="118"/>
                  </a:cubicBezTo>
                  <a:cubicBezTo>
                    <a:pt x="0" y="122"/>
                    <a:pt x="2" y="126"/>
                    <a:pt x="6" y="128"/>
                  </a:cubicBezTo>
                  <a:cubicBezTo>
                    <a:pt x="7" y="129"/>
                    <a:pt x="9" y="129"/>
                    <a:pt x="11" y="129"/>
                  </a:cubicBezTo>
                  <a:cubicBezTo>
                    <a:pt x="13" y="129"/>
                    <a:pt x="15" y="128"/>
                    <a:pt x="17" y="127"/>
                  </a:cubicBezTo>
                  <a:cubicBezTo>
                    <a:pt x="102" y="74"/>
                    <a:pt x="102" y="74"/>
                    <a:pt x="102" y="74"/>
                  </a:cubicBezTo>
                  <a:cubicBezTo>
                    <a:pt x="105" y="72"/>
                    <a:pt x="107" y="69"/>
                    <a:pt x="107" y="65"/>
                  </a:cubicBezTo>
                  <a:cubicBezTo>
                    <a:pt x="107" y="61"/>
                    <a:pt x="105" y="58"/>
                    <a:pt x="102" y="56"/>
                  </a:cubicBezTo>
                  <a:close/>
                  <a:moveTo>
                    <a:pt x="22" y="99"/>
                  </a:moveTo>
                  <a:cubicBezTo>
                    <a:pt x="22" y="31"/>
                    <a:pt x="22" y="31"/>
                    <a:pt x="22" y="31"/>
                  </a:cubicBezTo>
                  <a:cubicBezTo>
                    <a:pt x="76" y="65"/>
                    <a:pt x="76" y="65"/>
                    <a:pt x="76" y="65"/>
                  </a:cubicBezTo>
                  <a:lnTo>
                    <a:pt x="22" y="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0" name="Freeform 698">
              <a:extLst>
                <a:ext uri="{FF2B5EF4-FFF2-40B4-BE49-F238E27FC236}">
                  <a16:creationId xmlns:a16="http://schemas.microsoft.com/office/drawing/2014/main" id="{A01A1C9C-C838-4D32-A4EB-F24F76CE6E09}"/>
                </a:ext>
              </a:extLst>
            </p:cNvPr>
            <p:cNvSpPr>
              <a:spLocks noEditPoints="1"/>
            </p:cNvSpPr>
            <p:nvPr/>
          </p:nvSpPr>
          <p:spPr bwMode="auto">
            <a:xfrm>
              <a:off x="1174" y="277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1" name="Freeform 702">
            <a:extLst>
              <a:ext uri="{FF2B5EF4-FFF2-40B4-BE49-F238E27FC236}">
                <a16:creationId xmlns:a16="http://schemas.microsoft.com/office/drawing/2014/main" id="{E0F69CDF-7AB1-47A1-8066-4BEE1534391F}"/>
              </a:ext>
            </a:extLst>
          </p:cNvPr>
          <p:cNvSpPr>
            <a:spLocks noChangeAspect="1" noEditPoints="1"/>
          </p:cNvSpPr>
          <p:nvPr/>
        </p:nvSpPr>
        <p:spPr bwMode="auto">
          <a:xfrm>
            <a:off x="7448154" y="2532035"/>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181 h 512"/>
              <a:gd name="T12" fmla="*/ 373 w 512"/>
              <a:gd name="T13" fmla="*/ 405 h 512"/>
              <a:gd name="T14" fmla="*/ 362 w 512"/>
              <a:gd name="T15" fmla="*/ 416 h 512"/>
              <a:gd name="T16" fmla="*/ 149 w 512"/>
              <a:gd name="T17" fmla="*/ 416 h 512"/>
              <a:gd name="T18" fmla="*/ 138 w 512"/>
              <a:gd name="T19" fmla="*/ 405 h 512"/>
              <a:gd name="T20" fmla="*/ 138 w 512"/>
              <a:gd name="T21" fmla="*/ 106 h 512"/>
              <a:gd name="T22" fmla="*/ 149 w 512"/>
              <a:gd name="T23" fmla="*/ 96 h 512"/>
              <a:gd name="T24" fmla="*/ 288 w 512"/>
              <a:gd name="T25" fmla="*/ 96 h 512"/>
              <a:gd name="T26" fmla="*/ 295 w 512"/>
              <a:gd name="T27" fmla="*/ 98 h 512"/>
              <a:gd name="T28" fmla="*/ 295 w 512"/>
              <a:gd name="T29" fmla="*/ 98 h 512"/>
              <a:gd name="T30" fmla="*/ 295 w 512"/>
              <a:gd name="T31" fmla="*/ 98 h 512"/>
              <a:gd name="T32" fmla="*/ 295 w 512"/>
              <a:gd name="T33" fmla="*/ 99 h 512"/>
              <a:gd name="T34" fmla="*/ 370 w 512"/>
              <a:gd name="T35" fmla="*/ 173 h 512"/>
              <a:gd name="T36" fmla="*/ 372 w 512"/>
              <a:gd name="T37" fmla="*/ 177 h 512"/>
              <a:gd name="T38" fmla="*/ 373 w 512"/>
              <a:gd name="T39" fmla="*/ 181 h 512"/>
              <a:gd name="T40" fmla="*/ 373 w 512"/>
              <a:gd name="T41" fmla="*/ 181 h 512"/>
              <a:gd name="T42" fmla="*/ 337 w 512"/>
              <a:gd name="T43" fmla="*/ 170 h 512"/>
              <a:gd name="T44" fmla="*/ 298 w 512"/>
              <a:gd name="T45" fmla="*/ 170 h 512"/>
              <a:gd name="T46" fmla="*/ 298 w 512"/>
              <a:gd name="T47" fmla="*/ 132 h 512"/>
              <a:gd name="T48" fmla="*/ 337 w 512"/>
              <a:gd name="T49" fmla="*/ 170 h 512"/>
              <a:gd name="T50" fmla="*/ 277 w 512"/>
              <a:gd name="T51" fmla="*/ 181 h 512"/>
              <a:gd name="T52" fmla="*/ 277 w 512"/>
              <a:gd name="T53" fmla="*/ 117 h 512"/>
              <a:gd name="T54" fmla="*/ 160 w 512"/>
              <a:gd name="T55" fmla="*/ 117 h 512"/>
              <a:gd name="T56" fmla="*/ 160 w 512"/>
              <a:gd name="T57" fmla="*/ 394 h 512"/>
              <a:gd name="T58" fmla="*/ 352 w 512"/>
              <a:gd name="T59" fmla="*/ 394 h 512"/>
              <a:gd name="T60" fmla="*/ 352 w 512"/>
              <a:gd name="T61" fmla="*/ 192 h 512"/>
              <a:gd name="T62" fmla="*/ 288 w 512"/>
              <a:gd name="T63" fmla="*/ 192 h 512"/>
              <a:gd name="T64" fmla="*/ 277 w 512"/>
              <a:gd name="T65" fmla="*/ 181 h 512"/>
              <a:gd name="T66" fmla="*/ 320 w 512"/>
              <a:gd name="T67" fmla="*/ 288 h 512"/>
              <a:gd name="T68" fmla="*/ 309 w 512"/>
              <a:gd name="T69" fmla="*/ 298 h 512"/>
              <a:gd name="T70" fmla="*/ 266 w 512"/>
              <a:gd name="T71" fmla="*/ 298 h 512"/>
              <a:gd name="T72" fmla="*/ 266 w 512"/>
              <a:gd name="T73" fmla="*/ 341 h 512"/>
              <a:gd name="T74" fmla="*/ 256 w 512"/>
              <a:gd name="T75" fmla="*/ 352 h 512"/>
              <a:gd name="T76" fmla="*/ 245 w 512"/>
              <a:gd name="T77" fmla="*/ 341 h 512"/>
              <a:gd name="T78" fmla="*/ 245 w 512"/>
              <a:gd name="T79" fmla="*/ 298 h 512"/>
              <a:gd name="T80" fmla="*/ 202 w 512"/>
              <a:gd name="T81" fmla="*/ 298 h 512"/>
              <a:gd name="T82" fmla="*/ 192 w 512"/>
              <a:gd name="T83" fmla="*/ 288 h 512"/>
              <a:gd name="T84" fmla="*/ 202 w 512"/>
              <a:gd name="T85" fmla="*/ 277 h 512"/>
              <a:gd name="T86" fmla="*/ 245 w 512"/>
              <a:gd name="T87" fmla="*/ 277 h 512"/>
              <a:gd name="T88" fmla="*/ 245 w 512"/>
              <a:gd name="T89" fmla="*/ 234 h 512"/>
              <a:gd name="T90" fmla="*/ 256 w 512"/>
              <a:gd name="T91" fmla="*/ 224 h 512"/>
              <a:gd name="T92" fmla="*/ 266 w 512"/>
              <a:gd name="T93" fmla="*/ 234 h 512"/>
              <a:gd name="T94" fmla="*/ 266 w 512"/>
              <a:gd name="T95" fmla="*/ 277 h 512"/>
              <a:gd name="T96" fmla="*/ 309 w 512"/>
              <a:gd name="T97" fmla="*/ 277 h 512"/>
              <a:gd name="T98" fmla="*/ 320 w 512"/>
              <a:gd name="T99"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81"/>
                </a:move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90" y="96"/>
                  <a:pt x="293" y="97"/>
                  <a:pt x="295" y="98"/>
                </a:cubicBezTo>
                <a:cubicBezTo>
                  <a:pt x="295" y="98"/>
                  <a:pt x="295" y="98"/>
                  <a:pt x="295" y="98"/>
                </a:cubicBezTo>
                <a:cubicBezTo>
                  <a:pt x="295" y="98"/>
                  <a:pt x="295" y="98"/>
                  <a:pt x="295" y="98"/>
                </a:cubicBezTo>
                <a:cubicBezTo>
                  <a:pt x="295" y="99"/>
                  <a:pt x="295" y="99"/>
                  <a:pt x="295" y="99"/>
                </a:cubicBezTo>
                <a:cubicBezTo>
                  <a:pt x="370" y="173"/>
                  <a:pt x="370" y="173"/>
                  <a:pt x="370" y="173"/>
                </a:cubicBezTo>
                <a:cubicBezTo>
                  <a:pt x="371" y="174"/>
                  <a:pt x="372" y="176"/>
                  <a:pt x="372" y="177"/>
                </a:cubicBezTo>
                <a:cubicBezTo>
                  <a:pt x="373" y="178"/>
                  <a:pt x="373" y="180"/>
                  <a:pt x="373" y="181"/>
                </a:cubicBezTo>
                <a:cubicBezTo>
                  <a:pt x="373" y="181"/>
                  <a:pt x="373" y="181"/>
                  <a:pt x="373" y="181"/>
                </a:cubicBezTo>
                <a:close/>
                <a:moveTo>
                  <a:pt x="337" y="170"/>
                </a:moveTo>
                <a:cubicBezTo>
                  <a:pt x="298" y="170"/>
                  <a:pt x="298" y="170"/>
                  <a:pt x="298" y="170"/>
                </a:cubicBezTo>
                <a:cubicBezTo>
                  <a:pt x="298" y="132"/>
                  <a:pt x="298" y="132"/>
                  <a:pt x="298" y="132"/>
                </a:cubicBezTo>
                <a:lnTo>
                  <a:pt x="337" y="170"/>
                </a:lnTo>
                <a:close/>
                <a:moveTo>
                  <a:pt x="277" y="181"/>
                </a:moveTo>
                <a:cubicBezTo>
                  <a:pt x="277" y="117"/>
                  <a:pt x="277" y="117"/>
                  <a:pt x="277" y="117"/>
                </a:cubicBezTo>
                <a:cubicBezTo>
                  <a:pt x="160" y="117"/>
                  <a:pt x="160" y="117"/>
                  <a:pt x="160" y="117"/>
                </a:cubicBezTo>
                <a:cubicBezTo>
                  <a:pt x="160" y="394"/>
                  <a:pt x="160" y="394"/>
                  <a:pt x="160" y="394"/>
                </a:cubicBezTo>
                <a:cubicBezTo>
                  <a:pt x="352" y="394"/>
                  <a:pt x="352" y="394"/>
                  <a:pt x="352" y="394"/>
                </a:cubicBezTo>
                <a:cubicBezTo>
                  <a:pt x="352" y="192"/>
                  <a:pt x="352" y="192"/>
                  <a:pt x="352" y="192"/>
                </a:cubicBezTo>
                <a:cubicBezTo>
                  <a:pt x="288" y="192"/>
                  <a:pt x="288" y="192"/>
                  <a:pt x="288" y="192"/>
                </a:cubicBezTo>
                <a:cubicBezTo>
                  <a:pt x="282" y="192"/>
                  <a:pt x="277" y="187"/>
                  <a:pt x="277" y="181"/>
                </a:cubicBezTo>
                <a:close/>
                <a:moveTo>
                  <a:pt x="320" y="288"/>
                </a:moveTo>
                <a:cubicBezTo>
                  <a:pt x="320" y="294"/>
                  <a:pt x="315" y="298"/>
                  <a:pt x="309" y="298"/>
                </a:cubicBezTo>
                <a:cubicBezTo>
                  <a:pt x="266" y="298"/>
                  <a:pt x="266" y="298"/>
                  <a:pt x="266" y="298"/>
                </a:cubicBezTo>
                <a:cubicBezTo>
                  <a:pt x="266" y="341"/>
                  <a:pt x="266" y="341"/>
                  <a:pt x="266" y="341"/>
                </a:cubicBezTo>
                <a:cubicBezTo>
                  <a:pt x="266" y="347"/>
                  <a:pt x="262" y="352"/>
                  <a:pt x="256" y="352"/>
                </a:cubicBezTo>
                <a:cubicBezTo>
                  <a:pt x="250" y="352"/>
                  <a:pt x="245" y="347"/>
                  <a:pt x="245" y="341"/>
                </a:cubicBezTo>
                <a:cubicBezTo>
                  <a:pt x="245" y="298"/>
                  <a:pt x="245" y="298"/>
                  <a:pt x="245" y="298"/>
                </a:cubicBezTo>
                <a:cubicBezTo>
                  <a:pt x="202" y="298"/>
                  <a:pt x="202" y="298"/>
                  <a:pt x="202" y="298"/>
                </a:cubicBezTo>
                <a:cubicBezTo>
                  <a:pt x="196" y="298"/>
                  <a:pt x="192" y="294"/>
                  <a:pt x="192" y="288"/>
                </a:cubicBezTo>
                <a:cubicBezTo>
                  <a:pt x="192" y="282"/>
                  <a:pt x="196" y="277"/>
                  <a:pt x="202" y="277"/>
                </a:cubicBezTo>
                <a:cubicBezTo>
                  <a:pt x="245" y="277"/>
                  <a:pt x="245" y="277"/>
                  <a:pt x="245" y="277"/>
                </a:cubicBezTo>
                <a:cubicBezTo>
                  <a:pt x="245" y="234"/>
                  <a:pt x="245" y="234"/>
                  <a:pt x="245" y="234"/>
                </a:cubicBezTo>
                <a:cubicBezTo>
                  <a:pt x="245" y="228"/>
                  <a:pt x="250" y="224"/>
                  <a:pt x="256" y="224"/>
                </a:cubicBezTo>
                <a:cubicBezTo>
                  <a:pt x="262" y="224"/>
                  <a:pt x="266" y="228"/>
                  <a:pt x="266" y="234"/>
                </a:cubicBezTo>
                <a:cubicBezTo>
                  <a:pt x="266" y="277"/>
                  <a:pt x="266" y="277"/>
                  <a:pt x="266" y="277"/>
                </a:cubicBezTo>
                <a:cubicBezTo>
                  <a:pt x="309" y="277"/>
                  <a:pt x="309" y="277"/>
                  <a:pt x="309" y="277"/>
                </a:cubicBezTo>
                <a:cubicBezTo>
                  <a:pt x="315" y="277"/>
                  <a:pt x="320" y="282"/>
                  <a:pt x="320" y="28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2" name="Group 705">
            <a:extLst>
              <a:ext uri="{FF2B5EF4-FFF2-40B4-BE49-F238E27FC236}">
                <a16:creationId xmlns:a16="http://schemas.microsoft.com/office/drawing/2014/main" id="{F4B78742-C207-4428-9540-1EA722730A3B}"/>
              </a:ext>
            </a:extLst>
          </p:cNvPr>
          <p:cNvGrpSpPr>
            <a:grpSpLocks noChangeAspect="1"/>
          </p:cNvGrpSpPr>
          <p:nvPr/>
        </p:nvGrpSpPr>
        <p:grpSpPr bwMode="auto">
          <a:xfrm>
            <a:off x="7882935" y="2532035"/>
            <a:ext cx="367631" cy="367631"/>
            <a:chOff x="1962" y="2775"/>
            <a:chExt cx="340" cy="340"/>
          </a:xfrm>
          <a:solidFill>
            <a:schemeClr val="accent2"/>
          </a:solidFill>
        </p:grpSpPr>
        <p:sp>
          <p:nvSpPr>
            <p:cNvPr id="433" name="Freeform 706">
              <a:extLst>
                <a:ext uri="{FF2B5EF4-FFF2-40B4-BE49-F238E27FC236}">
                  <a16:creationId xmlns:a16="http://schemas.microsoft.com/office/drawing/2014/main" id="{863E7AE9-BD73-4734-906C-16FD6C3EC355}"/>
                </a:ext>
              </a:extLst>
            </p:cNvPr>
            <p:cNvSpPr>
              <a:spLocks noEditPoints="1"/>
            </p:cNvSpPr>
            <p:nvPr/>
          </p:nvSpPr>
          <p:spPr bwMode="auto">
            <a:xfrm>
              <a:off x="1962" y="277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4" name="Freeform 707">
              <a:extLst>
                <a:ext uri="{FF2B5EF4-FFF2-40B4-BE49-F238E27FC236}">
                  <a16:creationId xmlns:a16="http://schemas.microsoft.com/office/drawing/2014/main" id="{97226FCE-C5FC-4AED-B0ED-60AEFEB97B0A}"/>
                </a:ext>
              </a:extLst>
            </p:cNvPr>
            <p:cNvSpPr>
              <a:spLocks noEditPoints="1"/>
            </p:cNvSpPr>
            <p:nvPr/>
          </p:nvSpPr>
          <p:spPr bwMode="auto">
            <a:xfrm>
              <a:off x="2054" y="2839"/>
              <a:ext cx="156" cy="212"/>
            </a:xfrm>
            <a:custGeom>
              <a:avLst/>
              <a:gdLst>
                <a:gd name="T0" fmla="*/ 234 w 235"/>
                <a:gd name="T1" fmla="*/ 81 h 320"/>
                <a:gd name="T2" fmla="*/ 232 w 235"/>
                <a:gd name="T3" fmla="*/ 77 h 320"/>
                <a:gd name="T4" fmla="*/ 157 w 235"/>
                <a:gd name="T5" fmla="*/ 3 h 320"/>
                <a:gd name="T6" fmla="*/ 157 w 235"/>
                <a:gd name="T7" fmla="*/ 2 h 320"/>
                <a:gd name="T8" fmla="*/ 157 w 235"/>
                <a:gd name="T9" fmla="*/ 2 h 320"/>
                <a:gd name="T10" fmla="*/ 157 w 235"/>
                <a:gd name="T11" fmla="*/ 2 h 320"/>
                <a:gd name="T12" fmla="*/ 150 w 235"/>
                <a:gd name="T13" fmla="*/ 0 h 320"/>
                <a:gd name="T14" fmla="*/ 11 w 235"/>
                <a:gd name="T15" fmla="*/ 0 h 320"/>
                <a:gd name="T16" fmla="*/ 0 w 235"/>
                <a:gd name="T17" fmla="*/ 10 h 320"/>
                <a:gd name="T18" fmla="*/ 0 w 235"/>
                <a:gd name="T19" fmla="*/ 309 h 320"/>
                <a:gd name="T20" fmla="*/ 11 w 235"/>
                <a:gd name="T21" fmla="*/ 320 h 320"/>
                <a:gd name="T22" fmla="*/ 224 w 235"/>
                <a:gd name="T23" fmla="*/ 320 h 320"/>
                <a:gd name="T24" fmla="*/ 235 w 235"/>
                <a:gd name="T25" fmla="*/ 309 h 320"/>
                <a:gd name="T26" fmla="*/ 235 w 235"/>
                <a:gd name="T27" fmla="*/ 85 h 320"/>
                <a:gd name="T28" fmla="*/ 235 w 235"/>
                <a:gd name="T29" fmla="*/ 85 h 320"/>
                <a:gd name="T30" fmla="*/ 234 w 235"/>
                <a:gd name="T31" fmla="*/ 81 h 320"/>
                <a:gd name="T32" fmla="*/ 160 w 235"/>
                <a:gd name="T33" fmla="*/ 36 h 320"/>
                <a:gd name="T34" fmla="*/ 199 w 235"/>
                <a:gd name="T35" fmla="*/ 74 h 320"/>
                <a:gd name="T36" fmla="*/ 160 w 235"/>
                <a:gd name="T37" fmla="*/ 74 h 320"/>
                <a:gd name="T38" fmla="*/ 160 w 235"/>
                <a:gd name="T39" fmla="*/ 36 h 320"/>
                <a:gd name="T40" fmla="*/ 214 w 235"/>
                <a:gd name="T41" fmla="*/ 298 h 320"/>
                <a:gd name="T42" fmla="*/ 22 w 235"/>
                <a:gd name="T43" fmla="*/ 298 h 320"/>
                <a:gd name="T44" fmla="*/ 22 w 235"/>
                <a:gd name="T45" fmla="*/ 21 h 320"/>
                <a:gd name="T46" fmla="*/ 139 w 235"/>
                <a:gd name="T47" fmla="*/ 21 h 320"/>
                <a:gd name="T48" fmla="*/ 139 w 235"/>
                <a:gd name="T49" fmla="*/ 85 h 320"/>
                <a:gd name="T50" fmla="*/ 150 w 235"/>
                <a:gd name="T51" fmla="*/ 96 h 320"/>
                <a:gd name="T52" fmla="*/ 214 w 235"/>
                <a:gd name="T53" fmla="*/ 96 h 320"/>
                <a:gd name="T54" fmla="*/ 214 w 235"/>
                <a:gd name="T55" fmla="*/ 298 h 320"/>
                <a:gd name="T56" fmla="*/ 128 w 235"/>
                <a:gd name="T57" fmla="*/ 181 h 320"/>
                <a:gd name="T58" fmla="*/ 171 w 235"/>
                <a:gd name="T59" fmla="*/ 181 h 320"/>
                <a:gd name="T60" fmla="*/ 182 w 235"/>
                <a:gd name="T61" fmla="*/ 192 h 320"/>
                <a:gd name="T62" fmla="*/ 171 w 235"/>
                <a:gd name="T63" fmla="*/ 202 h 320"/>
                <a:gd name="T64" fmla="*/ 128 w 235"/>
                <a:gd name="T65" fmla="*/ 202 h 320"/>
                <a:gd name="T66" fmla="*/ 128 w 235"/>
                <a:gd name="T67" fmla="*/ 245 h 320"/>
                <a:gd name="T68" fmla="*/ 118 w 235"/>
                <a:gd name="T69" fmla="*/ 256 h 320"/>
                <a:gd name="T70" fmla="*/ 107 w 235"/>
                <a:gd name="T71" fmla="*/ 245 h 320"/>
                <a:gd name="T72" fmla="*/ 107 w 235"/>
                <a:gd name="T73" fmla="*/ 202 h 320"/>
                <a:gd name="T74" fmla="*/ 64 w 235"/>
                <a:gd name="T75" fmla="*/ 202 h 320"/>
                <a:gd name="T76" fmla="*/ 54 w 235"/>
                <a:gd name="T77" fmla="*/ 192 h 320"/>
                <a:gd name="T78" fmla="*/ 64 w 235"/>
                <a:gd name="T79" fmla="*/ 181 h 320"/>
                <a:gd name="T80" fmla="*/ 107 w 235"/>
                <a:gd name="T81" fmla="*/ 181 h 320"/>
                <a:gd name="T82" fmla="*/ 107 w 235"/>
                <a:gd name="T83" fmla="*/ 138 h 320"/>
                <a:gd name="T84" fmla="*/ 118 w 235"/>
                <a:gd name="T85" fmla="*/ 128 h 320"/>
                <a:gd name="T86" fmla="*/ 128 w 235"/>
                <a:gd name="T87" fmla="*/ 138 h 320"/>
                <a:gd name="T88" fmla="*/ 128 w 235"/>
                <a:gd name="T89"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20">
                  <a:moveTo>
                    <a:pt x="234" y="81"/>
                  </a:moveTo>
                  <a:cubicBezTo>
                    <a:pt x="234" y="80"/>
                    <a:pt x="233" y="78"/>
                    <a:pt x="232" y="77"/>
                  </a:cubicBezTo>
                  <a:cubicBezTo>
                    <a:pt x="157" y="3"/>
                    <a:pt x="157" y="3"/>
                    <a:pt x="157" y="3"/>
                  </a:cubicBezTo>
                  <a:cubicBezTo>
                    <a:pt x="157" y="3"/>
                    <a:pt x="157" y="3"/>
                    <a:pt x="157" y="2"/>
                  </a:cubicBezTo>
                  <a:cubicBezTo>
                    <a:pt x="157" y="2"/>
                    <a:pt x="157" y="2"/>
                    <a:pt x="157" y="2"/>
                  </a:cubicBezTo>
                  <a:cubicBezTo>
                    <a:pt x="157" y="2"/>
                    <a:pt x="157" y="2"/>
                    <a:pt x="157" y="2"/>
                  </a:cubicBezTo>
                  <a:cubicBezTo>
                    <a:pt x="155" y="1"/>
                    <a:pt x="152"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moveTo>
                    <a:pt x="128" y="181"/>
                  </a:moveTo>
                  <a:cubicBezTo>
                    <a:pt x="171" y="181"/>
                    <a:pt x="171" y="181"/>
                    <a:pt x="171" y="181"/>
                  </a:cubicBezTo>
                  <a:cubicBezTo>
                    <a:pt x="177" y="181"/>
                    <a:pt x="182" y="186"/>
                    <a:pt x="182" y="192"/>
                  </a:cubicBezTo>
                  <a:cubicBezTo>
                    <a:pt x="182" y="198"/>
                    <a:pt x="177" y="202"/>
                    <a:pt x="171" y="202"/>
                  </a:cubicBezTo>
                  <a:cubicBezTo>
                    <a:pt x="128" y="202"/>
                    <a:pt x="128" y="202"/>
                    <a:pt x="128" y="202"/>
                  </a:cubicBezTo>
                  <a:cubicBezTo>
                    <a:pt x="128" y="245"/>
                    <a:pt x="128" y="245"/>
                    <a:pt x="128" y="245"/>
                  </a:cubicBezTo>
                  <a:cubicBezTo>
                    <a:pt x="128" y="251"/>
                    <a:pt x="124" y="256"/>
                    <a:pt x="118" y="256"/>
                  </a:cubicBezTo>
                  <a:cubicBezTo>
                    <a:pt x="112" y="256"/>
                    <a:pt x="107" y="251"/>
                    <a:pt x="107" y="245"/>
                  </a:cubicBezTo>
                  <a:cubicBezTo>
                    <a:pt x="107" y="202"/>
                    <a:pt x="107" y="202"/>
                    <a:pt x="107" y="202"/>
                  </a:cubicBezTo>
                  <a:cubicBezTo>
                    <a:pt x="64" y="202"/>
                    <a:pt x="64" y="202"/>
                    <a:pt x="64" y="202"/>
                  </a:cubicBezTo>
                  <a:cubicBezTo>
                    <a:pt x="58" y="202"/>
                    <a:pt x="54" y="198"/>
                    <a:pt x="54" y="192"/>
                  </a:cubicBezTo>
                  <a:cubicBezTo>
                    <a:pt x="54" y="186"/>
                    <a:pt x="58" y="181"/>
                    <a:pt x="64" y="181"/>
                  </a:cubicBezTo>
                  <a:cubicBezTo>
                    <a:pt x="107" y="181"/>
                    <a:pt x="107" y="181"/>
                    <a:pt x="107" y="181"/>
                  </a:cubicBezTo>
                  <a:cubicBezTo>
                    <a:pt x="107" y="138"/>
                    <a:pt x="107" y="138"/>
                    <a:pt x="107" y="138"/>
                  </a:cubicBezTo>
                  <a:cubicBezTo>
                    <a:pt x="107" y="132"/>
                    <a:pt x="112" y="128"/>
                    <a:pt x="118" y="128"/>
                  </a:cubicBezTo>
                  <a:cubicBezTo>
                    <a:pt x="124" y="128"/>
                    <a:pt x="128" y="132"/>
                    <a:pt x="128" y="138"/>
                  </a:cubicBezTo>
                  <a:lnTo>
                    <a:pt x="128"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72" name="Group 710">
            <a:extLst>
              <a:ext uri="{FF2B5EF4-FFF2-40B4-BE49-F238E27FC236}">
                <a16:creationId xmlns:a16="http://schemas.microsoft.com/office/drawing/2014/main" id="{2616AC50-A73E-4CF9-A30B-8408B1E20B6A}"/>
              </a:ext>
            </a:extLst>
          </p:cNvPr>
          <p:cNvGrpSpPr>
            <a:grpSpLocks noChangeAspect="1"/>
          </p:cNvGrpSpPr>
          <p:nvPr/>
        </p:nvGrpSpPr>
        <p:grpSpPr bwMode="auto">
          <a:xfrm>
            <a:off x="8317716" y="2532035"/>
            <a:ext cx="367631" cy="368712"/>
            <a:chOff x="2394" y="2789"/>
            <a:chExt cx="340" cy="341"/>
          </a:xfrm>
          <a:solidFill>
            <a:schemeClr val="accent2"/>
          </a:solidFill>
        </p:grpSpPr>
        <p:sp>
          <p:nvSpPr>
            <p:cNvPr id="473" name="Freeform 711">
              <a:extLst>
                <a:ext uri="{FF2B5EF4-FFF2-40B4-BE49-F238E27FC236}">
                  <a16:creationId xmlns:a16="http://schemas.microsoft.com/office/drawing/2014/main" id="{6EEE3EAA-4A5F-449B-A9AD-F8F4C3854922}"/>
                </a:ext>
              </a:extLst>
            </p:cNvPr>
            <p:cNvSpPr>
              <a:spLocks/>
            </p:cNvSpPr>
            <p:nvPr/>
          </p:nvSpPr>
          <p:spPr bwMode="auto">
            <a:xfrm>
              <a:off x="2500" y="2867"/>
              <a:ext cx="128" cy="64"/>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4" name="Freeform 712">
              <a:extLst>
                <a:ext uri="{FF2B5EF4-FFF2-40B4-BE49-F238E27FC236}">
                  <a16:creationId xmlns:a16="http://schemas.microsoft.com/office/drawing/2014/main" id="{16FFC5AB-EC91-4C40-9204-EFD87A68CC8C}"/>
                </a:ext>
              </a:extLst>
            </p:cNvPr>
            <p:cNvSpPr>
              <a:spLocks/>
            </p:cNvSpPr>
            <p:nvPr/>
          </p:nvSpPr>
          <p:spPr bwMode="auto">
            <a:xfrm>
              <a:off x="2510" y="2968"/>
              <a:ext cx="13" cy="15"/>
            </a:xfrm>
            <a:custGeom>
              <a:avLst/>
              <a:gdLst>
                <a:gd name="T0" fmla="*/ 17 w 20"/>
                <a:gd name="T1" fmla="*/ 19 h 22"/>
                <a:gd name="T2" fmla="*/ 20 w 20"/>
                <a:gd name="T3" fmla="*/ 11 h 22"/>
                <a:gd name="T4" fmla="*/ 17 w 20"/>
                <a:gd name="T5" fmla="*/ 2 h 22"/>
                <a:gd name="T6" fmla="*/ 8 w 20"/>
                <a:gd name="T7" fmla="*/ 0 h 22"/>
                <a:gd name="T8" fmla="*/ 0 w 20"/>
                <a:gd name="T9" fmla="*/ 0 h 22"/>
                <a:gd name="T10" fmla="*/ 0 w 20"/>
                <a:gd name="T11" fmla="*/ 22 h 22"/>
                <a:gd name="T12" fmla="*/ 6 w 20"/>
                <a:gd name="T13" fmla="*/ 22 h 22"/>
                <a:gd name="T14" fmla="*/ 17 w 20"/>
                <a:gd name="T15" fmla="*/ 1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2">
                  <a:moveTo>
                    <a:pt x="17" y="19"/>
                  </a:moveTo>
                  <a:cubicBezTo>
                    <a:pt x="19" y="17"/>
                    <a:pt x="20" y="14"/>
                    <a:pt x="20" y="11"/>
                  </a:cubicBezTo>
                  <a:cubicBezTo>
                    <a:pt x="20" y="7"/>
                    <a:pt x="19" y="4"/>
                    <a:pt x="17" y="2"/>
                  </a:cubicBezTo>
                  <a:cubicBezTo>
                    <a:pt x="15" y="1"/>
                    <a:pt x="12" y="0"/>
                    <a:pt x="8" y="0"/>
                  </a:cubicBezTo>
                  <a:cubicBezTo>
                    <a:pt x="0" y="0"/>
                    <a:pt x="0" y="0"/>
                    <a:pt x="0" y="0"/>
                  </a:cubicBezTo>
                  <a:cubicBezTo>
                    <a:pt x="0" y="22"/>
                    <a:pt x="0" y="22"/>
                    <a:pt x="0" y="22"/>
                  </a:cubicBezTo>
                  <a:cubicBezTo>
                    <a:pt x="6" y="22"/>
                    <a:pt x="6" y="22"/>
                    <a:pt x="6" y="22"/>
                  </a:cubicBezTo>
                  <a:cubicBezTo>
                    <a:pt x="11" y="22"/>
                    <a:pt x="14" y="21"/>
                    <a:pt x="17"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5" name="Rectangle 713">
              <a:extLst>
                <a:ext uri="{FF2B5EF4-FFF2-40B4-BE49-F238E27FC236}">
                  <a16:creationId xmlns:a16="http://schemas.microsoft.com/office/drawing/2014/main" id="{E8AC913F-DCC2-4991-8511-E370894BEFC2}"/>
                </a:ext>
              </a:extLst>
            </p:cNvPr>
            <p:cNvSpPr>
              <a:spLocks noChangeArrowheads="1"/>
            </p:cNvSpPr>
            <p:nvPr/>
          </p:nvSpPr>
          <p:spPr bwMode="auto">
            <a:xfrm>
              <a:off x="2500" y="3037"/>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6" name="Freeform 714">
              <a:extLst>
                <a:ext uri="{FF2B5EF4-FFF2-40B4-BE49-F238E27FC236}">
                  <a16:creationId xmlns:a16="http://schemas.microsoft.com/office/drawing/2014/main" id="{D62C23ED-DBB2-4DED-9B1B-1B3A84C9D002}"/>
                </a:ext>
              </a:extLst>
            </p:cNvPr>
            <p:cNvSpPr>
              <a:spLocks/>
            </p:cNvSpPr>
            <p:nvPr/>
          </p:nvSpPr>
          <p:spPr bwMode="auto">
            <a:xfrm>
              <a:off x="2553" y="2968"/>
              <a:ext cx="19" cy="32"/>
            </a:xfrm>
            <a:custGeom>
              <a:avLst/>
              <a:gdLst>
                <a:gd name="T0" fmla="*/ 29 w 29"/>
                <a:gd name="T1" fmla="*/ 24 h 48"/>
                <a:gd name="T2" fmla="*/ 8 w 29"/>
                <a:gd name="T3" fmla="*/ 0 h 48"/>
                <a:gd name="T4" fmla="*/ 0 w 29"/>
                <a:gd name="T5" fmla="*/ 0 h 48"/>
                <a:gd name="T6" fmla="*/ 0 w 29"/>
                <a:gd name="T7" fmla="*/ 48 h 48"/>
                <a:gd name="T8" fmla="*/ 6 w 29"/>
                <a:gd name="T9" fmla="*/ 48 h 48"/>
                <a:gd name="T10" fmla="*/ 29 w 29"/>
                <a:gd name="T11" fmla="*/ 24 h 48"/>
              </a:gdLst>
              <a:ahLst/>
              <a:cxnLst>
                <a:cxn ang="0">
                  <a:pos x="T0" y="T1"/>
                </a:cxn>
                <a:cxn ang="0">
                  <a:pos x="T2" y="T3"/>
                </a:cxn>
                <a:cxn ang="0">
                  <a:pos x="T4" y="T5"/>
                </a:cxn>
                <a:cxn ang="0">
                  <a:pos x="T6" y="T7"/>
                </a:cxn>
                <a:cxn ang="0">
                  <a:pos x="T8" y="T9"/>
                </a:cxn>
                <a:cxn ang="0">
                  <a:pos x="T10" y="T11"/>
                </a:cxn>
              </a:cxnLst>
              <a:rect l="0" t="0" r="r" b="b"/>
              <a:pathLst>
                <a:path w="29" h="48">
                  <a:moveTo>
                    <a:pt x="29" y="24"/>
                  </a:moveTo>
                  <a:cubicBezTo>
                    <a:pt x="29" y="8"/>
                    <a:pt x="22" y="0"/>
                    <a:pt x="8" y="0"/>
                  </a:cubicBezTo>
                  <a:cubicBezTo>
                    <a:pt x="0" y="0"/>
                    <a:pt x="0" y="0"/>
                    <a:pt x="0" y="0"/>
                  </a:cubicBezTo>
                  <a:cubicBezTo>
                    <a:pt x="0" y="48"/>
                    <a:pt x="0" y="48"/>
                    <a:pt x="0" y="48"/>
                  </a:cubicBezTo>
                  <a:cubicBezTo>
                    <a:pt x="6" y="48"/>
                    <a:pt x="6" y="48"/>
                    <a:pt x="6" y="48"/>
                  </a:cubicBezTo>
                  <a:cubicBezTo>
                    <a:pt x="22" y="48"/>
                    <a:pt x="29" y="40"/>
                    <a:pt x="29"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7" name="Freeform 715">
              <a:extLst>
                <a:ext uri="{FF2B5EF4-FFF2-40B4-BE49-F238E27FC236}">
                  <a16:creationId xmlns:a16="http://schemas.microsoft.com/office/drawing/2014/main" id="{56166320-5EC4-44F9-B46B-0AC1649E2D61}"/>
                </a:ext>
              </a:extLst>
            </p:cNvPr>
            <p:cNvSpPr>
              <a:spLocks noEditPoints="1"/>
            </p:cNvSpPr>
            <p:nvPr/>
          </p:nvSpPr>
          <p:spPr bwMode="auto">
            <a:xfrm>
              <a:off x="2394" y="2789"/>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394 w 512"/>
                <a:gd name="T13" fmla="*/ 373 h 512"/>
                <a:gd name="T14" fmla="*/ 373 w 512"/>
                <a:gd name="T15" fmla="*/ 373 h 512"/>
                <a:gd name="T16" fmla="*/ 373 w 512"/>
                <a:gd name="T17" fmla="*/ 405 h 512"/>
                <a:gd name="T18" fmla="*/ 362 w 512"/>
                <a:gd name="T19" fmla="*/ 416 h 512"/>
                <a:gd name="T20" fmla="*/ 149 w 512"/>
                <a:gd name="T21" fmla="*/ 416 h 512"/>
                <a:gd name="T22" fmla="*/ 138 w 512"/>
                <a:gd name="T23" fmla="*/ 405 h 512"/>
                <a:gd name="T24" fmla="*/ 138 w 512"/>
                <a:gd name="T25" fmla="*/ 373 h 512"/>
                <a:gd name="T26" fmla="*/ 117 w 512"/>
                <a:gd name="T27" fmla="*/ 373 h 512"/>
                <a:gd name="T28" fmla="*/ 106 w 512"/>
                <a:gd name="T29" fmla="*/ 362 h 512"/>
                <a:gd name="T30" fmla="*/ 106 w 512"/>
                <a:gd name="T31" fmla="*/ 224 h 512"/>
                <a:gd name="T32" fmla="*/ 117 w 512"/>
                <a:gd name="T33" fmla="*/ 213 h 512"/>
                <a:gd name="T34" fmla="*/ 138 w 512"/>
                <a:gd name="T35" fmla="*/ 213 h 512"/>
                <a:gd name="T36" fmla="*/ 138 w 512"/>
                <a:gd name="T37" fmla="*/ 106 h 512"/>
                <a:gd name="T38" fmla="*/ 149 w 512"/>
                <a:gd name="T39" fmla="*/ 96 h 512"/>
                <a:gd name="T40" fmla="*/ 288 w 512"/>
                <a:gd name="T41" fmla="*/ 96 h 512"/>
                <a:gd name="T42" fmla="*/ 292 w 512"/>
                <a:gd name="T43" fmla="*/ 96 h 512"/>
                <a:gd name="T44" fmla="*/ 295 w 512"/>
                <a:gd name="T45" fmla="*/ 99 h 512"/>
                <a:gd name="T46" fmla="*/ 370 w 512"/>
                <a:gd name="T47" fmla="*/ 173 h 512"/>
                <a:gd name="T48" fmla="*/ 372 w 512"/>
                <a:gd name="T49" fmla="*/ 177 h 512"/>
                <a:gd name="T50" fmla="*/ 373 w 512"/>
                <a:gd name="T51" fmla="*/ 181 h 512"/>
                <a:gd name="T52" fmla="*/ 373 w 512"/>
                <a:gd name="T53" fmla="*/ 213 h 512"/>
                <a:gd name="T54" fmla="*/ 394 w 512"/>
                <a:gd name="T55" fmla="*/ 213 h 512"/>
                <a:gd name="T56" fmla="*/ 405 w 512"/>
                <a:gd name="T57" fmla="*/ 224 h 512"/>
                <a:gd name="T58" fmla="*/ 405 w 512"/>
                <a:gd name="T5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405" y="368"/>
                    <a:pt x="400" y="373"/>
                    <a:pt x="394" y="373"/>
                  </a:cubicBezTo>
                  <a:cubicBezTo>
                    <a:pt x="373" y="373"/>
                    <a:pt x="373" y="373"/>
                    <a:pt x="373" y="373"/>
                  </a:cubicBez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373"/>
                    <a:pt x="138" y="373"/>
                    <a:pt x="138" y="373"/>
                  </a:cubicBezTo>
                  <a:cubicBezTo>
                    <a:pt x="117" y="373"/>
                    <a:pt x="117" y="373"/>
                    <a:pt x="117" y="373"/>
                  </a:cubicBezTo>
                  <a:cubicBezTo>
                    <a:pt x="111" y="373"/>
                    <a:pt x="106" y="368"/>
                    <a:pt x="106" y="362"/>
                  </a:cubicBezTo>
                  <a:cubicBezTo>
                    <a:pt x="106" y="224"/>
                    <a:pt x="106" y="224"/>
                    <a:pt x="106" y="224"/>
                  </a:cubicBezTo>
                  <a:cubicBezTo>
                    <a:pt x="106" y="218"/>
                    <a:pt x="111" y="213"/>
                    <a:pt x="117" y="213"/>
                  </a:cubicBezTo>
                  <a:cubicBezTo>
                    <a:pt x="138" y="213"/>
                    <a:pt x="138" y="213"/>
                    <a:pt x="138" y="213"/>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cubicBezTo>
                    <a:pt x="373" y="213"/>
                    <a:pt x="373" y="213"/>
                    <a:pt x="373" y="213"/>
                  </a:cubicBezTo>
                  <a:cubicBezTo>
                    <a:pt x="394" y="213"/>
                    <a:pt x="394" y="213"/>
                    <a:pt x="394" y="213"/>
                  </a:cubicBezTo>
                  <a:cubicBezTo>
                    <a:pt x="400" y="213"/>
                    <a:pt x="405" y="218"/>
                    <a:pt x="405" y="224"/>
                  </a:cubicBezTo>
                  <a:lnTo>
                    <a:pt x="405"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8" name="Freeform 716">
              <a:extLst>
                <a:ext uri="{FF2B5EF4-FFF2-40B4-BE49-F238E27FC236}">
                  <a16:creationId xmlns:a16="http://schemas.microsoft.com/office/drawing/2014/main" id="{3735A3B5-2430-4B51-A6FE-5A35D8D0E02A}"/>
                </a:ext>
              </a:extLst>
            </p:cNvPr>
            <p:cNvSpPr>
              <a:spLocks noEditPoints="1"/>
            </p:cNvSpPr>
            <p:nvPr/>
          </p:nvSpPr>
          <p:spPr bwMode="auto">
            <a:xfrm>
              <a:off x="2479" y="2945"/>
              <a:ext cx="170" cy="78"/>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69 w 256"/>
                <a:gd name="T11" fmla="*/ 22 h 118"/>
                <a:gd name="T12" fmla="*/ 212 w 256"/>
                <a:gd name="T13" fmla="*/ 22 h 118"/>
                <a:gd name="T14" fmla="*/ 212 w 256"/>
                <a:gd name="T15" fmla="*/ 35 h 118"/>
                <a:gd name="T16" fmla="*/ 185 w 256"/>
                <a:gd name="T17" fmla="*/ 35 h 118"/>
                <a:gd name="T18" fmla="*/ 185 w 256"/>
                <a:gd name="T19" fmla="*/ 54 h 118"/>
                <a:gd name="T20" fmla="*/ 210 w 256"/>
                <a:gd name="T21" fmla="*/ 54 h 118"/>
                <a:gd name="T22" fmla="*/ 210 w 256"/>
                <a:gd name="T23" fmla="*/ 67 h 118"/>
                <a:gd name="T24" fmla="*/ 185 w 256"/>
                <a:gd name="T25" fmla="*/ 67 h 118"/>
                <a:gd name="T26" fmla="*/ 185 w 256"/>
                <a:gd name="T27" fmla="*/ 96 h 118"/>
                <a:gd name="T28" fmla="*/ 169 w 256"/>
                <a:gd name="T29" fmla="*/ 96 h 118"/>
                <a:gd name="T30" fmla="*/ 169 w 256"/>
                <a:gd name="T31" fmla="*/ 22 h 118"/>
                <a:gd name="T32" fmla="*/ 95 w 256"/>
                <a:gd name="T33" fmla="*/ 22 h 118"/>
                <a:gd name="T34" fmla="*/ 118 w 256"/>
                <a:gd name="T35" fmla="*/ 22 h 118"/>
                <a:gd name="T36" fmla="*/ 147 w 256"/>
                <a:gd name="T37" fmla="*/ 31 h 118"/>
                <a:gd name="T38" fmla="*/ 157 w 256"/>
                <a:gd name="T39" fmla="*/ 58 h 118"/>
                <a:gd name="T40" fmla="*/ 146 w 256"/>
                <a:gd name="T41" fmla="*/ 87 h 118"/>
                <a:gd name="T42" fmla="*/ 116 w 256"/>
                <a:gd name="T43" fmla="*/ 96 h 118"/>
                <a:gd name="T44" fmla="*/ 95 w 256"/>
                <a:gd name="T45" fmla="*/ 96 h 118"/>
                <a:gd name="T46" fmla="*/ 95 w 256"/>
                <a:gd name="T47" fmla="*/ 22 h 118"/>
                <a:gd name="T48" fmla="*/ 32 w 256"/>
                <a:gd name="T49" fmla="*/ 22 h 118"/>
                <a:gd name="T50" fmla="*/ 56 w 256"/>
                <a:gd name="T51" fmla="*/ 22 h 118"/>
                <a:gd name="T52" fmla="*/ 76 w 256"/>
                <a:gd name="T53" fmla="*/ 28 h 118"/>
                <a:gd name="T54" fmla="*/ 83 w 256"/>
                <a:gd name="T55" fmla="*/ 45 h 118"/>
                <a:gd name="T56" fmla="*/ 76 w 256"/>
                <a:gd name="T57" fmla="*/ 63 h 118"/>
                <a:gd name="T58" fmla="*/ 54 w 256"/>
                <a:gd name="T59" fmla="*/ 70 h 118"/>
                <a:gd name="T60" fmla="*/ 47 w 256"/>
                <a:gd name="T61" fmla="*/ 70 h 118"/>
                <a:gd name="T62" fmla="*/ 47 w 256"/>
                <a:gd name="T63" fmla="*/ 96 h 118"/>
                <a:gd name="T64" fmla="*/ 32 w 256"/>
                <a:gd name="T65" fmla="*/ 96 h 118"/>
                <a:gd name="T66" fmla="*/ 32 w 256"/>
                <a:gd name="T67"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69" y="22"/>
                  </a:moveTo>
                  <a:cubicBezTo>
                    <a:pt x="212" y="22"/>
                    <a:pt x="212" y="22"/>
                    <a:pt x="212" y="22"/>
                  </a:cubicBezTo>
                  <a:cubicBezTo>
                    <a:pt x="212" y="35"/>
                    <a:pt x="212" y="35"/>
                    <a:pt x="212" y="35"/>
                  </a:cubicBezTo>
                  <a:cubicBezTo>
                    <a:pt x="185" y="35"/>
                    <a:pt x="185" y="35"/>
                    <a:pt x="185" y="35"/>
                  </a:cubicBezTo>
                  <a:cubicBezTo>
                    <a:pt x="185" y="54"/>
                    <a:pt x="185" y="54"/>
                    <a:pt x="185" y="54"/>
                  </a:cubicBezTo>
                  <a:cubicBezTo>
                    <a:pt x="210" y="54"/>
                    <a:pt x="210" y="54"/>
                    <a:pt x="210" y="54"/>
                  </a:cubicBezTo>
                  <a:cubicBezTo>
                    <a:pt x="210" y="67"/>
                    <a:pt x="210" y="67"/>
                    <a:pt x="210" y="67"/>
                  </a:cubicBezTo>
                  <a:cubicBezTo>
                    <a:pt x="185" y="67"/>
                    <a:pt x="185" y="67"/>
                    <a:pt x="185" y="67"/>
                  </a:cubicBezTo>
                  <a:cubicBezTo>
                    <a:pt x="185" y="96"/>
                    <a:pt x="185" y="96"/>
                    <a:pt x="185" y="96"/>
                  </a:cubicBezTo>
                  <a:cubicBezTo>
                    <a:pt x="169" y="96"/>
                    <a:pt x="169" y="96"/>
                    <a:pt x="169" y="96"/>
                  </a:cubicBezTo>
                  <a:lnTo>
                    <a:pt x="169" y="22"/>
                  </a:lnTo>
                  <a:close/>
                  <a:moveTo>
                    <a:pt x="95" y="22"/>
                  </a:moveTo>
                  <a:cubicBezTo>
                    <a:pt x="118" y="22"/>
                    <a:pt x="118" y="22"/>
                    <a:pt x="118" y="22"/>
                  </a:cubicBezTo>
                  <a:cubicBezTo>
                    <a:pt x="130" y="22"/>
                    <a:pt x="140" y="25"/>
                    <a:pt x="147" y="31"/>
                  </a:cubicBezTo>
                  <a:cubicBezTo>
                    <a:pt x="153" y="38"/>
                    <a:pt x="157" y="47"/>
                    <a:pt x="157" y="58"/>
                  </a:cubicBezTo>
                  <a:cubicBezTo>
                    <a:pt x="157" y="71"/>
                    <a:pt x="153" y="80"/>
                    <a:pt x="146" y="87"/>
                  </a:cubicBezTo>
                  <a:cubicBezTo>
                    <a:pt x="139" y="93"/>
                    <a:pt x="129" y="96"/>
                    <a:pt x="116" y="96"/>
                  </a:cubicBezTo>
                  <a:cubicBezTo>
                    <a:pt x="95" y="96"/>
                    <a:pt x="95" y="96"/>
                    <a:pt x="95" y="96"/>
                  </a:cubicBezTo>
                  <a:lnTo>
                    <a:pt x="95" y="22"/>
                  </a:lnTo>
                  <a:close/>
                  <a:moveTo>
                    <a:pt x="32" y="22"/>
                  </a:moveTo>
                  <a:cubicBezTo>
                    <a:pt x="56" y="22"/>
                    <a:pt x="56" y="22"/>
                    <a:pt x="56" y="22"/>
                  </a:cubicBezTo>
                  <a:cubicBezTo>
                    <a:pt x="65" y="22"/>
                    <a:pt x="71" y="24"/>
                    <a:pt x="76" y="28"/>
                  </a:cubicBezTo>
                  <a:cubicBezTo>
                    <a:pt x="81" y="31"/>
                    <a:pt x="83" y="37"/>
                    <a:pt x="83" y="45"/>
                  </a:cubicBezTo>
                  <a:cubicBezTo>
                    <a:pt x="83" y="53"/>
                    <a:pt x="81" y="59"/>
                    <a:pt x="76" y="63"/>
                  </a:cubicBezTo>
                  <a:cubicBezTo>
                    <a:pt x="71" y="68"/>
                    <a:pt x="64" y="70"/>
                    <a:pt x="54" y="70"/>
                  </a:cubicBezTo>
                  <a:cubicBezTo>
                    <a:pt x="47" y="70"/>
                    <a:pt x="47" y="70"/>
                    <a:pt x="47" y="70"/>
                  </a:cubicBezTo>
                  <a:cubicBezTo>
                    <a:pt x="47" y="96"/>
                    <a:pt x="47" y="96"/>
                    <a:pt x="47" y="96"/>
                  </a:cubicBezTo>
                  <a:cubicBezTo>
                    <a:pt x="32" y="96"/>
                    <a:pt x="32" y="96"/>
                    <a:pt x="32" y="96"/>
                  </a:cubicBezTo>
                  <a:lnTo>
                    <a:pt x="32"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9" name="Freeform 717">
              <a:extLst>
                <a:ext uri="{FF2B5EF4-FFF2-40B4-BE49-F238E27FC236}">
                  <a16:creationId xmlns:a16="http://schemas.microsoft.com/office/drawing/2014/main" id="{6929EB15-7EED-4B05-B82D-E16B0217CD42}"/>
                </a:ext>
              </a:extLst>
            </p:cNvPr>
            <p:cNvSpPr>
              <a:spLocks/>
            </p:cNvSpPr>
            <p:nvPr/>
          </p:nvSpPr>
          <p:spPr bwMode="auto">
            <a:xfrm>
              <a:off x="2592" y="2877"/>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0" name="Group 720">
            <a:extLst>
              <a:ext uri="{FF2B5EF4-FFF2-40B4-BE49-F238E27FC236}">
                <a16:creationId xmlns:a16="http://schemas.microsoft.com/office/drawing/2014/main" id="{C8B72BF6-3758-4918-993A-9F6FCE97F8BD}"/>
              </a:ext>
            </a:extLst>
          </p:cNvPr>
          <p:cNvGrpSpPr>
            <a:grpSpLocks noChangeAspect="1"/>
          </p:cNvGrpSpPr>
          <p:nvPr/>
        </p:nvGrpSpPr>
        <p:grpSpPr bwMode="auto">
          <a:xfrm>
            <a:off x="8752497" y="2532035"/>
            <a:ext cx="368712" cy="368712"/>
            <a:chOff x="2731" y="2789"/>
            <a:chExt cx="341" cy="341"/>
          </a:xfrm>
          <a:solidFill>
            <a:schemeClr val="accent2"/>
          </a:solidFill>
        </p:grpSpPr>
        <p:sp>
          <p:nvSpPr>
            <p:cNvPr id="481" name="Freeform 721">
              <a:extLst>
                <a:ext uri="{FF2B5EF4-FFF2-40B4-BE49-F238E27FC236}">
                  <a16:creationId xmlns:a16="http://schemas.microsoft.com/office/drawing/2014/main" id="{52E2F426-EB03-4CFD-8C41-B5AD1A518C66}"/>
                </a:ext>
              </a:extLst>
            </p:cNvPr>
            <p:cNvSpPr>
              <a:spLocks noEditPoints="1"/>
            </p:cNvSpPr>
            <p:nvPr/>
          </p:nvSpPr>
          <p:spPr bwMode="auto">
            <a:xfrm>
              <a:off x="2731" y="2789"/>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2" name="Freeform 722">
              <a:extLst>
                <a:ext uri="{FF2B5EF4-FFF2-40B4-BE49-F238E27FC236}">
                  <a16:creationId xmlns:a16="http://schemas.microsoft.com/office/drawing/2014/main" id="{F912C468-0109-468C-9B88-7E54F3880CD8}"/>
                </a:ext>
              </a:extLst>
            </p:cNvPr>
            <p:cNvSpPr>
              <a:spLocks noEditPoints="1"/>
            </p:cNvSpPr>
            <p:nvPr/>
          </p:nvSpPr>
          <p:spPr bwMode="auto">
            <a:xfrm>
              <a:off x="2802" y="2853"/>
              <a:ext cx="199" cy="213"/>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168 w 299"/>
                <a:gd name="T47" fmla="*/ 225 h 320"/>
                <a:gd name="T48" fmla="*/ 169 w 299"/>
                <a:gd name="T49" fmla="*/ 169 h 320"/>
                <a:gd name="T50" fmla="*/ 117 w 299"/>
                <a:gd name="T51" fmla="*/ 160 h 320"/>
                <a:gd name="T52" fmla="*/ 138 w 299"/>
                <a:gd name="T53" fmla="*/ 234 h 320"/>
                <a:gd name="T54" fmla="*/ 133 w 299"/>
                <a:gd name="T55" fmla="*/ 173 h 320"/>
                <a:gd name="T56" fmla="*/ 162 w 299"/>
                <a:gd name="T57" fmla="*/ 197 h 320"/>
                <a:gd name="T58" fmla="*/ 133 w 299"/>
                <a:gd name="T59" fmla="*/ 221 h 320"/>
                <a:gd name="T60" fmla="*/ 69 w 299"/>
                <a:gd name="T61" fmla="*/ 208 h 320"/>
                <a:gd name="T62" fmla="*/ 98 w 299"/>
                <a:gd name="T63" fmla="*/ 201 h 320"/>
                <a:gd name="T64" fmla="*/ 98 w 299"/>
                <a:gd name="T65" fmla="*/ 166 h 320"/>
                <a:gd name="T66" fmla="*/ 54 w 299"/>
                <a:gd name="T67" fmla="*/ 160 h 320"/>
                <a:gd name="T68" fmla="*/ 69 w 299"/>
                <a:gd name="T69" fmla="*/ 234 h 320"/>
                <a:gd name="T70" fmla="*/ 69 w 299"/>
                <a:gd name="T71" fmla="*/ 173 h 320"/>
                <a:gd name="T72" fmla="*/ 86 w 299"/>
                <a:gd name="T73" fmla="*/ 175 h 320"/>
                <a:gd name="T74" fmla="*/ 86 w 299"/>
                <a:gd name="T75" fmla="*/ 192 h 320"/>
                <a:gd name="T76" fmla="*/ 69 w 299"/>
                <a:gd name="T77" fmla="*/ 195 h 320"/>
                <a:gd name="T78" fmla="*/ 207 w 299"/>
                <a:gd name="T79" fmla="*/ 234 h 320"/>
                <a:gd name="T80" fmla="*/ 191 w 299"/>
                <a:gd name="T81" fmla="*/ 160 h 320"/>
                <a:gd name="T82" fmla="*/ 234 w 299"/>
                <a:gd name="T83" fmla="*/ 173 h 320"/>
                <a:gd name="T84" fmla="*/ 207 w 299"/>
                <a:gd name="T85" fmla="*/ 192 h 320"/>
                <a:gd name="T86" fmla="*/ 232 w 299"/>
                <a:gd name="T87" fmla="*/ 205 h 320"/>
                <a:gd name="T88" fmla="*/ 207 w 299"/>
                <a:gd name="T89"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168" y="225"/>
                  </a:moveTo>
                  <a:cubicBezTo>
                    <a:pt x="175" y="218"/>
                    <a:pt x="179" y="209"/>
                    <a:pt x="179" y="196"/>
                  </a:cubicBezTo>
                  <a:cubicBezTo>
                    <a:pt x="179" y="185"/>
                    <a:pt x="175" y="176"/>
                    <a:pt x="169" y="169"/>
                  </a:cubicBezTo>
                  <a:cubicBezTo>
                    <a:pt x="162" y="163"/>
                    <a:pt x="152" y="160"/>
                    <a:pt x="140" y="160"/>
                  </a:cubicBezTo>
                  <a:cubicBezTo>
                    <a:pt x="117" y="160"/>
                    <a:pt x="117" y="160"/>
                    <a:pt x="117" y="160"/>
                  </a:cubicBezTo>
                  <a:cubicBezTo>
                    <a:pt x="117" y="234"/>
                    <a:pt x="117" y="234"/>
                    <a:pt x="117" y="234"/>
                  </a:cubicBezTo>
                  <a:cubicBezTo>
                    <a:pt x="138" y="234"/>
                    <a:pt x="138" y="234"/>
                    <a:pt x="138" y="234"/>
                  </a:cubicBezTo>
                  <a:cubicBezTo>
                    <a:pt x="151" y="234"/>
                    <a:pt x="161" y="231"/>
                    <a:pt x="168" y="225"/>
                  </a:cubicBezTo>
                  <a:close/>
                  <a:moveTo>
                    <a:pt x="133" y="173"/>
                  </a:moveTo>
                  <a:cubicBezTo>
                    <a:pt x="141" y="173"/>
                    <a:pt x="141" y="173"/>
                    <a:pt x="141" y="173"/>
                  </a:cubicBezTo>
                  <a:cubicBezTo>
                    <a:pt x="155" y="173"/>
                    <a:pt x="162" y="181"/>
                    <a:pt x="162" y="197"/>
                  </a:cubicBezTo>
                  <a:cubicBezTo>
                    <a:pt x="162" y="213"/>
                    <a:pt x="155" y="221"/>
                    <a:pt x="139" y="221"/>
                  </a:cubicBezTo>
                  <a:cubicBezTo>
                    <a:pt x="133" y="221"/>
                    <a:pt x="133" y="221"/>
                    <a:pt x="133" y="221"/>
                  </a:cubicBezTo>
                  <a:lnTo>
                    <a:pt x="133" y="173"/>
                  </a:lnTo>
                  <a:close/>
                  <a:moveTo>
                    <a:pt x="69" y="208"/>
                  </a:moveTo>
                  <a:cubicBezTo>
                    <a:pt x="76" y="208"/>
                    <a:pt x="76" y="208"/>
                    <a:pt x="76" y="208"/>
                  </a:cubicBezTo>
                  <a:cubicBezTo>
                    <a:pt x="86" y="208"/>
                    <a:pt x="93" y="206"/>
                    <a:pt x="98" y="201"/>
                  </a:cubicBezTo>
                  <a:cubicBezTo>
                    <a:pt x="103" y="197"/>
                    <a:pt x="105" y="191"/>
                    <a:pt x="105" y="183"/>
                  </a:cubicBezTo>
                  <a:cubicBezTo>
                    <a:pt x="105" y="175"/>
                    <a:pt x="103" y="169"/>
                    <a:pt x="98" y="166"/>
                  </a:cubicBezTo>
                  <a:cubicBezTo>
                    <a:pt x="93" y="162"/>
                    <a:pt x="87" y="160"/>
                    <a:pt x="78" y="160"/>
                  </a:cubicBezTo>
                  <a:cubicBezTo>
                    <a:pt x="54" y="160"/>
                    <a:pt x="54" y="160"/>
                    <a:pt x="54" y="160"/>
                  </a:cubicBezTo>
                  <a:cubicBezTo>
                    <a:pt x="54" y="234"/>
                    <a:pt x="54" y="234"/>
                    <a:pt x="54" y="234"/>
                  </a:cubicBezTo>
                  <a:cubicBezTo>
                    <a:pt x="69" y="234"/>
                    <a:pt x="69" y="234"/>
                    <a:pt x="69" y="234"/>
                  </a:cubicBezTo>
                  <a:lnTo>
                    <a:pt x="69" y="208"/>
                  </a:lnTo>
                  <a:close/>
                  <a:moveTo>
                    <a:pt x="69" y="173"/>
                  </a:moveTo>
                  <a:cubicBezTo>
                    <a:pt x="77" y="173"/>
                    <a:pt x="77" y="173"/>
                    <a:pt x="77" y="173"/>
                  </a:cubicBezTo>
                  <a:cubicBezTo>
                    <a:pt x="81" y="173"/>
                    <a:pt x="84" y="174"/>
                    <a:pt x="86" y="175"/>
                  </a:cubicBezTo>
                  <a:cubicBezTo>
                    <a:pt x="88" y="177"/>
                    <a:pt x="89" y="180"/>
                    <a:pt x="89" y="184"/>
                  </a:cubicBezTo>
                  <a:cubicBezTo>
                    <a:pt x="89" y="187"/>
                    <a:pt x="88" y="190"/>
                    <a:pt x="86" y="192"/>
                  </a:cubicBezTo>
                  <a:cubicBezTo>
                    <a:pt x="83" y="194"/>
                    <a:pt x="80" y="195"/>
                    <a:pt x="75" y="195"/>
                  </a:cubicBezTo>
                  <a:cubicBezTo>
                    <a:pt x="69" y="195"/>
                    <a:pt x="69" y="195"/>
                    <a:pt x="69" y="195"/>
                  </a:cubicBezTo>
                  <a:lnTo>
                    <a:pt x="69" y="173"/>
                  </a:lnTo>
                  <a:close/>
                  <a:moveTo>
                    <a:pt x="207" y="234"/>
                  </a:moveTo>
                  <a:cubicBezTo>
                    <a:pt x="191" y="234"/>
                    <a:pt x="191" y="234"/>
                    <a:pt x="191" y="234"/>
                  </a:cubicBezTo>
                  <a:cubicBezTo>
                    <a:pt x="191" y="160"/>
                    <a:pt x="191" y="160"/>
                    <a:pt x="191" y="160"/>
                  </a:cubicBezTo>
                  <a:cubicBezTo>
                    <a:pt x="234" y="160"/>
                    <a:pt x="234" y="160"/>
                    <a:pt x="234" y="160"/>
                  </a:cubicBezTo>
                  <a:cubicBezTo>
                    <a:pt x="234" y="173"/>
                    <a:pt x="234" y="173"/>
                    <a:pt x="234" y="173"/>
                  </a:cubicBezTo>
                  <a:cubicBezTo>
                    <a:pt x="207" y="173"/>
                    <a:pt x="207" y="173"/>
                    <a:pt x="207" y="173"/>
                  </a:cubicBezTo>
                  <a:cubicBezTo>
                    <a:pt x="207" y="192"/>
                    <a:pt x="207" y="192"/>
                    <a:pt x="207" y="192"/>
                  </a:cubicBezTo>
                  <a:cubicBezTo>
                    <a:pt x="232" y="192"/>
                    <a:pt x="232" y="192"/>
                    <a:pt x="232" y="192"/>
                  </a:cubicBezTo>
                  <a:cubicBezTo>
                    <a:pt x="232" y="205"/>
                    <a:pt x="232" y="205"/>
                    <a:pt x="232" y="205"/>
                  </a:cubicBezTo>
                  <a:cubicBezTo>
                    <a:pt x="207" y="205"/>
                    <a:pt x="207" y="205"/>
                    <a:pt x="207" y="205"/>
                  </a:cubicBezTo>
                  <a:lnTo>
                    <a:pt x="207"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23" name="Freeform 726">
            <a:extLst>
              <a:ext uri="{FF2B5EF4-FFF2-40B4-BE49-F238E27FC236}">
                <a16:creationId xmlns:a16="http://schemas.microsoft.com/office/drawing/2014/main" id="{D4B33151-EBF3-4DD4-860F-54AB66400C36}"/>
              </a:ext>
            </a:extLst>
          </p:cNvPr>
          <p:cNvSpPr>
            <a:spLocks noChangeAspect="1" noEditPoints="1"/>
          </p:cNvSpPr>
          <p:nvPr/>
        </p:nvSpPr>
        <p:spPr bwMode="auto">
          <a:xfrm>
            <a:off x="9188359" y="2532035"/>
            <a:ext cx="367631" cy="368713"/>
          </a:xfrm>
          <a:custGeom>
            <a:avLst/>
            <a:gdLst>
              <a:gd name="T0" fmla="*/ 337 w 512"/>
              <a:gd name="T1" fmla="*/ 170 h 512"/>
              <a:gd name="T2" fmla="*/ 298 w 512"/>
              <a:gd name="T3" fmla="*/ 170 h 512"/>
              <a:gd name="T4" fmla="*/ 298 w 512"/>
              <a:gd name="T5" fmla="*/ 132 h 512"/>
              <a:gd name="T6" fmla="*/ 337 w 512"/>
              <a:gd name="T7" fmla="*/ 170 h 512"/>
              <a:gd name="T8" fmla="*/ 225 w 512"/>
              <a:gd name="T9" fmla="*/ 282 h 512"/>
              <a:gd name="T10" fmla="*/ 202 w 512"/>
              <a:gd name="T11" fmla="*/ 316 h 512"/>
              <a:gd name="T12" fmla="*/ 202 w 512"/>
              <a:gd name="T13" fmla="*/ 245 h 512"/>
              <a:gd name="T14" fmla="*/ 309 w 512"/>
              <a:gd name="T15" fmla="*/ 245 h 512"/>
              <a:gd name="T16" fmla="*/ 309 w 512"/>
              <a:gd name="T17" fmla="*/ 341 h 512"/>
              <a:gd name="T18" fmla="*/ 283 w 512"/>
              <a:gd name="T19" fmla="*/ 341 h 512"/>
              <a:gd name="T20" fmla="*/ 243 w 512"/>
              <a:gd name="T21" fmla="*/ 282 h 512"/>
              <a:gd name="T22" fmla="*/ 225 w 512"/>
              <a:gd name="T23" fmla="*/ 282 h 512"/>
              <a:gd name="T24" fmla="*/ 266 w 512"/>
              <a:gd name="T25" fmla="*/ 277 h 512"/>
              <a:gd name="T26" fmla="*/ 277 w 512"/>
              <a:gd name="T27" fmla="*/ 288 h 512"/>
              <a:gd name="T28" fmla="*/ 288 w 512"/>
              <a:gd name="T29" fmla="*/ 277 h 512"/>
              <a:gd name="T30" fmla="*/ 277 w 512"/>
              <a:gd name="T31" fmla="*/ 266 h 512"/>
              <a:gd name="T32" fmla="*/ 266 w 512"/>
              <a:gd name="T33" fmla="*/ 277 h 512"/>
              <a:gd name="T34" fmla="*/ 212 w 512"/>
              <a:gd name="T35" fmla="*/ 341 h 512"/>
              <a:gd name="T36" fmla="*/ 257 w 512"/>
              <a:gd name="T37" fmla="*/ 341 h 512"/>
              <a:gd name="T38" fmla="*/ 234 w 512"/>
              <a:gd name="T39" fmla="*/ 307 h 512"/>
              <a:gd name="T40" fmla="*/ 212 w 512"/>
              <a:gd name="T41" fmla="*/ 341 h 512"/>
              <a:gd name="T42" fmla="*/ 288 w 512"/>
              <a:gd name="T43" fmla="*/ 192 h 512"/>
              <a:gd name="T44" fmla="*/ 352 w 512"/>
              <a:gd name="T45" fmla="*/ 192 h 512"/>
              <a:gd name="T46" fmla="*/ 352 w 512"/>
              <a:gd name="T47" fmla="*/ 394 h 512"/>
              <a:gd name="T48" fmla="*/ 160 w 512"/>
              <a:gd name="T49" fmla="*/ 394 h 512"/>
              <a:gd name="T50" fmla="*/ 160 w 512"/>
              <a:gd name="T51" fmla="*/ 117 h 512"/>
              <a:gd name="T52" fmla="*/ 277 w 512"/>
              <a:gd name="T53" fmla="*/ 117 h 512"/>
              <a:gd name="T54" fmla="*/ 277 w 512"/>
              <a:gd name="T55" fmla="*/ 181 h 512"/>
              <a:gd name="T56" fmla="*/ 288 w 512"/>
              <a:gd name="T57" fmla="*/ 192 h 512"/>
              <a:gd name="T58" fmla="*/ 320 w 512"/>
              <a:gd name="T59" fmla="*/ 224 h 512"/>
              <a:gd name="T60" fmla="*/ 192 w 512"/>
              <a:gd name="T61" fmla="*/ 224 h 512"/>
              <a:gd name="T62" fmla="*/ 181 w 512"/>
              <a:gd name="T63" fmla="*/ 234 h 512"/>
              <a:gd name="T64" fmla="*/ 181 w 512"/>
              <a:gd name="T65" fmla="*/ 352 h 512"/>
              <a:gd name="T66" fmla="*/ 192 w 512"/>
              <a:gd name="T67" fmla="*/ 362 h 512"/>
              <a:gd name="T68" fmla="*/ 320 w 512"/>
              <a:gd name="T69" fmla="*/ 362 h 512"/>
              <a:gd name="T70" fmla="*/ 330 w 512"/>
              <a:gd name="T71" fmla="*/ 352 h 512"/>
              <a:gd name="T72" fmla="*/ 330 w 512"/>
              <a:gd name="T73" fmla="*/ 234 h 512"/>
              <a:gd name="T74" fmla="*/ 320 w 512"/>
              <a:gd name="T75" fmla="*/ 224 h 512"/>
              <a:gd name="T76" fmla="*/ 512 w 512"/>
              <a:gd name="T77" fmla="*/ 256 h 512"/>
              <a:gd name="T78" fmla="*/ 256 w 512"/>
              <a:gd name="T79" fmla="*/ 512 h 512"/>
              <a:gd name="T80" fmla="*/ 0 w 512"/>
              <a:gd name="T81" fmla="*/ 256 h 512"/>
              <a:gd name="T82" fmla="*/ 256 w 512"/>
              <a:gd name="T83" fmla="*/ 0 h 512"/>
              <a:gd name="T84" fmla="*/ 512 w 512"/>
              <a:gd name="T85" fmla="*/ 256 h 512"/>
              <a:gd name="T86" fmla="*/ 373 w 512"/>
              <a:gd name="T87" fmla="*/ 181 h 512"/>
              <a:gd name="T88" fmla="*/ 372 w 512"/>
              <a:gd name="T89" fmla="*/ 177 h 512"/>
              <a:gd name="T90" fmla="*/ 370 w 512"/>
              <a:gd name="T91" fmla="*/ 173 h 512"/>
              <a:gd name="T92" fmla="*/ 295 w 512"/>
              <a:gd name="T93" fmla="*/ 99 h 512"/>
              <a:gd name="T94" fmla="*/ 295 w 512"/>
              <a:gd name="T95" fmla="*/ 98 h 512"/>
              <a:gd name="T96" fmla="*/ 295 w 512"/>
              <a:gd name="T97" fmla="*/ 98 h 512"/>
              <a:gd name="T98" fmla="*/ 295 w 512"/>
              <a:gd name="T99" fmla="*/ 98 h 512"/>
              <a:gd name="T100" fmla="*/ 288 w 512"/>
              <a:gd name="T101" fmla="*/ 96 h 512"/>
              <a:gd name="T102" fmla="*/ 149 w 512"/>
              <a:gd name="T103" fmla="*/ 96 h 512"/>
              <a:gd name="T104" fmla="*/ 138 w 512"/>
              <a:gd name="T105" fmla="*/ 106 h 512"/>
              <a:gd name="T106" fmla="*/ 138 w 512"/>
              <a:gd name="T107" fmla="*/ 405 h 512"/>
              <a:gd name="T108" fmla="*/ 149 w 512"/>
              <a:gd name="T109" fmla="*/ 416 h 512"/>
              <a:gd name="T110" fmla="*/ 362 w 512"/>
              <a:gd name="T111" fmla="*/ 416 h 512"/>
              <a:gd name="T112" fmla="*/ 373 w 512"/>
              <a:gd name="T113" fmla="*/ 405 h 512"/>
              <a:gd name="T114" fmla="*/ 373 w 512"/>
              <a:gd name="T115" fmla="*/ 181 h 512"/>
              <a:gd name="T116" fmla="*/ 373 w 512"/>
              <a:gd name="T11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337" y="170"/>
                </a:moveTo>
                <a:cubicBezTo>
                  <a:pt x="298" y="170"/>
                  <a:pt x="298" y="170"/>
                  <a:pt x="298" y="170"/>
                </a:cubicBezTo>
                <a:cubicBezTo>
                  <a:pt x="298" y="132"/>
                  <a:pt x="298" y="132"/>
                  <a:pt x="298" y="132"/>
                </a:cubicBezTo>
                <a:lnTo>
                  <a:pt x="337" y="170"/>
                </a:lnTo>
                <a:close/>
                <a:moveTo>
                  <a:pt x="225" y="282"/>
                </a:moveTo>
                <a:cubicBezTo>
                  <a:pt x="202" y="316"/>
                  <a:pt x="202" y="316"/>
                  <a:pt x="202" y="316"/>
                </a:cubicBezTo>
                <a:cubicBezTo>
                  <a:pt x="202" y="245"/>
                  <a:pt x="202" y="245"/>
                  <a:pt x="202" y="245"/>
                </a:cubicBezTo>
                <a:cubicBezTo>
                  <a:pt x="309" y="245"/>
                  <a:pt x="309" y="245"/>
                  <a:pt x="309" y="245"/>
                </a:cubicBezTo>
                <a:cubicBezTo>
                  <a:pt x="309" y="341"/>
                  <a:pt x="309" y="341"/>
                  <a:pt x="309" y="341"/>
                </a:cubicBezTo>
                <a:cubicBezTo>
                  <a:pt x="283" y="341"/>
                  <a:pt x="283" y="341"/>
                  <a:pt x="283" y="341"/>
                </a:cubicBezTo>
                <a:cubicBezTo>
                  <a:pt x="243" y="282"/>
                  <a:pt x="243" y="282"/>
                  <a:pt x="243" y="282"/>
                </a:cubicBezTo>
                <a:cubicBezTo>
                  <a:pt x="239" y="276"/>
                  <a:pt x="229" y="276"/>
                  <a:pt x="225" y="282"/>
                </a:cubicBezTo>
                <a:close/>
                <a:moveTo>
                  <a:pt x="266" y="277"/>
                </a:moveTo>
                <a:cubicBezTo>
                  <a:pt x="266" y="283"/>
                  <a:pt x="271" y="288"/>
                  <a:pt x="277" y="288"/>
                </a:cubicBezTo>
                <a:cubicBezTo>
                  <a:pt x="283" y="288"/>
                  <a:pt x="288" y="283"/>
                  <a:pt x="288" y="277"/>
                </a:cubicBezTo>
                <a:cubicBezTo>
                  <a:pt x="288" y="271"/>
                  <a:pt x="283" y="266"/>
                  <a:pt x="277" y="266"/>
                </a:cubicBezTo>
                <a:cubicBezTo>
                  <a:pt x="271" y="266"/>
                  <a:pt x="266" y="271"/>
                  <a:pt x="266" y="277"/>
                </a:cubicBezTo>
                <a:close/>
                <a:moveTo>
                  <a:pt x="212" y="341"/>
                </a:moveTo>
                <a:cubicBezTo>
                  <a:pt x="257" y="341"/>
                  <a:pt x="257" y="341"/>
                  <a:pt x="257" y="341"/>
                </a:cubicBezTo>
                <a:cubicBezTo>
                  <a:pt x="234" y="307"/>
                  <a:pt x="234" y="307"/>
                  <a:pt x="234" y="307"/>
                </a:cubicBezTo>
                <a:lnTo>
                  <a:pt x="212" y="341"/>
                </a:lnTo>
                <a:close/>
                <a:moveTo>
                  <a:pt x="288" y="192"/>
                </a:moveTo>
                <a:cubicBezTo>
                  <a:pt x="352" y="192"/>
                  <a:pt x="352" y="192"/>
                  <a:pt x="352" y="192"/>
                </a:cubicBezTo>
                <a:cubicBezTo>
                  <a:pt x="352" y="394"/>
                  <a:pt x="352" y="394"/>
                  <a:pt x="352" y="394"/>
                </a:cubicBezTo>
                <a:cubicBezTo>
                  <a:pt x="160" y="394"/>
                  <a:pt x="160" y="394"/>
                  <a:pt x="160" y="394"/>
                </a:cubicBezTo>
                <a:cubicBezTo>
                  <a:pt x="160" y="117"/>
                  <a:pt x="160" y="117"/>
                  <a:pt x="160" y="117"/>
                </a:cubicBezTo>
                <a:cubicBezTo>
                  <a:pt x="277" y="117"/>
                  <a:pt x="277" y="117"/>
                  <a:pt x="277" y="117"/>
                </a:cubicBezTo>
                <a:cubicBezTo>
                  <a:pt x="277" y="181"/>
                  <a:pt x="277" y="181"/>
                  <a:pt x="277" y="181"/>
                </a:cubicBezTo>
                <a:cubicBezTo>
                  <a:pt x="277" y="187"/>
                  <a:pt x="282" y="192"/>
                  <a:pt x="288" y="192"/>
                </a:cubicBezTo>
                <a:close/>
                <a:moveTo>
                  <a:pt x="320" y="224"/>
                </a:moveTo>
                <a:cubicBezTo>
                  <a:pt x="192" y="224"/>
                  <a:pt x="192" y="224"/>
                  <a:pt x="192" y="224"/>
                </a:cubicBezTo>
                <a:cubicBezTo>
                  <a:pt x="186" y="224"/>
                  <a:pt x="181" y="228"/>
                  <a:pt x="181" y="234"/>
                </a:cubicBezTo>
                <a:cubicBezTo>
                  <a:pt x="181" y="352"/>
                  <a:pt x="181" y="352"/>
                  <a:pt x="181" y="352"/>
                </a:cubicBezTo>
                <a:cubicBezTo>
                  <a:pt x="181" y="358"/>
                  <a:pt x="186" y="362"/>
                  <a:pt x="192" y="362"/>
                </a:cubicBezTo>
                <a:cubicBezTo>
                  <a:pt x="320" y="362"/>
                  <a:pt x="320" y="362"/>
                  <a:pt x="320" y="362"/>
                </a:cubicBezTo>
                <a:cubicBezTo>
                  <a:pt x="326" y="362"/>
                  <a:pt x="330" y="358"/>
                  <a:pt x="330" y="352"/>
                </a:cubicBezTo>
                <a:cubicBezTo>
                  <a:pt x="330" y="234"/>
                  <a:pt x="330" y="234"/>
                  <a:pt x="330" y="234"/>
                </a:cubicBezTo>
                <a:cubicBezTo>
                  <a:pt x="330" y="228"/>
                  <a:pt x="326" y="224"/>
                  <a:pt x="320"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80"/>
                  <a:pt x="373" y="178"/>
                  <a:pt x="372" y="177"/>
                </a:cubicBezTo>
                <a:cubicBezTo>
                  <a:pt x="372" y="176"/>
                  <a:pt x="371" y="174"/>
                  <a:pt x="370" y="173"/>
                </a:cubicBezTo>
                <a:cubicBezTo>
                  <a:pt x="295" y="99"/>
                  <a:pt x="295" y="99"/>
                  <a:pt x="295" y="99"/>
                </a:cubicBezTo>
                <a:cubicBezTo>
                  <a:pt x="295" y="99"/>
                  <a:pt x="295" y="99"/>
                  <a:pt x="295" y="98"/>
                </a:cubicBezTo>
                <a:cubicBezTo>
                  <a:pt x="295" y="98"/>
                  <a:pt x="295" y="98"/>
                  <a:pt x="295" y="98"/>
                </a:cubicBezTo>
                <a:cubicBezTo>
                  <a:pt x="295" y="98"/>
                  <a:pt x="295" y="98"/>
                  <a:pt x="295" y="98"/>
                </a:cubicBezTo>
                <a:cubicBezTo>
                  <a:pt x="293" y="97"/>
                  <a:pt x="290" y="96"/>
                  <a:pt x="288"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81"/>
                  <a:pt x="373" y="181"/>
                  <a:pt x="373" y="181"/>
                </a:cubicBezTo>
                <a:cubicBezTo>
                  <a:pt x="373" y="181"/>
                  <a:pt x="373" y="181"/>
                  <a:pt x="373" y="18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24" name="Group 729">
            <a:extLst>
              <a:ext uri="{FF2B5EF4-FFF2-40B4-BE49-F238E27FC236}">
                <a16:creationId xmlns:a16="http://schemas.microsoft.com/office/drawing/2014/main" id="{46A796B4-AE5A-4B63-B42D-523F0A701583}"/>
              </a:ext>
            </a:extLst>
          </p:cNvPr>
          <p:cNvGrpSpPr>
            <a:grpSpLocks noChangeAspect="1"/>
          </p:cNvGrpSpPr>
          <p:nvPr/>
        </p:nvGrpSpPr>
        <p:grpSpPr bwMode="auto">
          <a:xfrm>
            <a:off x="9623140" y="2532035"/>
            <a:ext cx="367631" cy="367631"/>
            <a:chOff x="3568" y="2909"/>
            <a:chExt cx="340" cy="340"/>
          </a:xfrm>
          <a:solidFill>
            <a:schemeClr val="accent2"/>
          </a:solidFill>
        </p:grpSpPr>
        <p:sp>
          <p:nvSpPr>
            <p:cNvPr id="525" name="Freeform 730">
              <a:extLst>
                <a:ext uri="{FF2B5EF4-FFF2-40B4-BE49-F238E27FC236}">
                  <a16:creationId xmlns:a16="http://schemas.microsoft.com/office/drawing/2014/main" id="{C266DDFE-EEA8-4704-A388-1ABD9350B70B}"/>
                </a:ext>
              </a:extLst>
            </p:cNvPr>
            <p:cNvSpPr>
              <a:spLocks noEditPoints="1"/>
            </p:cNvSpPr>
            <p:nvPr/>
          </p:nvSpPr>
          <p:spPr bwMode="auto">
            <a:xfrm>
              <a:off x="3568" y="29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6" name="Freeform 731">
              <a:extLst>
                <a:ext uri="{FF2B5EF4-FFF2-40B4-BE49-F238E27FC236}">
                  <a16:creationId xmlns:a16="http://schemas.microsoft.com/office/drawing/2014/main" id="{02C108C4-F15B-4D57-BABB-72AC6EDDFDC1}"/>
                </a:ext>
              </a:extLst>
            </p:cNvPr>
            <p:cNvSpPr>
              <a:spLocks noEditPoints="1"/>
            </p:cNvSpPr>
            <p:nvPr/>
          </p:nvSpPr>
          <p:spPr bwMode="auto">
            <a:xfrm>
              <a:off x="3660" y="2973"/>
              <a:ext cx="156" cy="212"/>
            </a:xfrm>
            <a:custGeom>
              <a:avLst/>
              <a:gdLst>
                <a:gd name="T0" fmla="*/ 43 w 235"/>
                <a:gd name="T1" fmla="*/ 138 h 320"/>
                <a:gd name="T2" fmla="*/ 43 w 235"/>
                <a:gd name="T3" fmla="*/ 256 h 320"/>
                <a:gd name="T4" fmla="*/ 54 w 235"/>
                <a:gd name="T5" fmla="*/ 266 h 320"/>
                <a:gd name="T6" fmla="*/ 182 w 235"/>
                <a:gd name="T7" fmla="*/ 266 h 320"/>
                <a:gd name="T8" fmla="*/ 192 w 235"/>
                <a:gd name="T9" fmla="*/ 256 h 320"/>
                <a:gd name="T10" fmla="*/ 192 w 235"/>
                <a:gd name="T11" fmla="*/ 138 h 320"/>
                <a:gd name="T12" fmla="*/ 182 w 235"/>
                <a:gd name="T13" fmla="*/ 128 h 320"/>
                <a:gd name="T14" fmla="*/ 54 w 235"/>
                <a:gd name="T15" fmla="*/ 128 h 320"/>
                <a:gd name="T16" fmla="*/ 43 w 235"/>
                <a:gd name="T17" fmla="*/ 138 h 320"/>
                <a:gd name="T18" fmla="*/ 74 w 235"/>
                <a:gd name="T19" fmla="*/ 245 h 320"/>
                <a:gd name="T20" fmla="*/ 96 w 235"/>
                <a:gd name="T21" fmla="*/ 211 h 320"/>
                <a:gd name="T22" fmla="*/ 119 w 235"/>
                <a:gd name="T23" fmla="*/ 245 h 320"/>
                <a:gd name="T24" fmla="*/ 74 w 235"/>
                <a:gd name="T25" fmla="*/ 245 h 320"/>
                <a:gd name="T26" fmla="*/ 171 w 235"/>
                <a:gd name="T27" fmla="*/ 149 h 320"/>
                <a:gd name="T28" fmla="*/ 171 w 235"/>
                <a:gd name="T29" fmla="*/ 245 h 320"/>
                <a:gd name="T30" fmla="*/ 145 w 235"/>
                <a:gd name="T31" fmla="*/ 245 h 320"/>
                <a:gd name="T32" fmla="*/ 105 w 235"/>
                <a:gd name="T33" fmla="*/ 186 h 320"/>
                <a:gd name="T34" fmla="*/ 87 w 235"/>
                <a:gd name="T35" fmla="*/ 186 h 320"/>
                <a:gd name="T36" fmla="*/ 64 w 235"/>
                <a:gd name="T37" fmla="*/ 220 h 320"/>
                <a:gd name="T38" fmla="*/ 64 w 235"/>
                <a:gd name="T39" fmla="*/ 149 h 320"/>
                <a:gd name="T40" fmla="*/ 171 w 235"/>
                <a:gd name="T41" fmla="*/ 149 h 320"/>
                <a:gd name="T42" fmla="*/ 128 w 235"/>
                <a:gd name="T43" fmla="*/ 181 h 320"/>
                <a:gd name="T44" fmla="*/ 139 w 235"/>
                <a:gd name="T45" fmla="*/ 170 h 320"/>
                <a:gd name="T46" fmla="*/ 150 w 235"/>
                <a:gd name="T47" fmla="*/ 181 h 320"/>
                <a:gd name="T48" fmla="*/ 139 w 235"/>
                <a:gd name="T49" fmla="*/ 192 h 320"/>
                <a:gd name="T50" fmla="*/ 128 w 235"/>
                <a:gd name="T51" fmla="*/ 181 h 320"/>
                <a:gd name="T52" fmla="*/ 234 w 235"/>
                <a:gd name="T53" fmla="*/ 81 h 320"/>
                <a:gd name="T54" fmla="*/ 232 w 235"/>
                <a:gd name="T55" fmla="*/ 77 h 320"/>
                <a:gd name="T56" fmla="*/ 157 w 235"/>
                <a:gd name="T57" fmla="*/ 3 h 320"/>
                <a:gd name="T58" fmla="*/ 157 w 235"/>
                <a:gd name="T59" fmla="*/ 2 h 320"/>
                <a:gd name="T60" fmla="*/ 157 w 235"/>
                <a:gd name="T61" fmla="*/ 2 h 320"/>
                <a:gd name="T62" fmla="*/ 157 w 235"/>
                <a:gd name="T63" fmla="*/ 2 h 320"/>
                <a:gd name="T64" fmla="*/ 150 w 235"/>
                <a:gd name="T65" fmla="*/ 0 h 320"/>
                <a:gd name="T66" fmla="*/ 11 w 235"/>
                <a:gd name="T67" fmla="*/ 0 h 320"/>
                <a:gd name="T68" fmla="*/ 0 w 235"/>
                <a:gd name="T69" fmla="*/ 10 h 320"/>
                <a:gd name="T70" fmla="*/ 0 w 235"/>
                <a:gd name="T71" fmla="*/ 309 h 320"/>
                <a:gd name="T72" fmla="*/ 11 w 235"/>
                <a:gd name="T73" fmla="*/ 320 h 320"/>
                <a:gd name="T74" fmla="*/ 224 w 235"/>
                <a:gd name="T75" fmla="*/ 320 h 320"/>
                <a:gd name="T76" fmla="*/ 235 w 235"/>
                <a:gd name="T77" fmla="*/ 309 h 320"/>
                <a:gd name="T78" fmla="*/ 235 w 235"/>
                <a:gd name="T79" fmla="*/ 85 h 320"/>
                <a:gd name="T80" fmla="*/ 235 w 235"/>
                <a:gd name="T81" fmla="*/ 85 h 320"/>
                <a:gd name="T82" fmla="*/ 234 w 235"/>
                <a:gd name="T83" fmla="*/ 81 h 320"/>
                <a:gd name="T84" fmla="*/ 160 w 235"/>
                <a:gd name="T85" fmla="*/ 36 h 320"/>
                <a:gd name="T86" fmla="*/ 199 w 235"/>
                <a:gd name="T87" fmla="*/ 74 h 320"/>
                <a:gd name="T88" fmla="*/ 160 w 235"/>
                <a:gd name="T89" fmla="*/ 74 h 320"/>
                <a:gd name="T90" fmla="*/ 160 w 235"/>
                <a:gd name="T91" fmla="*/ 36 h 320"/>
                <a:gd name="T92" fmla="*/ 214 w 235"/>
                <a:gd name="T93" fmla="*/ 298 h 320"/>
                <a:gd name="T94" fmla="*/ 22 w 235"/>
                <a:gd name="T95" fmla="*/ 298 h 320"/>
                <a:gd name="T96" fmla="*/ 22 w 235"/>
                <a:gd name="T97" fmla="*/ 21 h 320"/>
                <a:gd name="T98" fmla="*/ 139 w 235"/>
                <a:gd name="T99" fmla="*/ 21 h 320"/>
                <a:gd name="T100" fmla="*/ 139 w 235"/>
                <a:gd name="T101" fmla="*/ 85 h 320"/>
                <a:gd name="T102" fmla="*/ 150 w 235"/>
                <a:gd name="T103" fmla="*/ 96 h 320"/>
                <a:gd name="T104" fmla="*/ 214 w 235"/>
                <a:gd name="T105" fmla="*/ 96 h 320"/>
                <a:gd name="T106" fmla="*/ 214 w 235"/>
                <a:gd name="T10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5" h="320">
                  <a:moveTo>
                    <a:pt x="43" y="138"/>
                  </a:moveTo>
                  <a:cubicBezTo>
                    <a:pt x="43" y="256"/>
                    <a:pt x="43" y="256"/>
                    <a:pt x="43" y="256"/>
                  </a:cubicBezTo>
                  <a:cubicBezTo>
                    <a:pt x="43" y="262"/>
                    <a:pt x="48" y="266"/>
                    <a:pt x="54" y="266"/>
                  </a:cubicBezTo>
                  <a:cubicBezTo>
                    <a:pt x="182" y="266"/>
                    <a:pt x="182" y="266"/>
                    <a:pt x="182" y="266"/>
                  </a:cubicBezTo>
                  <a:cubicBezTo>
                    <a:pt x="188" y="266"/>
                    <a:pt x="192" y="262"/>
                    <a:pt x="192" y="256"/>
                  </a:cubicBezTo>
                  <a:cubicBezTo>
                    <a:pt x="192" y="138"/>
                    <a:pt x="192" y="138"/>
                    <a:pt x="192" y="138"/>
                  </a:cubicBezTo>
                  <a:cubicBezTo>
                    <a:pt x="192" y="132"/>
                    <a:pt x="188" y="128"/>
                    <a:pt x="182" y="128"/>
                  </a:cubicBezTo>
                  <a:cubicBezTo>
                    <a:pt x="54" y="128"/>
                    <a:pt x="54" y="128"/>
                    <a:pt x="54" y="128"/>
                  </a:cubicBezTo>
                  <a:cubicBezTo>
                    <a:pt x="48" y="128"/>
                    <a:pt x="43" y="132"/>
                    <a:pt x="43" y="138"/>
                  </a:cubicBezTo>
                  <a:close/>
                  <a:moveTo>
                    <a:pt x="74" y="245"/>
                  </a:moveTo>
                  <a:cubicBezTo>
                    <a:pt x="96" y="211"/>
                    <a:pt x="96" y="211"/>
                    <a:pt x="96" y="211"/>
                  </a:cubicBezTo>
                  <a:cubicBezTo>
                    <a:pt x="119" y="245"/>
                    <a:pt x="119" y="245"/>
                    <a:pt x="119" y="245"/>
                  </a:cubicBezTo>
                  <a:lnTo>
                    <a:pt x="74" y="245"/>
                  </a:lnTo>
                  <a:close/>
                  <a:moveTo>
                    <a:pt x="171" y="149"/>
                  </a:moveTo>
                  <a:cubicBezTo>
                    <a:pt x="171" y="245"/>
                    <a:pt x="171" y="245"/>
                    <a:pt x="171" y="245"/>
                  </a:cubicBezTo>
                  <a:cubicBezTo>
                    <a:pt x="145" y="245"/>
                    <a:pt x="145" y="245"/>
                    <a:pt x="145" y="245"/>
                  </a:cubicBezTo>
                  <a:cubicBezTo>
                    <a:pt x="105" y="186"/>
                    <a:pt x="105" y="186"/>
                    <a:pt x="105" y="186"/>
                  </a:cubicBezTo>
                  <a:cubicBezTo>
                    <a:pt x="101" y="180"/>
                    <a:pt x="91" y="180"/>
                    <a:pt x="87" y="186"/>
                  </a:cubicBezTo>
                  <a:cubicBezTo>
                    <a:pt x="64" y="220"/>
                    <a:pt x="64" y="220"/>
                    <a:pt x="64" y="220"/>
                  </a:cubicBezTo>
                  <a:cubicBezTo>
                    <a:pt x="64" y="149"/>
                    <a:pt x="64" y="149"/>
                    <a:pt x="64" y="149"/>
                  </a:cubicBezTo>
                  <a:lnTo>
                    <a:pt x="171" y="149"/>
                  </a:lnTo>
                  <a:close/>
                  <a:moveTo>
                    <a:pt x="128" y="181"/>
                  </a:moveTo>
                  <a:cubicBezTo>
                    <a:pt x="128" y="175"/>
                    <a:pt x="133" y="170"/>
                    <a:pt x="139" y="170"/>
                  </a:cubicBezTo>
                  <a:cubicBezTo>
                    <a:pt x="145" y="170"/>
                    <a:pt x="150" y="175"/>
                    <a:pt x="150" y="181"/>
                  </a:cubicBezTo>
                  <a:cubicBezTo>
                    <a:pt x="150" y="187"/>
                    <a:pt x="145" y="192"/>
                    <a:pt x="139" y="192"/>
                  </a:cubicBezTo>
                  <a:cubicBezTo>
                    <a:pt x="133" y="192"/>
                    <a:pt x="128" y="187"/>
                    <a:pt x="128" y="181"/>
                  </a:cubicBezTo>
                  <a:close/>
                  <a:moveTo>
                    <a:pt x="234" y="81"/>
                  </a:moveTo>
                  <a:cubicBezTo>
                    <a:pt x="234" y="80"/>
                    <a:pt x="233" y="78"/>
                    <a:pt x="232" y="77"/>
                  </a:cubicBezTo>
                  <a:cubicBezTo>
                    <a:pt x="157" y="3"/>
                    <a:pt x="157" y="3"/>
                    <a:pt x="157" y="3"/>
                  </a:cubicBezTo>
                  <a:cubicBezTo>
                    <a:pt x="157" y="3"/>
                    <a:pt x="157" y="3"/>
                    <a:pt x="157" y="2"/>
                  </a:cubicBezTo>
                  <a:cubicBezTo>
                    <a:pt x="157" y="2"/>
                    <a:pt x="157" y="2"/>
                    <a:pt x="157" y="2"/>
                  </a:cubicBezTo>
                  <a:cubicBezTo>
                    <a:pt x="157" y="2"/>
                    <a:pt x="157" y="2"/>
                    <a:pt x="157" y="2"/>
                  </a:cubicBezTo>
                  <a:cubicBezTo>
                    <a:pt x="155" y="1"/>
                    <a:pt x="152"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27" name="Group 734">
            <a:extLst>
              <a:ext uri="{FF2B5EF4-FFF2-40B4-BE49-F238E27FC236}">
                <a16:creationId xmlns:a16="http://schemas.microsoft.com/office/drawing/2014/main" id="{8FD68056-0262-45B5-A97D-289A2C662A04}"/>
              </a:ext>
            </a:extLst>
          </p:cNvPr>
          <p:cNvGrpSpPr>
            <a:grpSpLocks noChangeAspect="1"/>
          </p:cNvGrpSpPr>
          <p:nvPr/>
        </p:nvGrpSpPr>
        <p:grpSpPr bwMode="auto">
          <a:xfrm>
            <a:off x="10057921" y="2532035"/>
            <a:ext cx="367631" cy="367631"/>
            <a:chOff x="4301" y="2990"/>
            <a:chExt cx="340" cy="340"/>
          </a:xfrm>
          <a:solidFill>
            <a:schemeClr val="accent2"/>
          </a:solidFill>
        </p:grpSpPr>
        <p:sp>
          <p:nvSpPr>
            <p:cNvPr id="528" name="Freeform 735">
              <a:extLst>
                <a:ext uri="{FF2B5EF4-FFF2-40B4-BE49-F238E27FC236}">
                  <a16:creationId xmlns:a16="http://schemas.microsoft.com/office/drawing/2014/main" id="{F7252838-3998-445E-A9D0-BE62186B9C4A}"/>
                </a:ext>
              </a:extLst>
            </p:cNvPr>
            <p:cNvSpPr>
              <a:spLocks/>
            </p:cNvSpPr>
            <p:nvPr/>
          </p:nvSpPr>
          <p:spPr bwMode="auto">
            <a:xfrm>
              <a:off x="4407" y="3068"/>
              <a:ext cx="128" cy="63"/>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9" name="Freeform 736">
              <a:extLst>
                <a:ext uri="{FF2B5EF4-FFF2-40B4-BE49-F238E27FC236}">
                  <a16:creationId xmlns:a16="http://schemas.microsoft.com/office/drawing/2014/main" id="{0B6679E2-11FF-4F18-9D42-BE15EE179F74}"/>
                </a:ext>
              </a:extLst>
            </p:cNvPr>
            <p:cNvSpPr>
              <a:spLocks/>
            </p:cNvSpPr>
            <p:nvPr/>
          </p:nvSpPr>
          <p:spPr bwMode="auto">
            <a:xfrm>
              <a:off x="4466" y="3169"/>
              <a:ext cx="12" cy="14"/>
            </a:xfrm>
            <a:custGeom>
              <a:avLst/>
              <a:gdLst>
                <a:gd name="T0" fmla="*/ 16 w 19"/>
                <a:gd name="T1" fmla="*/ 19 h 22"/>
                <a:gd name="T2" fmla="*/ 19 w 19"/>
                <a:gd name="T3" fmla="*/ 11 h 22"/>
                <a:gd name="T4" fmla="*/ 16 w 19"/>
                <a:gd name="T5" fmla="*/ 2 h 22"/>
                <a:gd name="T6" fmla="*/ 7 w 19"/>
                <a:gd name="T7" fmla="*/ 0 h 22"/>
                <a:gd name="T8" fmla="*/ 0 w 19"/>
                <a:gd name="T9" fmla="*/ 0 h 22"/>
                <a:gd name="T10" fmla="*/ 0 w 19"/>
                <a:gd name="T11" fmla="*/ 22 h 22"/>
                <a:gd name="T12" fmla="*/ 5 w 19"/>
                <a:gd name="T13" fmla="*/ 22 h 22"/>
                <a:gd name="T14" fmla="*/ 16 w 19"/>
                <a:gd name="T15" fmla="*/ 1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2">
                  <a:moveTo>
                    <a:pt x="16" y="19"/>
                  </a:moveTo>
                  <a:cubicBezTo>
                    <a:pt x="18" y="17"/>
                    <a:pt x="19" y="14"/>
                    <a:pt x="19" y="11"/>
                  </a:cubicBezTo>
                  <a:cubicBezTo>
                    <a:pt x="19" y="7"/>
                    <a:pt x="18" y="4"/>
                    <a:pt x="16" y="2"/>
                  </a:cubicBezTo>
                  <a:cubicBezTo>
                    <a:pt x="14" y="1"/>
                    <a:pt x="11" y="0"/>
                    <a:pt x="7" y="0"/>
                  </a:cubicBezTo>
                  <a:cubicBezTo>
                    <a:pt x="0" y="0"/>
                    <a:pt x="0" y="0"/>
                    <a:pt x="0" y="0"/>
                  </a:cubicBezTo>
                  <a:cubicBezTo>
                    <a:pt x="0" y="22"/>
                    <a:pt x="0" y="22"/>
                    <a:pt x="0" y="22"/>
                  </a:cubicBezTo>
                  <a:cubicBezTo>
                    <a:pt x="5" y="22"/>
                    <a:pt x="5" y="22"/>
                    <a:pt x="5" y="22"/>
                  </a:cubicBezTo>
                  <a:cubicBezTo>
                    <a:pt x="10" y="22"/>
                    <a:pt x="13" y="21"/>
                    <a:pt x="16"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0" name="Rectangle 737">
              <a:extLst>
                <a:ext uri="{FF2B5EF4-FFF2-40B4-BE49-F238E27FC236}">
                  <a16:creationId xmlns:a16="http://schemas.microsoft.com/office/drawing/2014/main" id="{B3E5C5F6-2F27-446F-A9F5-357DAB19EDD6}"/>
                </a:ext>
              </a:extLst>
            </p:cNvPr>
            <p:cNvSpPr>
              <a:spLocks noChangeArrowheads="1"/>
            </p:cNvSpPr>
            <p:nvPr/>
          </p:nvSpPr>
          <p:spPr bwMode="auto">
            <a:xfrm>
              <a:off x="4407" y="3238"/>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1" name="Freeform 738">
              <a:extLst>
                <a:ext uri="{FF2B5EF4-FFF2-40B4-BE49-F238E27FC236}">
                  <a16:creationId xmlns:a16="http://schemas.microsoft.com/office/drawing/2014/main" id="{5CB946F8-1AB5-47EE-BB07-EF00339CB7DB}"/>
                </a:ext>
              </a:extLst>
            </p:cNvPr>
            <p:cNvSpPr>
              <a:spLocks/>
            </p:cNvSpPr>
            <p:nvPr/>
          </p:nvSpPr>
          <p:spPr bwMode="auto">
            <a:xfrm>
              <a:off x="4425" y="3169"/>
              <a:ext cx="13" cy="14"/>
            </a:xfrm>
            <a:custGeom>
              <a:avLst/>
              <a:gdLst>
                <a:gd name="T0" fmla="*/ 16 w 20"/>
                <a:gd name="T1" fmla="*/ 19 h 22"/>
                <a:gd name="T2" fmla="*/ 20 w 20"/>
                <a:gd name="T3" fmla="*/ 11 h 22"/>
                <a:gd name="T4" fmla="*/ 17 w 20"/>
                <a:gd name="T5" fmla="*/ 2 h 22"/>
                <a:gd name="T6" fmla="*/ 7 w 20"/>
                <a:gd name="T7" fmla="*/ 0 h 22"/>
                <a:gd name="T8" fmla="*/ 0 w 20"/>
                <a:gd name="T9" fmla="*/ 0 h 22"/>
                <a:gd name="T10" fmla="*/ 0 w 20"/>
                <a:gd name="T11" fmla="*/ 22 h 22"/>
                <a:gd name="T12" fmla="*/ 5 w 20"/>
                <a:gd name="T13" fmla="*/ 22 h 22"/>
                <a:gd name="T14" fmla="*/ 16 w 20"/>
                <a:gd name="T15" fmla="*/ 1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2">
                  <a:moveTo>
                    <a:pt x="16" y="19"/>
                  </a:moveTo>
                  <a:cubicBezTo>
                    <a:pt x="19" y="17"/>
                    <a:pt x="20" y="14"/>
                    <a:pt x="20" y="11"/>
                  </a:cubicBezTo>
                  <a:cubicBezTo>
                    <a:pt x="20" y="7"/>
                    <a:pt x="19" y="4"/>
                    <a:pt x="17" y="2"/>
                  </a:cubicBezTo>
                  <a:cubicBezTo>
                    <a:pt x="15" y="1"/>
                    <a:pt x="12" y="0"/>
                    <a:pt x="7" y="0"/>
                  </a:cubicBezTo>
                  <a:cubicBezTo>
                    <a:pt x="0" y="0"/>
                    <a:pt x="0" y="0"/>
                    <a:pt x="0" y="0"/>
                  </a:cubicBezTo>
                  <a:cubicBezTo>
                    <a:pt x="0" y="22"/>
                    <a:pt x="0" y="22"/>
                    <a:pt x="0" y="22"/>
                  </a:cubicBezTo>
                  <a:cubicBezTo>
                    <a:pt x="5" y="22"/>
                    <a:pt x="5" y="22"/>
                    <a:pt x="5" y="22"/>
                  </a:cubicBezTo>
                  <a:cubicBezTo>
                    <a:pt x="10" y="22"/>
                    <a:pt x="14" y="21"/>
                    <a:pt x="16"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2" name="Freeform 739">
              <a:extLst>
                <a:ext uri="{FF2B5EF4-FFF2-40B4-BE49-F238E27FC236}">
                  <a16:creationId xmlns:a16="http://schemas.microsoft.com/office/drawing/2014/main" id="{510E172A-9EE3-41CC-969E-B504B7E734D0}"/>
                </a:ext>
              </a:extLst>
            </p:cNvPr>
            <p:cNvSpPr>
              <a:spLocks noEditPoints="1"/>
            </p:cNvSpPr>
            <p:nvPr/>
          </p:nvSpPr>
          <p:spPr bwMode="auto">
            <a:xfrm>
              <a:off x="4301" y="299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394 w 512"/>
                <a:gd name="T13" fmla="*/ 373 h 512"/>
                <a:gd name="T14" fmla="*/ 373 w 512"/>
                <a:gd name="T15" fmla="*/ 373 h 512"/>
                <a:gd name="T16" fmla="*/ 373 w 512"/>
                <a:gd name="T17" fmla="*/ 405 h 512"/>
                <a:gd name="T18" fmla="*/ 362 w 512"/>
                <a:gd name="T19" fmla="*/ 416 h 512"/>
                <a:gd name="T20" fmla="*/ 149 w 512"/>
                <a:gd name="T21" fmla="*/ 416 h 512"/>
                <a:gd name="T22" fmla="*/ 138 w 512"/>
                <a:gd name="T23" fmla="*/ 405 h 512"/>
                <a:gd name="T24" fmla="*/ 138 w 512"/>
                <a:gd name="T25" fmla="*/ 373 h 512"/>
                <a:gd name="T26" fmla="*/ 117 w 512"/>
                <a:gd name="T27" fmla="*/ 373 h 512"/>
                <a:gd name="T28" fmla="*/ 106 w 512"/>
                <a:gd name="T29" fmla="*/ 362 h 512"/>
                <a:gd name="T30" fmla="*/ 106 w 512"/>
                <a:gd name="T31" fmla="*/ 224 h 512"/>
                <a:gd name="T32" fmla="*/ 117 w 512"/>
                <a:gd name="T33" fmla="*/ 213 h 512"/>
                <a:gd name="T34" fmla="*/ 138 w 512"/>
                <a:gd name="T35" fmla="*/ 213 h 512"/>
                <a:gd name="T36" fmla="*/ 138 w 512"/>
                <a:gd name="T37" fmla="*/ 106 h 512"/>
                <a:gd name="T38" fmla="*/ 149 w 512"/>
                <a:gd name="T39" fmla="*/ 96 h 512"/>
                <a:gd name="T40" fmla="*/ 288 w 512"/>
                <a:gd name="T41" fmla="*/ 96 h 512"/>
                <a:gd name="T42" fmla="*/ 292 w 512"/>
                <a:gd name="T43" fmla="*/ 96 h 512"/>
                <a:gd name="T44" fmla="*/ 295 w 512"/>
                <a:gd name="T45" fmla="*/ 99 h 512"/>
                <a:gd name="T46" fmla="*/ 370 w 512"/>
                <a:gd name="T47" fmla="*/ 173 h 512"/>
                <a:gd name="T48" fmla="*/ 372 w 512"/>
                <a:gd name="T49" fmla="*/ 177 h 512"/>
                <a:gd name="T50" fmla="*/ 373 w 512"/>
                <a:gd name="T51" fmla="*/ 181 h 512"/>
                <a:gd name="T52" fmla="*/ 373 w 512"/>
                <a:gd name="T53" fmla="*/ 213 h 512"/>
                <a:gd name="T54" fmla="*/ 394 w 512"/>
                <a:gd name="T55" fmla="*/ 213 h 512"/>
                <a:gd name="T56" fmla="*/ 405 w 512"/>
                <a:gd name="T57" fmla="*/ 224 h 512"/>
                <a:gd name="T58" fmla="*/ 405 w 512"/>
                <a:gd name="T5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405" y="368"/>
                    <a:pt x="400" y="373"/>
                    <a:pt x="394" y="373"/>
                  </a:cubicBezTo>
                  <a:cubicBezTo>
                    <a:pt x="373" y="373"/>
                    <a:pt x="373" y="373"/>
                    <a:pt x="373" y="373"/>
                  </a:cubicBez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373"/>
                    <a:pt x="138" y="373"/>
                    <a:pt x="138" y="373"/>
                  </a:cubicBezTo>
                  <a:cubicBezTo>
                    <a:pt x="117" y="373"/>
                    <a:pt x="117" y="373"/>
                    <a:pt x="117" y="373"/>
                  </a:cubicBezTo>
                  <a:cubicBezTo>
                    <a:pt x="111" y="373"/>
                    <a:pt x="106" y="368"/>
                    <a:pt x="106" y="362"/>
                  </a:cubicBezTo>
                  <a:cubicBezTo>
                    <a:pt x="106" y="224"/>
                    <a:pt x="106" y="224"/>
                    <a:pt x="106" y="224"/>
                  </a:cubicBezTo>
                  <a:cubicBezTo>
                    <a:pt x="106" y="218"/>
                    <a:pt x="111" y="213"/>
                    <a:pt x="117" y="213"/>
                  </a:cubicBezTo>
                  <a:cubicBezTo>
                    <a:pt x="138" y="213"/>
                    <a:pt x="138" y="213"/>
                    <a:pt x="138" y="213"/>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cubicBezTo>
                    <a:pt x="373" y="213"/>
                    <a:pt x="373" y="213"/>
                    <a:pt x="373" y="213"/>
                  </a:cubicBezTo>
                  <a:cubicBezTo>
                    <a:pt x="394" y="213"/>
                    <a:pt x="394" y="213"/>
                    <a:pt x="394" y="213"/>
                  </a:cubicBezTo>
                  <a:cubicBezTo>
                    <a:pt x="400" y="213"/>
                    <a:pt x="405" y="218"/>
                    <a:pt x="405" y="224"/>
                  </a:cubicBezTo>
                  <a:lnTo>
                    <a:pt x="405"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3" name="Freeform 740">
              <a:extLst>
                <a:ext uri="{FF2B5EF4-FFF2-40B4-BE49-F238E27FC236}">
                  <a16:creationId xmlns:a16="http://schemas.microsoft.com/office/drawing/2014/main" id="{BF7A7B00-F2F7-442C-B646-E6F64A12CB1B}"/>
                </a:ext>
              </a:extLst>
            </p:cNvPr>
            <p:cNvSpPr>
              <a:spLocks/>
            </p:cNvSpPr>
            <p:nvPr/>
          </p:nvSpPr>
          <p:spPr bwMode="auto">
            <a:xfrm>
              <a:off x="4499" y="307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4" name="Freeform 741">
              <a:extLst>
                <a:ext uri="{FF2B5EF4-FFF2-40B4-BE49-F238E27FC236}">
                  <a16:creationId xmlns:a16="http://schemas.microsoft.com/office/drawing/2014/main" id="{2D5DDF19-DC16-4CBE-9DFB-D54B963A5677}"/>
                </a:ext>
              </a:extLst>
            </p:cNvPr>
            <p:cNvSpPr>
              <a:spLocks noEditPoints="1"/>
            </p:cNvSpPr>
            <p:nvPr/>
          </p:nvSpPr>
          <p:spPr bwMode="auto">
            <a:xfrm>
              <a:off x="4386" y="3145"/>
              <a:ext cx="170" cy="79"/>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62 w 256"/>
                <a:gd name="T11" fmla="*/ 22 h 118"/>
                <a:gd name="T12" fmla="*/ 219 w 256"/>
                <a:gd name="T13" fmla="*/ 22 h 118"/>
                <a:gd name="T14" fmla="*/ 219 w 256"/>
                <a:gd name="T15" fmla="*/ 35 h 118"/>
                <a:gd name="T16" fmla="*/ 198 w 256"/>
                <a:gd name="T17" fmla="*/ 35 h 118"/>
                <a:gd name="T18" fmla="*/ 198 w 256"/>
                <a:gd name="T19" fmla="*/ 96 h 118"/>
                <a:gd name="T20" fmla="*/ 182 w 256"/>
                <a:gd name="T21" fmla="*/ 96 h 118"/>
                <a:gd name="T22" fmla="*/ 182 w 256"/>
                <a:gd name="T23" fmla="*/ 35 h 118"/>
                <a:gd name="T24" fmla="*/ 162 w 256"/>
                <a:gd name="T25" fmla="*/ 35 h 118"/>
                <a:gd name="T26" fmla="*/ 162 w 256"/>
                <a:gd name="T27" fmla="*/ 22 h 118"/>
                <a:gd name="T28" fmla="*/ 104 w 256"/>
                <a:gd name="T29" fmla="*/ 22 h 118"/>
                <a:gd name="T30" fmla="*/ 128 w 256"/>
                <a:gd name="T31" fmla="*/ 22 h 118"/>
                <a:gd name="T32" fmla="*/ 148 w 256"/>
                <a:gd name="T33" fmla="*/ 28 h 118"/>
                <a:gd name="T34" fmla="*/ 155 w 256"/>
                <a:gd name="T35" fmla="*/ 45 h 118"/>
                <a:gd name="T36" fmla="*/ 148 w 256"/>
                <a:gd name="T37" fmla="*/ 63 h 118"/>
                <a:gd name="T38" fmla="*/ 126 w 256"/>
                <a:gd name="T39" fmla="*/ 70 h 118"/>
                <a:gd name="T40" fmla="*/ 120 w 256"/>
                <a:gd name="T41" fmla="*/ 70 h 118"/>
                <a:gd name="T42" fmla="*/ 120 w 256"/>
                <a:gd name="T43" fmla="*/ 96 h 118"/>
                <a:gd name="T44" fmla="*/ 104 w 256"/>
                <a:gd name="T45" fmla="*/ 96 h 118"/>
                <a:gd name="T46" fmla="*/ 104 w 256"/>
                <a:gd name="T47" fmla="*/ 22 h 118"/>
                <a:gd name="T48" fmla="*/ 42 w 256"/>
                <a:gd name="T49" fmla="*/ 22 h 118"/>
                <a:gd name="T50" fmla="*/ 66 w 256"/>
                <a:gd name="T51" fmla="*/ 22 h 118"/>
                <a:gd name="T52" fmla="*/ 87 w 256"/>
                <a:gd name="T53" fmla="*/ 28 h 118"/>
                <a:gd name="T54" fmla="*/ 94 w 256"/>
                <a:gd name="T55" fmla="*/ 45 h 118"/>
                <a:gd name="T56" fmla="*/ 86 w 256"/>
                <a:gd name="T57" fmla="*/ 63 h 118"/>
                <a:gd name="T58" fmla="*/ 65 w 256"/>
                <a:gd name="T59" fmla="*/ 70 h 118"/>
                <a:gd name="T60" fmla="*/ 58 w 256"/>
                <a:gd name="T61" fmla="*/ 70 h 118"/>
                <a:gd name="T62" fmla="*/ 58 w 256"/>
                <a:gd name="T63" fmla="*/ 96 h 118"/>
                <a:gd name="T64" fmla="*/ 42 w 256"/>
                <a:gd name="T65" fmla="*/ 96 h 118"/>
                <a:gd name="T66" fmla="*/ 42 w 256"/>
                <a:gd name="T67"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62" y="22"/>
                  </a:moveTo>
                  <a:cubicBezTo>
                    <a:pt x="219" y="22"/>
                    <a:pt x="219" y="22"/>
                    <a:pt x="219" y="22"/>
                  </a:cubicBezTo>
                  <a:cubicBezTo>
                    <a:pt x="219" y="35"/>
                    <a:pt x="219" y="35"/>
                    <a:pt x="219" y="35"/>
                  </a:cubicBezTo>
                  <a:cubicBezTo>
                    <a:pt x="198" y="35"/>
                    <a:pt x="198" y="35"/>
                    <a:pt x="198" y="35"/>
                  </a:cubicBezTo>
                  <a:cubicBezTo>
                    <a:pt x="198" y="96"/>
                    <a:pt x="198" y="96"/>
                    <a:pt x="198" y="96"/>
                  </a:cubicBezTo>
                  <a:cubicBezTo>
                    <a:pt x="182" y="96"/>
                    <a:pt x="182" y="96"/>
                    <a:pt x="182" y="96"/>
                  </a:cubicBezTo>
                  <a:cubicBezTo>
                    <a:pt x="182" y="35"/>
                    <a:pt x="182" y="35"/>
                    <a:pt x="182" y="35"/>
                  </a:cubicBezTo>
                  <a:cubicBezTo>
                    <a:pt x="162" y="35"/>
                    <a:pt x="162" y="35"/>
                    <a:pt x="162" y="35"/>
                  </a:cubicBezTo>
                  <a:lnTo>
                    <a:pt x="162" y="22"/>
                  </a:lnTo>
                  <a:close/>
                  <a:moveTo>
                    <a:pt x="104" y="22"/>
                  </a:moveTo>
                  <a:cubicBezTo>
                    <a:pt x="128" y="22"/>
                    <a:pt x="128" y="22"/>
                    <a:pt x="128" y="22"/>
                  </a:cubicBezTo>
                  <a:cubicBezTo>
                    <a:pt x="137" y="22"/>
                    <a:pt x="144" y="24"/>
                    <a:pt x="148" y="28"/>
                  </a:cubicBezTo>
                  <a:cubicBezTo>
                    <a:pt x="153" y="31"/>
                    <a:pt x="155" y="37"/>
                    <a:pt x="155" y="45"/>
                  </a:cubicBezTo>
                  <a:cubicBezTo>
                    <a:pt x="155" y="53"/>
                    <a:pt x="153" y="59"/>
                    <a:pt x="148" y="63"/>
                  </a:cubicBezTo>
                  <a:cubicBezTo>
                    <a:pt x="143" y="68"/>
                    <a:pt x="136" y="70"/>
                    <a:pt x="126" y="70"/>
                  </a:cubicBezTo>
                  <a:cubicBezTo>
                    <a:pt x="120" y="70"/>
                    <a:pt x="120" y="70"/>
                    <a:pt x="120" y="70"/>
                  </a:cubicBezTo>
                  <a:cubicBezTo>
                    <a:pt x="120" y="96"/>
                    <a:pt x="120" y="96"/>
                    <a:pt x="120" y="96"/>
                  </a:cubicBezTo>
                  <a:cubicBezTo>
                    <a:pt x="104" y="96"/>
                    <a:pt x="104" y="96"/>
                    <a:pt x="104" y="96"/>
                  </a:cubicBezTo>
                  <a:lnTo>
                    <a:pt x="104" y="22"/>
                  </a:lnTo>
                  <a:close/>
                  <a:moveTo>
                    <a:pt x="42" y="22"/>
                  </a:moveTo>
                  <a:cubicBezTo>
                    <a:pt x="66" y="22"/>
                    <a:pt x="66" y="22"/>
                    <a:pt x="66" y="22"/>
                  </a:cubicBezTo>
                  <a:cubicBezTo>
                    <a:pt x="75" y="22"/>
                    <a:pt x="82" y="24"/>
                    <a:pt x="87" y="28"/>
                  </a:cubicBezTo>
                  <a:cubicBezTo>
                    <a:pt x="92" y="31"/>
                    <a:pt x="94" y="37"/>
                    <a:pt x="94" y="45"/>
                  </a:cubicBezTo>
                  <a:cubicBezTo>
                    <a:pt x="94" y="53"/>
                    <a:pt x="91" y="59"/>
                    <a:pt x="86" y="63"/>
                  </a:cubicBezTo>
                  <a:cubicBezTo>
                    <a:pt x="81" y="68"/>
                    <a:pt x="74" y="70"/>
                    <a:pt x="65" y="70"/>
                  </a:cubicBezTo>
                  <a:cubicBezTo>
                    <a:pt x="58" y="70"/>
                    <a:pt x="58" y="70"/>
                    <a:pt x="58" y="70"/>
                  </a:cubicBezTo>
                  <a:cubicBezTo>
                    <a:pt x="58" y="96"/>
                    <a:pt x="58" y="96"/>
                    <a:pt x="58" y="96"/>
                  </a:cubicBezTo>
                  <a:cubicBezTo>
                    <a:pt x="42" y="96"/>
                    <a:pt x="42" y="96"/>
                    <a:pt x="42" y="96"/>
                  </a:cubicBezTo>
                  <a:lnTo>
                    <a:pt x="42"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5" name="Group 744">
            <a:extLst>
              <a:ext uri="{FF2B5EF4-FFF2-40B4-BE49-F238E27FC236}">
                <a16:creationId xmlns:a16="http://schemas.microsoft.com/office/drawing/2014/main" id="{5A2C30C2-D682-4FD6-8FC5-5D93CA37DC48}"/>
              </a:ext>
            </a:extLst>
          </p:cNvPr>
          <p:cNvGrpSpPr>
            <a:grpSpLocks noChangeAspect="1"/>
          </p:cNvGrpSpPr>
          <p:nvPr/>
        </p:nvGrpSpPr>
        <p:grpSpPr bwMode="auto">
          <a:xfrm>
            <a:off x="10492702" y="2532035"/>
            <a:ext cx="367631" cy="367631"/>
            <a:chOff x="4629" y="3018"/>
            <a:chExt cx="340" cy="340"/>
          </a:xfrm>
          <a:solidFill>
            <a:schemeClr val="accent2"/>
          </a:solidFill>
        </p:grpSpPr>
        <p:sp>
          <p:nvSpPr>
            <p:cNvPr id="536" name="Freeform 745">
              <a:extLst>
                <a:ext uri="{FF2B5EF4-FFF2-40B4-BE49-F238E27FC236}">
                  <a16:creationId xmlns:a16="http://schemas.microsoft.com/office/drawing/2014/main" id="{0C30535C-624A-4F29-80C8-CE66E186A68C}"/>
                </a:ext>
              </a:extLst>
            </p:cNvPr>
            <p:cNvSpPr>
              <a:spLocks noEditPoints="1"/>
            </p:cNvSpPr>
            <p:nvPr/>
          </p:nvSpPr>
          <p:spPr bwMode="auto">
            <a:xfrm>
              <a:off x="4629" y="30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7" name="Freeform 746">
              <a:extLst>
                <a:ext uri="{FF2B5EF4-FFF2-40B4-BE49-F238E27FC236}">
                  <a16:creationId xmlns:a16="http://schemas.microsoft.com/office/drawing/2014/main" id="{65F98C33-9133-4C20-B3EF-8AA0306D33C2}"/>
                </a:ext>
              </a:extLst>
            </p:cNvPr>
            <p:cNvSpPr>
              <a:spLocks noEditPoints="1"/>
            </p:cNvSpPr>
            <p:nvPr/>
          </p:nvSpPr>
          <p:spPr bwMode="auto">
            <a:xfrm>
              <a:off x="4699" y="3082"/>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80 w 299"/>
                <a:gd name="T47" fmla="*/ 208 h 320"/>
                <a:gd name="T48" fmla="*/ 108 w 299"/>
                <a:gd name="T49" fmla="*/ 201 h 320"/>
                <a:gd name="T50" fmla="*/ 109 w 299"/>
                <a:gd name="T51" fmla="*/ 166 h 320"/>
                <a:gd name="T52" fmla="*/ 64 w 299"/>
                <a:gd name="T53" fmla="*/ 160 h 320"/>
                <a:gd name="T54" fmla="*/ 80 w 299"/>
                <a:gd name="T55" fmla="*/ 234 h 320"/>
                <a:gd name="T56" fmla="*/ 80 w 299"/>
                <a:gd name="T57" fmla="*/ 173 h 320"/>
                <a:gd name="T58" fmla="*/ 97 w 299"/>
                <a:gd name="T59" fmla="*/ 175 h 320"/>
                <a:gd name="T60" fmla="*/ 96 w 299"/>
                <a:gd name="T61" fmla="*/ 192 h 320"/>
                <a:gd name="T62" fmla="*/ 80 w 299"/>
                <a:gd name="T63" fmla="*/ 195 h 320"/>
                <a:gd name="T64" fmla="*/ 142 w 299"/>
                <a:gd name="T65" fmla="*/ 208 h 320"/>
                <a:gd name="T66" fmla="*/ 170 w 299"/>
                <a:gd name="T67" fmla="*/ 201 h 320"/>
                <a:gd name="T68" fmla="*/ 170 w 299"/>
                <a:gd name="T69" fmla="*/ 166 h 320"/>
                <a:gd name="T70" fmla="*/ 126 w 299"/>
                <a:gd name="T71" fmla="*/ 160 h 320"/>
                <a:gd name="T72" fmla="*/ 142 w 299"/>
                <a:gd name="T73" fmla="*/ 234 h 320"/>
                <a:gd name="T74" fmla="*/ 142 w 299"/>
                <a:gd name="T75" fmla="*/ 173 h 320"/>
                <a:gd name="T76" fmla="*/ 158 w 299"/>
                <a:gd name="T77" fmla="*/ 175 h 320"/>
                <a:gd name="T78" fmla="*/ 158 w 299"/>
                <a:gd name="T79" fmla="*/ 192 h 320"/>
                <a:gd name="T80" fmla="*/ 142 w 299"/>
                <a:gd name="T81" fmla="*/ 195 h 320"/>
                <a:gd name="T82" fmla="*/ 204 w 299"/>
                <a:gd name="T83" fmla="*/ 173 h 320"/>
                <a:gd name="T84" fmla="*/ 184 w 299"/>
                <a:gd name="T85" fmla="*/ 160 h 320"/>
                <a:gd name="T86" fmla="*/ 241 w 299"/>
                <a:gd name="T87" fmla="*/ 173 h 320"/>
                <a:gd name="T88" fmla="*/ 220 w 299"/>
                <a:gd name="T89" fmla="*/ 234 h 320"/>
                <a:gd name="T90" fmla="*/ 204 w 299"/>
                <a:gd name="T91" fmla="*/ 17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80" y="208"/>
                  </a:moveTo>
                  <a:cubicBezTo>
                    <a:pt x="87" y="208"/>
                    <a:pt x="87" y="208"/>
                    <a:pt x="87" y="208"/>
                  </a:cubicBezTo>
                  <a:cubicBezTo>
                    <a:pt x="96" y="208"/>
                    <a:pt x="103" y="206"/>
                    <a:pt x="108" y="201"/>
                  </a:cubicBezTo>
                  <a:cubicBezTo>
                    <a:pt x="113" y="197"/>
                    <a:pt x="116" y="191"/>
                    <a:pt x="116" y="183"/>
                  </a:cubicBezTo>
                  <a:cubicBezTo>
                    <a:pt x="116" y="175"/>
                    <a:pt x="114" y="169"/>
                    <a:pt x="109" y="166"/>
                  </a:cubicBezTo>
                  <a:cubicBezTo>
                    <a:pt x="104" y="162"/>
                    <a:pt x="97" y="160"/>
                    <a:pt x="88" y="160"/>
                  </a:cubicBezTo>
                  <a:cubicBezTo>
                    <a:pt x="64" y="160"/>
                    <a:pt x="64" y="160"/>
                    <a:pt x="64" y="160"/>
                  </a:cubicBezTo>
                  <a:cubicBezTo>
                    <a:pt x="64" y="234"/>
                    <a:pt x="64" y="234"/>
                    <a:pt x="64" y="234"/>
                  </a:cubicBezTo>
                  <a:cubicBezTo>
                    <a:pt x="80" y="234"/>
                    <a:pt x="80" y="234"/>
                    <a:pt x="80" y="234"/>
                  </a:cubicBezTo>
                  <a:lnTo>
                    <a:pt x="80" y="208"/>
                  </a:lnTo>
                  <a:close/>
                  <a:moveTo>
                    <a:pt x="80" y="173"/>
                  </a:moveTo>
                  <a:cubicBezTo>
                    <a:pt x="87" y="173"/>
                    <a:pt x="87" y="173"/>
                    <a:pt x="87" y="173"/>
                  </a:cubicBezTo>
                  <a:cubicBezTo>
                    <a:pt x="92" y="173"/>
                    <a:pt x="95" y="174"/>
                    <a:pt x="97" y="175"/>
                  </a:cubicBezTo>
                  <a:cubicBezTo>
                    <a:pt x="99" y="177"/>
                    <a:pt x="100" y="180"/>
                    <a:pt x="100" y="184"/>
                  </a:cubicBezTo>
                  <a:cubicBezTo>
                    <a:pt x="100" y="187"/>
                    <a:pt x="99" y="190"/>
                    <a:pt x="96" y="192"/>
                  </a:cubicBezTo>
                  <a:cubicBezTo>
                    <a:pt x="94" y="194"/>
                    <a:pt x="90" y="195"/>
                    <a:pt x="85" y="195"/>
                  </a:cubicBezTo>
                  <a:cubicBezTo>
                    <a:pt x="80" y="195"/>
                    <a:pt x="80" y="195"/>
                    <a:pt x="80" y="195"/>
                  </a:cubicBezTo>
                  <a:lnTo>
                    <a:pt x="80" y="173"/>
                  </a:lnTo>
                  <a:close/>
                  <a:moveTo>
                    <a:pt x="142" y="208"/>
                  </a:moveTo>
                  <a:cubicBezTo>
                    <a:pt x="148" y="208"/>
                    <a:pt x="148" y="208"/>
                    <a:pt x="148" y="208"/>
                  </a:cubicBezTo>
                  <a:cubicBezTo>
                    <a:pt x="158" y="208"/>
                    <a:pt x="165" y="206"/>
                    <a:pt x="170" y="201"/>
                  </a:cubicBezTo>
                  <a:cubicBezTo>
                    <a:pt x="175" y="197"/>
                    <a:pt x="177" y="191"/>
                    <a:pt x="177" y="183"/>
                  </a:cubicBezTo>
                  <a:cubicBezTo>
                    <a:pt x="177" y="175"/>
                    <a:pt x="175" y="169"/>
                    <a:pt x="170" y="166"/>
                  </a:cubicBezTo>
                  <a:cubicBezTo>
                    <a:pt x="166" y="162"/>
                    <a:pt x="159" y="160"/>
                    <a:pt x="150" y="160"/>
                  </a:cubicBezTo>
                  <a:cubicBezTo>
                    <a:pt x="126" y="160"/>
                    <a:pt x="126" y="160"/>
                    <a:pt x="126" y="160"/>
                  </a:cubicBezTo>
                  <a:cubicBezTo>
                    <a:pt x="126" y="234"/>
                    <a:pt x="126" y="234"/>
                    <a:pt x="126" y="234"/>
                  </a:cubicBezTo>
                  <a:cubicBezTo>
                    <a:pt x="142" y="234"/>
                    <a:pt x="142" y="234"/>
                    <a:pt x="142" y="234"/>
                  </a:cubicBezTo>
                  <a:lnTo>
                    <a:pt x="142" y="208"/>
                  </a:lnTo>
                  <a:close/>
                  <a:moveTo>
                    <a:pt x="142" y="173"/>
                  </a:moveTo>
                  <a:cubicBezTo>
                    <a:pt x="149" y="173"/>
                    <a:pt x="149" y="173"/>
                    <a:pt x="149" y="173"/>
                  </a:cubicBezTo>
                  <a:cubicBezTo>
                    <a:pt x="153" y="173"/>
                    <a:pt x="156" y="174"/>
                    <a:pt x="158" y="175"/>
                  </a:cubicBezTo>
                  <a:cubicBezTo>
                    <a:pt x="160" y="177"/>
                    <a:pt x="161" y="180"/>
                    <a:pt x="161" y="184"/>
                  </a:cubicBezTo>
                  <a:cubicBezTo>
                    <a:pt x="161" y="187"/>
                    <a:pt x="160" y="190"/>
                    <a:pt x="158" y="192"/>
                  </a:cubicBezTo>
                  <a:cubicBezTo>
                    <a:pt x="155" y="194"/>
                    <a:pt x="152" y="195"/>
                    <a:pt x="147" y="195"/>
                  </a:cubicBezTo>
                  <a:cubicBezTo>
                    <a:pt x="142" y="195"/>
                    <a:pt x="142" y="195"/>
                    <a:pt x="142" y="195"/>
                  </a:cubicBezTo>
                  <a:lnTo>
                    <a:pt x="142" y="173"/>
                  </a:lnTo>
                  <a:close/>
                  <a:moveTo>
                    <a:pt x="204" y="173"/>
                  </a:moveTo>
                  <a:cubicBezTo>
                    <a:pt x="184" y="173"/>
                    <a:pt x="184" y="173"/>
                    <a:pt x="184" y="173"/>
                  </a:cubicBezTo>
                  <a:cubicBezTo>
                    <a:pt x="184" y="160"/>
                    <a:pt x="184" y="160"/>
                    <a:pt x="184" y="160"/>
                  </a:cubicBezTo>
                  <a:cubicBezTo>
                    <a:pt x="241" y="160"/>
                    <a:pt x="241" y="160"/>
                    <a:pt x="241" y="160"/>
                  </a:cubicBezTo>
                  <a:cubicBezTo>
                    <a:pt x="241" y="173"/>
                    <a:pt x="241" y="173"/>
                    <a:pt x="241" y="173"/>
                  </a:cubicBezTo>
                  <a:cubicBezTo>
                    <a:pt x="220" y="173"/>
                    <a:pt x="220" y="173"/>
                    <a:pt x="220" y="173"/>
                  </a:cubicBezTo>
                  <a:cubicBezTo>
                    <a:pt x="220" y="234"/>
                    <a:pt x="220" y="234"/>
                    <a:pt x="220" y="234"/>
                  </a:cubicBezTo>
                  <a:cubicBezTo>
                    <a:pt x="204" y="234"/>
                    <a:pt x="204" y="234"/>
                    <a:pt x="204" y="234"/>
                  </a:cubicBezTo>
                  <a:lnTo>
                    <a:pt x="204" y="1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8" name="Group 749">
            <a:extLst>
              <a:ext uri="{FF2B5EF4-FFF2-40B4-BE49-F238E27FC236}">
                <a16:creationId xmlns:a16="http://schemas.microsoft.com/office/drawing/2014/main" id="{C1C4D8C7-0D59-4650-A641-A62023E5FABA}"/>
              </a:ext>
            </a:extLst>
          </p:cNvPr>
          <p:cNvGrpSpPr>
            <a:grpSpLocks noChangeAspect="1"/>
          </p:cNvGrpSpPr>
          <p:nvPr/>
        </p:nvGrpSpPr>
        <p:grpSpPr bwMode="auto">
          <a:xfrm>
            <a:off x="10927483" y="2532035"/>
            <a:ext cx="374119" cy="373038"/>
            <a:chOff x="4963" y="3130"/>
            <a:chExt cx="346" cy="345"/>
          </a:xfrm>
          <a:solidFill>
            <a:schemeClr val="accent2"/>
          </a:solidFill>
        </p:grpSpPr>
        <p:sp>
          <p:nvSpPr>
            <p:cNvPr id="539" name="Rectangle 750">
              <a:extLst>
                <a:ext uri="{FF2B5EF4-FFF2-40B4-BE49-F238E27FC236}">
                  <a16:creationId xmlns:a16="http://schemas.microsoft.com/office/drawing/2014/main" id="{10B283A7-A8B4-4CD0-AC05-59574431EE20}"/>
                </a:ext>
              </a:extLst>
            </p:cNvPr>
            <p:cNvSpPr>
              <a:spLocks noChangeArrowheads="1"/>
            </p:cNvSpPr>
            <p:nvPr/>
          </p:nvSpPr>
          <p:spPr bwMode="auto">
            <a:xfrm>
              <a:off x="5075" y="3378"/>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0" name="Freeform 751">
              <a:extLst>
                <a:ext uri="{FF2B5EF4-FFF2-40B4-BE49-F238E27FC236}">
                  <a16:creationId xmlns:a16="http://schemas.microsoft.com/office/drawing/2014/main" id="{6235B0A5-EBC0-44CA-8F9D-208B42293072}"/>
                </a:ext>
              </a:extLst>
            </p:cNvPr>
            <p:cNvSpPr>
              <a:spLocks/>
            </p:cNvSpPr>
            <p:nvPr/>
          </p:nvSpPr>
          <p:spPr bwMode="auto">
            <a:xfrm>
              <a:off x="5075" y="3208"/>
              <a:ext cx="128" cy="63"/>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1" name="Freeform 752">
              <a:extLst>
                <a:ext uri="{FF2B5EF4-FFF2-40B4-BE49-F238E27FC236}">
                  <a16:creationId xmlns:a16="http://schemas.microsoft.com/office/drawing/2014/main" id="{BAF534D2-78BE-410F-BC24-6DD0F7C62DCE}"/>
                </a:ext>
              </a:extLst>
            </p:cNvPr>
            <p:cNvSpPr>
              <a:spLocks/>
            </p:cNvSpPr>
            <p:nvPr/>
          </p:nvSpPr>
          <p:spPr bwMode="auto">
            <a:xfrm>
              <a:off x="5167" y="321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2" name="Freeform 753">
              <a:extLst>
                <a:ext uri="{FF2B5EF4-FFF2-40B4-BE49-F238E27FC236}">
                  <a16:creationId xmlns:a16="http://schemas.microsoft.com/office/drawing/2014/main" id="{4F454EDD-A93F-482B-B1F4-8488413E6032}"/>
                </a:ext>
              </a:extLst>
            </p:cNvPr>
            <p:cNvSpPr>
              <a:spLocks noEditPoints="1"/>
            </p:cNvSpPr>
            <p:nvPr/>
          </p:nvSpPr>
          <p:spPr bwMode="auto">
            <a:xfrm>
              <a:off x="4963" y="3130"/>
              <a:ext cx="346" cy="345"/>
            </a:xfrm>
            <a:custGeom>
              <a:avLst/>
              <a:gdLst>
                <a:gd name="T0" fmla="*/ 265 w 521"/>
                <a:gd name="T1" fmla="*/ 0 h 520"/>
                <a:gd name="T2" fmla="*/ 9 w 521"/>
                <a:gd name="T3" fmla="*/ 272 h 520"/>
                <a:gd name="T4" fmla="*/ 248 w 521"/>
                <a:gd name="T5" fmla="*/ 511 h 520"/>
                <a:gd name="T6" fmla="*/ 521 w 521"/>
                <a:gd name="T7" fmla="*/ 256 h 520"/>
                <a:gd name="T8" fmla="*/ 265 w 521"/>
                <a:gd name="T9" fmla="*/ 0 h 520"/>
                <a:gd name="T10" fmla="*/ 414 w 521"/>
                <a:gd name="T11" fmla="*/ 362 h 520"/>
                <a:gd name="T12" fmla="*/ 403 w 521"/>
                <a:gd name="T13" fmla="*/ 373 h 520"/>
                <a:gd name="T14" fmla="*/ 382 w 521"/>
                <a:gd name="T15" fmla="*/ 373 h 520"/>
                <a:gd name="T16" fmla="*/ 382 w 521"/>
                <a:gd name="T17" fmla="*/ 405 h 520"/>
                <a:gd name="T18" fmla="*/ 371 w 521"/>
                <a:gd name="T19" fmla="*/ 416 h 520"/>
                <a:gd name="T20" fmla="*/ 158 w 521"/>
                <a:gd name="T21" fmla="*/ 416 h 520"/>
                <a:gd name="T22" fmla="*/ 147 w 521"/>
                <a:gd name="T23" fmla="*/ 405 h 520"/>
                <a:gd name="T24" fmla="*/ 147 w 521"/>
                <a:gd name="T25" fmla="*/ 373 h 520"/>
                <a:gd name="T26" fmla="*/ 126 w 521"/>
                <a:gd name="T27" fmla="*/ 373 h 520"/>
                <a:gd name="T28" fmla="*/ 115 w 521"/>
                <a:gd name="T29" fmla="*/ 362 h 520"/>
                <a:gd name="T30" fmla="*/ 115 w 521"/>
                <a:gd name="T31" fmla="*/ 224 h 520"/>
                <a:gd name="T32" fmla="*/ 126 w 521"/>
                <a:gd name="T33" fmla="*/ 213 h 520"/>
                <a:gd name="T34" fmla="*/ 147 w 521"/>
                <a:gd name="T35" fmla="*/ 213 h 520"/>
                <a:gd name="T36" fmla="*/ 147 w 521"/>
                <a:gd name="T37" fmla="*/ 106 h 520"/>
                <a:gd name="T38" fmla="*/ 158 w 521"/>
                <a:gd name="T39" fmla="*/ 96 h 520"/>
                <a:gd name="T40" fmla="*/ 297 w 521"/>
                <a:gd name="T41" fmla="*/ 96 h 520"/>
                <a:gd name="T42" fmla="*/ 301 w 521"/>
                <a:gd name="T43" fmla="*/ 96 h 520"/>
                <a:gd name="T44" fmla="*/ 304 w 521"/>
                <a:gd name="T45" fmla="*/ 99 h 520"/>
                <a:gd name="T46" fmla="*/ 379 w 521"/>
                <a:gd name="T47" fmla="*/ 173 h 520"/>
                <a:gd name="T48" fmla="*/ 381 w 521"/>
                <a:gd name="T49" fmla="*/ 177 h 520"/>
                <a:gd name="T50" fmla="*/ 382 w 521"/>
                <a:gd name="T51" fmla="*/ 181 h 520"/>
                <a:gd name="T52" fmla="*/ 382 w 521"/>
                <a:gd name="T53" fmla="*/ 213 h 520"/>
                <a:gd name="T54" fmla="*/ 403 w 521"/>
                <a:gd name="T55" fmla="*/ 213 h 520"/>
                <a:gd name="T56" fmla="*/ 414 w 521"/>
                <a:gd name="T57" fmla="*/ 224 h 520"/>
                <a:gd name="T58" fmla="*/ 414 w 521"/>
                <a:gd name="T59" fmla="*/ 362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1" h="520">
                  <a:moveTo>
                    <a:pt x="265" y="0"/>
                  </a:moveTo>
                  <a:cubicBezTo>
                    <a:pt x="118" y="0"/>
                    <a:pt x="0" y="123"/>
                    <a:pt x="9" y="272"/>
                  </a:cubicBezTo>
                  <a:cubicBezTo>
                    <a:pt x="17" y="399"/>
                    <a:pt x="121" y="503"/>
                    <a:pt x="248" y="511"/>
                  </a:cubicBezTo>
                  <a:cubicBezTo>
                    <a:pt x="397" y="520"/>
                    <a:pt x="521" y="402"/>
                    <a:pt x="521" y="256"/>
                  </a:cubicBezTo>
                  <a:cubicBezTo>
                    <a:pt x="521" y="114"/>
                    <a:pt x="406" y="0"/>
                    <a:pt x="265" y="0"/>
                  </a:cubicBezTo>
                  <a:close/>
                  <a:moveTo>
                    <a:pt x="414" y="362"/>
                  </a:moveTo>
                  <a:cubicBezTo>
                    <a:pt x="414" y="368"/>
                    <a:pt x="409" y="373"/>
                    <a:pt x="403" y="373"/>
                  </a:cubicBezTo>
                  <a:cubicBezTo>
                    <a:pt x="382" y="373"/>
                    <a:pt x="382" y="373"/>
                    <a:pt x="382" y="373"/>
                  </a:cubicBezTo>
                  <a:cubicBezTo>
                    <a:pt x="382" y="405"/>
                    <a:pt x="382" y="405"/>
                    <a:pt x="382" y="405"/>
                  </a:cubicBezTo>
                  <a:cubicBezTo>
                    <a:pt x="382" y="411"/>
                    <a:pt x="377" y="416"/>
                    <a:pt x="371" y="416"/>
                  </a:cubicBezTo>
                  <a:cubicBezTo>
                    <a:pt x="158" y="416"/>
                    <a:pt x="158" y="416"/>
                    <a:pt x="158" y="416"/>
                  </a:cubicBezTo>
                  <a:cubicBezTo>
                    <a:pt x="152" y="416"/>
                    <a:pt x="147" y="411"/>
                    <a:pt x="147" y="405"/>
                  </a:cubicBezTo>
                  <a:cubicBezTo>
                    <a:pt x="147" y="373"/>
                    <a:pt x="147" y="373"/>
                    <a:pt x="147" y="373"/>
                  </a:cubicBezTo>
                  <a:cubicBezTo>
                    <a:pt x="126" y="373"/>
                    <a:pt x="126" y="373"/>
                    <a:pt x="126" y="373"/>
                  </a:cubicBezTo>
                  <a:cubicBezTo>
                    <a:pt x="120" y="373"/>
                    <a:pt x="115" y="368"/>
                    <a:pt x="115" y="362"/>
                  </a:cubicBezTo>
                  <a:cubicBezTo>
                    <a:pt x="115" y="224"/>
                    <a:pt x="115" y="224"/>
                    <a:pt x="115" y="224"/>
                  </a:cubicBezTo>
                  <a:cubicBezTo>
                    <a:pt x="115" y="218"/>
                    <a:pt x="120" y="213"/>
                    <a:pt x="126" y="213"/>
                  </a:cubicBezTo>
                  <a:cubicBezTo>
                    <a:pt x="147" y="213"/>
                    <a:pt x="147" y="213"/>
                    <a:pt x="147" y="213"/>
                  </a:cubicBezTo>
                  <a:cubicBezTo>
                    <a:pt x="147" y="106"/>
                    <a:pt x="147" y="106"/>
                    <a:pt x="147" y="106"/>
                  </a:cubicBezTo>
                  <a:cubicBezTo>
                    <a:pt x="147" y="100"/>
                    <a:pt x="152" y="96"/>
                    <a:pt x="158" y="96"/>
                  </a:cubicBezTo>
                  <a:cubicBezTo>
                    <a:pt x="297" y="96"/>
                    <a:pt x="297" y="96"/>
                    <a:pt x="297" y="96"/>
                  </a:cubicBezTo>
                  <a:cubicBezTo>
                    <a:pt x="298" y="96"/>
                    <a:pt x="299" y="96"/>
                    <a:pt x="301" y="96"/>
                  </a:cubicBezTo>
                  <a:cubicBezTo>
                    <a:pt x="302" y="97"/>
                    <a:pt x="303" y="98"/>
                    <a:pt x="304" y="99"/>
                  </a:cubicBezTo>
                  <a:cubicBezTo>
                    <a:pt x="379" y="173"/>
                    <a:pt x="379" y="173"/>
                    <a:pt x="379" y="173"/>
                  </a:cubicBezTo>
                  <a:cubicBezTo>
                    <a:pt x="380" y="174"/>
                    <a:pt x="381" y="176"/>
                    <a:pt x="381" y="177"/>
                  </a:cubicBezTo>
                  <a:cubicBezTo>
                    <a:pt x="382" y="178"/>
                    <a:pt x="382" y="180"/>
                    <a:pt x="382" y="181"/>
                  </a:cubicBezTo>
                  <a:cubicBezTo>
                    <a:pt x="382" y="213"/>
                    <a:pt x="382" y="213"/>
                    <a:pt x="382" y="213"/>
                  </a:cubicBezTo>
                  <a:cubicBezTo>
                    <a:pt x="403" y="213"/>
                    <a:pt x="403" y="213"/>
                    <a:pt x="403" y="213"/>
                  </a:cubicBezTo>
                  <a:cubicBezTo>
                    <a:pt x="409" y="213"/>
                    <a:pt x="414" y="218"/>
                    <a:pt x="414" y="224"/>
                  </a:cubicBezTo>
                  <a:lnTo>
                    <a:pt x="414"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3" name="Freeform 754">
              <a:extLst>
                <a:ext uri="{FF2B5EF4-FFF2-40B4-BE49-F238E27FC236}">
                  <a16:creationId xmlns:a16="http://schemas.microsoft.com/office/drawing/2014/main" id="{662A5249-EA39-4D5D-BD43-FEFC523FC125}"/>
                </a:ext>
              </a:extLst>
            </p:cNvPr>
            <p:cNvSpPr>
              <a:spLocks noEditPoints="1"/>
            </p:cNvSpPr>
            <p:nvPr/>
          </p:nvSpPr>
          <p:spPr bwMode="auto">
            <a:xfrm>
              <a:off x="5054" y="3285"/>
              <a:ext cx="170" cy="79"/>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65 w 256"/>
                <a:gd name="T11" fmla="*/ 78 h 118"/>
                <a:gd name="T12" fmla="*/ 178 w 256"/>
                <a:gd name="T13" fmla="*/ 83 h 118"/>
                <a:gd name="T14" fmla="*/ 188 w 256"/>
                <a:gd name="T15" fmla="*/ 84 h 118"/>
                <a:gd name="T16" fmla="*/ 196 w 256"/>
                <a:gd name="T17" fmla="*/ 82 h 118"/>
                <a:gd name="T18" fmla="*/ 198 w 256"/>
                <a:gd name="T19" fmla="*/ 76 h 118"/>
                <a:gd name="T20" fmla="*/ 197 w 256"/>
                <a:gd name="T21" fmla="*/ 72 h 118"/>
                <a:gd name="T22" fmla="*/ 194 w 256"/>
                <a:gd name="T23" fmla="*/ 69 h 118"/>
                <a:gd name="T24" fmla="*/ 184 w 256"/>
                <a:gd name="T25" fmla="*/ 64 h 118"/>
                <a:gd name="T26" fmla="*/ 174 w 256"/>
                <a:gd name="T27" fmla="*/ 58 h 118"/>
                <a:gd name="T28" fmla="*/ 168 w 256"/>
                <a:gd name="T29" fmla="*/ 51 h 118"/>
                <a:gd name="T30" fmla="*/ 166 w 256"/>
                <a:gd name="T31" fmla="*/ 42 h 118"/>
                <a:gd name="T32" fmla="*/ 173 w 256"/>
                <a:gd name="T33" fmla="*/ 26 h 118"/>
                <a:gd name="T34" fmla="*/ 191 w 256"/>
                <a:gd name="T35" fmla="*/ 21 h 118"/>
                <a:gd name="T36" fmla="*/ 203 w 256"/>
                <a:gd name="T37" fmla="*/ 22 h 118"/>
                <a:gd name="T38" fmla="*/ 214 w 256"/>
                <a:gd name="T39" fmla="*/ 26 h 118"/>
                <a:gd name="T40" fmla="*/ 208 w 256"/>
                <a:gd name="T41" fmla="*/ 38 h 118"/>
                <a:gd name="T42" fmla="*/ 199 w 256"/>
                <a:gd name="T43" fmla="*/ 35 h 118"/>
                <a:gd name="T44" fmla="*/ 191 w 256"/>
                <a:gd name="T45" fmla="*/ 34 h 118"/>
                <a:gd name="T46" fmla="*/ 184 w 256"/>
                <a:gd name="T47" fmla="*/ 36 h 118"/>
                <a:gd name="T48" fmla="*/ 182 w 256"/>
                <a:gd name="T49" fmla="*/ 41 h 118"/>
                <a:gd name="T50" fmla="*/ 183 w 256"/>
                <a:gd name="T51" fmla="*/ 45 h 118"/>
                <a:gd name="T52" fmla="*/ 186 w 256"/>
                <a:gd name="T53" fmla="*/ 48 h 118"/>
                <a:gd name="T54" fmla="*/ 196 w 256"/>
                <a:gd name="T55" fmla="*/ 53 h 118"/>
                <a:gd name="T56" fmla="*/ 210 w 256"/>
                <a:gd name="T57" fmla="*/ 63 h 118"/>
                <a:gd name="T58" fmla="*/ 214 w 256"/>
                <a:gd name="T59" fmla="*/ 76 h 118"/>
                <a:gd name="T60" fmla="*/ 207 w 256"/>
                <a:gd name="T61" fmla="*/ 92 h 118"/>
                <a:gd name="T62" fmla="*/ 186 w 256"/>
                <a:gd name="T63" fmla="*/ 97 h 118"/>
                <a:gd name="T64" fmla="*/ 165 w 256"/>
                <a:gd name="T65" fmla="*/ 93 h 118"/>
                <a:gd name="T66" fmla="*/ 165 w 256"/>
                <a:gd name="T67" fmla="*/ 78 h 118"/>
                <a:gd name="T68" fmla="*/ 111 w 256"/>
                <a:gd name="T69" fmla="*/ 22 h 118"/>
                <a:gd name="T70" fmla="*/ 127 w 256"/>
                <a:gd name="T71" fmla="*/ 22 h 118"/>
                <a:gd name="T72" fmla="*/ 127 w 256"/>
                <a:gd name="T73" fmla="*/ 83 h 118"/>
                <a:gd name="T74" fmla="*/ 157 w 256"/>
                <a:gd name="T75" fmla="*/ 83 h 118"/>
                <a:gd name="T76" fmla="*/ 157 w 256"/>
                <a:gd name="T77" fmla="*/ 96 h 118"/>
                <a:gd name="T78" fmla="*/ 111 w 256"/>
                <a:gd name="T79" fmla="*/ 96 h 118"/>
                <a:gd name="T80" fmla="*/ 111 w 256"/>
                <a:gd name="T81" fmla="*/ 22 h 118"/>
                <a:gd name="T82" fmla="*/ 33 w 256"/>
                <a:gd name="T83" fmla="*/ 22 h 118"/>
                <a:gd name="T84" fmla="*/ 51 w 256"/>
                <a:gd name="T85" fmla="*/ 22 h 118"/>
                <a:gd name="T86" fmla="*/ 67 w 256"/>
                <a:gd name="T87" fmla="*/ 49 h 118"/>
                <a:gd name="T88" fmla="*/ 83 w 256"/>
                <a:gd name="T89" fmla="*/ 22 h 118"/>
                <a:gd name="T90" fmla="*/ 100 w 256"/>
                <a:gd name="T91" fmla="*/ 22 h 118"/>
                <a:gd name="T92" fmla="*/ 76 w 256"/>
                <a:gd name="T93" fmla="*/ 59 h 118"/>
                <a:gd name="T94" fmla="*/ 101 w 256"/>
                <a:gd name="T95" fmla="*/ 96 h 118"/>
                <a:gd name="T96" fmla="*/ 83 w 256"/>
                <a:gd name="T97" fmla="*/ 96 h 118"/>
                <a:gd name="T98" fmla="*/ 66 w 256"/>
                <a:gd name="T99" fmla="*/ 68 h 118"/>
                <a:gd name="T100" fmla="*/ 49 w 256"/>
                <a:gd name="T101" fmla="*/ 96 h 118"/>
                <a:gd name="T102" fmla="*/ 32 w 256"/>
                <a:gd name="T103" fmla="*/ 96 h 118"/>
                <a:gd name="T104" fmla="*/ 56 w 256"/>
                <a:gd name="T105" fmla="*/ 58 h 118"/>
                <a:gd name="T106" fmla="*/ 33 w 256"/>
                <a:gd name="T107"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65" y="78"/>
                  </a:moveTo>
                  <a:cubicBezTo>
                    <a:pt x="170" y="80"/>
                    <a:pt x="175" y="82"/>
                    <a:pt x="178" y="83"/>
                  </a:cubicBezTo>
                  <a:cubicBezTo>
                    <a:pt x="182" y="84"/>
                    <a:pt x="185" y="84"/>
                    <a:pt x="188" y="84"/>
                  </a:cubicBezTo>
                  <a:cubicBezTo>
                    <a:pt x="191" y="84"/>
                    <a:pt x="194" y="84"/>
                    <a:pt x="196" y="82"/>
                  </a:cubicBezTo>
                  <a:cubicBezTo>
                    <a:pt x="197" y="81"/>
                    <a:pt x="198" y="79"/>
                    <a:pt x="198" y="76"/>
                  </a:cubicBezTo>
                  <a:cubicBezTo>
                    <a:pt x="198" y="75"/>
                    <a:pt x="198" y="74"/>
                    <a:pt x="197" y="72"/>
                  </a:cubicBezTo>
                  <a:cubicBezTo>
                    <a:pt x="196" y="71"/>
                    <a:pt x="195" y="70"/>
                    <a:pt x="194" y="69"/>
                  </a:cubicBezTo>
                  <a:cubicBezTo>
                    <a:pt x="192" y="68"/>
                    <a:pt x="189" y="66"/>
                    <a:pt x="184" y="64"/>
                  </a:cubicBezTo>
                  <a:cubicBezTo>
                    <a:pt x="179" y="62"/>
                    <a:pt x="176" y="60"/>
                    <a:pt x="174" y="58"/>
                  </a:cubicBezTo>
                  <a:cubicBezTo>
                    <a:pt x="171" y="56"/>
                    <a:pt x="170" y="54"/>
                    <a:pt x="168" y="51"/>
                  </a:cubicBezTo>
                  <a:cubicBezTo>
                    <a:pt x="167" y="48"/>
                    <a:pt x="166" y="45"/>
                    <a:pt x="166" y="42"/>
                  </a:cubicBezTo>
                  <a:cubicBezTo>
                    <a:pt x="166" y="35"/>
                    <a:pt x="168" y="30"/>
                    <a:pt x="173" y="26"/>
                  </a:cubicBezTo>
                  <a:cubicBezTo>
                    <a:pt x="177" y="23"/>
                    <a:pt x="184" y="21"/>
                    <a:pt x="191" y="21"/>
                  </a:cubicBezTo>
                  <a:cubicBezTo>
                    <a:pt x="195" y="21"/>
                    <a:pt x="199" y="21"/>
                    <a:pt x="203" y="22"/>
                  </a:cubicBezTo>
                  <a:cubicBezTo>
                    <a:pt x="206" y="23"/>
                    <a:pt x="210" y="24"/>
                    <a:pt x="214" y="26"/>
                  </a:cubicBezTo>
                  <a:cubicBezTo>
                    <a:pt x="208" y="38"/>
                    <a:pt x="208" y="38"/>
                    <a:pt x="208" y="38"/>
                  </a:cubicBezTo>
                  <a:cubicBezTo>
                    <a:pt x="204" y="37"/>
                    <a:pt x="201" y="35"/>
                    <a:pt x="199" y="35"/>
                  </a:cubicBezTo>
                  <a:cubicBezTo>
                    <a:pt x="196" y="34"/>
                    <a:pt x="193" y="34"/>
                    <a:pt x="191" y="34"/>
                  </a:cubicBezTo>
                  <a:cubicBezTo>
                    <a:pt x="188" y="34"/>
                    <a:pt x="186" y="35"/>
                    <a:pt x="184" y="36"/>
                  </a:cubicBezTo>
                  <a:cubicBezTo>
                    <a:pt x="182" y="37"/>
                    <a:pt x="182" y="39"/>
                    <a:pt x="182" y="41"/>
                  </a:cubicBezTo>
                  <a:cubicBezTo>
                    <a:pt x="182" y="43"/>
                    <a:pt x="182" y="44"/>
                    <a:pt x="183" y="45"/>
                  </a:cubicBezTo>
                  <a:cubicBezTo>
                    <a:pt x="183" y="46"/>
                    <a:pt x="184" y="47"/>
                    <a:pt x="186" y="48"/>
                  </a:cubicBezTo>
                  <a:cubicBezTo>
                    <a:pt x="187" y="49"/>
                    <a:pt x="190" y="51"/>
                    <a:pt x="196" y="53"/>
                  </a:cubicBezTo>
                  <a:cubicBezTo>
                    <a:pt x="203" y="57"/>
                    <a:pt x="207" y="60"/>
                    <a:pt x="210" y="63"/>
                  </a:cubicBezTo>
                  <a:cubicBezTo>
                    <a:pt x="213" y="67"/>
                    <a:pt x="214" y="71"/>
                    <a:pt x="214" y="76"/>
                  </a:cubicBezTo>
                  <a:cubicBezTo>
                    <a:pt x="214" y="82"/>
                    <a:pt x="211" y="88"/>
                    <a:pt x="207" y="92"/>
                  </a:cubicBezTo>
                  <a:cubicBezTo>
                    <a:pt x="202" y="95"/>
                    <a:pt x="195" y="97"/>
                    <a:pt x="186" y="97"/>
                  </a:cubicBezTo>
                  <a:cubicBezTo>
                    <a:pt x="178" y="97"/>
                    <a:pt x="171" y="96"/>
                    <a:pt x="165" y="93"/>
                  </a:cubicBezTo>
                  <a:lnTo>
                    <a:pt x="165" y="78"/>
                  </a:lnTo>
                  <a:close/>
                  <a:moveTo>
                    <a:pt x="111" y="22"/>
                  </a:moveTo>
                  <a:cubicBezTo>
                    <a:pt x="127" y="22"/>
                    <a:pt x="127" y="22"/>
                    <a:pt x="127" y="22"/>
                  </a:cubicBezTo>
                  <a:cubicBezTo>
                    <a:pt x="127" y="83"/>
                    <a:pt x="127" y="83"/>
                    <a:pt x="127" y="83"/>
                  </a:cubicBezTo>
                  <a:cubicBezTo>
                    <a:pt x="157" y="83"/>
                    <a:pt x="157" y="83"/>
                    <a:pt x="157" y="83"/>
                  </a:cubicBezTo>
                  <a:cubicBezTo>
                    <a:pt x="157" y="96"/>
                    <a:pt x="157" y="96"/>
                    <a:pt x="157" y="96"/>
                  </a:cubicBezTo>
                  <a:cubicBezTo>
                    <a:pt x="111" y="96"/>
                    <a:pt x="111" y="96"/>
                    <a:pt x="111" y="96"/>
                  </a:cubicBezTo>
                  <a:lnTo>
                    <a:pt x="111" y="22"/>
                  </a:lnTo>
                  <a:close/>
                  <a:moveTo>
                    <a:pt x="33" y="22"/>
                  </a:moveTo>
                  <a:cubicBezTo>
                    <a:pt x="51" y="22"/>
                    <a:pt x="51" y="22"/>
                    <a:pt x="51" y="22"/>
                  </a:cubicBezTo>
                  <a:cubicBezTo>
                    <a:pt x="67" y="49"/>
                    <a:pt x="67" y="49"/>
                    <a:pt x="67" y="49"/>
                  </a:cubicBezTo>
                  <a:cubicBezTo>
                    <a:pt x="83" y="22"/>
                    <a:pt x="83" y="22"/>
                    <a:pt x="83" y="22"/>
                  </a:cubicBezTo>
                  <a:cubicBezTo>
                    <a:pt x="100" y="22"/>
                    <a:pt x="100" y="22"/>
                    <a:pt x="100" y="22"/>
                  </a:cubicBezTo>
                  <a:cubicBezTo>
                    <a:pt x="76" y="59"/>
                    <a:pt x="76" y="59"/>
                    <a:pt x="76" y="59"/>
                  </a:cubicBezTo>
                  <a:cubicBezTo>
                    <a:pt x="101" y="96"/>
                    <a:pt x="101" y="96"/>
                    <a:pt x="101" y="96"/>
                  </a:cubicBezTo>
                  <a:cubicBezTo>
                    <a:pt x="83" y="96"/>
                    <a:pt x="83" y="96"/>
                    <a:pt x="83" y="96"/>
                  </a:cubicBezTo>
                  <a:cubicBezTo>
                    <a:pt x="66" y="68"/>
                    <a:pt x="66" y="68"/>
                    <a:pt x="66" y="68"/>
                  </a:cubicBezTo>
                  <a:cubicBezTo>
                    <a:pt x="49" y="96"/>
                    <a:pt x="49" y="96"/>
                    <a:pt x="49" y="96"/>
                  </a:cubicBezTo>
                  <a:cubicBezTo>
                    <a:pt x="32" y="96"/>
                    <a:pt x="32" y="96"/>
                    <a:pt x="32" y="96"/>
                  </a:cubicBezTo>
                  <a:cubicBezTo>
                    <a:pt x="56" y="58"/>
                    <a:pt x="56" y="58"/>
                    <a:pt x="56" y="58"/>
                  </a:cubicBezTo>
                  <a:lnTo>
                    <a:pt x="33"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44" name="Group 757">
            <a:extLst>
              <a:ext uri="{FF2B5EF4-FFF2-40B4-BE49-F238E27FC236}">
                <a16:creationId xmlns:a16="http://schemas.microsoft.com/office/drawing/2014/main" id="{897E907D-6E63-40F3-8EF2-B83A37A1B737}"/>
              </a:ext>
            </a:extLst>
          </p:cNvPr>
          <p:cNvGrpSpPr>
            <a:grpSpLocks noChangeAspect="1"/>
          </p:cNvGrpSpPr>
          <p:nvPr/>
        </p:nvGrpSpPr>
        <p:grpSpPr bwMode="auto">
          <a:xfrm>
            <a:off x="11368745" y="2532035"/>
            <a:ext cx="367631" cy="367631"/>
            <a:chOff x="5285" y="3084"/>
            <a:chExt cx="340" cy="340"/>
          </a:xfrm>
          <a:solidFill>
            <a:schemeClr val="accent2"/>
          </a:solidFill>
        </p:grpSpPr>
        <p:sp>
          <p:nvSpPr>
            <p:cNvPr id="545" name="Freeform 758">
              <a:extLst>
                <a:ext uri="{FF2B5EF4-FFF2-40B4-BE49-F238E27FC236}">
                  <a16:creationId xmlns:a16="http://schemas.microsoft.com/office/drawing/2014/main" id="{6B4BDFBA-822F-404A-A8BC-42937F5F61D9}"/>
                </a:ext>
              </a:extLst>
            </p:cNvPr>
            <p:cNvSpPr>
              <a:spLocks noEditPoints="1"/>
            </p:cNvSpPr>
            <p:nvPr/>
          </p:nvSpPr>
          <p:spPr bwMode="auto">
            <a:xfrm>
              <a:off x="5285" y="308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6" name="Freeform 759">
              <a:extLst>
                <a:ext uri="{FF2B5EF4-FFF2-40B4-BE49-F238E27FC236}">
                  <a16:creationId xmlns:a16="http://schemas.microsoft.com/office/drawing/2014/main" id="{63E56B85-AB5F-4730-9E17-5B2849BD8FC9}"/>
                </a:ext>
              </a:extLst>
            </p:cNvPr>
            <p:cNvSpPr>
              <a:spLocks noEditPoints="1"/>
            </p:cNvSpPr>
            <p:nvPr/>
          </p:nvSpPr>
          <p:spPr bwMode="auto">
            <a:xfrm>
              <a:off x="5355" y="3148"/>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208 w 299"/>
                <a:gd name="T47" fmla="*/ 235 h 320"/>
                <a:gd name="T48" fmla="*/ 187 w 299"/>
                <a:gd name="T49" fmla="*/ 216 h 320"/>
                <a:gd name="T50" fmla="*/ 210 w 299"/>
                <a:gd name="T51" fmla="*/ 222 h 320"/>
                <a:gd name="T52" fmla="*/ 220 w 299"/>
                <a:gd name="T53" fmla="*/ 214 h 320"/>
                <a:gd name="T54" fmla="*/ 216 w 299"/>
                <a:gd name="T55" fmla="*/ 207 h 320"/>
                <a:gd name="T56" fmla="*/ 196 w 299"/>
                <a:gd name="T57" fmla="*/ 196 h 320"/>
                <a:gd name="T58" fmla="*/ 188 w 299"/>
                <a:gd name="T59" fmla="*/ 180 h 320"/>
                <a:gd name="T60" fmla="*/ 213 w 299"/>
                <a:gd name="T61" fmla="*/ 159 h 320"/>
                <a:gd name="T62" fmla="*/ 236 w 299"/>
                <a:gd name="T63" fmla="*/ 164 h 320"/>
                <a:gd name="T64" fmla="*/ 221 w 299"/>
                <a:gd name="T65" fmla="*/ 173 h 320"/>
                <a:gd name="T66" fmla="*/ 206 w 299"/>
                <a:gd name="T67" fmla="*/ 174 h 320"/>
                <a:gd name="T68" fmla="*/ 205 w 299"/>
                <a:gd name="T69" fmla="*/ 183 h 320"/>
                <a:gd name="T70" fmla="*/ 218 w 299"/>
                <a:gd name="T71" fmla="*/ 191 h 320"/>
                <a:gd name="T72" fmla="*/ 236 w 299"/>
                <a:gd name="T73" fmla="*/ 214 h 320"/>
                <a:gd name="T74" fmla="*/ 208 w 299"/>
                <a:gd name="T75" fmla="*/ 235 h 320"/>
                <a:gd name="T76" fmla="*/ 78 w 299"/>
                <a:gd name="T77" fmla="*/ 196 h 320"/>
                <a:gd name="T78" fmla="*/ 73 w 299"/>
                <a:gd name="T79" fmla="*/ 160 h 320"/>
                <a:gd name="T80" fmla="*/ 105 w 299"/>
                <a:gd name="T81" fmla="*/ 160 h 320"/>
                <a:gd name="T82" fmla="*/ 98 w 299"/>
                <a:gd name="T83" fmla="*/ 197 h 320"/>
                <a:gd name="T84" fmla="*/ 105 w 299"/>
                <a:gd name="T85" fmla="*/ 234 h 320"/>
                <a:gd name="T86" fmla="*/ 71 w 299"/>
                <a:gd name="T87" fmla="*/ 234 h 320"/>
                <a:gd name="T88" fmla="*/ 179 w 299"/>
                <a:gd name="T89" fmla="*/ 234 h 320"/>
                <a:gd name="T90" fmla="*/ 133 w 299"/>
                <a:gd name="T91" fmla="*/ 160 h 320"/>
                <a:gd name="T92" fmla="*/ 149 w 299"/>
                <a:gd name="T93" fmla="*/ 221 h 320"/>
                <a:gd name="T94" fmla="*/ 179 w 299"/>
                <a:gd name="T9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208" y="235"/>
                  </a:moveTo>
                  <a:cubicBezTo>
                    <a:pt x="200" y="235"/>
                    <a:pt x="193" y="234"/>
                    <a:pt x="187" y="231"/>
                  </a:cubicBezTo>
                  <a:cubicBezTo>
                    <a:pt x="187" y="216"/>
                    <a:pt x="187" y="216"/>
                    <a:pt x="187" y="216"/>
                  </a:cubicBezTo>
                  <a:cubicBezTo>
                    <a:pt x="192" y="218"/>
                    <a:pt x="197" y="220"/>
                    <a:pt x="200" y="221"/>
                  </a:cubicBezTo>
                  <a:cubicBezTo>
                    <a:pt x="204" y="222"/>
                    <a:pt x="207" y="222"/>
                    <a:pt x="210" y="222"/>
                  </a:cubicBezTo>
                  <a:cubicBezTo>
                    <a:pt x="213" y="222"/>
                    <a:pt x="216" y="222"/>
                    <a:pt x="218" y="220"/>
                  </a:cubicBezTo>
                  <a:cubicBezTo>
                    <a:pt x="219" y="219"/>
                    <a:pt x="220" y="217"/>
                    <a:pt x="220" y="214"/>
                  </a:cubicBezTo>
                  <a:cubicBezTo>
                    <a:pt x="220" y="213"/>
                    <a:pt x="220" y="212"/>
                    <a:pt x="219" y="210"/>
                  </a:cubicBezTo>
                  <a:cubicBezTo>
                    <a:pt x="218" y="209"/>
                    <a:pt x="217" y="208"/>
                    <a:pt x="216" y="207"/>
                  </a:cubicBezTo>
                  <a:cubicBezTo>
                    <a:pt x="214" y="206"/>
                    <a:pt x="211" y="204"/>
                    <a:pt x="206" y="202"/>
                  </a:cubicBezTo>
                  <a:cubicBezTo>
                    <a:pt x="201" y="200"/>
                    <a:pt x="198" y="198"/>
                    <a:pt x="196" y="196"/>
                  </a:cubicBezTo>
                  <a:cubicBezTo>
                    <a:pt x="193" y="194"/>
                    <a:pt x="192" y="192"/>
                    <a:pt x="190" y="189"/>
                  </a:cubicBezTo>
                  <a:cubicBezTo>
                    <a:pt x="189" y="186"/>
                    <a:pt x="188" y="183"/>
                    <a:pt x="188" y="180"/>
                  </a:cubicBezTo>
                  <a:cubicBezTo>
                    <a:pt x="188" y="173"/>
                    <a:pt x="190" y="168"/>
                    <a:pt x="195" y="164"/>
                  </a:cubicBezTo>
                  <a:cubicBezTo>
                    <a:pt x="199" y="161"/>
                    <a:pt x="206" y="159"/>
                    <a:pt x="213" y="159"/>
                  </a:cubicBezTo>
                  <a:cubicBezTo>
                    <a:pt x="217" y="159"/>
                    <a:pt x="221" y="159"/>
                    <a:pt x="225" y="160"/>
                  </a:cubicBezTo>
                  <a:cubicBezTo>
                    <a:pt x="228" y="161"/>
                    <a:pt x="232" y="162"/>
                    <a:pt x="236" y="164"/>
                  </a:cubicBezTo>
                  <a:cubicBezTo>
                    <a:pt x="230" y="176"/>
                    <a:pt x="230" y="176"/>
                    <a:pt x="230" y="176"/>
                  </a:cubicBezTo>
                  <a:cubicBezTo>
                    <a:pt x="226" y="175"/>
                    <a:pt x="223" y="173"/>
                    <a:pt x="221" y="173"/>
                  </a:cubicBezTo>
                  <a:cubicBezTo>
                    <a:pt x="218" y="172"/>
                    <a:pt x="215" y="172"/>
                    <a:pt x="213" y="172"/>
                  </a:cubicBezTo>
                  <a:cubicBezTo>
                    <a:pt x="210" y="172"/>
                    <a:pt x="208" y="173"/>
                    <a:pt x="206" y="174"/>
                  </a:cubicBezTo>
                  <a:cubicBezTo>
                    <a:pt x="204" y="175"/>
                    <a:pt x="204" y="177"/>
                    <a:pt x="204" y="179"/>
                  </a:cubicBezTo>
                  <a:cubicBezTo>
                    <a:pt x="204" y="181"/>
                    <a:pt x="204" y="182"/>
                    <a:pt x="205" y="183"/>
                  </a:cubicBezTo>
                  <a:cubicBezTo>
                    <a:pt x="205" y="184"/>
                    <a:pt x="206" y="185"/>
                    <a:pt x="208" y="186"/>
                  </a:cubicBezTo>
                  <a:cubicBezTo>
                    <a:pt x="209" y="187"/>
                    <a:pt x="212" y="189"/>
                    <a:pt x="218" y="191"/>
                  </a:cubicBezTo>
                  <a:cubicBezTo>
                    <a:pt x="225" y="195"/>
                    <a:pt x="229" y="198"/>
                    <a:pt x="232" y="201"/>
                  </a:cubicBezTo>
                  <a:cubicBezTo>
                    <a:pt x="235" y="205"/>
                    <a:pt x="236" y="209"/>
                    <a:pt x="236" y="214"/>
                  </a:cubicBezTo>
                  <a:cubicBezTo>
                    <a:pt x="236" y="220"/>
                    <a:pt x="233" y="226"/>
                    <a:pt x="229" y="230"/>
                  </a:cubicBezTo>
                  <a:cubicBezTo>
                    <a:pt x="224" y="233"/>
                    <a:pt x="217" y="235"/>
                    <a:pt x="208" y="235"/>
                  </a:cubicBezTo>
                  <a:close/>
                  <a:moveTo>
                    <a:pt x="54" y="234"/>
                  </a:moveTo>
                  <a:cubicBezTo>
                    <a:pt x="78" y="196"/>
                    <a:pt x="78" y="196"/>
                    <a:pt x="78" y="196"/>
                  </a:cubicBezTo>
                  <a:cubicBezTo>
                    <a:pt x="55" y="160"/>
                    <a:pt x="55" y="160"/>
                    <a:pt x="55" y="160"/>
                  </a:cubicBezTo>
                  <a:cubicBezTo>
                    <a:pt x="73" y="160"/>
                    <a:pt x="73" y="160"/>
                    <a:pt x="73" y="160"/>
                  </a:cubicBezTo>
                  <a:cubicBezTo>
                    <a:pt x="89" y="187"/>
                    <a:pt x="89" y="187"/>
                    <a:pt x="89" y="187"/>
                  </a:cubicBezTo>
                  <a:cubicBezTo>
                    <a:pt x="105" y="160"/>
                    <a:pt x="105" y="160"/>
                    <a:pt x="105" y="160"/>
                  </a:cubicBezTo>
                  <a:cubicBezTo>
                    <a:pt x="122" y="160"/>
                    <a:pt x="122" y="160"/>
                    <a:pt x="122" y="160"/>
                  </a:cubicBezTo>
                  <a:cubicBezTo>
                    <a:pt x="98" y="197"/>
                    <a:pt x="98" y="197"/>
                    <a:pt x="98" y="197"/>
                  </a:cubicBezTo>
                  <a:cubicBezTo>
                    <a:pt x="123" y="234"/>
                    <a:pt x="123" y="234"/>
                    <a:pt x="123" y="234"/>
                  </a:cubicBezTo>
                  <a:cubicBezTo>
                    <a:pt x="105" y="234"/>
                    <a:pt x="105" y="234"/>
                    <a:pt x="105" y="234"/>
                  </a:cubicBezTo>
                  <a:cubicBezTo>
                    <a:pt x="88" y="206"/>
                    <a:pt x="88" y="206"/>
                    <a:pt x="88" y="206"/>
                  </a:cubicBezTo>
                  <a:cubicBezTo>
                    <a:pt x="71" y="234"/>
                    <a:pt x="71" y="234"/>
                    <a:pt x="71" y="234"/>
                  </a:cubicBezTo>
                  <a:lnTo>
                    <a:pt x="54" y="234"/>
                  </a:lnTo>
                  <a:close/>
                  <a:moveTo>
                    <a:pt x="179" y="234"/>
                  </a:moveTo>
                  <a:cubicBezTo>
                    <a:pt x="133" y="234"/>
                    <a:pt x="133" y="234"/>
                    <a:pt x="133" y="234"/>
                  </a:cubicBezTo>
                  <a:cubicBezTo>
                    <a:pt x="133" y="160"/>
                    <a:pt x="133" y="160"/>
                    <a:pt x="133" y="160"/>
                  </a:cubicBezTo>
                  <a:cubicBezTo>
                    <a:pt x="149" y="160"/>
                    <a:pt x="149" y="160"/>
                    <a:pt x="149" y="160"/>
                  </a:cubicBezTo>
                  <a:cubicBezTo>
                    <a:pt x="149" y="221"/>
                    <a:pt x="149" y="221"/>
                    <a:pt x="149" y="221"/>
                  </a:cubicBezTo>
                  <a:cubicBezTo>
                    <a:pt x="179" y="221"/>
                    <a:pt x="179" y="221"/>
                    <a:pt x="179" y="221"/>
                  </a:cubicBezTo>
                  <a:lnTo>
                    <a:pt x="179"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7" name="Freeform 763">
            <a:extLst>
              <a:ext uri="{FF2B5EF4-FFF2-40B4-BE49-F238E27FC236}">
                <a16:creationId xmlns:a16="http://schemas.microsoft.com/office/drawing/2014/main" id="{5CA238C4-6361-4207-BB1E-F111DBAED4B4}"/>
              </a:ext>
            </a:extLst>
          </p:cNvPr>
          <p:cNvSpPr>
            <a:spLocks noChangeAspect="1" noEditPoints="1"/>
          </p:cNvSpPr>
          <p:nvPr/>
        </p:nvSpPr>
        <p:spPr bwMode="auto">
          <a:xfrm>
            <a:off x="465593" y="3292640"/>
            <a:ext cx="367631" cy="367631"/>
          </a:xfrm>
          <a:custGeom>
            <a:avLst/>
            <a:gdLst>
              <a:gd name="T0" fmla="*/ 160 w 512"/>
              <a:gd name="T1" fmla="*/ 213 h 512"/>
              <a:gd name="T2" fmla="*/ 277 w 512"/>
              <a:gd name="T3" fmla="*/ 117 h 512"/>
              <a:gd name="T4" fmla="*/ 288 w 512"/>
              <a:gd name="T5" fmla="*/ 192 h 512"/>
              <a:gd name="T6" fmla="*/ 352 w 512"/>
              <a:gd name="T7" fmla="*/ 213 h 512"/>
              <a:gd name="T8" fmla="*/ 352 w 512"/>
              <a:gd name="T9" fmla="*/ 394 h 512"/>
              <a:gd name="T10" fmla="*/ 160 w 512"/>
              <a:gd name="T11" fmla="*/ 373 h 512"/>
              <a:gd name="T12" fmla="*/ 298 w 512"/>
              <a:gd name="T13" fmla="*/ 132 h 512"/>
              <a:gd name="T14" fmla="*/ 337 w 512"/>
              <a:gd name="T15" fmla="*/ 170 h 512"/>
              <a:gd name="T16" fmla="*/ 298 w 512"/>
              <a:gd name="T17" fmla="*/ 288 h 512"/>
              <a:gd name="T18" fmla="*/ 299 w 512"/>
              <a:gd name="T19" fmla="*/ 271 h 512"/>
              <a:gd name="T20" fmla="*/ 282 w 512"/>
              <a:gd name="T21" fmla="*/ 269 h 512"/>
              <a:gd name="T22" fmla="*/ 287 w 512"/>
              <a:gd name="T23" fmla="*/ 291 h 512"/>
              <a:gd name="T24" fmla="*/ 512 w 512"/>
              <a:gd name="T25" fmla="*/ 256 h 512"/>
              <a:gd name="T26" fmla="*/ 0 w 512"/>
              <a:gd name="T27" fmla="*/ 256 h 512"/>
              <a:gd name="T28" fmla="*/ 512 w 512"/>
              <a:gd name="T29" fmla="*/ 256 h 512"/>
              <a:gd name="T30" fmla="*/ 394 w 512"/>
              <a:gd name="T31" fmla="*/ 213 h 512"/>
              <a:gd name="T32" fmla="*/ 373 w 512"/>
              <a:gd name="T33" fmla="*/ 181 h 512"/>
              <a:gd name="T34" fmla="*/ 370 w 512"/>
              <a:gd name="T35" fmla="*/ 173 h 512"/>
              <a:gd name="T36" fmla="*/ 292 w 512"/>
              <a:gd name="T37" fmla="*/ 96 h 512"/>
              <a:gd name="T38" fmla="*/ 149 w 512"/>
              <a:gd name="T39" fmla="*/ 96 h 512"/>
              <a:gd name="T40" fmla="*/ 138 w 512"/>
              <a:gd name="T41" fmla="*/ 213 h 512"/>
              <a:gd name="T42" fmla="*/ 106 w 512"/>
              <a:gd name="T43" fmla="*/ 224 h 512"/>
              <a:gd name="T44" fmla="*/ 117 w 512"/>
              <a:gd name="T45" fmla="*/ 373 h 512"/>
              <a:gd name="T46" fmla="*/ 138 w 512"/>
              <a:gd name="T47" fmla="*/ 405 h 512"/>
              <a:gd name="T48" fmla="*/ 362 w 512"/>
              <a:gd name="T49" fmla="*/ 416 h 512"/>
              <a:gd name="T50" fmla="*/ 373 w 512"/>
              <a:gd name="T51" fmla="*/ 373 h 512"/>
              <a:gd name="T52" fmla="*/ 405 w 512"/>
              <a:gd name="T53" fmla="*/ 362 h 512"/>
              <a:gd name="T54" fmla="*/ 128 w 512"/>
              <a:gd name="T55" fmla="*/ 234 h 512"/>
              <a:gd name="T56" fmla="*/ 384 w 512"/>
              <a:gd name="T57" fmla="*/ 352 h 512"/>
              <a:gd name="T58" fmla="*/ 128 w 512"/>
              <a:gd name="T59" fmla="*/ 234 h 512"/>
              <a:gd name="T60" fmla="*/ 282 w 512"/>
              <a:gd name="T61" fmla="*/ 330 h 512"/>
              <a:gd name="T62" fmla="*/ 289 w 512"/>
              <a:gd name="T63" fmla="*/ 304 h 512"/>
              <a:gd name="T64" fmla="*/ 318 w 512"/>
              <a:gd name="T65" fmla="*/ 279 h 512"/>
              <a:gd name="T66" fmla="*/ 290 w 512"/>
              <a:gd name="T67" fmla="*/ 256 h 512"/>
              <a:gd name="T68" fmla="*/ 266 w 512"/>
              <a:gd name="T69" fmla="*/ 330 h 512"/>
              <a:gd name="T70" fmla="*/ 254 w 512"/>
              <a:gd name="T71" fmla="*/ 330 h 512"/>
              <a:gd name="T72" fmla="*/ 238 w 512"/>
              <a:gd name="T73" fmla="*/ 256 h 512"/>
              <a:gd name="T74" fmla="*/ 170 w 512"/>
              <a:gd name="T75" fmla="*/ 330 h 512"/>
              <a:gd name="T76" fmla="*/ 226 w 512"/>
              <a:gd name="T77" fmla="*/ 317 h 512"/>
              <a:gd name="T78" fmla="*/ 225 w 512"/>
              <a:gd name="T79" fmla="*/ 266 h 512"/>
              <a:gd name="T80" fmla="*/ 171 w 512"/>
              <a:gd name="T81" fmla="*/ 256 h 512"/>
              <a:gd name="T82" fmla="*/ 206 w 512"/>
              <a:gd name="T83" fmla="*/ 269 h 512"/>
              <a:gd name="T84" fmla="*/ 170 w 512"/>
              <a:gd name="T8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52" y="213"/>
                </a:moveTo>
                <a:cubicBezTo>
                  <a:pt x="160" y="213"/>
                  <a:pt x="160" y="213"/>
                  <a:pt x="160" y="213"/>
                </a:cubicBezTo>
                <a:cubicBezTo>
                  <a:pt x="160" y="117"/>
                  <a:pt x="160" y="117"/>
                  <a:pt x="160" y="117"/>
                </a:cubicBezTo>
                <a:cubicBezTo>
                  <a:pt x="277" y="117"/>
                  <a:pt x="277" y="117"/>
                  <a:pt x="277" y="117"/>
                </a:cubicBezTo>
                <a:cubicBezTo>
                  <a:pt x="277" y="181"/>
                  <a:pt x="277" y="181"/>
                  <a:pt x="277" y="181"/>
                </a:cubicBezTo>
                <a:cubicBezTo>
                  <a:pt x="277" y="187"/>
                  <a:pt x="282" y="192"/>
                  <a:pt x="288" y="192"/>
                </a:cubicBezTo>
                <a:cubicBezTo>
                  <a:pt x="352" y="192"/>
                  <a:pt x="352" y="192"/>
                  <a:pt x="352" y="192"/>
                </a:cubicBezTo>
                <a:lnTo>
                  <a:pt x="352" y="213"/>
                </a:lnTo>
                <a:close/>
                <a:moveTo>
                  <a:pt x="160" y="394"/>
                </a:moveTo>
                <a:cubicBezTo>
                  <a:pt x="352" y="394"/>
                  <a:pt x="352" y="394"/>
                  <a:pt x="352" y="394"/>
                </a:cubicBezTo>
                <a:cubicBezTo>
                  <a:pt x="352" y="373"/>
                  <a:pt x="352" y="373"/>
                  <a:pt x="352" y="373"/>
                </a:cubicBezTo>
                <a:cubicBezTo>
                  <a:pt x="160" y="373"/>
                  <a:pt x="160" y="373"/>
                  <a:pt x="160" y="373"/>
                </a:cubicBezTo>
                <a:lnTo>
                  <a:pt x="160" y="394"/>
                </a:lnTo>
                <a:close/>
                <a:moveTo>
                  <a:pt x="298" y="132"/>
                </a:moveTo>
                <a:cubicBezTo>
                  <a:pt x="298" y="170"/>
                  <a:pt x="298" y="170"/>
                  <a:pt x="298" y="170"/>
                </a:cubicBezTo>
                <a:cubicBezTo>
                  <a:pt x="337" y="170"/>
                  <a:pt x="337" y="170"/>
                  <a:pt x="337" y="170"/>
                </a:cubicBezTo>
                <a:lnTo>
                  <a:pt x="298" y="132"/>
                </a:lnTo>
                <a:close/>
                <a:moveTo>
                  <a:pt x="298" y="288"/>
                </a:moveTo>
                <a:cubicBezTo>
                  <a:pt x="301" y="286"/>
                  <a:pt x="302" y="283"/>
                  <a:pt x="302" y="280"/>
                </a:cubicBezTo>
                <a:cubicBezTo>
                  <a:pt x="302" y="276"/>
                  <a:pt x="301" y="273"/>
                  <a:pt x="299" y="271"/>
                </a:cubicBezTo>
                <a:cubicBezTo>
                  <a:pt x="297" y="270"/>
                  <a:pt x="294" y="269"/>
                  <a:pt x="289" y="269"/>
                </a:cubicBezTo>
                <a:cubicBezTo>
                  <a:pt x="282" y="269"/>
                  <a:pt x="282" y="269"/>
                  <a:pt x="282" y="269"/>
                </a:cubicBezTo>
                <a:cubicBezTo>
                  <a:pt x="282" y="291"/>
                  <a:pt x="282" y="291"/>
                  <a:pt x="282" y="291"/>
                </a:cubicBezTo>
                <a:cubicBezTo>
                  <a:pt x="287" y="291"/>
                  <a:pt x="287" y="291"/>
                  <a:pt x="287" y="291"/>
                </a:cubicBezTo>
                <a:cubicBezTo>
                  <a:pt x="292" y="291"/>
                  <a:pt x="296" y="290"/>
                  <a:pt x="298" y="2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224"/>
                </a:moveTo>
                <a:cubicBezTo>
                  <a:pt x="405" y="218"/>
                  <a:pt x="400" y="213"/>
                  <a:pt x="394" y="213"/>
                </a:cubicBezTo>
                <a:cubicBezTo>
                  <a:pt x="373" y="213"/>
                  <a:pt x="373" y="213"/>
                  <a:pt x="373" y="213"/>
                </a:cubicBezTo>
                <a:cubicBezTo>
                  <a:pt x="373" y="181"/>
                  <a:pt x="373" y="181"/>
                  <a:pt x="373" y="181"/>
                </a:cubicBezTo>
                <a:cubicBezTo>
                  <a:pt x="373" y="180"/>
                  <a:pt x="373" y="178"/>
                  <a:pt x="372" y="177"/>
                </a:cubicBezTo>
                <a:cubicBezTo>
                  <a:pt x="372" y="176"/>
                  <a:pt x="371" y="174"/>
                  <a:pt x="370" y="173"/>
                </a:cubicBezTo>
                <a:cubicBezTo>
                  <a:pt x="295" y="99"/>
                  <a:pt x="295" y="99"/>
                  <a:pt x="295" y="99"/>
                </a:cubicBezTo>
                <a:cubicBezTo>
                  <a:pt x="294" y="98"/>
                  <a:pt x="293" y="97"/>
                  <a:pt x="292" y="96"/>
                </a:cubicBezTo>
                <a:cubicBezTo>
                  <a:pt x="290" y="96"/>
                  <a:pt x="289" y="96"/>
                  <a:pt x="288" y="96"/>
                </a:cubicBezTo>
                <a:cubicBezTo>
                  <a:pt x="149" y="96"/>
                  <a:pt x="149" y="96"/>
                  <a:pt x="149" y="96"/>
                </a:cubicBezTo>
                <a:cubicBezTo>
                  <a:pt x="143" y="96"/>
                  <a:pt x="138" y="100"/>
                  <a:pt x="138" y="106"/>
                </a:cubicBezTo>
                <a:cubicBezTo>
                  <a:pt x="138" y="213"/>
                  <a:pt x="138" y="213"/>
                  <a:pt x="138" y="213"/>
                </a:cubicBezTo>
                <a:cubicBezTo>
                  <a:pt x="117" y="213"/>
                  <a:pt x="117" y="213"/>
                  <a:pt x="117" y="213"/>
                </a:cubicBezTo>
                <a:cubicBezTo>
                  <a:pt x="111" y="213"/>
                  <a:pt x="106" y="218"/>
                  <a:pt x="106" y="224"/>
                </a:cubicBezTo>
                <a:cubicBezTo>
                  <a:pt x="106" y="362"/>
                  <a:pt x="106" y="362"/>
                  <a:pt x="106" y="362"/>
                </a:cubicBezTo>
                <a:cubicBezTo>
                  <a:pt x="106" y="368"/>
                  <a:pt x="111" y="373"/>
                  <a:pt x="117" y="373"/>
                </a:cubicBezTo>
                <a:cubicBezTo>
                  <a:pt x="138" y="373"/>
                  <a:pt x="138" y="373"/>
                  <a:pt x="138" y="373"/>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373"/>
                  <a:pt x="373" y="373"/>
                  <a:pt x="373" y="373"/>
                </a:cubicBezTo>
                <a:cubicBezTo>
                  <a:pt x="394" y="373"/>
                  <a:pt x="394" y="373"/>
                  <a:pt x="394" y="373"/>
                </a:cubicBezTo>
                <a:cubicBezTo>
                  <a:pt x="400" y="373"/>
                  <a:pt x="405" y="368"/>
                  <a:pt x="405" y="362"/>
                </a:cubicBezTo>
                <a:lnTo>
                  <a:pt x="405" y="224"/>
                </a:lnTo>
                <a:close/>
                <a:moveTo>
                  <a:pt x="128" y="234"/>
                </a:moveTo>
                <a:cubicBezTo>
                  <a:pt x="384" y="234"/>
                  <a:pt x="384" y="234"/>
                  <a:pt x="384" y="234"/>
                </a:cubicBezTo>
                <a:cubicBezTo>
                  <a:pt x="384" y="352"/>
                  <a:pt x="384" y="352"/>
                  <a:pt x="384" y="352"/>
                </a:cubicBezTo>
                <a:cubicBezTo>
                  <a:pt x="128" y="352"/>
                  <a:pt x="128" y="352"/>
                  <a:pt x="128" y="352"/>
                </a:cubicBezTo>
                <a:lnTo>
                  <a:pt x="128" y="234"/>
                </a:lnTo>
                <a:close/>
                <a:moveTo>
                  <a:pt x="266" y="330"/>
                </a:moveTo>
                <a:cubicBezTo>
                  <a:pt x="282" y="330"/>
                  <a:pt x="282" y="330"/>
                  <a:pt x="282" y="330"/>
                </a:cubicBezTo>
                <a:cubicBezTo>
                  <a:pt x="282" y="304"/>
                  <a:pt x="282" y="304"/>
                  <a:pt x="282" y="304"/>
                </a:cubicBezTo>
                <a:cubicBezTo>
                  <a:pt x="289" y="304"/>
                  <a:pt x="289" y="304"/>
                  <a:pt x="289" y="304"/>
                </a:cubicBezTo>
                <a:cubicBezTo>
                  <a:pt x="298" y="304"/>
                  <a:pt x="305" y="302"/>
                  <a:pt x="310" y="297"/>
                </a:cubicBezTo>
                <a:cubicBezTo>
                  <a:pt x="315" y="293"/>
                  <a:pt x="318" y="287"/>
                  <a:pt x="318" y="279"/>
                </a:cubicBezTo>
                <a:cubicBezTo>
                  <a:pt x="318" y="271"/>
                  <a:pt x="315" y="265"/>
                  <a:pt x="311" y="262"/>
                </a:cubicBezTo>
                <a:cubicBezTo>
                  <a:pt x="306" y="258"/>
                  <a:pt x="299" y="256"/>
                  <a:pt x="290" y="256"/>
                </a:cubicBezTo>
                <a:cubicBezTo>
                  <a:pt x="266" y="256"/>
                  <a:pt x="266" y="256"/>
                  <a:pt x="266" y="256"/>
                </a:cubicBezTo>
                <a:lnTo>
                  <a:pt x="266" y="330"/>
                </a:lnTo>
                <a:close/>
                <a:moveTo>
                  <a:pt x="238" y="330"/>
                </a:moveTo>
                <a:cubicBezTo>
                  <a:pt x="254" y="330"/>
                  <a:pt x="254" y="330"/>
                  <a:pt x="254" y="330"/>
                </a:cubicBezTo>
                <a:cubicBezTo>
                  <a:pt x="254" y="256"/>
                  <a:pt x="254" y="256"/>
                  <a:pt x="254" y="256"/>
                </a:cubicBezTo>
                <a:cubicBezTo>
                  <a:pt x="238" y="256"/>
                  <a:pt x="238" y="256"/>
                  <a:pt x="238" y="256"/>
                </a:cubicBezTo>
                <a:lnTo>
                  <a:pt x="238" y="330"/>
                </a:lnTo>
                <a:close/>
                <a:moveTo>
                  <a:pt x="170" y="330"/>
                </a:moveTo>
                <a:cubicBezTo>
                  <a:pt x="226" y="330"/>
                  <a:pt x="226" y="330"/>
                  <a:pt x="226" y="330"/>
                </a:cubicBezTo>
                <a:cubicBezTo>
                  <a:pt x="226" y="317"/>
                  <a:pt x="226" y="317"/>
                  <a:pt x="226" y="317"/>
                </a:cubicBezTo>
                <a:cubicBezTo>
                  <a:pt x="189" y="317"/>
                  <a:pt x="189" y="317"/>
                  <a:pt x="189" y="317"/>
                </a:cubicBezTo>
                <a:cubicBezTo>
                  <a:pt x="225" y="266"/>
                  <a:pt x="225" y="266"/>
                  <a:pt x="225" y="266"/>
                </a:cubicBezTo>
                <a:cubicBezTo>
                  <a:pt x="225" y="256"/>
                  <a:pt x="225" y="256"/>
                  <a:pt x="225" y="256"/>
                </a:cubicBezTo>
                <a:cubicBezTo>
                  <a:pt x="171" y="256"/>
                  <a:pt x="171" y="256"/>
                  <a:pt x="171" y="256"/>
                </a:cubicBezTo>
                <a:cubicBezTo>
                  <a:pt x="171" y="269"/>
                  <a:pt x="171" y="269"/>
                  <a:pt x="171" y="269"/>
                </a:cubicBezTo>
                <a:cubicBezTo>
                  <a:pt x="206" y="269"/>
                  <a:pt x="206" y="269"/>
                  <a:pt x="206" y="269"/>
                </a:cubicBezTo>
                <a:cubicBezTo>
                  <a:pt x="170" y="320"/>
                  <a:pt x="170" y="320"/>
                  <a:pt x="170" y="320"/>
                </a:cubicBezTo>
                <a:lnTo>
                  <a:pt x="170" y="33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8" name="Group 766">
            <a:extLst>
              <a:ext uri="{FF2B5EF4-FFF2-40B4-BE49-F238E27FC236}">
                <a16:creationId xmlns:a16="http://schemas.microsoft.com/office/drawing/2014/main" id="{B37E5B4C-BEE3-48F7-96CF-2DF007B2790A}"/>
              </a:ext>
            </a:extLst>
          </p:cNvPr>
          <p:cNvGrpSpPr>
            <a:grpSpLocks noChangeAspect="1"/>
          </p:cNvGrpSpPr>
          <p:nvPr/>
        </p:nvGrpSpPr>
        <p:grpSpPr bwMode="auto">
          <a:xfrm>
            <a:off x="900941" y="3292640"/>
            <a:ext cx="367631" cy="367631"/>
            <a:chOff x="6068" y="3313"/>
            <a:chExt cx="340" cy="340"/>
          </a:xfrm>
          <a:solidFill>
            <a:schemeClr val="accent2"/>
          </a:solidFill>
        </p:grpSpPr>
        <p:sp>
          <p:nvSpPr>
            <p:cNvPr id="549" name="Freeform 767">
              <a:extLst>
                <a:ext uri="{FF2B5EF4-FFF2-40B4-BE49-F238E27FC236}">
                  <a16:creationId xmlns:a16="http://schemas.microsoft.com/office/drawing/2014/main" id="{F72911DD-B0DC-416D-8483-C652A3114305}"/>
                </a:ext>
              </a:extLst>
            </p:cNvPr>
            <p:cNvSpPr>
              <a:spLocks noEditPoints="1"/>
            </p:cNvSpPr>
            <p:nvPr/>
          </p:nvSpPr>
          <p:spPr bwMode="auto">
            <a:xfrm>
              <a:off x="6068" y="33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0" name="Freeform 768">
              <a:extLst>
                <a:ext uri="{FF2B5EF4-FFF2-40B4-BE49-F238E27FC236}">
                  <a16:creationId xmlns:a16="http://schemas.microsoft.com/office/drawing/2014/main" id="{2FC268A1-AA76-474F-9FA9-439578314D6B}"/>
                </a:ext>
              </a:extLst>
            </p:cNvPr>
            <p:cNvSpPr>
              <a:spLocks noEditPoints="1"/>
            </p:cNvSpPr>
            <p:nvPr/>
          </p:nvSpPr>
          <p:spPr bwMode="auto">
            <a:xfrm>
              <a:off x="6138" y="3377"/>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176 w 299"/>
                <a:gd name="T47" fmla="*/ 208 h 320"/>
                <a:gd name="T48" fmla="*/ 204 w 299"/>
                <a:gd name="T49" fmla="*/ 201 h 320"/>
                <a:gd name="T50" fmla="*/ 205 w 299"/>
                <a:gd name="T51" fmla="*/ 166 h 320"/>
                <a:gd name="T52" fmla="*/ 160 w 299"/>
                <a:gd name="T53" fmla="*/ 160 h 320"/>
                <a:gd name="T54" fmla="*/ 176 w 299"/>
                <a:gd name="T55" fmla="*/ 234 h 320"/>
                <a:gd name="T56" fmla="*/ 176 w 299"/>
                <a:gd name="T57" fmla="*/ 173 h 320"/>
                <a:gd name="T58" fmla="*/ 193 w 299"/>
                <a:gd name="T59" fmla="*/ 175 h 320"/>
                <a:gd name="T60" fmla="*/ 192 w 299"/>
                <a:gd name="T61" fmla="*/ 192 h 320"/>
                <a:gd name="T62" fmla="*/ 176 w 299"/>
                <a:gd name="T63" fmla="*/ 195 h 320"/>
                <a:gd name="T64" fmla="*/ 148 w 299"/>
                <a:gd name="T65" fmla="*/ 234 h 320"/>
                <a:gd name="T66" fmla="*/ 132 w 299"/>
                <a:gd name="T67" fmla="*/ 160 h 320"/>
                <a:gd name="T68" fmla="*/ 148 w 299"/>
                <a:gd name="T69" fmla="*/ 234 h 320"/>
                <a:gd name="T70" fmla="*/ 64 w 299"/>
                <a:gd name="T71" fmla="*/ 234 h 320"/>
                <a:gd name="T72" fmla="*/ 100 w 299"/>
                <a:gd name="T73" fmla="*/ 173 h 320"/>
                <a:gd name="T74" fmla="*/ 65 w 299"/>
                <a:gd name="T75" fmla="*/ 160 h 320"/>
                <a:gd name="T76" fmla="*/ 119 w 299"/>
                <a:gd name="T77" fmla="*/ 170 h 320"/>
                <a:gd name="T78" fmla="*/ 120 w 299"/>
                <a:gd name="T79" fmla="*/ 2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176" y="208"/>
                  </a:moveTo>
                  <a:cubicBezTo>
                    <a:pt x="183" y="208"/>
                    <a:pt x="183" y="208"/>
                    <a:pt x="183" y="208"/>
                  </a:cubicBezTo>
                  <a:cubicBezTo>
                    <a:pt x="192" y="208"/>
                    <a:pt x="199" y="206"/>
                    <a:pt x="204" y="201"/>
                  </a:cubicBezTo>
                  <a:cubicBezTo>
                    <a:pt x="209" y="197"/>
                    <a:pt x="212" y="191"/>
                    <a:pt x="212" y="183"/>
                  </a:cubicBezTo>
                  <a:cubicBezTo>
                    <a:pt x="212" y="175"/>
                    <a:pt x="209" y="169"/>
                    <a:pt x="205" y="166"/>
                  </a:cubicBezTo>
                  <a:cubicBezTo>
                    <a:pt x="200" y="162"/>
                    <a:pt x="193" y="160"/>
                    <a:pt x="184" y="160"/>
                  </a:cubicBezTo>
                  <a:cubicBezTo>
                    <a:pt x="160" y="160"/>
                    <a:pt x="160" y="160"/>
                    <a:pt x="160" y="160"/>
                  </a:cubicBezTo>
                  <a:cubicBezTo>
                    <a:pt x="160" y="234"/>
                    <a:pt x="160" y="234"/>
                    <a:pt x="160" y="234"/>
                  </a:cubicBezTo>
                  <a:cubicBezTo>
                    <a:pt x="176" y="234"/>
                    <a:pt x="176" y="234"/>
                    <a:pt x="176" y="234"/>
                  </a:cubicBezTo>
                  <a:lnTo>
                    <a:pt x="176" y="208"/>
                  </a:lnTo>
                  <a:close/>
                  <a:moveTo>
                    <a:pt x="176" y="173"/>
                  </a:moveTo>
                  <a:cubicBezTo>
                    <a:pt x="183" y="173"/>
                    <a:pt x="183" y="173"/>
                    <a:pt x="183" y="173"/>
                  </a:cubicBezTo>
                  <a:cubicBezTo>
                    <a:pt x="188" y="173"/>
                    <a:pt x="191" y="174"/>
                    <a:pt x="193" y="175"/>
                  </a:cubicBezTo>
                  <a:cubicBezTo>
                    <a:pt x="195" y="177"/>
                    <a:pt x="196" y="180"/>
                    <a:pt x="196" y="184"/>
                  </a:cubicBezTo>
                  <a:cubicBezTo>
                    <a:pt x="196" y="187"/>
                    <a:pt x="195" y="190"/>
                    <a:pt x="192" y="192"/>
                  </a:cubicBezTo>
                  <a:cubicBezTo>
                    <a:pt x="190" y="194"/>
                    <a:pt x="186" y="195"/>
                    <a:pt x="181" y="195"/>
                  </a:cubicBezTo>
                  <a:cubicBezTo>
                    <a:pt x="176" y="195"/>
                    <a:pt x="176" y="195"/>
                    <a:pt x="176" y="195"/>
                  </a:cubicBezTo>
                  <a:lnTo>
                    <a:pt x="176" y="173"/>
                  </a:lnTo>
                  <a:close/>
                  <a:moveTo>
                    <a:pt x="148" y="234"/>
                  </a:moveTo>
                  <a:cubicBezTo>
                    <a:pt x="132" y="234"/>
                    <a:pt x="132" y="234"/>
                    <a:pt x="132" y="234"/>
                  </a:cubicBezTo>
                  <a:cubicBezTo>
                    <a:pt x="132" y="160"/>
                    <a:pt x="132" y="160"/>
                    <a:pt x="132" y="160"/>
                  </a:cubicBezTo>
                  <a:cubicBezTo>
                    <a:pt x="148" y="160"/>
                    <a:pt x="148" y="160"/>
                    <a:pt x="148" y="160"/>
                  </a:cubicBezTo>
                  <a:lnTo>
                    <a:pt x="148" y="234"/>
                  </a:lnTo>
                  <a:close/>
                  <a:moveTo>
                    <a:pt x="120" y="234"/>
                  </a:moveTo>
                  <a:cubicBezTo>
                    <a:pt x="64" y="234"/>
                    <a:pt x="64" y="234"/>
                    <a:pt x="64" y="234"/>
                  </a:cubicBezTo>
                  <a:cubicBezTo>
                    <a:pt x="64" y="224"/>
                    <a:pt x="64" y="224"/>
                    <a:pt x="64" y="224"/>
                  </a:cubicBezTo>
                  <a:cubicBezTo>
                    <a:pt x="100" y="173"/>
                    <a:pt x="100" y="173"/>
                    <a:pt x="100" y="173"/>
                  </a:cubicBezTo>
                  <a:cubicBezTo>
                    <a:pt x="65" y="173"/>
                    <a:pt x="65" y="173"/>
                    <a:pt x="65" y="173"/>
                  </a:cubicBezTo>
                  <a:cubicBezTo>
                    <a:pt x="65" y="160"/>
                    <a:pt x="65" y="160"/>
                    <a:pt x="65" y="160"/>
                  </a:cubicBezTo>
                  <a:cubicBezTo>
                    <a:pt x="119" y="160"/>
                    <a:pt x="119" y="160"/>
                    <a:pt x="119" y="160"/>
                  </a:cubicBezTo>
                  <a:cubicBezTo>
                    <a:pt x="119" y="170"/>
                    <a:pt x="119" y="170"/>
                    <a:pt x="119" y="170"/>
                  </a:cubicBezTo>
                  <a:cubicBezTo>
                    <a:pt x="83" y="221"/>
                    <a:pt x="83" y="221"/>
                    <a:pt x="83" y="221"/>
                  </a:cubicBezTo>
                  <a:cubicBezTo>
                    <a:pt x="120" y="221"/>
                    <a:pt x="120" y="221"/>
                    <a:pt x="120" y="221"/>
                  </a:cubicBezTo>
                  <a:lnTo>
                    <a:pt x="120"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1" name="TextBox 550">
            <a:extLst>
              <a:ext uri="{FF2B5EF4-FFF2-40B4-BE49-F238E27FC236}">
                <a16:creationId xmlns:a16="http://schemas.microsoft.com/office/drawing/2014/main" id="{CC4015D3-279B-483F-9DD1-32B9B2144B3A}"/>
              </a:ext>
            </a:extLst>
          </p:cNvPr>
          <p:cNvSpPr txBox="1"/>
          <p:nvPr/>
        </p:nvSpPr>
        <p:spPr>
          <a:xfrm>
            <a:off x="7427972"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use</a:t>
            </a:r>
          </a:p>
        </p:txBody>
      </p:sp>
      <p:sp>
        <p:nvSpPr>
          <p:cNvPr id="552" name="Freeform 222">
            <a:extLst>
              <a:ext uri="{FF2B5EF4-FFF2-40B4-BE49-F238E27FC236}">
                <a16:creationId xmlns:a16="http://schemas.microsoft.com/office/drawing/2014/main" id="{939114A8-A06F-4B69-A1E7-8E9FAE3802E8}"/>
              </a:ext>
            </a:extLst>
          </p:cNvPr>
          <p:cNvSpPr>
            <a:spLocks noChangeAspect="1" noEditPoints="1"/>
          </p:cNvSpPr>
          <p:nvPr/>
        </p:nvSpPr>
        <p:spPr bwMode="auto">
          <a:xfrm>
            <a:off x="7454777" y="170021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384 h 512"/>
              <a:gd name="T12" fmla="*/ 192 w 512"/>
              <a:gd name="T13" fmla="*/ 394 h 512"/>
              <a:gd name="T14" fmla="*/ 181 w 512"/>
              <a:gd name="T15" fmla="*/ 384 h 512"/>
              <a:gd name="T16" fmla="*/ 181 w 512"/>
              <a:gd name="T17" fmla="*/ 128 h 512"/>
              <a:gd name="T18" fmla="*/ 192 w 512"/>
              <a:gd name="T19" fmla="*/ 117 h 512"/>
              <a:gd name="T20" fmla="*/ 202 w 512"/>
              <a:gd name="T21" fmla="*/ 128 h 512"/>
              <a:gd name="T22" fmla="*/ 202 w 512"/>
              <a:gd name="T23" fmla="*/ 384 h 512"/>
              <a:gd name="T24" fmla="*/ 330 w 512"/>
              <a:gd name="T25" fmla="*/ 384 h 512"/>
              <a:gd name="T26" fmla="*/ 320 w 512"/>
              <a:gd name="T27" fmla="*/ 394 h 512"/>
              <a:gd name="T28" fmla="*/ 309 w 512"/>
              <a:gd name="T29" fmla="*/ 384 h 512"/>
              <a:gd name="T30" fmla="*/ 309 w 512"/>
              <a:gd name="T31" fmla="*/ 128 h 512"/>
              <a:gd name="T32" fmla="*/ 320 w 512"/>
              <a:gd name="T33" fmla="*/ 117 h 512"/>
              <a:gd name="T34" fmla="*/ 330 w 512"/>
              <a:gd name="T35" fmla="*/ 128 h 512"/>
              <a:gd name="T36" fmla="*/ 330 w 512"/>
              <a:gd name="T37"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384"/>
                </a:moveTo>
                <a:cubicBezTo>
                  <a:pt x="202" y="390"/>
                  <a:pt x="198" y="394"/>
                  <a:pt x="192" y="394"/>
                </a:cubicBezTo>
                <a:cubicBezTo>
                  <a:pt x="186" y="394"/>
                  <a:pt x="181" y="390"/>
                  <a:pt x="181" y="384"/>
                </a:cubicBezTo>
                <a:cubicBezTo>
                  <a:pt x="181" y="128"/>
                  <a:pt x="181" y="128"/>
                  <a:pt x="181" y="128"/>
                </a:cubicBezTo>
                <a:cubicBezTo>
                  <a:pt x="181" y="122"/>
                  <a:pt x="186" y="117"/>
                  <a:pt x="192" y="117"/>
                </a:cubicBezTo>
                <a:cubicBezTo>
                  <a:pt x="198" y="117"/>
                  <a:pt x="202" y="122"/>
                  <a:pt x="202" y="128"/>
                </a:cubicBezTo>
                <a:lnTo>
                  <a:pt x="202" y="384"/>
                </a:lnTo>
                <a:close/>
                <a:moveTo>
                  <a:pt x="330" y="384"/>
                </a:moveTo>
                <a:cubicBezTo>
                  <a:pt x="330" y="390"/>
                  <a:pt x="326" y="394"/>
                  <a:pt x="320" y="394"/>
                </a:cubicBezTo>
                <a:cubicBezTo>
                  <a:pt x="314" y="394"/>
                  <a:pt x="309" y="390"/>
                  <a:pt x="309" y="384"/>
                </a:cubicBezTo>
                <a:cubicBezTo>
                  <a:pt x="309" y="128"/>
                  <a:pt x="309" y="128"/>
                  <a:pt x="309" y="128"/>
                </a:cubicBezTo>
                <a:cubicBezTo>
                  <a:pt x="309" y="122"/>
                  <a:pt x="314" y="117"/>
                  <a:pt x="320" y="117"/>
                </a:cubicBezTo>
                <a:cubicBezTo>
                  <a:pt x="326" y="117"/>
                  <a:pt x="330" y="122"/>
                  <a:pt x="330" y="128"/>
                </a:cubicBezTo>
                <a:lnTo>
                  <a:pt x="330" y="38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3" name="Group 225">
            <a:extLst>
              <a:ext uri="{FF2B5EF4-FFF2-40B4-BE49-F238E27FC236}">
                <a16:creationId xmlns:a16="http://schemas.microsoft.com/office/drawing/2014/main" id="{D5849D71-5C2E-4120-B343-64478AF9F1A1}"/>
              </a:ext>
            </a:extLst>
          </p:cNvPr>
          <p:cNvGrpSpPr>
            <a:grpSpLocks noChangeAspect="1"/>
          </p:cNvGrpSpPr>
          <p:nvPr/>
        </p:nvGrpSpPr>
        <p:grpSpPr bwMode="auto">
          <a:xfrm>
            <a:off x="7890183" y="1700213"/>
            <a:ext cx="369021" cy="369021"/>
            <a:chOff x="1929" y="778"/>
            <a:chExt cx="340" cy="340"/>
          </a:xfrm>
          <a:solidFill>
            <a:schemeClr val="accent3"/>
          </a:solidFill>
        </p:grpSpPr>
        <p:sp>
          <p:nvSpPr>
            <p:cNvPr id="554" name="Freeform 226">
              <a:extLst>
                <a:ext uri="{FF2B5EF4-FFF2-40B4-BE49-F238E27FC236}">
                  <a16:creationId xmlns:a16="http://schemas.microsoft.com/office/drawing/2014/main" id="{CE1A78FA-168B-4253-A039-37A0538A3257}"/>
                </a:ext>
              </a:extLst>
            </p:cNvPr>
            <p:cNvSpPr>
              <a:spLocks noEditPoints="1"/>
            </p:cNvSpPr>
            <p:nvPr/>
          </p:nvSpPr>
          <p:spPr bwMode="auto">
            <a:xfrm>
              <a:off x="1929" y="7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5" name="Freeform 227">
              <a:extLst>
                <a:ext uri="{FF2B5EF4-FFF2-40B4-BE49-F238E27FC236}">
                  <a16:creationId xmlns:a16="http://schemas.microsoft.com/office/drawing/2014/main" id="{32F68236-AAB2-4A45-8031-0D460CC0CBF8}"/>
                </a:ext>
              </a:extLst>
            </p:cNvPr>
            <p:cNvSpPr>
              <a:spLocks noEditPoints="1"/>
            </p:cNvSpPr>
            <p:nvPr/>
          </p:nvSpPr>
          <p:spPr bwMode="auto">
            <a:xfrm>
              <a:off x="2049" y="856"/>
              <a:ext cx="99" cy="184"/>
            </a:xfrm>
            <a:custGeom>
              <a:avLst/>
              <a:gdLst>
                <a:gd name="T0" fmla="*/ 21 w 149"/>
                <a:gd name="T1" fmla="*/ 11 h 277"/>
                <a:gd name="T2" fmla="*/ 21 w 149"/>
                <a:gd name="T3" fmla="*/ 267 h 277"/>
                <a:gd name="T4" fmla="*/ 11 w 149"/>
                <a:gd name="T5" fmla="*/ 277 h 277"/>
                <a:gd name="T6" fmla="*/ 0 w 149"/>
                <a:gd name="T7" fmla="*/ 267 h 277"/>
                <a:gd name="T8" fmla="*/ 0 w 149"/>
                <a:gd name="T9" fmla="*/ 11 h 277"/>
                <a:gd name="T10" fmla="*/ 11 w 149"/>
                <a:gd name="T11" fmla="*/ 0 h 277"/>
                <a:gd name="T12" fmla="*/ 21 w 149"/>
                <a:gd name="T13" fmla="*/ 11 h 277"/>
                <a:gd name="T14" fmla="*/ 139 w 149"/>
                <a:gd name="T15" fmla="*/ 0 h 277"/>
                <a:gd name="T16" fmla="*/ 128 w 149"/>
                <a:gd name="T17" fmla="*/ 11 h 277"/>
                <a:gd name="T18" fmla="*/ 128 w 149"/>
                <a:gd name="T19" fmla="*/ 267 h 277"/>
                <a:gd name="T20" fmla="*/ 139 w 149"/>
                <a:gd name="T21" fmla="*/ 277 h 277"/>
                <a:gd name="T22" fmla="*/ 149 w 149"/>
                <a:gd name="T23" fmla="*/ 267 h 277"/>
                <a:gd name="T24" fmla="*/ 149 w 149"/>
                <a:gd name="T25" fmla="*/ 11 h 277"/>
                <a:gd name="T26" fmla="*/ 139 w 149"/>
                <a:gd name="T2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277">
                  <a:moveTo>
                    <a:pt x="21" y="11"/>
                  </a:moveTo>
                  <a:cubicBezTo>
                    <a:pt x="21" y="267"/>
                    <a:pt x="21" y="267"/>
                    <a:pt x="21" y="267"/>
                  </a:cubicBezTo>
                  <a:cubicBezTo>
                    <a:pt x="21" y="273"/>
                    <a:pt x="17" y="277"/>
                    <a:pt x="11" y="277"/>
                  </a:cubicBezTo>
                  <a:cubicBezTo>
                    <a:pt x="5" y="277"/>
                    <a:pt x="0" y="273"/>
                    <a:pt x="0" y="267"/>
                  </a:cubicBezTo>
                  <a:cubicBezTo>
                    <a:pt x="0" y="11"/>
                    <a:pt x="0" y="11"/>
                    <a:pt x="0" y="11"/>
                  </a:cubicBezTo>
                  <a:cubicBezTo>
                    <a:pt x="0" y="5"/>
                    <a:pt x="5" y="0"/>
                    <a:pt x="11" y="0"/>
                  </a:cubicBezTo>
                  <a:cubicBezTo>
                    <a:pt x="17" y="0"/>
                    <a:pt x="21" y="5"/>
                    <a:pt x="21" y="11"/>
                  </a:cubicBezTo>
                  <a:close/>
                  <a:moveTo>
                    <a:pt x="139" y="0"/>
                  </a:moveTo>
                  <a:cubicBezTo>
                    <a:pt x="133" y="0"/>
                    <a:pt x="128" y="5"/>
                    <a:pt x="128" y="11"/>
                  </a:cubicBezTo>
                  <a:cubicBezTo>
                    <a:pt x="128" y="267"/>
                    <a:pt x="128" y="267"/>
                    <a:pt x="128" y="267"/>
                  </a:cubicBezTo>
                  <a:cubicBezTo>
                    <a:pt x="128" y="273"/>
                    <a:pt x="133" y="277"/>
                    <a:pt x="139" y="277"/>
                  </a:cubicBezTo>
                  <a:cubicBezTo>
                    <a:pt x="145" y="277"/>
                    <a:pt x="149" y="273"/>
                    <a:pt x="149" y="267"/>
                  </a:cubicBezTo>
                  <a:cubicBezTo>
                    <a:pt x="149" y="11"/>
                    <a:pt x="149" y="11"/>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6" name="TextBox 555">
            <a:extLst>
              <a:ext uri="{FF2B5EF4-FFF2-40B4-BE49-F238E27FC236}">
                <a16:creationId xmlns:a16="http://schemas.microsoft.com/office/drawing/2014/main" id="{2DBF0706-18DE-4B4E-94DE-88550F58DD1C}"/>
              </a:ext>
            </a:extLst>
          </p:cNvPr>
          <p:cNvSpPr txBox="1"/>
          <p:nvPr/>
        </p:nvSpPr>
        <p:spPr>
          <a:xfrm>
            <a:off x="3958472"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py</a:t>
            </a:r>
          </a:p>
        </p:txBody>
      </p:sp>
      <p:grpSp>
        <p:nvGrpSpPr>
          <p:cNvPr id="557" name="Group 91">
            <a:extLst>
              <a:ext uri="{FF2B5EF4-FFF2-40B4-BE49-F238E27FC236}">
                <a16:creationId xmlns:a16="http://schemas.microsoft.com/office/drawing/2014/main" id="{B6061644-F9E5-41B9-80FD-9B7C0E38667D}"/>
              </a:ext>
            </a:extLst>
          </p:cNvPr>
          <p:cNvGrpSpPr>
            <a:grpSpLocks noChangeAspect="1"/>
          </p:cNvGrpSpPr>
          <p:nvPr/>
        </p:nvGrpSpPr>
        <p:grpSpPr bwMode="auto">
          <a:xfrm>
            <a:off x="3949458" y="3292640"/>
            <a:ext cx="367631" cy="367631"/>
            <a:chOff x="5088" y="2680"/>
            <a:chExt cx="340" cy="340"/>
          </a:xfrm>
          <a:solidFill>
            <a:schemeClr val="accent1"/>
          </a:solidFill>
        </p:grpSpPr>
        <p:sp>
          <p:nvSpPr>
            <p:cNvPr id="558" name="Freeform 634">
              <a:extLst>
                <a:ext uri="{FF2B5EF4-FFF2-40B4-BE49-F238E27FC236}">
                  <a16:creationId xmlns:a16="http://schemas.microsoft.com/office/drawing/2014/main" id="{7A08E94D-23B9-45D1-9EFE-78236A319A47}"/>
                </a:ext>
              </a:extLst>
            </p:cNvPr>
            <p:cNvSpPr>
              <a:spLocks/>
            </p:cNvSpPr>
            <p:nvPr/>
          </p:nvSpPr>
          <p:spPr bwMode="auto">
            <a:xfrm>
              <a:off x="5201" y="2807"/>
              <a:ext cx="85" cy="128"/>
            </a:xfrm>
            <a:custGeom>
              <a:avLst/>
              <a:gdLst>
                <a:gd name="T0" fmla="*/ 75 w 128"/>
                <a:gd name="T1" fmla="*/ 42 h 192"/>
                <a:gd name="T2" fmla="*/ 75 w 128"/>
                <a:gd name="T3" fmla="*/ 0 h 192"/>
                <a:gd name="T4" fmla="*/ 0 w 128"/>
                <a:gd name="T5" fmla="*/ 0 h 192"/>
                <a:gd name="T6" fmla="*/ 0 w 128"/>
                <a:gd name="T7" fmla="*/ 192 h 192"/>
                <a:gd name="T8" fmla="*/ 128 w 128"/>
                <a:gd name="T9" fmla="*/ 192 h 192"/>
                <a:gd name="T10" fmla="*/ 128 w 128"/>
                <a:gd name="T11" fmla="*/ 53 h 192"/>
                <a:gd name="T12" fmla="*/ 86 w 128"/>
                <a:gd name="T13" fmla="*/ 53 h 192"/>
                <a:gd name="T14" fmla="*/ 75 w 128"/>
                <a:gd name="T15" fmla="*/ 42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92">
                  <a:moveTo>
                    <a:pt x="75" y="42"/>
                  </a:moveTo>
                  <a:cubicBezTo>
                    <a:pt x="75" y="0"/>
                    <a:pt x="75" y="0"/>
                    <a:pt x="75" y="0"/>
                  </a:cubicBezTo>
                  <a:cubicBezTo>
                    <a:pt x="0" y="0"/>
                    <a:pt x="0" y="0"/>
                    <a:pt x="0" y="0"/>
                  </a:cubicBezTo>
                  <a:cubicBezTo>
                    <a:pt x="0" y="192"/>
                    <a:pt x="0" y="192"/>
                    <a:pt x="0" y="192"/>
                  </a:cubicBezTo>
                  <a:cubicBezTo>
                    <a:pt x="128" y="192"/>
                    <a:pt x="128" y="192"/>
                    <a:pt x="128" y="192"/>
                  </a:cubicBezTo>
                  <a:cubicBezTo>
                    <a:pt x="128" y="53"/>
                    <a:pt x="128" y="53"/>
                    <a:pt x="128" y="53"/>
                  </a:cubicBezTo>
                  <a:cubicBezTo>
                    <a:pt x="86" y="53"/>
                    <a:pt x="86" y="53"/>
                    <a:pt x="86" y="53"/>
                  </a:cubicBezTo>
                  <a:cubicBezTo>
                    <a:pt x="80" y="53"/>
                    <a:pt x="75" y="48"/>
                    <a:pt x="75"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9" name="Freeform 635">
              <a:extLst>
                <a:ext uri="{FF2B5EF4-FFF2-40B4-BE49-F238E27FC236}">
                  <a16:creationId xmlns:a16="http://schemas.microsoft.com/office/drawing/2014/main" id="{694D1C07-BDD1-4F23-B0AD-E3FD559E394C}"/>
                </a:ext>
              </a:extLst>
            </p:cNvPr>
            <p:cNvSpPr>
              <a:spLocks/>
            </p:cNvSpPr>
            <p:nvPr/>
          </p:nvSpPr>
          <p:spPr bwMode="auto">
            <a:xfrm>
              <a:off x="5265" y="2817"/>
              <a:ext cx="12" cy="12"/>
            </a:xfrm>
            <a:custGeom>
              <a:avLst/>
              <a:gdLst>
                <a:gd name="T0" fmla="*/ 0 w 12"/>
                <a:gd name="T1" fmla="*/ 12 h 12"/>
                <a:gd name="T2" fmla="*/ 12 w 12"/>
                <a:gd name="T3" fmla="*/ 12 h 12"/>
                <a:gd name="T4" fmla="*/ 0 w 12"/>
                <a:gd name="T5" fmla="*/ 0 h 12"/>
                <a:gd name="T6" fmla="*/ 0 w 12"/>
                <a:gd name="T7" fmla="*/ 12 h 12"/>
              </a:gdLst>
              <a:ahLst/>
              <a:cxnLst>
                <a:cxn ang="0">
                  <a:pos x="T0" y="T1"/>
                </a:cxn>
                <a:cxn ang="0">
                  <a:pos x="T2" y="T3"/>
                </a:cxn>
                <a:cxn ang="0">
                  <a:pos x="T4" y="T5"/>
                </a:cxn>
                <a:cxn ang="0">
                  <a:pos x="T6" y="T7"/>
                </a:cxn>
              </a:cxnLst>
              <a:rect l="0" t="0" r="r" b="b"/>
              <a:pathLst>
                <a:path w="12" h="12">
                  <a:moveTo>
                    <a:pt x="0" y="12"/>
                  </a:moveTo>
                  <a:lnTo>
                    <a:pt x="12" y="12"/>
                  </a:lnTo>
                  <a:lnTo>
                    <a:pt x="0" y="0"/>
                  </a:lnTo>
                  <a:lnTo>
                    <a:pt x="0"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0" name="Freeform 636">
              <a:extLst>
                <a:ext uri="{FF2B5EF4-FFF2-40B4-BE49-F238E27FC236}">
                  <a16:creationId xmlns:a16="http://schemas.microsoft.com/office/drawing/2014/main" id="{B73F8105-513C-4469-99C2-D0DE5747B3DE}"/>
                </a:ext>
              </a:extLst>
            </p:cNvPr>
            <p:cNvSpPr>
              <a:spLocks/>
            </p:cNvSpPr>
            <p:nvPr/>
          </p:nvSpPr>
          <p:spPr bwMode="auto">
            <a:xfrm>
              <a:off x="5314" y="2774"/>
              <a:ext cx="12" cy="12"/>
            </a:xfrm>
            <a:custGeom>
              <a:avLst/>
              <a:gdLst>
                <a:gd name="T0" fmla="*/ 0 w 12"/>
                <a:gd name="T1" fmla="*/ 0 h 12"/>
                <a:gd name="T2" fmla="*/ 0 w 12"/>
                <a:gd name="T3" fmla="*/ 12 h 12"/>
                <a:gd name="T4" fmla="*/ 12 w 12"/>
                <a:gd name="T5" fmla="*/ 12 h 12"/>
                <a:gd name="T6" fmla="*/ 0 w 12"/>
                <a:gd name="T7" fmla="*/ 0 h 12"/>
              </a:gdLst>
              <a:ahLst/>
              <a:cxnLst>
                <a:cxn ang="0">
                  <a:pos x="T0" y="T1"/>
                </a:cxn>
                <a:cxn ang="0">
                  <a:pos x="T2" y="T3"/>
                </a:cxn>
                <a:cxn ang="0">
                  <a:pos x="T4" y="T5"/>
                </a:cxn>
                <a:cxn ang="0">
                  <a:pos x="T6" y="T7"/>
                </a:cxn>
              </a:cxnLst>
              <a:rect l="0" t="0" r="r" b="b"/>
              <a:pathLst>
                <a:path w="12" h="12">
                  <a:moveTo>
                    <a:pt x="0" y="0"/>
                  </a:moveTo>
                  <a:lnTo>
                    <a:pt x="0" y="12"/>
                  </a:lnTo>
                  <a:lnTo>
                    <a:pt x="12" y="12"/>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1" name="Freeform 637">
              <a:extLst>
                <a:ext uri="{FF2B5EF4-FFF2-40B4-BE49-F238E27FC236}">
                  <a16:creationId xmlns:a16="http://schemas.microsoft.com/office/drawing/2014/main" id="{51D7D7F0-7FE9-4495-A49C-BCE8E57C8067}"/>
                </a:ext>
              </a:extLst>
            </p:cNvPr>
            <p:cNvSpPr>
              <a:spLocks/>
            </p:cNvSpPr>
            <p:nvPr/>
          </p:nvSpPr>
          <p:spPr bwMode="auto">
            <a:xfrm>
              <a:off x="5251" y="2765"/>
              <a:ext cx="85" cy="127"/>
            </a:xfrm>
            <a:custGeom>
              <a:avLst/>
              <a:gdLst>
                <a:gd name="T0" fmla="*/ 75 w 128"/>
                <a:gd name="T1" fmla="*/ 42 h 192"/>
                <a:gd name="T2" fmla="*/ 75 w 128"/>
                <a:gd name="T3" fmla="*/ 0 h 192"/>
                <a:gd name="T4" fmla="*/ 0 w 128"/>
                <a:gd name="T5" fmla="*/ 0 h 192"/>
                <a:gd name="T6" fmla="*/ 0 w 128"/>
                <a:gd name="T7" fmla="*/ 42 h 192"/>
                <a:gd name="T8" fmla="*/ 12 w 128"/>
                <a:gd name="T9" fmla="*/ 42 h 192"/>
                <a:gd name="T10" fmla="*/ 19 w 128"/>
                <a:gd name="T11" fmla="*/ 45 h 192"/>
                <a:gd name="T12" fmla="*/ 71 w 128"/>
                <a:gd name="T13" fmla="*/ 98 h 192"/>
                <a:gd name="T14" fmla="*/ 73 w 128"/>
                <a:gd name="T15" fmla="*/ 101 h 192"/>
                <a:gd name="T16" fmla="*/ 75 w 128"/>
                <a:gd name="T17" fmla="*/ 106 h 192"/>
                <a:gd name="T18" fmla="*/ 75 w 128"/>
                <a:gd name="T19" fmla="*/ 192 h 192"/>
                <a:gd name="T20" fmla="*/ 128 w 128"/>
                <a:gd name="T21" fmla="*/ 192 h 192"/>
                <a:gd name="T22" fmla="*/ 128 w 128"/>
                <a:gd name="T23" fmla="*/ 53 h 192"/>
                <a:gd name="T24" fmla="*/ 85 w 128"/>
                <a:gd name="T25" fmla="*/ 53 h 192"/>
                <a:gd name="T26" fmla="*/ 75 w 128"/>
                <a:gd name="T27" fmla="*/ 4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92">
                  <a:moveTo>
                    <a:pt x="75" y="42"/>
                  </a:moveTo>
                  <a:cubicBezTo>
                    <a:pt x="75" y="0"/>
                    <a:pt x="75" y="0"/>
                    <a:pt x="75" y="0"/>
                  </a:cubicBezTo>
                  <a:cubicBezTo>
                    <a:pt x="0" y="0"/>
                    <a:pt x="0" y="0"/>
                    <a:pt x="0" y="0"/>
                  </a:cubicBezTo>
                  <a:cubicBezTo>
                    <a:pt x="0" y="42"/>
                    <a:pt x="0" y="42"/>
                    <a:pt x="0" y="42"/>
                  </a:cubicBezTo>
                  <a:cubicBezTo>
                    <a:pt x="12" y="42"/>
                    <a:pt x="12" y="42"/>
                    <a:pt x="12" y="42"/>
                  </a:cubicBezTo>
                  <a:cubicBezTo>
                    <a:pt x="15" y="42"/>
                    <a:pt x="17" y="43"/>
                    <a:pt x="19" y="45"/>
                  </a:cubicBezTo>
                  <a:cubicBezTo>
                    <a:pt x="71" y="98"/>
                    <a:pt x="71" y="98"/>
                    <a:pt x="71" y="98"/>
                  </a:cubicBezTo>
                  <a:cubicBezTo>
                    <a:pt x="72" y="99"/>
                    <a:pt x="73" y="100"/>
                    <a:pt x="73" y="101"/>
                  </a:cubicBezTo>
                  <a:cubicBezTo>
                    <a:pt x="74" y="103"/>
                    <a:pt x="75" y="104"/>
                    <a:pt x="75" y="106"/>
                  </a:cubicBezTo>
                  <a:cubicBezTo>
                    <a:pt x="75" y="192"/>
                    <a:pt x="75" y="192"/>
                    <a:pt x="75" y="192"/>
                  </a:cubicBezTo>
                  <a:cubicBezTo>
                    <a:pt x="128" y="192"/>
                    <a:pt x="128" y="192"/>
                    <a:pt x="128" y="192"/>
                  </a:cubicBezTo>
                  <a:cubicBezTo>
                    <a:pt x="128" y="53"/>
                    <a:pt x="128" y="53"/>
                    <a:pt x="128" y="53"/>
                  </a:cubicBezTo>
                  <a:cubicBezTo>
                    <a:pt x="85" y="53"/>
                    <a:pt x="85" y="53"/>
                    <a:pt x="85" y="53"/>
                  </a:cubicBezTo>
                  <a:cubicBezTo>
                    <a:pt x="79" y="53"/>
                    <a:pt x="75" y="48"/>
                    <a:pt x="75"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2" name="Freeform 638">
              <a:extLst>
                <a:ext uri="{FF2B5EF4-FFF2-40B4-BE49-F238E27FC236}">
                  <a16:creationId xmlns:a16="http://schemas.microsoft.com/office/drawing/2014/main" id="{40C1F674-EB7F-4183-944B-EEC496617C2E}"/>
                </a:ext>
              </a:extLst>
            </p:cNvPr>
            <p:cNvSpPr>
              <a:spLocks noEditPoints="1"/>
            </p:cNvSpPr>
            <p:nvPr/>
          </p:nvSpPr>
          <p:spPr bwMode="auto">
            <a:xfrm>
              <a:off x="5088" y="268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30 h 512"/>
                <a:gd name="T12" fmla="*/ 384 w 512"/>
                <a:gd name="T13" fmla="*/ 341 h 512"/>
                <a:gd name="T14" fmla="*/ 320 w 512"/>
                <a:gd name="T15" fmla="*/ 341 h 512"/>
                <a:gd name="T16" fmla="*/ 320 w 512"/>
                <a:gd name="T17" fmla="*/ 394 h 512"/>
                <a:gd name="T18" fmla="*/ 309 w 512"/>
                <a:gd name="T19" fmla="*/ 405 h 512"/>
                <a:gd name="T20" fmla="*/ 160 w 512"/>
                <a:gd name="T21" fmla="*/ 405 h 512"/>
                <a:gd name="T22" fmla="*/ 149 w 512"/>
                <a:gd name="T23" fmla="*/ 394 h 512"/>
                <a:gd name="T24" fmla="*/ 149 w 512"/>
                <a:gd name="T25" fmla="*/ 181 h 512"/>
                <a:gd name="T26" fmla="*/ 160 w 512"/>
                <a:gd name="T27" fmla="*/ 170 h 512"/>
                <a:gd name="T28" fmla="*/ 224 w 512"/>
                <a:gd name="T29" fmla="*/ 170 h 512"/>
                <a:gd name="T30" fmla="*/ 224 w 512"/>
                <a:gd name="T31" fmla="*/ 117 h 512"/>
                <a:gd name="T32" fmla="*/ 234 w 512"/>
                <a:gd name="T33" fmla="*/ 106 h 512"/>
                <a:gd name="T34" fmla="*/ 331 w 512"/>
                <a:gd name="T35" fmla="*/ 106 h 512"/>
                <a:gd name="T36" fmla="*/ 339 w 512"/>
                <a:gd name="T37" fmla="*/ 109 h 512"/>
                <a:gd name="T38" fmla="*/ 391 w 512"/>
                <a:gd name="T39" fmla="*/ 162 h 512"/>
                <a:gd name="T40" fmla="*/ 393 w 512"/>
                <a:gd name="T41" fmla="*/ 166 h 512"/>
                <a:gd name="T42" fmla="*/ 394 w 512"/>
                <a:gd name="T43" fmla="*/ 170 h 512"/>
                <a:gd name="T44" fmla="*/ 394 w 512"/>
                <a:gd name="T4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30"/>
                  </a:moveTo>
                  <a:cubicBezTo>
                    <a:pt x="394" y="336"/>
                    <a:pt x="390" y="341"/>
                    <a:pt x="384" y="341"/>
                  </a:cubicBezTo>
                  <a:cubicBezTo>
                    <a:pt x="320" y="341"/>
                    <a:pt x="320" y="341"/>
                    <a:pt x="320" y="341"/>
                  </a:cubicBezTo>
                  <a:cubicBezTo>
                    <a:pt x="320" y="394"/>
                    <a:pt x="320" y="394"/>
                    <a:pt x="320" y="394"/>
                  </a:cubicBezTo>
                  <a:cubicBezTo>
                    <a:pt x="320" y="400"/>
                    <a:pt x="315" y="405"/>
                    <a:pt x="309" y="405"/>
                  </a:cubicBezTo>
                  <a:cubicBezTo>
                    <a:pt x="160" y="405"/>
                    <a:pt x="160" y="405"/>
                    <a:pt x="160" y="405"/>
                  </a:cubicBezTo>
                  <a:cubicBezTo>
                    <a:pt x="154" y="405"/>
                    <a:pt x="149" y="400"/>
                    <a:pt x="149" y="394"/>
                  </a:cubicBezTo>
                  <a:cubicBezTo>
                    <a:pt x="149" y="181"/>
                    <a:pt x="149" y="181"/>
                    <a:pt x="149" y="181"/>
                  </a:cubicBezTo>
                  <a:cubicBezTo>
                    <a:pt x="149" y="175"/>
                    <a:pt x="154" y="170"/>
                    <a:pt x="160" y="170"/>
                  </a:cubicBezTo>
                  <a:cubicBezTo>
                    <a:pt x="224" y="170"/>
                    <a:pt x="224" y="170"/>
                    <a:pt x="224" y="170"/>
                  </a:cubicBezTo>
                  <a:cubicBezTo>
                    <a:pt x="224" y="117"/>
                    <a:pt x="224" y="117"/>
                    <a:pt x="224" y="117"/>
                  </a:cubicBezTo>
                  <a:cubicBezTo>
                    <a:pt x="224" y="111"/>
                    <a:pt x="228" y="106"/>
                    <a:pt x="234" y="106"/>
                  </a:cubicBezTo>
                  <a:cubicBezTo>
                    <a:pt x="331" y="106"/>
                    <a:pt x="331" y="106"/>
                    <a:pt x="331" y="106"/>
                  </a:cubicBezTo>
                  <a:cubicBezTo>
                    <a:pt x="334" y="106"/>
                    <a:pt x="337" y="107"/>
                    <a:pt x="339" y="109"/>
                  </a:cubicBezTo>
                  <a:cubicBezTo>
                    <a:pt x="391" y="162"/>
                    <a:pt x="391" y="162"/>
                    <a:pt x="391" y="162"/>
                  </a:cubicBezTo>
                  <a:cubicBezTo>
                    <a:pt x="392" y="163"/>
                    <a:pt x="393" y="164"/>
                    <a:pt x="393" y="166"/>
                  </a:cubicBezTo>
                  <a:cubicBezTo>
                    <a:pt x="394" y="167"/>
                    <a:pt x="394" y="169"/>
                    <a:pt x="394" y="170"/>
                  </a:cubicBezTo>
                  <a:lnTo>
                    <a:pt x="394" y="3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63" name="Group 99">
            <a:extLst>
              <a:ext uri="{FF2B5EF4-FFF2-40B4-BE49-F238E27FC236}">
                <a16:creationId xmlns:a16="http://schemas.microsoft.com/office/drawing/2014/main" id="{024A474B-7847-4357-B33A-E3B533211B7F}"/>
              </a:ext>
            </a:extLst>
          </p:cNvPr>
          <p:cNvGrpSpPr>
            <a:grpSpLocks noChangeAspect="1"/>
          </p:cNvGrpSpPr>
          <p:nvPr/>
        </p:nvGrpSpPr>
        <p:grpSpPr bwMode="auto">
          <a:xfrm>
            <a:off x="4384806" y="3292640"/>
            <a:ext cx="367631" cy="367631"/>
            <a:chOff x="5779" y="1137"/>
            <a:chExt cx="340" cy="340"/>
          </a:xfrm>
          <a:solidFill>
            <a:schemeClr val="accent1"/>
          </a:solidFill>
        </p:grpSpPr>
        <p:sp>
          <p:nvSpPr>
            <p:cNvPr id="564" name="Freeform 100">
              <a:extLst>
                <a:ext uri="{FF2B5EF4-FFF2-40B4-BE49-F238E27FC236}">
                  <a16:creationId xmlns:a16="http://schemas.microsoft.com/office/drawing/2014/main" id="{F407BEB5-CB84-4C45-9325-DFDB449E6A76}"/>
                </a:ext>
              </a:extLst>
            </p:cNvPr>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5" name="Freeform 101">
              <a:extLst>
                <a:ext uri="{FF2B5EF4-FFF2-40B4-BE49-F238E27FC236}">
                  <a16:creationId xmlns:a16="http://schemas.microsoft.com/office/drawing/2014/main" id="{94BAE940-257C-4DDB-AC21-C7CE729C4DD6}"/>
                </a:ext>
              </a:extLst>
            </p:cNvPr>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6" name="TextBox 565">
            <a:extLst>
              <a:ext uri="{FF2B5EF4-FFF2-40B4-BE49-F238E27FC236}">
                <a16:creationId xmlns:a16="http://schemas.microsoft.com/office/drawing/2014/main" id="{90DA22D4-0055-43A0-ACD3-2BF05BA9ADFE}"/>
              </a:ext>
            </a:extLst>
          </p:cNvPr>
          <p:cNvSpPr txBox="1"/>
          <p:nvPr/>
        </p:nvSpPr>
        <p:spPr>
          <a:xfrm>
            <a:off x="8302403" y="210512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ay</a:t>
            </a:r>
          </a:p>
        </p:txBody>
      </p:sp>
      <p:grpSp>
        <p:nvGrpSpPr>
          <p:cNvPr id="567" name="Group 472">
            <a:extLst>
              <a:ext uri="{FF2B5EF4-FFF2-40B4-BE49-F238E27FC236}">
                <a16:creationId xmlns:a16="http://schemas.microsoft.com/office/drawing/2014/main" id="{6F612F02-2B69-412F-8C4C-90F14253F29D}"/>
              </a:ext>
            </a:extLst>
          </p:cNvPr>
          <p:cNvGrpSpPr>
            <a:grpSpLocks noChangeAspect="1"/>
          </p:cNvGrpSpPr>
          <p:nvPr/>
        </p:nvGrpSpPr>
        <p:grpSpPr bwMode="auto">
          <a:xfrm>
            <a:off x="8761861" y="1700213"/>
            <a:ext cx="369021" cy="369021"/>
            <a:chOff x="400" y="1576"/>
            <a:chExt cx="340" cy="340"/>
          </a:xfrm>
          <a:solidFill>
            <a:schemeClr val="accent5"/>
          </a:solidFill>
        </p:grpSpPr>
        <p:sp>
          <p:nvSpPr>
            <p:cNvPr id="568" name="Freeform 473">
              <a:extLst>
                <a:ext uri="{FF2B5EF4-FFF2-40B4-BE49-F238E27FC236}">
                  <a16:creationId xmlns:a16="http://schemas.microsoft.com/office/drawing/2014/main" id="{FA5668D2-4FCF-4AD9-8E12-0099D5F2EDA5}"/>
                </a:ext>
              </a:extLst>
            </p:cNvPr>
            <p:cNvSpPr>
              <a:spLocks noEditPoints="1"/>
            </p:cNvSpPr>
            <p:nvPr/>
          </p:nvSpPr>
          <p:spPr bwMode="auto">
            <a:xfrm>
              <a:off x="499" y="1654"/>
              <a:ext cx="170" cy="184"/>
            </a:xfrm>
            <a:custGeom>
              <a:avLst/>
              <a:gdLst>
                <a:gd name="T0" fmla="*/ 11 w 256"/>
                <a:gd name="T1" fmla="*/ 277 h 277"/>
                <a:gd name="T2" fmla="*/ 5 w 256"/>
                <a:gd name="T3" fmla="*/ 276 h 277"/>
                <a:gd name="T4" fmla="*/ 0 w 256"/>
                <a:gd name="T5" fmla="*/ 267 h 277"/>
                <a:gd name="T6" fmla="*/ 0 w 256"/>
                <a:gd name="T7" fmla="*/ 11 h 277"/>
                <a:gd name="T8" fmla="*/ 5 w 256"/>
                <a:gd name="T9" fmla="*/ 1 h 277"/>
                <a:gd name="T10" fmla="*/ 16 w 256"/>
                <a:gd name="T11" fmla="*/ 1 h 277"/>
                <a:gd name="T12" fmla="*/ 250 w 256"/>
                <a:gd name="T13" fmla="*/ 129 h 277"/>
                <a:gd name="T14" fmla="*/ 256 w 256"/>
                <a:gd name="T15" fmla="*/ 139 h 277"/>
                <a:gd name="T16" fmla="*/ 250 w 256"/>
                <a:gd name="T17" fmla="*/ 148 h 277"/>
                <a:gd name="T18" fmla="*/ 16 w 256"/>
                <a:gd name="T19" fmla="*/ 276 h 277"/>
                <a:gd name="T20" fmla="*/ 11 w 256"/>
                <a:gd name="T21" fmla="*/ 277 h 277"/>
                <a:gd name="T22" fmla="*/ 21 w 256"/>
                <a:gd name="T23" fmla="*/ 29 h 277"/>
                <a:gd name="T24" fmla="*/ 21 w 256"/>
                <a:gd name="T25" fmla="*/ 249 h 277"/>
                <a:gd name="T26" fmla="*/ 223 w 256"/>
                <a:gd name="T27" fmla="*/ 139 h 277"/>
                <a:gd name="T28" fmla="*/ 21 w 256"/>
                <a:gd name="T29" fmla="*/ 2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77">
                  <a:moveTo>
                    <a:pt x="11" y="277"/>
                  </a:moveTo>
                  <a:cubicBezTo>
                    <a:pt x="9" y="277"/>
                    <a:pt x="7" y="277"/>
                    <a:pt x="5" y="276"/>
                  </a:cubicBezTo>
                  <a:cubicBezTo>
                    <a:pt x="2" y="274"/>
                    <a:pt x="0" y="270"/>
                    <a:pt x="0" y="267"/>
                  </a:cubicBezTo>
                  <a:cubicBezTo>
                    <a:pt x="0" y="11"/>
                    <a:pt x="0" y="11"/>
                    <a:pt x="0" y="11"/>
                  </a:cubicBezTo>
                  <a:cubicBezTo>
                    <a:pt x="0" y="7"/>
                    <a:pt x="2" y="3"/>
                    <a:pt x="5" y="1"/>
                  </a:cubicBezTo>
                  <a:cubicBezTo>
                    <a:pt x="8" y="0"/>
                    <a:pt x="12" y="0"/>
                    <a:pt x="16" y="1"/>
                  </a:cubicBezTo>
                  <a:cubicBezTo>
                    <a:pt x="250" y="129"/>
                    <a:pt x="250" y="129"/>
                    <a:pt x="250" y="129"/>
                  </a:cubicBezTo>
                  <a:cubicBezTo>
                    <a:pt x="254" y="131"/>
                    <a:pt x="256" y="135"/>
                    <a:pt x="256" y="139"/>
                  </a:cubicBezTo>
                  <a:cubicBezTo>
                    <a:pt x="256" y="143"/>
                    <a:pt x="254" y="146"/>
                    <a:pt x="250" y="148"/>
                  </a:cubicBezTo>
                  <a:cubicBezTo>
                    <a:pt x="16" y="276"/>
                    <a:pt x="16" y="276"/>
                    <a:pt x="16" y="276"/>
                  </a:cubicBezTo>
                  <a:cubicBezTo>
                    <a:pt x="14" y="277"/>
                    <a:pt x="12" y="277"/>
                    <a:pt x="11" y="277"/>
                  </a:cubicBezTo>
                  <a:close/>
                  <a:moveTo>
                    <a:pt x="21" y="29"/>
                  </a:moveTo>
                  <a:cubicBezTo>
                    <a:pt x="21" y="249"/>
                    <a:pt x="21" y="249"/>
                    <a:pt x="21" y="249"/>
                  </a:cubicBezTo>
                  <a:cubicBezTo>
                    <a:pt x="223" y="139"/>
                    <a:pt x="223" y="139"/>
                    <a:pt x="223" y="139"/>
                  </a:cubicBezTo>
                  <a:lnTo>
                    <a:pt x="21" y="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9" name="Freeform 474">
              <a:extLst>
                <a:ext uri="{FF2B5EF4-FFF2-40B4-BE49-F238E27FC236}">
                  <a16:creationId xmlns:a16="http://schemas.microsoft.com/office/drawing/2014/main" id="{E2F2EB13-A0E8-4C0D-9A0E-F725E7FD16A4}"/>
                </a:ext>
              </a:extLst>
            </p:cNvPr>
            <p:cNvSpPr>
              <a:spLocks noEditPoints="1"/>
            </p:cNvSpPr>
            <p:nvPr/>
          </p:nvSpPr>
          <p:spPr bwMode="auto">
            <a:xfrm>
              <a:off x="400" y="157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0" name="Freeform 646">
            <a:extLst>
              <a:ext uri="{FF2B5EF4-FFF2-40B4-BE49-F238E27FC236}">
                <a16:creationId xmlns:a16="http://schemas.microsoft.com/office/drawing/2014/main" id="{D4CEF26E-D9E4-4D5C-B4B2-FF9212663666}"/>
              </a:ext>
            </a:extLst>
          </p:cNvPr>
          <p:cNvSpPr>
            <a:spLocks noChangeAspect="1" noEditPoints="1"/>
          </p:cNvSpPr>
          <p:nvPr/>
        </p:nvSpPr>
        <p:spPr bwMode="auto">
          <a:xfrm>
            <a:off x="8325589" y="1700213"/>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71" name="TextBox 570">
            <a:extLst>
              <a:ext uri="{FF2B5EF4-FFF2-40B4-BE49-F238E27FC236}">
                <a16:creationId xmlns:a16="http://schemas.microsoft.com/office/drawing/2014/main" id="{634B8132-1B6C-4F31-B518-BD556836682C}"/>
              </a:ext>
            </a:extLst>
          </p:cNvPr>
          <p:cNvSpPr txBox="1"/>
          <p:nvPr/>
        </p:nvSpPr>
        <p:spPr>
          <a:xfrm>
            <a:off x="4830710"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int</a:t>
            </a:r>
          </a:p>
        </p:txBody>
      </p:sp>
      <p:grpSp>
        <p:nvGrpSpPr>
          <p:cNvPr id="572" name="Group 567">
            <a:extLst>
              <a:ext uri="{FF2B5EF4-FFF2-40B4-BE49-F238E27FC236}">
                <a16:creationId xmlns:a16="http://schemas.microsoft.com/office/drawing/2014/main" id="{77D73C27-9BE0-4BD2-9F46-48B7A4A67939}"/>
              </a:ext>
            </a:extLst>
          </p:cNvPr>
          <p:cNvGrpSpPr>
            <a:grpSpLocks noChangeAspect="1"/>
          </p:cNvGrpSpPr>
          <p:nvPr/>
        </p:nvGrpSpPr>
        <p:grpSpPr bwMode="auto">
          <a:xfrm>
            <a:off x="5256892" y="3292640"/>
            <a:ext cx="370106" cy="369021"/>
            <a:chOff x="410" y="1934"/>
            <a:chExt cx="341" cy="340"/>
          </a:xfrm>
          <a:solidFill>
            <a:schemeClr val="accent6"/>
          </a:solidFill>
        </p:grpSpPr>
        <p:sp>
          <p:nvSpPr>
            <p:cNvPr id="573" name="Freeform 568">
              <a:extLst>
                <a:ext uri="{FF2B5EF4-FFF2-40B4-BE49-F238E27FC236}">
                  <a16:creationId xmlns:a16="http://schemas.microsoft.com/office/drawing/2014/main" id="{50556C6E-3162-48E2-9BEA-62EC78F774AC}"/>
                </a:ext>
              </a:extLst>
            </p:cNvPr>
            <p:cNvSpPr>
              <a:spLocks noEditPoints="1"/>
            </p:cNvSpPr>
            <p:nvPr/>
          </p:nvSpPr>
          <p:spPr bwMode="auto">
            <a:xfrm>
              <a:off x="474" y="1998"/>
              <a:ext cx="213" cy="212"/>
            </a:xfrm>
            <a:custGeom>
              <a:avLst/>
              <a:gdLst>
                <a:gd name="T0" fmla="*/ 309 w 320"/>
                <a:gd name="T1" fmla="*/ 85 h 320"/>
                <a:gd name="T2" fmla="*/ 256 w 320"/>
                <a:gd name="T3" fmla="*/ 85 h 320"/>
                <a:gd name="T4" fmla="*/ 256 w 320"/>
                <a:gd name="T5" fmla="*/ 10 h 320"/>
                <a:gd name="T6" fmla="*/ 245 w 320"/>
                <a:gd name="T7" fmla="*/ 0 h 320"/>
                <a:gd name="T8" fmla="*/ 74 w 320"/>
                <a:gd name="T9" fmla="*/ 0 h 320"/>
                <a:gd name="T10" fmla="*/ 64 w 320"/>
                <a:gd name="T11" fmla="*/ 10 h 320"/>
                <a:gd name="T12" fmla="*/ 64 w 320"/>
                <a:gd name="T13" fmla="*/ 85 h 320"/>
                <a:gd name="T14" fmla="*/ 10 w 320"/>
                <a:gd name="T15" fmla="*/ 85 h 320"/>
                <a:gd name="T16" fmla="*/ 0 w 320"/>
                <a:gd name="T17" fmla="*/ 96 h 320"/>
                <a:gd name="T18" fmla="*/ 0 w 320"/>
                <a:gd name="T19" fmla="*/ 266 h 320"/>
                <a:gd name="T20" fmla="*/ 10 w 320"/>
                <a:gd name="T21" fmla="*/ 277 h 320"/>
                <a:gd name="T22" fmla="*/ 64 w 320"/>
                <a:gd name="T23" fmla="*/ 277 h 320"/>
                <a:gd name="T24" fmla="*/ 64 w 320"/>
                <a:gd name="T25" fmla="*/ 309 h 320"/>
                <a:gd name="T26" fmla="*/ 74 w 320"/>
                <a:gd name="T27" fmla="*/ 320 h 320"/>
                <a:gd name="T28" fmla="*/ 245 w 320"/>
                <a:gd name="T29" fmla="*/ 320 h 320"/>
                <a:gd name="T30" fmla="*/ 256 w 320"/>
                <a:gd name="T31" fmla="*/ 309 h 320"/>
                <a:gd name="T32" fmla="*/ 256 w 320"/>
                <a:gd name="T33" fmla="*/ 277 h 320"/>
                <a:gd name="T34" fmla="*/ 309 w 320"/>
                <a:gd name="T35" fmla="*/ 277 h 320"/>
                <a:gd name="T36" fmla="*/ 320 w 320"/>
                <a:gd name="T37" fmla="*/ 266 h 320"/>
                <a:gd name="T38" fmla="*/ 320 w 320"/>
                <a:gd name="T39" fmla="*/ 96 h 320"/>
                <a:gd name="T40" fmla="*/ 309 w 320"/>
                <a:gd name="T41" fmla="*/ 85 h 320"/>
                <a:gd name="T42" fmla="*/ 85 w 320"/>
                <a:gd name="T43" fmla="*/ 21 h 320"/>
                <a:gd name="T44" fmla="*/ 234 w 320"/>
                <a:gd name="T45" fmla="*/ 21 h 320"/>
                <a:gd name="T46" fmla="*/ 234 w 320"/>
                <a:gd name="T47" fmla="*/ 85 h 320"/>
                <a:gd name="T48" fmla="*/ 85 w 320"/>
                <a:gd name="T49" fmla="*/ 85 h 320"/>
                <a:gd name="T50" fmla="*/ 85 w 320"/>
                <a:gd name="T51" fmla="*/ 21 h 320"/>
                <a:gd name="T52" fmla="*/ 234 w 320"/>
                <a:gd name="T53" fmla="*/ 298 h 320"/>
                <a:gd name="T54" fmla="*/ 85 w 320"/>
                <a:gd name="T55" fmla="*/ 298 h 320"/>
                <a:gd name="T56" fmla="*/ 85 w 320"/>
                <a:gd name="T57" fmla="*/ 213 h 320"/>
                <a:gd name="T58" fmla="*/ 234 w 320"/>
                <a:gd name="T59" fmla="*/ 213 h 320"/>
                <a:gd name="T60" fmla="*/ 234 w 320"/>
                <a:gd name="T61" fmla="*/ 298 h 320"/>
                <a:gd name="T62" fmla="*/ 298 w 320"/>
                <a:gd name="T63" fmla="*/ 256 h 320"/>
                <a:gd name="T64" fmla="*/ 256 w 320"/>
                <a:gd name="T65" fmla="*/ 256 h 320"/>
                <a:gd name="T66" fmla="*/ 256 w 320"/>
                <a:gd name="T67" fmla="*/ 202 h 320"/>
                <a:gd name="T68" fmla="*/ 245 w 320"/>
                <a:gd name="T69" fmla="*/ 192 h 320"/>
                <a:gd name="T70" fmla="*/ 74 w 320"/>
                <a:gd name="T71" fmla="*/ 192 h 320"/>
                <a:gd name="T72" fmla="*/ 64 w 320"/>
                <a:gd name="T73" fmla="*/ 202 h 320"/>
                <a:gd name="T74" fmla="*/ 64 w 320"/>
                <a:gd name="T75" fmla="*/ 256 h 320"/>
                <a:gd name="T76" fmla="*/ 21 w 320"/>
                <a:gd name="T77" fmla="*/ 256 h 320"/>
                <a:gd name="T78" fmla="*/ 21 w 320"/>
                <a:gd name="T79" fmla="*/ 106 h 320"/>
                <a:gd name="T80" fmla="*/ 298 w 320"/>
                <a:gd name="T81" fmla="*/ 106 h 320"/>
                <a:gd name="T82" fmla="*/ 298 w 320"/>
                <a:gd name="T8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320">
                  <a:moveTo>
                    <a:pt x="309" y="85"/>
                  </a:moveTo>
                  <a:cubicBezTo>
                    <a:pt x="256" y="85"/>
                    <a:pt x="256" y="85"/>
                    <a:pt x="256" y="85"/>
                  </a:cubicBezTo>
                  <a:cubicBezTo>
                    <a:pt x="256" y="10"/>
                    <a:pt x="256" y="10"/>
                    <a:pt x="256" y="10"/>
                  </a:cubicBezTo>
                  <a:cubicBezTo>
                    <a:pt x="256" y="4"/>
                    <a:pt x="251" y="0"/>
                    <a:pt x="245" y="0"/>
                  </a:cubicBezTo>
                  <a:cubicBezTo>
                    <a:pt x="74" y="0"/>
                    <a:pt x="74" y="0"/>
                    <a:pt x="74" y="0"/>
                  </a:cubicBezTo>
                  <a:cubicBezTo>
                    <a:pt x="68" y="0"/>
                    <a:pt x="64" y="4"/>
                    <a:pt x="64" y="10"/>
                  </a:cubicBezTo>
                  <a:cubicBezTo>
                    <a:pt x="64" y="85"/>
                    <a:pt x="64" y="85"/>
                    <a:pt x="64" y="85"/>
                  </a:cubicBezTo>
                  <a:cubicBezTo>
                    <a:pt x="10" y="85"/>
                    <a:pt x="10" y="85"/>
                    <a:pt x="10" y="85"/>
                  </a:cubicBezTo>
                  <a:cubicBezTo>
                    <a:pt x="4" y="85"/>
                    <a:pt x="0" y="90"/>
                    <a:pt x="0" y="96"/>
                  </a:cubicBezTo>
                  <a:cubicBezTo>
                    <a:pt x="0" y="266"/>
                    <a:pt x="0" y="266"/>
                    <a:pt x="0" y="266"/>
                  </a:cubicBezTo>
                  <a:cubicBezTo>
                    <a:pt x="0" y="272"/>
                    <a:pt x="4" y="277"/>
                    <a:pt x="10" y="277"/>
                  </a:cubicBezTo>
                  <a:cubicBezTo>
                    <a:pt x="64" y="277"/>
                    <a:pt x="64" y="277"/>
                    <a:pt x="64" y="277"/>
                  </a:cubicBezTo>
                  <a:cubicBezTo>
                    <a:pt x="64" y="309"/>
                    <a:pt x="64" y="309"/>
                    <a:pt x="64" y="309"/>
                  </a:cubicBezTo>
                  <a:cubicBezTo>
                    <a:pt x="64" y="315"/>
                    <a:pt x="68" y="320"/>
                    <a:pt x="74" y="320"/>
                  </a:cubicBezTo>
                  <a:cubicBezTo>
                    <a:pt x="245" y="320"/>
                    <a:pt x="245" y="320"/>
                    <a:pt x="245" y="320"/>
                  </a:cubicBezTo>
                  <a:cubicBezTo>
                    <a:pt x="251" y="320"/>
                    <a:pt x="256" y="315"/>
                    <a:pt x="256" y="309"/>
                  </a:cubicBezTo>
                  <a:cubicBezTo>
                    <a:pt x="256" y="277"/>
                    <a:pt x="256" y="277"/>
                    <a:pt x="256" y="277"/>
                  </a:cubicBezTo>
                  <a:cubicBezTo>
                    <a:pt x="309" y="277"/>
                    <a:pt x="309" y="277"/>
                    <a:pt x="309" y="277"/>
                  </a:cubicBezTo>
                  <a:cubicBezTo>
                    <a:pt x="315" y="277"/>
                    <a:pt x="320" y="272"/>
                    <a:pt x="320" y="266"/>
                  </a:cubicBezTo>
                  <a:cubicBezTo>
                    <a:pt x="320" y="96"/>
                    <a:pt x="320" y="96"/>
                    <a:pt x="320" y="96"/>
                  </a:cubicBezTo>
                  <a:cubicBezTo>
                    <a:pt x="320" y="90"/>
                    <a:pt x="315" y="85"/>
                    <a:pt x="309" y="85"/>
                  </a:cubicBezTo>
                  <a:close/>
                  <a:moveTo>
                    <a:pt x="85" y="21"/>
                  </a:moveTo>
                  <a:cubicBezTo>
                    <a:pt x="234" y="21"/>
                    <a:pt x="234" y="21"/>
                    <a:pt x="234" y="21"/>
                  </a:cubicBezTo>
                  <a:cubicBezTo>
                    <a:pt x="234" y="85"/>
                    <a:pt x="234" y="85"/>
                    <a:pt x="234" y="85"/>
                  </a:cubicBezTo>
                  <a:cubicBezTo>
                    <a:pt x="85" y="85"/>
                    <a:pt x="85" y="85"/>
                    <a:pt x="85" y="85"/>
                  </a:cubicBezTo>
                  <a:lnTo>
                    <a:pt x="85" y="21"/>
                  </a:lnTo>
                  <a:close/>
                  <a:moveTo>
                    <a:pt x="234" y="298"/>
                  </a:moveTo>
                  <a:cubicBezTo>
                    <a:pt x="85" y="298"/>
                    <a:pt x="85" y="298"/>
                    <a:pt x="85" y="298"/>
                  </a:cubicBezTo>
                  <a:cubicBezTo>
                    <a:pt x="85" y="213"/>
                    <a:pt x="85" y="213"/>
                    <a:pt x="85" y="213"/>
                  </a:cubicBezTo>
                  <a:cubicBezTo>
                    <a:pt x="234" y="213"/>
                    <a:pt x="234" y="213"/>
                    <a:pt x="234" y="213"/>
                  </a:cubicBezTo>
                  <a:lnTo>
                    <a:pt x="234" y="298"/>
                  </a:lnTo>
                  <a:close/>
                  <a:moveTo>
                    <a:pt x="298" y="256"/>
                  </a:moveTo>
                  <a:cubicBezTo>
                    <a:pt x="256" y="256"/>
                    <a:pt x="256" y="256"/>
                    <a:pt x="256" y="256"/>
                  </a:cubicBezTo>
                  <a:cubicBezTo>
                    <a:pt x="256" y="202"/>
                    <a:pt x="256" y="202"/>
                    <a:pt x="256" y="202"/>
                  </a:cubicBezTo>
                  <a:cubicBezTo>
                    <a:pt x="256" y="196"/>
                    <a:pt x="251" y="192"/>
                    <a:pt x="245" y="192"/>
                  </a:cubicBezTo>
                  <a:cubicBezTo>
                    <a:pt x="74" y="192"/>
                    <a:pt x="74" y="192"/>
                    <a:pt x="74" y="192"/>
                  </a:cubicBezTo>
                  <a:cubicBezTo>
                    <a:pt x="68" y="192"/>
                    <a:pt x="64" y="196"/>
                    <a:pt x="64" y="202"/>
                  </a:cubicBezTo>
                  <a:cubicBezTo>
                    <a:pt x="64" y="256"/>
                    <a:pt x="64" y="256"/>
                    <a:pt x="64" y="256"/>
                  </a:cubicBezTo>
                  <a:cubicBezTo>
                    <a:pt x="21" y="256"/>
                    <a:pt x="21" y="256"/>
                    <a:pt x="21" y="256"/>
                  </a:cubicBezTo>
                  <a:cubicBezTo>
                    <a:pt x="21" y="106"/>
                    <a:pt x="21" y="106"/>
                    <a:pt x="21" y="106"/>
                  </a:cubicBezTo>
                  <a:cubicBezTo>
                    <a:pt x="298" y="106"/>
                    <a:pt x="298" y="106"/>
                    <a:pt x="298" y="106"/>
                  </a:cubicBezTo>
                  <a:lnTo>
                    <a:pt x="298"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4" name="Freeform 569">
              <a:extLst>
                <a:ext uri="{FF2B5EF4-FFF2-40B4-BE49-F238E27FC236}">
                  <a16:creationId xmlns:a16="http://schemas.microsoft.com/office/drawing/2014/main" id="{3E3A828D-1EC4-443E-BFBF-1038CA24348C}"/>
                </a:ext>
              </a:extLst>
            </p:cNvPr>
            <p:cNvSpPr>
              <a:spLocks/>
            </p:cNvSpPr>
            <p:nvPr/>
          </p:nvSpPr>
          <p:spPr bwMode="auto">
            <a:xfrm>
              <a:off x="630" y="2083"/>
              <a:ext cx="28" cy="14"/>
            </a:xfrm>
            <a:custGeom>
              <a:avLst/>
              <a:gdLst>
                <a:gd name="T0" fmla="*/ 0 w 43"/>
                <a:gd name="T1" fmla="*/ 10 h 21"/>
                <a:gd name="T2" fmla="*/ 11 w 43"/>
                <a:gd name="T3" fmla="*/ 21 h 21"/>
                <a:gd name="T4" fmla="*/ 32 w 43"/>
                <a:gd name="T5" fmla="*/ 21 h 21"/>
                <a:gd name="T6" fmla="*/ 43 w 43"/>
                <a:gd name="T7" fmla="*/ 10 h 21"/>
                <a:gd name="T8" fmla="*/ 32 w 43"/>
                <a:gd name="T9" fmla="*/ 0 h 21"/>
                <a:gd name="T10" fmla="*/ 11 w 43"/>
                <a:gd name="T11" fmla="*/ 0 h 21"/>
                <a:gd name="T12" fmla="*/ 0 w 43"/>
                <a:gd name="T13" fmla="*/ 1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0" y="10"/>
                  </a:moveTo>
                  <a:cubicBezTo>
                    <a:pt x="0" y="16"/>
                    <a:pt x="5" y="21"/>
                    <a:pt x="11" y="21"/>
                  </a:cubicBezTo>
                  <a:cubicBezTo>
                    <a:pt x="32" y="21"/>
                    <a:pt x="32" y="21"/>
                    <a:pt x="32" y="21"/>
                  </a:cubicBezTo>
                  <a:cubicBezTo>
                    <a:pt x="38" y="21"/>
                    <a:pt x="43" y="16"/>
                    <a:pt x="43" y="10"/>
                  </a:cubicBezTo>
                  <a:cubicBezTo>
                    <a:pt x="43" y="4"/>
                    <a:pt x="38" y="0"/>
                    <a:pt x="32" y="0"/>
                  </a:cubicBezTo>
                  <a:cubicBezTo>
                    <a:pt x="11" y="0"/>
                    <a:pt x="11" y="0"/>
                    <a:pt x="11" y="0"/>
                  </a:cubicBezTo>
                  <a:cubicBezTo>
                    <a:pt x="5" y="0"/>
                    <a:pt x="0" y="4"/>
                    <a:pt x="0"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5" name="Freeform 570">
              <a:extLst>
                <a:ext uri="{FF2B5EF4-FFF2-40B4-BE49-F238E27FC236}">
                  <a16:creationId xmlns:a16="http://schemas.microsoft.com/office/drawing/2014/main" id="{9E65C702-6527-4BBE-9321-B842380D118D}"/>
                </a:ext>
              </a:extLst>
            </p:cNvPr>
            <p:cNvSpPr>
              <a:spLocks noEditPoints="1"/>
            </p:cNvSpPr>
            <p:nvPr/>
          </p:nvSpPr>
          <p:spPr bwMode="auto">
            <a:xfrm>
              <a:off x="410" y="193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76" name="Freeform 574">
            <a:extLst>
              <a:ext uri="{FF2B5EF4-FFF2-40B4-BE49-F238E27FC236}">
                <a16:creationId xmlns:a16="http://schemas.microsoft.com/office/drawing/2014/main" id="{6D956E62-A4BC-49C1-A92B-9EE18F2D5B20}"/>
              </a:ext>
            </a:extLst>
          </p:cNvPr>
          <p:cNvSpPr>
            <a:spLocks noChangeAspect="1" noEditPoints="1"/>
          </p:cNvSpPr>
          <p:nvPr/>
        </p:nvSpPr>
        <p:spPr bwMode="auto">
          <a:xfrm>
            <a:off x="4820154" y="3292640"/>
            <a:ext cx="369021" cy="369021"/>
          </a:xfrm>
          <a:custGeom>
            <a:avLst/>
            <a:gdLst>
              <a:gd name="T0" fmla="*/ 181 w 512"/>
              <a:gd name="T1" fmla="*/ 309 h 512"/>
              <a:gd name="T2" fmla="*/ 330 w 512"/>
              <a:gd name="T3" fmla="*/ 309 h 512"/>
              <a:gd name="T4" fmla="*/ 330 w 512"/>
              <a:gd name="T5" fmla="*/ 394 h 512"/>
              <a:gd name="T6" fmla="*/ 181 w 512"/>
              <a:gd name="T7" fmla="*/ 394 h 512"/>
              <a:gd name="T8" fmla="*/ 181 w 512"/>
              <a:gd name="T9" fmla="*/ 309 h 512"/>
              <a:gd name="T10" fmla="*/ 330 w 512"/>
              <a:gd name="T11" fmla="*/ 117 h 512"/>
              <a:gd name="T12" fmla="*/ 181 w 512"/>
              <a:gd name="T13" fmla="*/ 117 h 512"/>
              <a:gd name="T14" fmla="*/ 181 w 512"/>
              <a:gd name="T15" fmla="*/ 181 h 512"/>
              <a:gd name="T16" fmla="*/ 330 w 512"/>
              <a:gd name="T17" fmla="*/ 181 h 512"/>
              <a:gd name="T18" fmla="*/ 330 w 512"/>
              <a:gd name="T19" fmla="*/ 117 h 512"/>
              <a:gd name="T20" fmla="*/ 117 w 512"/>
              <a:gd name="T21" fmla="*/ 202 h 512"/>
              <a:gd name="T22" fmla="*/ 394 w 512"/>
              <a:gd name="T23" fmla="*/ 202 h 512"/>
              <a:gd name="T24" fmla="*/ 394 w 512"/>
              <a:gd name="T25" fmla="*/ 352 h 512"/>
              <a:gd name="T26" fmla="*/ 352 w 512"/>
              <a:gd name="T27" fmla="*/ 352 h 512"/>
              <a:gd name="T28" fmla="*/ 352 w 512"/>
              <a:gd name="T29" fmla="*/ 298 h 512"/>
              <a:gd name="T30" fmla="*/ 341 w 512"/>
              <a:gd name="T31" fmla="*/ 288 h 512"/>
              <a:gd name="T32" fmla="*/ 170 w 512"/>
              <a:gd name="T33" fmla="*/ 288 h 512"/>
              <a:gd name="T34" fmla="*/ 160 w 512"/>
              <a:gd name="T35" fmla="*/ 298 h 512"/>
              <a:gd name="T36" fmla="*/ 160 w 512"/>
              <a:gd name="T37" fmla="*/ 352 h 512"/>
              <a:gd name="T38" fmla="*/ 117 w 512"/>
              <a:gd name="T39" fmla="*/ 352 h 512"/>
              <a:gd name="T40" fmla="*/ 117 w 512"/>
              <a:gd name="T41" fmla="*/ 202 h 512"/>
              <a:gd name="T42" fmla="*/ 330 w 512"/>
              <a:gd name="T43" fmla="*/ 234 h 512"/>
              <a:gd name="T44" fmla="*/ 341 w 512"/>
              <a:gd name="T45" fmla="*/ 245 h 512"/>
              <a:gd name="T46" fmla="*/ 362 w 512"/>
              <a:gd name="T47" fmla="*/ 245 h 512"/>
              <a:gd name="T48" fmla="*/ 373 w 512"/>
              <a:gd name="T49" fmla="*/ 234 h 512"/>
              <a:gd name="T50" fmla="*/ 362 w 512"/>
              <a:gd name="T51" fmla="*/ 224 h 512"/>
              <a:gd name="T52" fmla="*/ 341 w 512"/>
              <a:gd name="T53" fmla="*/ 224 h 512"/>
              <a:gd name="T54" fmla="*/ 330 w 512"/>
              <a:gd name="T55" fmla="*/ 234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6 w 512"/>
              <a:gd name="T67" fmla="*/ 192 h 512"/>
              <a:gd name="T68" fmla="*/ 405 w 512"/>
              <a:gd name="T69" fmla="*/ 181 h 512"/>
              <a:gd name="T70" fmla="*/ 352 w 512"/>
              <a:gd name="T71" fmla="*/ 181 h 512"/>
              <a:gd name="T72" fmla="*/ 352 w 512"/>
              <a:gd name="T73" fmla="*/ 106 h 512"/>
              <a:gd name="T74" fmla="*/ 341 w 512"/>
              <a:gd name="T75" fmla="*/ 96 h 512"/>
              <a:gd name="T76" fmla="*/ 170 w 512"/>
              <a:gd name="T77" fmla="*/ 96 h 512"/>
              <a:gd name="T78" fmla="*/ 160 w 512"/>
              <a:gd name="T79" fmla="*/ 106 h 512"/>
              <a:gd name="T80" fmla="*/ 160 w 512"/>
              <a:gd name="T81" fmla="*/ 181 h 512"/>
              <a:gd name="T82" fmla="*/ 106 w 512"/>
              <a:gd name="T83" fmla="*/ 181 h 512"/>
              <a:gd name="T84" fmla="*/ 96 w 512"/>
              <a:gd name="T85" fmla="*/ 192 h 512"/>
              <a:gd name="T86" fmla="*/ 96 w 512"/>
              <a:gd name="T87" fmla="*/ 362 h 512"/>
              <a:gd name="T88" fmla="*/ 106 w 512"/>
              <a:gd name="T89" fmla="*/ 373 h 512"/>
              <a:gd name="T90" fmla="*/ 160 w 512"/>
              <a:gd name="T91" fmla="*/ 373 h 512"/>
              <a:gd name="T92" fmla="*/ 160 w 512"/>
              <a:gd name="T93" fmla="*/ 405 h 512"/>
              <a:gd name="T94" fmla="*/ 170 w 512"/>
              <a:gd name="T95" fmla="*/ 416 h 512"/>
              <a:gd name="T96" fmla="*/ 341 w 512"/>
              <a:gd name="T97" fmla="*/ 416 h 512"/>
              <a:gd name="T98" fmla="*/ 352 w 512"/>
              <a:gd name="T99" fmla="*/ 405 h 512"/>
              <a:gd name="T100" fmla="*/ 352 w 512"/>
              <a:gd name="T101" fmla="*/ 373 h 512"/>
              <a:gd name="T102" fmla="*/ 405 w 512"/>
              <a:gd name="T103" fmla="*/ 373 h 512"/>
              <a:gd name="T104" fmla="*/ 416 w 512"/>
              <a:gd name="T105" fmla="*/ 362 h 512"/>
              <a:gd name="T106" fmla="*/ 416 w 512"/>
              <a:gd name="T10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81" y="309"/>
                </a:moveTo>
                <a:cubicBezTo>
                  <a:pt x="330" y="309"/>
                  <a:pt x="330" y="309"/>
                  <a:pt x="330" y="309"/>
                </a:cubicBezTo>
                <a:cubicBezTo>
                  <a:pt x="330" y="394"/>
                  <a:pt x="330" y="394"/>
                  <a:pt x="330" y="394"/>
                </a:cubicBezTo>
                <a:cubicBezTo>
                  <a:pt x="181" y="394"/>
                  <a:pt x="181" y="394"/>
                  <a:pt x="181" y="394"/>
                </a:cubicBezTo>
                <a:lnTo>
                  <a:pt x="181" y="309"/>
                </a:lnTo>
                <a:close/>
                <a:moveTo>
                  <a:pt x="330" y="117"/>
                </a:moveTo>
                <a:cubicBezTo>
                  <a:pt x="181" y="117"/>
                  <a:pt x="181" y="117"/>
                  <a:pt x="181" y="117"/>
                </a:cubicBezTo>
                <a:cubicBezTo>
                  <a:pt x="181" y="181"/>
                  <a:pt x="181" y="181"/>
                  <a:pt x="181" y="181"/>
                </a:cubicBezTo>
                <a:cubicBezTo>
                  <a:pt x="330" y="181"/>
                  <a:pt x="330" y="181"/>
                  <a:pt x="330" y="181"/>
                </a:cubicBezTo>
                <a:lnTo>
                  <a:pt x="330" y="117"/>
                </a:lnTo>
                <a:close/>
                <a:moveTo>
                  <a:pt x="117" y="202"/>
                </a:moveTo>
                <a:cubicBezTo>
                  <a:pt x="394" y="202"/>
                  <a:pt x="394" y="202"/>
                  <a:pt x="394" y="202"/>
                </a:cubicBezTo>
                <a:cubicBezTo>
                  <a:pt x="394" y="352"/>
                  <a:pt x="394" y="352"/>
                  <a:pt x="394" y="352"/>
                </a:cubicBezTo>
                <a:cubicBezTo>
                  <a:pt x="352" y="352"/>
                  <a:pt x="352" y="352"/>
                  <a:pt x="352" y="352"/>
                </a:cubicBezTo>
                <a:cubicBezTo>
                  <a:pt x="352" y="298"/>
                  <a:pt x="352" y="298"/>
                  <a:pt x="352" y="298"/>
                </a:cubicBezTo>
                <a:cubicBezTo>
                  <a:pt x="352" y="292"/>
                  <a:pt x="347" y="288"/>
                  <a:pt x="341" y="288"/>
                </a:cubicBezTo>
                <a:cubicBezTo>
                  <a:pt x="170" y="288"/>
                  <a:pt x="170" y="288"/>
                  <a:pt x="170" y="288"/>
                </a:cubicBezTo>
                <a:cubicBezTo>
                  <a:pt x="164" y="288"/>
                  <a:pt x="160" y="292"/>
                  <a:pt x="160" y="298"/>
                </a:cubicBezTo>
                <a:cubicBezTo>
                  <a:pt x="160" y="352"/>
                  <a:pt x="160" y="352"/>
                  <a:pt x="160" y="352"/>
                </a:cubicBezTo>
                <a:cubicBezTo>
                  <a:pt x="117" y="352"/>
                  <a:pt x="117" y="352"/>
                  <a:pt x="117" y="352"/>
                </a:cubicBezTo>
                <a:lnTo>
                  <a:pt x="117" y="202"/>
                </a:lnTo>
                <a:close/>
                <a:moveTo>
                  <a:pt x="330" y="234"/>
                </a:moveTo>
                <a:cubicBezTo>
                  <a:pt x="330" y="240"/>
                  <a:pt x="335" y="245"/>
                  <a:pt x="341" y="245"/>
                </a:cubicBezTo>
                <a:cubicBezTo>
                  <a:pt x="362" y="245"/>
                  <a:pt x="362" y="245"/>
                  <a:pt x="362" y="245"/>
                </a:cubicBezTo>
                <a:cubicBezTo>
                  <a:pt x="368" y="245"/>
                  <a:pt x="373" y="240"/>
                  <a:pt x="373" y="234"/>
                </a:cubicBezTo>
                <a:cubicBezTo>
                  <a:pt x="373" y="228"/>
                  <a:pt x="368" y="224"/>
                  <a:pt x="362" y="224"/>
                </a:cubicBezTo>
                <a:cubicBezTo>
                  <a:pt x="341" y="224"/>
                  <a:pt x="341" y="224"/>
                  <a:pt x="341" y="224"/>
                </a:cubicBezTo>
                <a:cubicBezTo>
                  <a:pt x="335" y="224"/>
                  <a:pt x="330" y="228"/>
                  <a:pt x="330"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52" y="181"/>
                  <a:pt x="352" y="181"/>
                  <a:pt x="352" y="181"/>
                </a:cubicBezTo>
                <a:cubicBezTo>
                  <a:pt x="352" y="106"/>
                  <a:pt x="352" y="106"/>
                  <a:pt x="352" y="106"/>
                </a:cubicBezTo>
                <a:cubicBezTo>
                  <a:pt x="352" y="100"/>
                  <a:pt x="347" y="96"/>
                  <a:pt x="341" y="96"/>
                </a:cubicBezTo>
                <a:cubicBezTo>
                  <a:pt x="170" y="96"/>
                  <a:pt x="170" y="96"/>
                  <a:pt x="170" y="96"/>
                </a:cubicBezTo>
                <a:cubicBezTo>
                  <a:pt x="164" y="96"/>
                  <a:pt x="160" y="100"/>
                  <a:pt x="160" y="106"/>
                </a:cubicBezTo>
                <a:cubicBezTo>
                  <a:pt x="160" y="181"/>
                  <a:pt x="160" y="181"/>
                  <a:pt x="160"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160" y="373"/>
                  <a:pt x="160" y="373"/>
                  <a:pt x="160" y="373"/>
                </a:cubicBezTo>
                <a:cubicBezTo>
                  <a:pt x="160" y="405"/>
                  <a:pt x="160" y="405"/>
                  <a:pt x="160" y="405"/>
                </a:cubicBezTo>
                <a:cubicBezTo>
                  <a:pt x="160" y="411"/>
                  <a:pt x="164" y="416"/>
                  <a:pt x="170" y="416"/>
                </a:cubicBezTo>
                <a:cubicBezTo>
                  <a:pt x="341" y="416"/>
                  <a:pt x="341" y="416"/>
                  <a:pt x="341" y="416"/>
                </a:cubicBezTo>
                <a:cubicBezTo>
                  <a:pt x="347" y="416"/>
                  <a:pt x="352" y="411"/>
                  <a:pt x="352" y="405"/>
                </a:cubicBezTo>
                <a:cubicBezTo>
                  <a:pt x="352" y="373"/>
                  <a:pt x="352" y="373"/>
                  <a:pt x="352" y="373"/>
                </a:cubicBezTo>
                <a:cubicBezTo>
                  <a:pt x="405" y="373"/>
                  <a:pt x="405" y="373"/>
                  <a:pt x="405" y="373"/>
                </a:cubicBezTo>
                <a:cubicBezTo>
                  <a:pt x="411" y="373"/>
                  <a:pt x="416" y="368"/>
                  <a:pt x="416" y="362"/>
                </a:cubicBezTo>
                <a:lnTo>
                  <a:pt x="416" y="19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77" name="TextBox 576">
            <a:extLst>
              <a:ext uri="{FF2B5EF4-FFF2-40B4-BE49-F238E27FC236}">
                <a16:creationId xmlns:a16="http://schemas.microsoft.com/office/drawing/2014/main" id="{5EEF8E18-B261-49A0-BF5E-5496412A1BA7}"/>
              </a:ext>
            </a:extLst>
          </p:cNvPr>
          <p:cNvSpPr txBox="1"/>
          <p:nvPr/>
        </p:nvSpPr>
        <p:spPr>
          <a:xfrm>
            <a:off x="5702948" y="368370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nlink</a:t>
            </a:r>
          </a:p>
        </p:txBody>
      </p:sp>
      <p:grpSp>
        <p:nvGrpSpPr>
          <p:cNvPr id="578" name="Group 611">
            <a:extLst>
              <a:ext uri="{FF2B5EF4-FFF2-40B4-BE49-F238E27FC236}">
                <a16:creationId xmlns:a16="http://schemas.microsoft.com/office/drawing/2014/main" id="{BCEA2822-9A5A-4B6B-8E31-BC504201CAEE}"/>
              </a:ext>
            </a:extLst>
          </p:cNvPr>
          <p:cNvGrpSpPr>
            <a:grpSpLocks noChangeAspect="1"/>
          </p:cNvGrpSpPr>
          <p:nvPr/>
        </p:nvGrpSpPr>
        <p:grpSpPr bwMode="auto">
          <a:xfrm>
            <a:off x="6132108" y="3292640"/>
            <a:ext cx="369676" cy="369676"/>
            <a:chOff x="6597" y="2260"/>
            <a:chExt cx="340" cy="340"/>
          </a:xfrm>
          <a:solidFill>
            <a:schemeClr val="accent1"/>
          </a:solidFill>
        </p:grpSpPr>
        <p:sp>
          <p:nvSpPr>
            <p:cNvPr id="581" name="Freeform 612">
              <a:extLst>
                <a:ext uri="{FF2B5EF4-FFF2-40B4-BE49-F238E27FC236}">
                  <a16:creationId xmlns:a16="http://schemas.microsoft.com/office/drawing/2014/main" id="{3B673C98-2A27-469B-8D97-C7284FC23EC2}"/>
                </a:ext>
              </a:extLst>
            </p:cNvPr>
            <p:cNvSpPr>
              <a:spLocks noEditPoints="1"/>
            </p:cNvSpPr>
            <p:nvPr/>
          </p:nvSpPr>
          <p:spPr bwMode="auto">
            <a:xfrm>
              <a:off x="6597" y="22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3" name="Freeform 613">
              <a:extLst>
                <a:ext uri="{FF2B5EF4-FFF2-40B4-BE49-F238E27FC236}">
                  <a16:creationId xmlns:a16="http://schemas.microsoft.com/office/drawing/2014/main" id="{EEC8CADF-6C67-44E3-B44F-7F78B96C6A53}"/>
                </a:ext>
              </a:extLst>
            </p:cNvPr>
            <p:cNvSpPr>
              <a:spLocks noEditPoints="1"/>
            </p:cNvSpPr>
            <p:nvPr/>
          </p:nvSpPr>
          <p:spPr bwMode="auto">
            <a:xfrm>
              <a:off x="6676" y="2339"/>
              <a:ext cx="182" cy="181"/>
            </a:xfrm>
            <a:custGeom>
              <a:avLst/>
              <a:gdLst>
                <a:gd name="T0" fmla="*/ 262 w 274"/>
                <a:gd name="T1" fmla="*/ 198 h 273"/>
                <a:gd name="T2" fmla="*/ 237 w 274"/>
                <a:gd name="T3" fmla="*/ 222 h 273"/>
                <a:gd name="T4" fmla="*/ 262 w 274"/>
                <a:gd name="T5" fmla="*/ 246 h 273"/>
                <a:gd name="T6" fmla="*/ 262 w 274"/>
                <a:gd name="T7" fmla="*/ 262 h 273"/>
                <a:gd name="T8" fmla="*/ 254 w 274"/>
                <a:gd name="T9" fmla="*/ 265 h 273"/>
                <a:gd name="T10" fmla="*/ 246 w 274"/>
                <a:gd name="T11" fmla="*/ 262 h 273"/>
                <a:gd name="T12" fmla="*/ 222 w 274"/>
                <a:gd name="T13" fmla="*/ 237 h 273"/>
                <a:gd name="T14" fmla="*/ 198 w 274"/>
                <a:gd name="T15" fmla="*/ 262 h 273"/>
                <a:gd name="T16" fmla="*/ 190 w 274"/>
                <a:gd name="T17" fmla="*/ 265 h 273"/>
                <a:gd name="T18" fmla="*/ 182 w 274"/>
                <a:gd name="T19" fmla="*/ 262 h 273"/>
                <a:gd name="T20" fmla="*/ 182 w 274"/>
                <a:gd name="T21" fmla="*/ 246 h 273"/>
                <a:gd name="T22" fmla="*/ 207 w 274"/>
                <a:gd name="T23" fmla="*/ 222 h 273"/>
                <a:gd name="T24" fmla="*/ 182 w 274"/>
                <a:gd name="T25" fmla="*/ 198 h 273"/>
                <a:gd name="T26" fmla="*/ 182 w 274"/>
                <a:gd name="T27" fmla="*/ 182 h 273"/>
                <a:gd name="T28" fmla="*/ 198 w 274"/>
                <a:gd name="T29" fmla="*/ 182 h 273"/>
                <a:gd name="T30" fmla="*/ 222 w 274"/>
                <a:gd name="T31" fmla="*/ 207 h 273"/>
                <a:gd name="T32" fmla="*/ 246 w 274"/>
                <a:gd name="T33" fmla="*/ 182 h 273"/>
                <a:gd name="T34" fmla="*/ 262 w 274"/>
                <a:gd name="T35" fmla="*/ 182 h 273"/>
                <a:gd name="T36" fmla="*/ 262 w 274"/>
                <a:gd name="T37" fmla="*/ 198 h 273"/>
                <a:gd name="T38" fmla="*/ 122 w 274"/>
                <a:gd name="T39" fmla="*/ 197 h 273"/>
                <a:gd name="T40" fmla="*/ 76 w 274"/>
                <a:gd name="T41" fmla="*/ 242 h 273"/>
                <a:gd name="T42" fmla="*/ 54 w 274"/>
                <a:gd name="T43" fmla="*/ 252 h 273"/>
                <a:gd name="T44" fmla="*/ 31 w 274"/>
                <a:gd name="T45" fmla="*/ 242 h 273"/>
                <a:gd name="T46" fmla="*/ 21 w 274"/>
                <a:gd name="T47" fmla="*/ 219 h 273"/>
                <a:gd name="T48" fmla="*/ 31 w 274"/>
                <a:gd name="T49" fmla="*/ 197 h 273"/>
                <a:gd name="T50" fmla="*/ 99 w 274"/>
                <a:gd name="T51" fmla="*/ 129 h 273"/>
                <a:gd name="T52" fmla="*/ 121 w 274"/>
                <a:gd name="T53" fmla="*/ 119 h 273"/>
                <a:gd name="T54" fmla="*/ 144 w 274"/>
                <a:gd name="T55" fmla="*/ 129 h 273"/>
                <a:gd name="T56" fmla="*/ 159 w 274"/>
                <a:gd name="T57" fmla="*/ 129 h 273"/>
                <a:gd name="T58" fmla="*/ 159 w 274"/>
                <a:gd name="T59" fmla="*/ 114 h 273"/>
                <a:gd name="T60" fmla="*/ 120 w 274"/>
                <a:gd name="T61" fmla="*/ 98 h 273"/>
                <a:gd name="T62" fmla="*/ 84 w 274"/>
                <a:gd name="T63" fmla="*/ 114 h 273"/>
                <a:gd name="T64" fmla="*/ 16 w 274"/>
                <a:gd name="T65" fmla="*/ 182 h 273"/>
                <a:gd name="T66" fmla="*/ 0 w 274"/>
                <a:gd name="T67" fmla="*/ 219 h 273"/>
                <a:gd name="T68" fmla="*/ 16 w 274"/>
                <a:gd name="T69" fmla="*/ 257 h 273"/>
                <a:gd name="T70" fmla="*/ 53 w 274"/>
                <a:gd name="T71" fmla="*/ 273 h 273"/>
                <a:gd name="T72" fmla="*/ 55 w 274"/>
                <a:gd name="T73" fmla="*/ 273 h 273"/>
                <a:gd name="T74" fmla="*/ 91 w 274"/>
                <a:gd name="T75" fmla="*/ 257 h 273"/>
                <a:gd name="T76" fmla="*/ 137 w 274"/>
                <a:gd name="T77" fmla="*/ 212 h 273"/>
                <a:gd name="T78" fmla="*/ 137 w 274"/>
                <a:gd name="T79" fmla="*/ 197 h 273"/>
                <a:gd name="T80" fmla="*/ 122 w 274"/>
                <a:gd name="T81" fmla="*/ 197 h 273"/>
                <a:gd name="T82" fmla="*/ 257 w 274"/>
                <a:gd name="T83" fmla="*/ 91 h 273"/>
                <a:gd name="T84" fmla="*/ 273 w 274"/>
                <a:gd name="T85" fmla="*/ 55 h 273"/>
                <a:gd name="T86" fmla="*/ 257 w 274"/>
                <a:gd name="T87" fmla="*/ 16 h 273"/>
                <a:gd name="T88" fmla="*/ 219 w 274"/>
                <a:gd name="T89" fmla="*/ 0 h 273"/>
                <a:gd name="T90" fmla="*/ 182 w 274"/>
                <a:gd name="T91" fmla="*/ 16 h 273"/>
                <a:gd name="T92" fmla="*/ 137 w 274"/>
                <a:gd name="T93" fmla="*/ 61 h 273"/>
                <a:gd name="T94" fmla="*/ 137 w 274"/>
                <a:gd name="T95" fmla="*/ 76 h 273"/>
                <a:gd name="T96" fmla="*/ 152 w 274"/>
                <a:gd name="T97" fmla="*/ 76 h 273"/>
                <a:gd name="T98" fmla="*/ 197 w 274"/>
                <a:gd name="T99" fmla="*/ 31 h 273"/>
                <a:gd name="T100" fmla="*/ 219 w 274"/>
                <a:gd name="T101" fmla="*/ 21 h 273"/>
                <a:gd name="T102" fmla="*/ 242 w 274"/>
                <a:gd name="T103" fmla="*/ 31 h 273"/>
                <a:gd name="T104" fmla="*/ 252 w 274"/>
                <a:gd name="T105" fmla="*/ 54 h 273"/>
                <a:gd name="T106" fmla="*/ 242 w 274"/>
                <a:gd name="T107" fmla="*/ 76 h 273"/>
                <a:gd name="T108" fmla="*/ 174 w 274"/>
                <a:gd name="T109" fmla="*/ 144 h 273"/>
                <a:gd name="T110" fmla="*/ 152 w 274"/>
                <a:gd name="T111" fmla="*/ 154 h 273"/>
                <a:gd name="T112" fmla="*/ 129 w 274"/>
                <a:gd name="T113" fmla="*/ 144 h 273"/>
                <a:gd name="T114" fmla="*/ 114 w 274"/>
                <a:gd name="T115" fmla="*/ 144 h 273"/>
                <a:gd name="T116" fmla="*/ 114 w 274"/>
                <a:gd name="T117" fmla="*/ 159 h 273"/>
                <a:gd name="T118" fmla="*/ 152 w 274"/>
                <a:gd name="T119" fmla="*/ 175 h 273"/>
                <a:gd name="T120" fmla="*/ 153 w 274"/>
                <a:gd name="T121" fmla="*/ 175 h 273"/>
                <a:gd name="T122" fmla="*/ 189 w 274"/>
                <a:gd name="T123" fmla="*/ 159 h 273"/>
                <a:gd name="T124" fmla="*/ 257 w 274"/>
                <a:gd name="T125" fmla="*/ 9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273">
                  <a:moveTo>
                    <a:pt x="262" y="198"/>
                  </a:moveTo>
                  <a:cubicBezTo>
                    <a:pt x="237" y="222"/>
                    <a:pt x="237" y="222"/>
                    <a:pt x="237" y="222"/>
                  </a:cubicBezTo>
                  <a:cubicBezTo>
                    <a:pt x="262" y="246"/>
                    <a:pt x="262" y="246"/>
                    <a:pt x="262" y="246"/>
                  </a:cubicBezTo>
                  <a:cubicBezTo>
                    <a:pt x="266" y="251"/>
                    <a:pt x="266" y="257"/>
                    <a:pt x="262" y="262"/>
                  </a:cubicBezTo>
                  <a:cubicBezTo>
                    <a:pt x="259" y="264"/>
                    <a:pt x="257" y="265"/>
                    <a:pt x="254" y="265"/>
                  </a:cubicBezTo>
                  <a:cubicBezTo>
                    <a:pt x="251" y="265"/>
                    <a:pt x="249" y="264"/>
                    <a:pt x="246" y="262"/>
                  </a:cubicBezTo>
                  <a:cubicBezTo>
                    <a:pt x="222" y="237"/>
                    <a:pt x="222" y="237"/>
                    <a:pt x="222" y="237"/>
                  </a:cubicBezTo>
                  <a:cubicBezTo>
                    <a:pt x="198" y="262"/>
                    <a:pt x="198" y="262"/>
                    <a:pt x="198" y="262"/>
                  </a:cubicBezTo>
                  <a:cubicBezTo>
                    <a:pt x="195" y="264"/>
                    <a:pt x="193" y="265"/>
                    <a:pt x="190" y="265"/>
                  </a:cubicBezTo>
                  <a:cubicBezTo>
                    <a:pt x="187" y="265"/>
                    <a:pt x="185" y="264"/>
                    <a:pt x="182" y="262"/>
                  </a:cubicBezTo>
                  <a:cubicBezTo>
                    <a:pt x="178" y="257"/>
                    <a:pt x="178" y="251"/>
                    <a:pt x="182" y="246"/>
                  </a:cubicBezTo>
                  <a:cubicBezTo>
                    <a:pt x="207" y="222"/>
                    <a:pt x="207" y="222"/>
                    <a:pt x="207" y="222"/>
                  </a:cubicBezTo>
                  <a:cubicBezTo>
                    <a:pt x="182" y="198"/>
                    <a:pt x="182" y="198"/>
                    <a:pt x="182" y="198"/>
                  </a:cubicBezTo>
                  <a:cubicBezTo>
                    <a:pt x="178" y="193"/>
                    <a:pt x="178" y="187"/>
                    <a:pt x="182" y="182"/>
                  </a:cubicBezTo>
                  <a:cubicBezTo>
                    <a:pt x="187" y="178"/>
                    <a:pt x="193" y="178"/>
                    <a:pt x="198" y="182"/>
                  </a:cubicBezTo>
                  <a:cubicBezTo>
                    <a:pt x="222" y="207"/>
                    <a:pt x="222" y="207"/>
                    <a:pt x="222" y="207"/>
                  </a:cubicBezTo>
                  <a:cubicBezTo>
                    <a:pt x="246" y="182"/>
                    <a:pt x="246" y="182"/>
                    <a:pt x="246" y="182"/>
                  </a:cubicBezTo>
                  <a:cubicBezTo>
                    <a:pt x="251" y="178"/>
                    <a:pt x="257" y="178"/>
                    <a:pt x="262" y="182"/>
                  </a:cubicBezTo>
                  <a:cubicBezTo>
                    <a:pt x="266" y="187"/>
                    <a:pt x="266" y="193"/>
                    <a:pt x="262" y="198"/>
                  </a:cubicBezTo>
                  <a:close/>
                  <a:moveTo>
                    <a:pt x="122" y="197"/>
                  </a:moveTo>
                  <a:cubicBezTo>
                    <a:pt x="76" y="242"/>
                    <a:pt x="76" y="242"/>
                    <a:pt x="76" y="242"/>
                  </a:cubicBezTo>
                  <a:cubicBezTo>
                    <a:pt x="70" y="248"/>
                    <a:pt x="62" y="252"/>
                    <a:pt x="54" y="252"/>
                  </a:cubicBezTo>
                  <a:cubicBezTo>
                    <a:pt x="46" y="252"/>
                    <a:pt x="38" y="249"/>
                    <a:pt x="31" y="242"/>
                  </a:cubicBezTo>
                  <a:cubicBezTo>
                    <a:pt x="24" y="236"/>
                    <a:pt x="21" y="228"/>
                    <a:pt x="21" y="219"/>
                  </a:cubicBezTo>
                  <a:cubicBezTo>
                    <a:pt x="22" y="211"/>
                    <a:pt x="25" y="203"/>
                    <a:pt x="31" y="197"/>
                  </a:cubicBezTo>
                  <a:cubicBezTo>
                    <a:pt x="99" y="129"/>
                    <a:pt x="99" y="129"/>
                    <a:pt x="99" y="129"/>
                  </a:cubicBezTo>
                  <a:cubicBezTo>
                    <a:pt x="105" y="123"/>
                    <a:pt x="113" y="120"/>
                    <a:pt x="121" y="119"/>
                  </a:cubicBezTo>
                  <a:cubicBezTo>
                    <a:pt x="130" y="119"/>
                    <a:pt x="138" y="123"/>
                    <a:pt x="144" y="129"/>
                  </a:cubicBezTo>
                  <a:cubicBezTo>
                    <a:pt x="148" y="133"/>
                    <a:pt x="155" y="133"/>
                    <a:pt x="159" y="129"/>
                  </a:cubicBezTo>
                  <a:cubicBezTo>
                    <a:pt x="163" y="125"/>
                    <a:pt x="163" y="118"/>
                    <a:pt x="159" y="114"/>
                  </a:cubicBezTo>
                  <a:cubicBezTo>
                    <a:pt x="149" y="103"/>
                    <a:pt x="135" y="98"/>
                    <a:pt x="120" y="98"/>
                  </a:cubicBezTo>
                  <a:cubicBezTo>
                    <a:pt x="107" y="98"/>
                    <a:pt x="94" y="104"/>
                    <a:pt x="84" y="114"/>
                  </a:cubicBezTo>
                  <a:cubicBezTo>
                    <a:pt x="16" y="182"/>
                    <a:pt x="16" y="182"/>
                    <a:pt x="16" y="182"/>
                  </a:cubicBezTo>
                  <a:cubicBezTo>
                    <a:pt x="6" y="192"/>
                    <a:pt x="0" y="205"/>
                    <a:pt x="0" y="219"/>
                  </a:cubicBezTo>
                  <a:cubicBezTo>
                    <a:pt x="0" y="233"/>
                    <a:pt x="5" y="247"/>
                    <a:pt x="16" y="257"/>
                  </a:cubicBezTo>
                  <a:cubicBezTo>
                    <a:pt x="26" y="268"/>
                    <a:pt x="40" y="273"/>
                    <a:pt x="53" y="273"/>
                  </a:cubicBezTo>
                  <a:cubicBezTo>
                    <a:pt x="54" y="273"/>
                    <a:pt x="54" y="273"/>
                    <a:pt x="55" y="273"/>
                  </a:cubicBezTo>
                  <a:cubicBezTo>
                    <a:pt x="68" y="273"/>
                    <a:pt x="81" y="267"/>
                    <a:pt x="91" y="257"/>
                  </a:cubicBezTo>
                  <a:cubicBezTo>
                    <a:pt x="137" y="212"/>
                    <a:pt x="137" y="212"/>
                    <a:pt x="137" y="212"/>
                  </a:cubicBezTo>
                  <a:cubicBezTo>
                    <a:pt x="141" y="208"/>
                    <a:pt x="141" y="201"/>
                    <a:pt x="137" y="197"/>
                  </a:cubicBezTo>
                  <a:cubicBezTo>
                    <a:pt x="133" y="193"/>
                    <a:pt x="126" y="193"/>
                    <a:pt x="122" y="197"/>
                  </a:cubicBezTo>
                  <a:close/>
                  <a:moveTo>
                    <a:pt x="257" y="91"/>
                  </a:moveTo>
                  <a:cubicBezTo>
                    <a:pt x="267" y="81"/>
                    <a:pt x="273" y="68"/>
                    <a:pt x="273" y="55"/>
                  </a:cubicBezTo>
                  <a:cubicBezTo>
                    <a:pt x="274" y="40"/>
                    <a:pt x="268" y="27"/>
                    <a:pt x="257" y="16"/>
                  </a:cubicBez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lnTo>
                    <a:pt x="257" y="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84" name="Freeform 617">
            <a:extLst>
              <a:ext uri="{FF2B5EF4-FFF2-40B4-BE49-F238E27FC236}">
                <a16:creationId xmlns:a16="http://schemas.microsoft.com/office/drawing/2014/main" id="{F5C685D1-B744-44D2-A72A-FCE1B1887924}"/>
              </a:ext>
            </a:extLst>
          </p:cNvPr>
          <p:cNvSpPr>
            <a:spLocks noChangeAspect="1" noEditPoints="1"/>
          </p:cNvSpPr>
          <p:nvPr/>
        </p:nvSpPr>
        <p:spPr bwMode="auto">
          <a:xfrm>
            <a:off x="5694715" y="3292640"/>
            <a:ext cx="369676" cy="370763"/>
          </a:xfrm>
          <a:custGeom>
            <a:avLst/>
            <a:gdLst>
              <a:gd name="T0" fmla="*/ 0 w 512"/>
              <a:gd name="T1" fmla="*/ 256 h 512"/>
              <a:gd name="T2" fmla="*/ 512 w 512"/>
              <a:gd name="T3" fmla="*/ 256 h 512"/>
              <a:gd name="T4" fmla="*/ 256 w 512"/>
              <a:gd name="T5" fmla="*/ 331 h 512"/>
              <a:gd name="T6" fmla="*/ 174 w 512"/>
              <a:gd name="T7" fmla="*/ 392 h 512"/>
              <a:gd name="T8" fmla="*/ 135 w 512"/>
              <a:gd name="T9" fmla="*/ 376 h 512"/>
              <a:gd name="T10" fmla="*/ 135 w 512"/>
              <a:gd name="T11" fmla="*/ 301 h 512"/>
              <a:gd name="T12" fmla="*/ 239 w 512"/>
              <a:gd name="T13" fmla="*/ 217 h 512"/>
              <a:gd name="T14" fmla="*/ 278 w 512"/>
              <a:gd name="T15" fmla="*/ 248 h 512"/>
              <a:gd name="T16" fmla="*/ 240 w 512"/>
              <a:gd name="T17" fmla="*/ 238 h 512"/>
              <a:gd name="T18" fmla="*/ 150 w 512"/>
              <a:gd name="T19" fmla="*/ 316 h 512"/>
              <a:gd name="T20" fmla="*/ 150 w 512"/>
              <a:gd name="T21" fmla="*/ 361 h 512"/>
              <a:gd name="T22" fmla="*/ 195 w 512"/>
              <a:gd name="T23" fmla="*/ 361 h 512"/>
              <a:gd name="T24" fmla="*/ 256 w 512"/>
              <a:gd name="T25" fmla="*/ 316 h 512"/>
              <a:gd name="T26" fmla="*/ 381 w 512"/>
              <a:gd name="T27" fmla="*/ 365 h 512"/>
              <a:gd name="T28" fmla="*/ 373 w 512"/>
              <a:gd name="T29" fmla="*/ 384 h 512"/>
              <a:gd name="T30" fmla="*/ 341 w 512"/>
              <a:gd name="T31" fmla="*/ 356 h 512"/>
              <a:gd name="T32" fmla="*/ 309 w 512"/>
              <a:gd name="T33" fmla="*/ 384 h 512"/>
              <a:gd name="T34" fmla="*/ 301 w 512"/>
              <a:gd name="T35" fmla="*/ 365 h 512"/>
              <a:gd name="T36" fmla="*/ 301 w 512"/>
              <a:gd name="T37" fmla="*/ 317 h 512"/>
              <a:gd name="T38" fmla="*/ 317 w 512"/>
              <a:gd name="T39" fmla="*/ 301 h 512"/>
              <a:gd name="T40" fmla="*/ 365 w 512"/>
              <a:gd name="T41" fmla="*/ 301 h 512"/>
              <a:gd name="T42" fmla="*/ 381 w 512"/>
              <a:gd name="T43" fmla="*/ 317 h 512"/>
              <a:gd name="T44" fmla="*/ 381 w 512"/>
              <a:gd name="T45" fmla="*/ 365 h 512"/>
              <a:gd name="T46" fmla="*/ 308 w 512"/>
              <a:gd name="T47" fmla="*/ 278 h 512"/>
              <a:gd name="T48" fmla="*/ 271 w 512"/>
              <a:gd name="T49" fmla="*/ 294 h 512"/>
              <a:gd name="T50" fmla="*/ 233 w 512"/>
              <a:gd name="T51" fmla="*/ 263 h 512"/>
              <a:gd name="T52" fmla="*/ 271 w 512"/>
              <a:gd name="T53" fmla="*/ 273 h 512"/>
              <a:gd name="T54" fmla="*/ 361 w 512"/>
              <a:gd name="T55" fmla="*/ 195 h 512"/>
              <a:gd name="T56" fmla="*/ 361 w 512"/>
              <a:gd name="T57" fmla="*/ 150 h 512"/>
              <a:gd name="T58" fmla="*/ 316 w 512"/>
              <a:gd name="T59" fmla="*/ 150 h 512"/>
              <a:gd name="T60" fmla="*/ 256 w 512"/>
              <a:gd name="T61" fmla="*/ 195 h 512"/>
              <a:gd name="T62" fmla="*/ 301 w 512"/>
              <a:gd name="T63" fmla="*/ 135 h 512"/>
              <a:gd name="T64" fmla="*/ 376 w 512"/>
              <a:gd name="T65" fmla="*/ 135 h 512"/>
              <a:gd name="T66" fmla="*/ 376 w 512"/>
              <a:gd name="T67"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31"/>
                </a:moveTo>
                <a:cubicBezTo>
                  <a:pt x="210" y="376"/>
                  <a:pt x="210" y="376"/>
                  <a:pt x="210" y="376"/>
                </a:cubicBezTo>
                <a:cubicBezTo>
                  <a:pt x="200" y="386"/>
                  <a:pt x="187" y="392"/>
                  <a:pt x="174" y="392"/>
                </a:cubicBezTo>
                <a:cubicBezTo>
                  <a:pt x="173" y="392"/>
                  <a:pt x="173" y="392"/>
                  <a:pt x="172" y="392"/>
                </a:cubicBezTo>
                <a:cubicBezTo>
                  <a:pt x="159" y="392"/>
                  <a:pt x="145" y="387"/>
                  <a:pt x="135" y="376"/>
                </a:cubicBezTo>
                <a:cubicBezTo>
                  <a:pt x="124" y="366"/>
                  <a:pt x="119" y="352"/>
                  <a:pt x="119" y="338"/>
                </a:cubicBezTo>
                <a:cubicBezTo>
                  <a:pt x="119" y="324"/>
                  <a:pt x="125" y="311"/>
                  <a:pt x="135" y="301"/>
                </a:cubicBezTo>
                <a:cubicBezTo>
                  <a:pt x="203" y="233"/>
                  <a:pt x="203" y="233"/>
                  <a:pt x="203" y="233"/>
                </a:cubicBezTo>
                <a:cubicBezTo>
                  <a:pt x="213" y="223"/>
                  <a:pt x="226" y="217"/>
                  <a:pt x="239" y="217"/>
                </a:cubicBezTo>
                <a:cubicBezTo>
                  <a:pt x="254" y="217"/>
                  <a:pt x="268" y="222"/>
                  <a:pt x="278" y="233"/>
                </a:cubicBezTo>
                <a:cubicBezTo>
                  <a:pt x="282" y="237"/>
                  <a:pt x="282" y="244"/>
                  <a:pt x="278" y="248"/>
                </a:cubicBezTo>
                <a:cubicBezTo>
                  <a:pt x="274" y="252"/>
                  <a:pt x="267" y="252"/>
                  <a:pt x="263" y="248"/>
                </a:cubicBezTo>
                <a:cubicBezTo>
                  <a:pt x="257" y="242"/>
                  <a:pt x="249" y="238"/>
                  <a:pt x="240" y="238"/>
                </a:cubicBezTo>
                <a:cubicBezTo>
                  <a:pt x="232" y="239"/>
                  <a:pt x="224" y="242"/>
                  <a:pt x="218" y="248"/>
                </a:cubicBezTo>
                <a:cubicBezTo>
                  <a:pt x="150" y="316"/>
                  <a:pt x="150" y="316"/>
                  <a:pt x="150" y="316"/>
                </a:cubicBezTo>
                <a:cubicBezTo>
                  <a:pt x="144" y="322"/>
                  <a:pt x="141" y="330"/>
                  <a:pt x="140" y="338"/>
                </a:cubicBezTo>
                <a:cubicBezTo>
                  <a:pt x="140" y="347"/>
                  <a:pt x="143" y="355"/>
                  <a:pt x="150" y="361"/>
                </a:cubicBezTo>
                <a:cubicBezTo>
                  <a:pt x="157" y="368"/>
                  <a:pt x="165" y="371"/>
                  <a:pt x="173" y="371"/>
                </a:cubicBezTo>
                <a:cubicBezTo>
                  <a:pt x="181" y="371"/>
                  <a:pt x="189" y="367"/>
                  <a:pt x="195" y="361"/>
                </a:cubicBezTo>
                <a:cubicBezTo>
                  <a:pt x="241" y="316"/>
                  <a:pt x="241" y="316"/>
                  <a:pt x="241" y="316"/>
                </a:cubicBezTo>
                <a:cubicBezTo>
                  <a:pt x="245" y="312"/>
                  <a:pt x="252" y="312"/>
                  <a:pt x="256" y="316"/>
                </a:cubicBezTo>
                <a:cubicBezTo>
                  <a:pt x="260" y="320"/>
                  <a:pt x="260" y="327"/>
                  <a:pt x="256" y="331"/>
                </a:cubicBezTo>
                <a:close/>
                <a:moveTo>
                  <a:pt x="381" y="365"/>
                </a:moveTo>
                <a:cubicBezTo>
                  <a:pt x="385" y="370"/>
                  <a:pt x="385" y="376"/>
                  <a:pt x="381" y="381"/>
                </a:cubicBezTo>
                <a:cubicBezTo>
                  <a:pt x="378" y="383"/>
                  <a:pt x="376" y="384"/>
                  <a:pt x="373" y="384"/>
                </a:cubicBezTo>
                <a:cubicBezTo>
                  <a:pt x="370" y="384"/>
                  <a:pt x="368" y="383"/>
                  <a:pt x="365" y="381"/>
                </a:cubicBezTo>
                <a:cubicBezTo>
                  <a:pt x="341" y="356"/>
                  <a:pt x="341" y="356"/>
                  <a:pt x="341" y="356"/>
                </a:cubicBezTo>
                <a:cubicBezTo>
                  <a:pt x="317" y="381"/>
                  <a:pt x="317" y="381"/>
                  <a:pt x="317" y="381"/>
                </a:cubicBezTo>
                <a:cubicBezTo>
                  <a:pt x="314" y="383"/>
                  <a:pt x="312" y="384"/>
                  <a:pt x="309" y="384"/>
                </a:cubicBezTo>
                <a:cubicBezTo>
                  <a:pt x="306" y="384"/>
                  <a:pt x="304" y="383"/>
                  <a:pt x="301" y="381"/>
                </a:cubicBezTo>
                <a:cubicBezTo>
                  <a:pt x="297" y="376"/>
                  <a:pt x="297" y="370"/>
                  <a:pt x="301" y="365"/>
                </a:cubicBezTo>
                <a:cubicBezTo>
                  <a:pt x="326" y="341"/>
                  <a:pt x="326" y="341"/>
                  <a:pt x="326" y="341"/>
                </a:cubicBezTo>
                <a:cubicBezTo>
                  <a:pt x="301" y="317"/>
                  <a:pt x="301" y="317"/>
                  <a:pt x="301" y="317"/>
                </a:cubicBezTo>
                <a:cubicBezTo>
                  <a:pt x="297" y="312"/>
                  <a:pt x="297" y="306"/>
                  <a:pt x="301" y="301"/>
                </a:cubicBezTo>
                <a:cubicBezTo>
                  <a:pt x="306" y="297"/>
                  <a:pt x="312" y="297"/>
                  <a:pt x="317" y="301"/>
                </a:cubicBezTo>
                <a:cubicBezTo>
                  <a:pt x="341" y="326"/>
                  <a:pt x="341" y="326"/>
                  <a:pt x="341" y="326"/>
                </a:cubicBezTo>
                <a:cubicBezTo>
                  <a:pt x="365" y="301"/>
                  <a:pt x="365" y="301"/>
                  <a:pt x="365" y="301"/>
                </a:cubicBezTo>
                <a:cubicBezTo>
                  <a:pt x="370" y="297"/>
                  <a:pt x="376" y="297"/>
                  <a:pt x="381" y="301"/>
                </a:cubicBezTo>
                <a:cubicBezTo>
                  <a:pt x="385" y="306"/>
                  <a:pt x="385" y="312"/>
                  <a:pt x="381" y="317"/>
                </a:cubicBezTo>
                <a:cubicBezTo>
                  <a:pt x="356" y="341"/>
                  <a:pt x="356" y="341"/>
                  <a:pt x="356" y="341"/>
                </a:cubicBezTo>
                <a:lnTo>
                  <a:pt x="381" y="365"/>
                </a:lnTo>
                <a:close/>
                <a:moveTo>
                  <a:pt x="376" y="210"/>
                </a:moveTo>
                <a:cubicBezTo>
                  <a:pt x="308" y="278"/>
                  <a:pt x="308" y="278"/>
                  <a:pt x="308" y="278"/>
                </a:cubicBezTo>
                <a:cubicBezTo>
                  <a:pt x="299" y="288"/>
                  <a:pt x="286" y="294"/>
                  <a:pt x="272" y="294"/>
                </a:cubicBezTo>
                <a:cubicBezTo>
                  <a:pt x="271" y="294"/>
                  <a:pt x="271" y="294"/>
                  <a:pt x="271" y="294"/>
                </a:cubicBezTo>
                <a:cubicBezTo>
                  <a:pt x="257" y="294"/>
                  <a:pt x="243" y="289"/>
                  <a:pt x="233" y="278"/>
                </a:cubicBezTo>
                <a:cubicBezTo>
                  <a:pt x="229" y="274"/>
                  <a:pt x="229" y="267"/>
                  <a:pt x="233" y="263"/>
                </a:cubicBezTo>
                <a:cubicBezTo>
                  <a:pt x="237" y="259"/>
                  <a:pt x="244" y="259"/>
                  <a:pt x="248" y="263"/>
                </a:cubicBezTo>
                <a:cubicBezTo>
                  <a:pt x="255" y="270"/>
                  <a:pt x="263" y="273"/>
                  <a:pt x="271" y="273"/>
                </a:cubicBezTo>
                <a:cubicBezTo>
                  <a:pt x="279" y="273"/>
                  <a:pt x="287" y="269"/>
                  <a:pt x="293" y="263"/>
                </a:cubicBezTo>
                <a:cubicBezTo>
                  <a:pt x="361" y="195"/>
                  <a:pt x="361" y="195"/>
                  <a:pt x="361" y="195"/>
                </a:cubicBezTo>
                <a:cubicBezTo>
                  <a:pt x="367" y="189"/>
                  <a:pt x="371" y="181"/>
                  <a:pt x="371" y="173"/>
                </a:cubicBezTo>
                <a:cubicBezTo>
                  <a:pt x="371" y="165"/>
                  <a:pt x="368" y="157"/>
                  <a:pt x="361" y="150"/>
                </a:cubicBezTo>
                <a:cubicBezTo>
                  <a:pt x="355" y="143"/>
                  <a:pt x="347" y="140"/>
                  <a:pt x="338" y="140"/>
                </a:cubicBezTo>
                <a:cubicBezTo>
                  <a:pt x="330" y="141"/>
                  <a:pt x="322" y="144"/>
                  <a:pt x="316" y="150"/>
                </a:cubicBezTo>
                <a:cubicBezTo>
                  <a:pt x="271" y="195"/>
                  <a:pt x="271" y="195"/>
                  <a:pt x="271" y="195"/>
                </a:cubicBezTo>
                <a:cubicBezTo>
                  <a:pt x="267" y="199"/>
                  <a:pt x="260" y="199"/>
                  <a:pt x="256" y="195"/>
                </a:cubicBezTo>
                <a:cubicBezTo>
                  <a:pt x="252" y="191"/>
                  <a:pt x="252" y="184"/>
                  <a:pt x="256" y="180"/>
                </a:cubicBezTo>
                <a:cubicBezTo>
                  <a:pt x="301" y="135"/>
                  <a:pt x="301" y="135"/>
                  <a:pt x="301" y="135"/>
                </a:cubicBezTo>
                <a:cubicBezTo>
                  <a:pt x="311" y="125"/>
                  <a:pt x="324" y="119"/>
                  <a:pt x="338" y="119"/>
                </a:cubicBezTo>
                <a:cubicBezTo>
                  <a:pt x="352" y="119"/>
                  <a:pt x="366" y="124"/>
                  <a:pt x="376" y="135"/>
                </a:cubicBezTo>
                <a:cubicBezTo>
                  <a:pt x="387" y="146"/>
                  <a:pt x="393" y="159"/>
                  <a:pt x="392" y="174"/>
                </a:cubicBezTo>
                <a:cubicBezTo>
                  <a:pt x="392" y="187"/>
                  <a:pt x="386" y="200"/>
                  <a:pt x="376" y="21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85" name="TextBox 684">
            <a:extLst>
              <a:ext uri="{FF2B5EF4-FFF2-40B4-BE49-F238E27FC236}">
                <a16:creationId xmlns:a16="http://schemas.microsoft.com/office/drawing/2014/main" id="{4FE9038F-E933-4D52-8487-EE6F1454A17B}"/>
              </a:ext>
            </a:extLst>
          </p:cNvPr>
          <p:cNvSpPr txBox="1"/>
          <p:nvPr/>
        </p:nvSpPr>
        <p:spPr>
          <a:xfrm>
            <a:off x="7435782" y="3683706"/>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icture</a:t>
            </a:r>
          </a:p>
        </p:txBody>
      </p:sp>
      <p:grpSp>
        <p:nvGrpSpPr>
          <p:cNvPr id="686" name="Group 373">
            <a:extLst>
              <a:ext uri="{FF2B5EF4-FFF2-40B4-BE49-F238E27FC236}">
                <a16:creationId xmlns:a16="http://schemas.microsoft.com/office/drawing/2014/main" id="{409885E5-4675-4CA1-BA8B-8481F2AB1485}"/>
              </a:ext>
            </a:extLst>
          </p:cNvPr>
          <p:cNvGrpSpPr>
            <a:grpSpLocks noChangeAspect="1"/>
          </p:cNvGrpSpPr>
          <p:nvPr/>
        </p:nvGrpSpPr>
        <p:grpSpPr bwMode="auto">
          <a:xfrm>
            <a:off x="7876834" y="3292640"/>
            <a:ext cx="369021" cy="369021"/>
            <a:chOff x="1147" y="1180"/>
            <a:chExt cx="340" cy="340"/>
          </a:xfrm>
          <a:solidFill>
            <a:schemeClr val="accent4"/>
          </a:solidFill>
        </p:grpSpPr>
        <p:sp>
          <p:nvSpPr>
            <p:cNvPr id="687" name="Freeform 374">
              <a:extLst>
                <a:ext uri="{FF2B5EF4-FFF2-40B4-BE49-F238E27FC236}">
                  <a16:creationId xmlns:a16="http://schemas.microsoft.com/office/drawing/2014/main" id="{E779034C-7152-495B-8119-80EC0E8ED0C8}"/>
                </a:ext>
              </a:extLst>
            </p:cNvPr>
            <p:cNvSpPr>
              <a:spLocks noEditPoints="1"/>
            </p:cNvSpPr>
            <p:nvPr/>
          </p:nvSpPr>
          <p:spPr bwMode="auto">
            <a:xfrm>
              <a:off x="1147" y="11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8" name="Freeform 375">
              <a:extLst>
                <a:ext uri="{FF2B5EF4-FFF2-40B4-BE49-F238E27FC236}">
                  <a16:creationId xmlns:a16="http://schemas.microsoft.com/office/drawing/2014/main" id="{284E7977-1F64-4D62-98DC-7880A3898634}"/>
                </a:ext>
              </a:extLst>
            </p:cNvPr>
            <p:cNvSpPr>
              <a:spLocks noEditPoints="1"/>
            </p:cNvSpPr>
            <p:nvPr/>
          </p:nvSpPr>
          <p:spPr bwMode="auto">
            <a:xfrm>
              <a:off x="1211" y="1272"/>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22 h 235"/>
                <a:gd name="T20" fmla="*/ 298 w 320"/>
                <a:gd name="T21" fmla="*/ 170 h 235"/>
                <a:gd name="T22" fmla="*/ 264 w 320"/>
                <a:gd name="T23" fmla="*/ 122 h 235"/>
                <a:gd name="T24" fmla="*/ 257 w 320"/>
                <a:gd name="T25" fmla="*/ 118 h 235"/>
                <a:gd name="T26" fmla="*/ 248 w 320"/>
                <a:gd name="T27" fmla="*/ 121 h 235"/>
                <a:gd name="T28" fmla="*/ 208 w 320"/>
                <a:gd name="T29" fmla="*/ 161 h 235"/>
                <a:gd name="T30" fmla="*/ 119 w 320"/>
                <a:gd name="T31" fmla="*/ 73 h 235"/>
                <a:gd name="T32" fmla="*/ 104 w 320"/>
                <a:gd name="T33" fmla="*/ 73 h 235"/>
                <a:gd name="T34" fmla="*/ 21 w 320"/>
                <a:gd name="T35" fmla="*/ 156 h 235"/>
                <a:gd name="T36" fmla="*/ 21 w 320"/>
                <a:gd name="T37" fmla="*/ 22 h 235"/>
                <a:gd name="T38" fmla="*/ 298 w 320"/>
                <a:gd name="T39" fmla="*/ 22 h 235"/>
                <a:gd name="T40" fmla="*/ 21 w 320"/>
                <a:gd name="T41" fmla="*/ 214 h 235"/>
                <a:gd name="T42" fmla="*/ 21 w 320"/>
                <a:gd name="T43" fmla="*/ 186 h 235"/>
                <a:gd name="T44" fmla="*/ 112 w 320"/>
                <a:gd name="T45" fmla="*/ 95 h 235"/>
                <a:gd name="T46" fmla="*/ 200 w 320"/>
                <a:gd name="T47" fmla="*/ 184 h 235"/>
                <a:gd name="T48" fmla="*/ 215 w 320"/>
                <a:gd name="T49" fmla="*/ 184 h 235"/>
                <a:gd name="T50" fmla="*/ 254 w 320"/>
                <a:gd name="T51" fmla="*/ 145 h 235"/>
                <a:gd name="T52" fmla="*/ 298 w 320"/>
                <a:gd name="T53" fmla="*/ 206 h 235"/>
                <a:gd name="T54" fmla="*/ 298 w 320"/>
                <a:gd name="T55" fmla="*/ 214 h 235"/>
                <a:gd name="T56" fmla="*/ 21 w 320"/>
                <a:gd name="T57" fmla="*/ 214 h 235"/>
                <a:gd name="T58" fmla="*/ 192 w 320"/>
                <a:gd name="T59" fmla="*/ 75 h 235"/>
                <a:gd name="T60" fmla="*/ 213 w 320"/>
                <a:gd name="T61" fmla="*/ 54 h 235"/>
                <a:gd name="T62" fmla="*/ 234 w 320"/>
                <a:gd name="T63" fmla="*/ 75 h 235"/>
                <a:gd name="T64" fmla="*/ 213 w 320"/>
                <a:gd name="T65" fmla="*/ 96 h 235"/>
                <a:gd name="T66" fmla="*/ 192 w 320"/>
                <a:gd name="T67"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22"/>
                  </a:moveTo>
                  <a:cubicBezTo>
                    <a:pt x="298" y="170"/>
                    <a:pt x="298" y="170"/>
                    <a:pt x="298" y="170"/>
                  </a:cubicBezTo>
                  <a:cubicBezTo>
                    <a:pt x="264" y="122"/>
                    <a:pt x="264" y="122"/>
                    <a:pt x="264" y="122"/>
                  </a:cubicBezTo>
                  <a:cubicBezTo>
                    <a:pt x="263" y="120"/>
                    <a:pt x="260" y="118"/>
                    <a:pt x="257" y="118"/>
                  </a:cubicBezTo>
                  <a:cubicBezTo>
                    <a:pt x="253" y="117"/>
                    <a:pt x="250" y="119"/>
                    <a:pt x="248" y="121"/>
                  </a:cubicBezTo>
                  <a:cubicBezTo>
                    <a:pt x="208" y="161"/>
                    <a:pt x="208" y="161"/>
                    <a:pt x="208" y="161"/>
                  </a:cubicBezTo>
                  <a:cubicBezTo>
                    <a:pt x="119" y="73"/>
                    <a:pt x="119" y="73"/>
                    <a:pt x="119" y="73"/>
                  </a:cubicBezTo>
                  <a:cubicBezTo>
                    <a:pt x="115" y="69"/>
                    <a:pt x="108" y="69"/>
                    <a:pt x="104" y="73"/>
                  </a:cubicBezTo>
                  <a:cubicBezTo>
                    <a:pt x="21" y="156"/>
                    <a:pt x="21" y="156"/>
                    <a:pt x="21" y="156"/>
                  </a:cubicBezTo>
                  <a:cubicBezTo>
                    <a:pt x="21" y="22"/>
                    <a:pt x="21" y="22"/>
                    <a:pt x="21" y="22"/>
                  </a:cubicBezTo>
                  <a:lnTo>
                    <a:pt x="298" y="22"/>
                  </a:lnTo>
                  <a:close/>
                  <a:moveTo>
                    <a:pt x="21" y="214"/>
                  </a:moveTo>
                  <a:cubicBezTo>
                    <a:pt x="21" y="186"/>
                    <a:pt x="21" y="186"/>
                    <a:pt x="21" y="186"/>
                  </a:cubicBezTo>
                  <a:cubicBezTo>
                    <a:pt x="112" y="95"/>
                    <a:pt x="112" y="95"/>
                    <a:pt x="112" y="95"/>
                  </a:cubicBezTo>
                  <a:cubicBezTo>
                    <a:pt x="200" y="184"/>
                    <a:pt x="200" y="184"/>
                    <a:pt x="200" y="184"/>
                  </a:cubicBezTo>
                  <a:cubicBezTo>
                    <a:pt x="204" y="188"/>
                    <a:pt x="211" y="188"/>
                    <a:pt x="215" y="184"/>
                  </a:cubicBezTo>
                  <a:cubicBezTo>
                    <a:pt x="254" y="145"/>
                    <a:pt x="254" y="145"/>
                    <a:pt x="254" y="145"/>
                  </a:cubicBezTo>
                  <a:cubicBezTo>
                    <a:pt x="298" y="206"/>
                    <a:pt x="298" y="206"/>
                    <a:pt x="298" y="206"/>
                  </a:cubicBezTo>
                  <a:cubicBezTo>
                    <a:pt x="298" y="214"/>
                    <a:pt x="298" y="214"/>
                    <a:pt x="298" y="214"/>
                  </a:cubicBezTo>
                  <a:lnTo>
                    <a:pt x="21" y="214"/>
                  </a:lnTo>
                  <a:close/>
                  <a:moveTo>
                    <a:pt x="192" y="75"/>
                  </a:moveTo>
                  <a:cubicBezTo>
                    <a:pt x="192" y="63"/>
                    <a:pt x="201" y="54"/>
                    <a:pt x="213" y="54"/>
                  </a:cubicBezTo>
                  <a:cubicBezTo>
                    <a:pt x="225" y="54"/>
                    <a:pt x="234" y="63"/>
                    <a:pt x="234" y="75"/>
                  </a:cubicBezTo>
                  <a:cubicBezTo>
                    <a:pt x="234" y="87"/>
                    <a:pt x="225" y="96"/>
                    <a:pt x="213" y="96"/>
                  </a:cubicBezTo>
                  <a:cubicBezTo>
                    <a:pt x="201" y="96"/>
                    <a:pt x="192" y="87"/>
                    <a:pt x="192" y="7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89" name="Freeform 379">
            <a:extLst>
              <a:ext uri="{FF2B5EF4-FFF2-40B4-BE49-F238E27FC236}">
                <a16:creationId xmlns:a16="http://schemas.microsoft.com/office/drawing/2014/main" id="{A7A72B52-5438-4C27-A7A8-5CAD13F76FD5}"/>
              </a:ext>
            </a:extLst>
          </p:cNvPr>
          <p:cNvSpPr>
            <a:spLocks noChangeAspect="1" noEditPoints="1"/>
          </p:cNvSpPr>
          <p:nvPr/>
        </p:nvSpPr>
        <p:spPr bwMode="auto">
          <a:xfrm>
            <a:off x="7440096" y="3292640"/>
            <a:ext cx="369021" cy="369021"/>
          </a:xfrm>
          <a:custGeom>
            <a:avLst/>
            <a:gdLst>
              <a:gd name="T0" fmla="*/ 350 w 512"/>
              <a:gd name="T1" fmla="*/ 283 h 512"/>
              <a:gd name="T2" fmla="*/ 394 w 512"/>
              <a:gd name="T3" fmla="*/ 344 h 512"/>
              <a:gd name="T4" fmla="*/ 394 w 512"/>
              <a:gd name="T5" fmla="*/ 352 h 512"/>
              <a:gd name="T6" fmla="*/ 117 w 512"/>
              <a:gd name="T7" fmla="*/ 352 h 512"/>
              <a:gd name="T8" fmla="*/ 117 w 512"/>
              <a:gd name="T9" fmla="*/ 324 h 512"/>
              <a:gd name="T10" fmla="*/ 208 w 512"/>
              <a:gd name="T11" fmla="*/ 233 h 512"/>
              <a:gd name="T12" fmla="*/ 296 w 512"/>
              <a:gd name="T13" fmla="*/ 322 h 512"/>
              <a:gd name="T14" fmla="*/ 311 w 512"/>
              <a:gd name="T15" fmla="*/ 322 h 512"/>
              <a:gd name="T16" fmla="*/ 350 w 512"/>
              <a:gd name="T17" fmla="*/ 283 h 512"/>
              <a:gd name="T18" fmla="*/ 117 w 512"/>
              <a:gd name="T19" fmla="*/ 160 h 512"/>
              <a:gd name="T20" fmla="*/ 394 w 512"/>
              <a:gd name="T21" fmla="*/ 160 h 512"/>
              <a:gd name="T22" fmla="*/ 394 w 512"/>
              <a:gd name="T23" fmla="*/ 308 h 512"/>
              <a:gd name="T24" fmla="*/ 360 w 512"/>
              <a:gd name="T25" fmla="*/ 260 h 512"/>
              <a:gd name="T26" fmla="*/ 353 w 512"/>
              <a:gd name="T27" fmla="*/ 256 h 512"/>
              <a:gd name="T28" fmla="*/ 344 w 512"/>
              <a:gd name="T29" fmla="*/ 259 h 512"/>
              <a:gd name="T30" fmla="*/ 304 w 512"/>
              <a:gd name="T31" fmla="*/ 299 h 512"/>
              <a:gd name="T32" fmla="*/ 215 w 512"/>
              <a:gd name="T33" fmla="*/ 211 h 512"/>
              <a:gd name="T34" fmla="*/ 200 w 512"/>
              <a:gd name="T35" fmla="*/ 211 h 512"/>
              <a:gd name="T36" fmla="*/ 117 w 512"/>
              <a:gd name="T37" fmla="*/ 294 h 512"/>
              <a:gd name="T38" fmla="*/ 117 w 512"/>
              <a:gd name="T39" fmla="*/ 160 h 512"/>
              <a:gd name="T40" fmla="*/ 288 w 512"/>
              <a:gd name="T41" fmla="*/ 213 h 512"/>
              <a:gd name="T42" fmla="*/ 309 w 512"/>
              <a:gd name="T43" fmla="*/ 234 h 512"/>
              <a:gd name="T44" fmla="*/ 330 w 512"/>
              <a:gd name="T45" fmla="*/ 213 h 512"/>
              <a:gd name="T46" fmla="*/ 309 w 512"/>
              <a:gd name="T47" fmla="*/ 192 h 512"/>
              <a:gd name="T48" fmla="*/ 288 w 512"/>
              <a:gd name="T49" fmla="*/ 213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416 w 512"/>
              <a:gd name="T61" fmla="*/ 149 h 512"/>
              <a:gd name="T62" fmla="*/ 405 w 512"/>
              <a:gd name="T63" fmla="*/ 138 h 512"/>
              <a:gd name="T64" fmla="*/ 106 w 512"/>
              <a:gd name="T65" fmla="*/ 138 h 512"/>
              <a:gd name="T66" fmla="*/ 96 w 512"/>
              <a:gd name="T67" fmla="*/ 149 h 512"/>
              <a:gd name="T68" fmla="*/ 96 w 512"/>
              <a:gd name="T69" fmla="*/ 362 h 512"/>
              <a:gd name="T70" fmla="*/ 106 w 512"/>
              <a:gd name="T71" fmla="*/ 373 h 512"/>
              <a:gd name="T72" fmla="*/ 405 w 512"/>
              <a:gd name="T73" fmla="*/ 373 h 512"/>
              <a:gd name="T74" fmla="*/ 416 w 512"/>
              <a:gd name="T75" fmla="*/ 362 h 512"/>
              <a:gd name="T76" fmla="*/ 416 w 512"/>
              <a:gd name="T7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50" y="283"/>
                </a:moveTo>
                <a:cubicBezTo>
                  <a:pt x="394" y="344"/>
                  <a:pt x="394" y="344"/>
                  <a:pt x="394" y="344"/>
                </a:cubicBezTo>
                <a:cubicBezTo>
                  <a:pt x="394" y="352"/>
                  <a:pt x="394" y="352"/>
                  <a:pt x="394" y="352"/>
                </a:cubicBezTo>
                <a:cubicBezTo>
                  <a:pt x="117" y="352"/>
                  <a:pt x="117" y="352"/>
                  <a:pt x="117" y="352"/>
                </a:cubicBezTo>
                <a:cubicBezTo>
                  <a:pt x="117" y="324"/>
                  <a:pt x="117" y="324"/>
                  <a:pt x="117" y="324"/>
                </a:cubicBezTo>
                <a:cubicBezTo>
                  <a:pt x="208" y="233"/>
                  <a:pt x="208" y="233"/>
                  <a:pt x="208" y="233"/>
                </a:cubicBezTo>
                <a:cubicBezTo>
                  <a:pt x="296" y="322"/>
                  <a:pt x="296" y="322"/>
                  <a:pt x="296" y="322"/>
                </a:cubicBezTo>
                <a:cubicBezTo>
                  <a:pt x="300" y="326"/>
                  <a:pt x="307" y="326"/>
                  <a:pt x="311" y="322"/>
                </a:cubicBezTo>
                <a:lnTo>
                  <a:pt x="350" y="283"/>
                </a:lnTo>
                <a:close/>
                <a:moveTo>
                  <a:pt x="117" y="160"/>
                </a:moveTo>
                <a:cubicBezTo>
                  <a:pt x="394" y="160"/>
                  <a:pt x="394" y="160"/>
                  <a:pt x="394" y="160"/>
                </a:cubicBezTo>
                <a:cubicBezTo>
                  <a:pt x="394" y="308"/>
                  <a:pt x="394" y="308"/>
                  <a:pt x="394" y="308"/>
                </a:cubicBezTo>
                <a:cubicBezTo>
                  <a:pt x="360" y="260"/>
                  <a:pt x="360" y="260"/>
                  <a:pt x="360" y="260"/>
                </a:cubicBezTo>
                <a:cubicBezTo>
                  <a:pt x="359" y="258"/>
                  <a:pt x="356" y="256"/>
                  <a:pt x="353" y="256"/>
                </a:cubicBezTo>
                <a:cubicBezTo>
                  <a:pt x="349" y="255"/>
                  <a:pt x="346" y="257"/>
                  <a:pt x="344" y="259"/>
                </a:cubicBezTo>
                <a:cubicBezTo>
                  <a:pt x="304" y="299"/>
                  <a:pt x="304" y="299"/>
                  <a:pt x="304" y="299"/>
                </a:cubicBezTo>
                <a:cubicBezTo>
                  <a:pt x="215" y="211"/>
                  <a:pt x="215" y="211"/>
                  <a:pt x="215" y="211"/>
                </a:cubicBezTo>
                <a:cubicBezTo>
                  <a:pt x="211" y="207"/>
                  <a:pt x="204" y="207"/>
                  <a:pt x="200" y="211"/>
                </a:cubicBezTo>
                <a:cubicBezTo>
                  <a:pt x="117" y="294"/>
                  <a:pt x="117" y="294"/>
                  <a:pt x="117" y="294"/>
                </a:cubicBezTo>
                <a:lnTo>
                  <a:pt x="117" y="160"/>
                </a:lnTo>
                <a:close/>
                <a:moveTo>
                  <a:pt x="288" y="213"/>
                </a:moveTo>
                <a:cubicBezTo>
                  <a:pt x="288" y="225"/>
                  <a:pt x="297" y="234"/>
                  <a:pt x="309" y="234"/>
                </a:cubicBezTo>
                <a:cubicBezTo>
                  <a:pt x="321" y="234"/>
                  <a:pt x="330" y="225"/>
                  <a:pt x="330" y="213"/>
                </a:cubicBezTo>
                <a:cubicBezTo>
                  <a:pt x="330" y="201"/>
                  <a:pt x="321" y="192"/>
                  <a:pt x="309" y="192"/>
                </a:cubicBezTo>
                <a:cubicBezTo>
                  <a:pt x="297" y="192"/>
                  <a:pt x="288" y="201"/>
                  <a:pt x="28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90" name="TextBox 689">
            <a:extLst>
              <a:ext uri="{FF2B5EF4-FFF2-40B4-BE49-F238E27FC236}">
                <a16:creationId xmlns:a16="http://schemas.microsoft.com/office/drawing/2014/main" id="{3B01AAC3-FCD8-4A45-8051-1852FB5A683D}"/>
              </a:ext>
            </a:extLst>
          </p:cNvPr>
          <p:cNvSpPr txBox="1"/>
          <p:nvPr/>
        </p:nvSpPr>
        <p:spPr>
          <a:xfrm>
            <a:off x="394129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wer</a:t>
            </a:r>
          </a:p>
        </p:txBody>
      </p:sp>
      <p:grpSp>
        <p:nvGrpSpPr>
          <p:cNvPr id="691" name="Group 414">
            <a:extLst>
              <a:ext uri="{FF2B5EF4-FFF2-40B4-BE49-F238E27FC236}">
                <a16:creationId xmlns:a16="http://schemas.microsoft.com/office/drawing/2014/main" id="{C90E43C8-8DCB-4A88-8E43-CE29406462CE}"/>
              </a:ext>
            </a:extLst>
          </p:cNvPr>
          <p:cNvGrpSpPr>
            <a:grpSpLocks noChangeAspect="1"/>
          </p:cNvGrpSpPr>
          <p:nvPr/>
        </p:nvGrpSpPr>
        <p:grpSpPr bwMode="auto">
          <a:xfrm>
            <a:off x="4402216" y="2532035"/>
            <a:ext cx="369021" cy="369021"/>
            <a:chOff x="5036" y="1587"/>
            <a:chExt cx="340" cy="340"/>
          </a:xfrm>
          <a:solidFill>
            <a:schemeClr val="accent5"/>
          </a:solidFill>
        </p:grpSpPr>
        <p:sp>
          <p:nvSpPr>
            <p:cNvPr id="692" name="Freeform 415">
              <a:extLst>
                <a:ext uri="{FF2B5EF4-FFF2-40B4-BE49-F238E27FC236}">
                  <a16:creationId xmlns:a16="http://schemas.microsoft.com/office/drawing/2014/main" id="{A17E6EE0-6BAF-4075-9006-0D4FC31EE42C}"/>
                </a:ext>
              </a:extLst>
            </p:cNvPr>
            <p:cNvSpPr>
              <a:spLocks noEditPoints="1"/>
            </p:cNvSpPr>
            <p:nvPr/>
          </p:nvSpPr>
          <p:spPr bwMode="auto">
            <a:xfrm>
              <a:off x="5107" y="1651"/>
              <a:ext cx="198" cy="205"/>
            </a:xfrm>
            <a:custGeom>
              <a:avLst/>
              <a:gdLst>
                <a:gd name="T0" fmla="*/ 149 w 298"/>
                <a:gd name="T1" fmla="*/ 309 h 309"/>
                <a:gd name="T2" fmla="*/ 0 w 298"/>
                <a:gd name="T3" fmla="*/ 160 h 309"/>
                <a:gd name="T4" fmla="*/ 99 w 298"/>
                <a:gd name="T5" fmla="*/ 20 h 309"/>
                <a:gd name="T6" fmla="*/ 113 w 298"/>
                <a:gd name="T7" fmla="*/ 27 h 309"/>
                <a:gd name="T8" fmla="*/ 106 w 298"/>
                <a:gd name="T9" fmla="*/ 40 h 309"/>
                <a:gd name="T10" fmla="*/ 21 w 298"/>
                <a:gd name="T11" fmla="*/ 160 h 309"/>
                <a:gd name="T12" fmla="*/ 149 w 298"/>
                <a:gd name="T13" fmla="*/ 288 h 309"/>
                <a:gd name="T14" fmla="*/ 276 w 298"/>
                <a:gd name="T15" fmla="*/ 160 h 309"/>
                <a:gd name="T16" fmla="*/ 191 w 298"/>
                <a:gd name="T17" fmla="*/ 40 h 309"/>
                <a:gd name="T18" fmla="*/ 185 w 298"/>
                <a:gd name="T19" fmla="*/ 26 h 309"/>
                <a:gd name="T20" fmla="*/ 198 w 298"/>
                <a:gd name="T21" fmla="*/ 20 h 309"/>
                <a:gd name="T22" fmla="*/ 298 w 298"/>
                <a:gd name="T23" fmla="*/ 160 h 309"/>
                <a:gd name="T24" fmla="*/ 149 w 298"/>
                <a:gd name="T25" fmla="*/ 309 h 309"/>
                <a:gd name="T26" fmla="*/ 159 w 298"/>
                <a:gd name="T27" fmla="*/ 107 h 309"/>
                <a:gd name="T28" fmla="*/ 159 w 298"/>
                <a:gd name="T29" fmla="*/ 11 h 309"/>
                <a:gd name="T30" fmla="*/ 149 w 298"/>
                <a:gd name="T31" fmla="*/ 0 h 309"/>
                <a:gd name="T32" fmla="*/ 138 w 298"/>
                <a:gd name="T33" fmla="*/ 11 h 309"/>
                <a:gd name="T34" fmla="*/ 138 w 298"/>
                <a:gd name="T35" fmla="*/ 107 h 309"/>
                <a:gd name="T36" fmla="*/ 149 w 298"/>
                <a:gd name="T37" fmla="*/ 117 h 309"/>
                <a:gd name="T38" fmla="*/ 159 w 298"/>
                <a:gd name="T39" fmla="*/ 10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8" h="309">
                  <a:moveTo>
                    <a:pt x="149" y="309"/>
                  </a:moveTo>
                  <a:cubicBezTo>
                    <a:pt x="67" y="309"/>
                    <a:pt x="0" y="243"/>
                    <a:pt x="0" y="160"/>
                  </a:cubicBezTo>
                  <a:cubicBezTo>
                    <a:pt x="0" y="97"/>
                    <a:pt x="40" y="41"/>
                    <a:pt x="99" y="20"/>
                  </a:cubicBezTo>
                  <a:cubicBezTo>
                    <a:pt x="105" y="18"/>
                    <a:pt x="111" y="21"/>
                    <a:pt x="113" y="27"/>
                  </a:cubicBezTo>
                  <a:cubicBezTo>
                    <a:pt x="115" y="32"/>
                    <a:pt x="112" y="38"/>
                    <a:pt x="106" y="40"/>
                  </a:cubicBezTo>
                  <a:cubicBezTo>
                    <a:pt x="55" y="58"/>
                    <a:pt x="21" y="106"/>
                    <a:pt x="21" y="160"/>
                  </a:cubicBezTo>
                  <a:cubicBezTo>
                    <a:pt x="21" y="231"/>
                    <a:pt x="78" y="288"/>
                    <a:pt x="149" y="288"/>
                  </a:cubicBezTo>
                  <a:cubicBezTo>
                    <a:pt x="219" y="288"/>
                    <a:pt x="276" y="231"/>
                    <a:pt x="276" y="160"/>
                  </a:cubicBezTo>
                  <a:cubicBezTo>
                    <a:pt x="276" y="106"/>
                    <a:pt x="242" y="58"/>
                    <a:pt x="191" y="40"/>
                  </a:cubicBezTo>
                  <a:cubicBezTo>
                    <a:pt x="186" y="38"/>
                    <a:pt x="183" y="32"/>
                    <a:pt x="185" y="26"/>
                  </a:cubicBezTo>
                  <a:cubicBezTo>
                    <a:pt x="187" y="21"/>
                    <a:pt x="193" y="18"/>
                    <a:pt x="198" y="20"/>
                  </a:cubicBezTo>
                  <a:cubicBezTo>
                    <a:pt x="258" y="41"/>
                    <a:pt x="298" y="97"/>
                    <a:pt x="298" y="160"/>
                  </a:cubicBezTo>
                  <a:cubicBezTo>
                    <a:pt x="298" y="243"/>
                    <a:pt x="231" y="309"/>
                    <a:pt x="149" y="309"/>
                  </a:cubicBezTo>
                  <a:close/>
                  <a:moveTo>
                    <a:pt x="159" y="107"/>
                  </a:moveTo>
                  <a:cubicBezTo>
                    <a:pt x="159" y="11"/>
                    <a:pt x="159" y="11"/>
                    <a:pt x="159" y="11"/>
                  </a:cubicBezTo>
                  <a:cubicBezTo>
                    <a:pt x="159" y="5"/>
                    <a:pt x="155" y="0"/>
                    <a:pt x="149" y="0"/>
                  </a:cubicBezTo>
                  <a:cubicBezTo>
                    <a:pt x="143" y="0"/>
                    <a:pt x="138" y="5"/>
                    <a:pt x="138" y="11"/>
                  </a:cubicBezTo>
                  <a:cubicBezTo>
                    <a:pt x="138" y="107"/>
                    <a:pt x="138" y="107"/>
                    <a:pt x="138" y="107"/>
                  </a:cubicBezTo>
                  <a:cubicBezTo>
                    <a:pt x="138" y="113"/>
                    <a:pt x="143" y="117"/>
                    <a:pt x="149" y="117"/>
                  </a:cubicBezTo>
                  <a:cubicBezTo>
                    <a:pt x="155" y="117"/>
                    <a:pt x="159" y="113"/>
                    <a:pt x="159"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3" name="Freeform 416">
              <a:extLst>
                <a:ext uri="{FF2B5EF4-FFF2-40B4-BE49-F238E27FC236}">
                  <a16:creationId xmlns:a16="http://schemas.microsoft.com/office/drawing/2014/main" id="{2041ABB9-3F17-4A9B-BAB2-0A8DD84EC7A8}"/>
                </a:ext>
              </a:extLst>
            </p:cNvPr>
            <p:cNvSpPr>
              <a:spLocks noEditPoints="1"/>
            </p:cNvSpPr>
            <p:nvPr/>
          </p:nvSpPr>
          <p:spPr bwMode="auto">
            <a:xfrm>
              <a:off x="5036" y="1587"/>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94" name="Freeform 420">
            <a:extLst>
              <a:ext uri="{FF2B5EF4-FFF2-40B4-BE49-F238E27FC236}">
                <a16:creationId xmlns:a16="http://schemas.microsoft.com/office/drawing/2014/main" id="{EA7C0EA1-88C8-4DDD-8E6C-9F033FC81FAC}"/>
              </a:ext>
            </a:extLst>
          </p:cNvPr>
          <p:cNvSpPr>
            <a:spLocks noChangeAspect="1" noEditPoints="1"/>
          </p:cNvSpPr>
          <p:nvPr/>
        </p:nvSpPr>
        <p:spPr bwMode="auto">
          <a:xfrm>
            <a:off x="3966045" y="2532035"/>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45 w 512"/>
              <a:gd name="T11" fmla="*/ 107 h 512"/>
              <a:gd name="T12" fmla="*/ 256 w 512"/>
              <a:gd name="T13" fmla="*/ 96 h 512"/>
              <a:gd name="T14" fmla="*/ 266 w 512"/>
              <a:gd name="T15" fmla="*/ 107 h 512"/>
              <a:gd name="T16" fmla="*/ 266 w 512"/>
              <a:gd name="T17" fmla="*/ 203 h 512"/>
              <a:gd name="T18" fmla="*/ 256 w 512"/>
              <a:gd name="T19" fmla="*/ 213 h 512"/>
              <a:gd name="T20" fmla="*/ 245 w 512"/>
              <a:gd name="T21" fmla="*/ 203 h 512"/>
              <a:gd name="T22" fmla="*/ 245 w 512"/>
              <a:gd name="T23" fmla="*/ 107 h 512"/>
              <a:gd name="T24" fmla="*/ 256 w 512"/>
              <a:gd name="T25" fmla="*/ 405 h 512"/>
              <a:gd name="T26" fmla="*/ 107 w 512"/>
              <a:gd name="T27" fmla="*/ 256 h 512"/>
              <a:gd name="T28" fmla="*/ 206 w 512"/>
              <a:gd name="T29" fmla="*/ 116 h 512"/>
              <a:gd name="T30" fmla="*/ 220 w 512"/>
              <a:gd name="T31" fmla="*/ 123 h 512"/>
              <a:gd name="T32" fmla="*/ 213 w 512"/>
              <a:gd name="T33" fmla="*/ 136 h 512"/>
              <a:gd name="T34" fmla="*/ 128 w 512"/>
              <a:gd name="T35" fmla="*/ 256 h 512"/>
              <a:gd name="T36" fmla="*/ 256 w 512"/>
              <a:gd name="T37" fmla="*/ 384 h 512"/>
              <a:gd name="T38" fmla="*/ 383 w 512"/>
              <a:gd name="T39" fmla="*/ 256 h 512"/>
              <a:gd name="T40" fmla="*/ 298 w 512"/>
              <a:gd name="T41" fmla="*/ 136 h 512"/>
              <a:gd name="T42" fmla="*/ 292 w 512"/>
              <a:gd name="T43" fmla="*/ 122 h 512"/>
              <a:gd name="T44" fmla="*/ 305 w 512"/>
              <a:gd name="T45" fmla="*/ 116 h 512"/>
              <a:gd name="T46" fmla="*/ 405 w 512"/>
              <a:gd name="T47" fmla="*/ 256 h 512"/>
              <a:gd name="T48" fmla="*/ 256 w 512"/>
              <a:gd name="T4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245" y="107"/>
                </a:moveTo>
                <a:cubicBezTo>
                  <a:pt x="245" y="101"/>
                  <a:pt x="250" y="96"/>
                  <a:pt x="256" y="96"/>
                </a:cubicBezTo>
                <a:cubicBezTo>
                  <a:pt x="262" y="96"/>
                  <a:pt x="266" y="101"/>
                  <a:pt x="266" y="107"/>
                </a:cubicBezTo>
                <a:cubicBezTo>
                  <a:pt x="266" y="203"/>
                  <a:pt x="266" y="203"/>
                  <a:pt x="266" y="203"/>
                </a:cubicBezTo>
                <a:cubicBezTo>
                  <a:pt x="266" y="209"/>
                  <a:pt x="262" y="213"/>
                  <a:pt x="256" y="213"/>
                </a:cubicBezTo>
                <a:cubicBezTo>
                  <a:pt x="250" y="213"/>
                  <a:pt x="245" y="209"/>
                  <a:pt x="245" y="203"/>
                </a:cubicBezTo>
                <a:lnTo>
                  <a:pt x="245" y="107"/>
                </a:lnTo>
                <a:close/>
                <a:moveTo>
                  <a:pt x="256" y="405"/>
                </a:moveTo>
                <a:cubicBezTo>
                  <a:pt x="174" y="405"/>
                  <a:pt x="107" y="339"/>
                  <a:pt x="107" y="256"/>
                </a:cubicBezTo>
                <a:cubicBezTo>
                  <a:pt x="107" y="193"/>
                  <a:pt x="147" y="137"/>
                  <a:pt x="206" y="116"/>
                </a:cubicBezTo>
                <a:cubicBezTo>
                  <a:pt x="212" y="114"/>
                  <a:pt x="218" y="117"/>
                  <a:pt x="220" y="123"/>
                </a:cubicBezTo>
                <a:cubicBezTo>
                  <a:pt x="222" y="128"/>
                  <a:pt x="219" y="134"/>
                  <a:pt x="213" y="136"/>
                </a:cubicBezTo>
                <a:cubicBezTo>
                  <a:pt x="162" y="154"/>
                  <a:pt x="128" y="202"/>
                  <a:pt x="128" y="256"/>
                </a:cubicBezTo>
                <a:cubicBezTo>
                  <a:pt x="128" y="327"/>
                  <a:pt x="185" y="384"/>
                  <a:pt x="256" y="384"/>
                </a:cubicBezTo>
                <a:cubicBezTo>
                  <a:pt x="326" y="384"/>
                  <a:pt x="383" y="327"/>
                  <a:pt x="383" y="256"/>
                </a:cubicBezTo>
                <a:cubicBezTo>
                  <a:pt x="383" y="202"/>
                  <a:pt x="349" y="154"/>
                  <a:pt x="298" y="136"/>
                </a:cubicBezTo>
                <a:cubicBezTo>
                  <a:pt x="293" y="134"/>
                  <a:pt x="290" y="128"/>
                  <a:pt x="292" y="122"/>
                </a:cubicBezTo>
                <a:cubicBezTo>
                  <a:pt x="294" y="117"/>
                  <a:pt x="300" y="114"/>
                  <a:pt x="305" y="116"/>
                </a:cubicBezTo>
                <a:cubicBezTo>
                  <a:pt x="365" y="137"/>
                  <a:pt x="405" y="193"/>
                  <a:pt x="405" y="256"/>
                </a:cubicBezTo>
                <a:cubicBezTo>
                  <a:pt x="405" y="339"/>
                  <a:pt x="338" y="405"/>
                  <a:pt x="256" y="40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95" name="TextBox 694">
            <a:extLst>
              <a:ext uri="{FF2B5EF4-FFF2-40B4-BE49-F238E27FC236}">
                <a16:creationId xmlns:a16="http://schemas.microsoft.com/office/drawing/2014/main" id="{37016988-6F88-433F-9A87-7881F81D6EF5}"/>
              </a:ext>
            </a:extLst>
          </p:cNvPr>
          <p:cNvSpPr txBox="1"/>
          <p:nvPr/>
        </p:nvSpPr>
        <p:spPr>
          <a:xfrm>
            <a:off x="8311195"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pload</a:t>
            </a:r>
          </a:p>
        </p:txBody>
      </p:sp>
      <p:grpSp>
        <p:nvGrpSpPr>
          <p:cNvPr id="696" name="Group 786">
            <a:extLst>
              <a:ext uri="{FF2B5EF4-FFF2-40B4-BE49-F238E27FC236}">
                <a16:creationId xmlns:a16="http://schemas.microsoft.com/office/drawing/2014/main" id="{EDE56291-6D54-47F1-8E16-112BD5BF837F}"/>
              </a:ext>
            </a:extLst>
          </p:cNvPr>
          <p:cNvGrpSpPr>
            <a:grpSpLocks noChangeAspect="1"/>
          </p:cNvGrpSpPr>
          <p:nvPr/>
        </p:nvGrpSpPr>
        <p:grpSpPr bwMode="auto">
          <a:xfrm>
            <a:off x="8750965" y="3292640"/>
            <a:ext cx="369676" cy="369676"/>
            <a:chOff x="405" y="2684"/>
            <a:chExt cx="340" cy="340"/>
          </a:xfrm>
          <a:solidFill>
            <a:schemeClr val="accent2"/>
          </a:solidFill>
        </p:grpSpPr>
        <p:sp>
          <p:nvSpPr>
            <p:cNvPr id="697" name="Freeform 670">
              <a:extLst>
                <a:ext uri="{FF2B5EF4-FFF2-40B4-BE49-F238E27FC236}">
                  <a16:creationId xmlns:a16="http://schemas.microsoft.com/office/drawing/2014/main" id="{385AEBCF-B57A-4585-8EAA-79C8E5829774}"/>
                </a:ext>
              </a:extLst>
            </p:cNvPr>
            <p:cNvSpPr>
              <a:spLocks noEditPoints="1"/>
            </p:cNvSpPr>
            <p:nvPr/>
          </p:nvSpPr>
          <p:spPr bwMode="auto">
            <a:xfrm>
              <a:off x="497" y="2747"/>
              <a:ext cx="156" cy="213"/>
            </a:xfrm>
            <a:custGeom>
              <a:avLst/>
              <a:gdLst>
                <a:gd name="T0" fmla="*/ 25 w 235"/>
                <a:gd name="T1" fmla="*/ 104 h 321"/>
                <a:gd name="T2" fmla="*/ 25 w 235"/>
                <a:gd name="T3" fmla="*/ 89 h 321"/>
                <a:gd name="T4" fmla="*/ 110 w 235"/>
                <a:gd name="T5" fmla="*/ 4 h 321"/>
                <a:gd name="T6" fmla="*/ 114 w 235"/>
                <a:gd name="T7" fmla="*/ 1 h 321"/>
                <a:gd name="T8" fmla="*/ 122 w 235"/>
                <a:gd name="T9" fmla="*/ 1 h 321"/>
                <a:gd name="T10" fmla="*/ 125 w 235"/>
                <a:gd name="T11" fmla="*/ 4 h 321"/>
                <a:gd name="T12" fmla="*/ 211 w 235"/>
                <a:gd name="T13" fmla="*/ 89 h 321"/>
                <a:gd name="T14" fmla="*/ 211 w 235"/>
                <a:gd name="T15" fmla="*/ 104 h 321"/>
                <a:gd name="T16" fmla="*/ 203 w 235"/>
                <a:gd name="T17" fmla="*/ 107 h 321"/>
                <a:gd name="T18" fmla="*/ 195 w 235"/>
                <a:gd name="T19" fmla="*/ 104 h 321"/>
                <a:gd name="T20" fmla="*/ 128 w 235"/>
                <a:gd name="T21" fmla="*/ 37 h 321"/>
                <a:gd name="T22" fmla="*/ 128 w 235"/>
                <a:gd name="T23" fmla="*/ 267 h 321"/>
                <a:gd name="T24" fmla="*/ 118 w 235"/>
                <a:gd name="T25" fmla="*/ 278 h 321"/>
                <a:gd name="T26" fmla="*/ 107 w 235"/>
                <a:gd name="T27" fmla="*/ 267 h 321"/>
                <a:gd name="T28" fmla="*/ 107 w 235"/>
                <a:gd name="T29" fmla="*/ 37 h 321"/>
                <a:gd name="T30" fmla="*/ 40 w 235"/>
                <a:gd name="T31" fmla="*/ 104 h 321"/>
                <a:gd name="T32" fmla="*/ 32 w 235"/>
                <a:gd name="T33" fmla="*/ 107 h 321"/>
                <a:gd name="T34" fmla="*/ 25 w 235"/>
                <a:gd name="T35" fmla="*/ 104 h 321"/>
                <a:gd name="T36" fmla="*/ 224 w 235"/>
                <a:gd name="T37" fmla="*/ 257 h 321"/>
                <a:gd name="T38" fmla="*/ 214 w 235"/>
                <a:gd name="T39" fmla="*/ 267 h 321"/>
                <a:gd name="T40" fmla="*/ 214 w 235"/>
                <a:gd name="T41" fmla="*/ 299 h 321"/>
                <a:gd name="T42" fmla="*/ 22 w 235"/>
                <a:gd name="T43" fmla="*/ 299 h 321"/>
                <a:gd name="T44" fmla="*/ 22 w 235"/>
                <a:gd name="T45" fmla="*/ 267 h 321"/>
                <a:gd name="T46" fmla="*/ 11 w 235"/>
                <a:gd name="T47" fmla="*/ 257 h 321"/>
                <a:gd name="T48" fmla="*/ 0 w 235"/>
                <a:gd name="T49" fmla="*/ 267 h 321"/>
                <a:gd name="T50" fmla="*/ 0 w 235"/>
                <a:gd name="T51" fmla="*/ 310 h 321"/>
                <a:gd name="T52" fmla="*/ 11 w 235"/>
                <a:gd name="T53" fmla="*/ 321 h 321"/>
                <a:gd name="T54" fmla="*/ 224 w 235"/>
                <a:gd name="T55" fmla="*/ 321 h 321"/>
                <a:gd name="T56" fmla="*/ 235 w 235"/>
                <a:gd name="T57" fmla="*/ 310 h 321"/>
                <a:gd name="T58" fmla="*/ 235 w 235"/>
                <a:gd name="T59" fmla="*/ 267 h 321"/>
                <a:gd name="T60" fmla="*/ 224 w 235"/>
                <a:gd name="T61" fmla="*/ 25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1">
                  <a:moveTo>
                    <a:pt x="25" y="104"/>
                  </a:moveTo>
                  <a:cubicBezTo>
                    <a:pt x="21" y="100"/>
                    <a:pt x="21" y="93"/>
                    <a:pt x="25" y="89"/>
                  </a:cubicBezTo>
                  <a:cubicBezTo>
                    <a:pt x="110" y="4"/>
                    <a:pt x="110" y="4"/>
                    <a:pt x="110" y="4"/>
                  </a:cubicBezTo>
                  <a:cubicBezTo>
                    <a:pt x="111" y="3"/>
                    <a:pt x="112" y="2"/>
                    <a:pt x="114" y="1"/>
                  </a:cubicBezTo>
                  <a:cubicBezTo>
                    <a:pt x="116" y="0"/>
                    <a:pt x="119" y="0"/>
                    <a:pt x="122" y="1"/>
                  </a:cubicBezTo>
                  <a:cubicBezTo>
                    <a:pt x="123" y="2"/>
                    <a:pt x="124" y="3"/>
                    <a:pt x="125" y="4"/>
                  </a:cubicBezTo>
                  <a:cubicBezTo>
                    <a:pt x="211" y="89"/>
                    <a:pt x="211" y="89"/>
                    <a:pt x="211" y="89"/>
                  </a:cubicBezTo>
                  <a:cubicBezTo>
                    <a:pt x="215" y="93"/>
                    <a:pt x="215" y="100"/>
                    <a:pt x="211" y="104"/>
                  </a:cubicBezTo>
                  <a:cubicBezTo>
                    <a:pt x="208" y="106"/>
                    <a:pt x="206" y="107"/>
                    <a:pt x="203" y="107"/>
                  </a:cubicBezTo>
                  <a:cubicBezTo>
                    <a:pt x="200" y="107"/>
                    <a:pt x="198" y="106"/>
                    <a:pt x="195" y="104"/>
                  </a:cubicBezTo>
                  <a:cubicBezTo>
                    <a:pt x="128" y="37"/>
                    <a:pt x="128" y="37"/>
                    <a:pt x="128" y="37"/>
                  </a:cubicBezTo>
                  <a:cubicBezTo>
                    <a:pt x="128" y="267"/>
                    <a:pt x="128" y="267"/>
                    <a:pt x="128" y="267"/>
                  </a:cubicBezTo>
                  <a:cubicBezTo>
                    <a:pt x="128" y="273"/>
                    <a:pt x="124" y="278"/>
                    <a:pt x="118" y="278"/>
                  </a:cubicBezTo>
                  <a:cubicBezTo>
                    <a:pt x="112" y="278"/>
                    <a:pt x="107" y="273"/>
                    <a:pt x="107" y="267"/>
                  </a:cubicBezTo>
                  <a:cubicBezTo>
                    <a:pt x="107" y="37"/>
                    <a:pt x="107" y="37"/>
                    <a:pt x="107" y="37"/>
                  </a:cubicBezTo>
                  <a:cubicBezTo>
                    <a:pt x="40" y="104"/>
                    <a:pt x="40" y="104"/>
                    <a:pt x="40" y="104"/>
                  </a:cubicBezTo>
                  <a:cubicBezTo>
                    <a:pt x="38" y="106"/>
                    <a:pt x="35" y="107"/>
                    <a:pt x="32" y="107"/>
                  </a:cubicBezTo>
                  <a:cubicBezTo>
                    <a:pt x="30" y="107"/>
                    <a:pt x="27" y="106"/>
                    <a:pt x="25" y="104"/>
                  </a:cubicBezTo>
                  <a:close/>
                  <a:moveTo>
                    <a:pt x="224" y="257"/>
                  </a:moveTo>
                  <a:cubicBezTo>
                    <a:pt x="218" y="257"/>
                    <a:pt x="214" y="261"/>
                    <a:pt x="214" y="267"/>
                  </a:cubicBezTo>
                  <a:cubicBezTo>
                    <a:pt x="214" y="299"/>
                    <a:pt x="214" y="299"/>
                    <a:pt x="214" y="299"/>
                  </a:cubicBezTo>
                  <a:cubicBezTo>
                    <a:pt x="22" y="299"/>
                    <a:pt x="22" y="299"/>
                    <a:pt x="22" y="299"/>
                  </a:cubicBezTo>
                  <a:cubicBezTo>
                    <a:pt x="22" y="267"/>
                    <a:pt x="22" y="267"/>
                    <a:pt x="22" y="267"/>
                  </a:cubicBezTo>
                  <a:cubicBezTo>
                    <a:pt x="22" y="261"/>
                    <a:pt x="17" y="257"/>
                    <a:pt x="11" y="257"/>
                  </a:cubicBezTo>
                  <a:cubicBezTo>
                    <a:pt x="5" y="257"/>
                    <a:pt x="0" y="261"/>
                    <a:pt x="0" y="267"/>
                  </a:cubicBezTo>
                  <a:cubicBezTo>
                    <a:pt x="0" y="310"/>
                    <a:pt x="0" y="310"/>
                    <a:pt x="0" y="310"/>
                  </a:cubicBezTo>
                  <a:cubicBezTo>
                    <a:pt x="0" y="316"/>
                    <a:pt x="5" y="321"/>
                    <a:pt x="11" y="321"/>
                  </a:cubicBezTo>
                  <a:cubicBezTo>
                    <a:pt x="224" y="321"/>
                    <a:pt x="224" y="321"/>
                    <a:pt x="224" y="321"/>
                  </a:cubicBezTo>
                  <a:cubicBezTo>
                    <a:pt x="230" y="321"/>
                    <a:pt x="235" y="316"/>
                    <a:pt x="235" y="310"/>
                  </a:cubicBezTo>
                  <a:cubicBezTo>
                    <a:pt x="235" y="267"/>
                    <a:pt x="235" y="267"/>
                    <a:pt x="235" y="267"/>
                  </a:cubicBezTo>
                  <a:cubicBezTo>
                    <a:pt x="235" y="261"/>
                    <a:pt x="230" y="257"/>
                    <a:pt x="224" y="2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8" name="Freeform 671">
              <a:extLst>
                <a:ext uri="{FF2B5EF4-FFF2-40B4-BE49-F238E27FC236}">
                  <a16:creationId xmlns:a16="http://schemas.microsoft.com/office/drawing/2014/main" id="{717B7C05-2529-4CF9-A6BB-D2B024C4152C}"/>
                </a:ext>
              </a:extLst>
            </p:cNvPr>
            <p:cNvSpPr>
              <a:spLocks noEditPoints="1"/>
            </p:cNvSpPr>
            <p:nvPr/>
          </p:nvSpPr>
          <p:spPr bwMode="auto">
            <a:xfrm>
              <a:off x="405" y="268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99" name="Freeform 792">
            <a:extLst>
              <a:ext uri="{FF2B5EF4-FFF2-40B4-BE49-F238E27FC236}">
                <a16:creationId xmlns:a16="http://schemas.microsoft.com/office/drawing/2014/main" id="{5B218DD7-C99E-4AAC-80F8-B0A5FEC4300F}"/>
              </a:ext>
            </a:extLst>
          </p:cNvPr>
          <p:cNvSpPr>
            <a:spLocks noChangeAspect="1" noEditPoints="1"/>
          </p:cNvSpPr>
          <p:nvPr/>
        </p:nvSpPr>
        <p:spPr bwMode="auto">
          <a:xfrm>
            <a:off x="8313572" y="3292640"/>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184 h 512"/>
              <a:gd name="T12" fmla="*/ 248 w 512"/>
              <a:gd name="T13" fmla="*/ 99 h 512"/>
              <a:gd name="T14" fmla="*/ 252 w 512"/>
              <a:gd name="T15" fmla="*/ 96 h 512"/>
              <a:gd name="T16" fmla="*/ 260 w 512"/>
              <a:gd name="T17" fmla="*/ 96 h 512"/>
              <a:gd name="T18" fmla="*/ 263 w 512"/>
              <a:gd name="T19" fmla="*/ 99 h 512"/>
              <a:gd name="T20" fmla="*/ 349 w 512"/>
              <a:gd name="T21" fmla="*/ 184 h 512"/>
              <a:gd name="T22" fmla="*/ 349 w 512"/>
              <a:gd name="T23" fmla="*/ 199 h 512"/>
              <a:gd name="T24" fmla="*/ 341 w 512"/>
              <a:gd name="T25" fmla="*/ 202 h 512"/>
              <a:gd name="T26" fmla="*/ 333 w 512"/>
              <a:gd name="T27" fmla="*/ 199 h 512"/>
              <a:gd name="T28" fmla="*/ 266 w 512"/>
              <a:gd name="T29" fmla="*/ 132 h 512"/>
              <a:gd name="T30" fmla="*/ 266 w 512"/>
              <a:gd name="T31" fmla="*/ 362 h 512"/>
              <a:gd name="T32" fmla="*/ 256 w 512"/>
              <a:gd name="T33" fmla="*/ 373 h 512"/>
              <a:gd name="T34" fmla="*/ 245 w 512"/>
              <a:gd name="T35" fmla="*/ 362 h 512"/>
              <a:gd name="T36" fmla="*/ 245 w 512"/>
              <a:gd name="T37" fmla="*/ 132 h 512"/>
              <a:gd name="T38" fmla="*/ 178 w 512"/>
              <a:gd name="T39" fmla="*/ 199 h 512"/>
              <a:gd name="T40" fmla="*/ 170 w 512"/>
              <a:gd name="T41" fmla="*/ 202 h 512"/>
              <a:gd name="T42" fmla="*/ 163 w 512"/>
              <a:gd name="T43" fmla="*/ 199 h 512"/>
              <a:gd name="T44" fmla="*/ 163 w 512"/>
              <a:gd name="T45" fmla="*/ 184 h 512"/>
              <a:gd name="T46" fmla="*/ 373 w 512"/>
              <a:gd name="T47" fmla="*/ 405 h 512"/>
              <a:gd name="T48" fmla="*/ 362 w 512"/>
              <a:gd name="T49" fmla="*/ 416 h 512"/>
              <a:gd name="T50" fmla="*/ 149 w 512"/>
              <a:gd name="T51" fmla="*/ 416 h 512"/>
              <a:gd name="T52" fmla="*/ 138 w 512"/>
              <a:gd name="T53" fmla="*/ 405 h 512"/>
              <a:gd name="T54" fmla="*/ 138 w 512"/>
              <a:gd name="T55" fmla="*/ 362 h 512"/>
              <a:gd name="T56" fmla="*/ 149 w 512"/>
              <a:gd name="T57" fmla="*/ 352 h 512"/>
              <a:gd name="T58" fmla="*/ 160 w 512"/>
              <a:gd name="T59" fmla="*/ 362 h 512"/>
              <a:gd name="T60" fmla="*/ 160 w 512"/>
              <a:gd name="T61" fmla="*/ 394 h 512"/>
              <a:gd name="T62" fmla="*/ 352 w 512"/>
              <a:gd name="T63" fmla="*/ 394 h 512"/>
              <a:gd name="T64" fmla="*/ 352 w 512"/>
              <a:gd name="T65" fmla="*/ 362 h 512"/>
              <a:gd name="T66" fmla="*/ 362 w 512"/>
              <a:gd name="T67" fmla="*/ 352 h 512"/>
              <a:gd name="T68" fmla="*/ 373 w 512"/>
              <a:gd name="T69" fmla="*/ 362 h 512"/>
              <a:gd name="T70" fmla="*/ 373 w 512"/>
              <a:gd name="T7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184"/>
                </a:move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ubicBezTo>
                  <a:pt x="346" y="201"/>
                  <a:pt x="344" y="202"/>
                  <a:pt x="341" y="202"/>
                </a:cubicBezTo>
                <a:cubicBezTo>
                  <a:pt x="338" y="202"/>
                  <a:pt x="336" y="201"/>
                  <a:pt x="333" y="199"/>
                </a:cubicBezTo>
                <a:cubicBezTo>
                  <a:pt x="266" y="132"/>
                  <a:pt x="266" y="132"/>
                  <a:pt x="266" y="132"/>
                </a:cubicBezTo>
                <a:cubicBezTo>
                  <a:pt x="266" y="362"/>
                  <a:pt x="266" y="362"/>
                  <a:pt x="266" y="362"/>
                </a:cubicBezTo>
                <a:cubicBezTo>
                  <a:pt x="266" y="368"/>
                  <a:pt x="262" y="373"/>
                  <a:pt x="256" y="373"/>
                </a:cubicBezTo>
                <a:cubicBezTo>
                  <a:pt x="250" y="373"/>
                  <a:pt x="245" y="368"/>
                  <a:pt x="245" y="362"/>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00" name="TextBox 699">
            <a:extLst>
              <a:ext uri="{FF2B5EF4-FFF2-40B4-BE49-F238E27FC236}">
                <a16:creationId xmlns:a16="http://schemas.microsoft.com/office/drawing/2014/main" id="{83B45711-3BB9-4B57-94A0-CB6057DCEB83}"/>
              </a:ext>
            </a:extLst>
          </p:cNvPr>
          <p:cNvSpPr txBox="1"/>
          <p:nvPr/>
        </p:nvSpPr>
        <p:spPr>
          <a:xfrm>
            <a:off x="10916268"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ve</a:t>
            </a:r>
          </a:p>
        </p:txBody>
      </p:sp>
      <p:grpSp>
        <p:nvGrpSpPr>
          <p:cNvPr id="701" name="Group 943">
            <a:extLst>
              <a:ext uri="{FF2B5EF4-FFF2-40B4-BE49-F238E27FC236}">
                <a16:creationId xmlns:a16="http://schemas.microsoft.com/office/drawing/2014/main" id="{E32434BA-F3AD-4369-AB32-AC2F88255257}"/>
              </a:ext>
            </a:extLst>
          </p:cNvPr>
          <p:cNvGrpSpPr>
            <a:grpSpLocks noChangeAspect="1"/>
          </p:cNvGrpSpPr>
          <p:nvPr/>
        </p:nvGrpSpPr>
        <p:grpSpPr bwMode="auto">
          <a:xfrm>
            <a:off x="11367355" y="3292640"/>
            <a:ext cx="369021" cy="369021"/>
            <a:chOff x="397" y="3492"/>
            <a:chExt cx="340" cy="340"/>
          </a:xfrm>
          <a:solidFill>
            <a:schemeClr val="accent4"/>
          </a:solidFill>
        </p:grpSpPr>
        <p:sp>
          <p:nvSpPr>
            <p:cNvPr id="789" name="Freeform 944">
              <a:extLst>
                <a:ext uri="{FF2B5EF4-FFF2-40B4-BE49-F238E27FC236}">
                  <a16:creationId xmlns:a16="http://schemas.microsoft.com/office/drawing/2014/main" id="{392D12FE-EF94-4611-9A2C-BC00548085CF}"/>
                </a:ext>
              </a:extLst>
            </p:cNvPr>
            <p:cNvSpPr>
              <a:spLocks noEditPoints="1"/>
            </p:cNvSpPr>
            <p:nvPr/>
          </p:nvSpPr>
          <p:spPr bwMode="auto">
            <a:xfrm>
              <a:off x="397" y="34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0" name="Freeform 945">
              <a:extLst>
                <a:ext uri="{FF2B5EF4-FFF2-40B4-BE49-F238E27FC236}">
                  <a16:creationId xmlns:a16="http://schemas.microsoft.com/office/drawing/2014/main" id="{2546B9FE-3119-42CE-87A7-50509F73AD2A}"/>
                </a:ext>
              </a:extLst>
            </p:cNvPr>
            <p:cNvSpPr>
              <a:spLocks noEditPoints="1"/>
            </p:cNvSpPr>
            <p:nvPr/>
          </p:nvSpPr>
          <p:spPr bwMode="auto">
            <a:xfrm>
              <a:off x="475" y="3570"/>
              <a:ext cx="184" cy="184"/>
            </a:xfrm>
            <a:custGeom>
              <a:avLst/>
              <a:gdLst>
                <a:gd name="T0" fmla="*/ 274 w 277"/>
                <a:gd name="T1" fmla="*/ 46 h 277"/>
                <a:gd name="T2" fmla="*/ 232 w 277"/>
                <a:gd name="T3" fmla="*/ 3 h 277"/>
                <a:gd name="T4" fmla="*/ 224 w 277"/>
                <a:gd name="T5" fmla="*/ 0 h 277"/>
                <a:gd name="T6" fmla="*/ 11 w 277"/>
                <a:gd name="T7" fmla="*/ 0 h 277"/>
                <a:gd name="T8" fmla="*/ 0 w 277"/>
                <a:gd name="T9" fmla="*/ 11 h 277"/>
                <a:gd name="T10" fmla="*/ 0 w 277"/>
                <a:gd name="T11" fmla="*/ 267 h 277"/>
                <a:gd name="T12" fmla="*/ 11 w 277"/>
                <a:gd name="T13" fmla="*/ 277 h 277"/>
                <a:gd name="T14" fmla="*/ 267 w 277"/>
                <a:gd name="T15" fmla="*/ 277 h 277"/>
                <a:gd name="T16" fmla="*/ 277 w 277"/>
                <a:gd name="T17" fmla="*/ 267 h 277"/>
                <a:gd name="T18" fmla="*/ 277 w 277"/>
                <a:gd name="T19" fmla="*/ 53 h 277"/>
                <a:gd name="T20" fmla="*/ 274 w 277"/>
                <a:gd name="T21" fmla="*/ 46 h 277"/>
                <a:gd name="T22" fmla="*/ 85 w 277"/>
                <a:gd name="T23" fmla="*/ 21 h 277"/>
                <a:gd name="T24" fmla="*/ 192 w 277"/>
                <a:gd name="T25" fmla="*/ 21 h 277"/>
                <a:gd name="T26" fmla="*/ 192 w 277"/>
                <a:gd name="T27" fmla="*/ 85 h 277"/>
                <a:gd name="T28" fmla="*/ 85 w 277"/>
                <a:gd name="T29" fmla="*/ 85 h 277"/>
                <a:gd name="T30" fmla="*/ 85 w 277"/>
                <a:gd name="T31" fmla="*/ 21 h 277"/>
                <a:gd name="T32" fmla="*/ 213 w 277"/>
                <a:gd name="T33" fmla="*/ 256 h 277"/>
                <a:gd name="T34" fmla="*/ 64 w 277"/>
                <a:gd name="T35" fmla="*/ 256 h 277"/>
                <a:gd name="T36" fmla="*/ 64 w 277"/>
                <a:gd name="T37" fmla="*/ 149 h 277"/>
                <a:gd name="T38" fmla="*/ 213 w 277"/>
                <a:gd name="T39" fmla="*/ 149 h 277"/>
                <a:gd name="T40" fmla="*/ 213 w 277"/>
                <a:gd name="T41" fmla="*/ 256 h 277"/>
                <a:gd name="T42" fmla="*/ 256 w 277"/>
                <a:gd name="T43" fmla="*/ 256 h 277"/>
                <a:gd name="T44" fmla="*/ 235 w 277"/>
                <a:gd name="T45" fmla="*/ 256 h 277"/>
                <a:gd name="T46" fmla="*/ 235 w 277"/>
                <a:gd name="T47" fmla="*/ 139 h 277"/>
                <a:gd name="T48" fmla="*/ 224 w 277"/>
                <a:gd name="T49" fmla="*/ 128 h 277"/>
                <a:gd name="T50" fmla="*/ 53 w 277"/>
                <a:gd name="T51" fmla="*/ 128 h 277"/>
                <a:gd name="T52" fmla="*/ 43 w 277"/>
                <a:gd name="T53" fmla="*/ 139 h 277"/>
                <a:gd name="T54" fmla="*/ 43 w 277"/>
                <a:gd name="T55" fmla="*/ 256 h 277"/>
                <a:gd name="T56" fmla="*/ 21 w 277"/>
                <a:gd name="T57" fmla="*/ 256 h 277"/>
                <a:gd name="T58" fmla="*/ 21 w 277"/>
                <a:gd name="T59" fmla="*/ 21 h 277"/>
                <a:gd name="T60" fmla="*/ 64 w 277"/>
                <a:gd name="T61" fmla="*/ 21 h 277"/>
                <a:gd name="T62" fmla="*/ 64 w 277"/>
                <a:gd name="T63" fmla="*/ 96 h 277"/>
                <a:gd name="T64" fmla="*/ 75 w 277"/>
                <a:gd name="T65" fmla="*/ 107 h 277"/>
                <a:gd name="T66" fmla="*/ 203 w 277"/>
                <a:gd name="T67" fmla="*/ 107 h 277"/>
                <a:gd name="T68" fmla="*/ 213 w 277"/>
                <a:gd name="T69" fmla="*/ 96 h 277"/>
                <a:gd name="T70" fmla="*/ 213 w 277"/>
                <a:gd name="T71" fmla="*/ 21 h 277"/>
                <a:gd name="T72" fmla="*/ 220 w 277"/>
                <a:gd name="T73" fmla="*/ 21 h 277"/>
                <a:gd name="T74" fmla="*/ 256 w 277"/>
                <a:gd name="T75" fmla="*/ 58 h 277"/>
                <a:gd name="T76" fmla="*/ 256 w 277"/>
                <a:gd name="T77" fmla="*/ 256 h 277"/>
                <a:gd name="T78" fmla="*/ 85 w 277"/>
                <a:gd name="T79" fmla="*/ 181 h 277"/>
                <a:gd name="T80" fmla="*/ 96 w 277"/>
                <a:gd name="T81" fmla="*/ 171 h 277"/>
                <a:gd name="T82" fmla="*/ 181 w 277"/>
                <a:gd name="T83" fmla="*/ 171 h 277"/>
                <a:gd name="T84" fmla="*/ 192 w 277"/>
                <a:gd name="T85" fmla="*/ 181 h 277"/>
                <a:gd name="T86" fmla="*/ 181 w 277"/>
                <a:gd name="T87" fmla="*/ 192 h 277"/>
                <a:gd name="T88" fmla="*/ 96 w 277"/>
                <a:gd name="T89" fmla="*/ 192 h 277"/>
                <a:gd name="T90" fmla="*/ 85 w 277"/>
                <a:gd name="T91" fmla="*/ 181 h 277"/>
                <a:gd name="T92" fmla="*/ 85 w 277"/>
                <a:gd name="T93" fmla="*/ 224 h 277"/>
                <a:gd name="T94" fmla="*/ 96 w 277"/>
                <a:gd name="T95" fmla="*/ 213 h 277"/>
                <a:gd name="T96" fmla="*/ 181 w 277"/>
                <a:gd name="T97" fmla="*/ 213 h 277"/>
                <a:gd name="T98" fmla="*/ 192 w 277"/>
                <a:gd name="T99" fmla="*/ 224 h 277"/>
                <a:gd name="T100" fmla="*/ 181 w 277"/>
                <a:gd name="T101" fmla="*/ 235 h 277"/>
                <a:gd name="T102" fmla="*/ 96 w 277"/>
                <a:gd name="T103" fmla="*/ 235 h 277"/>
                <a:gd name="T104" fmla="*/ 85 w 277"/>
                <a:gd name="T105" fmla="*/ 22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77">
                  <a:moveTo>
                    <a:pt x="274" y="46"/>
                  </a:moveTo>
                  <a:cubicBezTo>
                    <a:pt x="232" y="3"/>
                    <a:pt x="232" y="3"/>
                    <a:pt x="232" y="3"/>
                  </a:cubicBezTo>
                  <a:cubicBezTo>
                    <a:pt x="230" y="1"/>
                    <a:pt x="227" y="0"/>
                    <a:pt x="224" y="0"/>
                  </a:cubicBez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53"/>
                    <a:pt x="277" y="53"/>
                    <a:pt x="277" y="53"/>
                  </a:cubicBezTo>
                  <a:cubicBezTo>
                    <a:pt x="277" y="50"/>
                    <a:pt x="276" y="48"/>
                    <a:pt x="274" y="46"/>
                  </a:cubicBezTo>
                  <a:close/>
                  <a:moveTo>
                    <a:pt x="85" y="21"/>
                  </a:moveTo>
                  <a:cubicBezTo>
                    <a:pt x="192" y="21"/>
                    <a:pt x="192" y="21"/>
                    <a:pt x="192" y="21"/>
                  </a:cubicBezTo>
                  <a:cubicBezTo>
                    <a:pt x="192" y="85"/>
                    <a:pt x="192" y="85"/>
                    <a:pt x="192" y="85"/>
                  </a:cubicBezTo>
                  <a:cubicBezTo>
                    <a:pt x="85" y="85"/>
                    <a:pt x="85" y="85"/>
                    <a:pt x="85" y="85"/>
                  </a:cubicBezTo>
                  <a:lnTo>
                    <a:pt x="85" y="21"/>
                  </a:lnTo>
                  <a:close/>
                  <a:moveTo>
                    <a:pt x="213" y="256"/>
                  </a:moveTo>
                  <a:cubicBezTo>
                    <a:pt x="64" y="256"/>
                    <a:pt x="64" y="256"/>
                    <a:pt x="64" y="256"/>
                  </a:cubicBezTo>
                  <a:cubicBezTo>
                    <a:pt x="64" y="149"/>
                    <a:pt x="64" y="149"/>
                    <a:pt x="64" y="149"/>
                  </a:cubicBezTo>
                  <a:cubicBezTo>
                    <a:pt x="213" y="149"/>
                    <a:pt x="213" y="149"/>
                    <a:pt x="213" y="149"/>
                  </a:cubicBezTo>
                  <a:lnTo>
                    <a:pt x="213" y="256"/>
                  </a:lnTo>
                  <a:close/>
                  <a:moveTo>
                    <a:pt x="256" y="256"/>
                  </a:moveTo>
                  <a:cubicBezTo>
                    <a:pt x="235" y="256"/>
                    <a:pt x="235" y="256"/>
                    <a:pt x="235" y="256"/>
                  </a:cubicBezTo>
                  <a:cubicBezTo>
                    <a:pt x="235" y="139"/>
                    <a:pt x="235" y="139"/>
                    <a:pt x="235" y="139"/>
                  </a:cubicBezTo>
                  <a:cubicBezTo>
                    <a:pt x="235" y="133"/>
                    <a:pt x="230" y="128"/>
                    <a:pt x="224" y="128"/>
                  </a:cubicBezTo>
                  <a:cubicBezTo>
                    <a:pt x="53" y="128"/>
                    <a:pt x="53" y="128"/>
                    <a:pt x="53" y="128"/>
                  </a:cubicBezTo>
                  <a:cubicBezTo>
                    <a:pt x="47" y="128"/>
                    <a:pt x="43" y="133"/>
                    <a:pt x="43" y="139"/>
                  </a:cubicBezTo>
                  <a:cubicBezTo>
                    <a:pt x="43" y="256"/>
                    <a:pt x="43" y="256"/>
                    <a:pt x="43" y="256"/>
                  </a:cubicBezTo>
                  <a:cubicBezTo>
                    <a:pt x="21" y="256"/>
                    <a:pt x="21" y="256"/>
                    <a:pt x="21" y="256"/>
                  </a:cubicBezTo>
                  <a:cubicBezTo>
                    <a:pt x="21" y="21"/>
                    <a:pt x="21" y="21"/>
                    <a:pt x="21" y="21"/>
                  </a:cubicBezTo>
                  <a:cubicBezTo>
                    <a:pt x="64" y="21"/>
                    <a:pt x="64" y="21"/>
                    <a:pt x="64" y="21"/>
                  </a:cubicBezTo>
                  <a:cubicBezTo>
                    <a:pt x="64" y="96"/>
                    <a:pt x="64" y="96"/>
                    <a:pt x="64" y="96"/>
                  </a:cubicBezTo>
                  <a:cubicBezTo>
                    <a:pt x="64" y="102"/>
                    <a:pt x="69" y="107"/>
                    <a:pt x="75" y="107"/>
                  </a:cubicBezTo>
                  <a:cubicBezTo>
                    <a:pt x="203" y="107"/>
                    <a:pt x="203" y="107"/>
                    <a:pt x="203" y="107"/>
                  </a:cubicBezTo>
                  <a:cubicBezTo>
                    <a:pt x="209" y="107"/>
                    <a:pt x="213" y="102"/>
                    <a:pt x="213" y="96"/>
                  </a:cubicBezTo>
                  <a:cubicBezTo>
                    <a:pt x="213" y="21"/>
                    <a:pt x="213" y="21"/>
                    <a:pt x="213" y="21"/>
                  </a:cubicBezTo>
                  <a:cubicBezTo>
                    <a:pt x="220" y="21"/>
                    <a:pt x="220" y="21"/>
                    <a:pt x="220" y="21"/>
                  </a:cubicBezTo>
                  <a:cubicBezTo>
                    <a:pt x="256" y="58"/>
                    <a:pt x="256" y="58"/>
                    <a:pt x="256" y="58"/>
                  </a:cubicBezTo>
                  <a:lnTo>
                    <a:pt x="256" y="256"/>
                  </a:lnTo>
                  <a:close/>
                  <a:moveTo>
                    <a:pt x="85" y="181"/>
                  </a:moveTo>
                  <a:cubicBezTo>
                    <a:pt x="85" y="175"/>
                    <a:pt x="90" y="171"/>
                    <a:pt x="96" y="171"/>
                  </a:cubicBezTo>
                  <a:cubicBezTo>
                    <a:pt x="181" y="171"/>
                    <a:pt x="181" y="171"/>
                    <a:pt x="181" y="171"/>
                  </a:cubicBezTo>
                  <a:cubicBezTo>
                    <a:pt x="187" y="171"/>
                    <a:pt x="192" y="175"/>
                    <a:pt x="192" y="181"/>
                  </a:cubicBezTo>
                  <a:cubicBezTo>
                    <a:pt x="192" y="187"/>
                    <a:pt x="187" y="192"/>
                    <a:pt x="181" y="192"/>
                  </a:cubicBezTo>
                  <a:cubicBezTo>
                    <a:pt x="96" y="192"/>
                    <a:pt x="96" y="192"/>
                    <a:pt x="96" y="192"/>
                  </a:cubicBezTo>
                  <a:cubicBezTo>
                    <a:pt x="90" y="192"/>
                    <a:pt x="85" y="187"/>
                    <a:pt x="85" y="181"/>
                  </a:cubicBezTo>
                  <a:close/>
                  <a:moveTo>
                    <a:pt x="85" y="224"/>
                  </a:moveTo>
                  <a:cubicBezTo>
                    <a:pt x="85" y="218"/>
                    <a:pt x="90" y="213"/>
                    <a:pt x="96" y="213"/>
                  </a:cubicBezTo>
                  <a:cubicBezTo>
                    <a:pt x="181" y="213"/>
                    <a:pt x="181" y="213"/>
                    <a:pt x="181" y="213"/>
                  </a:cubicBezTo>
                  <a:cubicBezTo>
                    <a:pt x="187" y="213"/>
                    <a:pt x="192" y="218"/>
                    <a:pt x="192" y="224"/>
                  </a:cubicBezTo>
                  <a:cubicBezTo>
                    <a:pt x="192" y="230"/>
                    <a:pt x="187" y="235"/>
                    <a:pt x="181" y="235"/>
                  </a:cubicBezTo>
                  <a:cubicBezTo>
                    <a:pt x="96" y="235"/>
                    <a:pt x="96" y="235"/>
                    <a:pt x="96" y="235"/>
                  </a:cubicBezTo>
                  <a:cubicBezTo>
                    <a:pt x="90" y="235"/>
                    <a:pt x="85" y="230"/>
                    <a:pt x="85"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91" name="Freeform 13">
            <a:extLst>
              <a:ext uri="{FF2B5EF4-FFF2-40B4-BE49-F238E27FC236}">
                <a16:creationId xmlns:a16="http://schemas.microsoft.com/office/drawing/2014/main" id="{FE2468AD-8EE4-4E2A-B3B1-1C00290704B2}"/>
              </a:ext>
            </a:extLst>
          </p:cNvPr>
          <p:cNvSpPr>
            <a:spLocks noChangeAspect="1" noEditPoints="1"/>
          </p:cNvSpPr>
          <p:nvPr/>
        </p:nvSpPr>
        <p:spPr bwMode="auto">
          <a:xfrm>
            <a:off x="10929750" y="3292640"/>
            <a:ext cx="369887" cy="369888"/>
          </a:xfrm>
          <a:custGeom>
            <a:avLst/>
            <a:gdLst>
              <a:gd name="T0" fmla="*/ 181 w 512"/>
              <a:gd name="T1" fmla="*/ 373 h 512"/>
              <a:gd name="T2" fmla="*/ 330 w 512"/>
              <a:gd name="T3" fmla="*/ 373 h 512"/>
              <a:gd name="T4" fmla="*/ 330 w 512"/>
              <a:gd name="T5" fmla="*/ 266 h 512"/>
              <a:gd name="T6" fmla="*/ 181 w 512"/>
              <a:gd name="T7" fmla="*/ 266 h 512"/>
              <a:gd name="T8" fmla="*/ 181 w 512"/>
              <a:gd name="T9" fmla="*/ 373 h 512"/>
              <a:gd name="T10" fmla="*/ 213 w 512"/>
              <a:gd name="T11" fmla="*/ 288 h 512"/>
              <a:gd name="T12" fmla="*/ 298 w 512"/>
              <a:gd name="T13" fmla="*/ 288 h 512"/>
              <a:gd name="T14" fmla="*/ 309 w 512"/>
              <a:gd name="T15" fmla="*/ 298 h 512"/>
              <a:gd name="T16" fmla="*/ 298 w 512"/>
              <a:gd name="T17" fmla="*/ 309 h 512"/>
              <a:gd name="T18" fmla="*/ 213 w 512"/>
              <a:gd name="T19" fmla="*/ 309 h 512"/>
              <a:gd name="T20" fmla="*/ 202 w 512"/>
              <a:gd name="T21" fmla="*/ 298 h 512"/>
              <a:gd name="T22" fmla="*/ 213 w 512"/>
              <a:gd name="T23" fmla="*/ 288 h 512"/>
              <a:gd name="T24" fmla="*/ 213 w 512"/>
              <a:gd name="T25" fmla="*/ 330 h 512"/>
              <a:gd name="T26" fmla="*/ 298 w 512"/>
              <a:gd name="T27" fmla="*/ 330 h 512"/>
              <a:gd name="T28" fmla="*/ 309 w 512"/>
              <a:gd name="T29" fmla="*/ 341 h 512"/>
              <a:gd name="T30" fmla="*/ 298 w 512"/>
              <a:gd name="T31" fmla="*/ 352 h 512"/>
              <a:gd name="T32" fmla="*/ 213 w 512"/>
              <a:gd name="T33" fmla="*/ 352 h 512"/>
              <a:gd name="T34" fmla="*/ 202 w 512"/>
              <a:gd name="T35" fmla="*/ 341 h 512"/>
              <a:gd name="T36" fmla="*/ 213 w 512"/>
              <a:gd name="T37" fmla="*/ 330 h 512"/>
              <a:gd name="T38" fmla="*/ 337 w 512"/>
              <a:gd name="T39" fmla="*/ 138 h 512"/>
              <a:gd name="T40" fmla="*/ 373 w 512"/>
              <a:gd name="T41" fmla="*/ 175 h 512"/>
              <a:gd name="T42" fmla="*/ 373 w 512"/>
              <a:gd name="T43" fmla="*/ 373 h 512"/>
              <a:gd name="T44" fmla="*/ 352 w 512"/>
              <a:gd name="T45" fmla="*/ 373 h 512"/>
              <a:gd name="T46" fmla="*/ 352 w 512"/>
              <a:gd name="T47" fmla="*/ 256 h 512"/>
              <a:gd name="T48" fmla="*/ 341 w 512"/>
              <a:gd name="T49" fmla="*/ 245 h 512"/>
              <a:gd name="T50" fmla="*/ 170 w 512"/>
              <a:gd name="T51" fmla="*/ 245 h 512"/>
              <a:gd name="T52" fmla="*/ 160 w 512"/>
              <a:gd name="T53" fmla="*/ 256 h 512"/>
              <a:gd name="T54" fmla="*/ 160 w 512"/>
              <a:gd name="T55" fmla="*/ 373 h 512"/>
              <a:gd name="T56" fmla="*/ 138 w 512"/>
              <a:gd name="T57" fmla="*/ 373 h 512"/>
              <a:gd name="T58" fmla="*/ 138 w 512"/>
              <a:gd name="T59" fmla="*/ 138 h 512"/>
              <a:gd name="T60" fmla="*/ 181 w 512"/>
              <a:gd name="T61" fmla="*/ 138 h 512"/>
              <a:gd name="T62" fmla="*/ 181 w 512"/>
              <a:gd name="T63" fmla="*/ 213 h 512"/>
              <a:gd name="T64" fmla="*/ 192 w 512"/>
              <a:gd name="T65" fmla="*/ 224 h 512"/>
              <a:gd name="T66" fmla="*/ 320 w 512"/>
              <a:gd name="T67" fmla="*/ 224 h 512"/>
              <a:gd name="T68" fmla="*/ 330 w 512"/>
              <a:gd name="T69" fmla="*/ 213 h 512"/>
              <a:gd name="T70" fmla="*/ 330 w 512"/>
              <a:gd name="T71" fmla="*/ 138 h 512"/>
              <a:gd name="T72" fmla="*/ 337 w 512"/>
              <a:gd name="T73" fmla="*/ 138 h 512"/>
              <a:gd name="T74" fmla="*/ 256 w 512"/>
              <a:gd name="T75" fmla="*/ 0 h 512"/>
              <a:gd name="T76" fmla="*/ 0 w 512"/>
              <a:gd name="T77" fmla="*/ 256 h 512"/>
              <a:gd name="T78" fmla="*/ 256 w 512"/>
              <a:gd name="T79" fmla="*/ 512 h 512"/>
              <a:gd name="T80" fmla="*/ 512 w 512"/>
              <a:gd name="T81" fmla="*/ 256 h 512"/>
              <a:gd name="T82" fmla="*/ 256 w 512"/>
              <a:gd name="T83" fmla="*/ 0 h 512"/>
              <a:gd name="T84" fmla="*/ 394 w 512"/>
              <a:gd name="T85" fmla="*/ 384 h 512"/>
              <a:gd name="T86" fmla="*/ 384 w 512"/>
              <a:gd name="T87" fmla="*/ 394 h 512"/>
              <a:gd name="T88" fmla="*/ 128 w 512"/>
              <a:gd name="T89" fmla="*/ 394 h 512"/>
              <a:gd name="T90" fmla="*/ 117 w 512"/>
              <a:gd name="T91" fmla="*/ 384 h 512"/>
              <a:gd name="T92" fmla="*/ 117 w 512"/>
              <a:gd name="T93" fmla="*/ 128 h 512"/>
              <a:gd name="T94" fmla="*/ 128 w 512"/>
              <a:gd name="T95" fmla="*/ 117 h 512"/>
              <a:gd name="T96" fmla="*/ 341 w 512"/>
              <a:gd name="T97" fmla="*/ 117 h 512"/>
              <a:gd name="T98" fmla="*/ 349 w 512"/>
              <a:gd name="T99" fmla="*/ 120 h 512"/>
              <a:gd name="T100" fmla="*/ 391 w 512"/>
              <a:gd name="T101" fmla="*/ 163 h 512"/>
              <a:gd name="T102" fmla="*/ 394 w 512"/>
              <a:gd name="T103" fmla="*/ 170 h 512"/>
              <a:gd name="T104" fmla="*/ 394 w 512"/>
              <a:gd name="T105" fmla="*/ 384 h 512"/>
              <a:gd name="T106" fmla="*/ 309 w 512"/>
              <a:gd name="T107" fmla="*/ 202 h 512"/>
              <a:gd name="T108" fmla="*/ 202 w 512"/>
              <a:gd name="T109" fmla="*/ 202 h 512"/>
              <a:gd name="T110" fmla="*/ 202 w 512"/>
              <a:gd name="T111" fmla="*/ 138 h 512"/>
              <a:gd name="T112" fmla="*/ 309 w 512"/>
              <a:gd name="T113" fmla="*/ 138 h 512"/>
              <a:gd name="T114" fmla="*/ 309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73"/>
                </a:moveTo>
                <a:cubicBezTo>
                  <a:pt x="330" y="373"/>
                  <a:pt x="330" y="373"/>
                  <a:pt x="330" y="373"/>
                </a:cubicBezTo>
                <a:cubicBezTo>
                  <a:pt x="330" y="266"/>
                  <a:pt x="330" y="266"/>
                  <a:pt x="330" y="266"/>
                </a:cubicBezTo>
                <a:cubicBezTo>
                  <a:pt x="181" y="266"/>
                  <a:pt x="181" y="266"/>
                  <a:pt x="181" y="266"/>
                </a:cubicBezTo>
                <a:lnTo>
                  <a:pt x="181" y="373"/>
                </a:lnTo>
                <a:close/>
                <a:moveTo>
                  <a:pt x="213" y="288"/>
                </a:moveTo>
                <a:cubicBezTo>
                  <a:pt x="298" y="288"/>
                  <a:pt x="298" y="288"/>
                  <a:pt x="298" y="288"/>
                </a:cubicBezTo>
                <a:cubicBezTo>
                  <a:pt x="304" y="288"/>
                  <a:pt x="309" y="292"/>
                  <a:pt x="309" y="298"/>
                </a:cubicBezTo>
                <a:cubicBezTo>
                  <a:pt x="309" y="304"/>
                  <a:pt x="304" y="309"/>
                  <a:pt x="298" y="309"/>
                </a:cubicBezTo>
                <a:cubicBezTo>
                  <a:pt x="213" y="309"/>
                  <a:pt x="213" y="309"/>
                  <a:pt x="213" y="309"/>
                </a:cubicBezTo>
                <a:cubicBezTo>
                  <a:pt x="207" y="309"/>
                  <a:pt x="202" y="304"/>
                  <a:pt x="202" y="298"/>
                </a:cubicBezTo>
                <a:cubicBezTo>
                  <a:pt x="202" y="292"/>
                  <a:pt x="207" y="288"/>
                  <a:pt x="213" y="288"/>
                </a:cubicBezTo>
                <a:close/>
                <a:moveTo>
                  <a:pt x="213" y="330"/>
                </a:moveTo>
                <a:cubicBezTo>
                  <a:pt x="298" y="330"/>
                  <a:pt x="298" y="330"/>
                  <a:pt x="298" y="330"/>
                </a:cubicBezTo>
                <a:cubicBezTo>
                  <a:pt x="304" y="330"/>
                  <a:pt x="309" y="335"/>
                  <a:pt x="309" y="341"/>
                </a:cubicBezTo>
                <a:cubicBezTo>
                  <a:pt x="309" y="347"/>
                  <a:pt x="304" y="352"/>
                  <a:pt x="298" y="352"/>
                </a:cubicBezTo>
                <a:cubicBezTo>
                  <a:pt x="213" y="352"/>
                  <a:pt x="213" y="352"/>
                  <a:pt x="213" y="352"/>
                </a:cubicBezTo>
                <a:cubicBezTo>
                  <a:pt x="207" y="352"/>
                  <a:pt x="202" y="347"/>
                  <a:pt x="202" y="341"/>
                </a:cubicBezTo>
                <a:cubicBezTo>
                  <a:pt x="202" y="335"/>
                  <a:pt x="207" y="330"/>
                  <a:pt x="213" y="330"/>
                </a:cubicBezTo>
                <a:close/>
                <a:moveTo>
                  <a:pt x="337" y="138"/>
                </a:moveTo>
                <a:cubicBezTo>
                  <a:pt x="373" y="175"/>
                  <a:pt x="373" y="175"/>
                  <a:pt x="373" y="175"/>
                </a:cubicBezTo>
                <a:cubicBezTo>
                  <a:pt x="373" y="373"/>
                  <a:pt x="373" y="373"/>
                  <a:pt x="373" y="373"/>
                </a:cubicBezTo>
                <a:cubicBezTo>
                  <a:pt x="352" y="373"/>
                  <a:pt x="352" y="373"/>
                  <a:pt x="352" y="373"/>
                </a:cubicBezTo>
                <a:cubicBezTo>
                  <a:pt x="352" y="256"/>
                  <a:pt x="352" y="256"/>
                  <a:pt x="352" y="256"/>
                </a:cubicBezTo>
                <a:cubicBezTo>
                  <a:pt x="352" y="250"/>
                  <a:pt x="347" y="245"/>
                  <a:pt x="341" y="245"/>
                </a:cubicBezTo>
                <a:cubicBezTo>
                  <a:pt x="170" y="245"/>
                  <a:pt x="170" y="245"/>
                  <a:pt x="170" y="245"/>
                </a:cubicBezTo>
                <a:cubicBezTo>
                  <a:pt x="164" y="245"/>
                  <a:pt x="160" y="250"/>
                  <a:pt x="160" y="256"/>
                </a:cubicBezTo>
                <a:cubicBezTo>
                  <a:pt x="160" y="373"/>
                  <a:pt x="160" y="373"/>
                  <a:pt x="160" y="373"/>
                </a:cubicBezTo>
                <a:cubicBezTo>
                  <a:pt x="138" y="373"/>
                  <a:pt x="138" y="373"/>
                  <a:pt x="138" y="373"/>
                </a:cubicBezTo>
                <a:cubicBezTo>
                  <a:pt x="138" y="138"/>
                  <a:pt x="138" y="138"/>
                  <a:pt x="138" y="138"/>
                </a:cubicBezTo>
                <a:cubicBezTo>
                  <a:pt x="181" y="138"/>
                  <a:pt x="181" y="138"/>
                  <a:pt x="181" y="138"/>
                </a:cubicBezTo>
                <a:cubicBezTo>
                  <a:pt x="181" y="213"/>
                  <a:pt x="181" y="213"/>
                  <a:pt x="181" y="213"/>
                </a:cubicBezTo>
                <a:cubicBezTo>
                  <a:pt x="181" y="219"/>
                  <a:pt x="186" y="224"/>
                  <a:pt x="192" y="224"/>
                </a:cubicBezTo>
                <a:cubicBezTo>
                  <a:pt x="320" y="224"/>
                  <a:pt x="320" y="224"/>
                  <a:pt x="320" y="224"/>
                </a:cubicBezTo>
                <a:cubicBezTo>
                  <a:pt x="326" y="224"/>
                  <a:pt x="330" y="219"/>
                  <a:pt x="330" y="213"/>
                </a:cubicBezTo>
                <a:cubicBezTo>
                  <a:pt x="330" y="138"/>
                  <a:pt x="330" y="138"/>
                  <a:pt x="330" y="138"/>
                </a:cubicBezTo>
                <a:lnTo>
                  <a:pt x="337"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341" y="117"/>
                  <a:pt x="341" y="117"/>
                  <a:pt x="341" y="117"/>
                </a:cubicBezTo>
                <a:cubicBezTo>
                  <a:pt x="344" y="117"/>
                  <a:pt x="347" y="118"/>
                  <a:pt x="349" y="120"/>
                </a:cubicBezTo>
                <a:cubicBezTo>
                  <a:pt x="391" y="163"/>
                  <a:pt x="391" y="163"/>
                  <a:pt x="391" y="163"/>
                </a:cubicBezTo>
                <a:cubicBezTo>
                  <a:pt x="393" y="165"/>
                  <a:pt x="394" y="167"/>
                  <a:pt x="394" y="170"/>
                </a:cubicBezTo>
                <a:lnTo>
                  <a:pt x="394" y="384"/>
                </a:lnTo>
                <a:close/>
                <a:moveTo>
                  <a:pt x="309" y="202"/>
                </a:moveTo>
                <a:cubicBezTo>
                  <a:pt x="202" y="202"/>
                  <a:pt x="202" y="202"/>
                  <a:pt x="202" y="202"/>
                </a:cubicBezTo>
                <a:cubicBezTo>
                  <a:pt x="202" y="138"/>
                  <a:pt x="202" y="138"/>
                  <a:pt x="202" y="138"/>
                </a:cubicBezTo>
                <a:cubicBezTo>
                  <a:pt x="309" y="138"/>
                  <a:pt x="309" y="138"/>
                  <a:pt x="309" y="138"/>
                </a:cubicBezTo>
                <a:lnTo>
                  <a:pt x="309" y="20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92" name="TextBox 791">
            <a:extLst>
              <a:ext uri="{FF2B5EF4-FFF2-40B4-BE49-F238E27FC236}">
                <a16:creationId xmlns:a16="http://schemas.microsoft.com/office/drawing/2014/main" id="{245D7A55-D167-43FD-934D-1D1D103E7273}"/>
              </a:ext>
            </a:extLst>
          </p:cNvPr>
          <p:cNvSpPr txBox="1"/>
          <p:nvPr/>
        </p:nvSpPr>
        <p:spPr>
          <a:xfrm>
            <a:off x="6563544"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nk</a:t>
            </a:r>
          </a:p>
        </p:txBody>
      </p:sp>
      <p:sp>
        <p:nvSpPr>
          <p:cNvPr id="793" name="Freeform 594">
            <a:extLst>
              <a:ext uri="{FF2B5EF4-FFF2-40B4-BE49-F238E27FC236}">
                <a16:creationId xmlns:a16="http://schemas.microsoft.com/office/drawing/2014/main" id="{2FDE29E6-2030-478C-970B-E409AD835008}"/>
              </a:ext>
            </a:extLst>
          </p:cNvPr>
          <p:cNvSpPr>
            <a:spLocks noChangeAspect="1" noEditPoints="1"/>
          </p:cNvSpPr>
          <p:nvPr/>
        </p:nvSpPr>
        <p:spPr bwMode="auto">
          <a:xfrm>
            <a:off x="6569501" y="3292640"/>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31 h 512"/>
              <a:gd name="T12" fmla="*/ 210 w 512"/>
              <a:gd name="T13" fmla="*/ 376 h 512"/>
              <a:gd name="T14" fmla="*/ 174 w 512"/>
              <a:gd name="T15" fmla="*/ 392 h 512"/>
              <a:gd name="T16" fmla="*/ 172 w 512"/>
              <a:gd name="T17" fmla="*/ 392 h 512"/>
              <a:gd name="T18" fmla="*/ 135 w 512"/>
              <a:gd name="T19" fmla="*/ 376 h 512"/>
              <a:gd name="T20" fmla="*/ 119 w 512"/>
              <a:gd name="T21" fmla="*/ 338 h 512"/>
              <a:gd name="T22" fmla="*/ 135 w 512"/>
              <a:gd name="T23" fmla="*/ 301 h 512"/>
              <a:gd name="T24" fmla="*/ 203 w 512"/>
              <a:gd name="T25" fmla="*/ 233 h 512"/>
              <a:gd name="T26" fmla="*/ 239 w 512"/>
              <a:gd name="T27" fmla="*/ 217 h 512"/>
              <a:gd name="T28" fmla="*/ 278 w 512"/>
              <a:gd name="T29" fmla="*/ 233 h 512"/>
              <a:gd name="T30" fmla="*/ 278 w 512"/>
              <a:gd name="T31" fmla="*/ 248 h 512"/>
              <a:gd name="T32" fmla="*/ 263 w 512"/>
              <a:gd name="T33" fmla="*/ 248 h 512"/>
              <a:gd name="T34" fmla="*/ 240 w 512"/>
              <a:gd name="T35" fmla="*/ 238 h 512"/>
              <a:gd name="T36" fmla="*/ 218 w 512"/>
              <a:gd name="T37" fmla="*/ 248 h 512"/>
              <a:gd name="T38" fmla="*/ 150 w 512"/>
              <a:gd name="T39" fmla="*/ 316 h 512"/>
              <a:gd name="T40" fmla="*/ 140 w 512"/>
              <a:gd name="T41" fmla="*/ 338 h 512"/>
              <a:gd name="T42" fmla="*/ 150 w 512"/>
              <a:gd name="T43" fmla="*/ 361 h 512"/>
              <a:gd name="T44" fmla="*/ 173 w 512"/>
              <a:gd name="T45" fmla="*/ 371 h 512"/>
              <a:gd name="T46" fmla="*/ 195 w 512"/>
              <a:gd name="T47" fmla="*/ 361 h 512"/>
              <a:gd name="T48" fmla="*/ 241 w 512"/>
              <a:gd name="T49" fmla="*/ 316 h 512"/>
              <a:gd name="T50" fmla="*/ 256 w 512"/>
              <a:gd name="T51" fmla="*/ 316 h 512"/>
              <a:gd name="T52" fmla="*/ 256 w 512"/>
              <a:gd name="T53" fmla="*/ 331 h 512"/>
              <a:gd name="T54" fmla="*/ 376 w 512"/>
              <a:gd name="T55" fmla="*/ 210 h 512"/>
              <a:gd name="T56" fmla="*/ 308 w 512"/>
              <a:gd name="T57" fmla="*/ 278 h 512"/>
              <a:gd name="T58" fmla="*/ 272 w 512"/>
              <a:gd name="T59" fmla="*/ 294 h 512"/>
              <a:gd name="T60" fmla="*/ 271 w 512"/>
              <a:gd name="T61" fmla="*/ 294 h 512"/>
              <a:gd name="T62" fmla="*/ 233 w 512"/>
              <a:gd name="T63" fmla="*/ 278 h 512"/>
              <a:gd name="T64" fmla="*/ 233 w 512"/>
              <a:gd name="T65" fmla="*/ 263 h 512"/>
              <a:gd name="T66" fmla="*/ 248 w 512"/>
              <a:gd name="T67" fmla="*/ 263 h 512"/>
              <a:gd name="T68" fmla="*/ 271 w 512"/>
              <a:gd name="T69" fmla="*/ 273 h 512"/>
              <a:gd name="T70" fmla="*/ 293 w 512"/>
              <a:gd name="T71" fmla="*/ 263 h 512"/>
              <a:gd name="T72" fmla="*/ 361 w 512"/>
              <a:gd name="T73" fmla="*/ 195 h 512"/>
              <a:gd name="T74" fmla="*/ 371 w 512"/>
              <a:gd name="T75" fmla="*/ 173 h 512"/>
              <a:gd name="T76" fmla="*/ 361 w 512"/>
              <a:gd name="T77" fmla="*/ 150 h 512"/>
              <a:gd name="T78" fmla="*/ 338 w 512"/>
              <a:gd name="T79" fmla="*/ 140 h 512"/>
              <a:gd name="T80" fmla="*/ 316 w 512"/>
              <a:gd name="T81" fmla="*/ 150 h 512"/>
              <a:gd name="T82" fmla="*/ 271 w 512"/>
              <a:gd name="T83" fmla="*/ 195 h 512"/>
              <a:gd name="T84" fmla="*/ 256 w 512"/>
              <a:gd name="T85" fmla="*/ 195 h 512"/>
              <a:gd name="T86" fmla="*/ 256 w 512"/>
              <a:gd name="T87" fmla="*/ 180 h 512"/>
              <a:gd name="T88" fmla="*/ 301 w 512"/>
              <a:gd name="T89" fmla="*/ 135 h 512"/>
              <a:gd name="T90" fmla="*/ 338 w 512"/>
              <a:gd name="T91" fmla="*/ 119 h 512"/>
              <a:gd name="T92" fmla="*/ 376 w 512"/>
              <a:gd name="T93" fmla="*/ 135 h 512"/>
              <a:gd name="T94" fmla="*/ 392 w 512"/>
              <a:gd name="T95" fmla="*/ 174 h 512"/>
              <a:gd name="T96" fmla="*/ 376 w 512"/>
              <a:gd name="T97"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31"/>
                </a:moveTo>
                <a:cubicBezTo>
                  <a:pt x="210" y="376"/>
                  <a:pt x="210" y="376"/>
                  <a:pt x="210" y="376"/>
                </a:cubicBezTo>
                <a:cubicBezTo>
                  <a:pt x="200" y="386"/>
                  <a:pt x="187" y="392"/>
                  <a:pt x="174" y="392"/>
                </a:cubicBezTo>
                <a:cubicBezTo>
                  <a:pt x="173" y="392"/>
                  <a:pt x="173" y="392"/>
                  <a:pt x="172" y="392"/>
                </a:cubicBezTo>
                <a:cubicBezTo>
                  <a:pt x="159" y="392"/>
                  <a:pt x="145" y="387"/>
                  <a:pt x="135" y="376"/>
                </a:cubicBezTo>
                <a:cubicBezTo>
                  <a:pt x="124" y="366"/>
                  <a:pt x="119" y="352"/>
                  <a:pt x="119" y="338"/>
                </a:cubicBezTo>
                <a:cubicBezTo>
                  <a:pt x="119" y="324"/>
                  <a:pt x="125" y="311"/>
                  <a:pt x="135" y="301"/>
                </a:cubicBezTo>
                <a:cubicBezTo>
                  <a:pt x="203" y="233"/>
                  <a:pt x="203" y="233"/>
                  <a:pt x="203" y="233"/>
                </a:cubicBezTo>
                <a:cubicBezTo>
                  <a:pt x="213" y="223"/>
                  <a:pt x="226" y="217"/>
                  <a:pt x="239" y="217"/>
                </a:cubicBezTo>
                <a:cubicBezTo>
                  <a:pt x="254" y="217"/>
                  <a:pt x="268" y="222"/>
                  <a:pt x="278" y="233"/>
                </a:cubicBezTo>
                <a:cubicBezTo>
                  <a:pt x="282" y="237"/>
                  <a:pt x="282" y="244"/>
                  <a:pt x="278" y="248"/>
                </a:cubicBezTo>
                <a:cubicBezTo>
                  <a:pt x="274" y="252"/>
                  <a:pt x="267" y="252"/>
                  <a:pt x="263" y="248"/>
                </a:cubicBezTo>
                <a:cubicBezTo>
                  <a:pt x="257" y="242"/>
                  <a:pt x="249" y="238"/>
                  <a:pt x="240" y="238"/>
                </a:cubicBezTo>
                <a:cubicBezTo>
                  <a:pt x="232" y="239"/>
                  <a:pt x="224" y="242"/>
                  <a:pt x="218" y="248"/>
                </a:cubicBezTo>
                <a:cubicBezTo>
                  <a:pt x="150" y="316"/>
                  <a:pt x="150" y="316"/>
                  <a:pt x="150" y="316"/>
                </a:cubicBezTo>
                <a:cubicBezTo>
                  <a:pt x="144" y="322"/>
                  <a:pt x="141" y="330"/>
                  <a:pt x="140" y="338"/>
                </a:cubicBezTo>
                <a:cubicBezTo>
                  <a:pt x="140" y="347"/>
                  <a:pt x="143" y="355"/>
                  <a:pt x="150" y="361"/>
                </a:cubicBezTo>
                <a:cubicBezTo>
                  <a:pt x="157" y="368"/>
                  <a:pt x="165" y="371"/>
                  <a:pt x="173" y="371"/>
                </a:cubicBezTo>
                <a:cubicBezTo>
                  <a:pt x="181" y="371"/>
                  <a:pt x="189" y="367"/>
                  <a:pt x="195" y="361"/>
                </a:cubicBezTo>
                <a:cubicBezTo>
                  <a:pt x="241" y="316"/>
                  <a:pt x="241" y="316"/>
                  <a:pt x="241" y="316"/>
                </a:cubicBezTo>
                <a:cubicBezTo>
                  <a:pt x="245" y="312"/>
                  <a:pt x="252" y="312"/>
                  <a:pt x="256" y="316"/>
                </a:cubicBezTo>
                <a:cubicBezTo>
                  <a:pt x="260" y="320"/>
                  <a:pt x="260" y="327"/>
                  <a:pt x="256" y="331"/>
                </a:cubicBezTo>
                <a:close/>
                <a:moveTo>
                  <a:pt x="376" y="210"/>
                </a:moveTo>
                <a:cubicBezTo>
                  <a:pt x="308" y="278"/>
                  <a:pt x="308" y="278"/>
                  <a:pt x="308" y="278"/>
                </a:cubicBezTo>
                <a:cubicBezTo>
                  <a:pt x="299" y="288"/>
                  <a:pt x="286" y="294"/>
                  <a:pt x="272" y="294"/>
                </a:cubicBezTo>
                <a:cubicBezTo>
                  <a:pt x="271" y="294"/>
                  <a:pt x="271" y="294"/>
                  <a:pt x="271" y="294"/>
                </a:cubicBezTo>
                <a:cubicBezTo>
                  <a:pt x="257" y="294"/>
                  <a:pt x="243" y="289"/>
                  <a:pt x="233" y="278"/>
                </a:cubicBezTo>
                <a:cubicBezTo>
                  <a:pt x="229" y="274"/>
                  <a:pt x="229" y="267"/>
                  <a:pt x="233" y="263"/>
                </a:cubicBezTo>
                <a:cubicBezTo>
                  <a:pt x="237" y="259"/>
                  <a:pt x="244" y="259"/>
                  <a:pt x="248" y="263"/>
                </a:cubicBezTo>
                <a:cubicBezTo>
                  <a:pt x="255" y="270"/>
                  <a:pt x="263" y="273"/>
                  <a:pt x="271" y="273"/>
                </a:cubicBezTo>
                <a:cubicBezTo>
                  <a:pt x="279" y="273"/>
                  <a:pt x="287" y="269"/>
                  <a:pt x="293" y="263"/>
                </a:cubicBezTo>
                <a:cubicBezTo>
                  <a:pt x="361" y="195"/>
                  <a:pt x="361" y="195"/>
                  <a:pt x="361" y="195"/>
                </a:cubicBezTo>
                <a:cubicBezTo>
                  <a:pt x="367" y="189"/>
                  <a:pt x="371" y="181"/>
                  <a:pt x="371" y="173"/>
                </a:cubicBezTo>
                <a:cubicBezTo>
                  <a:pt x="371" y="165"/>
                  <a:pt x="368" y="157"/>
                  <a:pt x="361" y="150"/>
                </a:cubicBezTo>
                <a:cubicBezTo>
                  <a:pt x="355" y="143"/>
                  <a:pt x="347" y="140"/>
                  <a:pt x="338" y="140"/>
                </a:cubicBezTo>
                <a:cubicBezTo>
                  <a:pt x="330" y="141"/>
                  <a:pt x="322" y="144"/>
                  <a:pt x="316" y="150"/>
                </a:cubicBezTo>
                <a:cubicBezTo>
                  <a:pt x="271" y="195"/>
                  <a:pt x="271" y="195"/>
                  <a:pt x="271" y="195"/>
                </a:cubicBezTo>
                <a:cubicBezTo>
                  <a:pt x="267" y="199"/>
                  <a:pt x="260" y="199"/>
                  <a:pt x="256" y="195"/>
                </a:cubicBezTo>
                <a:cubicBezTo>
                  <a:pt x="252" y="191"/>
                  <a:pt x="252" y="184"/>
                  <a:pt x="256" y="180"/>
                </a:cubicBezTo>
                <a:cubicBezTo>
                  <a:pt x="301" y="135"/>
                  <a:pt x="301" y="135"/>
                  <a:pt x="301" y="135"/>
                </a:cubicBezTo>
                <a:cubicBezTo>
                  <a:pt x="311" y="125"/>
                  <a:pt x="324" y="119"/>
                  <a:pt x="338" y="119"/>
                </a:cubicBezTo>
                <a:cubicBezTo>
                  <a:pt x="352" y="119"/>
                  <a:pt x="366" y="124"/>
                  <a:pt x="376" y="135"/>
                </a:cubicBezTo>
                <a:cubicBezTo>
                  <a:pt x="387" y="146"/>
                  <a:pt x="393" y="159"/>
                  <a:pt x="392" y="174"/>
                </a:cubicBezTo>
                <a:cubicBezTo>
                  <a:pt x="392" y="187"/>
                  <a:pt x="386" y="200"/>
                  <a:pt x="376" y="21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94" name="Group 597">
            <a:extLst>
              <a:ext uri="{FF2B5EF4-FFF2-40B4-BE49-F238E27FC236}">
                <a16:creationId xmlns:a16="http://schemas.microsoft.com/office/drawing/2014/main" id="{5D110AC8-4F53-42A9-8864-4E6D19F37D53}"/>
              </a:ext>
            </a:extLst>
          </p:cNvPr>
          <p:cNvGrpSpPr>
            <a:grpSpLocks noChangeAspect="1"/>
          </p:cNvGrpSpPr>
          <p:nvPr/>
        </p:nvGrpSpPr>
        <p:grpSpPr bwMode="auto">
          <a:xfrm>
            <a:off x="7004259" y="3292640"/>
            <a:ext cx="368120" cy="367041"/>
            <a:chOff x="2745" y="2621"/>
            <a:chExt cx="341" cy="340"/>
          </a:xfrm>
          <a:solidFill>
            <a:schemeClr val="accent1"/>
          </a:solidFill>
        </p:grpSpPr>
        <p:sp>
          <p:nvSpPr>
            <p:cNvPr id="795" name="Freeform 598">
              <a:extLst>
                <a:ext uri="{FF2B5EF4-FFF2-40B4-BE49-F238E27FC236}">
                  <a16:creationId xmlns:a16="http://schemas.microsoft.com/office/drawing/2014/main" id="{57D08E84-8201-480B-8584-71D8AB6A2EC6}"/>
                </a:ext>
              </a:extLst>
            </p:cNvPr>
            <p:cNvSpPr>
              <a:spLocks noEditPoints="1"/>
            </p:cNvSpPr>
            <p:nvPr/>
          </p:nvSpPr>
          <p:spPr bwMode="auto">
            <a:xfrm>
              <a:off x="2824" y="2700"/>
              <a:ext cx="183" cy="181"/>
            </a:xfrm>
            <a:custGeom>
              <a:avLst/>
              <a:gdLst>
                <a:gd name="T0" fmla="*/ 137 w 274"/>
                <a:gd name="T1" fmla="*/ 197 h 273"/>
                <a:gd name="T2" fmla="*/ 137 w 274"/>
                <a:gd name="T3" fmla="*/ 212 h 273"/>
                <a:gd name="T4" fmla="*/ 91 w 274"/>
                <a:gd name="T5" fmla="*/ 257 h 273"/>
                <a:gd name="T6" fmla="*/ 55 w 274"/>
                <a:gd name="T7" fmla="*/ 273 h 273"/>
                <a:gd name="T8" fmla="*/ 53 w 274"/>
                <a:gd name="T9" fmla="*/ 273 h 273"/>
                <a:gd name="T10" fmla="*/ 16 w 274"/>
                <a:gd name="T11" fmla="*/ 257 h 273"/>
                <a:gd name="T12" fmla="*/ 0 w 274"/>
                <a:gd name="T13" fmla="*/ 219 h 273"/>
                <a:gd name="T14" fmla="*/ 16 w 274"/>
                <a:gd name="T15" fmla="*/ 182 h 273"/>
                <a:gd name="T16" fmla="*/ 84 w 274"/>
                <a:gd name="T17" fmla="*/ 114 h 273"/>
                <a:gd name="T18" fmla="*/ 120 w 274"/>
                <a:gd name="T19" fmla="*/ 98 h 273"/>
                <a:gd name="T20" fmla="*/ 159 w 274"/>
                <a:gd name="T21" fmla="*/ 114 h 273"/>
                <a:gd name="T22" fmla="*/ 159 w 274"/>
                <a:gd name="T23" fmla="*/ 129 h 273"/>
                <a:gd name="T24" fmla="*/ 144 w 274"/>
                <a:gd name="T25" fmla="*/ 129 h 273"/>
                <a:gd name="T26" fmla="*/ 121 w 274"/>
                <a:gd name="T27" fmla="*/ 119 h 273"/>
                <a:gd name="T28" fmla="*/ 99 w 274"/>
                <a:gd name="T29" fmla="*/ 129 h 273"/>
                <a:gd name="T30" fmla="*/ 31 w 274"/>
                <a:gd name="T31" fmla="*/ 197 h 273"/>
                <a:gd name="T32" fmla="*/ 21 w 274"/>
                <a:gd name="T33" fmla="*/ 219 h 273"/>
                <a:gd name="T34" fmla="*/ 31 w 274"/>
                <a:gd name="T35" fmla="*/ 242 h 273"/>
                <a:gd name="T36" fmla="*/ 54 w 274"/>
                <a:gd name="T37" fmla="*/ 252 h 273"/>
                <a:gd name="T38" fmla="*/ 76 w 274"/>
                <a:gd name="T39" fmla="*/ 242 h 273"/>
                <a:gd name="T40" fmla="*/ 122 w 274"/>
                <a:gd name="T41" fmla="*/ 197 h 273"/>
                <a:gd name="T42" fmla="*/ 137 w 274"/>
                <a:gd name="T43" fmla="*/ 197 h 273"/>
                <a:gd name="T44" fmla="*/ 257 w 274"/>
                <a:gd name="T45" fmla="*/ 16 h 273"/>
                <a:gd name="T46" fmla="*/ 219 w 274"/>
                <a:gd name="T47" fmla="*/ 0 h 273"/>
                <a:gd name="T48" fmla="*/ 182 w 274"/>
                <a:gd name="T49" fmla="*/ 16 h 273"/>
                <a:gd name="T50" fmla="*/ 137 w 274"/>
                <a:gd name="T51" fmla="*/ 61 h 273"/>
                <a:gd name="T52" fmla="*/ 137 w 274"/>
                <a:gd name="T53" fmla="*/ 76 h 273"/>
                <a:gd name="T54" fmla="*/ 152 w 274"/>
                <a:gd name="T55" fmla="*/ 76 h 273"/>
                <a:gd name="T56" fmla="*/ 197 w 274"/>
                <a:gd name="T57" fmla="*/ 31 h 273"/>
                <a:gd name="T58" fmla="*/ 219 w 274"/>
                <a:gd name="T59" fmla="*/ 21 h 273"/>
                <a:gd name="T60" fmla="*/ 242 w 274"/>
                <a:gd name="T61" fmla="*/ 31 h 273"/>
                <a:gd name="T62" fmla="*/ 252 w 274"/>
                <a:gd name="T63" fmla="*/ 54 h 273"/>
                <a:gd name="T64" fmla="*/ 242 w 274"/>
                <a:gd name="T65" fmla="*/ 76 h 273"/>
                <a:gd name="T66" fmla="*/ 174 w 274"/>
                <a:gd name="T67" fmla="*/ 144 h 273"/>
                <a:gd name="T68" fmla="*/ 152 w 274"/>
                <a:gd name="T69" fmla="*/ 154 h 273"/>
                <a:gd name="T70" fmla="*/ 129 w 274"/>
                <a:gd name="T71" fmla="*/ 144 h 273"/>
                <a:gd name="T72" fmla="*/ 114 w 274"/>
                <a:gd name="T73" fmla="*/ 144 h 273"/>
                <a:gd name="T74" fmla="*/ 114 w 274"/>
                <a:gd name="T75" fmla="*/ 159 h 273"/>
                <a:gd name="T76" fmla="*/ 152 w 274"/>
                <a:gd name="T77" fmla="*/ 175 h 273"/>
                <a:gd name="T78" fmla="*/ 153 w 274"/>
                <a:gd name="T79" fmla="*/ 175 h 273"/>
                <a:gd name="T80" fmla="*/ 189 w 274"/>
                <a:gd name="T81" fmla="*/ 159 h 273"/>
                <a:gd name="T82" fmla="*/ 257 w 274"/>
                <a:gd name="T83" fmla="*/ 91 h 273"/>
                <a:gd name="T84" fmla="*/ 273 w 274"/>
                <a:gd name="T85" fmla="*/ 55 h 273"/>
                <a:gd name="T86" fmla="*/ 257 w 274"/>
                <a:gd name="T87" fmla="*/ 1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 h="273">
                  <a:moveTo>
                    <a:pt x="137" y="197"/>
                  </a:moveTo>
                  <a:cubicBezTo>
                    <a:pt x="141" y="201"/>
                    <a:pt x="141" y="208"/>
                    <a:pt x="137" y="212"/>
                  </a:cubicBezTo>
                  <a:cubicBezTo>
                    <a:pt x="91" y="257"/>
                    <a:pt x="91" y="257"/>
                    <a:pt x="91" y="257"/>
                  </a:cubicBezTo>
                  <a:cubicBezTo>
                    <a:pt x="81" y="267"/>
                    <a:pt x="68" y="273"/>
                    <a:pt x="55" y="273"/>
                  </a:cubicBezTo>
                  <a:cubicBezTo>
                    <a:pt x="54" y="273"/>
                    <a:pt x="54" y="273"/>
                    <a:pt x="53" y="273"/>
                  </a:cubicBezTo>
                  <a:cubicBezTo>
                    <a:pt x="40" y="273"/>
                    <a:pt x="26" y="268"/>
                    <a:pt x="16" y="257"/>
                  </a:cubicBezTo>
                  <a:cubicBezTo>
                    <a:pt x="5" y="247"/>
                    <a:pt x="0" y="233"/>
                    <a:pt x="0" y="219"/>
                  </a:cubicBezTo>
                  <a:cubicBezTo>
                    <a:pt x="0" y="205"/>
                    <a:pt x="6" y="192"/>
                    <a:pt x="16" y="182"/>
                  </a:cubicBezTo>
                  <a:cubicBezTo>
                    <a:pt x="84" y="114"/>
                    <a:pt x="84" y="114"/>
                    <a:pt x="84" y="114"/>
                  </a:cubicBezTo>
                  <a:cubicBezTo>
                    <a:pt x="94" y="104"/>
                    <a:pt x="107" y="98"/>
                    <a:pt x="120" y="98"/>
                  </a:cubicBezTo>
                  <a:cubicBezTo>
                    <a:pt x="135" y="98"/>
                    <a:pt x="149" y="103"/>
                    <a:pt x="159" y="114"/>
                  </a:cubicBezTo>
                  <a:cubicBezTo>
                    <a:pt x="163" y="118"/>
                    <a:pt x="163" y="125"/>
                    <a:pt x="159" y="129"/>
                  </a:cubicBezTo>
                  <a:cubicBezTo>
                    <a:pt x="155" y="133"/>
                    <a:pt x="148" y="133"/>
                    <a:pt x="144" y="129"/>
                  </a:cubicBezTo>
                  <a:cubicBezTo>
                    <a:pt x="138" y="123"/>
                    <a:pt x="130" y="119"/>
                    <a:pt x="121" y="119"/>
                  </a:cubicBezTo>
                  <a:cubicBezTo>
                    <a:pt x="113" y="120"/>
                    <a:pt x="105" y="123"/>
                    <a:pt x="99" y="129"/>
                  </a:cubicBezTo>
                  <a:cubicBezTo>
                    <a:pt x="31" y="197"/>
                    <a:pt x="31" y="197"/>
                    <a:pt x="31" y="197"/>
                  </a:cubicBezTo>
                  <a:cubicBezTo>
                    <a:pt x="25" y="203"/>
                    <a:pt x="22" y="211"/>
                    <a:pt x="21" y="219"/>
                  </a:cubicBezTo>
                  <a:cubicBezTo>
                    <a:pt x="21" y="228"/>
                    <a:pt x="24" y="236"/>
                    <a:pt x="31" y="242"/>
                  </a:cubicBezTo>
                  <a:cubicBezTo>
                    <a:pt x="38" y="249"/>
                    <a:pt x="46" y="252"/>
                    <a:pt x="54" y="252"/>
                  </a:cubicBezTo>
                  <a:cubicBezTo>
                    <a:pt x="62" y="252"/>
                    <a:pt x="70" y="248"/>
                    <a:pt x="76" y="242"/>
                  </a:cubicBezTo>
                  <a:cubicBezTo>
                    <a:pt x="122" y="197"/>
                    <a:pt x="122" y="197"/>
                    <a:pt x="122" y="197"/>
                  </a:cubicBezTo>
                  <a:cubicBezTo>
                    <a:pt x="126" y="193"/>
                    <a:pt x="133" y="193"/>
                    <a:pt x="137" y="197"/>
                  </a:cubicBezTo>
                  <a:close/>
                  <a:moveTo>
                    <a:pt x="257" y="16"/>
                  </a:move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cubicBezTo>
                    <a:pt x="257" y="91"/>
                    <a:pt x="257" y="91"/>
                    <a:pt x="257" y="91"/>
                  </a:cubicBezTo>
                  <a:cubicBezTo>
                    <a:pt x="267" y="81"/>
                    <a:pt x="273" y="68"/>
                    <a:pt x="273" y="55"/>
                  </a:cubicBezTo>
                  <a:cubicBezTo>
                    <a:pt x="274" y="40"/>
                    <a:pt x="268" y="27"/>
                    <a:pt x="257"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4" name="Freeform 599">
              <a:extLst>
                <a:ext uri="{FF2B5EF4-FFF2-40B4-BE49-F238E27FC236}">
                  <a16:creationId xmlns:a16="http://schemas.microsoft.com/office/drawing/2014/main" id="{7888B9FD-3667-474F-ACD5-D54B85458CA5}"/>
                </a:ext>
              </a:extLst>
            </p:cNvPr>
            <p:cNvSpPr>
              <a:spLocks noEditPoints="1"/>
            </p:cNvSpPr>
            <p:nvPr/>
          </p:nvSpPr>
          <p:spPr bwMode="auto">
            <a:xfrm>
              <a:off x="2745" y="26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75" name="TextBox 874">
            <a:extLst>
              <a:ext uri="{FF2B5EF4-FFF2-40B4-BE49-F238E27FC236}">
                <a16:creationId xmlns:a16="http://schemas.microsoft.com/office/drawing/2014/main" id="{AB626048-A86A-49E5-82C4-66C195177CB8}"/>
              </a:ext>
            </a:extLst>
          </p:cNvPr>
          <p:cNvSpPr txBox="1"/>
          <p:nvPr/>
        </p:nvSpPr>
        <p:spPr>
          <a:xfrm>
            <a:off x="1335310"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Inbox</a:t>
            </a:r>
          </a:p>
        </p:txBody>
      </p:sp>
      <p:grpSp>
        <p:nvGrpSpPr>
          <p:cNvPr id="876" name="Group 362">
            <a:extLst>
              <a:ext uri="{FF2B5EF4-FFF2-40B4-BE49-F238E27FC236}">
                <a16:creationId xmlns:a16="http://schemas.microsoft.com/office/drawing/2014/main" id="{A76B7A0E-62EF-4377-B378-0A5AB8AB2256}"/>
              </a:ext>
            </a:extLst>
          </p:cNvPr>
          <p:cNvGrpSpPr>
            <a:grpSpLocks noChangeAspect="1"/>
          </p:cNvGrpSpPr>
          <p:nvPr/>
        </p:nvGrpSpPr>
        <p:grpSpPr bwMode="auto">
          <a:xfrm>
            <a:off x="1341757" y="4127084"/>
            <a:ext cx="367041" cy="367041"/>
            <a:chOff x="6240" y="1538"/>
            <a:chExt cx="340" cy="340"/>
          </a:xfrm>
          <a:solidFill>
            <a:schemeClr val="accent4"/>
          </a:solidFill>
        </p:grpSpPr>
        <p:sp>
          <p:nvSpPr>
            <p:cNvPr id="877" name="Freeform 363">
              <a:extLst>
                <a:ext uri="{FF2B5EF4-FFF2-40B4-BE49-F238E27FC236}">
                  <a16:creationId xmlns:a16="http://schemas.microsoft.com/office/drawing/2014/main" id="{1457899E-FD9F-4BFA-B14E-B9CB866033BE}"/>
                </a:ext>
              </a:extLst>
            </p:cNvPr>
            <p:cNvSpPr>
              <a:spLocks/>
            </p:cNvSpPr>
            <p:nvPr/>
          </p:nvSpPr>
          <p:spPr bwMode="auto">
            <a:xfrm>
              <a:off x="6332" y="1729"/>
              <a:ext cx="156" cy="35"/>
            </a:xfrm>
            <a:custGeom>
              <a:avLst/>
              <a:gdLst>
                <a:gd name="T0" fmla="*/ 160 w 235"/>
                <a:gd name="T1" fmla="*/ 32 h 53"/>
                <a:gd name="T2" fmla="*/ 75 w 235"/>
                <a:gd name="T3" fmla="*/ 32 h 53"/>
                <a:gd name="T4" fmla="*/ 44 w 235"/>
                <a:gd name="T5" fmla="*/ 0 h 53"/>
                <a:gd name="T6" fmla="*/ 0 w 235"/>
                <a:gd name="T7" fmla="*/ 0 h 53"/>
                <a:gd name="T8" fmla="*/ 0 w 235"/>
                <a:gd name="T9" fmla="*/ 53 h 53"/>
                <a:gd name="T10" fmla="*/ 235 w 235"/>
                <a:gd name="T11" fmla="*/ 53 h 53"/>
                <a:gd name="T12" fmla="*/ 235 w 235"/>
                <a:gd name="T13" fmla="*/ 0 h 53"/>
                <a:gd name="T14" fmla="*/ 191 w 235"/>
                <a:gd name="T15" fmla="*/ 0 h 53"/>
                <a:gd name="T16" fmla="*/ 160 w 235"/>
                <a:gd name="T17" fmla="*/ 3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3">
                  <a:moveTo>
                    <a:pt x="160" y="32"/>
                  </a:moveTo>
                  <a:cubicBezTo>
                    <a:pt x="75" y="32"/>
                    <a:pt x="75" y="32"/>
                    <a:pt x="75" y="32"/>
                  </a:cubicBezTo>
                  <a:cubicBezTo>
                    <a:pt x="60" y="32"/>
                    <a:pt x="48" y="18"/>
                    <a:pt x="44" y="0"/>
                  </a:cubicBezTo>
                  <a:cubicBezTo>
                    <a:pt x="0" y="0"/>
                    <a:pt x="0" y="0"/>
                    <a:pt x="0" y="0"/>
                  </a:cubicBezTo>
                  <a:cubicBezTo>
                    <a:pt x="0" y="53"/>
                    <a:pt x="0" y="53"/>
                    <a:pt x="0" y="53"/>
                  </a:cubicBezTo>
                  <a:cubicBezTo>
                    <a:pt x="235" y="53"/>
                    <a:pt x="235" y="53"/>
                    <a:pt x="235" y="53"/>
                  </a:cubicBezTo>
                  <a:cubicBezTo>
                    <a:pt x="235" y="0"/>
                    <a:pt x="235" y="0"/>
                    <a:pt x="235" y="0"/>
                  </a:cubicBezTo>
                  <a:cubicBezTo>
                    <a:pt x="191" y="0"/>
                    <a:pt x="191" y="0"/>
                    <a:pt x="191" y="0"/>
                  </a:cubicBezTo>
                  <a:cubicBezTo>
                    <a:pt x="188" y="18"/>
                    <a:pt x="175" y="32"/>
                    <a:pt x="160"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8" name="Freeform 364">
              <a:extLst>
                <a:ext uri="{FF2B5EF4-FFF2-40B4-BE49-F238E27FC236}">
                  <a16:creationId xmlns:a16="http://schemas.microsoft.com/office/drawing/2014/main" id="{BA578A36-9CE6-42A4-9D8B-24E24D4D8DE7}"/>
                </a:ext>
              </a:extLst>
            </p:cNvPr>
            <p:cNvSpPr>
              <a:spLocks noEditPoints="1"/>
            </p:cNvSpPr>
            <p:nvPr/>
          </p:nvSpPr>
          <p:spPr bwMode="auto">
            <a:xfrm>
              <a:off x="6240" y="15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52 h 512"/>
                <a:gd name="T12" fmla="*/ 384 w 512"/>
                <a:gd name="T13" fmla="*/ 362 h 512"/>
                <a:gd name="T14" fmla="*/ 128 w 512"/>
                <a:gd name="T15" fmla="*/ 362 h 512"/>
                <a:gd name="T16" fmla="*/ 117 w 512"/>
                <a:gd name="T17" fmla="*/ 352 h 512"/>
                <a:gd name="T18" fmla="*/ 117 w 512"/>
                <a:gd name="T19" fmla="*/ 277 h 512"/>
                <a:gd name="T20" fmla="*/ 117 w 512"/>
                <a:gd name="T21" fmla="*/ 275 h 512"/>
                <a:gd name="T22" fmla="*/ 118 w 512"/>
                <a:gd name="T23" fmla="*/ 273 h 512"/>
                <a:gd name="T24" fmla="*/ 171 w 512"/>
                <a:gd name="T25" fmla="*/ 134 h 512"/>
                <a:gd name="T26" fmla="*/ 181 w 512"/>
                <a:gd name="T27" fmla="*/ 128 h 512"/>
                <a:gd name="T28" fmla="*/ 181 w 512"/>
                <a:gd name="T29" fmla="*/ 128 h 512"/>
                <a:gd name="T30" fmla="*/ 330 w 512"/>
                <a:gd name="T31" fmla="*/ 128 h 512"/>
                <a:gd name="T32" fmla="*/ 330 w 512"/>
                <a:gd name="T33" fmla="*/ 128 h 512"/>
                <a:gd name="T34" fmla="*/ 340 w 512"/>
                <a:gd name="T35" fmla="*/ 134 h 512"/>
                <a:gd name="T36" fmla="*/ 394 w 512"/>
                <a:gd name="T37" fmla="*/ 273 h 512"/>
                <a:gd name="T38" fmla="*/ 394 w 512"/>
                <a:gd name="T39" fmla="*/ 275 h 512"/>
                <a:gd name="T40" fmla="*/ 394 w 512"/>
                <a:gd name="T41" fmla="*/ 277 h 512"/>
                <a:gd name="T42" fmla="*/ 394 w 512"/>
                <a:gd name="T43"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52"/>
                  </a:moveTo>
                  <a:cubicBezTo>
                    <a:pt x="394" y="358"/>
                    <a:pt x="390" y="362"/>
                    <a:pt x="384" y="362"/>
                  </a:cubicBezTo>
                  <a:cubicBezTo>
                    <a:pt x="128" y="362"/>
                    <a:pt x="128" y="362"/>
                    <a:pt x="128" y="362"/>
                  </a:cubicBezTo>
                  <a:cubicBezTo>
                    <a:pt x="122" y="362"/>
                    <a:pt x="117" y="358"/>
                    <a:pt x="117" y="352"/>
                  </a:cubicBezTo>
                  <a:cubicBezTo>
                    <a:pt x="117" y="277"/>
                    <a:pt x="117" y="277"/>
                    <a:pt x="117" y="277"/>
                  </a:cubicBezTo>
                  <a:cubicBezTo>
                    <a:pt x="117" y="276"/>
                    <a:pt x="117" y="276"/>
                    <a:pt x="117" y="275"/>
                  </a:cubicBezTo>
                  <a:cubicBezTo>
                    <a:pt x="117" y="275"/>
                    <a:pt x="117" y="274"/>
                    <a:pt x="118" y="273"/>
                  </a:cubicBezTo>
                  <a:cubicBezTo>
                    <a:pt x="171" y="134"/>
                    <a:pt x="171" y="134"/>
                    <a:pt x="171" y="134"/>
                  </a:cubicBezTo>
                  <a:cubicBezTo>
                    <a:pt x="173" y="130"/>
                    <a:pt x="177" y="128"/>
                    <a:pt x="181" y="128"/>
                  </a:cubicBezTo>
                  <a:cubicBezTo>
                    <a:pt x="181" y="128"/>
                    <a:pt x="181" y="128"/>
                    <a:pt x="181" y="128"/>
                  </a:cubicBezTo>
                  <a:cubicBezTo>
                    <a:pt x="330" y="128"/>
                    <a:pt x="330" y="128"/>
                    <a:pt x="330" y="128"/>
                  </a:cubicBezTo>
                  <a:cubicBezTo>
                    <a:pt x="330" y="128"/>
                    <a:pt x="330" y="128"/>
                    <a:pt x="330" y="128"/>
                  </a:cubicBezTo>
                  <a:cubicBezTo>
                    <a:pt x="335" y="128"/>
                    <a:pt x="339" y="130"/>
                    <a:pt x="340" y="134"/>
                  </a:cubicBezTo>
                  <a:cubicBezTo>
                    <a:pt x="394" y="273"/>
                    <a:pt x="394" y="273"/>
                    <a:pt x="394" y="273"/>
                  </a:cubicBezTo>
                  <a:cubicBezTo>
                    <a:pt x="394" y="274"/>
                    <a:pt x="394" y="275"/>
                    <a:pt x="394" y="275"/>
                  </a:cubicBezTo>
                  <a:cubicBezTo>
                    <a:pt x="394" y="276"/>
                    <a:pt x="394" y="276"/>
                    <a:pt x="394" y="277"/>
                  </a:cubicBezTo>
                  <a:lnTo>
                    <a:pt x="394" y="3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9" name="Freeform 365">
              <a:extLst>
                <a:ext uri="{FF2B5EF4-FFF2-40B4-BE49-F238E27FC236}">
                  <a16:creationId xmlns:a16="http://schemas.microsoft.com/office/drawing/2014/main" id="{71373897-3470-4271-8EB7-464F0C27C3C5}"/>
                </a:ext>
              </a:extLst>
            </p:cNvPr>
            <p:cNvSpPr>
              <a:spLocks/>
            </p:cNvSpPr>
            <p:nvPr/>
          </p:nvSpPr>
          <p:spPr bwMode="auto">
            <a:xfrm>
              <a:off x="6335" y="1637"/>
              <a:ext cx="149" cy="99"/>
            </a:xfrm>
            <a:custGeom>
              <a:avLst/>
              <a:gdLst>
                <a:gd name="T0" fmla="*/ 59 w 225"/>
                <a:gd name="T1" fmla="*/ 128 h 149"/>
                <a:gd name="T2" fmla="*/ 70 w 225"/>
                <a:gd name="T3" fmla="*/ 149 h 149"/>
                <a:gd name="T4" fmla="*/ 155 w 225"/>
                <a:gd name="T5" fmla="*/ 149 h 149"/>
                <a:gd name="T6" fmla="*/ 166 w 225"/>
                <a:gd name="T7" fmla="*/ 128 h 149"/>
                <a:gd name="T8" fmla="*/ 177 w 225"/>
                <a:gd name="T9" fmla="*/ 117 h 149"/>
                <a:gd name="T10" fmla="*/ 225 w 225"/>
                <a:gd name="T11" fmla="*/ 117 h 149"/>
                <a:gd name="T12" fmla="*/ 180 w 225"/>
                <a:gd name="T13" fmla="*/ 0 h 149"/>
                <a:gd name="T14" fmla="*/ 45 w 225"/>
                <a:gd name="T15" fmla="*/ 0 h 149"/>
                <a:gd name="T16" fmla="*/ 0 w 225"/>
                <a:gd name="T17" fmla="*/ 117 h 149"/>
                <a:gd name="T18" fmla="*/ 49 w 225"/>
                <a:gd name="T19" fmla="*/ 117 h 149"/>
                <a:gd name="T20" fmla="*/ 59 w 225"/>
                <a:gd name="T21"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149">
                  <a:moveTo>
                    <a:pt x="59" y="128"/>
                  </a:moveTo>
                  <a:cubicBezTo>
                    <a:pt x="59" y="141"/>
                    <a:pt x="66" y="149"/>
                    <a:pt x="70" y="149"/>
                  </a:cubicBezTo>
                  <a:cubicBezTo>
                    <a:pt x="155" y="149"/>
                    <a:pt x="155" y="149"/>
                    <a:pt x="155" y="149"/>
                  </a:cubicBezTo>
                  <a:cubicBezTo>
                    <a:pt x="160" y="149"/>
                    <a:pt x="166" y="141"/>
                    <a:pt x="166" y="128"/>
                  </a:cubicBezTo>
                  <a:cubicBezTo>
                    <a:pt x="166" y="122"/>
                    <a:pt x="171" y="117"/>
                    <a:pt x="177" y="117"/>
                  </a:cubicBezTo>
                  <a:cubicBezTo>
                    <a:pt x="225" y="117"/>
                    <a:pt x="225" y="117"/>
                    <a:pt x="225" y="117"/>
                  </a:cubicBezTo>
                  <a:cubicBezTo>
                    <a:pt x="180" y="0"/>
                    <a:pt x="180" y="0"/>
                    <a:pt x="180" y="0"/>
                  </a:cubicBezTo>
                  <a:cubicBezTo>
                    <a:pt x="45" y="0"/>
                    <a:pt x="45" y="0"/>
                    <a:pt x="45" y="0"/>
                  </a:cubicBezTo>
                  <a:cubicBezTo>
                    <a:pt x="0" y="117"/>
                    <a:pt x="0" y="117"/>
                    <a:pt x="0" y="117"/>
                  </a:cubicBezTo>
                  <a:cubicBezTo>
                    <a:pt x="49" y="117"/>
                    <a:pt x="49" y="117"/>
                    <a:pt x="49" y="117"/>
                  </a:cubicBezTo>
                  <a:cubicBezTo>
                    <a:pt x="55" y="117"/>
                    <a:pt x="59" y="122"/>
                    <a:pt x="59"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80" name="Group 368">
            <a:extLst>
              <a:ext uri="{FF2B5EF4-FFF2-40B4-BE49-F238E27FC236}">
                <a16:creationId xmlns:a16="http://schemas.microsoft.com/office/drawing/2014/main" id="{A654650C-F350-4228-8333-90CDFEEE55B4}"/>
              </a:ext>
            </a:extLst>
          </p:cNvPr>
          <p:cNvGrpSpPr>
            <a:grpSpLocks noChangeAspect="1"/>
          </p:cNvGrpSpPr>
          <p:nvPr/>
        </p:nvGrpSpPr>
        <p:grpSpPr bwMode="auto">
          <a:xfrm>
            <a:off x="1770628" y="4127084"/>
            <a:ext cx="367041" cy="368120"/>
            <a:chOff x="6849" y="1569"/>
            <a:chExt cx="340" cy="341"/>
          </a:xfrm>
          <a:solidFill>
            <a:schemeClr val="accent4"/>
          </a:solidFill>
        </p:grpSpPr>
        <p:sp>
          <p:nvSpPr>
            <p:cNvPr id="881" name="Freeform 369">
              <a:extLst>
                <a:ext uri="{FF2B5EF4-FFF2-40B4-BE49-F238E27FC236}">
                  <a16:creationId xmlns:a16="http://schemas.microsoft.com/office/drawing/2014/main" id="{F9E68B21-90ED-481C-BC94-AF82C3BB3DCD}"/>
                </a:ext>
              </a:extLst>
            </p:cNvPr>
            <p:cNvSpPr>
              <a:spLocks noEditPoints="1"/>
            </p:cNvSpPr>
            <p:nvPr/>
          </p:nvSpPr>
          <p:spPr bwMode="auto">
            <a:xfrm>
              <a:off x="6849" y="156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82" name="Freeform 370">
              <a:extLst>
                <a:ext uri="{FF2B5EF4-FFF2-40B4-BE49-F238E27FC236}">
                  <a16:creationId xmlns:a16="http://schemas.microsoft.com/office/drawing/2014/main" id="{9D17FB26-8220-461D-8A19-0E336B4EAC15}"/>
                </a:ext>
              </a:extLst>
            </p:cNvPr>
            <p:cNvSpPr>
              <a:spLocks noEditPoints="1"/>
            </p:cNvSpPr>
            <p:nvPr/>
          </p:nvSpPr>
          <p:spPr bwMode="auto">
            <a:xfrm>
              <a:off x="6927" y="1654"/>
              <a:ext cx="184" cy="156"/>
            </a:xfrm>
            <a:custGeom>
              <a:avLst/>
              <a:gdLst>
                <a:gd name="T0" fmla="*/ 277 w 277"/>
                <a:gd name="T1" fmla="*/ 147 h 234"/>
                <a:gd name="T2" fmla="*/ 277 w 277"/>
                <a:gd name="T3" fmla="*/ 145 h 234"/>
                <a:gd name="T4" fmla="*/ 223 w 277"/>
                <a:gd name="T5" fmla="*/ 6 h 234"/>
                <a:gd name="T6" fmla="*/ 213 w 277"/>
                <a:gd name="T7" fmla="*/ 0 h 234"/>
                <a:gd name="T8" fmla="*/ 213 w 277"/>
                <a:gd name="T9" fmla="*/ 0 h 234"/>
                <a:gd name="T10" fmla="*/ 64 w 277"/>
                <a:gd name="T11" fmla="*/ 0 h 234"/>
                <a:gd name="T12" fmla="*/ 64 w 277"/>
                <a:gd name="T13" fmla="*/ 0 h 234"/>
                <a:gd name="T14" fmla="*/ 54 w 277"/>
                <a:gd name="T15" fmla="*/ 6 h 234"/>
                <a:gd name="T16" fmla="*/ 1 w 277"/>
                <a:gd name="T17" fmla="*/ 145 h 234"/>
                <a:gd name="T18" fmla="*/ 0 w 277"/>
                <a:gd name="T19" fmla="*/ 147 h 234"/>
                <a:gd name="T20" fmla="*/ 0 w 277"/>
                <a:gd name="T21" fmla="*/ 149 h 234"/>
                <a:gd name="T22" fmla="*/ 0 w 277"/>
                <a:gd name="T23" fmla="*/ 224 h 234"/>
                <a:gd name="T24" fmla="*/ 11 w 277"/>
                <a:gd name="T25" fmla="*/ 234 h 234"/>
                <a:gd name="T26" fmla="*/ 267 w 277"/>
                <a:gd name="T27" fmla="*/ 234 h 234"/>
                <a:gd name="T28" fmla="*/ 277 w 277"/>
                <a:gd name="T29" fmla="*/ 224 h 234"/>
                <a:gd name="T30" fmla="*/ 277 w 277"/>
                <a:gd name="T31" fmla="*/ 149 h 234"/>
                <a:gd name="T32" fmla="*/ 277 w 277"/>
                <a:gd name="T33" fmla="*/ 147 h 234"/>
                <a:gd name="T34" fmla="*/ 71 w 277"/>
                <a:gd name="T35" fmla="*/ 21 h 234"/>
                <a:gd name="T36" fmla="*/ 206 w 277"/>
                <a:gd name="T37" fmla="*/ 21 h 234"/>
                <a:gd name="T38" fmla="*/ 251 w 277"/>
                <a:gd name="T39" fmla="*/ 138 h 234"/>
                <a:gd name="T40" fmla="*/ 203 w 277"/>
                <a:gd name="T41" fmla="*/ 138 h 234"/>
                <a:gd name="T42" fmla="*/ 192 w 277"/>
                <a:gd name="T43" fmla="*/ 149 h 234"/>
                <a:gd name="T44" fmla="*/ 181 w 277"/>
                <a:gd name="T45" fmla="*/ 170 h 234"/>
                <a:gd name="T46" fmla="*/ 96 w 277"/>
                <a:gd name="T47" fmla="*/ 170 h 234"/>
                <a:gd name="T48" fmla="*/ 85 w 277"/>
                <a:gd name="T49" fmla="*/ 149 h 234"/>
                <a:gd name="T50" fmla="*/ 75 w 277"/>
                <a:gd name="T51" fmla="*/ 138 h 234"/>
                <a:gd name="T52" fmla="*/ 26 w 277"/>
                <a:gd name="T53" fmla="*/ 138 h 234"/>
                <a:gd name="T54" fmla="*/ 71 w 277"/>
                <a:gd name="T55" fmla="*/ 21 h 234"/>
                <a:gd name="T56" fmla="*/ 256 w 277"/>
                <a:gd name="T57" fmla="*/ 213 h 234"/>
                <a:gd name="T58" fmla="*/ 21 w 277"/>
                <a:gd name="T59" fmla="*/ 213 h 234"/>
                <a:gd name="T60" fmla="*/ 21 w 277"/>
                <a:gd name="T61" fmla="*/ 160 h 234"/>
                <a:gd name="T62" fmla="*/ 65 w 277"/>
                <a:gd name="T63" fmla="*/ 160 h 234"/>
                <a:gd name="T64" fmla="*/ 96 w 277"/>
                <a:gd name="T65" fmla="*/ 192 h 234"/>
                <a:gd name="T66" fmla="*/ 181 w 277"/>
                <a:gd name="T67" fmla="*/ 192 h 234"/>
                <a:gd name="T68" fmla="*/ 212 w 277"/>
                <a:gd name="T69" fmla="*/ 160 h 234"/>
                <a:gd name="T70" fmla="*/ 256 w 277"/>
                <a:gd name="T71" fmla="*/ 160 h 234"/>
                <a:gd name="T72" fmla="*/ 256 w 277"/>
                <a:gd name="T7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234">
                  <a:moveTo>
                    <a:pt x="277" y="147"/>
                  </a:moveTo>
                  <a:cubicBezTo>
                    <a:pt x="277" y="147"/>
                    <a:pt x="277" y="146"/>
                    <a:pt x="277" y="145"/>
                  </a:cubicBezTo>
                  <a:cubicBezTo>
                    <a:pt x="223" y="6"/>
                    <a:pt x="223" y="6"/>
                    <a:pt x="223" y="6"/>
                  </a:cubicBezTo>
                  <a:cubicBezTo>
                    <a:pt x="222" y="2"/>
                    <a:pt x="218" y="0"/>
                    <a:pt x="213" y="0"/>
                  </a:cubicBezTo>
                  <a:cubicBezTo>
                    <a:pt x="213" y="0"/>
                    <a:pt x="213" y="0"/>
                    <a:pt x="213" y="0"/>
                  </a:cubicBezTo>
                  <a:cubicBezTo>
                    <a:pt x="64" y="0"/>
                    <a:pt x="64" y="0"/>
                    <a:pt x="64" y="0"/>
                  </a:cubicBezTo>
                  <a:cubicBezTo>
                    <a:pt x="64" y="0"/>
                    <a:pt x="64" y="0"/>
                    <a:pt x="64" y="0"/>
                  </a:cubicBezTo>
                  <a:cubicBezTo>
                    <a:pt x="60" y="0"/>
                    <a:pt x="56" y="2"/>
                    <a:pt x="54" y="6"/>
                  </a:cubicBezTo>
                  <a:cubicBezTo>
                    <a:pt x="1" y="145"/>
                    <a:pt x="1" y="145"/>
                    <a:pt x="1" y="145"/>
                  </a:cubicBezTo>
                  <a:cubicBezTo>
                    <a:pt x="0" y="146"/>
                    <a:pt x="0" y="147"/>
                    <a:pt x="0" y="147"/>
                  </a:cubicBezTo>
                  <a:cubicBezTo>
                    <a:pt x="0" y="148"/>
                    <a:pt x="0" y="148"/>
                    <a:pt x="0" y="149"/>
                  </a:cubicBezTo>
                  <a:cubicBezTo>
                    <a:pt x="0" y="224"/>
                    <a:pt x="0" y="224"/>
                    <a:pt x="0" y="224"/>
                  </a:cubicBezTo>
                  <a:cubicBezTo>
                    <a:pt x="0" y="230"/>
                    <a:pt x="5" y="234"/>
                    <a:pt x="11" y="234"/>
                  </a:cubicBezTo>
                  <a:cubicBezTo>
                    <a:pt x="267" y="234"/>
                    <a:pt x="267" y="234"/>
                    <a:pt x="267" y="234"/>
                  </a:cubicBezTo>
                  <a:cubicBezTo>
                    <a:pt x="273" y="234"/>
                    <a:pt x="277" y="230"/>
                    <a:pt x="277" y="224"/>
                  </a:cubicBezTo>
                  <a:cubicBezTo>
                    <a:pt x="277" y="149"/>
                    <a:pt x="277" y="149"/>
                    <a:pt x="277" y="149"/>
                  </a:cubicBezTo>
                  <a:cubicBezTo>
                    <a:pt x="277" y="148"/>
                    <a:pt x="277" y="148"/>
                    <a:pt x="277" y="147"/>
                  </a:cubicBezTo>
                  <a:close/>
                  <a:moveTo>
                    <a:pt x="71" y="21"/>
                  </a:moveTo>
                  <a:cubicBezTo>
                    <a:pt x="206" y="21"/>
                    <a:pt x="206" y="21"/>
                    <a:pt x="206" y="21"/>
                  </a:cubicBezTo>
                  <a:cubicBezTo>
                    <a:pt x="251" y="138"/>
                    <a:pt x="251" y="138"/>
                    <a:pt x="251" y="138"/>
                  </a:cubicBezTo>
                  <a:cubicBezTo>
                    <a:pt x="203" y="138"/>
                    <a:pt x="203" y="138"/>
                    <a:pt x="203" y="138"/>
                  </a:cubicBezTo>
                  <a:cubicBezTo>
                    <a:pt x="197" y="138"/>
                    <a:pt x="192" y="143"/>
                    <a:pt x="192" y="149"/>
                  </a:cubicBezTo>
                  <a:cubicBezTo>
                    <a:pt x="192" y="162"/>
                    <a:pt x="186" y="170"/>
                    <a:pt x="181" y="170"/>
                  </a:cubicBezTo>
                  <a:cubicBezTo>
                    <a:pt x="96" y="170"/>
                    <a:pt x="96" y="170"/>
                    <a:pt x="96" y="170"/>
                  </a:cubicBezTo>
                  <a:cubicBezTo>
                    <a:pt x="92" y="170"/>
                    <a:pt x="85" y="162"/>
                    <a:pt x="85" y="149"/>
                  </a:cubicBezTo>
                  <a:cubicBezTo>
                    <a:pt x="85" y="143"/>
                    <a:pt x="81" y="138"/>
                    <a:pt x="75" y="138"/>
                  </a:cubicBezTo>
                  <a:cubicBezTo>
                    <a:pt x="26" y="138"/>
                    <a:pt x="26" y="138"/>
                    <a:pt x="26" y="138"/>
                  </a:cubicBezTo>
                  <a:lnTo>
                    <a:pt x="71" y="21"/>
                  </a:lnTo>
                  <a:close/>
                  <a:moveTo>
                    <a:pt x="256" y="213"/>
                  </a:moveTo>
                  <a:cubicBezTo>
                    <a:pt x="21" y="213"/>
                    <a:pt x="21" y="213"/>
                    <a:pt x="21" y="213"/>
                  </a:cubicBezTo>
                  <a:cubicBezTo>
                    <a:pt x="21" y="160"/>
                    <a:pt x="21" y="160"/>
                    <a:pt x="21" y="160"/>
                  </a:cubicBezTo>
                  <a:cubicBezTo>
                    <a:pt x="65" y="160"/>
                    <a:pt x="65" y="160"/>
                    <a:pt x="65" y="160"/>
                  </a:cubicBezTo>
                  <a:cubicBezTo>
                    <a:pt x="69" y="178"/>
                    <a:pt x="81" y="192"/>
                    <a:pt x="96" y="192"/>
                  </a:cubicBezTo>
                  <a:cubicBezTo>
                    <a:pt x="181" y="192"/>
                    <a:pt x="181" y="192"/>
                    <a:pt x="181" y="192"/>
                  </a:cubicBezTo>
                  <a:cubicBezTo>
                    <a:pt x="196" y="192"/>
                    <a:pt x="209" y="178"/>
                    <a:pt x="212" y="160"/>
                  </a:cubicBezTo>
                  <a:cubicBezTo>
                    <a:pt x="256" y="160"/>
                    <a:pt x="256" y="160"/>
                    <a:pt x="256" y="160"/>
                  </a:cubicBezTo>
                  <a:lnTo>
                    <a:pt x="256"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83" name="TextBox 882">
            <a:extLst>
              <a:ext uri="{FF2B5EF4-FFF2-40B4-BE49-F238E27FC236}">
                <a16:creationId xmlns:a16="http://schemas.microsoft.com/office/drawing/2014/main" id="{B6DD4BB2-6C6E-4294-A6A8-F04D5F711F6F}"/>
              </a:ext>
            </a:extLst>
          </p:cNvPr>
          <p:cNvSpPr txBox="1"/>
          <p:nvPr/>
        </p:nvSpPr>
        <p:spPr>
          <a:xfrm>
            <a:off x="2208715" y="452728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lder in</a:t>
            </a:r>
          </a:p>
        </p:txBody>
      </p:sp>
      <p:sp>
        <p:nvSpPr>
          <p:cNvPr id="884" name="TextBox 883">
            <a:extLst>
              <a:ext uri="{FF2B5EF4-FFF2-40B4-BE49-F238E27FC236}">
                <a16:creationId xmlns:a16="http://schemas.microsoft.com/office/drawing/2014/main" id="{543F3A61-E34F-4641-AFA3-6950EE7EC2F5}"/>
              </a:ext>
            </a:extLst>
          </p:cNvPr>
          <p:cNvSpPr txBox="1"/>
          <p:nvPr/>
        </p:nvSpPr>
        <p:spPr>
          <a:xfrm>
            <a:off x="3070478"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lder out</a:t>
            </a:r>
          </a:p>
        </p:txBody>
      </p:sp>
      <p:sp>
        <p:nvSpPr>
          <p:cNvPr id="885" name="Freeform 885">
            <a:extLst>
              <a:ext uri="{FF2B5EF4-FFF2-40B4-BE49-F238E27FC236}">
                <a16:creationId xmlns:a16="http://schemas.microsoft.com/office/drawing/2014/main" id="{568699C8-21AD-4570-991A-83E0A9357911}"/>
              </a:ext>
            </a:extLst>
          </p:cNvPr>
          <p:cNvSpPr>
            <a:spLocks noChangeAspect="1" noEditPoints="1"/>
          </p:cNvSpPr>
          <p:nvPr/>
        </p:nvSpPr>
        <p:spPr bwMode="auto">
          <a:xfrm>
            <a:off x="2199499" y="4127084"/>
            <a:ext cx="404394" cy="367631"/>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3 h 512"/>
              <a:gd name="T20" fmla="*/ 246 w 562"/>
              <a:gd name="T21" fmla="*/ 259 h 512"/>
              <a:gd name="T22" fmla="*/ 230 w 562"/>
              <a:gd name="T23" fmla="*/ 259 h 512"/>
              <a:gd name="T24" fmla="*/ 230 w 562"/>
              <a:gd name="T25" fmla="*/ 274 h 512"/>
              <a:gd name="T26" fmla="*/ 273 w 562"/>
              <a:gd name="T27" fmla="*/ 317 h 512"/>
              <a:gd name="T28" fmla="*/ 281 w 562"/>
              <a:gd name="T29" fmla="*/ 320 h 512"/>
              <a:gd name="T30" fmla="*/ 288 w 562"/>
              <a:gd name="T31" fmla="*/ 317 h 512"/>
              <a:gd name="T32" fmla="*/ 331 w 562"/>
              <a:gd name="T33" fmla="*/ 274 h 512"/>
              <a:gd name="T34" fmla="*/ 331 w 562"/>
              <a:gd name="T35" fmla="*/ 259 h 512"/>
              <a:gd name="T36" fmla="*/ 316 w 562"/>
              <a:gd name="T37" fmla="*/ 259 h 512"/>
              <a:gd name="T38" fmla="*/ 291 w 562"/>
              <a:gd name="T39" fmla="*/ 283 h 512"/>
              <a:gd name="T40" fmla="*/ 296 w 562"/>
              <a:gd name="T41" fmla="*/ 234 h 512"/>
              <a:gd name="T42" fmla="*/ 462 w 562"/>
              <a:gd name="T43" fmla="*/ 437 h 512"/>
              <a:gd name="T44" fmla="*/ 281 w 562"/>
              <a:gd name="T45" fmla="*/ 512 h 512"/>
              <a:gd name="T46" fmla="*/ 100 w 562"/>
              <a:gd name="T47" fmla="*/ 437 h 512"/>
              <a:gd name="T48" fmla="*/ 100 w 562"/>
              <a:gd name="T49" fmla="*/ 75 h 512"/>
              <a:gd name="T50" fmla="*/ 281 w 562"/>
              <a:gd name="T51" fmla="*/ 0 h 512"/>
              <a:gd name="T52" fmla="*/ 462 w 562"/>
              <a:gd name="T53" fmla="*/ 75 h 512"/>
              <a:gd name="T54" fmla="*/ 462 w 562"/>
              <a:gd name="T55" fmla="*/ 437 h 512"/>
              <a:gd name="T56" fmla="*/ 419 w 562"/>
              <a:gd name="T57" fmla="*/ 224 h 512"/>
              <a:gd name="T58" fmla="*/ 409 w 562"/>
              <a:gd name="T59" fmla="*/ 213 h 512"/>
              <a:gd name="T60" fmla="*/ 302 w 562"/>
              <a:gd name="T61" fmla="*/ 213 h 512"/>
              <a:gd name="T62" fmla="*/ 403 w 562"/>
              <a:gd name="T63" fmla="*/ 149 h 512"/>
              <a:gd name="T64" fmla="*/ 414 w 562"/>
              <a:gd name="T65" fmla="*/ 138 h 512"/>
              <a:gd name="T66" fmla="*/ 403 w 562"/>
              <a:gd name="T67" fmla="*/ 128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7"/>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6" name="Freeform 889">
            <a:extLst>
              <a:ext uri="{FF2B5EF4-FFF2-40B4-BE49-F238E27FC236}">
                <a16:creationId xmlns:a16="http://schemas.microsoft.com/office/drawing/2014/main" id="{6294FA0D-506B-40C9-924D-47219484488F}"/>
              </a:ext>
            </a:extLst>
          </p:cNvPr>
          <p:cNvSpPr>
            <a:spLocks noChangeAspect="1" noEditPoints="1"/>
          </p:cNvSpPr>
          <p:nvPr/>
        </p:nvSpPr>
        <p:spPr bwMode="auto">
          <a:xfrm>
            <a:off x="2665723" y="4127084"/>
            <a:ext cx="404394" cy="368712"/>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403 w 562"/>
              <a:gd name="T33" fmla="*/ 149 h 512"/>
              <a:gd name="T34" fmla="*/ 414 w 562"/>
              <a:gd name="T35" fmla="*/ 138 h 512"/>
              <a:gd name="T36" fmla="*/ 403 w 562"/>
              <a:gd name="T37" fmla="*/ 128 h 512"/>
              <a:gd name="T38" fmla="*/ 280 w 562"/>
              <a:gd name="T39" fmla="*/ 213 h 512"/>
              <a:gd name="T40" fmla="*/ 246 w 562"/>
              <a:gd name="T41" fmla="*/ 213 h 512"/>
              <a:gd name="T42" fmla="*/ 232 w 562"/>
              <a:gd name="T43" fmla="*/ 196 h 512"/>
              <a:gd name="T44" fmla="*/ 224 w 562"/>
              <a:gd name="T45" fmla="*/ 192 h 512"/>
              <a:gd name="T46" fmla="*/ 153 w 562"/>
              <a:gd name="T47" fmla="*/ 192 h 512"/>
              <a:gd name="T48" fmla="*/ 142 w 562"/>
              <a:gd name="T49" fmla="*/ 202 h 512"/>
              <a:gd name="T50" fmla="*/ 142 w 562"/>
              <a:gd name="T51" fmla="*/ 384 h 512"/>
              <a:gd name="T52" fmla="*/ 153 w 562"/>
              <a:gd name="T53" fmla="*/ 394 h 512"/>
              <a:gd name="T54" fmla="*/ 409 w 562"/>
              <a:gd name="T55" fmla="*/ 394 h 512"/>
              <a:gd name="T56" fmla="*/ 419 w 562"/>
              <a:gd name="T57" fmla="*/ 384 h 512"/>
              <a:gd name="T58" fmla="*/ 419 w 562"/>
              <a:gd name="T59" fmla="*/ 224 h 512"/>
              <a:gd name="T60" fmla="*/ 409 w 562"/>
              <a:gd name="T61" fmla="*/ 213 h 512"/>
              <a:gd name="T62" fmla="*/ 398 w 562"/>
              <a:gd name="T63" fmla="*/ 373 h 512"/>
              <a:gd name="T64" fmla="*/ 163 w 562"/>
              <a:gd name="T65" fmla="*/ 373 h 512"/>
              <a:gd name="T66" fmla="*/ 163 w 562"/>
              <a:gd name="T67" fmla="*/ 213 h 512"/>
              <a:gd name="T68" fmla="*/ 219 w 562"/>
              <a:gd name="T69" fmla="*/ 213 h 512"/>
              <a:gd name="T70" fmla="*/ 233 w 562"/>
              <a:gd name="T71" fmla="*/ 230 h 512"/>
              <a:gd name="T72" fmla="*/ 241 w 562"/>
              <a:gd name="T73" fmla="*/ 234 h 512"/>
              <a:gd name="T74" fmla="*/ 275 w 562"/>
              <a:gd name="T75" fmla="*/ 234 h 512"/>
              <a:gd name="T76" fmla="*/ 270 w 562"/>
              <a:gd name="T77" fmla="*/ 283 h 512"/>
              <a:gd name="T78" fmla="*/ 246 w 562"/>
              <a:gd name="T79" fmla="*/ 259 h 512"/>
              <a:gd name="T80" fmla="*/ 230 w 562"/>
              <a:gd name="T81" fmla="*/ 259 h 512"/>
              <a:gd name="T82" fmla="*/ 230 w 562"/>
              <a:gd name="T83" fmla="*/ 274 h 512"/>
              <a:gd name="T84" fmla="*/ 273 w 562"/>
              <a:gd name="T85" fmla="*/ 317 h 512"/>
              <a:gd name="T86" fmla="*/ 281 w 562"/>
              <a:gd name="T87" fmla="*/ 320 h 512"/>
              <a:gd name="T88" fmla="*/ 288 w 562"/>
              <a:gd name="T89" fmla="*/ 317 h 512"/>
              <a:gd name="T90" fmla="*/ 331 w 562"/>
              <a:gd name="T91" fmla="*/ 274 h 512"/>
              <a:gd name="T92" fmla="*/ 331 w 562"/>
              <a:gd name="T93" fmla="*/ 259 h 512"/>
              <a:gd name="T94" fmla="*/ 316 w 562"/>
              <a:gd name="T95" fmla="*/ 259 h 512"/>
              <a:gd name="T96" fmla="*/ 291 w 562"/>
              <a:gd name="T97" fmla="*/ 283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6"/>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ubicBezTo>
                  <a:pt x="398" y="234"/>
                  <a:pt x="398" y="234"/>
                  <a:pt x="398" y="234"/>
                </a:cubicBezTo>
                <a:lnTo>
                  <a:pt x="398" y="37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7" name="Freeform 897">
            <a:extLst>
              <a:ext uri="{FF2B5EF4-FFF2-40B4-BE49-F238E27FC236}">
                <a16:creationId xmlns:a16="http://schemas.microsoft.com/office/drawing/2014/main" id="{1BD279C0-2F3A-49B4-8A3B-C64A2D949154}"/>
              </a:ext>
            </a:extLst>
          </p:cNvPr>
          <p:cNvSpPr>
            <a:spLocks noChangeAspect="1" noEditPoints="1"/>
          </p:cNvSpPr>
          <p:nvPr/>
        </p:nvSpPr>
        <p:spPr bwMode="auto">
          <a:xfrm>
            <a:off x="3131947" y="4127084"/>
            <a:ext cx="404394" cy="367631"/>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8 h 512"/>
              <a:gd name="T20" fmla="*/ 281 w 562"/>
              <a:gd name="T21" fmla="*/ 298 h 512"/>
              <a:gd name="T22" fmla="*/ 291 w 562"/>
              <a:gd name="T23" fmla="*/ 288 h 512"/>
              <a:gd name="T24" fmla="*/ 296 w 562"/>
              <a:gd name="T25" fmla="*/ 234 h 512"/>
              <a:gd name="T26" fmla="*/ 462 w 562"/>
              <a:gd name="T27" fmla="*/ 437 h 512"/>
              <a:gd name="T28" fmla="*/ 281 w 562"/>
              <a:gd name="T29" fmla="*/ 512 h 512"/>
              <a:gd name="T30" fmla="*/ 100 w 562"/>
              <a:gd name="T31" fmla="*/ 437 h 512"/>
              <a:gd name="T32" fmla="*/ 100 w 562"/>
              <a:gd name="T33" fmla="*/ 75 h 512"/>
              <a:gd name="T34" fmla="*/ 281 w 562"/>
              <a:gd name="T35" fmla="*/ 0 h 512"/>
              <a:gd name="T36" fmla="*/ 462 w 562"/>
              <a:gd name="T37" fmla="*/ 75 h 512"/>
              <a:gd name="T38" fmla="*/ 462 w 562"/>
              <a:gd name="T39" fmla="*/ 437 h 512"/>
              <a:gd name="T40" fmla="*/ 419 w 562"/>
              <a:gd name="T41" fmla="*/ 224 h 512"/>
              <a:gd name="T42" fmla="*/ 409 w 562"/>
              <a:gd name="T43" fmla="*/ 213 h 512"/>
              <a:gd name="T44" fmla="*/ 302 w 562"/>
              <a:gd name="T45" fmla="*/ 213 h 512"/>
              <a:gd name="T46" fmla="*/ 386 w 562"/>
              <a:gd name="T47" fmla="*/ 150 h 512"/>
              <a:gd name="T48" fmla="*/ 367 w 562"/>
              <a:gd name="T49" fmla="*/ 174 h 512"/>
              <a:gd name="T50" fmla="*/ 369 w 562"/>
              <a:gd name="T51" fmla="*/ 189 h 512"/>
              <a:gd name="T52" fmla="*/ 376 w 562"/>
              <a:gd name="T53" fmla="*/ 191 h 512"/>
              <a:gd name="T54" fmla="*/ 384 w 562"/>
              <a:gd name="T55" fmla="*/ 187 h 512"/>
              <a:gd name="T56" fmla="*/ 417 w 562"/>
              <a:gd name="T57" fmla="*/ 145 h 512"/>
              <a:gd name="T58" fmla="*/ 415 w 562"/>
              <a:gd name="T59" fmla="*/ 130 h 512"/>
              <a:gd name="T60" fmla="*/ 373 w 562"/>
              <a:gd name="T61" fmla="*/ 97 h 512"/>
              <a:gd name="T62" fmla="*/ 358 w 562"/>
              <a:gd name="T63" fmla="*/ 99 h 512"/>
              <a:gd name="T64" fmla="*/ 360 w 562"/>
              <a:gd name="T65" fmla="*/ 114 h 512"/>
              <a:gd name="T66" fmla="*/ 380 w 562"/>
              <a:gd name="T67" fmla="*/ 129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6" y="174"/>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8" name="Freeform 901">
            <a:extLst>
              <a:ext uri="{FF2B5EF4-FFF2-40B4-BE49-F238E27FC236}">
                <a16:creationId xmlns:a16="http://schemas.microsoft.com/office/drawing/2014/main" id="{09EF3E8A-BEE6-4C6E-9601-4021E44027D1}"/>
              </a:ext>
            </a:extLst>
          </p:cNvPr>
          <p:cNvSpPr>
            <a:spLocks noChangeAspect="1" noEditPoints="1"/>
          </p:cNvSpPr>
          <p:nvPr/>
        </p:nvSpPr>
        <p:spPr bwMode="auto">
          <a:xfrm>
            <a:off x="3598171" y="4127084"/>
            <a:ext cx="404394" cy="367631"/>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386 w 562"/>
              <a:gd name="T33" fmla="*/ 150 h 512"/>
              <a:gd name="T34" fmla="*/ 367 w 562"/>
              <a:gd name="T35" fmla="*/ 174 h 512"/>
              <a:gd name="T36" fmla="*/ 369 w 562"/>
              <a:gd name="T37" fmla="*/ 189 h 512"/>
              <a:gd name="T38" fmla="*/ 376 w 562"/>
              <a:gd name="T39" fmla="*/ 191 h 512"/>
              <a:gd name="T40" fmla="*/ 384 w 562"/>
              <a:gd name="T41" fmla="*/ 187 h 512"/>
              <a:gd name="T42" fmla="*/ 417 w 562"/>
              <a:gd name="T43" fmla="*/ 145 h 512"/>
              <a:gd name="T44" fmla="*/ 415 w 562"/>
              <a:gd name="T45" fmla="*/ 130 h 512"/>
              <a:gd name="T46" fmla="*/ 373 w 562"/>
              <a:gd name="T47" fmla="*/ 97 h 512"/>
              <a:gd name="T48" fmla="*/ 358 w 562"/>
              <a:gd name="T49" fmla="*/ 99 h 512"/>
              <a:gd name="T50" fmla="*/ 360 w 562"/>
              <a:gd name="T51" fmla="*/ 114 h 512"/>
              <a:gd name="T52" fmla="*/ 380 w 562"/>
              <a:gd name="T53" fmla="*/ 129 h 512"/>
              <a:gd name="T54" fmla="*/ 280 w 562"/>
              <a:gd name="T55" fmla="*/ 213 h 512"/>
              <a:gd name="T56" fmla="*/ 246 w 562"/>
              <a:gd name="T57" fmla="*/ 213 h 512"/>
              <a:gd name="T58" fmla="*/ 232 w 562"/>
              <a:gd name="T59" fmla="*/ 196 h 512"/>
              <a:gd name="T60" fmla="*/ 224 w 562"/>
              <a:gd name="T61" fmla="*/ 192 h 512"/>
              <a:gd name="T62" fmla="*/ 153 w 562"/>
              <a:gd name="T63" fmla="*/ 192 h 512"/>
              <a:gd name="T64" fmla="*/ 142 w 562"/>
              <a:gd name="T65" fmla="*/ 202 h 512"/>
              <a:gd name="T66" fmla="*/ 142 w 562"/>
              <a:gd name="T67" fmla="*/ 384 h 512"/>
              <a:gd name="T68" fmla="*/ 153 w 562"/>
              <a:gd name="T69" fmla="*/ 394 h 512"/>
              <a:gd name="T70" fmla="*/ 409 w 562"/>
              <a:gd name="T71" fmla="*/ 394 h 512"/>
              <a:gd name="T72" fmla="*/ 419 w 562"/>
              <a:gd name="T73" fmla="*/ 384 h 512"/>
              <a:gd name="T74" fmla="*/ 419 w 562"/>
              <a:gd name="T75" fmla="*/ 224 h 512"/>
              <a:gd name="T76" fmla="*/ 409 w 562"/>
              <a:gd name="T77" fmla="*/ 213 h 512"/>
              <a:gd name="T78" fmla="*/ 398 w 562"/>
              <a:gd name="T79" fmla="*/ 373 h 512"/>
              <a:gd name="T80" fmla="*/ 163 w 562"/>
              <a:gd name="T81" fmla="*/ 373 h 512"/>
              <a:gd name="T82" fmla="*/ 163 w 562"/>
              <a:gd name="T83" fmla="*/ 213 h 512"/>
              <a:gd name="T84" fmla="*/ 219 w 562"/>
              <a:gd name="T85" fmla="*/ 213 h 512"/>
              <a:gd name="T86" fmla="*/ 233 w 562"/>
              <a:gd name="T87" fmla="*/ 230 h 512"/>
              <a:gd name="T88" fmla="*/ 241 w 562"/>
              <a:gd name="T89" fmla="*/ 234 h 512"/>
              <a:gd name="T90" fmla="*/ 275 w 562"/>
              <a:gd name="T91" fmla="*/ 234 h 512"/>
              <a:gd name="T92" fmla="*/ 270 w 562"/>
              <a:gd name="T93" fmla="*/ 288 h 512"/>
              <a:gd name="T94" fmla="*/ 281 w 562"/>
              <a:gd name="T95" fmla="*/ 298 h 512"/>
              <a:gd name="T96" fmla="*/ 291 w 562"/>
              <a:gd name="T97" fmla="*/ 288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6" y="175"/>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ubicBezTo>
                  <a:pt x="398" y="234"/>
                  <a:pt x="398" y="234"/>
                  <a:pt x="398" y="234"/>
                </a:cubicBezTo>
                <a:lnTo>
                  <a:pt x="398" y="37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9" name="TextBox 888">
            <a:extLst>
              <a:ext uri="{FF2B5EF4-FFF2-40B4-BE49-F238E27FC236}">
                <a16:creationId xmlns:a16="http://schemas.microsoft.com/office/drawing/2014/main" id="{646B6050-19F1-4023-9DBD-917486F53BC8}"/>
              </a:ext>
            </a:extLst>
          </p:cNvPr>
          <p:cNvSpPr txBox="1"/>
          <p:nvPr/>
        </p:nvSpPr>
        <p:spPr>
          <a:xfrm>
            <a:off x="3943883"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lders</a:t>
            </a:r>
          </a:p>
        </p:txBody>
      </p:sp>
      <p:sp>
        <p:nvSpPr>
          <p:cNvPr id="890" name="Freeform 914">
            <a:extLst>
              <a:ext uri="{FF2B5EF4-FFF2-40B4-BE49-F238E27FC236}">
                <a16:creationId xmlns:a16="http://schemas.microsoft.com/office/drawing/2014/main" id="{C8A26FF4-B34E-4CD9-84A6-155DA1D42E33}"/>
              </a:ext>
            </a:extLst>
          </p:cNvPr>
          <p:cNvSpPr>
            <a:spLocks noChangeAspect="1" noEditPoints="1"/>
          </p:cNvSpPr>
          <p:nvPr/>
        </p:nvSpPr>
        <p:spPr bwMode="auto">
          <a:xfrm>
            <a:off x="4064395" y="4127084"/>
            <a:ext cx="368712" cy="367631"/>
          </a:xfrm>
          <a:custGeom>
            <a:avLst/>
            <a:gdLst>
              <a:gd name="T0" fmla="*/ 192 w 512"/>
              <a:gd name="T1" fmla="*/ 224 h 512"/>
              <a:gd name="T2" fmla="*/ 352 w 512"/>
              <a:gd name="T3" fmla="*/ 224 h 512"/>
              <a:gd name="T4" fmla="*/ 352 w 512"/>
              <a:gd name="T5" fmla="*/ 352 h 512"/>
              <a:gd name="T6" fmla="*/ 117 w 512"/>
              <a:gd name="T7" fmla="*/ 352 h 512"/>
              <a:gd name="T8" fmla="*/ 117 w 512"/>
              <a:gd name="T9" fmla="*/ 202 h 512"/>
              <a:gd name="T10" fmla="*/ 174 w 512"/>
              <a:gd name="T11" fmla="*/ 202 h 512"/>
              <a:gd name="T12" fmla="*/ 182 w 512"/>
              <a:gd name="T13" fmla="*/ 218 h 512"/>
              <a:gd name="T14" fmla="*/ 192 w 512"/>
              <a:gd name="T15" fmla="*/ 224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213 h 512"/>
              <a:gd name="T28" fmla="*/ 362 w 512"/>
              <a:gd name="T29" fmla="*/ 202 h 512"/>
              <a:gd name="T30" fmla="*/ 198 w 512"/>
              <a:gd name="T31" fmla="*/ 202 h 512"/>
              <a:gd name="T32" fmla="*/ 191 w 512"/>
              <a:gd name="T33" fmla="*/ 187 h 512"/>
              <a:gd name="T34" fmla="*/ 181 w 512"/>
              <a:gd name="T35" fmla="*/ 181 h 512"/>
              <a:gd name="T36" fmla="*/ 106 w 512"/>
              <a:gd name="T37" fmla="*/ 181 h 512"/>
              <a:gd name="T38" fmla="*/ 96 w 512"/>
              <a:gd name="T39" fmla="*/ 192 h 512"/>
              <a:gd name="T40" fmla="*/ 96 w 512"/>
              <a:gd name="T41" fmla="*/ 362 h 512"/>
              <a:gd name="T42" fmla="*/ 106 w 512"/>
              <a:gd name="T43" fmla="*/ 373 h 512"/>
              <a:gd name="T44" fmla="*/ 362 w 512"/>
              <a:gd name="T45" fmla="*/ 373 h 512"/>
              <a:gd name="T46" fmla="*/ 373 w 512"/>
              <a:gd name="T47" fmla="*/ 362 h 512"/>
              <a:gd name="T48" fmla="*/ 373 w 512"/>
              <a:gd name="T49" fmla="*/ 213 h 512"/>
              <a:gd name="T50" fmla="*/ 416 w 512"/>
              <a:gd name="T51" fmla="*/ 170 h 512"/>
              <a:gd name="T52" fmla="*/ 405 w 512"/>
              <a:gd name="T53" fmla="*/ 160 h 512"/>
              <a:gd name="T54" fmla="*/ 241 w 512"/>
              <a:gd name="T55" fmla="*/ 160 h 512"/>
              <a:gd name="T56" fmla="*/ 233 w 512"/>
              <a:gd name="T57" fmla="*/ 144 h 512"/>
              <a:gd name="T58" fmla="*/ 224 w 512"/>
              <a:gd name="T59" fmla="*/ 138 h 512"/>
              <a:gd name="T60" fmla="*/ 149 w 512"/>
              <a:gd name="T61" fmla="*/ 138 h 512"/>
              <a:gd name="T62" fmla="*/ 138 w 512"/>
              <a:gd name="T63" fmla="*/ 149 h 512"/>
              <a:gd name="T64" fmla="*/ 149 w 512"/>
              <a:gd name="T65" fmla="*/ 160 h 512"/>
              <a:gd name="T66" fmla="*/ 217 w 512"/>
              <a:gd name="T67" fmla="*/ 160 h 512"/>
              <a:gd name="T68" fmla="*/ 225 w 512"/>
              <a:gd name="T69" fmla="*/ 175 h 512"/>
              <a:gd name="T70" fmla="*/ 234 w 512"/>
              <a:gd name="T71" fmla="*/ 181 h 512"/>
              <a:gd name="T72" fmla="*/ 394 w 512"/>
              <a:gd name="T73" fmla="*/ 181 h 512"/>
              <a:gd name="T74" fmla="*/ 394 w 512"/>
              <a:gd name="T75" fmla="*/ 320 h 512"/>
              <a:gd name="T76" fmla="*/ 405 w 512"/>
              <a:gd name="T77" fmla="*/ 330 h 512"/>
              <a:gd name="T78" fmla="*/ 416 w 512"/>
              <a:gd name="T79" fmla="*/ 320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92" y="224"/>
                </a:moveTo>
                <a:cubicBezTo>
                  <a:pt x="352" y="224"/>
                  <a:pt x="352" y="224"/>
                  <a:pt x="352" y="224"/>
                </a:cubicBezTo>
                <a:cubicBezTo>
                  <a:pt x="352" y="352"/>
                  <a:pt x="352" y="352"/>
                  <a:pt x="352" y="352"/>
                </a:cubicBezTo>
                <a:cubicBezTo>
                  <a:pt x="117" y="352"/>
                  <a:pt x="117" y="352"/>
                  <a:pt x="117" y="352"/>
                </a:cubicBezTo>
                <a:cubicBezTo>
                  <a:pt x="117" y="202"/>
                  <a:pt x="117" y="202"/>
                  <a:pt x="117" y="202"/>
                </a:cubicBezTo>
                <a:cubicBezTo>
                  <a:pt x="174" y="202"/>
                  <a:pt x="174" y="202"/>
                  <a:pt x="174" y="202"/>
                </a:cubicBezTo>
                <a:cubicBezTo>
                  <a:pt x="182" y="218"/>
                  <a:pt x="182" y="218"/>
                  <a:pt x="182" y="218"/>
                </a:cubicBezTo>
                <a:cubicBezTo>
                  <a:pt x="184" y="221"/>
                  <a:pt x="188" y="224"/>
                  <a:pt x="192"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198" y="202"/>
                  <a:pt x="198" y="202"/>
                  <a:pt x="198" y="202"/>
                </a:cubicBezTo>
                <a:cubicBezTo>
                  <a:pt x="191" y="187"/>
                  <a:pt x="191" y="187"/>
                  <a:pt x="191" y="187"/>
                </a:cubicBezTo>
                <a:cubicBezTo>
                  <a:pt x="189" y="183"/>
                  <a:pt x="185" y="181"/>
                  <a:pt x="181"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362" y="373"/>
                  <a:pt x="362" y="373"/>
                  <a:pt x="362" y="373"/>
                </a:cubicBezTo>
                <a:cubicBezTo>
                  <a:pt x="368" y="373"/>
                  <a:pt x="373" y="368"/>
                  <a:pt x="373" y="362"/>
                </a:cubicBezTo>
                <a:lnTo>
                  <a:pt x="373" y="213"/>
                </a:lnTo>
                <a:close/>
                <a:moveTo>
                  <a:pt x="416" y="170"/>
                </a:moveTo>
                <a:cubicBezTo>
                  <a:pt x="416" y="164"/>
                  <a:pt x="411" y="160"/>
                  <a:pt x="405" y="160"/>
                </a:cubicBezTo>
                <a:cubicBezTo>
                  <a:pt x="241" y="160"/>
                  <a:pt x="241" y="160"/>
                  <a:pt x="241" y="160"/>
                </a:cubicBezTo>
                <a:cubicBezTo>
                  <a:pt x="233" y="144"/>
                  <a:pt x="233" y="144"/>
                  <a:pt x="233" y="144"/>
                </a:cubicBezTo>
                <a:cubicBezTo>
                  <a:pt x="231" y="141"/>
                  <a:pt x="228" y="138"/>
                  <a:pt x="224" y="138"/>
                </a:cubicBezTo>
                <a:cubicBezTo>
                  <a:pt x="149" y="138"/>
                  <a:pt x="149" y="138"/>
                  <a:pt x="149" y="138"/>
                </a:cubicBezTo>
                <a:cubicBezTo>
                  <a:pt x="143" y="138"/>
                  <a:pt x="138" y="143"/>
                  <a:pt x="138" y="149"/>
                </a:cubicBezTo>
                <a:cubicBezTo>
                  <a:pt x="138" y="155"/>
                  <a:pt x="143" y="160"/>
                  <a:pt x="149" y="160"/>
                </a:cubicBezTo>
                <a:cubicBezTo>
                  <a:pt x="217" y="160"/>
                  <a:pt x="217" y="160"/>
                  <a:pt x="217" y="160"/>
                </a:cubicBezTo>
                <a:cubicBezTo>
                  <a:pt x="225" y="175"/>
                  <a:pt x="225" y="175"/>
                  <a:pt x="225" y="175"/>
                </a:cubicBezTo>
                <a:cubicBezTo>
                  <a:pt x="227" y="179"/>
                  <a:pt x="230" y="181"/>
                  <a:pt x="234" y="181"/>
                </a:cubicBezTo>
                <a:cubicBezTo>
                  <a:pt x="394" y="181"/>
                  <a:pt x="394" y="181"/>
                  <a:pt x="394" y="181"/>
                </a:cubicBezTo>
                <a:cubicBezTo>
                  <a:pt x="394" y="320"/>
                  <a:pt x="394" y="320"/>
                  <a:pt x="394" y="320"/>
                </a:cubicBezTo>
                <a:cubicBezTo>
                  <a:pt x="394" y="326"/>
                  <a:pt x="399" y="330"/>
                  <a:pt x="405" y="330"/>
                </a:cubicBezTo>
                <a:cubicBezTo>
                  <a:pt x="411" y="330"/>
                  <a:pt x="416" y="326"/>
                  <a:pt x="416" y="320"/>
                </a:cubicBezTo>
                <a:lnTo>
                  <a:pt x="416" y="1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891" name="Group 917">
            <a:extLst>
              <a:ext uri="{FF2B5EF4-FFF2-40B4-BE49-F238E27FC236}">
                <a16:creationId xmlns:a16="http://schemas.microsoft.com/office/drawing/2014/main" id="{F82E22D0-1AE7-458C-A7DF-0182E3CF65F3}"/>
              </a:ext>
            </a:extLst>
          </p:cNvPr>
          <p:cNvGrpSpPr>
            <a:grpSpLocks noChangeAspect="1"/>
          </p:cNvGrpSpPr>
          <p:nvPr/>
        </p:nvGrpSpPr>
        <p:grpSpPr bwMode="auto">
          <a:xfrm>
            <a:off x="4494937" y="4127084"/>
            <a:ext cx="367631" cy="367631"/>
            <a:chOff x="2725" y="3572"/>
            <a:chExt cx="340" cy="340"/>
          </a:xfrm>
          <a:solidFill>
            <a:schemeClr val="accent4"/>
          </a:solidFill>
        </p:grpSpPr>
        <p:sp>
          <p:nvSpPr>
            <p:cNvPr id="892" name="Freeform 918">
              <a:extLst>
                <a:ext uri="{FF2B5EF4-FFF2-40B4-BE49-F238E27FC236}">
                  <a16:creationId xmlns:a16="http://schemas.microsoft.com/office/drawing/2014/main" id="{38A17627-363C-4470-87D0-E79AA85B4AA1}"/>
                </a:ext>
              </a:extLst>
            </p:cNvPr>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3" name="Freeform 919">
              <a:extLst>
                <a:ext uri="{FF2B5EF4-FFF2-40B4-BE49-F238E27FC236}">
                  <a16:creationId xmlns:a16="http://schemas.microsoft.com/office/drawing/2014/main" id="{2F6AFF70-FFFE-4FBA-AFA9-488FE1CBCD21}"/>
                </a:ext>
              </a:extLst>
            </p:cNvPr>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94" name="TextBox 893">
            <a:extLst>
              <a:ext uri="{FF2B5EF4-FFF2-40B4-BE49-F238E27FC236}">
                <a16:creationId xmlns:a16="http://schemas.microsoft.com/office/drawing/2014/main" id="{CFC2A719-06DA-45A8-BB7A-F0136DDF0CBE}"/>
              </a:ext>
            </a:extLst>
          </p:cNvPr>
          <p:cNvSpPr txBox="1"/>
          <p:nvPr/>
        </p:nvSpPr>
        <p:spPr>
          <a:xfrm>
            <a:off x="568435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rame</a:t>
            </a:r>
          </a:p>
        </p:txBody>
      </p:sp>
      <p:sp>
        <p:nvSpPr>
          <p:cNvPr id="895" name="TextBox 894">
            <a:extLst>
              <a:ext uri="{FF2B5EF4-FFF2-40B4-BE49-F238E27FC236}">
                <a16:creationId xmlns:a16="http://schemas.microsoft.com/office/drawing/2014/main" id="{41921887-61F7-4C78-B938-8E7FBD610245}"/>
              </a:ext>
            </a:extLst>
          </p:cNvPr>
          <p:cNvSpPr txBox="1"/>
          <p:nvPr/>
        </p:nvSpPr>
        <p:spPr>
          <a:xfrm>
            <a:off x="4812829" y="2952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ull frame</a:t>
            </a:r>
          </a:p>
        </p:txBody>
      </p:sp>
      <p:sp>
        <p:nvSpPr>
          <p:cNvPr id="896" name="Freeform 951">
            <a:extLst>
              <a:ext uri="{FF2B5EF4-FFF2-40B4-BE49-F238E27FC236}">
                <a16:creationId xmlns:a16="http://schemas.microsoft.com/office/drawing/2014/main" id="{D8113DDE-8FD9-4551-B74D-F9B661FF7F59}"/>
              </a:ext>
            </a:extLst>
          </p:cNvPr>
          <p:cNvSpPr>
            <a:spLocks noChangeAspect="1" noEditPoints="1"/>
          </p:cNvSpPr>
          <p:nvPr/>
        </p:nvSpPr>
        <p:spPr bwMode="auto">
          <a:xfrm>
            <a:off x="4838387" y="2532035"/>
            <a:ext cx="368712" cy="367631"/>
          </a:xfrm>
          <a:custGeom>
            <a:avLst/>
            <a:gdLst>
              <a:gd name="T0" fmla="*/ 192 w 512"/>
              <a:gd name="T1" fmla="*/ 192 h 512"/>
              <a:gd name="T2" fmla="*/ 320 w 512"/>
              <a:gd name="T3" fmla="*/ 192 h 512"/>
              <a:gd name="T4" fmla="*/ 320 w 512"/>
              <a:gd name="T5" fmla="*/ 320 h 512"/>
              <a:gd name="T6" fmla="*/ 192 w 512"/>
              <a:gd name="T7" fmla="*/ 320 h 512"/>
              <a:gd name="T8" fmla="*/ 192 w 512"/>
              <a:gd name="T9" fmla="*/ 19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17 w 512"/>
              <a:gd name="T21" fmla="*/ 202 h 512"/>
              <a:gd name="T22" fmla="*/ 128 w 512"/>
              <a:gd name="T23" fmla="*/ 213 h 512"/>
              <a:gd name="T24" fmla="*/ 138 w 512"/>
              <a:gd name="T25" fmla="*/ 202 h 512"/>
              <a:gd name="T26" fmla="*/ 138 w 512"/>
              <a:gd name="T27" fmla="*/ 138 h 512"/>
              <a:gd name="T28" fmla="*/ 202 w 512"/>
              <a:gd name="T29" fmla="*/ 138 h 512"/>
              <a:gd name="T30" fmla="*/ 213 w 512"/>
              <a:gd name="T31" fmla="*/ 128 h 512"/>
              <a:gd name="T32" fmla="*/ 202 w 512"/>
              <a:gd name="T33" fmla="*/ 117 h 512"/>
              <a:gd name="T34" fmla="*/ 128 w 512"/>
              <a:gd name="T35" fmla="*/ 117 h 512"/>
              <a:gd name="T36" fmla="*/ 117 w 512"/>
              <a:gd name="T37" fmla="*/ 128 h 512"/>
              <a:gd name="T38" fmla="*/ 117 w 512"/>
              <a:gd name="T39" fmla="*/ 202 h 512"/>
              <a:gd name="T40" fmla="*/ 213 w 512"/>
              <a:gd name="T41" fmla="*/ 384 h 512"/>
              <a:gd name="T42" fmla="*/ 202 w 512"/>
              <a:gd name="T43" fmla="*/ 373 h 512"/>
              <a:gd name="T44" fmla="*/ 138 w 512"/>
              <a:gd name="T45" fmla="*/ 373 h 512"/>
              <a:gd name="T46" fmla="*/ 138 w 512"/>
              <a:gd name="T47" fmla="*/ 309 h 512"/>
              <a:gd name="T48" fmla="*/ 128 w 512"/>
              <a:gd name="T49" fmla="*/ 298 h 512"/>
              <a:gd name="T50" fmla="*/ 117 w 512"/>
              <a:gd name="T51" fmla="*/ 309 h 512"/>
              <a:gd name="T52" fmla="*/ 117 w 512"/>
              <a:gd name="T53" fmla="*/ 384 h 512"/>
              <a:gd name="T54" fmla="*/ 128 w 512"/>
              <a:gd name="T55" fmla="*/ 394 h 512"/>
              <a:gd name="T56" fmla="*/ 202 w 512"/>
              <a:gd name="T57" fmla="*/ 394 h 512"/>
              <a:gd name="T58" fmla="*/ 213 w 512"/>
              <a:gd name="T59" fmla="*/ 384 h 512"/>
              <a:gd name="T60" fmla="*/ 330 w 512"/>
              <a:gd name="T61" fmla="*/ 341 h 512"/>
              <a:gd name="T62" fmla="*/ 341 w 512"/>
              <a:gd name="T63" fmla="*/ 330 h 512"/>
              <a:gd name="T64" fmla="*/ 341 w 512"/>
              <a:gd name="T65" fmla="*/ 181 h 512"/>
              <a:gd name="T66" fmla="*/ 330 w 512"/>
              <a:gd name="T67" fmla="*/ 170 h 512"/>
              <a:gd name="T68" fmla="*/ 181 w 512"/>
              <a:gd name="T69" fmla="*/ 170 h 512"/>
              <a:gd name="T70" fmla="*/ 170 w 512"/>
              <a:gd name="T71" fmla="*/ 181 h 512"/>
              <a:gd name="T72" fmla="*/ 170 w 512"/>
              <a:gd name="T73" fmla="*/ 330 h 512"/>
              <a:gd name="T74" fmla="*/ 181 w 512"/>
              <a:gd name="T75" fmla="*/ 341 h 512"/>
              <a:gd name="T76" fmla="*/ 330 w 512"/>
              <a:gd name="T77" fmla="*/ 341 h 512"/>
              <a:gd name="T78" fmla="*/ 394 w 512"/>
              <a:gd name="T79" fmla="*/ 309 h 512"/>
              <a:gd name="T80" fmla="*/ 384 w 512"/>
              <a:gd name="T81" fmla="*/ 298 h 512"/>
              <a:gd name="T82" fmla="*/ 373 w 512"/>
              <a:gd name="T83" fmla="*/ 309 h 512"/>
              <a:gd name="T84" fmla="*/ 373 w 512"/>
              <a:gd name="T85" fmla="*/ 373 h 512"/>
              <a:gd name="T86" fmla="*/ 309 w 512"/>
              <a:gd name="T87" fmla="*/ 373 h 512"/>
              <a:gd name="T88" fmla="*/ 298 w 512"/>
              <a:gd name="T89" fmla="*/ 384 h 512"/>
              <a:gd name="T90" fmla="*/ 309 w 512"/>
              <a:gd name="T91" fmla="*/ 394 h 512"/>
              <a:gd name="T92" fmla="*/ 384 w 512"/>
              <a:gd name="T93" fmla="*/ 394 h 512"/>
              <a:gd name="T94" fmla="*/ 394 w 512"/>
              <a:gd name="T95" fmla="*/ 384 h 512"/>
              <a:gd name="T96" fmla="*/ 394 w 512"/>
              <a:gd name="T97" fmla="*/ 309 h 512"/>
              <a:gd name="T98" fmla="*/ 394 w 512"/>
              <a:gd name="T99" fmla="*/ 128 h 512"/>
              <a:gd name="T100" fmla="*/ 384 w 512"/>
              <a:gd name="T101" fmla="*/ 117 h 512"/>
              <a:gd name="T102" fmla="*/ 309 w 512"/>
              <a:gd name="T103" fmla="*/ 117 h 512"/>
              <a:gd name="T104" fmla="*/ 298 w 512"/>
              <a:gd name="T105" fmla="*/ 128 h 512"/>
              <a:gd name="T106" fmla="*/ 309 w 512"/>
              <a:gd name="T107" fmla="*/ 138 h 512"/>
              <a:gd name="T108" fmla="*/ 373 w 512"/>
              <a:gd name="T109" fmla="*/ 138 h 512"/>
              <a:gd name="T110" fmla="*/ 373 w 512"/>
              <a:gd name="T111" fmla="*/ 202 h 512"/>
              <a:gd name="T112" fmla="*/ 384 w 512"/>
              <a:gd name="T113" fmla="*/ 213 h 512"/>
              <a:gd name="T114" fmla="*/ 394 w 512"/>
              <a:gd name="T115" fmla="*/ 202 h 512"/>
              <a:gd name="T116" fmla="*/ 394 w 512"/>
              <a:gd name="T11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92" y="192"/>
                </a:moveTo>
                <a:cubicBezTo>
                  <a:pt x="320" y="192"/>
                  <a:pt x="320" y="192"/>
                  <a:pt x="320" y="192"/>
                </a:cubicBezTo>
                <a:cubicBezTo>
                  <a:pt x="320" y="320"/>
                  <a:pt x="320" y="320"/>
                  <a:pt x="320" y="320"/>
                </a:cubicBezTo>
                <a:cubicBezTo>
                  <a:pt x="192" y="320"/>
                  <a:pt x="192" y="320"/>
                  <a:pt x="192" y="320"/>
                </a:cubicBezTo>
                <a:lnTo>
                  <a:pt x="192" y="19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17" y="202"/>
                </a:moveTo>
                <a:cubicBezTo>
                  <a:pt x="117" y="208"/>
                  <a:pt x="122" y="213"/>
                  <a:pt x="128" y="213"/>
                </a:cubicBezTo>
                <a:cubicBezTo>
                  <a:pt x="134" y="213"/>
                  <a:pt x="138" y="208"/>
                  <a:pt x="138" y="202"/>
                </a:cubicBezTo>
                <a:cubicBezTo>
                  <a:pt x="138" y="138"/>
                  <a:pt x="138" y="138"/>
                  <a:pt x="138" y="138"/>
                </a:cubicBezTo>
                <a:cubicBezTo>
                  <a:pt x="202" y="138"/>
                  <a:pt x="202" y="138"/>
                  <a:pt x="202" y="138"/>
                </a:cubicBezTo>
                <a:cubicBezTo>
                  <a:pt x="208" y="138"/>
                  <a:pt x="213" y="134"/>
                  <a:pt x="213" y="128"/>
                </a:cubicBezTo>
                <a:cubicBezTo>
                  <a:pt x="213" y="122"/>
                  <a:pt x="208" y="117"/>
                  <a:pt x="202" y="117"/>
                </a:cubicBezTo>
                <a:cubicBezTo>
                  <a:pt x="128" y="117"/>
                  <a:pt x="128" y="117"/>
                  <a:pt x="128" y="117"/>
                </a:cubicBezTo>
                <a:cubicBezTo>
                  <a:pt x="122" y="117"/>
                  <a:pt x="117" y="122"/>
                  <a:pt x="117" y="128"/>
                </a:cubicBezTo>
                <a:lnTo>
                  <a:pt x="117" y="202"/>
                </a:lnTo>
                <a:close/>
                <a:moveTo>
                  <a:pt x="213" y="384"/>
                </a:moveTo>
                <a:cubicBezTo>
                  <a:pt x="213" y="378"/>
                  <a:pt x="208" y="373"/>
                  <a:pt x="202" y="373"/>
                </a:cubicBezTo>
                <a:cubicBezTo>
                  <a:pt x="138" y="373"/>
                  <a:pt x="138" y="373"/>
                  <a:pt x="138" y="373"/>
                </a:cubicBezTo>
                <a:cubicBezTo>
                  <a:pt x="138" y="309"/>
                  <a:pt x="138" y="309"/>
                  <a:pt x="138" y="309"/>
                </a:cubicBezTo>
                <a:cubicBezTo>
                  <a:pt x="138" y="303"/>
                  <a:pt x="134" y="298"/>
                  <a:pt x="128" y="298"/>
                </a:cubicBezTo>
                <a:cubicBezTo>
                  <a:pt x="122" y="298"/>
                  <a:pt x="117" y="303"/>
                  <a:pt x="117" y="309"/>
                </a:cubicBezTo>
                <a:cubicBezTo>
                  <a:pt x="117" y="384"/>
                  <a:pt x="117" y="384"/>
                  <a:pt x="117" y="384"/>
                </a:cubicBezTo>
                <a:cubicBezTo>
                  <a:pt x="117" y="390"/>
                  <a:pt x="122" y="394"/>
                  <a:pt x="128" y="394"/>
                </a:cubicBezTo>
                <a:cubicBezTo>
                  <a:pt x="202" y="394"/>
                  <a:pt x="202" y="394"/>
                  <a:pt x="202" y="394"/>
                </a:cubicBezTo>
                <a:cubicBezTo>
                  <a:pt x="208" y="394"/>
                  <a:pt x="213" y="390"/>
                  <a:pt x="213" y="384"/>
                </a:cubicBezTo>
                <a:close/>
                <a:moveTo>
                  <a:pt x="330" y="341"/>
                </a:moveTo>
                <a:cubicBezTo>
                  <a:pt x="336" y="341"/>
                  <a:pt x="341" y="336"/>
                  <a:pt x="341" y="330"/>
                </a:cubicBezTo>
                <a:cubicBezTo>
                  <a:pt x="341" y="181"/>
                  <a:pt x="341" y="181"/>
                  <a:pt x="341" y="181"/>
                </a:cubicBezTo>
                <a:cubicBezTo>
                  <a:pt x="341" y="175"/>
                  <a:pt x="336" y="170"/>
                  <a:pt x="330" y="170"/>
                </a:cubicBezTo>
                <a:cubicBezTo>
                  <a:pt x="181" y="170"/>
                  <a:pt x="181" y="170"/>
                  <a:pt x="181" y="170"/>
                </a:cubicBezTo>
                <a:cubicBezTo>
                  <a:pt x="175" y="170"/>
                  <a:pt x="170" y="175"/>
                  <a:pt x="170" y="181"/>
                </a:cubicBezTo>
                <a:cubicBezTo>
                  <a:pt x="170" y="330"/>
                  <a:pt x="170" y="330"/>
                  <a:pt x="170" y="330"/>
                </a:cubicBezTo>
                <a:cubicBezTo>
                  <a:pt x="170" y="336"/>
                  <a:pt x="175" y="341"/>
                  <a:pt x="181" y="341"/>
                </a:cubicBezTo>
                <a:lnTo>
                  <a:pt x="330" y="341"/>
                </a:lnTo>
                <a:close/>
                <a:moveTo>
                  <a:pt x="394" y="309"/>
                </a:moveTo>
                <a:cubicBezTo>
                  <a:pt x="394" y="303"/>
                  <a:pt x="390" y="298"/>
                  <a:pt x="384" y="298"/>
                </a:cubicBezTo>
                <a:cubicBezTo>
                  <a:pt x="378" y="298"/>
                  <a:pt x="373" y="303"/>
                  <a:pt x="373" y="309"/>
                </a:cubicBezTo>
                <a:cubicBezTo>
                  <a:pt x="373" y="373"/>
                  <a:pt x="373" y="373"/>
                  <a:pt x="373" y="373"/>
                </a:cubicBezTo>
                <a:cubicBezTo>
                  <a:pt x="309" y="373"/>
                  <a:pt x="309" y="373"/>
                  <a:pt x="309" y="373"/>
                </a:cubicBezTo>
                <a:cubicBezTo>
                  <a:pt x="303" y="373"/>
                  <a:pt x="298" y="378"/>
                  <a:pt x="298" y="384"/>
                </a:cubicBezTo>
                <a:cubicBezTo>
                  <a:pt x="298" y="390"/>
                  <a:pt x="303" y="394"/>
                  <a:pt x="309" y="394"/>
                </a:cubicBezTo>
                <a:cubicBezTo>
                  <a:pt x="384" y="394"/>
                  <a:pt x="384" y="394"/>
                  <a:pt x="384" y="394"/>
                </a:cubicBezTo>
                <a:cubicBezTo>
                  <a:pt x="390" y="394"/>
                  <a:pt x="394" y="390"/>
                  <a:pt x="394" y="384"/>
                </a:cubicBezTo>
                <a:lnTo>
                  <a:pt x="394" y="309"/>
                </a:lnTo>
                <a:close/>
                <a:moveTo>
                  <a:pt x="394" y="128"/>
                </a:moveTo>
                <a:cubicBezTo>
                  <a:pt x="394" y="122"/>
                  <a:pt x="390" y="117"/>
                  <a:pt x="384" y="117"/>
                </a:cubicBezTo>
                <a:cubicBezTo>
                  <a:pt x="309" y="117"/>
                  <a:pt x="309" y="117"/>
                  <a:pt x="309" y="117"/>
                </a:cubicBezTo>
                <a:cubicBezTo>
                  <a:pt x="303" y="117"/>
                  <a:pt x="298" y="122"/>
                  <a:pt x="298" y="128"/>
                </a:cubicBezTo>
                <a:cubicBezTo>
                  <a:pt x="298" y="134"/>
                  <a:pt x="303" y="138"/>
                  <a:pt x="309" y="138"/>
                </a:cubicBezTo>
                <a:cubicBezTo>
                  <a:pt x="373" y="138"/>
                  <a:pt x="373" y="138"/>
                  <a:pt x="373" y="138"/>
                </a:cubicBezTo>
                <a:cubicBezTo>
                  <a:pt x="373" y="202"/>
                  <a:pt x="373" y="202"/>
                  <a:pt x="373" y="202"/>
                </a:cubicBezTo>
                <a:cubicBezTo>
                  <a:pt x="373" y="208"/>
                  <a:pt x="378" y="213"/>
                  <a:pt x="384" y="213"/>
                </a:cubicBezTo>
                <a:cubicBezTo>
                  <a:pt x="390" y="213"/>
                  <a:pt x="394" y="208"/>
                  <a:pt x="394" y="202"/>
                </a:cubicBezTo>
                <a:lnTo>
                  <a:pt x="394" y="12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97" name="Freeform 955">
            <a:extLst>
              <a:ext uri="{FF2B5EF4-FFF2-40B4-BE49-F238E27FC236}">
                <a16:creationId xmlns:a16="http://schemas.microsoft.com/office/drawing/2014/main" id="{F527AF02-23DF-4AC2-B605-D61AC86E1259}"/>
              </a:ext>
            </a:extLst>
          </p:cNvPr>
          <p:cNvSpPr>
            <a:spLocks noChangeAspect="1" noEditPoints="1"/>
          </p:cNvSpPr>
          <p:nvPr/>
        </p:nvSpPr>
        <p:spPr bwMode="auto">
          <a:xfrm>
            <a:off x="5274249" y="2532035"/>
            <a:ext cx="367631" cy="36763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38 w 512"/>
              <a:gd name="T11" fmla="*/ 202 h 512"/>
              <a:gd name="T12" fmla="*/ 202 w 512"/>
              <a:gd name="T13" fmla="*/ 138 h 512"/>
              <a:gd name="T14" fmla="*/ 202 w 512"/>
              <a:gd name="T15" fmla="*/ 117 h 512"/>
              <a:gd name="T16" fmla="*/ 117 w 512"/>
              <a:gd name="T17" fmla="*/ 128 h 512"/>
              <a:gd name="T18" fmla="*/ 128 w 512"/>
              <a:gd name="T19" fmla="*/ 213 h 512"/>
              <a:gd name="T20" fmla="*/ 138 w 512"/>
              <a:gd name="T21" fmla="*/ 373 h 512"/>
              <a:gd name="T22" fmla="*/ 128 w 512"/>
              <a:gd name="T23" fmla="*/ 298 h 512"/>
              <a:gd name="T24" fmla="*/ 117 w 512"/>
              <a:gd name="T25" fmla="*/ 384 h 512"/>
              <a:gd name="T26" fmla="*/ 202 w 512"/>
              <a:gd name="T27" fmla="*/ 394 h 512"/>
              <a:gd name="T28" fmla="*/ 202 w 512"/>
              <a:gd name="T29" fmla="*/ 373 h 512"/>
              <a:gd name="T30" fmla="*/ 373 w 512"/>
              <a:gd name="T31" fmla="*/ 309 h 512"/>
              <a:gd name="T32" fmla="*/ 309 w 512"/>
              <a:gd name="T33" fmla="*/ 373 h 512"/>
              <a:gd name="T34" fmla="*/ 309 w 512"/>
              <a:gd name="T35" fmla="*/ 394 h 512"/>
              <a:gd name="T36" fmla="*/ 394 w 512"/>
              <a:gd name="T37" fmla="*/ 384 h 512"/>
              <a:gd name="T38" fmla="*/ 384 w 512"/>
              <a:gd name="T39" fmla="*/ 298 h 512"/>
              <a:gd name="T40" fmla="*/ 309 w 512"/>
              <a:gd name="T41" fmla="*/ 117 h 512"/>
              <a:gd name="T42" fmla="*/ 309 w 512"/>
              <a:gd name="T43" fmla="*/ 138 h 512"/>
              <a:gd name="T44" fmla="*/ 373 w 512"/>
              <a:gd name="T45" fmla="*/ 202 h 512"/>
              <a:gd name="T46" fmla="*/ 394 w 512"/>
              <a:gd name="T47" fmla="*/ 202 h 512"/>
              <a:gd name="T48" fmla="*/ 384 w 512"/>
              <a:gd name="T49" fmla="*/ 117 h 512"/>
              <a:gd name="T50" fmla="*/ 170 w 512"/>
              <a:gd name="T51" fmla="*/ 330 h 512"/>
              <a:gd name="T52" fmla="*/ 330 w 512"/>
              <a:gd name="T53" fmla="*/ 341 h 512"/>
              <a:gd name="T54" fmla="*/ 341 w 512"/>
              <a:gd name="T55" fmla="*/ 181 h 512"/>
              <a:gd name="T56" fmla="*/ 181 w 512"/>
              <a:gd name="T57" fmla="*/ 170 h 512"/>
              <a:gd name="T58" fmla="*/ 192 w 512"/>
              <a:gd name="T59" fmla="*/ 192 h 512"/>
              <a:gd name="T60" fmla="*/ 320 w 512"/>
              <a:gd name="T61" fmla="*/ 320 h 512"/>
              <a:gd name="T62" fmla="*/ 192 w 512"/>
              <a:gd name="T6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8" y="213"/>
                </a:moveTo>
                <a:cubicBezTo>
                  <a:pt x="134" y="213"/>
                  <a:pt x="138" y="208"/>
                  <a:pt x="138" y="202"/>
                </a:cubicBezTo>
                <a:cubicBezTo>
                  <a:pt x="138" y="138"/>
                  <a:pt x="138" y="138"/>
                  <a:pt x="138" y="138"/>
                </a:cubicBezTo>
                <a:cubicBezTo>
                  <a:pt x="202" y="138"/>
                  <a:pt x="202" y="138"/>
                  <a:pt x="202" y="138"/>
                </a:cubicBezTo>
                <a:cubicBezTo>
                  <a:pt x="208" y="138"/>
                  <a:pt x="213" y="134"/>
                  <a:pt x="213" y="128"/>
                </a:cubicBezTo>
                <a:cubicBezTo>
                  <a:pt x="213" y="122"/>
                  <a:pt x="208" y="117"/>
                  <a:pt x="202" y="117"/>
                </a:cubicBezTo>
                <a:cubicBezTo>
                  <a:pt x="128" y="117"/>
                  <a:pt x="128" y="117"/>
                  <a:pt x="128" y="117"/>
                </a:cubicBezTo>
                <a:cubicBezTo>
                  <a:pt x="122" y="117"/>
                  <a:pt x="117" y="122"/>
                  <a:pt x="117" y="128"/>
                </a:cubicBezTo>
                <a:cubicBezTo>
                  <a:pt x="117" y="202"/>
                  <a:pt x="117" y="202"/>
                  <a:pt x="117" y="202"/>
                </a:cubicBezTo>
                <a:cubicBezTo>
                  <a:pt x="117" y="208"/>
                  <a:pt x="122" y="213"/>
                  <a:pt x="128" y="213"/>
                </a:cubicBezTo>
                <a:close/>
                <a:moveTo>
                  <a:pt x="202" y="373"/>
                </a:moveTo>
                <a:cubicBezTo>
                  <a:pt x="138" y="373"/>
                  <a:pt x="138" y="373"/>
                  <a:pt x="138" y="373"/>
                </a:cubicBezTo>
                <a:cubicBezTo>
                  <a:pt x="138" y="309"/>
                  <a:pt x="138" y="309"/>
                  <a:pt x="138" y="309"/>
                </a:cubicBezTo>
                <a:cubicBezTo>
                  <a:pt x="138" y="303"/>
                  <a:pt x="134" y="298"/>
                  <a:pt x="128" y="298"/>
                </a:cubicBezTo>
                <a:cubicBezTo>
                  <a:pt x="122" y="298"/>
                  <a:pt x="117" y="303"/>
                  <a:pt x="117" y="309"/>
                </a:cubicBezTo>
                <a:cubicBezTo>
                  <a:pt x="117" y="384"/>
                  <a:pt x="117" y="384"/>
                  <a:pt x="117" y="384"/>
                </a:cubicBezTo>
                <a:cubicBezTo>
                  <a:pt x="117" y="390"/>
                  <a:pt x="122" y="394"/>
                  <a:pt x="128" y="394"/>
                </a:cubicBezTo>
                <a:cubicBezTo>
                  <a:pt x="202" y="394"/>
                  <a:pt x="202" y="394"/>
                  <a:pt x="202" y="394"/>
                </a:cubicBezTo>
                <a:cubicBezTo>
                  <a:pt x="208" y="394"/>
                  <a:pt x="213" y="390"/>
                  <a:pt x="213" y="384"/>
                </a:cubicBezTo>
                <a:cubicBezTo>
                  <a:pt x="213" y="378"/>
                  <a:pt x="208" y="373"/>
                  <a:pt x="202" y="373"/>
                </a:cubicBezTo>
                <a:close/>
                <a:moveTo>
                  <a:pt x="384" y="298"/>
                </a:moveTo>
                <a:cubicBezTo>
                  <a:pt x="378" y="298"/>
                  <a:pt x="373" y="303"/>
                  <a:pt x="373" y="309"/>
                </a:cubicBezTo>
                <a:cubicBezTo>
                  <a:pt x="373" y="373"/>
                  <a:pt x="373" y="373"/>
                  <a:pt x="373" y="373"/>
                </a:cubicBezTo>
                <a:cubicBezTo>
                  <a:pt x="309" y="373"/>
                  <a:pt x="309" y="373"/>
                  <a:pt x="309" y="373"/>
                </a:cubicBezTo>
                <a:cubicBezTo>
                  <a:pt x="303" y="373"/>
                  <a:pt x="298" y="378"/>
                  <a:pt x="298" y="384"/>
                </a:cubicBezTo>
                <a:cubicBezTo>
                  <a:pt x="298" y="390"/>
                  <a:pt x="303" y="394"/>
                  <a:pt x="309" y="394"/>
                </a:cubicBezTo>
                <a:cubicBezTo>
                  <a:pt x="384" y="394"/>
                  <a:pt x="384" y="394"/>
                  <a:pt x="384" y="394"/>
                </a:cubicBezTo>
                <a:cubicBezTo>
                  <a:pt x="390" y="394"/>
                  <a:pt x="394" y="390"/>
                  <a:pt x="394" y="384"/>
                </a:cubicBezTo>
                <a:cubicBezTo>
                  <a:pt x="394" y="309"/>
                  <a:pt x="394" y="309"/>
                  <a:pt x="394" y="309"/>
                </a:cubicBezTo>
                <a:cubicBezTo>
                  <a:pt x="394" y="303"/>
                  <a:pt x="390" y="298"/>
                  <a:pt x="384" y="298"/>
                </a:cubicBezTo>
                <a:close/>
                <a:moveTo>
                  <a:pt x="384" y="117"/>
                </a:moveTo>
                <a:cubicBezTo>
                  <a:pt x="309" y="117"/>
                  <a:pt x="309" y="117"/>
                  <a:pt x="309" y="117"/>
                </a:cubicBezTo>
                <a:cubicBezTo>
                  <a:pt x="303" y="117"/>
                  <a:pt x="298" y="122"/>
                  <a:pt x="298" y="128"/>
                </a:cubicBezTo>
                <a:cubicBezTo>
                  <a:pt x="298" y="134"/>
                  <a:pt x="303" y="138"/>
                  <a:pt x="309" y="138"/>
                </a:cubicBezTo>
                <a:cubicBezTo>
                  <a:pt x="373" y="138"/>
                  <a:pt x="373" y="138"/>
                  <a:pt x="373" y="138"/>
                </a:cubicBezTo>
                <a:cubicBezTo>
                  <a:pt x="373" y="202"/>
                  <a:pt x="373" y="202"/>
                  <a:pt x="373" y="202"/>
                </a:cubicBezTo>
                <a:cubicBezTo>
                  <a:pt x="373" y="208"/>
                  <a:pt x="378" y="213"/>
                  <a:pt x="384" y="213"/>
                </a:cubicBezTo>
                <a:cubicBezTo>
                  <a:pt x="390" y="213"/>
                  <a:pt x="394" y="208"/>
                  <a:pt x="394" y="202"/>
                </a:cubicBezTo>
                <a:cubicBezTo>
                  <a:pt x="394" y="128"/>
                  <a:pt x="394" y="128"/>
                  <a:pt x="394" y="128"/>
                </a:cubicBezTo>
                <a:cubicBezTo>
                  <a:pt x="394" y="122"/>
                  <a:pt x="390" y="117"/>
                  <a:pt x="384" y="117"/>
                </a:cubicBezTo>
                <a:close/>
                <a:moveTo>
                  <a:pt x="170" y="181"/>
                </a:moveTo>
                <a:cubicBezTo>
                  <a:pt x="170" y="330"/>
                  <a:pt x="170" y="330"/>
                  <a:pt x="170" y="330"/>
                </a:cubicBezTo>
                <a:cubicBezTo>
                  <a:pt x="170" y="336"/>
                  <a:pt x="175" y="341"/>
                  <a:pt x="181" y="341"/>
                </a:cubicBezTo>
                <a:cubicBezTo>
                  <a:pt x="330" y="341"/>
                  <a:pt x="330" y="341"/>
                  <a:pt x="330" y="341"/>
                </a:cubicBezTo>
                <a:cubicBezTo>
                  <a:pt x="336" y="341"/>
                  <a:pt x="341" y="336"/>
                  <a:pt x="341" y="330"/>
                </a:cubicBezTo>
                <a:cubicBezTo>
                  <a:pt x="341" y="181"/>
                  <a:pt x="341" y="181"/>
                  <a:pt x="341" y="181"/>
                </a:cubicBezTo>
                <a:cubicBezTo>
                  <a:pt x="341" y="175"/>
                  <a:pt x="336" y="170"/>
                  <a:pt x="330" y="170"/>
                </a:cubicBezTo>
                <a:cubicBezTo>
                  <a:pt x="181" y="170"/>
                  <a:pt x="181" y="170"/>
                  <a:pt x="181" y="170"/>
                </a:cubicBezTo>
                <a:cubicBezTo>
                  <a:pt x="175" y="170"/>
                  <a:pt x="170" y="175"/>
                  <a:pt x="170" y="181"/>
                </a:cubicBezTo>
                <a:close/>
                <a:moveTo>
                  <a:pt x="192" y="192"/>
                </a:moveTo>
                <a:cubicBezTo>
                  <a:pt x="320" y="192"/>
                  <a:pt x="320" y="192"/>
                  <a:pt x="320" y="192"/>
                </a:cubicBezTo>
                <a:cubicBezTo>
                  <a:pt x="320" y="320"/>
                  <a:pt x="320" y="320"/>
                  <a:pt x="320" y="320"/>
                </a:cubicBezTo>
                <a:cubicBezTo>
                  <a:pt x="192" y="320"/>
                  <a:pt x="192" y="320"/>
                  <a:pt x="192" y="320"/>
                </a:cubicBezTo>
                <a:lnTo>
                  <a:pt x="192" y="1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98" name="Freeform 959">
            <a:extLst>
              <a:ext uri="{FF2B5EF4-FFF2-40B4-BE49-F238E27FC236}">
                <a16:creationId xmlns:a16="http://schemas.microsoft.com/office/drawing/2014/main" id="{A98730E8-F996-4C86-8A67-E6DF4CA15196}"/>
              </a:ext>
            </a:extLst>
          </p:cNvPr>
          <p:cNvSpPr>
            <a:spLocks noChangeAspect="1" noEditPoints="1"/>
          </p:cNvSpPr>
          <p:nvPr/>
        </p:nvSpPr>
        <p:spPr bwMode="auto">
          <a:xfrm>
            <a:off x="5709030" y="2532035"/>
            <a:ext cx="367631" cy="36871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394 h 512"/>
              <a:gd name="T12" fmla="*/ 128 w 512"/>
              <a:gd name="T13" fmla="*/ 394 h 512"/>
              <a:gd name="T14" fmla="*/ 117 w 512"/>
              <a:gd name="T15" fmla="*/ 384 h 512"/>
              <a:gd name="T16" fmla="*/ 117 w 512"/>
              <a:gd name="T17" fmla="*/ 309 h 512"/>
              <a:gd name="T18" fmla="*/ 128 w 512"/>
              <a:gd name="T19" fmla="*/ 298 h 512"/>
              <a:gd name="T20" fmla="*/ 138 w 512"/>
              <a:gd name="T21" fmla="*/ 309 h 512"/>
              <a:gd name="T22" fmla="*/ 138 w 512"/>
              <a:gd name="T23" fmla="*/ 373 h 512"/>
              <a:gd name="T24" fmla="*/ 202 w 512"/>
              <a:gd name="T25" fmla="*/ 373 h 512"/>
              <a:gd name="T26" fmla="*/ 213 w 512"/>
              <a:gd name="T27" fmla="*/ 384 h 512"/>
              <a:gd name="T28" fmla="*/ 202 w 512"/>
              <a:gd name="T29" fmla="*/ 394 h 512"/>
              <a:gd name="T30" fmla="*/ 202 w 512"/>
              <a:gd name="T31" fmla="*/ 138 h 512"/>
              <a:gd name="T32" fmla="*/ 138 w 512"/>
              <a:gd name="T33" fmla="*/ 138 h 512"/>
              <a:gd name="T34" fmla="*/ 138 w 512"/>
              <a:gd name="T35" fmla="*/ 202 h 512"/>
              <a:gd name="T36" fmla="*/ 128 w 512"/>
              <a:gd name="T37" fmla="*/ 213 h 512"/>
              <a:gd name="T38" fmla="*/ 117 w 512"/>
              <a:gd name="T39" fmla="*/ 202 h 512"/>
              <a:gd name="T40" fmla="*/ 117 w 512"/>
              <a:gd name="T41" fmla="*/ 128 h 512"/>
              <a:gd name="T42" fmla="*/ 128 w 512"/>
              <a:gd name="T43" fmla="*/ 117 h 512"/>
              <a:gd name="T44" fmla="*/ 202 w 512"/>
              <a:gd name="T45" fmla="*/ 117 h 512"/>
              <a:gd name="T46" fmla="*/ 213 w 512"/>
              <a:gd name="T47" fmla="*/ 128 h 512"/>
              <a:gd name="T48" fmla="*/ 202 w 512"/>
              <a:gd name="T49" fmla="*/ 138 h 512"/>
              <a:gd name="T50" fmla="*/ 394 w 512"/>
              <a:gd name="T51" fmla="*/ 384 h 512"/>
              <a:gd name="T52" fmla="*/ 384 w 512"/>
              <a:gd name="T53" fmla="*/ 394 h 512"/>
              <a:gd name="T54" fmla="*/ 309 w 512"/>
              <a:gd name="T55" fmla="*/ 394 h 512"/>
              <a:gd name="T56" fmla="*/ 298 w 512"/>
              <a:gd name="T57" fmla="*/ 384 h 512"/>
              <a:gd name="T58" fmla="*/ 309 w 512"/>
              <a:gd name="T59" fmla="*/ 373 h 512"/>
              <a:gd name="T60" fmla="*/ 373 w 512"/>
              <a:gd name="T61" fmla="*/ 373 h 512"/>
              <a:gd name="T62" fmla="*/ 373 w 512"/>
              <a:gd name="T63" fmla="*/ 309 h 512"/>
              <a:gd name="T64" fmla="*/ 384 w 512"/>
              <a:gd name="T65" fmla="*/ 298 h 512"/>
              <a:gd name="T66" fmla="*/ 394 w 512"/>
              <a:gd name="T67" fmla="*/ 309 h 512"/>
              <a:gd name="T68" fmla="*/ 394 w 512"/>
              <a:gd name="T69" fmla="*/ 384 h 512"/>
              <a:gd name="T70" fmla="*/ 394 w 512"/>
              <a:gd name="T71" fmla="*/ 202 h 512"/>
              <a:gd name="T72" fmla="*/ 384 w 512"/>
              <a:gd name="T73" fmla="*/ 213 h 512"/>
              <a:gd name="T74" fmla="*/ 373 w 512"/>
              <a:gd name="T75" fmla="*/ 202 h 512"/>
              <a:gd name="T76" fmla="*/ 373 w 512"/>
              <a:gd name="T77" fmla="*/ 138 h 512"/>
              <a:gd name="T78" fmla="*/ 309 w 512"/>
              <a:gd name="T79" fmla="*/ 138 h 512"/>
              <a:gd name="T80" fmla="*/ 298 w 512"/>
              <a:gd name="T81" fmla="*/ 128 h 512"/>
              <a:gd name="T82" fmla="*/ 309 w 512"/>
              <a:gd name="T83" fmla="*/ 117 h 512"/>
              <a:gd name="T84" fmla="*/ 384 w 512"/>
              <a:gd name="T85" fmla="*/ 117 h 512"/>
              <a:gd name="T86" fmla="*/ 394 w 512"/>
              <a:gd name="T87" fmla="*/ 128 h 512"/>
              <a:gd name="T88" fmla="*/ 394 w 512"/>
              <a:gd name="T8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394"/>
                </a:moveTo>
                <a:cubicBezTo>
                  <a:pt x="128" y="394"/>
                  <a:pt x="128" y="394"/>
                  <a:pt x="128" y="394"/>
                </a:cubicBezTo>
                <a:cubicBezTo>
                  <a:pt x="122" y="394"/>
                  <a:pt x="117" y="390"/>
                  <a:pt x="117" y="384"/>
                </a:cubicBezTo>
                <a:cubicBezTo>
                  <a:pt x="117" y="309"/>
                  <a:pt x="117" y="309"/>
                  <a:pt x="117" y="309"/>
                </a:cubicBezTo>
                <a:cubicBezTo>
                  <a:pt x="117" y="303"/>
                  <a:pt x="122" y="298"/>
                  <a:pt x="128" y="298"/>
                </a:cubicBezTo>
                <a:cubicBezTo>
                  <a:pt x="134" y="298"/>
                  <a:pt x="138" y="303"/>
                  <a:pt x="138" y="309"/>
                </a:cubicBezTo>
                <a:cubicBezTo>
                  <a:pt x="138" y="373"/>
                  <a:pt x="138" y="373"/>
                  <a:pt x="138" y="373"/>
                </a:cubicBezTo>
                <a:cubicBezTo>
                  <a:pt x="202" y="373"/>
                  <a:pt x="202" y="373"/>
                  <a:pt x="202" y="373"/>
                </a:cubicBezTo>
                <a:cubicBezTo>
                  <a:pt x="208" y="373"/>
                  <a:pt x="213" y="378"/>
                  <a:pt x="213" y="384"/>
                </a:cubicBezTo>
                <a:cubicBezTo>
                  <a:pt x="213" y="390"/>
                  <a:pt x="208" y="394"/>
                  <a:pt x="202" y="394"/>
                </a:cubicBezTo>
                <a:close/>
                <a:moveTo>
                  <a:pt x="202" y="138"/>
                </a:moveTo>
                <a:cubicBezTo>
                  <a:pt x="138" y="138"/>
                  <a:pt x="138" y="138"/>
                  <a:pt x="138" y="138"/>
                </a:cubicBezTo>
                <a:cubicBezTo>
                  <a:pt x="138" y="202"/>
                  <a:pt x="138" y="202"/>
                  <a:pt x="138" y="202"/>
                </a:cubicBezTo>
                <a:cubicBezTo>
                  <a:pt x="138" y="208"/>
                  <a:pt x="134" y="213"/>
                  <a:pt x="128" y="213"/>
                </a:cubicBezTo>
                <a:cubicBezTo>
                  <a:pt x="122" y="213"/>
                  <a:pt x="117" y="208"/>
                  <a:pt x="117" y="202"/>
                </a:cubicBezTo>
                <a:cubicBezTo>
                  <a:pt x="117" y="128"/>
                  <a:pt x="117" y="128"/>
                  <a:pt x="117" y="128"/>
                </a:cubicBezTo>
                <a:cubicBezTo>
                  <a:pt x="117" y="122"/>
                  <a:pt x="122" y="117"/>
                  <a:pt x="128" y="117"/>
                </a:cubicBezTo>
                <a:cubicBezTo>
                  <a:pt x="202" y="117"/>
                  <a:pt x="202" y="117"/>
                  <a:pt x="202" y="117"/>
                </a:cubicBezTo>
                <a:cubicBezTo>
                  <a:pt x="208" y="117"/>
                  <a:pt x="213" y="122"/>
                  <a:pt x="213" y="128"/>
                </a:cubicBezTo>
                <a:cubicBezTo>
                  <a:pt x="213" y="134"/>
                  <a:pt x="208" y="138"/>
                  <a:pt x="202" y="138"/>
                </a:cubicBezTo>
                <a:close/>
                <a:moveTo>
                  <a:pt x="394" y="384"/>
                </a:moveTo>
                <a:cubicBezTo>
                  <a:pt x="394" y="390"/>
                  <a:pt x="390" y="394"/>
                  <a:pt x="384" y="394"/>
                </a:cubicBezTo>
                <a:cubicBezTo>
                  <a:pt x="309" y="394"/>
                  <a:pt x="309" y="394"/>
                  <a:pt x="309" y="394"/>
                </a:cubicBezTo>
                <a:cubicBezTo>
                  <a:pt x="303" y="394"/>
                  <a:pt x="298" y="390"/>
                  <a:pt x="298" y="384"/>
                </a:cubicBezTo>
                <a:cubicBezTo>
                  <a:pt x="298" y="378"/>
                  <a:pt x="303" y="373"/>
                  <a:pt x="309" y="373"/>
                </a:cubicBezTo>
                <a:cubicBezTo>
                  <a:pt x="373" y="373"/>
                  <a:pt x="373" y="373"/>
                  <a:pt x="373" y="373"/>
                </a:cubicBezTo>
                <a:cubicBezTo>
                  <a:pt x="373" y="309"/>
                  <a:pt x="373" y="309"/>
                  <a:pt x="373" y="309"/>
                </a:cubicBezTo>
                <a:cubicBezTo>
                  <a:pt x="373" y="303"/>
                  <a:pt x="378" y="298"/>
                  <a:pt x="384" y="298"/>
                </a:cubicBezTo>
                <a:cubicBezTo>
                  <a:pt x="390" y="298"/>
                  <a:pt x="394" y="303"/>
                  <a:pt x="394" y="309"/>
                </a:cubicBezTo>
                <a:lnTo>
                  <a:pt x="394" y="384"/>
                </a:lnTo>
                <a:close/>
                <a:moveTo>
                  <a:pt x="394" y="202"/>
                </a:moveTo>
                <a:cubicBezTo>
                  <a:pt x="394" y="208"/>
                  <a:pt x="390" y="213"/>
                  <a:pt x="384" y="213"/>
                </a:cubicBezTo>
                <a:cubicBezTo>
                  <a:pt x="378" y="213"/>
                  <a:pt x="373" y="208"/>
                  <a:pt x="373" y="202"/>
                </a:cubicBezTo>
                <a:cubicBezTo>
                  <a:pt x="373" y="138"/>
                  <a:pt x="373" y="138"/>
                  <a:pt x="373" y="138"/>
                </a:cubicBezTo>
                <a:cubicBezTo>
                  <a:pt x="309" y="138"/>
                  <a:pt x="309" y="138"/>
                  <a:pt x="309" y="138"/>
                </a:cubicBezTo>
                <a:cubicBezTo>
                  <a:pt x="303" y="138"/>
                  <a:pt x="298" y="134"/>
                  <a:pt x="298" y="128"/>
                </a:cubicBezTo>
                <a:cubicBezTo>
                  <a:pt x="298" y="122"/>
                  <a:pt x="303" y="117"/>
                  <a:pt x="309" y="117"/>
                </a:cubicBezTo>
                <a:cubicBezTo>
                  <a:pt x="384" y="117"/>
                  <a:pt x="384" y="117"/>
                  <a:pt x="384" y="117"/>
                </a:cubicBezTo>
                <a:cubicBezTo>
                  <a:pt x="390" y="117"/>
                  <a:pt x="394" y="122"/>
                  <a:pt x="394" y="128"/>
                </a:cubicBezTo>
                <a:lnTo>
                  <a:pt x="394" y="20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99" name="Freeform 963">
            <a:extLst>
              <a:ext uri="{FF2B5EF4-FFF2-40B4-BE49-F238E27FC236}">
                <a16:creationId xmlns:a16="http://schemas.microsoft.com/office/drawing/2014/main" id="{8DE1C895-83E1-46C8-8CB1-05AA41B263AD}"/>
              </a:ext>
            </a:extLst>
          </p:cNvPr>
          <p:cNvSpPr>
            <a:spLocks noChangeAspect="1" noEditPoints="1"/>
          </p:cNvSpPr>
          <p:nvPr/>
        </p:nvSpPr>
        <p:spPr bwMode="auto">
          <a:xfrm>
            <a:off x="6143811" y="2532035"/>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02 w 512"/>
              <a:gd name="T21" fmla="*/ 117 h 512"/>
              <a:gd name="T22" fmla="*/ 128 w 512"/>
              <a:gd name="T23" fmla="*/ 117 h 512"/>
              <a:gd name="T24" fmla="*/ 117 w 512"/>
              <a:gd name="T25" fmla="*/ 128 h 512"/>
              <a:gd name="T26" fmla="*/ 117 w 512"/>
              <a:gd name="T27" fmla="*/ 202 h 512"/>
              <a:gd name="T28" fmla="*/ 128 w 512"/>
              <a:gd name="T29" fmla="*/ 213 h 512"/>
              <a:gd name="T30" fmla="*/ 138 w 512"/>
              <a:gd name="T31" fmla="*/ 202 h 512"/>
              <a:gd name="T32" fmla="*/ 138 w 512"/>
              <a:gd name="T33" fmla="*/ 138 h 512"/>
              <a:gd name="T34" fmla="*/ 202 w 512"/>
              <a:gd name="T35" fmla="*/ 138 h 512"/>
              <a:gd name="T36" fmla="*/ 213 w 512"/>
              <a:gd name="T37" fmla="*/ 128 h 512"/>
              <a:gd name="T38" fmla="*/ 202 w 512"/>
              <a:gd name="T39" fmla="*/ 117 h 512"/>
              <a:gd name="T40" fmla="*/ 202 w 512"/>
              <a:gd name="T41" fmla="*/ 373 h 512"/>
              <a:gd name="T42" fmla="*/ 138 w 512"/>
              <a:gd name="T43" fmla="*/ 373 h 512"/>
              <a:gd name="T44" fmla="*/ 138 w 512"/>
              <a:gd name="T45" fmla="*/ 309 h 512"/>
              <a:gd name="T46" fmla="*/ 128 w 512"/>
              <a:gd name="T47" fmla="*/ 298 h 512"/>
              <a:gd name="T48" fmla="*/ 117 w 512"/>
              <a:gd name="T49" fmla="*/ 309 h 512"/>
              <a:gd name="T50" fmla="*/ 117 w 512"/>
              <a:gd name="T51" fmla="*/ 384 h 512"/>
              <a:gd name="T52" fmla="*/ 128 w 512"/>
              <a:gd name="T53" fmla="*/ 394 h 512"/>
              <a:gd name="T54" fmla="*/ 202 w 512"/>
              <a:gd name="T55" fmla="*/ 394 h 512"/>
              <a:gd name="T56" fmla="*/ 213 w 512"/>
              <a:gd name="T57" fmla="*/ 384 h 512"/>
              <a:gd name="T58" fmla="*/ 202 w 512"/>
              <a:gd name="T59" fmla="*/ 373 h 512"/>
              <a:gd name="T60" fmla="*/ 384 w 512"/>
              <a:gd name="T61" fmla="*/ 298 h 512"/>
              <a:gd name="T62" fmla="*/ 373 w 512"/>
              <a:gd name="T63" fmla="*/ 309 h 512"/>
              <a:gd name="T64" fmla="*/ 373 w 512"/>
              <a:gd name="T65" fmla="*/ 373 h 512"/>
              <a:gd name="T66" fmla="*/ 309 w 512"/>
              <a:gd name="T67" fmla="*/ 373 h 512"/>
              <a:gd name="T68" fmla="*/ 298 w 512"/>
              <a:gd name="T69" fmla="*/ 384 h 512"/>
              <a:gd name="T70" fmla="*/ 309 w 512"/>
              <a:gd name="T71" fmla="*/ 394 h 512"/>
              <a:gd name="T72" fmla="*/ 384 w 512"/>
              <a:gd name="T73" fmla="*/ 394 h 512"/>
              <a:gd name="T74" fmla="*/ 394 w 512"/>
              <a:gd name="T75" fmla="*/ 384 h 512"/>
              <a:gd name="T76" fmla="*/ 394 w 512"/>
              <a:gd name="T77" fmla="*/ 309 h 512"/>
              <a:gd name="T78" fmla="*/ 384 w 512"/>
              <a:gd name="T79" fmla="*/ 298 h 512"/>
              <a:gd name="T80" fmla="*/ 384 w 512"/>
              <a:gd name="T81" fmla="*/ 117 h 512"/>
              <a:gd name="T82" fmla="*/ 309 w 512"/>
              <a:gd name="T83" fmla="*/ 117 h 512"/>
              <a:gd name="T84" fmla="*/ 298 w 512"/>
              <a:gd name="T85" fmla="*/ 128 h 512"/>
              <a:gd name="T86" fmla="*/ 309 w 512"/>
              <a:gd name="T87" fmla="*/ 138 h 512"/>
              <a:gd name="T88" fmla="*/ 373 w 512"/>
              <a:gd name="T89" fmla="*/ 138 h 512"/>
              <a:gd name="T90" fmla="*/ 373 w 512"/>
              <a:gd name="T91" fmla="*/ 202 h 512"/>
              <a:gd name="T92" fmla="*/ 384 w 512"/>
              <a:gd name="T93" fmla="*/ 213 h 512"/>
              <a:gd name="T94" fmla="*/ 394 w 512"/>
              <a:gd name="T95" fmla="*/ 202 h 512"/>
              <a:gd name="T96" fmla="*/ 394 w 512"/>
              <a:gd name="T97" fmla="*/ 128 h 512"/>
              <a:gd name="T98" fmla="*/ 384 w 512"/>
              <a:gd name="T99"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117"/>
                </a:moveTo>
                <a:cubicBezTo>
                  <a:pt x="128" y="117"/>
                  <a:pt x="128" y="117"/>
                  <a:pt x="128" y="117"/>
                </a:cubicBezTo>
                <a:cubicBezTo>
                  <a:pt x="122" y="117"/>
                  <a:pt x="117" y="122"/>
                  <a:pt x="117" y="128"/>
                </a:cubicBezTo>
                <a:cubicBezTo>
                  <a:pt x="117" y="202"/>
                  <a:pt x="117" y="202"/>
                  <a:pt x="117" y="202"/>
                </a:cubicBezTo>
                <a:cubicBezTo>
                  <a:pt x="117" y="208"/>
                  <a:pt x="122" y="213"/>
                  <a:pt x="128" y="213"/>
                </a:cubicBezTo>
                <a:cubicBezTo>
                  <a:pt x="134" y="213"/>
                  <a:pt x="138" y="208"/>
                  <a:pt x="138" y="202"/>
                </a:cubicBezTo>
                <a:cubicBezTo>
                  <a:pt x="138" y="138"/>
                  <a:pt x="138" y="138"/>
                  <a:pt x="138" y="138"/>
                </a:cubicBezTo>
                <a:cubicBezTo>
                  <a:pt x="202" y="138"/>
                  <a:pt x="202" y="138"/>
                  <a:pt x="202" y="138"/>
                </a:cubicBezTo>
                <a:cubicBezTo>
                  <a:pt x="208" y="138"/>
                  <a:pt x="213" y="134"/>
                  <a:pt x="213" y="128"/>
                </a:cubicBezTo>
                <a:cubicBezTo>
                  <a:pt x="213" y="122"/>
                  <a:pt x="208" y="117"/>
                  <a:pt x="202" y="117"/>
                </a:cubicBezTo>
                <a:close/>
                <a:moveTo>
                  <a:pt x="202" y="373"/>
                </a:moveTo>
                <a:cubicBezTo>
                  <a:pt x="138" y="373"/>
                  <a:pt x="138" y="373"/>
                  <a:pt x="138" y="373"/>
                </a:cubicBezTo>
                <a:cubicBezTo>
                  <a:pt x="138" y="309"/>
                  <a:pt x="138" y="309"/>
                  <a:pt x="138" y="309"/>
                </a:cubicBezTo>
                <a:cubicBezTo>
                  <a:pt x="138" y="303"/>
                  <a:pt x="134" y="298"/>
                  <a:pt x="128" y="298"/>
                </a:cubicBezTo>
                <a:cubicBezTo>
                  <a:pt x="122" y="298"/>
                  <a:pt x="117" y="303"/>
                  <a:pt x="117" y="309"/>
                </a:cubicBezTo>
                <a:cubicBezTo>
                  <a:pt x="117" y="384"/>
                  <a:pt x="117" y="384"/>
                  <a:pt x="117" y="384"/>
                </a:cubicBezTo>
                <a:cubicBezTo>
                  <a:pt x="117" y="390"/>
                  <a:pt x="122" y="394"/>
                  <a:pt x="128" y="394"/>
                </a:cubicBezTo>
                <a:cubicBezTo>
                  <a:pt x="202" y="394"/>
                  <a:pt x="202" y="394"/>
                  <a:pt x="202" y="394"/>
                </a:cubicBezTo>
                <a:cubicBezTo>
                  <a:pt x="208" y="394"/>
                  <a:pt x="213" y="390"/>
                  <a:pt x="213" y="384"/>
                </a:cubicBezTo>
                <a:cubicBezTo>
                  <a:pt x="213" y="378"/>
                  <a:pt x="208" y="373"/>
                  <a:pt x="202" y="373"/>
                </a:cubicBezTo>
                <a:close/>
                <a:moveTo>
                  <a:pt x="384" y="298"/>
                </a:moveTo>
                <a:cubicBezTo>
                  <a:pt x="378" y="298"/>
                  <a:pt x="373" y="303"/>
                  <a:pt x="373" y="309"/>
                </a:cubicBezTo>
                <a:cubicBezTo>
                  <a:pt x="373" y="373"/>
                  <a:pt x="373" y="373"/>
                  <a:pt x="373" y="373"/>
                </a:cubicBezTo>
                <a:cubicBezTo>
                  <a:pt x="309" y="373"/>
                  <a:pt x="309" y="373"/>
                  <a:pt x="309" y="373"/>
                </a:cubicBezTo>
                <a:cubicBezTo>
                  <a:pt x="303" y="373"/>
                  <a:pt x="298" y="378"/>
                  <a:pt x="298" y="384"/>
                </a:cubicBezTo>
                <a:cubicBezTo>
                  <a:pt x="298" y="390"/>
                  <a:pt x="303" y="394"/>
                  <a:pt x="309" y="394"/>
                </a:cubicBezTo>
                <a:cubicBezTo>
                  <a:pt x="384" y="394"/>
                  <a:pt x="384" y="394"/>
                  <a:pt x="384" y="394"/>
                </a:cubicBezTo>
                <a:cubicBezTo>
                  <a:pt x="390" y="394"/>
                  <a:pt x="394" y="390"/>
                  <a:pt x="394" y="384"/>
                </a:cubicBezTo>
                <a:cubicBezTo>
                  <a:pt x="394" y="309"/>
                  <a:pt x="394" y="309"/>
                  <a:pt x="394" y="309"/>
                </a:cubicBezTo>
                <a:cubicBezTo>
                  <a:pt x="394" y="303"/>
                  <a:pt x="390" y="298"/>
                  <a:pt x="384" y="298"/>
                </a:cubicBezTo>
                <a:close/>
                <a:moveTo>
                  <a:pt x="384" y="117"/>
                </a:moveTo>
                <a:cubicBezTo>
                  <a:pt x="309" y="117"/>
                  <a:pt x="309" y="117"/>
                  <a:pt x="309" y="117"/>
                </a:cubicBezTo>
                <a:cubicBezTo>
                  <a:pt x="303" y="117"/>
                  <a:pt x="298" y="122"/>
                  <a:pt x="298" y="128"/>
                </a:cubicBezTo>
                <a:cubicBezTo>
                  <a:pt x="298" y="134"/>
                  <a:pt x="303" y="138"/>
                  <a:pt x="309" y="138"/>
                </a:cubicBezTo>
                <a:cubicBezTo>
                  <a:pt x="373" y="138"/>
                  <a:pt x="373" y="138"/>
                  <a:pt x="373" y="138"/>
                </a:cubicBezTo>
                <a:cubicBezTo>
                  <a:pt x="373" y="202"/>
                  <a:pt x="373" y="202"/>
                  <a:pt x="373" y="202"/>
                </a:cubicBezTo>
                <a:cubicBezTo>
                  <a:pt x="373" y="208"/>
                  <a:pt x="378" y="213"/>
                  <a:pt x="384" y="213"/>
                </a:cubicBezTo>
                <a:cubicBezTo>
                  <a:pt x="390" y="213"/>
                  <a:pt x="394" y="208"/>
                  <a:pt x="394" y="202"/>
                </a:cubicBezTo>
                <a:cubicBezTo>
                  <a:pt x="394" y="128"/>
                  <a:pt x="394" y="128"/>
                  <a:pt x="394" y="128"/>
                </a:cubicBezTo>
                <a:cubicBezTo>
                  <a:pt x="394" y="122"/>
                  <a:pt x="390" y="117"/>
                  <a:pt x="384" y="11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00" name="TextBox 899">
            <a:extLst>
              <a:ext uri="{FF2B5EF4-FFF2-40B4-BE49-F238E27FC236}">
                <a16:creationId xmlns:a16="http://schemas.microsoft.com/office/drawing/2014/main" id="{60511C6A-142B-447F-BFFC-BD2B4E455579}"/>
              </a:ext>
            </a:extLst>
          </p:cNvPr>
          <p:cNvSpPr txBox="1"/>
          <p:nvPr/>
        </p:nvSpPr>
        <p:spPr>
          <a:xfrm>
            <a:off x="4817288" y="452728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il empty</a:t>
            </a:r>
          </a:p>
        </p:txBody>
      </p:sp>
      <p:sp>
        <p:nvSpPr>
          <p:cNvPr id="901" name="TextBox 900">
            <a:extLst>
              <a:ext uri="{FF2B5EF4-FFF2-40B4-BE49-F238E27FC236}">
                <a16:creationId xmlns:a16="http://schemas.microsoft.com/office/drawing/2014/main" id="{747A999E-E190-46BD-AD03-DBF682ACDF51}"/>
              </a:ext>
            </a:extLst>
          </p:cNvPr>
          <p:cNvSpPr txBox="1"/>
          <p:nvPr/>
        </p:nvSpPr>
        <p:spPr>
          <a:xfrm>
            <a:off x="5679051" y="4527288"/>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il full</a:t>
            </a:r>
          </a:p>
        </p:txBody>
      </p:sp>
      <p:sp>
        <p:nvSpPr>
          <p:cNvPr id="902" name="TextBox 901">
            <a:extLst>
              <a:ext uri="{FF2B5EF4-FFF2-40B4-BE49-F238E27FC236}">
                <a16:creationId xmlns:a16="http://schemas.microsoft.com/office/drawing/2014/main" id="{9B54D7F7-DB38-4CAA-AB2F-C10C46028D7B}"/>
              </a:ext>
            </a:extLst>
          </p:cNvPr>
          <p:cNvSpPr txBox="1"/>
          <p:nvPr/>
        </p:nvSpPr>
        <p:spPr>
          <a:xfrm>
            <a:off x="6555631"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il in</a:t>
            </a:r>
          </a:p>
        </p:txBody>
      </p:sp>
      <p:sp>
        <p:nvSpPr>
          <p:cNvPr id="903" name="TextBox 902">
            <a:extLst>
              <a:ext uri="{FF2B5EF4-FFF2-40B4-BE49-F238E27FC236}">
                <a16:creationId xmlns:a16="http://schemas.microsoft.com/office/drawing/2014/main" id="{5B2A1D0C-243D-41BB-9BA9-7FB5B6F09C23}"/>
              </a:ext>
            </a:extLst>
          </p:cNvPr>
          <p:cNvSpPr txBox="1"/>
          <p:nvPr/>
        </p:nvSpPr>
        <p:spPr>
          <a:xfrm>
            <a:off x="8302441"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il out</a:t>
            </a:r>
          </a:p>
        </p:txBody>
      </p:sp>
      <p:sp>
        <p:nvSpPr>
          <p:cNvPr id="904" name="TextBox 903">
            <a:extLst>
              <a:ext uri="{FF2B5EF4-FFF2-40B4-BE49-F238E27FC236}">
                <a16:creationId xmlns:a16="http://schemas.microsoft.com/office/drawing/2014/main" id="{D9D1259A-8427-477C-8E97-E72646BD0342}"/>
              </a:ext>
            </a:extLst>
          </p:cNvPr>
          <p:cNvSpPr txBox="1"/>
          <p:nvPr/>
        </p:nvSpPr>
        <p:spPr>
          <a:xfrm>
            <a:off x="7429036"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il</a:t>
            </a:r>
          </a:p>
        </p:txBody>
      </p:sp>
      <p:sp>
        <p:nvSpPr>
          <p:cNvPr id="905" name="Freeform 673">
            <a:extLst>
              <a:ext uri="{FF2B5EF4-FFF2-40B4-BE49-F238E27FC236}">
                <a16:creationId xmlns:a16="http://schemas.microsoft.com/office/drawing/2014/main" id="{4A0AEDE1-FBD0-48D3-8F76-23F45F67626C}"/>
              </a:ext>
            </a:extLst>
          </p:cNvPr>
          <p:cNvSpPr>
            <a:spLocks noChangeAspect="1" noEditPoints="1"/>
          </p:cNvSpPr>
          <p:nvPr/>
        </p:nvSpPr>
        <p:spPr bwMode="auto">
          <a:xfrm>
            <a:off x="4924398" y="412708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277 h 512"/>
              <a:gd name="T12" fmla="*/ 373 w 512"/>
              <a:gd name="T13" fmla="*/ 288 h 512"/>
              <a:gd name="T14" fmla="*/ 288 w 512"/>
              <a:gd name="T15" fmla="*/ 288 h 512"/>
              <a:gd name="T16" fmla="*/ 288 w 512"/>
              <a:gd name="T17" fmla="*/ 405 h 512"/>
              <a:gd name="T18" fmla="*/ 277 w 512"/>
              <a:gd name="T19" fmla="*/ 416 h 512"/>
              <a:gd name="T20" fmla="*/ 234 w 512"/>
              <a:gd name="T21" fmla="*/ 416 h 512"/>
              <a:gd name="T22" fmla="*/ 224 w 512"/>
              <a:gd name="T23" fmla="*/ 405 h 512"/>
              <a:gd name="T24" fmla="*/ 224 w 512"/>
              <a:gd name="T25" fmla="*/ 288 h 512"/>
              <a:gd name="T26" fmla="*/ 138 w 512"/>
              <a:gd name="T27" fmla="*/ 288 h 512"/>
              <a:gd name="T28" fmla="*/ 128 w 512"/>
              <a:gd name="T29" fmla="*/ 277 h 512"/>
              <a:gd name="T30" fmla="*/ 128 w 512"/>
              <a:gd name="T31" fmla="*/ 192 h 512"/>
              <a:gd name="T32" fmla="*/ 170 w 512"/>
              <a:gd name="T33" fmla="*/ 149 h 512"/>
              <a:gd name="T34" fmla="*/ 341 w 512"/>
              <a:gd name="T35" fmla="*/ 149 h 512"/>
              <a:gd name="T36" fmla="*/ 384 w 512"/>
              <a:gd name="T37" fmla="*/ 192 h 512"/>
              <a:gd name="T38" fmla="*/ 384 w 512"/>
              <a:gd name="T39" fmla="*/ 277 h 512"/>
              <a:gd name="T40" fmla="*/ 245 w 512"/>
              <a:gd name="T41" fmla="*/ 288 h 512"/>
              <a:gd name="T42" fmla="*/ 266 w 512"/>
              <a:gd name="T43" fmla="*/ 288 h 512"/>
              <a:gd name="T44" fmla="*/ 266 w 512"/>
              <a:gd name="T45" fmla="*/ 394 h 512"/>
              <a:gd name="T46" fmla="*/ 245 w 512"/>
              <a:gd name="T47" fmla="*/ 394 h 512"/>
              <a:gd name="T48" fmla="*/ 245 w 512"/>
              <a:gd name="T49" fmla="*/ 288 h 512"/>
              <a:gd name="T50" fmla="*/ 341 w 512"/>
              <a:gd name="T51" fmla="*/ 170 h 512"/>
              <a:gd name="T52" fmla="*/ 170 w 512"/>
              <a:gd name="T53" fmla="*/ 170 h 512"/>
              <a:gd name="T54" fmla="*/ 149 w 512"/>
              <a:gd name="T55" fmla="*/ 192 h 512"/>
              <a:gd name="T56" fmla="*/ 149 w 512"/>
              <a:gd name="T57" fmla="*/ 266 h 512"/>
              <a:gd name="T58" fmla="*/ 362 w 512"/>
              <a:gd name="T59" fmla="*/ 266 h 512"/>
              <a:gd name="T60" fmla="*/ 362 w 512"/>
              <a:gd name="T61" fmla="*/ 192 h 512"/>
              <a:gd name="T62" fmla="*/ 341 w 512"/>
              <a:gd name="T63" fmla="*/ 170 h 512"/>
              <a:gd name="T64" fmla="*/ 330 w 512"/>
              <a:gd name="T65" fmla="*/ 224 h 512"/>
              <a:gd name="T66" fmla="*/ 320 w 512"/>
              <a:gd name="T67" fmla="*/ 234 h 512"/>
              <a:gd name="T68" fmla="*/ 309 w 512"/>
              <a:gd name="T69" fmla="*/ 224 h 512"/>
              <a:gd name="T70" fmla="*/ 309 w 512"/>
              <a:gd name="T71" fmla="*/ 213 h 512"/>
              <a:gd name="T72" fmla="*/ 234 w 512"/>
              <a:gd name="T73" fmla="*/ 213 h 512"/>
              <a:gd name="T74" fmla="*/ 224 w 512"/>
              <a:gd name="T75" fmla="*/ 202 h 512"/>
              <a:gd name="T76" fmla="*/ 234 w 512"/>
              <a:gd name="T77" fmla="*/ 192 h 512"/>
              <a:gd name="T78" fmla="*/ 320 w 512"/>
              <a:gd name="T79" fmla="*/ 192 h 512"/>
              <a:gd name="T80" fmla="*/ 330 w 512"/>
              <a:gd name="T81" fmla="*/ 202 h 512"/>
              <a:gd name="T82" fmla="*/ 330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277"/>
                </a:moveTo>
                <a:cubicBezTo>
                  <a:pt x="384" y="283"/>
                  <a:pt x="379" y="288"/>
                  <a:pt x="373" y="288"/>
                </a:cubicBezTo>
                <a:cubicBezTo>
                  <a:pt x="288" y="288"/>
                  <a:pt x="288" y="288"/>
                  <a:pt x="288" y="288"/>
                </a:cubicBezTo>
                <a:cubicBezTo>
                  <a:pt x="288" y="405"/>
                  <a:pt x="288" y="405"/>
                  <a:pt x="288" y="405"/>
                </a:cubicBezTo>
                <a:cubicBezTo>
                  <a:pt x="288" y="411"/>
                  <a:pt x="283" y="416"/>
                  <a:pt x="277" y="416"/>
                </a:cubicBezTo>
                <a:cubicBezTo>
                  <a:pt x="234" y="416"/>
                  <a:pt x="234" y="416"/>
                  <a:pt x="234" y="416"/>
                </a:cubicBezTo>
                <a:cubicBezTo>
                  <a:pt x="228" y="416"/>
                  <a:pt x="224" y="411"/>
                  <a:pt x="224" y="405"/>
                </a:cubicBezTo>
                <a:cubicBezTo>
                  <a:pt x="224" y="288"/>
                  <a:pt x="224" y="288"/>
                  <a:pt x="224" y="288"/>
                </a:cubicBezTo>
                <a:cubicBezTo>
                  <a:pt x="138" y="288"/>
                  <a:pt x="138" y="288"/>
                  <a:pt x="138" y="288"/>
                </a:cubicBezTo>
                <a:cubicBezTo>
                  <a:pt x="132" y="288"/>
                  <a:pt x="128" y="283"/>
                  <a:pt x="128" y="277"/>
                </a:cubicBezTo>
                <a:cubicBezTo>
                  <a:pt x="128" y="192"/>
                  <a:pt x="128" y="192"/>
                  <a:pt x="128" y="192"/>
                </a:cubicBezTo>
                <a:cubicBezTo>
                  <a:pt x="128" y="168"/>
                  <a:pt x="147" y="149"/>
                  <a:pt x="170" y="149"/>
                </a:cubicBezTo>
                <a:cubicBezTo>
                  <a:pt x="341" y="149"/>
                  <a:pt x="341" y="149"/>
                  <a:pt x="341" y="149"/>
                </a:cubicBezTo>
                <a:cubicBezTo>
                  <a:pt x="365" y="149"/>
                  <a:pt x="384" y="168"/>
                  <a:pt x="384" y="192"/>
                </a:cubicBezTo>
                <a:lnTo>
                  <a:pt x="384" y="277"/>
                </a:lnTo>
                <a:close/>
                <a:moveTo>
                  <a:pt x="245" y="288"/>
                </a:moveTo>
                <a:cubicBezTo>
                  <a:pt x="266" y="288"/>
                  <a:pt x="266" y="288"/>
                  <a:pt x="266" y="288"/>
                </a:cubicBezTo>
                <a:cubicBezTo>
                  <a:pt x="266" y="394"/>
                  <a:pt x="266" y="394"/>
                  <a:pt x="266" y="394"/>
                </a:cubicBezTo>
                <a:cubicBezTo>
                  <a:pt x="245" y="394"/>
                  <a:pt x="245" y="394"/>
                  <a:pt x="245" y="394"/>
                </a:cubicBezTo>
                <a:lnTo>
                  <a:pt x="245" y="288"/>
                </a:lnTo>
                <a:close/>
                <a:moveTo>
                  <a:pt x="341" y="170"/>
                </a:moveTo>
                <a:cubicBezTo>
                  <a:pt x="170" y="170"/>
                  <a:pt x="170" y="170"/>
                  <a:pt x="170" y="170"/>
                </a:cubicBezTo>
                <a:cubicBezTo>
                  <a:pt x="159" y="170"/>
                  <a:pt x="149" y="180"/>
                  <a:pt x="149" y="192"/>
                </a:cubicBezTo>
                <a:cubicBezTo>
                  <a:pt x="149" y="266"/>
                  <a:pt x="149" y="266"/>
                  <a:pt x="149" y="266"/>
                </a:cubicBezTo>
                <a:cubicBezTo>
                  <a:pt x="362" y="266"/>
                  <a:pt x="362" y="266"/>
                  <a:pt x="362" y="266"/>
                </a:cubicBezTo>
                <a:cubicBezTo>
                  <a:pt x="362" y="192"/>
                  <a:pt x="362" y="192"/>
                  <a:pt x="362" y="192"/>
                </a:cubicBezTo>
                <a:cubicBezTo>
                  <a:pt x="362" y="180"/>
                  <a:pt x="353" y="170"/>
                  <a:pt x="341" y="170"/>
                </a:cubicBezTo>
                <a:close/>
                <a:moveTo>
                  <a:pt x="330" y="224"/>
                </a:moveTo>
                <a:cubicBezTo>
                  <a:pt x="330" y="230"/>
                  <a:pt x="326" y="234"/>
                  <a:pt x="320" y="234"/>
                </a:cubicBezTo>
                <a:cubicBezTo>
                  <a:pt x="314" y="234"/>
                  <a:pt x="309" y="230"/>
                  <a:pt x="309" y="224"/>
                </a:cubicBezTo>
                <a:cubicBezTo>
                  <a:pt x="309" y="213"/>
                  <a:pt x="309" y="213"/>
                  <a:pt x="309" y="213"/>
                </a:cubicBezTo>
                <a:cubicBezTo>
                  <a:pt x="234" y="213"/>
                  <a:pt x="234" y="213"/>
                  <a:pt x="234" y="213"/>
                </a:cubicBezTo>
                <a:cubicBezTo>
                  <a:pt x="228" y="213"/>
                  <a:pt x="224" y="208"/>
                  <a:pt x="224" y="202"/>
                </a:cubicBezTo>
                <a:cubicBezTo>
                  <a:pt x="224" y="196"/>
                  <a:pt x="228" y="192"/>
                  <a:pt x="234" y="192"/>
                </a:cubicBezTo>
                <a:cubicBezTo>
                  <a:pt x="320" y="192"/>
                  <a:pt x="320" y="192"/>
                  <a:pt x="320" y="192"/>
                </a:cubicBezTo>
                <a:cubicBezTo>
                  <a:pt x="326" y="192"/>
                  <a:pt x="330" y="196"/>
                  <a:pt x="330" y="202"/>
                </a:cubicBezTo>
                <a:lnTo>
                  <a:pt x="330" y="22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06" name="Group 676">
            <a:extLst>
              <a:ext uri="{FF2B5EF4-FFF2-40B4-BE49-F238E27FC236}">
                <a16:creationId xmlns:a16="http://schemas.microsoft.com/office/drawing/2014/main" id="{A5179447-A20C-4E35-AA56-97EF33F3D565}"/>
              </a:ext>
            </a:extLst>
          </p:cNvPr>
          <p:cNvGrpSpPr>
            <a:grpSpLocks noChangeAspect="1"/>
          </p:cNvGrpSpPr>
          <p:nvPr/>
        </p:nvGrpSpPr>
        <p:grpSpPr bwMode="auto">
          <a:xfrm>
            <a:off x="5353269" y="4127084"/>
            <a:ext cx="367041" cy="367041"/>
            <a:chOff x="2467" y="2974"/>
            <a:chExt cx="340" cy="340"/>
          </a:xfrm>
          <a:solidFill>
            <a:schemeClr val="accent2"/>
          </a:solidFill>
        </p:grpSpPr>
        <p:sp>
          <p:nvSpPr>
            <p:cNvPr id="907" name="Freeform 677">
              <a:extLst>
                <a:ext uri="{FF2B5EF4-FFF2-40B4-BE49-F238E27FC236}">
                  <a16:creationId xmlns:a16="http://schemas.microsoft.com/office/drawing/2014/main" id="{31CAC508-D8DE-4644-8F74-F4D4254832EA}"/>
                </a:ext>
              </a:extLst>
            </p:cNvPr>
            <p:cNvSpPr>
              <a:spLocks noEditPoints="1"/>
            </p:cNvSpPr>
            <p:nvPr/>
          </p:nvSpPr>
          <p:spPr bwMode="auto">
            <a:xfrm>
              <a:off x="2467" y="2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8" name="Freeform 678">
              <a:extLst>
                <a:ext uri="{FF2B5EF4-FFF2-40B4-BE49-F238E27FC236}">
                  <a16:creationId xmlns:a16="http://schemas.microsoft.com/office/drawing/2014/main" id="{1B51BADC-6E19-4300-960B-D2C5D5F250D6}"/>
                </a:ext>
              </a:extLst>
            </p:cNvPr>
            <p:cNvSpPr>
              <a:spLocks noEditPoints="1"/>
            </p:cNvSpPr>
            <p:nvPr/>
          </p:nvSpPr>
          <p:spPr bwMode="auto">
            <a:xfrm>
              <a:off x="2552" y="3073"/>
              <a:ext cx="170" cy="177"/>
            </a:xfrm>
            <a:custGeom>
              <a:avLst/>
              <a:gdLst>
                <a:gd name="T0" fmla="*/ 202 w 256"/>
                <a:gd name="T1" fmla="*/ 53 h 267"/>
                <a:gd name="T2" fmla="*/ 202 w 256"/>
                <a:gd name="T3" fmla="*/ 75 h 267"/>
                <a:gd name="T4" fmla="*/ 192 w 256"/>
                <a:gd name="T5" fmla="*/ 85 h 267"/>
                <a:gd name="T6" fmla="*/ 181 w 256"/>
                <a:gd name="T7" fmla="*/ 75 h 267"/>
                <a:gd name="T8" fmla="*/ 181 w 256"/>
                <a:gd name="T9" fmla="*/ 64 h 267"/>
                <a:gd name="T10" fmla="*/ 106 w 256"/>
                <a:gd name="T11" fmla="*/ 64 h 267"/>
                <a:gd name="T12" fmla="*/ 96 w 256"/>
                <a:gd name="T13" fmla="*/ 53 h 267"/>
                <a:gd name="T14" fmla="*/ 106 w 256"/>
                <a:gd name="T15" fmla="*/ 43 h 267"/>
                <a:gd name="T16" fmla="*/ 192 w 256"/>
                <a:gd name="T17" fmla="*/ 43 h 267"/>
                <a:gd name="T18" fmla="*/ 202 w 256"/>
                <a:gd name="T19" fmla="*/ 53 h 267"/>
                <a:gd name="T20" fmla="*/ 256 w 256"/>
                <a:gd name="T21" fmla="*/ 43 h 267"/>
                <a:gd name="T22" fmla="*/ 256 w 256"/>
                <a:gd name="T23" fmla="*/ 128 h 267"/>
                <a:gd name="T24" fmla="*/ 245 w 256"/>
                <a:gd name="T25" fmla="*/ 139 h 267"/>
                <a:gd name="T26" fmla="*/ 160 w 256"/>
                <a:gd name="T27" fmla="*/ 139 h 267"/>
                <a:gd name="T28" fmla="*/ 160 w 256"/>
                <a:gd name="T29" fmla="*/ 256 h 267"/>
                <a:gd name="T30" fmla="*/ 149 w 256"/>
                <a:gd name="T31" fmla="*/ 267 h 267"/>
                <a:gd name="T32" fmla="*/ 106 w 256"/>
                <a:gd name="T33" fmla="*/ 267 h 267"/>
                <a:gd name="T34" fmla="*/ 96 w 256"/>
                <a:gd name="T35" fmla="*/ 256 h 267"/>
                <a:gd name="T36" fmla="*/ 96 w 256"/>
                <a:gd name="T37" fmla="*/ 139 h 267"/>
                <a:gd name="T38" fmla="*/ 10 w 256"/>
                <a:gd name="T39" fmla="*/ 139 h 267"/>
                <a:gd name="T40" fmla="*/ 0 w 256"/>
                <a:gd name="T41" fmla="*/ 128 h 267"/>
                <a:gd name="T42" fmla="*/ 0 w 256"/>
                <a:gd name="T43" fmla="*/ 43 h 267"/>
                <a:gd name="T44" fmla="*/ 42 w 256"/>
                <a:gd name="T45" fmla="*/ 0 h 267"/>
                <a:gd name="T46" fmla="*/ 213 w 256"/>
                <a:gd name="T47" fmla="*/ 0 h 267"/>
                <a:gd name="T48" fmla="*/ 256 w 256"/>
                <a:gd name="T49" fmla="*/ 43 h 267"/>
                <a:gd name="T50" fmla="*/ 138 w 256"/>
                <a:gd name="T51" fmla="*/ 139 h 267"/>
                <a:gd name="T52" fmla="*/ 117 w 256"/>
                <a:gd name="T53" fmla="*/ 139 h 267"/>
                <a:gd name="T54" fmla="*/ 117 w 256"/>
                <a:gd name="T55" fmla="*/ 245 h 267"/>
                <a:gd name="T56" fmla="*/ 138 w 256"/>
                <a:gd name="T57" fmla="*/ 245 h 267"/>
                <a:gd name="T58" fmla="*/ 138 w 256"/>
                <a:gd name="T59" fmla="*/ 139 h 267"/>
                <a:gd name="T60" fmla="*/ 234 w 256"/>
                <a:gd name="T61" fmla="*/ 43 h 267"/>
                <a:gd name="T62" fmla="*/ 213 w 256"/>
                <a:gd name="T63" fmla="*/ 21 h 267"/>
                <a:gd name="T64" fmla="*/ 42 w 256"/>
                <a:gd name="T65" fmla="*/ 21 h 267"/>
                <a:gd name="T66" fmla="*/ 21 w 256"/>
                <a:gd name="T67" fmla="*/ 43 h 267"/>
                <a:gd name="T68" fmla="*/ 21 w 256"/>
                <a:gd name="T69" fmla="*/ 117 h 267"/>
                <a:gd name="T70" fmla="*/ 234 w 256"/>
                <a:gd name="T71" fmla="*/ 117 h 267"/>
                <a:gd name="T72" fmla="*/ 234 w 256"/>
                <a:gd name="T73" fmla="*/ 4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67">
                  <a:moveTo>
                    <a:pt x="202" y="53"/>
                  </a:moveTo>
                  <a:cubicBezTo>
                    <a:pt x="202" y="75"/>
                    <a:pt x="202" y="75"/>
                    <a:pt x="202" y="75"/>
                  </a:cubicBezTo>
                  <a:cubicBezTo>
                    <a:pt x="202" y="81"/>
                    <a:pt x="198" y="85"/>
                    <a:pt x="192" y="85"/>
                  </a:cubicBezTo>
                  <a:cubicBezTo>
                    <a:pt x="186" y="85"/>
                    <a:pt x="181" y="81"/>
                    <a:pt x="181" y="75"/>
                  </a:cubicBezTo>
                  <a:cubicBezTo>
                    <a:pt x="181" y="64"/>
                    <a:pt x="181" y="64"/>
                    <a:pt x="181" y="64"/>
                  </a:cubicBezTo>
                  <a:cubicBezTo>
                    <a:pt x="106" y="64"/>
                    <a:pt x="106" y="64"/>
                    <a:pt x="106" y="64"/>
                  </a:cubicBezTo>
                  <a:cubicBezTo>
                    <a:pt x="100" y="64"/>
                    <a:pt x="96" y="59"/>
                    <a:pt x="96" y="53"/>
                  </a:cubicBezTo>
                  <a:cubicBezTo>
                    <a:pt x="96" y="47"/>
                    <a:pt x="100" y="43"/>
                    <a:pt x="106" y="43"/>
                  </a:cubicBezTo>
                  <a:cubicBezTo>
                    <a:pt x="192" y="43"/>
                    <a:pt x="192" y="43"/>
                    <a:pt x="192" y="43"/>
                  </a:cubicBezTo>
                  <a:cubicBezTo>
                    <a:pt x="198" y="43"/>
                    <a:pt x="202" y="47"/>
                    <a:pt x="202" y="53"/>
                  </a:cubicBezTo>
                  <a:close/>
                  <a:moveTo>
                    <a:pt x="256" y="43"/>
                  </a:moveTo>
                  <a:cubicBezTo>
                    <a:pt x="256" y="128"/>
                    <a:pt x="256" y="128"/>
                    <a:pt x="256" y="128"/>
                  </a:cubicBezTo>
                  <a:cubicBezTo>
                    <a:pt x="256" y="134"/>
                    <a:pt x="251" y="139"/>
                    <a:pt x="245" y="139"/>
                  </a:cubicBezTo>
                  <a:cubicBezTo>
                    <a:pt x="160" y="139"/>
                    <a:pt x="160" y="139"/>
                    <a:pt x="160" y="139"/>
                  </a:cubicBezTo>
                  <a:cubicBezTo>
                    <a:pt x="160" y="256"/>
                    <a:pt x="160" y="256"/>
                    <a:pt x="160" y="256"/>
                  </a:cubicBezTo>
                  <a:cubicBezTo>
                    <a:pt x="160" y="262"/>
                    <a:pt x="155" y="267"/>
                    <a:pt x="149" y="267"/>
                  </a:cubicBezTo>
                  <a:cubicBezTo>
                    <a:pt x="106" y="267"/>
                    <a:pt x="106" y="267"/>
                    <a:pt x="106" y="267"/>
                  </a:cubicBezTo>
                  <a:cubicBezTo>
                    <a:pt x="100" y="267"/>
                    <a:pt x="96" y="262"/>
                    <a:pt x="96" y="256"/>
                  </a:cubicBezTo>
                  <a:cubicBezTo>
                    <a:pt x="96" y="139"/>
                    <a:pt x="96" y="139"/>
                    <a:pt x="96" y="139"/>
                  </a:cubicBezTo>
                  <a:cubicBezTo>
                    <a:pt x="10" y="139"/>
                    <a:pt x="10" y="139"/>
                    <a:pt x="10" y="139"/>
                  </a:cubicBezTo>
                  <a:cubicBezTo>
                    <a:pt x="4" y="139"/>
                    <a:pt x="0" y="134"/>
                    <a:pt x="0" y="128"/>
                  </a:cubicBezTo>
                  <a:cubicBezTo>
                    <a:pt x="0" y="43"/>
                    <a:pt x="0" y="43"/>
                    <a:pt x="0" y="43"/>
                  </a:cubicBezTo>
                  <a:cubicBezTo>
                    <a:pt x="0" y="19"/>
                    <a:pt x="19" y="0"/>
                    <a:pt x="42" y="0"/>
                  </a:cubicBezTo>
                  <a:cubicBezTo>
                    <a:pt x="213" y="0"/>
                    <a:pt x="213" y="0"/>
                    <a:pt x="213" y="0"/>
                  </a:cubicBezTo>
                  <a:cubicBezTo>
                    <a:pt x="237" y="0"/>
                    <a:pt x="256" y="19"/>
                    <a:pt x="256" y="43"/>
                  </a:cubicBezTo>
                  <a:close/>
                  <a:moveTo>
                    <a:pt x="138" y="139"/>
                  </a:moveTo>
                  <a:cubicBezTo>
                    <a:pt x="117" y="139"/>
                    <a:pt x="117" y="139"/>
                    <a:pt x="117" y="139"/>
                  </a:cubicBezTo>
                  <a:cubicBezTo>
                    <a:pt x="117" y="245"/>
                    <a:pt x="117" y="245"/>
                    <a:pt x="117" y="245"/>
                  </a:cubicBezTo>
                  <a:cubicBezTo>
                    <a:pt x="138" y="245"/>
                    <a:pt x="138" y="245"/>
                    <a:pt x="138" y="245"/>
                  </a:cubicBezTo>
                  <a:lnTo>
                    <a:pt x="138" y="139"/>
                  </a:lnTo>
                  <a:close/>
                  <a:moveTo>
                    <a:pt x="234" y="43"/>
                  </a:moveTo>
                  <a:cubicBezTo>
                    <a:pt x="234" y="31"/>
                    <a:pt x="225" y="21"/>
                    <a:pt x="213" y="21"/>
                  </a:cubicBezTo>
                  <a:cubicBezTo>
                    <a:pt x="42" y="21"/>
                    <a:pt x="42" y="21"/>
                    <a:pt x="42" y="21"/>
                  </a:cubicBezTo>
                  <a:cubicBezTo>
                    <a:pt x="31" y="21"/>
                    <a:pt x="21" y="31"/>
                    <a:pt x="21" y="43"/>
                  </a:cubicBezTo>
                  <a:cubicBezTo>
                    <a:pt x="21" y="117"/>
                    <a:pt x="21" y="117"/>
                    <a:pt x="21" y="117"/>
                  </a:cubicBezTo>
                  <a:cubicBezTo>
                    <a:pt x="234" y="117"/>
                    <a:pt x="234" y="117"/>
                    <a:pt x="234" y="117"/>
                  </a:cubicBezTo>
                  <a:lnTo>
                    <a:pt x="234" y="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09" name="Freeform 682">
            <a:extLst>
              <a:ext uri="{FF2B5EF4-FFF2-40B4-BE49-F238E27FC236}">
                <a16:creationId xmlns:a16="http://schemas.microsoft.com/office/drawing/2014/main" id="{51D5CF33-4784-4680-8F84-0F233F58CD72}"/>
              </a:ext>
            </a:extLst>
          </p:cNvPr>
          <p:cNvSpPr>
            <a:spLocks noChangeAspect="1" noEditPoints="1"/>
          </p:cNvSpPr>
          <p:nvPr/>
        </p:nvSpPr>
        <p:spPr bwMode="auto">
          <a:xfrm>
            <a:off x="5782140" y="4127084"/>
            <a:ext cx="367041" cy="367041"/>
          </a:xfrm>
          <a:custGeom>
            <a:avLst/>
            <a:gdLst>
              <a:gd name="T0" fmla="*/ 362 w 512"/>
              <a:gd name="T1" fmla="*/ 192 h 512"/>
              <a:gd name="T2" fmla="*/ 362 w 512"/>
              <a:gd name="T3" fmla="*/ 266 h 512"/>
              <a:gd name="T4" fmla="*/ 149 w 512"/>
              <a:gd name="T5" fmla="*/ 266 h 512"/>
              <a:gd name="T6" fmla="*/ 149 w 512"/>
              <a:gd name="T7" fmla="*/ 192 h 512"/>
              <a:gd name="T8" fmla="*/ 170 w 512"/>
              <a:gd name="T9" fmla="*/ 170 h 512"/>
              <a:gd name="T10" fmla="*/ 224 w 512"/>
              <a:gd name="T11" fmla="*/ 170 h 512"/>
              <a:gd name="T12" fmla="*/ 224 w 512"/>
              <a:gd name="T13" fmla="*/ 192 h 512"/>
              <a:gd name="T14" fmla="*/ 234 w 512"/>
              <a:gd name="T15" fmla="*/ 202 h 512"/>
              <a:gd name="T16" fmla="*/ 245 w 512"/>
              <a:gd name="T17" fmla="*/ 192 h 512"/>
              <a:gd name="T18" fmla="*/ 245 w 512"/>
              <a:gd name="T19" fmla="*/ 170 h 512"/>
              <a:gd name="T20" fmla="*/ 341 w 512"/>
              <a:gd name="T21" fmla="*/ 170 h 512"/>
              <a:gd name="T22" fmla="*/ 362 w 512"/>
              <a:gd name="T23" fmla="*/ 192 h 512"/>
              <a:gd name="T24" fmla="*/ 245 w 512"/>
              <a:gd name="T25" fmla="*/ 394 h 512"/>
              <a:gd name="T26" fmla="*/ 266 w 512"/>
              <a:gd name="T27" fmla="*/ 394 h 512"/>
              <a:gd name="T28" fmla="*/ 266 w 512"/>
              <a:gd name="T29" fmla="*/ 288 h 512"/>
              <a:gd name="T30" fmla="*/ 245 w 512"/>
              <a:gd name="T31" fmla="*/ 288 h 512"/>
              <a:gd name="T32" fmla="*/ 245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84 w 512"/>
              <a:gd name="T45" fmla="*/ 192 h 512"/>
              <a:gd name="T46" fmla="*/ 341 w 512"/>
              <a:gd name="T47" fmla="*/ 149 h 512"/>
              <a:gd name="T48" fmla="*/ 245 w 512"/>
              <a:gd name="T49" fmla="*/ 149 h 512"/>
              <a:gd name="T50" fmla="*/ 245 w 512"/>
              <a:gd name="T51" fmla="*/ 117 h 512"/>
              <a:gd name="T52" fmla="*/ 256 w 512"/>
              <a:gd name="T53" fmla="*/ 117 h 512"/>
              <a:gd name="T54" fmla="*/ 266 w 512"/>
              <a:gd name="T55" fmla="*/ 106 h 512"/>
              <a:gd name="T56" fmla="*/ 256 w 512"/>
              <a:gd name="T57" fmla="*/ 96 h 512"/>
              <a:gd name="T58" fmla="*/ 234 w 512"/>
              <a:gd name="T59" fmla="*/ 96 h 512"/>
              <a:gd name="T60" fmla="*/ 224 w 512"/>
              <a:gd name="T61" fmla="*/ 106 h 512"/>
              <a:gd name="T62" fmla="*/ 224 w 512"/>
              <a:gd name="T63" fmla="*/ 149 h 512"/>
              <a:gd name="T64" fmla="*/ 170 w 512"/>
              <a:gd name="T65" fmla="*/ 149 h 512"/>
              <a:gd name="T66" fmla="*/ 128 w 512"/>
              <a:gd name="T67" fmla="*/ 192 h 512"/>
              <a:gd name="T68" fmla="*/ 128 w 512"/>
              <a:gd name="T69" fmla="*/ 277 h 512"/>
              <a:gd name="T70" fmla="*/ 138 w 512"/>
              <a:gd name="T71" fmla="*/ 288 h 512"/>
              <a:gd name="T72" fmla="*/ 224 w 512"/>
              <a:gd name="T73" fmla="*/ 288 h 512"/>
              <a:gd name="T74" fmla="*/ 224 w 512"/>
              <a:gd name="T75" fmla="*/ 405 h 512"/>
              <a:gd name="T76" fmla="*/ 234 w 512"/>
              <a:gd name="T77" fmla="*/ 416 h 512"/>
              <a:gd name="T78" fmla="*/ 277 w 512"/>
              <a:gd name="T79" fmla="*/ 416 h 512"/>
              <a:gd name="T80" fmla="*/ 288 w 512"/>
              <a:gd name="T81" fmla="*/ 405 h 512"/>
              <a:gd name="T82" fmla="*/ 288 w 512"/>
              <a:gd name="T83" fmla="*/ 288 h 512"/>
              <a:gd name="T84" fmla="*/ 373 w 512"/>
              <a:gd name="T85" fmla="*/ 288 h 512"/>
              <a:gd name="T86" fmla="*/ 384 w 512"/>
              <a:gd name="T87" fmla="*/ 277 h 512"/>
              <a:gd name="T88" fmla="*/ 384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62" y="192"/>
                </a:moveTo>
                <a:cubicBezTo>
                  <a:pt x="362" y="266"/>
                  <a:pt x="362" y="266"/>
                  <a:pt x="362" y="266"/>
                </a:cubicBezTo>
                <a:cubicBezTo>
                  <a:pt x="149" y="266"/>
                  <a:pt x="149" y="266"/>
                  <a:pt x="149" y="266"/>
                </a:cubicBezTo>
                <a:cubicBezTo>
                  <a:pt x="149" y="192"/>
                  <a:pt x="149" y="192"/>
                  <a:pt x="149" y="192"/>
                </a:cubicBezTo>
                <a:cubicBezTo>
                  <a:pt x="149" y="180"/>
                  <a:pt x="159" y="170"/>
                  <a:pt x="170" y="170"/>
                </a:cubicBezTo>
                <a:cubicBezTo>
                  <a:pt x="224" y="170"/>
                  <a:pt x="224" y="170"/>
                  <a:pt x="224" y="170"/>
                </a:cubicBezTo>
                <a:cubicBezTo>
                  <a:pt x="224" y="192"/>
                  <a:pt x="224" y="192"/>
                  <a:pt x="224" y="192"/>
                </a:cubicBezTo>
                <a:cubicBezTo>
                  <a:pt x="224" y="198"/>
                  <a:pt x="228" y="202"/>
                  <a:pt x="234" y="202"/>
                </a:cubicBezTo>
                <a:cubicBezTo>
                  <a:pt x="240" y="202"/>
                  <a:pt x="245" y="198"/>
                  <a:pt x="245" y="192"/>
                </a:cubicBezTo>
                <a:cubicBezTo>
                  <a:pt x="245" y="170"/>
                  <a:pt x="245" y="170"/>
                  <a:pt x="245" y="170"/>
                </a:cubicBezTo>
                <a:cubicBezTo>
                  <a:pt x="341" y="170"/>
                  <a:pt x="341" y="170"/>
                  <a:pt x="341" y="170"/>
                </a:cubicBezTo>
                <a:cubicBezTo>
                  <a:pt x="353" y="170"/>
                  <a:pt x="362" y="180"/>
                  <a:pt x="362" y="192"/>
                </a:cubicBezTo>
                <a:close/>
                <a:moveTo>
                  <a:pt x="245" y="394"/>
                </a:moveTo>
                <a:cubicBezTo>
                  <a:pt x="266" y="394"/>
                  <a:pt x="266" y="394"/>
                  <a:pt x="266" y="394"/>
                </a:cubicBezTo>
                <a:cubicBezTo>
                  <a:pt x="266" y="288"/>
                  <a:pt x="266" y="288"/>
                  <a:pt x="266" y="288"/>
                </a:cubicBezTo>
                <a:cubicBezTo>
                  <a:pt x="245" y="288"/>
                  <a:pt x="245" y="288"/>
                  <a:pt x="245" y="288"/>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92"/>
                </a:moveTo>
                <a:cubicBezTo>
                  <a:pt x="384" y="168"/>
                  <a:pt x="365" y="149"/>
                  <a:pt x="341" y="149"/>
                </a:cubicBezTo>
                <a:cubicBezTo>
                  <a:pt x="245" y="149"/>
                  <a:pt x="245" y="149"/>
                  <a:pt x="245" y="149"/>
                </a:cubicBezTo>
                <a:cubicBezTo>
                  <a:pt x="245" y="117"/>
                  <a:pt x="245" y="117"/>
                  <a:pt x="245" y="117"/>
                </a:cubicBezTo>
                <a:cubicBezTo>
                  <a:pt x="256" y="117"/>
                  <a:pt x="256" y="117"/>
                  <a:pt x="256" y="117"/>
                </a:cubicBezTo>
                <a:cubicBezTo>
                  <a:pt x="262" y="117"/>
                  <a:pt x="266" y="112"/>
                  <a:pt x="266" y="106"/>
                </a:cubicBezTo>
                <a:cubicBezTo>
                  <a:pt x="266" y="100"/>
                  <a:pt x="262" y="96"/>
                  <a:pt x="256" y="96"/>
                </a:cubicBezTo>
                <a:cubicBezTo>
                  <a:pt x="234" y="96"/>
                  <a:pt x="234" y="96"/>
                  <a:pt x="234" y="96"/>
                </a:cubicBezTo>
                <a:cubicBezTo>
                  <a:pt x="228" y="96"/>
                  <a:pt x="224" y="100"/>
                  <a:pt x="224" y="106"/>
                </a:cubicBezTo>
                <a:cubicBezTo>
                  <a:pt x="224" y="149"/>
                  <a:pt x="224" y="149"/>
                  <a:pt x="224" y="149"/>
                </a:cubicBezTo>
                <a:cubicBezTo>
                  <a:pt x="170" y="149"/>
                  <a:pt x="170" y="149"/>
                  <a:pt x="170" y="149"/>
                </a:cubicBezTo>
                <a:cubicBezTo>
                  <a:pt x="147" y="149"/>
                  <a:pt x="128" y="168"/>
                  <a:pt x="128" y="192"/>
                </a:cubicBezTo>
                <a:cubicBezTo>
                  <a:pt x="128" y="277"/>
                  <a:pt x="128" y="277"/>
                  <a:pt x="128" y="277"/>
                </a:cubicBezTo>
                <a:cubicBezTo>
                  <a:pt x="128" y="283"/>
                  <a:pt x="132" y="288"/>
                  <a:pt x="138" y="288"/>
                </a:cubicBezTo>
                <a:cubicBezTo>
                  <a:pt x="224" y="288"/>
                  <a:pt x="224" y="288"/>
                  <a:pt x="224" y="288"/>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288"/>
                  <a:pt x="288" y="288"/>
                  <a:pt x="288" y="288"/>
                </a:cubicBezTo>
                <a:cubicBezTo>
                  <a:pt x="373" y="288"/>
                  <a:pt x="373" y="288"/>
                  <a:pt x="373" y="288"/>
                </a:cubicBezTo>
                <a:cubicBezTo>
                  <a:pt x="379" y="288"/>
                  <a:pt x="384" y="283"/>
                  <a:pt x="384" y="277"/>
                </a:cubicBezTo>
                <a:lnTo>
                  <a:pt x="384" y="19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10" name="Group 685">
            <a:extLst>
              <a:ext uri="{FF2B5EF4-FFF2-40B4-BE49-F238E27FC236}">
                <a16:creationId xmlns:a16="http://schemas.microsoft.com/office/drawing/2014/main" id="{478943D4-1BD4-41E6-848D-36277388A3CF}"/>
              </a:ext>
            </a:extLst>
          </p:cNvPr>
          <p:cNvGrpSpPr>
            <a:grpSpLocks noChangeAspect="1"/>
          </p:cNvGrpSpPr>
          <p:nvPr/>
        </p:nvGrpSpPr>
        <p:grpSpPr bwMode="auto">
          <a:xfrm>
            <a:off x="6211011" y="4127084"/>
            <a:ext cx="367041" cy="367041"/>
            <a:chOff x="2658" y="2904"/>
            <a:chExt cx="340" cy="340"/>
          </a:xfrm>
          <a:solidFill>
            <a:schemeClr val="accent2"/>
          </a:solidFill>
        </p:grpSpPr>
        <p:sp>
          <p:nvSpPr>
            <p:cNvPr id="911" name="Freeform 686">
              <a:extLst>
                <a:ext uri="{FF2B5EF4-FFF2-40B4-BE49-F238E27FC236}">
                  <a16:creationId xmlns:a16="http://schemas.microsoft.com/office/drawing/2014/main" id="{0ED34DB9-CE18-49E0-98E1-E82ED46C79CE}"/>
                </a:ext>
              </a:extLst>
            </p:cNvPr>
            <p:cNvSpPr>
              <a:spLocks noEditPoints="1"/>
            </p:cNvSpPr>
            <p:nvPr/>
          </p:nvSpPr>
          <p:spPr bwMode="auto">
            <a:xfrm>
              <a:off x="2658" y="29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12" name="Freeform 687">
              <a:extLst>
                <a:ext uri="{FF2B5EF4-FFF2-40B4-BE49-F238E27FC236}">
                  <a16:creationId xmlns:a16="http://schemas.microsoft.com/office/drawing/2014/main" id="{5FB81AC6-4A8E-4734-B204-A20FE9CA6E72}"/>
                </a:ext>
              </a:extLst>
            </p:cNvPr>
            <p:cNvSpPr>
              <a:spLocks noEditPoints="1"/>
            </p:cNvSpPr>
            <p:nvPr/>
          </p:nvSpPr>
          <p:spPr bwMode="auto">
            <a:xfrm>
              <a:off x="2743" y="2968"/>
              <a:ext cx="170" cy="212"/>
            </a:xfrm>
            <a:custGeom>
              <a:avLst/>
              <a:gdLst>
                <a:gd name="T0" fmla="*/ 213 w 256"/>
                <a:gd name="T1" fmla="*/ 53 h 320"/>
                <a:gd name="T2" fmla="*/ 117 w 256"/>
                <a:gd name="T3" fmla="*/ 53 h 320"/>
                <a:gd name="T4" fmla="*/ 117 w 256"/>
                <a:gd name="T5" fmla="*/ 21 h 320"/>
                <a:gd name="T6" fmla="*/ 128 w 256"/>
                <a:gd name="T7" fmla="*/ 21 h 320"/>
                <a:gd name="T8" fmla="*/ 138 w 256"/>
                <a:gd name="T9" fmla="*/ 10 h 320"/>
                <a:gd name="T10" fmla="*/ 128 w 256"/>
                <a:gd name="T11" fmla="*/ 0 h 320"/>
                <a:gd name="T12" fmla="*/ 106 w 256"/>
                <a:gd name="T13" fmla="*/ 0 h 320"/>
                <a:gd name="T14" fmla="*/ 96 w 256"/>
                <a:gd name="T15" fmla="*/ 10 h 320"/>
                <a:gd name="T16" fmla="*/ 96 w 256"/>
                <a:gd name="T17" fmla="*/ 53 h 320"/>
                <a:gd name="T18" fmla="*/ 42 w 256"/>
                <a:gd name="T19" fmla="*/ 53 h 320"/>
                <a:gd name="T20" fmla="*/ 0 w 256"/>
                <a:gd name="T21" fmla="*/ 96 h 320"/>
                <a:gd name="T22" fmla="*/ 0 w 256"/>
                <a:gd name="T23" fmla="*/ 181 h 320"/>
                <a:gd name="T24" fmla="*/ 10 w 256"/>
                <a:gd name="T25" fmla="*/ 192 h 320"/>
                <a:gd name="T26" fmla="*/ 96 w 256"/>
                <a:gd name="T27" fmla="*/ 192 h 320"/>
                <a:gd name="T28" fmla="*/ 96 w 256"/>
                <a:gd name="T29" fmla="*/ 309 h 320"/>
                <a:gd name="T30" fmla="*/ 106 w 256"/>
                <a:gd name="T31" fmla="*/ 320 h 320"/>
                <a:gd name="T32" fmla="*/ 149 w 256"/>
                <a:gd name="T33" fmla="*/ 320 h 320"/>
                <a:gd name="T34" fmla="*/ 160 w 256"/>
                <a:gd name="T35" fmla="*/ 309 h 320"/>
                <a:gd name="T36" fmla="*/ 160 w 256"/>
                <a:gd name="T37" fmla="*/ 192 h 320"/>
                <a:gd name="T38" fmla="*/ 245 w 256"/>
                <a:gd name="T39" fmla="*/ 192 h 320"/>
                <a:gd name="T40" fmla="*/ 256 w 256"/>
                <a:gd name="T41" fmla="*/ 181 h 320"/>
                <a:gd name="T42" fmla="*/ 256 w 256"/>
                <a:gd name="T43" fmla="*/ 96 h 320"/>
                <a:gd name="T44" fmla="*/ 213 w 256"/>
                <a:gd name="T45" fmla="*/ 53 h 320"/>
                <a:gd name="T46" fmla="*/ 138 w 256"/>
                <a:gd name="T47" fmla="*/ 298 h 320"/>
                <a:gd name="T48" fmla="*/ 117 w 256"/>
                <a:gd name="T49" fmla="*/ 298 h 320"/>
                <a:gd name="T50" fmla="*/ 117 w 256"/>
                <a:gd name="T51" fmla="*/ 192 h 320"/>
                <a:gd name="T52" fmla="*/ 138 w 256"/>
                <a:gd name="T53" fmla="*/ 192 h 320"/>
                <a:gd name="T54" fmla="*/ 138 w 256"/>
                <a:gd name="T55" fmla="*/ 298 h 320"/>
                <a:gd name="T56" fmla="*/ 234 w 256"/>
                <a:gd name="T57" fmla="*/ 170 h 320"/>
                <a:gd name="T58" fmla="*/ 21 w 256"/>
                <a:gd name="T59" fmla="*/ 170 h 320"/>
                <a:gd name="T60" fmla="*/ 21 w 256"/>
                <a:gd name="T61" fmla="*/ 96 h 320"/>
                <a:gd name="T62" fmla="*/ 42 w 256"/>
                <a:gd name="T63" fmla="*/ 74 h 320"/>
                <a:gd name="T64" fmla="*/ 96 w 256"/>
                <a:gd name="T65" fmla="*/ 74 h 320"/>
                <a:gd name="T66" fmla="*/ 96 w 256"/>
                <a:gd name="T67" fmla="*/ 96 h 320"/>
                <a:gd name="T68" fmla="*/ 106 w 256"/>
                <a:gd name="T69" fmla="*/ 106 h 320"/>
                <a:gd name="T70" fmla="*/ 117 w 256"/>
                <a:gd name="T71" fmla="*/ 96 h 320"/>
                <a:gd name="T72" fmla="*/ 117 w 256"/>
                <a:gd name="T73" fmla="*/ 74 h 320"/>
                <a:gd name="T74" fmla="*/ 213 w 256"/>
                <a:gd name="T75" fmla="*/ 74 h 320"/>
                <a:gd name="T76" fmla="*/ 234 w 256"/>
                <a:gd name="T77" fmla="*/ 96 h 320"/>
                <a:gd name="T78" fmla="*/ 234 w 256"/>
                <a:gd name="T79"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6" h="320">
                  <a:moveTo>
                    <a:pt x="213" y="53"/>
                  </a:moveTo>
                  <a:cubicBezTo>
                    <a:pt x="117" y="53"/>
                    <a:pt x="117" y="53"/>
                    <a:pt x="117" y="53"/>
                  </a:cubicBezTo>
                  <a:cubicBezTo>
                    <a:pt x="117" y="21"/>
                    <a:pt x="117" y="21"/>
                    <a:pt x="117" y="21"/>
                  </a:cubicBezTo>
                  <a:cubicBezTo>
                    <a:pt x="128" y="21"/>
                    <a:pt x="128" y="21"/>
                    <a:pt x="128" y="21"/>
                  </a:cubicBezTo>
                  <a:cubicBezTo>
                    <a:pt x="134" y="21"/>
                    <a:pt x="138" y="16"/>
                    <a:pt x="138" y="10"/>
                  </a:cubicBezTo>
                  <a:cubicBezTo>
                    <a:pt x="138" y="4"/>
                    <a:pt x="134" y="0"/>
                    <a:pt x="128" y="0"/>
                  </a:cubicBezTo>
                  <a:cubicBezTo>
                    <a:pt x="106" y="0"/>
                    <a:pt x="106" y="0"/>
                    <a:pt x="106" y="0"/>
                  </a:cubicBezTo>
                  <a:cubicBezTo>
                    <a:pt x="100" y="0"/>
                    <a:pt x="96" y="4"/>
                    <a:pt x="96" y="10"/>
                  </a:cubicBezTo>
                  <a:cubicBezTo>
                    <a:pt x="96" y="53"/>
                    <a:pt x="96" y="53"/>
                    <a:pt x="96" y="53"/>
                  </a:cubicBezTo>
                  <a:cubicBezTo>
                    <a:pt x="42" y="53"/>
                    <a:pt x="42" y="53"/>
                    <a:pt x="42" y="53"/>
                  </a:cubicBezTo>
                  <a:cubicBezTo>
                    <a:pt x="19" y="53"/>
                    <a:pt x="0" y="72"/>
                    <a:pt x="0" y="96"/>
                  </a:cubicBezTo>
                  <a:cubicBezTo>
                    <a:pt x="0" y="181"/>
                    <a:pt x="0" y="181"/>
                    <a:pt x="0" y="181"/>
                  </a:cubicBezTo>
                  <a:cubicBezTo>
                    <a:pt x="0" y="187"/>
                    <a:pt x="4" y="192"/>
                    <a:pt x="10" y="192"/>
                  </a:cubicBezTo>
                  <a:cubicBezTo>
                    <a:pt x="96" y="192"/>
                    <a:pt x="96" y="192"/>
                    <a:pt x="96" y="192"/>
                  </a:cubicBezTo>
                  <a:cubicBezTo>
                    <a:pt x="96" y="309"/>
                    <a:pt x="96" y="309"/>
                    <a:pt x="96" y="309"/>
                  </a:cubicBezTo>
                  <a:cubicBezTo>
                    <a:pt x="96" y="315"/>
                    <a:pt x="100" y="320"/>
                    <a:pt x="106" y="320"/>
                  </a:cubicBezTo>
                  <a:cubicBezTo>
                    <a:pt x="149" y="320"/>
                    <a:pt x="149" y="320"/>
                    <a:pt x="149" y="320"/>
                  </a:cubicBezTo>
                  <a:cubicBezTo>
                    <a:pt x="155" y="320"/>
                    <a:pt x="160" y="315"/>
                    <a:pt x="160" y="309"/>
                  </a:cubicBezTo>
                  <a:cubicBezTo>
                    <a:pt x="160" y="192"/>
                    <a:pt x="160" y="192"/>
                    <a:pt x="160" y="192"/>
                  </a:cubicBezTo>
                  <a:cubicBezTo>
                    <a:pt x="245" y="192"/>
                    <a:pt x="245" y="192"/>
                    <a:pt x="245" y="192"/>
                  </a:cubicBezTo>
                  <a:cubicBezTo>
                    <a:pt x="251" y="192"/>
                    <a:pt x="256" y="187"/>
                    <a:pt x="256" y="181"/>
                  </a:cubicBezTo>
                  <a:cubicBezTo>
                    <a:pt x="256" y="96"/>
                    <a:pt x="256" y="96"/>
                    <a:pt x="256" y="96"/>
                  </a:cubicBezTo>
                  <a:cubicBezTo>
                    <a:pt x="256" y="72"/>
                    <a:pt x="237" y="53"/>
                    <a:pt x="213" y="53"/>
                  </a:cubicBezTo>
                  <a:close/>
                  <a:moveTo>
                    <a:pt x="138" y="298"/>
                  </a:moveTo>
                  <a:cubicBezTo>
                    <a:pt x="117" y="298"/>
                    <a:pt x="117" y="298"/>
                    <a:pt x="117" y="298"/>
                  </a:cubicBezTo>
                  <a:cubicBezTo>
                    <a:pt x="117" y="192"/>
                    <a:pt x="117" y="192"/>
                    <a:pt x="117" y="192"/>
                  </a:cubicBezTo>
                  <a:cubicBezTo>
                    <a:pt x="138" y="192"/>
                    <a:pt x="138" y="192"/>
                    <a:pt x="138" y="192"/>
                  </a:cubicBezTo>
                  <a:lnTo>
                    <a:pt x="138" y="298"/>
                  </a:lnTo>
                  <a:close/>
                  <a:moveTo>
                    <a:pt x="234" y="170"/>
                  </a:moveTo>
                  <a:cubicBezTo>
                    <a:pt x="21" y="170"/>
                    <a:pt x="21" y="170"/>
                    <a:pt x="21" y="170"/>
                  </a:cubicBezTo>
                  <a:cubicBezTo>
                    <a:pt x="21" y="96"/>
                    <a:pt x="21" y="96"/>
                    <a:pt x="21" y="96"/>
                  </a:cubicBezTo>
                  <a:cubicBezTo>
                    <a:pt x="21" y="84"/>
                    <a:pt x="31" y="74"/>
                    <a:pt x="42" y="74"/>
                  </a:cubicBezTo>
                  <a:cubicBezTo>
                    <a:pt x="96" y="74"/>
                    <a:pt x="96" y="74"/>
                    <a:pt x="96" y="74"/>
                  </a:cubicBezTo>
                  <a:cubicBezTo>
                    <a:pt x="96" y="96"/>
                    <a:pt x="96" y="96"/>
                    <a:pt x="96" y="96"/>
                  </a:cubicBezTo>
                  <a:cubicBezTo>
                    <a:pt x="96" y="102"/>
                    <a:pt x="100" y="106"/>
                    <a:pt x="106" y="106"/>
                  </a:cubicBezTo>
                  <a:cubicBezTo>
                    <a:pt x="112" y="106"/>
                    <a:pt x="117" y="102"/>
                    <a:pt x="117" y="96"/>
                  </a:cubicBezTo>
                  <a:cubicBezTo>
                    <a:pt x="117" y="74"/>
                    <a:pt x="117" y="74"/>
                    <a:pt x="117" y="74"/>
                  </a:cubicBezTo>
                  <a:cubicBezTo>
                    <a:pt x="213" y="74"/>
                    <a:pt x="213" y="74"/>
                    <a:pt x="213" y="74"/>
                  </a:cubicBezTo>
                  <a:cubicBezTo>
                    <a:pt x="225" y="74"/>
                    <a:pt x="234" y="84"/>
                    <a:pt x="234" y="96"/>
                  </a:cubicBezTo>
                  <a:lnTo>
                    <a:pt x="234"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13" name="Freeform 691">
            <a:extLst>
              <a:ext uri="{FF2B5EF4-FFF2-40B4-BE49-F238E27FC236}">
                <a16:creationId xmlns:a16="http://schemas.microsoft.com/office/drawing/2014/main" id="{395506B7-310E-4642-A1C0-02C0757715F6}"/>
              </a:ext>
            </a:extLst>
          </p:cNvPr>
          <p:cNvSpPr>
            <a:spLocks noChangeAspect="1" noEditPoints="1"/>
          </p:cNvSpPr>
          <p:nvPr/>
        </p:nvSpPr>
        <p:spPr bwMode="auto">
          <a:xfrm>
            <a:off x="6639882" y="4127084"/>
            <a:ext cx="367041" cy="368121"/>
          </a:xfrm>
          <a:custGeom>
            <a:avLst/>
            <a:gdLst>
              <a:gd name="T0" fmla="*/ 208 w 512"/>
              <a:gd name="T1" fmla="*/ 300 h 512"/>
              <a:gd name="T2" fmla="*/ 149 w 512"/>
              <a:gd name="T3" fmla="*/ 359 h 512"/>
              <a:gd name="T4" fmla="*/ 149 w 512"/>
              <a:gd name="T5" fmla="*/ 248 h 512"/>
              <a:gd name="T6" fmla="*/ 208 w 512"/>
              <a:gd name="T7" fmla="*/ 300 h 512"/>
              <a:gd name="T8" fmla="*/ 228 w 512"/>
              <a:gd name="T9" fmla="*/ 310 h 512"/>
              <a:gd name="T10" fmla="*/ 164 w 512"/>
              <a:gd name="T11" fmla="*/ 374 h 512"/>
              <a:gd name="T12" fmla="*/ 348 w 512"/>
              <a:gd name="T13" fmla="*/ 374 h 512"/>
              <a:gd name="T14" fmla="*/ 284 w 512"/>
              <a:gd name="T15" fmla="*/ 310 h 512"/>
              <a:gd name="T16" fmla="*/ 228 w 512"/>
              <a:gd name="T17" fmla="*/ 310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384 w 512"/>
              <a:gd name="T29" fmla="*/ 224 h 512"/>
              <a:gd name="T30" fmla="*/ 381 w 512"/>
              <a:gd name="T31" fmla="*/ 217 h 512"/>
              <a:gd name="T32" fmla="*/ 264 w 512"/>
              <a:gd name="T33" fmla="*/ 99 h 512"/>
              <a:gd name="T34" fmla="*/ 248 w 512"/>
              <a:gd name="T35" fmla="*/ 99 h 512"/>
              <a:gd name="T36" fmla="*/ 131 w 512"/>
              <a:gd name="T37" fmla="*/ 217 h 512"/>
              <a:gd name="T38" fmla="*/ 128 w 512"/>
              <a:gd name="T39" fmla="*/ 224 h 512"/>
              <a:gd name="T40" fmla="*/ 128 w 512"/>
              <a:gd name="T41" fmla="*/ 384 h 512"/>
              <a:gd name="T42" fmla="*/ 139 w 512"/>
              <a:gd name="T43" fmla="*/ 395 h 512"/>
              <a:gd name="T44" fmla="*/ 373 w 512"/>
              <a:gd name="T45" fmla="*/ 395 h 512"/>
              <a:gd name="T46" fmla="*/ 384 w 512"/>
              <a:gd name="T47" fmla="*/ 384 h 512"/>
              <a:gd name="T48" fmla="*/ 384 w 512"/>
              <a:gd name="T49" fmla="*/ 224 h 512"/>
              <a:gd name="T50" fmla="*/ 228 w 512"/>
              <a:gd name="T51" fmla="*/ 288 h 512"/>
              <a:gd name="T52" fmla="*/ 154 w 512"/>
              <a:gd name="T53" fmla="*/ 224 h 512"/>
              <a:gd name="T54" fmla="*/ 256 w 512"/>
              <a:gd name="T55" fmla="*/ 122 h 512"/>
              <a:gd name="T56" fmla="*/ 358 w 512"/>
              <a:gd name="T57" fmla="*/ 224 h 512"/>
              <a:gd name="T58" fmla="*/ 284 w 512"/>
              <a:gd name="T59" fmla="*/ 288 h 512"/>
              <a:gd name="T60" fmla="*/ 228 w 512"/>
              <a:gd name="T61" fmla="*/ 288 h 512"/>
              <a:gd name="T62" fmla="*/ 216 w 512"/>
              <a:gd name="T63" fmla="*/ 232 h 512"/>
              <a:gd name="T64" fmla="*/ 248 w 512"/>
              <a:gd name="T65" fmla="*/ 264 h 512"/>
              <a:gd name="T66" fmla="*/ 252 w 512"/>
              <a:gd name="T67" fmla="*/ 266 h 512"/>
              <a:gd name="T68" fmla="*/ 256 w 512"/>
              <a:gd name="T69" fmla="*/ 267 h 512"/>
              <a:gd name="T70" fmla="*/ 260 w 512"/>
              <a:gd name="T71" fmla="*/ 266 h 512"/>
              <a:gd name="T72" fmla="*/ 264 w 512"/>
              <a:gd name="T73" fmla="*/ 264 h 512"/>
              <a:gd name="T74" fmla="*/ 296 w 512"/>
              <a:gd name="T75" fmla="*/ 232 h 512"/>
              <a:gd name="T76" fmla="*/ 296 w 512"/>
              <a:gd name="T77" fmla="*/ 217 h 512"/>
              <a:gd name="T78" fmla="*/ 280 w 512"/>
              <a:gd name="T79" fmla="*/ 217 h 512"/>
              <a:gd name="T80" fmla="*/ 267 w 512"/>
              <a:gd name="T81" fmla="*/ 231 h 512"/>
              <a:gd name="T82" fmla="*/ 267 w 512"/>
              <a:gd name="T83" fmla="*/ 171 h 512"/>
              <a:gd name="T84" fmla="*/ 256 w 512"/>
              <a:gd name="T85" fmla="*/ 160 h 512"/>
              <a:gd name="T86" fmla="*/ 245 w 512"/>
              <a:gd name="T87" fmla="*/ 171 h 512"/>
              <a:gd name="T88" fmla="*/ 245 w 512"/>
              <a:gd name="T89" fmla="*/ 231 h 512"/>
              <a:gd name="T90" fmla="*/ 232 w 512"/>
              <a:gd name="T91" fmla="*/ 217 h 512"/>
              <a:gd name="T92" fmla="*/ 216 w 512"/>
              <a:gd name="T93" fmla="*/ 217 h 512"/>
              <a:gd name="T94" fmla="*/ 216 w 512"/>
              <a:gd name="T95" fmla="*/ 232 h 512"/>
              <a:gd name="T96" fmla="*/ 363 w 512"/>
              <a:gd name="T97" fmla="*/ 359 h 512"/>
              <a:gd name="T98" fmla="*/ 363 w 512"/>
              <a:gd name="T99" fmla="*/ 248 h 512"/>
              <a:gd name="T100" fmla="*/ 304 w 512"/>
              <a:gd name="T101" fmla="*/ 300 h 512"/>
              <a:gd name="T102" fmla="*/ 363 w 512"/>
              <a:gd name="T103" fmla="*/ 3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08" y="300"/>
                </a:moveTo>
                <a:cubicBezTo>
                  <a:pt x="149" y="359"/>
                  <a:pt x="149" y="359"/>
                  <a:pt x="149" y="359"/>
                </a:cubicBezTo>
                <a:cubicBezTo>
                  <a:pt x="149" y="248"/>
                  <a:pt x="149" y="248"/>
                  <a:pt x="149" y="248"/>
                </a:cubicBezTo>
                <a:lnTo>
                  <a:pt x="208" y="300"/>
                </a:lnTo>
                <a:close/>
                <a:moveTo>
                  <a:pt x="228" y="310"/>
                </a:moveTo>
                <a:cubicBezTo>
                  <a:pt x="164" y="374"/>
                  <a:pt x="164" y="374"/>
                  <a:pt x="164" y="374"/>
                </a:cubicBezTo>
                <a:cubicBezTo>
                  <a:pt x="348" y="374"/>
                  <a:pt x="348" y="374"/>
                  <a:pt x="348" y="374"/>
                </a:cubicBezTo>
                <a:cubicBezTo>
                  <a:pt x="284" y="310"/>
                  <a:pt x="284" y="310"/>
                  <a:pt x="284" y="310"/>
                </a:cubicBezTo>
                <a:lnTo>
                  <a:pt x="228" y="31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84" y="224"/>
                </a:moveTo>
                <a:cubicBezTo>
                  <a:pt x="384" y="222"/>
                  <a:pt x="383" y="219"/>
                  <a:pt x="381" y="217"/>
                </a:cubicBezTo>
                <a:cubicBezTo>
                  <a:pt x="264" y="99"/>
                  <a:pt x="264" y="99"/>
                  <a:pt x="264" y="99"/>
                </a:cubicBezTo>
                <a:cubicBezTo>
                  <a:pt x="259" y="95"/>
                  <a:pt x="253" y="95"/>
                  <a:pt x="248" y="99"/>
                </a:cubicBezTo>
                <a:cubicBezTo>
                  <a:pt x="131" y="217"/>
                  <a:pt x="131" y="217"/>
                  <a:pt x="131" y="217"/>
                </a:cubicBezTo>
                <a:cubicBezTo>
                  <a:pt x="129" y="219"/>
                  <a:pt x="128" y="222"/>
                  <a:pt x="128" y="224"/>
                </a:cubicBezTo>
                <a:cubicBezTo>
                  <a:pt x="128" y="384"/>
                  <a:pt x="128" y="384"/>
                  <a:pt x="128" y="384"/>
                </a:cubicBezTo>
                <a:cubicBezTo>
                  <a:pt x="128" y="390"/>
                  <a:pt x="133" y="395"/>
                  <a:pt x="139" y="395"/>
                </a:cubicBezTo>
                <a:cubicBezTo>
                  <a:pt x="373" y="395"/>
                  <a:pt x="373" y="395"/>
                  <a:pt x="373" y="395"/>
                </a:cubicBezTo>
                <a:cubicBezTo>
                  <a:pt x="379" y="395"/>
                  <a:pt x="384" y="390"/>
                  <a:pt x="384" y="384"/>
                </a:cubicBezTo>
                <a:lnTo>
                  <a:pt x="384" y="224"/>
                </a:lnTo>
                <a:close/>
                <a:moveTo>
                  <a:pt x="228" y="288"/>
                </a:moveTo>
                <a:cubicBezTo>
                  <a:pt x="154" y="224"/>
                  <a:pt x="154" y="224"/>
                  <a:pt x="154" y="224"/>
                </a:cubicBezTo>
                <a:cubicBezTo>
                  <a:pt x="256" y="122"/>
                  <a:pt x="256" y="122"/>
                  <a:pt x="256" y="122"/>
                </a:cubicBezTo>
                <a:cubicBezTo>
                  <a:pt x="358" y="224"/>
                  <a:pt x="358" y="224"/>
                  <a:pt x="358" y="224"/>
                </a:cubicBezTo>
                <a:cubicBezTo>
                  <a:pt x="284" y="288"/>
                  <a:pt x="284" y="288"/>
                  <a:pt x="284" y="288"/>
                </a:cubicBezTo>
                <a:lnTo>
                  <a:pt x="228" y="288"/>
                </a:lnTo>
                <a:close/>
                <a:moveTo>
                  <a:pt x="216" y="232"/>
                </a:moveTo>
                <a:cubicBezTo>
                  <a:pt x="248" y="264"/>
                  <a:pt x="248" y="264"/>
                  <a:pt x="248" y="264"/>
                </a:cubicBezTo>
                <a:cubicBezTo>
                  <a:pt x="249" y="265"/>
                  <a:pt x="251" y="266"/>
                  <a:pt x="252" y="266"/>
                </a:cubicBezTo>
                <a:cubicBezTo>
                  <a:pt x="253" y="267"/>
                  <a:pt x="255" y="267"/>
                  <a:pt x="256" y="267"/>
                </a:cubicBezTo>
                <a:cubicBezTo>
                  <a:pt x="257" y="267"/>
                  <a:pt x="259" y="267"/>
                  <a:pt x="260" y="266"/>
                </a:cubicBezTo>
                <a:cubicBezTo>
                  <a:pt x="261" y="266"/>
                  <a:pt x="263" y="265"/>
                  <a:pt x="264" y="264"/>
                </a:cubicBezTo>
                <a:cubicBezTo>
                  <a:pt x="296" y="232"/>
                  <a:pt x="296" y="232"/>
                  <a:pt x="296" y="232"/>
                </a:cubicBezTo>
                <a:cubicBezTo>
                  <a:pt x="300" y="228"/>
                  <a:pt x="300" y="221"/>
                  <a:pt x="296" y="217"/>
                </a:cubicBezTo>
                <a:cubicBezTo>
                  <a:pt x="291" y="213"/>
                  <a:pt x="285" y="213"/>
                  <a:pt x="280" y="217"/>
                </a:cubicBezTo>
                <a:cubicBezTo>
                  <a:pt x="267" y="231"/>
                  <a:pt x="267" y="231"/>
                  <a:pt x="267" y="231"/>
                </a:cubicBezTo>
                <a:cubicBezTo>
                  <a:pt x="267" y="171"/>
                  <a:pt x="267" y="171"/>
                  <a:pt x="267" y="171"/>
                </a:cubicBezTo>
                <a:cubicBezTo>
                  <a:pt x="267" y="165"/>
                  <a:pt x="262" y="160"/>
                  <a:pt x="256" y="160"/>
                </a:cubicBezTo>
                <a:cubicBezTo>
                  <a:pt x="250" y="160"/>
                  <a:pt x="245" y="165"/>
                  <a:pt x="245" y="171"/>
                </a:cubicBezTo>
                <a:cubicBezTo>
                  <a:pt x="245" y="231"/>
                  <a:pt x="245" y="231"/>
                  <a:pt x="245" y="231"/>
                </a:cubicBezTo>
                <a:cubicBezTo>
                  <a:pt x="232" y="217"/>
                  <a:pt x="232" y="217"/>
                  <a:pt x="232" y="217"/>
                </a:cubicBezTo>
                <a:cubicBezTo>
                  <a:pt x="227" y="213"/>
                  <a:pt x="221" y="213"/>
                  <a:pt x="216" y="217"/>
                </a:cubicBezTo>
                <a:cubicBezTo>
                  <a:pt x="212" y="221"/>
                  <a:pt x="212" y="228"/>
                  <a:pt x="216" y="232"/>
                </a:cubicBezTo>
                <a:close/>
                <a:moveTo>
                  <a:pt x="363" y="359"/>
                </a:moveTo>
                <a:cubicBezTo>
                  <a:pt x="363" y="248"/>
                  <a:pt x="363" y="248"/>
                  <a:pt x="363" y="248"/>
                </a:cubicBezTo>
                <a:cubicBezTo>
                  <a:pt x="304" y="300"/>
                  <a:pt x="304" y="300"/>
                  <a:pt x="304" y="300"/>
                </a:cubicBezTo>
                <a:lnTo>
                  <a:pt x="363" y="35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14" name="Group 694">
            <a:extLst>
              <a:ext uri="{FF2B5EF4-FFF2-40B4-BE49-F238E27FC236}">
                <a16:creationId xmlns:a16="http://schemas.microsoft.com/office/drawing/2014/main" id="{612D2DC5-E106-4AE4-877C-CD1BD64F2653}"/>
              </a:ext>
            </a:extLst>
          </p:cNvPr>
          <p:cNvGrpSpPr>
            <a:grpSpLocks noChangeAspect="1"/>
          </p:cNvGrpSpPr>
          <p:nvPr/>
        </p:nvGrpSpPr>
        <p:grpSpPr bwMode="auto">
          <a:xfrm>
            <a:off x="7068753" y="4127084"/>
            <a:ext cx="367041" cy="367041"/>
            <a:chOff x="2437" y="2897"/>
            <a:chExt cx="340" cy="340"/>
          </a:xfrm>
          <a:solidFill>
            <a:schemeClr val="accent2"/>
          </a:solidFill>
        </p:grpSpPr>
        <p:sp>
          <p:nvSpPr>
            <p:cNvPr id="915" name="Freeform 695">
              <a:extLst>
                <a:ext uri="{FF2B5EF4-FFF2-40B4-BE49-F238E27FC236}">
                  <a16:creationId xmlns:a16="http://schemas.microsoft.com/office/drawing/2014/main" id="{B900D3C3-F894-4130-9A17-30825F26E246}"/>
                </a:ext>
              </a:extLst>
            </p:cNvPr>
            <p:cNvSpPr>
              <a:spLocks noEditPoints="1"/>
            </p:cNvSpPr>
            <p:nvPr/>
          </p:nvSpPr>
          <p:spPr bwMode="auto">
            <a:xfrm>
              <a:off x="2437" y="2897"/>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16" name="Freeform 696">
              <a:extLst>
                <a:ext uri="{FF2B5EF4-FFF2-40B4-BE49-F238E27FC236}">
                  <a16:creationId xmlns:a16="http://schemas.microsoft.com/office/drawing/2014/main" id="{8525F838-6889-48A9-B192-F1F80EA76C63}"/>
                </a:ext>
              </a:extLst>
            </p:cNvPr>
            <p:cNvSpPr>
              <a:spLocks noEditPoints="1"/>
            </p:cNvSpPr>
            <p:nvPr/>
          </p:nvSpPr>
          <p:spPr bwMode="auto">
            <a:xfrm>
              <a:off x="2522" y="2960"/>
              <a:ext cx="170" cy="199"/>
            </a:xfrm>
            <a:custGeom>
              <a:avLst/>
              <a:gdLst>
                <a:gd name="T0" fmla="*/ 253 w 256"/>
                <a:gd name="T1" fmla="*/ 122 h 300"/>
                <a:gd name="T2" fmla="*/ 136 w 256"/>
                <a:gd name="T3" fmla="*/ 4 h 300"/>
                <a:gd name="T4" fmla="*/ 120 w 256"/>
                <a:gd name="T5" fmla="*/ 4 h 300"/>
                <a:gd name="T6" fmla="*/ 3 w 256"/>
                <a:gd name="T7" fmla="*/ 122 h 300"/>
                <a:gd name="T8" fmla="*/ 0 w 256"/>
                <a:gd name="T9" fmla="*/ 129 h 300"/>
                <a:gd name="T10" fmla="*/ 0 w 256"/>
                <a:gd name="T11" fmla="*/ 289 h 300"/>
                <a:gd name="T12" fmla="*/ 11 w 256"/>
                <a:gd name="T13" fmla="*/ 300 h 300"/>
                <a:gd name="T14" fmla="*/ 245 w 256"/>
                <a:gd name="T15" fmla="*/ 300 h 300"/>
                <a:gd name="T16" fmla="*/ 256 w 256"/>
                <a:gd name="T17" fmla="*/ 289 h 300"/>
                <a:gd name="T18" fmla="*/ 256 w 256"/>
                <a:gd name="T19" fmla="*/ 129 h 300"/>
                <a:gd name="T20" fmla="*/ 253 w 256"/>
                <a:gd name="T21" fmla="*/ 122 h 300"/>
                <a:gd name="T22" fmla="*/ 21 w 256"/>
                <a:gd name="T23" fmla="*/ 153 h 300"/>
                <a:gd name="T24" fmla="*/ 80 w 256"/>
                <a:gd name="T25" fmla="*/ 205 h 300"/>
                <a:gd name="T26" fmla="*/ 21 w 256"/>
                <a:gd name="T27" fmla="*/ 264 h 300"/>
                <a:gd name="T28" fmla="*/ 21 w 256"/>
                <a:gd name="T29" fmla="*/ 153 h 300"/>
                <a:gd name="T30" fmla="*/ 100 w 256"/>
                <a:gd name="T31" fmla="*/ 215 h 300"/>
                <a:gd name="T32" fmla="*/ 156 w 256"/>
                <a:gd name="T33" fmla="*/ 215 h 300"/>
                <a:gd name="T34" fmla="*/ 220 w 256"/>
                <a:gd name="T35" fmla="*/ 279 h 300"/>
                <a:gd name="T36" fmla="*/ 36 w 256"/>
                <a:gd name="T37" fmla="*/ 279 h 300"/>
                <a:gd name="T38" fmla="*/ 100 w 256"/>
                <a:gd name="T39" fmla="*/ 215 h 300"/>
                <a:gd name="T40" fmla="*/ 176 w 256"/>
                <a:gd name="T41" fmla="*/ 205 h 300"/>
                <a:gd name="T42" fmla="*/ 235 w 256"/>
                <a:gd name="T43" fmla="*/ 153 h 300"/>
                <a:gd name="T44" fmla="*/ 235 w 256"/>
                <a:gd name="T45" fmla="*/ 264 h 300"/>
                <a:gd name="T46" fmla="*/ 176 w 256"/>
                <a:gd name="T47" fmla="*/ 205 h 300"/>
                <a:gd name="T48" fmla="*/ 128 w 256"/>
                <a:gd name="T49" fmla="*/ 27 h 300"/>
                <a:gd name="T50" fmla="*/ 230 w 256"/>
                <a:gd name="T51" fmla="*/ 129 h 300"/>
                <a:gd name="T52" fmla="*/ 156 w 256"/>
                <a:gd name="T53" fmla="*/ 193 h 300"/>
                <a:gd name="T54" fmla="*/ 100 w 256"/>
                <a:gd name="T55" fmla="*/ 193 h 300"/>
                <a:gd name="T56" fmla="*/ 26 w 256"/>
                <a:gd name="T57" fmla="*/ 129 h 300"/>
                <a:gd name="T58" fmla="*/ 128 w 256"/>
                <a:gd name="T59" fmla="*/ 2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6" h="300">
                  <a:moveTo>
                    <a:pt x="253" y="122"/>
                  </a:moveTo>
                  <a:cubicBezTo>
                    <a:pt x="136" y="4"/>
                    <a:pt x="136" y="4"/>
                    <a:pt x="136" y="4"/>
                  </a:cubicBezTo>
                  <a:cubicBezTo>
                    <a:pt x="131" y="0"/>
                    <a:pt x="125" y="0"/>
                    <a:pt x="120" y="4"/>
                  </a:cubicBezTo>
                  <a:cubicBezTo>
                    <a:pt x="3" y="122"/>
                    <a:pt x="3" y="122"/>
                    <a:pt x="3" y="122"/>
                  </a:cubicBezTo>
                  <a:cubicBezTo>
                    <a:pt x="1" y="124"/>
                    <a:pt x="0" y="127"/>
                    <a:pt x="0" y="129"/>
                  </a:cubicBezTo>
                  <a:cubicBezTo>
                    <a:pt x="0" y="289"/>
                    <a:pt x="0" y="289"/>
                    <a:pt x="0" y="289"/>
                  </a:cubicBezTo>
                  <a:cubicBezTo>
                    <a:pt x="0" y="295"/>
                    <a:pt x="5" y="300"/>
                    <a:pt x="11" y="300"/>
                  </a:cubicBezTo>
                  <a:cubicBezTo>
                    <a:pt x="245" y="300"/>
                    <a:pt x="245" y="300"/>
                    <a:pt x="245" y="300"/>
                  </a:cubicBezTo>
                  <a:cubicBezTo>
                    <a:pt x="251" y="300"/>
                    <a:pt x="256" y="295"/>
                    <a:pt x="256" y="289"/>
                  </a:cubicBezTo>
                  <a:cubicBezTo>
                    <a:pt x="256" y="129"/>
                    <a:pt x="256" y="129"/>
                    <a:pt x="256" y="129"/>
                  </a:cubicBezTo>
                  <a:cubicBezTo>
                    <a:pt x="256" y="127"/>
                    <a:pt x="255" y="124"/>
                    <a:pt x="253" y="122"/>
                  </a:cubicBezTo>
                  <a:close/>
                  <a:moveTo>
                    <a:pt x="21" y="153"/>
                  </a:moveTo>
                  <a:cubicBezTo>
                    <a:pt x="80" y="205"/>
                    <a:pt x="80" y="205"/>
                    <a:pt x="80" y="205"/>
                  </a:cubicBezTo>
                  <a:cubicBezTo>
                    <a:pt x="21" y="264"/>
                    <a:pt x="21" y="264"/>
                    <a:pt x="21" y="264"/>
                  </a:cubicBezTo>
                  <a:lnTo>
                    <a:pt x="21" y="153"/>
                  </a:lnTo>
                  <a:close/>
                  <a:moveTo>
                    <a:pt x="100" y="215"/>
                  </a:moveTo>
                  <a:cubicBezTo>
                    <a:pt x="156" y="215"/>
                    <a:pt x="156" y="215"/>
                    <a:pt x="156" y="215"/>
                  </a:cubicBezTo>
                  <a:cubicBezTo>
                    <a:pt x="220" y="279"/>
                    <a:pt x="220" y="279"/>
                    <a:pt x="220" y="279"/>
                  </a:cubicBezTo>
                  <a:cubicBezTo>
                    <a:pt x="36" y="279"/>
                    <a:pt x="36" y="279"/>
                    <a:pt x="36" y="279"/>
                  </a:cubicBezTo>
                  <a:lnTo>
                    <a:pt x="100" y="215"/>
                  </a:lnTo>
                  <a:close/>
                  <a:moveTo>
                    <a:pt x="176" y="205"/>
                  </a:moveTo>
                  <a:cubicBezTo>
                    <a:pt x="235" y="153"/>
                    <a:pt x="235" y="153"/>
                    <a:pt x="235" y="153"/>
                  </a:cubicBezTo>
                  <a:cubicBezTo>
                    <a:pt x="235" y="264"/>
                    <a:pt x="235" y="264"/>
                    <a:pt x="235" y="264"/>
                  </a:cubicBezTo>
                  <a:lnTo>
                    <a:pt x="176" y="205"/>
                  </a:lnTo>
                  <a:close/>
                  <a:moveTo>
                    <a:pt x="128" y="27"/>
                  </a:moveTo>
                  <a:cubicBezTo>
                    <a:pt x="230" y="129"/>
                    <a:pt x="230" y="129"/>
                    <a:pt x="230" y="129"/>
                  </a:cubicBezTo>
                  <a:cubicBezTo>
                    <a:pt x="156" y="193"/>
                    <a:pt x="156" y="193"/>
                    <a:pt x="156" y="193"/>
                  </a:cubicBezTo>
                  <a:cubicBezTo>
                    <a:pt x="100" y="193"/>
                    <a:pt x="100" y="193"/>
                    <a:pt x="100" y="193"/>
                  </a:cubicBezTo>
                  <a:cubicBezTo>
                    <a:pt x="26" y="129"/>
                    <a:pt x="26" y="129"/>
                    <a:pt x="26" y="129"/>
                  </a:cubicBezTo>
                  <a:lnTo>
                    <a:pt x="128" y="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17" name="Freeform 697">
              <a:extLst>
                <a:ext uri="{FF2B5EF4-FFF2-40B4-BE49-F238E27FC236}">
                  <a16:creationId xmlns:a16="http://schemas.microsoft.com/office/drawing/2014/main" id="{EB6AE3E6-5CD5-41B8-9EFE-080A72E9C404}"/>
                </a:ext>
              </a:extLst>
            </p:cNvPr>
            <p:cNvSpPr>
              <a:spLocks/>
            </p:cNvSpPr>
            <p:nvPr/>
          </p:nvSpPr>
          <p:spPr bwMode="auto">
            <a:xfrm>
              <a:off x="2578" y="3003"/>
              <a:ext cx="58" cy="71"/>
            </a:xfrm>
            <a:custGeom>
              <a:avLst/>
              <a:gdLst>
                <a:gd name="T0" fmla="*/ 4 w 88"/>
                <a:gd name="T1" fmla="*/ 72 h 107"/>
                <a:gd name="T2" fmla="*/ 36 w 88"/>
                <a:gd name="T3" fmla="*/ 104 h 107"/>
                <a:gd name="T4" fmla="*/ 40 w 88"/>
                <a:gd name="T5" fmla="*/ 106 h 107"/>
                <a:gd name="T6" fmla="*/ 44 w 88"/>
                <a:gd name="T7" fmla="*/ 107 h 107"/>
                <a:gd name="T8" fmla="*/ 48 w 88"/>
                <a:gd name="T9" fmla="*/ 106 h 107"/>
                <a:gd name="T10" fmla="*/ 52 w 88"/>
                <a:gd name="T11" fmla="*/ 104 h 107"/>
                <a:gd name="T12" fmla="*/ 84 w 88"/>
                <a:gd name="T13" fmla="*/ 72 h 107"/>
                <a:gd name="T14" fmla="*/ 84 w 88"/>
                <a:gd name="T15" fmla="*/ 57 h 107"/>
                <a:gd name="T16" fmla="*/ 68 w 88"/>
                <a:gd name="T17" fmla="*/ 57 h 107"/>
                <a:gd name="T18" fmla="*/ 55 w 88"/>
                <a:gd name="T19" fmla="*/ 71 h 107"/>
                <a:gd name="T20" fmla="*/ 55 w 88"/>
                <a:gd name="T21" fmla="*/ 11 h 107"/>
                <a:gd name="T22" fmla="*/ 44 w 88"/>
                <a:gd name="T23" fmla="*/ 0 h 107"/>
                <a:gd name="T24" fmla="*/ 33 w 88"/>
                <a:gd name="T25" fmla="*/ 11 h 107"/>
                <a:gd name="T26" fmla="*/ 33 w 88"/>
                <a:gd name="T27" fmla="*/ 71 h 107"/>
                <a:gd name="T28" fmla="*/ 20 w 88"/>
                <a:gd name="T29" fmla="*/ 57 h 107"/>
                <a:gd name="T30" fmla="*/ 4 w 88"/>
                <a:gd name="T31" fmla="*/ 57 h 107"/>
                <a:gd name="T32" fmla="*/ 4 w 88"/>
                <a:gd name="T33" fmla="*/ 7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07">
                  <a:moveTo>
                    <a:pt x="4" y="72"/>
                  </a:moveTo>
                  <a:cubicBezTo>
                    <a:pt x="36" y="104"/>
                    <a:pt x="36" y="104"/>
                    <a:pt x="36" y="104"/>
                  </a:cubicBezTo>
                  <a:cubicBezTo>
                    <a:pt x="37" y="105"/>
                    <a:pt x="39" y="106"/>
                    <a:pt x="40" y="106"/>
                  </a:cubicBezTo>
                  <a:cubicBezTo>
                    <a:pt x="41" y="107"/>
                    <a:pt x="43" y="107"/>
                    <a:pt x="44" y="107"/>
                  </a:cubicBezTo>
                  <a:cubicBezTo>
                    <a:pt x="45" y="107"/>
                    <a:pt x="47" y="107"/>
                    <a:pt x="48" y="106"/>
                  </a:cubicBezTo>
                  <a:cubicBezTo>
                    <a:pt x="49" y="106"/>
                    <a:pt x="51" y="105"/>
                    <a:pt x="52" y="104"/>
                  </a:cubicBezTo>
                  <a:cubicBezTo>
                    <a:pt x="84" y="72"/>
                    <a:pt x="84" y="72"/>
                    <a:pt x="84" y="72"/>
                  </a:cubicBezTo>
                  <a:cubicBezTo>
                    <a:pt x="88" y="68"/>
                    <a:pt x="88" y="61"/>
                    <a:pt x="84" y="57"/>
                  </a:cubicBezTo>
                  <a:cubicBezTo>
                    <a:pt x="79" y="53"/>
                    <a:pt x="73" y="53"/>
                    <a:pt x="68" y="57"/>
                  </a:cubicBezTo>
                  <a:cubicBezTo>
                    <a:pt x="55" y="71"/>
                    <a:pt x="55" y="71"/>
                    <a:pt x="55" y="71"/>
                  </a:cubicBezTo>
                  <a:cubicBezTo>
                    <a:pt x="55" y="11"/>
                    <a:pt x="55" y="11"/>
                    <a:pt x="55" y="11"/>
                  </a:cubicBezTo>
                  <a:cubicBezTo>
                    <a:pt x="55" y="5"/>
                    <a:pt x="50" y="0"/>
                    <a:pt x="44" y="0"/>
                  </a:cubicBezTo>
                  <a:cubicBezTo>
                    <a:pt x="38" y="0"/>
                    <a:pt x="33" y="5"/>
                    <a:pt x="33" y="11"/>
                  </a:cubicBezTo>
                  <a:cubicBezTo>
                    <a:pt x="33" y="71"/>
                    <a:pt x="33" y="71"/>
                    <a:pt x="33" y="71"/>
                  </a:cubicBezTo>
                  <a:cubicBezTo>
                    <a:pt x="20" y="57"/>
                    <a:pt x="20" y="57"/>
                    <a:pt x="20" y="57"/>
                  </a:cubicBezTo>
                  <a:cubicBezTo>
                    <a:pt x="15" y="53"/>
                    <a:pt x="9" y="53"/>
                    <a:pt x="4" y="57"/>
                  </a:cubicBezTo>
                  <a:cubicBezTo>
                    <a:pt x="0" y="61"/>
                    <a:pt x="0" y="68"/>
                    <a:pt x="4"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18" name="Freeform 701">
            <a:extLst>
              <a:ext uri="{FF2B5EF4-FFF2-40B4-BE49-F238E27FC236}">
                <a16:creationId xmlns:a16="http://schemas.microsoft.com/office/drawing/2014/main" id="{B7934C5D-7FBE-4F52-A0F1-8569D0D48F14}"/>
              </a:ext>
            </a:extLst>
          </p:cNvPr>
          <p:cNvSpPr>
            <a:spLocks noChangeAspect="1" noEditPoints="1"/>
          </p:cNvSpPr>
          <p:nvPr/>
        </p:nvSpPr>
        <p:spPr bwMode="auto">
          <a:xfrm>
            <a:off x="7497624" y="4127084"/>
            <a:ext cx="367041" cy="368121"/>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19" name="Freeform 705">
            <a:extLst>
              <a:ext uri="{FF2B5EF4-FFF2-40B4-BE49-F238E27FC236}">
                <a16:creationId xmlns:a16="http://schemas.microsoft.com/office/drawing/2014/main" id="{1AFCC423-4418-425F-8BE2-45CD2BC75918}"/>
              </a:ext>
            </a:extLst>
          </p:cNvPr>
          <p:cNvSpPr>
            <a:spLocks noChangeAspect="1" noEditPoints="1"/>
          </p:cNvSpPr>
          <p:nvPr/>
        </p:nvSpPr>
        <p:spPr bwMode="auto">
          <a:xfrm>
            <a:off x="8355366" y="4127084"/>
            <a:ext cx="367041" cy="367041"/>
          </a:xfrm>
          <a:custGeom>
            <a:avLst/>
            <a:gdLst>
              <a:gd name="T0" fmla="*/ 283 w 512"/>
              <a:gd name="T1" fmla="*/ 309 h 512"/>
              <a:gd name="T2" fmla="*/ 347 w 512"/>
              <a:gd name="T3" fmla="*/ 373 h 512"/>
              <a:gd name="T4" fmla="*/ 164 w 512"/>
              <a:gd name="T5" fmla="*/ 373 h 512"/>
              <a:gd name="T6" fmla="*/ 228 w 512"/>
              <a:gd name="T7" fmla="*/ 309 h 512"/>
              <a:gd name="T8" fmla="*/ 283 w 512"/>
              <a:gd name="T9" fmla="*/ 309 h 512"/>
              <a:gd name="T10" fmla="*/ 149 w 512"/>
              <a:gd name="T11" fmla="*/ 247 h 512"/>
              <a:gd name="T12" fmla="*/ 149 w 512"/>
              <a:gd name="T13" fmla="*/ 358 h 512"/>
              <a:gd name="T14" fmla="*/ 208 w 512"/>
              <a:gd name="T15" fmla="*/ 299 h 512"/>
              <a:gd name="T16" fmla="*/ 149 w 512"/>
              <a:gd name="T17" fmla="*/ 247 h 512"/>
              <a:gd name="T18" fmla="*/ 228 w 512"/>
              <a:gd name="T19" fmla="*/ 288 h 512"/>
              <a:gd name="T20" fmla="*/ 154 w 512"/>
              <a:gd name="T21" fmla="*/ 223 h 512"/>
              <a:gd name="T22" fmla="*/ 256 w 512"/>
              <a:gd name="T23" fmla="*/ 121 h 512"/>
              <a:gd name="T24" fmla="*/ 357 w 512"/>
              <a:gd name="T25" fmla="*/ 223 h 512"/>
              <a:gd name="T26" fmla="*/ 284 w 512"/>
              <a:gd name="T27" fmla="*/ 288 h 512"/>
              <a:gd name="T28" fmla="*/ 228 w 512"/>
              <a:gd name="T29" fmla="*/ 288 h 512"/>
              <a:gd name="T30" fmla="*/ 224 w 512"/>
              <a:gd name="T31" fmla="*/ 213 h 512"/>
              <a:gd name="T32" fmla="*/ 231 w 512"/>
              <a:gd name="T33" fmla="*/ 210 h 512"/>
              <a:gd name="T34" fmla="*/ 245 w 512"/>
              <a:gd name="T35" fmla="*/ 196 h 512"/>
              <a:gd name="T36" fmla="*/ 245 w 512"/>
              <a:gd name="T37" fmla="*/ 256 h 512"/>
              <a:gd name="T38" fmla="*/ 256 w 512"/>
              <a:gd name="T39" fmla="*/ 266 h 512"/>
              <a:gd name="T40" fmla="*/ 266 w 512"/>
              <a:gd name="T41" fmla="*/ 256 h 512"/>
              <a:gd name="T42" fmla="*/ 266 w 512"/>
              <a:gd name="T43" fmla="*/ 196 h 512"/>
              <a:gd name="T44" fmla="*/ 280 w 512"/>
              <a:gd name="T45" fmla="*/ 210 h 512"/>
              <a:gd name="T46" fmla="*/ 288 w 512"/>
              <a:gd name="T47" fmla="*/ 213 h 512"/>
              <a:gd name="T48" fmla="*/ 295 w 512"/>
              <a:gd name="T49" fmla="*/ 210 h 512"/>
              <a:gd name="T50" fmla="*/ 295 w 512"/>
              <a:gd name="T51" fmla="*/ 195 h 512"/>
              <a:gd name="T52" fmla="*/ 263 w 512"/>
              <a:gd name="T53" fmla="*/ 163 h 512"/>
              <a:gd name="T54" fmla="*/ 260 w 512"/>
              <a:gd name="T55" fmla="*/ 160 h 512"/>
              <a:gd name="T56" fmla="*/ 252 w 512"/>
              <a:gd name="T57" fmla="*/ 160 h 512"/>
              <a:gd name="T58" fmla="*/ 248 w 512"/>
              <a:gd name="T59" fmla="*/ 163 h 512"/>
              <a:gd name="T60" fmla="*/ 216 w 512"/>
              <a:gd name="T61" fmla="*/ 195 h 512"/>
              <a:gd name="T62" fmla="*/ 216 w 512"/>
              <a:gd name="T63" fmla="*/ 210 h 512"/>
              <a:gd name="T64" fmla="*/ 224 w 512"/>
              <a:gd name="T65" fmla="*/ 213 h 512"/>
              <a:gd name="T66" fmla="*/ 512 w 512"/>
              <a:gd name="T67" fmla="*/ 256 h 512"/>
              <a:gd name="T68" fmla="*/ 256 w 512"/>
              <a:gd name="T69" fmla="*/ 512 h 512"/>
              <a:gd name="T70" fmla="*/ 0 w 512"/>
              <a:gd name="T71" fmla="*/ 256 h 512"/>
              <a:gd name="T72" fmla="*/ 256 w 512"/>
              <a:gd name="T73" fmla="*/ 0 h 512"/>
              <a:gd name="T74" fmla="*/ 512 w 512"/>
              <a:gd name="T75" fmla="*/ 256 h 512"/>
              <a:gd name="T76" fmla="*/ 384 w 512"/>
              <a:gd name="T77" fmla="*/ 224 h 512"/>
              <a:gd name="T78" fmla="*/ 381 w 512"/>
              <a:gd name="T79" fmla="*/ 216 h 512"/>
              <a:gd name="T80" fmla="*/ 263 w 512"/>
              <a:gd name="T81" fmla="*/ 99 h 512"/>
              <a:gd name="T82" fmla="*/ 248 w 512"/>
              <a:gd name="T83" fmla="*/ 99 h 512"/>
              <a:gd name="T84" fmla="*/ 131 w 512"/>
              <a:gd name="T85" fmla="*/ 216 h 512"/>
              <a:gd name="T86" fmla="*/ 128 w 512"/>
              <a:gd name="T87" fmla="*/ 224 h 512"/>
              <a:gd name="T88" fmla="*/ 128 w 512"/>
              <a:gd name="T89" fmla="*/ 384 h 512"/>
              <a:gd name="T90" fmla="*/ 138 w 512"/>
              <a:gd name="T91" fmla="*/ 394 h 512"/>
              <a:gd name="T92" fmla="*/ 373 w 512"/>
              <a:gd name="T93" fmla="*/ 394 h 512"/>
              <a:gd name="T94" fmla="*/ 384 w 512"/>
              <a:gd name="T95" fmla="*/ 384 h 512"/>
              <a:gd name="T96" fmla="*/ 384 w 512"/>
              <a:gd name="T97" fmla="*/ 224 h 512"/>
              <a:gd name="T98" fmla="*/ 362 w 512"/>
              <a:gd name="T99" fmla="*/ 358 h 512"/>
              <a:gd name="T100" fmla="*/ 362 w 512"/>
              <a:gd name="T101" fmla="*/ 247 h 512"/>
              <a:gd name="T102" fmla="*/ 303 w 512"/>
              <a:gd name="T103" fmla="*/ 299 h 512"/>
              <a:gd name="T104" fmla="*/ 362 w 512"/>
              <a:gd name="T105" fmla="*/ 3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83" y="309"/>
                </a:moveTo>
                <a:cubicBezTo>
                  <a:pt x="347" y="373"/>
                  <a:pt x="347" y="373"/>
                  <a:pt x="347" y="373"/>
                </a:cubicBezTo>
                <a:cubicBezTo>
                  <a:pt x="164" y="373"/>
                  <a:pt x="164" y="373"/>
                  <a:pt x="164" y="373"/>
                </a:cubicBezTo>
                <a:cubicBezTo>
                  <a:pt x="228" y="309"/>
                  <a:pt x="228" y="309"/>
                  <a:pt x="228" y="309"/>
                </a:cubicBezTo>
                <a:lnTo>
                  <a:pt x="283" y="309"/>
                </a:lnTo>
                <a:close/>
                <a:moveTo>
                  <a:pt x="149" y="247"/>
                </a:moveTo>
                <a:cubicBezTo>
                  <a:pt x="149" y="358"/>
                  <a:pt x="149" y="358"/>
                  <a:pt x="149" y="358"/>
                </a:cubicBezTo>
                <a:cubicBezTo>
                  <a:pt x="208" y="299"/>
                  <a:pt x="208" y="299"/>
                  <a:pt x="208" y="299"/>
                </a:cubicBezTo>
                <a:lnTo>
                  <a:pt x="149" y="247"/>
                </a:lnTo>
                <a:close/>
                <a:moveTo>
                  <a:pt x="228" y="288"/>
                </a:moveTo>
                <a:cubicBezTo>
                  <a:pt x="154" y="223"/>
                  <a:pt x="154" y="223"/>
                  <a:pt x="154" y="223"/>
                </a:cubicBezTo>
                <a:cubicBezTo>
                  <a:pt x="256" y="121"/>
                  <a:pt x="256" y="121"/>
                  <a:pt x="256" y="121"/>
                </a:cubicBezTo>
                <a:cubicBezTo>
                  <a:pt x="357" y="223"/>
                  <a:pt x="357" y="223"/>
                  <a:pt x="357" y="223"/>
                </a:cubicBezTo>
                <a:cubicBezTo>
                  <a:pt x="284" y="288"/>
                  <a:pt x="284" y="288"/>
                  <a:pt x="284" y="288"/>
                </a:cubicBezTo>
                <a:lnTo>
                  <a:pt x="228" y="288"/>
                </a:lnTo>
                <a:close/>
                <a:moveTo>
                  <a:pt x="224" y="213"/>
                </a:moveTo>
                <a:cubicBezTo>
                  <a:pt x="226" y="213"/>
                  <a:pt x="229" y="212"/>
                  <a:pt x="231" y="210"/>
                </a:cubicBezTo>
                <a:cubicBezTo>
                  <a:pt x="245" y="196"/>
                  <a:pt x="245" y="196"/>
                  <a:pt x="245" y="196"/>
                </a:cubicBezTo>
                <a:cubicBezTo>
                  <a:pt x="245" y="256"/>
                  <a:pt x="245" y="256"/>
                  <a:pt x="245" y="256"/>
                </a:cubicBezTo>
                <a:cubicBezTo>
                  <a:pt x="245" y="262"/>
                  <a:pt x="250" y="266"/>
                  <a:pt x="256" y="266"/>
                </a:cubicBezTo>
                <a:cubicBezTo>
                  <a:pt x="262" y="266"/>
                  <a:pt x="266" y="262"/>
                  <a:pt x="266" y="256"/>
                </a:cubicBezTo>
                <a:cubicBezTo>
                  <a:pt x="266" y="196"/>
                  <a:pt x="266" y="196"/>
                  <a:pt x="266" y="196"/>
                </a:cubicBezTo>
                <a:cubicBezTo>
                  <a:pt x="280" y="210"/>
                  <a:pt x="280" y="210"/>
                  <a:pt x="280" y="210"/>
                </a:cubicBezTo>
                <a:cubicBezTo>
                  <a:pt x="282" y="212"/>
                  <a:pt x="285" y="213"/>
                  <a:pt x="288" y="213"/>
                </a:cubicBezTo>
                <a:cubicBezTo>
                  <a:pt x="290" y="213"/>
                  <a:pt x="293" y="212"/>
                  <a:pt x="295" y="210"/>
                </a:cubicBezTo>
                <a:cubicBezTo>
                  <a:pt x="299" y="206"/>
                  <a:pt x="299" y="199"/>
                  <a:pt x="295" y="195"/>
                </a:cubicBezTo>
                <a:cubicBezTo>
                  <a:pt x="263" y="163"/>
                  <a:pt x="263" y="163"/>
                  <a:pt x="263" y="163"/>
                </a:cubicBezTo>
                <a:cubicBezTo>
                  <a:pt x="262" y="162"/>
                  <a:pt x="261" y="161"/>
                  <a:pt x="260" y="160"/>
                </a:cubicBezTo>
                <a:cubicBezTo>
                  <a:pt x="257" y="159"/>
                  <a:pt x="254" y="159"/>
                  <a:pt x="252" y="160"/>
                </a:cubicBezTo>
                <a:cubicBezTo>
                  <a:pt x="250" y="161"/>
                  <a:pt x="249" y="162"/>
                  <a:pt x="248" y="163"/>
                </a:cubicBezTo>
                <a:cubicBezTo>
                  <a:pt x="216" y="195"/>
                  <a:pt x="216" y="195"/>
                  <a:pt x="216" y="195"/>
                </a:cubicBezTo>
                <a:cubicBezTo>
                  <a:pt x="212" y="199"/>
                  <a:pt x="212" y="206"/>
                  <a:pt x="216" y="210"/>
                </a:cubicBezTo>
                <a:cubicBezTo>
                  <a:pt x="218" y="212"/>
                  <a:pt x="221" y="213"/>
                  <a:pt x="224"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221"/>
                  <a:pt x="383" y="218"/>
                  <a:pt x="381" y="216"/>
                </a:cubicBezTo>
                <a:cubicBezTo>
                  <a:pt x="263" y="99"/>
                  <a:pt x="263" y="99"/>
                  <a:pt x="263" y="99"/>
                </a:cubicBezTo>
                <a:cubicBezTo>
                  <a:pt x="259" y="95"/>
                  <a:pt x="252" y="95"/>
                  <a:pt x="248" y="99"/>
                </a:cubicBezTo>
                <a:cubicBezTo>
                  <a:pt x="131" y="216"/>
                  <a:pt x="131" y="216"/>
                  <a:pt x="131" y="216"/>
                </a:cubicBezTo>
                <a:cubicBezTo>
                  <a:pt x="129" y="218"/>
                  <a:pt x="128" y="221"/>
                  <a:pt x="128" y="224"/>
                </a:cubicBezTo>
                <a:cubicBezTo>
                  <a:pt x="128" y="384"/>
                  <a:pt x="128" y="384"/>
                  <a:pt x="128" y="384"/>
                </a:cubicBezTo>
                <a:cubicBezTo>
                  <a:pt x="128" y="390"/>
                  <a:pt x="132" y="394"/>
                  <a:pt x="138" y="394"/>
                </a:cubicBezTo>
                <a:cubicBezTo>
                  <a:pt x="373" y="394"/>
                  <a:pt x="373" y="394"/>
                  <a:pt x="373" y="394"/>
                </a:cubicBezTo>
                <a:cubicBezTo>
                  <a:pt x="379" y="394"/>
                  <a:pt x="384" y="390"/>
                  <a:pt x="384" y="384"/>
                </a:cubicBezTo>
                <a:lnTo>
                  <a:pt x="384" y="224"/>
                </a:lnTo>
                <a:close/>
                <a:moveTo>
                  <a:pt x="362" y="358"/>
                </a:moveTo>
                <a:cubicBezTo>
                  <a:pt x="362" y="247"/>
                  <a:pt x="362" y="247"/>
                  <a:pt x="362" y="247"/>
                </a:cubicBezTo>
                <a:cubicBezTo>
                  <a:pt x="303" y="299"/>
                  <a:pt x="303" y="299"/>
                  <a:pt x="303" y="299"/>
                </a:cubicBezTo>
                <a:lnTo>
                  <a:pt x="362" y="35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20" name="Group 708">
            <a:extLst>
              <a:ext uri="{FF2B5EF4-FFF2-40B4-BE49-F238E27FC236}">
                <a16:creationId xmlns:a16="http://schemas.microsoft.com/office/drawing/2014/main" id="{BE0538A7-50B2-4DA1-A574-867890610113}"/>
              </a:ext>
            </a:extLst>
          </p:cNvPr>
          <p:cNvGrpSpPr>
            <a:grpSpLocks noChangeAspect="1"/>
          </p:cNvGrpSpPr>
          <p:nvPr/>
        </p:nvGrpSpPr>
        <p:grpSpPr bwMode="auto">
          <a:xfrm>
            <a:off x="8784237" y="4127084"/>
            <a:ext cx="367041" cy="368120"/>
            <a:chOff x="3670" y="2977"/>
            <a:chExt cx="340" cy="341"/>
          </a:xfrm>
          <a:solidFill>
            <a:schemeClr val="accent2"/>
          </a:solidFill>
        </p:grpSpPr>
        <p:sp>
          <p:nvSpPr>
            <p:cNvPr id="921" name="Freeform 709">
              <a:extLst>
                <a:ext uri="{FF2B5EF4-FFF2-40B4-BE49-F238E27FC236}">
                  <a16:creationId xmlns:a16="http://schemas.microsoft.com/office/drawing/2014/main" id="{41915648-45B1-48E9-B536-3116A827B595}"/>
                </a:ext>
              </a:extLst>
            </p:cNvPr>
            <p:cNvSpPr>
              <a:spLocks noEditPoints="1"/>
            </p:cNvSpPr>
            <p:nvPr/>
          </p:nvSpPr>
          <p:spPr bwMode="auto">
            <a:xfrm>
              <a:off x="3670" y="29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22" name="Freeform 710">
              <a:extLst>
                <a:ext uri="{FF2B5EF4-FFF2-40B4-BE49-F238E27FC236}">
                  <a16:creationId xmlns:a16="http://schemas.microsoft.com/office/drawing/2014/main" id="{48871DA1-49DA-4148-8787-F9BC49BA2591}"/>
                </a:ext>
              </a:extLst>
            </p:cNvPr>
            <p:cNvSpPr>
              <a:spLocks noEditPoints="1"/>
            </p:cNvSpPr>
            <p:nvPr/>
          </p:nvSpPr>
          <p:spPr bwMode="auto">
            <a:xfrm>
              <a:off x="3755" y="3040"/>
              <a:ext cx="170" cy="199"/>
            </a:xfrm>
            <a:custGeom>
              <a:avLst/>
              <a:gdLst>
                <a:gd name="T0" fmla="*/ 253 w 256"/>
                <a:gd name="T1" fmla="*/ 121 h 299"/>
                <a:gd name="T2" fmla="*/ 135 w 256"/>
                <a:gd name="T3" fmla="*/ 4 h 299"/>
                <a:gd name="T4" fmla="*/ 120 w 256"/>
                <a:gd name="T5" fmla="*/ 4 h 299"/>
                <a:gd name="T6" fmla="*/ 3 w 256"/>
                <a:gd name="T7" fmla="*/ 121 h 299"/>
                <a:gd name="T8" fmla="*/ 0 w 256"/>
                <a:gd name="T9" fmla="*/ 129 h 299"/>
                <a:gd name="T10" fmla="*/ 0 w 256"/>
                <a:gd name="T11" fmla="*/ 289 h 299"/>
                <a:gd name="T12" fmla="*/ 10 w 256"/>
                <a:gd name="T13" fmla="*/ 299 h 299"/>
                <a:gd name="T14" fmla="*/ 245 w 256"/>
                <a:gd name="T15" fmla="*/ 299 h 299"/>
                <a:gd name="T16" fmla="*/ 256 w 256"/>
                <a:gd name="T17" fmla="*/ 289 h 299"/>
                <a:gd name="T18" fmla="*/ 256 w 256"/>
                <a:gd name="T19" fmla="*/ 129 h 299"/>
                <a:gd name="T20" fmla="*/ 253 w 256"/>
                <a:gd name="T21" fmla="*/ 121 h 299"/>
                <a:gd name="T22" fmla="*/ 21 w 256"/>
                <a:gd name="T23" fmla="*/ 152 h 299"/>
                <a:gd name="T24" fmla="*/ 80 w 256"/>
                <a:gd name="T25" fmla="*/ 204 h 299"/>
                <a:gd name="T26" fmla="*/ 21 w 256"/>
                <a:gd name="T27" fmla="*/ 263 h 299"/>
                <a:gd name="T28" fmla="*/ 21 w 256"/>
                <a:gd name="T29" fmla="*/ 152 h 299"/>
                <a:gd name="T30" fmla="*/ 100 w 256"/>
                <a:gd name="T31" fmla="*/ 214 h 299"/>
                <a:gd name="T32" fmla="*/ 155 w 256"/>
                <a:gd name="T33" fmla="*/ 214 h 299"/>
                <a:gd name="T34" fmla="*/ 219 w 256"/>
                <a:gd name="T35" fmla="*/ 278 h 299"/>
                <a:gd name="T36" fmla="*/ 36 w 256"/>
                <a:gd name="T37" fmla="*/ 278 h 299"/>
                <a:gd name="T38" fmla="*/ 100 w 256"/>
                <a:gd name="T39" fmla="*/ 214 h 299"/>
                <a:gd name="T40" fmla="*/ 175 w 256"/>
                <a:gd name="T41" fmla="*/ 204 h 299"/>
                <a:gd name="T42" fmla="*/ 234 w 256"/>
                <a:gd name="T43" fmla="*/ 152 h 299"/>
                <a:gd name="T44" fmla="*/ 234 w 256"/>
                <a:gd name="T45" fmla="*/ 263 h 299"/>
                <a:gd name="T46" fmla="*/ 175 w 256"/>
                <a:gd name="T47" fmla="*/ 204 h 299"/>
                <a:gd name="T48" fmla="*/ 128 w 256"/>
                <a:gd name="T49" fmla="*/ 26 h 299"/>
                <a:gd name="T50" fmla="*/ 229 w 256"/>
                <a:gd name="T51" fmla="*/ 128 h 299"/>
                <a:gd name="T52" fmla="*/ 156 w 256"/>
                <a:gd name="T53" fmla="*/ 193 h 299"/>
                <a:gd name="T54" fmla="*/ 100 w 256"/>
                <a:gd name="T55" fmla="*/ 193 h 299"/>
                <a:gd name="T56" fmla="*/ 26 w 256"/>
                <a:gd name="T57" fmla="*/ 128 h 299"/>
                <a:gd name="T58" fmla="*/ 128 w 256"/>
                <a:gd name="T59" fmla="*/ 26 h 299"/>
                <a:gd name="T60" fmla="*/ 88 w 256"/>
                <a:gd name="T61" fmla="*/ 100 h 299"/>
                <a:gd name="T62" fmla="*/ 120 w 256"/>
                <a:gd name="T63" fmla="*/ 68 h 299"/>
                <a:gd name="T64" fmla="*/ 124 w 256"/>
                <a:gd name="T65" fmla="*/ 65 h 299"/>
                <a:gd name="T66" fmla="*/ 132 w 256"/>
                <a:gd name="T67" fmla="*/ 65 h 299"/>
                <a:gd name="T68" fmla="*/ 135 w 256"/>
                <a:gd name="T69" fmla="*/ 68 h 299"/>
                <a:gd name="T70" fmla="*/ 167 w 256"/>
                <a:gd name="T71" fmla="*/ 100 h 299"/>
                <a:gd name="T72" fmla="*/ 167 w 256"/>
                <a:gd name="T73" fmla="*/ 115 h 299"/>
                <a:gd name="T74" fmla="*/ 160 w 256"/>
                <a:gd name="T75" fmla="*/ 118 h 299"/>
                <a:gd name="T76" fmla="*/ 152 w 256"/>
                <a:gd name="T77" fmla="*/ 115 h 299"/>
                <a:gd name="T78" fmla="*/ 138 w 256"/>
                <a:gd name="T79" fmla="*/ 101 h 299"/>
                <a:gd name="T80" fmla="*/ 138 w 256"/>
                <a:gd name="T81" fmla="*/ 161 h 299"/>
                <a:gd name="T82" fmla="*/ 128 w 256"/>
                <a:gd name="T83" fmla="*/ 171 h 299"/>
                <a:gd name="T84" fmla="*/ 117 w 256"/>
                <a:gd name="T85" fmla="*/ 161 h 299"/>
                <a:gd name="T86" fmla="*/ 117 w 256"/>
                <a:gd name="T87" fmla="*/ 101 h 299"/>
                <a:gd name="T88" fmla="*/ 103 w 256"/>
                <a:gd name="T89" fmla="*/ 115 h 299"/>
                <a:gd name="T90" fmla="*/ 96 w 256"/>
                <a:gd name="T91" fmla="*/ 118 h 299"/>
                <a:gd name="T92" fmla="*/ 88 w 256"/>
                <a:gd name="T93" fmla="*/ 115 h 299"/>
                <a:gd name="T94" fmla="*/ 88 w 256"/>
                <a:gd name="T95" fmla="*/ 10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299">
                  <a:moveTo>
                    <a:pt x="253" y="121"/>
                  </a:moveTo>
                  <a:cubicBezTo>
                    <a:pt x="135" y="4"/>
                    <a:pt x="135" y="4"/>
                    <a:pt x="135" y="4"/>
                  </a:cubicBezTo>
                  <a:cubicBezTo>
                    <a:pt x="131" y="0"/>
                    <a:pt x="124" y="0"/>
                    <a:pt x="120" y="4"/>
                  </a:cubicBezTo>
                  <a:cubicBezTo>
                    <a:pt x="3" y="121"/>
                    <a:pt x="3" y="121"/>
                    <a:pt x="3" y="121"/>
                  </a:cubicBezTo>
                  <a:cubicBezTo>
                    <a:pt x="1" y="123"/>
                    <a:pt x="0" y="126"/>
                    <a:pt x="0" y="129"/>
                  </a:cubicBezTo>
                  <a:cubicBezTo>
                    <a:pt x="0" y="289"/>
                    <a:pt x="0" y="289"/>
                    <a:pt x="0" y="289"/>
                  </a:cubicBezTo>
                  <a:cubicBezTo>
                    <a:pt x="0" y="295"/>
                    <a:pt x="4" y="299"/>
                    <a:pt x="10" y="299"/>
                  </a:cubicBezTo>
                  <a:cubicBezTo>
                    <a:pt x="245" y="299"/>
                    <a:pt x="245" y="299"/>
                    <a:pt x="245" y="299"/>
                  </a:cubicBezTo>
                  <a:cubicBezTo>
                    <a:pt x="251" y="299"/>
                    <a:pt x="256" y="295"/>
                    <a:pt x="256" y="289"/>
                  </a:cubicBezTo>
                  <a:cubicBezTo>
                    <a:pt x="256" y="129"/>
                    <a:pt x="256" y="129"/>
                    <a:pt x="256" y="129"/>
                  </a:cubicBezTo>
                  <a:cubicBezTo>
                    <a:pt x="256" y="126"/>
                    <a:pt x="255" y="123"/>
                    <a:pt x="253" y="121"/>
                  </a:cubicBezTo>
                  <a:close/>
                  <a:moveTo>
                    <a:pt x="21" y="152"/>
                  </a:moveTo>
                  <a:cubicBezTo>
                    <a:pt x="80" y="204"/>
                    <a:pt x="80" y="204"/>
                    <a:pt x="80" y="204"/>
                  </a:cubicBezTo>
                  <a:cubicBezTo>
                    <a:pt x="21" y="263"/>
                    <a:pt x="21" y="263"/>
                    <a:pt x="21" y="263"/>
                  </a:cubicBezTo>
                  <a:lnTo>
                    <a:pt x="21" y="152"/>
                  </a:lnTo>
                  <a:close/>
                  <a:moveTo>
                    <a:pt x="100" y="214"/>
                  </a:moveTo>
                  <a:cubicBezTo>
                    <a:pt x="155" y="214"/>
                    <a:pt x="155" y="214"/>
                    <a:pt x="155" y="214"/>
                  </a:cubicBezTo>
                  <a:cubicBezTo>
                    <a:pt x="219" y="278"/>
                    <a:pt x="219" y="278"/>
                    <a:pt x="219" y="278"/>
                  </a:cubicBezTo>
                  <a:cubicBezTo>
                    <a:pt x="36" y="278"/>
                    <a:pt x="36" y="278"/>
                    <a:pt x="36" y="278"/>
                  </a:cubicBezTo>
                  <a:lnTo>
                    <a:pt x="100" y="214"/>
                  </a:lnTo>
                  <a:close/>
                  <a:moveTo>
                    <a:pt x="175" y="204"/>
                  </a:moveTo>
                  <a:cubicBezTo>
                    <a:pt x="234" y="152"/>
                    <a:pt x="234" y="152"/>
                    <a:pt x="234" y="152"/>
                  </a:cubicBezTo>
                  <a:cubicBezTo>
                    <a:pt x="234" y="263"/>
                    <a:pt x="234" y="263"/>
                    <a:pt x="234" y="263"/>
                  </a:cubicBezTo>
                  <a:lnTo>
                    <a:pt x="175" y="204"/>
                  </a:lnTo>
                  <a:close/>
                  <a:moveTo>
                    <a:pt x="128" y="26"/>
                  </a:moveTo>
                  <a:cubicBezTo>
                    <a:pt x="229" y="128"/>
                    <a:pt x="229" y="128"/>
                    <a:pt x="229" y="128"/>
                  </a:cubicBezTo>
                  <a:cubicBezTo>
                    <a:pt x="156" y="193"/>
                    <a:pt x="156" y="193"/>
                    <a:pt x="156" y="193"/>
                  </a:cubicBezTo>
                  <a:cubicBezTo>
                    <a:pt x="100" y="193"/>
                    <a:pt x="100" y="193"/>
                    <a:pt x="100" y="193"/>
                  </a:cubicBezTo>
                  <a:cubicBezTo>
                    <a:pt x="26" y="128"/>
                    <a:pt x="26" y="128"/>
                    <a:pt x="26" y="128"/>
                  </a:cubicBezTo>
                  <a:lnTo>
                    <a:pt x="128" y="26"/>
                  </a:lnTo>
                  <a:close/>
                  <a:moveTo>
                    <a:pt x="88" y="100"/>
                  </a:moveTo>
                  <a:cubicBezTo>
                    <a:pt x="120" y="68"/>
                    <a:pt x="120" y="68"/>
                    <a:pt x="120" y="68"/>
                  </a:cubicBezTo>
                  <a:cubicBezTo>
                    <a:pt x="121" y="67"/>
                    <a:pt x="122" y="66"/>
                    <a:pt x="124" y="65"/>
                  </a:cubicBezTo>
                  <a:cubicBezTo>
                    <a:pt x="126" y="64"/>
                    <a:pt x="129" y="64"/>
                    <a:pt x="132" y="65"/>
                  </a:cubicBezTo>
                  <a:cubicBezTo>
                    <a:pt x="133" y="66"/>
                    <a:pt x="134" y="67"/>
                    <a:pt x="135" y="68"/>
                  </a:cubicBezTo>
                  <a:cubicBezTo>
                    <a:pt x="167" y="100"/>
                    <a:pt x="167" y="100"/>
                    <a:pt x="167" y="100"/>
                  </a:cubicBezTo>
                  <a:cubicBezTo>
                    <a:pt x="171" y="104"/>
                    <a:pt x="171" y="111"/>
                    <a:pt x="167" y="115"/>
                  </a:cubicBezTo>
                  <a:cubicBezTo>
                    <a:pt x="165" y="117"/>
                    <a:pt x="162" y="118"/>
                    <a:pt x="160" y="118"/>
                  </a:cubicBezTo>
                  <a:cubicBezTo>
                    <a:pt x="157" y="118"/>
                    <a:pt x="154" y="117"/>
                    <a:pt x="152" y="115"/>
                  </a:cubicBezTo>
                  <a:cubicBezTo>
                    <a:pt x="138" y="101"/>
                    <a:pt x="138" y="101"/>
                    <a:pt x="138" y="101"/>
                  </a:cubicBezTo>
                  <a:cubicBezTo>
                    <a:pt x="138" y="161"/>
                    <a:pt x="138" y="161"/>
                    <a:pt x="138" y="161"/>
                  </a:cubicBezTo>
                  <a:cubicBezTo>
                    <a:pt x="138" y="167"/>
                    <a:pt x="134" y="171"/>
                    <a:pt x="128" y="171"/>
                  </a:cubicBezTo>
                  <a:cubicBezTo>
                    <a:pt x="122" y="171"/>
                    <a:pt x="117" y="167"/>
                    <a:pt x="117" y="161"/>
                  </a:cubicBezTo>
                  <a:cubicBezTo>
                    <a:pt x="117" y="101"/>
                    <a:pt x="117" y="101"/>
                    <a:pt x="117" y="101"/>
                  </a:cubicBezTo>
                  <a:cubicBezTo>
                    <a:pt x="103" y="115"/>
                    <a:pt x="103" y="115"/>
                    <a:pt x="103" y="115"/>
                  </a:cubicBezTo>
                  <a:cubicBezTo>
                    <a:pt x="101" y="117"/>
                    <a:pt x="98" y="118"/>
                    <a:pt x="96" y="118"/>
                  </a:cubicBezTo>
                  <a:cubicBezTo>
                    <a:pt x="93" y="118"/>
                    <a:pt x="90" y="117"/>
                    <a:pt x="88" y="115"/>
                  </a:cubicBezTo>
                  <a:cubicBezTo>
                    <a:pt x="84" y="111"/>
                    <a:pt x="84" y="104"/>
                    <a:pt x="88" y="10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23" name="Group 713">
            <a:extLst>
              <a:ext uri="{FF2B5EF4-FFF2-40B4-BE49-F238E27FC236}">
                <a16:creationId xmlns:a16="http://schemas.microsoft.com/office/drawing/2014/main" id="{905F6260-7CEB-43CE-956F-2EA70925A550}"/>
              </a:ext>
            </a:extLst>
          </p:cNvPr>
          <p:cNvGrpSpPr>
            <a:grpSpLocks noChangeAspect="1"/>
          </p:cNvGrpSpPr>
          <p:nvPr/>
        </p:nvGrpSpPr>
        <p:grpSpPr bwMode="auto">
          <a:xfrm>
            <a:off x="7926495" y="4127084"/>
            <a:ext cx="367041" cy="367041"/>
            <a:chOff x="3986" y="3055"/>
            <a:chExt cx="340" cy="340"/>
          </a:xfrm>
          <a:solidFill>
            <a:schemeClr val="accent2"/>
          </a:solidFill>
        </p:grpSpPr>
        <p:sp>
          <p:nvSpPr>
            <p:cNvPr id="924" name="Freeform 714">
              <a:extLst>
                <a:ext uri="{FF2B5EF4-FFF2-40B4-BE49-F238E27FC236}">
                  <a16:creationId xmlns:a16="http://schemas.microsoft.com/office/drawing/2014/main" id="{F12D81D3-7605-4693-BC41-AC6D9F86878F}"/>
                </a:ext>
              </a:extLst>
            </p:cNvPr>
            <p:cNvSpPr>
              <a:spLocks noEditPoints="1"/>
            </p:cNvSpPr>
            <p:nvPr/>
          </p:nvSpPr>
          <p:spPr bwMode="auto">
            <a:xfrm>
              <a:off x="3986" y="30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25" name="Freeform 715">
              <a:extLst>
                <a:ext uri="{FF2B5EF4-FFF2-40B4-BE49-F238E27FC236}">
                  <a16:creationId xmlns:a16="http://schemas.microsoft.com/office/drawing/2014/main" id="{21383AF5-EEF6-421D-8525-8EFA777621AF}"/>
                </a:ext>
              </a:extLst>
            </p:cNvPr>
            <p:cNvSpPr>
              <a:spLocks noEditPoints="1"/>
            </p:cNvSpPr>
            <p:nvPr/>
          </p:nvSpPr>
          <p:spPr bwMode="auto">
            <a:xfrm>
              <a:off x="4050" y="3147"/>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199 h 235"/>
                <a:gd name="T20" fmla="*/ 214 w 320"/>
                <a:gd name="T21" fmla="*/ 114 h 235"/>
                <a:gd name="T22" fmla="*/ 298 w 320"/>
                <a:gd name="T23" fmla="*/ 35 h 235"/>
                <a:gd name="T24" fmla="*/ 298 w 320"/>
                <a:gd name="T25" fmla="*/ 199 h 235"/>
                <a:gd name="T26" fmla="*/ 282 w 320"/>
                <a:gd name="T27" fmla="*/ 22 h 235"/>
                <a:gd name="T28" fmla="*/ 160 w 320"/>
                <a:gd name="T29" fmla="*/ 135 h 235"/>
                <a:gd name="T30" fmla="*/ 37 w 320"/>
                <a:gd name="T31" fmla="*/ 22 h 235"/>
                <a:gd name="T32" fmla="*/ 282 w 320"/>
                <a:gd name="T33" fmla="*/ 22 h 235"/>
                <a:gd name="T34" fmla="*/ 21 w 320"/>
                <a:gd name="T35" fmla="*/ 35 h 235"/>
                <a:gd name="T36" fmla="*/ 106 w 320"/>
                <a:gd name="T37" fmla="*/ 114 h 235"/>
                <a:gd name="T38" fmla="*/ 21 w 320"/>
                <a:gd name="T39" fmla="*/ 199 h 235"/>
                <a:gd name="T40" fmla="*/ 21 w 320"/>
                <a:gd name="T41" fmla="*/ 35 h 235"/>
                <a:gd name="T42" fmla="*/ 121 w 320"/>
                <a:gd name="T43" fmla="*/ 129 h 235"/>
                <a:gd name="T44" fmla="*/ 152 w 320"/>
                <a:gd name="T45" fmla="*/ 157 h 235"/>
                <a:gd name="T46" fmla="*/ 160 w 320"/>
                <a:gd name="T47" fmla="*/ 160 h 235"/>
                <a:gd name="T48" fmla="*/ 167 w 320"/>
                <a:gd name="T49" fmla="*/ 157 h 235"/>
                <a:gd name="T50" fmla="*/ 198 w 320"/>
                <a:gd name="T51" fmla="*/ 129 h 235"/>
                <a:gd name="T52" fmla="*/ 283 w 320"/>
                <a:gd name="T53" fmla="*/ 214 h 235"/>
                <a:gd name="T54" fmla="*/ 36 w 320"/>
                <a:gd name="T55" fmla="*/ 214 h 235"/>
                <a:gd name="T56" fmla="*/ 121 w 320"/>
                <a:gd name="T57" fmla="*/ 12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199"/>
                  </a:moveTo>
                  <a:cubicBezTo>
                    <a:pt x="214" y="114"/>
                    <a:pt x="214" y="114"/>
                    <a:pt x="214" y="114"/>
                  </a:cubicBezTo>
                  <a:cubicBezTo>
                    <a:pt x="298" y="35"/>
                    <a:pt x="298" y="35"/>
                    <a:pt x="298" y="35"/>
                  </a:cubicBezTo>
                  <a:lnTo>
                    <a:pt x="298" y="199"/>
                  </a:lnTo>
                  <a:close/>
                  <a:moveTo>
                    <a:pt x="282" y="22"/>
                  </a:moveTo>
                  <a:cubicBezTo>
                    <a:pt x="160" y="135"/>
                    <a:pt x="160" y="135"/>
                    <a:pt x="160" y="135"/>
                  </a:cubicBezTo>
                  <a:cubicBezTo>
                    <a:pt x="37" y="22"/>
                    <a:pt x="37" y="22"/>
                    <a:pt x="37" y="22"/>
                  </a:cubicBezTo>
                  <a:lnTo>
                    <a:pt x="282" y="22"/>
                  </a:lnTo>
                  <a:close/>
                  <a:moveTo>
                    <a:pt x="21" y="35"/>
                  </a:moveTo>
                  <a:cubicBezTo>
                    <a:pt x="106" y="114"/>
                    <a:pt x="106" y="114"/>
                    <a:pt x="106" y="114"/>
                  </a:cubicBezTo>
                  <a:cubicBezTo>
                    <a:pt x="21" y="199"/>
                    <a:pt x="21" y="199"/>
                    <a:pt x="21" y="199"/>
                  </a:cubicBezTo>
                  <a:lnTo>
                    <a:pt x="21" y="35"/>
                  </a:lnTo>
                  <a:close/>
                  <a:moveTo>
                    <a:pt x="121" y="129"/>
                  </a:moveTo>
                  <a:cubicBezTo>
                    <a:pt x="152" y="157"/>
                    <a:pt x="152" y="157"/>
                    <a:pt x="152" y="157"/>
                  </a:cubicBezTo>
                  <a:cubicBezTo>
                    <a:pt x="154" y="159"/>
                    <a:pt x="157" y="160"/>
                    <a:pt x="160" y="160"/>
                  </a:cubicBezTo>
                  <a:cubicBezTo>
                    <a:pt x="162" y="160"/>
                    <a:pt x="165" y="159"/>
                    <a:pt x="167" y="157"/>
                  </a:cubicBezTo>
                  <a:cubicBezTo>
                    <a:pt x="198" y="129"/>
                    <a:pt x="198" y="129"/>
                    <a:pt x="198" y="129"/>
                  </a:cubicBezTo>
                  <a:cubicBezTo>
                    <a:pt x="283" y="214"/>
                    <a:pt x="283" y="214"/>
                    <a:pt x="283" y="214"/>
                  </a:cubicBezTo>
                  <a:cubicBezTo>
                    <a:pt x="36" y="214"/>
                    <a:pt x="36" y="214"/>
                    <a:pt x="36" y="214"/>
                  </a:cubicBezTo>
                  <a:lnTo>
                    <a:pt x="121"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26" name="TextBox 925">
            <a:extLst>
              <a:ext uri="{FF2B5EF4-FFF2-40B4-BE49-F238E27FC236}">
                <a16:creationId xmlns:a16="http://schemas.microsoft.com/office/drawing/2014/main" id="{34B68460-C881-4F7E-96FA-5D4E1FBB63C6}"/>
              </a:ext>
            </a:extLst>
          </p:cNvPr>
          <p:cNvSpPr txBox="1"/>
          <p:nvPr/>
        </p:nvSpPr>
        <p:spPr>
          <a:xfrm>
            <a:off x="10922653"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ragraph</a:t>
            </a:r>
          </a:p>
        </p:txBody>
      </p:sp>
      <p:sp>
        <p:nvSpPr>
          <p:cNvPr id="927" name="TextBox 926">
            <a:extLst>
              <a:ext uri="{FF2B5EF4-FFF2-40B4-BE49-F238E27FC236}">
                <a16:creationId xmlns:a16="http://schemas.microsoft.com/office/drawing/2014/main" id="{C98B3F6D-FBC2-408F-901B-D2704BFDC3BF}"/>
              </a:ext>
            </a:extLst>
          </p:cNvPr>
          <p:cNvSpPr txBox="1"/>
          <p:nvPr/>
        </p:nvSpPr>
        <p:spPr>
          <a:xfrm>
            <a:off x="468241" y="531722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ste</a:t>
            </a:r>
          </a:p>
        </p:txBody>
      </p:sp>
      <p:sp>
        <p:nvSpPr>
          <p:cNvPr id="928" name="TextBox 927">
            <a:extLst>
              <a:ext uri="{FF2B5EF4-FFF2-40B4-BE49-F238E27FC236}">
                <a16:creationId xmlns:a16="http://schemas.microsoft.com/office/drawing/2014/main" id="{4BD97F91-2A9C-4C33-A67F-84E2B1C57F84}"/>
              </a:ext>
            </a:extLst>
          </p:cNvPr>
          <p:cNvSpPr txBox="1"/>
          <p:nvPr/>
        </p:nvSpPr>
        <p:spPr>
          <a:xfrm>
            <a:off x="10049251"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SS</a:t>
            </a:r>
          </a:p>
        </p:txBody>
      </p:sp>
      <p:sp>
        <p:nvSpPr>
          <p:cNvPr id="929" name="TextBox 928">
            <a:extLst>
              <a:ext uri="{FF2B5EF4-FFF2-40B4-BE49-F238E27FC236}">
                <a16:creationId xmlns:a16="http://schemas.microsoft.com/office/drawing/2014/main" id="{F661A8E7-ABB7-4887-9D53-7C8FD1F608A8}"/>
              </a:ext>
            </a:extLst>
          </p:cNvPr>
          <p:cNvSpPr txBox="1"/>
          <p:nvPr/>
        </p:nvSpPr>
        <p:spPr>
          <a:xfrm>
            <a:off x="3136582" y="531722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end</a:t>
            </a:r>
          </a:p>
        </p:txBody>
      </p:sp>
      <p:sp>
        <p:nvSpPr>
          <p:cNvPr id="930" name="TextBox 929">
            <a:extLst>
              <a:ext uri="{FF2B5EF4-FFF2-40B4-BE49-F238E27FC236}">
                <a16:creationId xmlns:a16="http://schemas.microsoft.com/office/drawing/2014/main" id="{0A625E45-584E-4312-85BC-EBA3AC5C8559}"/>
              </a:ext>
            </a:extLst>
          </p:cNvPr>
          <p:cNvSpPr txBox="1"/>
          <p:nvPr/>
        </p:nvSpPr>
        <p:spPr>
          <a:xfrm>
            <a:off x="2247135" y="531722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ply</a:t>
            </a:r>
          </a:p>
        </p:txBody>
      </p:sp>
      <p:sp>
        <p:nvSpPr>
          <p:cNvPr id="931" name="TextBox 930">
            <a:extLst>
              <a:ext uri="{FF2B5EF4-FFF2-40B4-BE49-F238E27FC236}">
                <a16:creationId xmlns:a16="http://schemas.microsoft.com/office/drawing/2014/main" id="{C1E3B0F5-AB42-4167-84EB-350FD84FBC94}"/>
              </a:ext>
            </a:extLst>
          </p:cNvPr>
          <p:cNvSpPr txBox="1"/>
          <p:nvPr/>
        </p:nvSpPr>
        <p:spPr>
          <a:xfrm>
            <a:off x="1357688" y="531722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ply all</a:t>
            </a:r>
          </a:p>
        </p:txBody>
      </p:sp>
      <p:grpSp>
        <p:nvGrpSpPr>
          <p:cNvPr id="932" name="Group 815">
            <a:extLst>
              <a:ext uri="{FF2B5EF4-FFF2-40B4-BE49-F238E27FC236}">
                <a16:creationId xmlns:a16="http://schemas.microsoft.com/office/drawing/2014/main" id="{381E51DD-657D-4D76-B3B0-7FB7B0620CB7}"/>
              </a:ext>
            </a:extLst>
          </p:cNvPr>
          <p:cNvGrpSpPr>
            <a:grpSpLocks noChangeAspect="1"/>
          </p:cNvGrpSpPr>
          <p:nvPr/>
        </p:nvGrpSpPr>
        <p:grpSpPr bwMode="auto">
          <a:xfrm>
            <a:off x="10505661" y="4127084"/>
            <a:ext cx="369021" cy="369021"/>
            <a:chOff x="2629" y="3102"/>
            <a:chExt cx="340" cy="340"/>
          </a:xfrm>
          <a:solidFill>
            <a:schemeClr val="accent3"/>
          </a:solidFill>
        </p:grpSpPr>
        <p:sp>
          <p:nvSpPr>
            <p:cNvPr id="933" name="Freeform 816">
              <a:extLst>
                <a:ext uri="{FF2B5EF4-FFF2-40B4-BE49-F238E27FC236}">
                  <a16:creationId xmlns:a16="http://schemas.microsoft.com/office/drawing/2014/main" id="{1C76640C-611E-44AA-B3AC-64FF183A0EBE}"/>
                </a:ext>
              </a:extLst>
            </p:cNvPr>
            <p:cNvSpPr>
              <a:spLocks noEditPoints="1"/>
            </p:cNvSpPr>
            <p:nvPr/>
          </p:nvSpPr>
          <p:spPr bwMode="auto">
            <a:xfrm>
              <a:off x="2629" y="31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4" name="Oval 817">
              <a:extLst>
                <a:ext uri="{FF2B5EF4-FFF2-40B4-BE49-F238E27FC236}">
                  <a16:creationId xmlns:a16="http://schemas.microsoft.com/office/drawing/2014/main" id="{55D9F2F4-73C7-471C-8E02-96446D3CD9CE}"/>
                </a:ext>
              </a:extLst>
            </p:cNvPr>
            <p:cNvSpPr>
              <a:spLocks noChangeArrowheads="1"/>
            </p:cNvSpPr>
            <p:nvPr/>
          </p:nvSpPr>
          <p:spPr bwMode="auto">
            <a:xfrm>
              <a:off x="2728" y="3314"/>
              <a:ext cx="28"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5" name="Freeform 818">
              <a:extLst>
                <a:ext uri="{FF2B5EF4-FFF2-40B4-BE49-F238E27FC236}">
                  <a16:creationId xmlns:a16="http://schemas.microsoft.com/office/drawing/2014/main" id="{3463FB92-0618-4A61-96FE-2A38D6207D7C}"/>
                </a:ext>
              </a:extLst>
            </p:cNvPr>
            <p:cNvSpPr>
              <a:spLocks/>
            </p:cNvSpPr>
            <p:nvPr/>
          </p:nvSpPr>
          <p:spPr bwMode="auto">
            <a:xfrm>
              <a:off x="2721" y="3166"/>
              <a:ext cx="184" cy="184"/>
            </a:xfrm>
            <a:custGeom>
              <a:avLst/>
              <a:gdLst>
                <a:gd name="T0" fmla="*/ 11 w 278"/>
                <a:gd name="T1" fmla="*/ 0 h 277"/>
                <a:gd name="T2" fmla="*/ 0 w 278"/>
                <a:gd name="T3" fmla="*/ 10 h 277"/>
                <a:gd name="T4" fmla="*/ 11 w 278"/>
                <a:gd name="T5" fmla="*/ 21 h 277"/>
                <a:gd name="T6" fmla="*/ 256 w 278"/>
                <a:gd name="T7" fmla="*/ 266 h 277"/>
                <a:gd name="T8" fmla="*/ 267 w 278"/>
                <a:gd name="T9" fmla="*/ 277 h 277"/>
                <a:gd name="T10" fmla="*/ 278 w 278"/>
                <a:gd name="T11" fmla="*/ 266 h 277"/>
                <a:gd name="T12" fmla="*/ 11 w 278"/>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278" h="277">
                  <a:moveTo>
                    <a:pt x="11" y="0"/>
                  </a:moveTo>
                  <a:cubicBezTo>
                    <a:pt x="5" y="0"/>
                    <a:pt x="0" y="4"/>
                    <a:pt x="0" y="10"/>
                  </a:cubicBezTo>
                  <a:cubicBezTo>
                    <a:pt x="0" y="16"/>
                    <a:pt x="5" y="21"/>
                    <a:pt x="11" y="21"/>
                  </a:cubicBezTo>
                  <a:cubicBezTo>
                    <a:pt x="146" y="21"/>
                    <a:pt x="256" y="131"/>
                    <a:pt x="256" y="266"/>
                  </a:cubicBezTo>
                  <a:cubicBezTo>
                    <a:pt x="256" y="272"/>
                    <a:pt x="261" y="277"/>
                    <a:pt x="267" y="277"/>
                  </a:cubicBezTo>
                  <a:cubicBezTo>
                    <a:pt x="273" y="277"/>
                    <a:pt x="278" y="272"/>
                    <a:pt x="278" y="266"/>
                  </a:cubicBezTo>
                  <a:cubicBezTo>
                    <a:pt x="278" y="119"/>
                    <a:pt x="158"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6" name="Freeform 819">
              <a:extLst>
                <a:ext uri="{FF2B5EF4-FFF2-40B4-BE49-F238E27FC236}">
                  <a16:creationId xmlns:a16="http://schemas.microsoft.com/office/drawing/2014/main" id="{E1B0B588-48E9-452F-A2F2-B6C4B4323620}"/>
                </a:ext>
              </a:extLst>
            </p:cNvPr>
            <p:cNvSpPr>
              <a:spLocks/>
            </p:cNvSpPr>
            <p:nvPr/>
          </p:nvSpPr>
          <p:spPr bwMode="auto">
            <a:xfrm>
              <a:off x="2721" y="3243"/>
              <a:ext cx="106" cy="107"/>
            </a:xfrm>
            <a:custGeom>
              <a:avLst/>
              <a:gdLst>
                <a:gd name="T0" fmla="*/ 11 w 160"/>
                <a:gd name="T1" fmla="*/ 0 h 160"/>
                <a:gd name="T2" fmla="*/ 0 w 160"/>
                <a:gd name="T3" fmla="*/ 11 h 160"/>
                <a:gd name="T4" fmla="*/ 11 w 160"/>
                <a:gd name="T5" fmla="*/ 21 h 160"/>
                <a:gd name="T6" fmla="*/ 139 w 160"/>
                <a:gd name="T7" fmla="*/ 149 h 160"/>
                <a:gd name="T8" fmla="*/ 150 w 160"/>
                <a:gd name="T9" fmla="*/ 160 h 160"/>
                <a:gd name="T10" fmla="*/ 160 w 160"/>
                <a:gd name="T11" fmla="*/ 149 h 160"/>
                <a:gd name="T12" fmla="*/ 11 w 160"/>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60" h="160">
                  <a:moveTo>
                    <a:pt x="11" y="0"/>
                  </a:moveTo>
                  <a:cubicBezTo>
                    <a:pt x="5" y="0"/>
                    <a:pt x="0" y="5"/>
                    <a:pt x="0" y="11"/>
                  </a:cubicBezTo>
                  <a:cubicBezTo>
                    <a:pt x="0" y="17"/>
                    <a:pt x="5" y="21"/>
                    <a:pt x="11" y="21"/>
                  </a:cubicBezTo>
                  <a:cubicBezTo>
                    <a:pt x="82" y="21"/>
                    <a:pt x="139" y="79"/>
                    <a:pt x="139" y="149"/>
                  </a:cubicBezTo>
                  <a:cubicBezTo>
                    <a:pt x="139" y="155"/>
                    <a:pt x="144" y="160"/>
                    <a:pt x="150" y="160"/>
                  </a:cubicBezTo>
                  <a:cubicBezTo>
                    <a:pt x="156" y="160"/>
                    <a:pt x="160" y="155"/>
                    <a:pt x="160" y="149"/>
                  </a:cubicBezTo>
                  <a:cubicBezTo>
                    <a:pt x="160" y="67"/>
                    <a:pt x="93"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37" name="Freeform 823">
            <a:extLst>
              <a:ext uri="{FF2B5EF4-FFF2-40B4-BE49-F238E27FC236}">
                <a16:creationId xmlns:a16="http://schemas.microsoft.com/office/drawing/2014/main" id="{02B9B19F-A111-4EC9-A824-055340FBAB24}"/>
              </a:ext>
            </a:extLst>
          </p:cNvPr>
          <p:cNvSpPr>
            <a:spLocks noChangeAspect="1" noEditPoints="1"/>
          </p:cNvSpPr>
          <p:nvPr/>
        </p:nvSpPr>
        <p:spPr bwMode="auto">
          <a:xfrm>
            <a:off x="10074810" y="4127084"/>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70 w 512"/>
              <a:gd name="T11" fmla="*/ 362 h 512"/>
              <a:gd name="T12" fmla="*/ 149 w 512"/>
              <a:gd name="T13" fmla="*/ 341 h 512"/>
              <a:gd name="T14" fmla="*/ 170 w 512"/>
              <a:gd name="T15" fmla="*/ 320 h 512"/>
              <a:gd name="T16" fmla="*/ 192 w 512"/>
              <a:gd name="T17" fmla="*/ 341 h 512"/>
              <a:gd name="T18" fmla="*/ 170 w 512"/>
              <a:gd name="T19" fmla="*/ 362 h 512"/>
              <a:gd name="T20" fmla="*/ 288 w 512"/>
              <a:gd name="T21" fmla="*/ 373 h 512"/>
              <a:gd name="T22" fmla="*/ 277 w 512"/>
              <a:gd name="T23" fmla="*/ 362 h 512"/>
              <a:gd name="T24" fmla="*/ 149 w 512"/>
              <a:gd name="T25" fmla="*/ 234 h 512"/>
              <a:gd name="T26" fmla="*/ 138 w 512"/>
              <a:gd name="T27" fmla="*/ 224 h 512"/>
              <a:gd name="T28" fmla="*/ 149 w 512"/>
              <a:gd name="T29" fmla="*/ 213 h 512"/>
              <a:gd name="T30" fmla="*/ 298 w 512"/>
              <a:gd name="T31" fmla="*/ 362 h 512"/>
              <a:gd name="T32" fmla="*/ 288 w 512"/>
              <a:gd name="T33" fmla="*/ 373 h 512"/>
              <a:gd name="T34" fmla="*/ 405 w 512"/>
              <a:gd name="T35" fmla="*/ 373 h 512"/>
              <a:gd name="T36" fmla="*/ 394 w 512"/>
              <a:gd name="T37" fmla="*/ 362 h 512"/>
              <a:gd name="T38" fmla="*/ 149 w 512"/>
              <a:gd name="T39" fmla="*/ 117 h 512"/>
              <a:gd name="T40" fmla="*/ 138 w 512"/>
              <a:gd name="T41" fmla="*/ 106 h 512"/>
              <a:gd name="T42" fmla="*/ 149 w 512"/>
              <a:gd name="T43" fmla="*/ 96 h 512"/>
              <a:gd name="T44" fmla="*/ 416 w 512"/>
              <a:gd name="T45" fmla="*/ 362 h 512"/>
              <a:gd name="T46" fmla="*/ 405 w 512"/>
              <a:gd name="T4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70" y="362"/>
                </a:moveTo>
                <a:cubicBezTo>
                  <a:pt x="159" y="362"/>
                  <a:pt x="149" y="353"/>
                  <a:pt x="149" y="341"/>
                </a:cubicBezTo>
                <a:cubicBezTo>
                  <a:pt x="149" y="329"/>
                  <a:pt x="159" y="320"/>
                  <a:pt x="170" y="320"/>
                </a:cubicBezTo>
                <a:cubicBezTo>
                  <a:pt x="182" y="320"/>
                  <a:pt x="192" y="329"/>
                  <a:pt x="192" y="341"/>
                </a:cubicBezTo>
                <a:cubicBezTo>
                  <a:pt x="192" y="353"/>
                  <a:pt x="182" y="362"/>
                  <a:pt x="170" y="362"/>
                </a:cubicBezTo>
                <a:close/>
                <a:moveTo>
                  <a:pt x="288" y="373"/>
                </a:moveTo>
                <a:cubicBezTo>
                  <a:pt x="282" y="373"/>
                  <a:pt x="277" y="368"/>
                  <a:pt x="277" y="362"/>
                </a:cubicBezTo>
                <a:cubicBezTo>
                  <a:pt x="277" y="292"/>
                  <a:pt x="220" y="234"/>
                  <a:pt x="149" y="234"/>
                </a:cubicBezTo>
                <a:cubicBezTo>
                  <a:pt x="143" y="234"/>
                  <a:pt x="138" y="230"/>
                  <a:pt x="138" y="224"/>
                </a:cubicBezTo>
                <a:cubicBezTo>
                  <a:pt x="138" y="218"/>
                  <a:pt x="143" y="213"/>
                  <a:pt x="149" y="213"/>
                </a:cubicBezTo>
                <a:cubicBezTo>
                  <a:pt x="231" y="213"/>
                  <a:pt x="298" y="280"/>
                  <a:pt x="298" y="362"/>
                </a:cubicBezTo>
                <a:cubicBezTo>
                  <a:pt x="298" y="368"/>
                  <a:pt x="294" y="373"/>
                  <a:pt x="288" y="373"/>
                </a:cubicBezTo>
                <a:close/>
                <a:moveTo>
                  <a:pt x="405" y="373"/>
                </a:moveTo>
                <a:cubicBezTo>
                  <a:pt x="399" y="373"/>
                  <a:pt x="394" y="368"/>
                  <a:pt x="394" y="362"/>
                </a:cubicBezTo>
                <a:cubicBezTo>
                  <a:pt x="394" y="227"/>
                  <a:pt x="284" y="117"/>
                  <a:pt x="149" y="117"/>
                </a:cubicBezTo>
                <a:cubicBezTo>
                  <a:pt x="143" y="117"/>
                  <a:pt x="138" y="112"/>
                  <a:pt x="138" y="106"/>
                </a:cubicBezTo>
                <a:cubicBezTo>
                  <a:pt x="138" y="100"/>
                  <a:pt x="143" y="96"/>
                  <a:pt x="149" y="96"/>
                </a:cubicBezTo>
                <a:cubicBezTo>
                  <a:pt x="296" y="96"/>
                  <a:pt x="416" y="215"/>
                  <a:pt x="416" y="362"/>
                </a:cubicBezTo>
                <a:cubicBezTo>
                  <a:pt x="416" y="368"/>
                  <a:pt x="411" y="373"/>
                  <a:pt x="405" y="37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38" name="Freeform 201">
            <a:extLst>
              <a:ext uri="{FF2B5EF4-FFF2-40B4-BE49-F238E27FC236}">
                <a16:creationId xmlns:a16="http://schemas.microsoft.com/office/drawing/2014/main" id="{77641EE9-3FF7-41C3-8A4D-B6953543271A}"/>
              </a:ext>
            </a:extLst>
          </p:cNvPr>
          <p:cNvSpPr>
            <a:spLocks noChangeAspect="1" noEditPoints="1"/>
          </p:cNvSpPr>
          <p:nvPr/>
        </p:nvSpPr>
        <p:spPr bwMode="auto">
          <a:xfrm>
            <a:off x="10936512" y="4127084"/>
            <a:ext cx="369021" cy="369021"/>
          </a:xfrm>
          <a:custGeom>
            <a:avLst/>
            <a:gdLst>
              <a:gd name="T0" fmla="*/ 224 w 512"/>
              <a:gd name="T1" fmla="*/ 117 h 512"/>
              <a:gd name="T2" fmla="*/ 234 w 512"/>
              <a:gd name="T3" fmla="*/ 117 h 512"/>
              <a:gd name="T4" fmla="*/ 234 w 512"/>
              <a:gd name="T5" fmla="*/ 245 h 512"/>
              <a:gd name="T6" fmla="*/ 224 w 512"/>
              <a:gd name="T7" fmla="*/ 245 h 512"/>
              <a:gd name="T8" fmla="*/ 160 w 512"/>
              <a:gd name="T9" fmla="*/ 181 h 512"/>
              <a:gd name="T10" fmla="*/ 224 w 512"/>
              <a:gd name="T11" fmla="*/ 117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330 w 512"/>
              <a:gd name="T23" fmla="*/ 106 h 512"/>
              <a:gd name="T24" fmla="*/ 320 w 512"/>
              <a:gd name="T25" fmla="*/ 96 h 512"/>
              <a:gd name="T26" fmla="*/ 224 w 512"/>
              <a:gd name="T27" fmla="*/ 96 h 512"/>
              <a:gd name="T28" fmla="*/ 138 w 512"/>
              <a:gd name="T29" fmla="*/ 181 h 512"/>
              <a:gd name="T30" fmla="*/ 224 w 512"/>
              <a:gd name="T31" fmla="*/ 266 h 512"/>
              <a:gd name="T32" fmla="*/ 234 w 512"/>
              <a:gd name="T33" fmla="*/ 266 h 512"/>
              <a:gd name="T34" fmla="*/ 234 w 512"/>
              <a:gd name="T35" fmla="*/ 405 h 512"/>
              <a:gd name="T36" fmla="*/ 245 w 512"/>
              <a:gd name="T37" fmla="*/ 416 h 512"/>
              <a:gd name="T38" fmla="*/ 256 w 512"/>
              <a:gd name="T39" fmla="*/ 405 h 512"/>
              <a:gd name="T40" fmla="*/ 256 w 512"/>
              <a:gd name="T41" fmla="*/ 117 h 512"/>
              <a:gd name="T42" fmla="*/ 277 w 512"/>
              <a:gd name="T43" fmla="*/ 117 h 512"/>
              <a:gd name="T44" fmla="*/ 277 w 512"/>
              <a:gd name="T45" fmla="*/ 405 h 512"/>
              <a:gd name="T46" fmla="*/ 288 w 512"/>
              <a:gd name="T47" fmla="*/ 416 h 512"/>
              <a:gd name="T48" fmla="*/ 298 w 512"/>
              <a:gd name="T49" fmla="*/ 405 h 512"/>
              <a:gd name="T50" fmla="*/ 298 w 512"/>
              <a:gd name="T51" fmla="*/ 117 h 512"/>
              <a:gd name="T52" fmla="*/ 320 w 512"/>
              <a:gd name="T53" fmla="*/ 117 h 512"/>
              <a:gd name="T54" fmla="*/ 330 w 512"/>
              <a:gd name="T5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24" y="117"/>
                </a:moveTo>
                <a:cubicBezTo>
                  <a:pt x="234" y="117"/>
                  <a:pt x="234" y="117"/>
                  <a:pt x="234" y="117"/>
                </a:cubicBezTo>
                <a:cubicBezTo>
                  <a:pt x="234" y="245"/>
                  <a:pt x="234" y="245"/>
                  <a:pt x="234" y="245"/>
                </a:cubicBezTo>
                <a:cubicBezTo>
                  <a:pt x="224" y="245"/>
                  <a:pt x="224" y="245"/>
                  <a:pt x="224" y="245"/>
                </a:cubicBezTo>
                <a:cubicBezTo>
                  <a:pt x="188" y="245"/>
                  <a:pt x="160" y="216"/>
                  <a:pt x="160" y="181"/>
                </a:cubicBezTo>
                <a:cubicBezTo>
                  <a:pt x="160" y="146"/>
                  <a:pt x="188" y="117"/>
                  <a:pt x="224"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06"/>
                </a:moveTo>
                <a:cubicBezTo>
                  <a:pt x="330" y="100"/>
                  <a:pt x="326" y="96"/>
                  <a:pt x="320" y="96"/>
                </a:cubicBezTo>
                <a:cubicBezTo>
                  <a:pt x="224" y="96"/>
                  <a:pt x="224" y="96"/>
                  <a:pt x="224" y="96"/>
                </a:cubicBezTo>
                <a:cubicBezTo>
                  <a:pt x="177" y="96"/>
                  <a:pt x="138" y="134"/>
                  <a:pt x="138" y="181"/>
                </a:cubicBezTo>
                <a:cubicBezTo>
                  <a:pt x="138" y="228"/>
                  <a:pt x="177" y="266"/>
                  <a:pt x="224" y="266"/>
                </a:cubicBezTo>
                <a:cubicBezTo>
                  <a:pt x="234" y="266"/>
                  <a:pt x="234" y="266"/>
                  <a:pt x="234" y="266"/>
                </a:cubicBezTo>
                <a:cubicBezTo>
                  <a:pt x="234" y="405"/>
                  <a:pt x="234" y="405"/>
                  <a:pt x="234" y="405"/>
                </a:cubicBezTo>
                <a:cubicBezTo>
                  <a:pt x="234" y="411"/>
                  <a:pt x="239" y="416"/>
                  <a:pt x="245" y="416"/>
                </a:cubicBezTo>
                <a:cubicBezTo>
                  <a:pt x="251" y="416"/>
                  <a:pt x="256" y="411"/>
                  <a:pt x="256" y="405"/>
                </a:cubicBezTo>
                <a:cubicBezTo>
                  <a:pt x="256" y="117"/>
                  <a:pt x="256" y="117"/>
                  <a:pt x="256" y="117"/>
                </a:cubicBezTo>
                <a:cubicBezTo>
                  <a:pt x="277" y="117"/>
                  <a:pt x="277" y="117"/>
                  <a:pt x="277" y="117"/>
                </a:cubicBezTo>
                <a:cubicBezTo>
                  <a:pt x="277" y="405"/>
                  <a:pt x="277" y="405"/>
                  <a:pt x="277" y="405"/>
                </a:cubicBezTo>
                <a:cubicBezTo>
                  <a:pt x="277" y="411"/>
                  <a:pt x="282" y="416"/>
                  <a:pt x="288" y="416"/>
                </a:cubicBezTo>
                <a:cubicBezTo>
                  <a:pt x="294" y="416"/>
                  <a:pt x="298" y="411"/>
                  <a:pt x="298" y="405"/>
                </a:cubicBezTo>
                <a:cubicBezTo>
                  <a:pt x="298" y="117"/>
                  <a:pt x="298" y="117"/>
                  <a:pt x="298" y="117"/>
                </a:cubicBezTo>
                <a:cubicBezTo>
                  <a:pt x="320" y="117"/>
                  <a:pt x="320" y="117"/>
                  <a:pt x="320" y="117"/>
                </a:cubicBezTo>
                <a:cubicBezTo>
                  <a:pt x="326" y="117"/>
                  <a:pt x="330" y="112"/>
                  <a:pt x="330" y="10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39" name="Group 204">
            <a:extLst>
              <a:ext uri="{FF2B5EF4-FFF2-40B4-BE49-F238E27FC236}">
                <a16:creationId xmlns:a16="http://schemas.microsoft.com/office/drawing/2014/main" id="{2FF2EE3A-9F9B-445C-BF54-95D761ED1123}"/>
              </a:ext>
            </a:extLst>
          </p:cNvPr>
          <p:cNvGrpSpPr>
            <a:grpSpLocks noChangeAspect="1"/>
          </p:cNvGrpSpPr>
          <p:nvPr/>
        </p:nvGrpSpPr>
        <p:grpSpPr bwMode="auto">
          <a:xfrm>
            <a:off x="11367355" y="4127084"/>
            <a:ext cx="369021" cy="369021"/>
            <a:chOff x="374" y="771"/>
            <a:chExt cx="340" cy="340"/>
          </a:xfrm>
          <a:solidFill>
            <a:schemeClr val="accent3"/>
          </a:solidFill>
        </p:grpSpPr>
        <p:sp>
          <p:nvSpPr>
            <p:cNvPr id="940" name="Freeform 205">
              <a:extLst>
                <a:ext uri="{FF2B5EF4-FFF2-40B4-BE49-F238E27FC236}">
                  <a16:creationId xmlns:a16="http://schemas.microsoft.com/office/drawing/2014/main" id="{B5022F80-4173-4084-B240-8E238CDA13AD}"/>
                </a:ext>
              </a:extLst>
            </p:cNvPr>
            <p:cNvSpPr>
              <a:spLocks noEditPoints="1"/>
            </p:cNvSpPr>
            <p:nvPr/>
          </p:nvSpPr>
          <p:spPr bwMode="auto">
            <a:xfrm>
              <a:off x="374" y="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41" name="Freeform 206">
              <a:extLst>
                <a:ext uri="{FF2B5EF4-FFF2-40B4-BE49-F238E27FC236}">
                  <a16:creationId xmlns:a16="http://schemas.microsoft.com/office/drawing/2014/main" id="{A530E7E9-A0DB-47BA-BC58-9EE3368F57A9}"/>
                </a:ext>
              </a:extLst>
            </p:cNvPr>
            <p:cNvSpPr>
              <a:spLocks noEditPoints="1"/>
            </p:cNvSpPr>
            <p:nvPr/>
          </p:nvSpPr>
          <p:spPr bwMode="auto">
            <a:xfrm>
              <a:off x="466" y="835"/>
              <a:ext cx="127" cy="212"/>
            </a:xfrm>
            <a:custGeom>
              <a:avLst/>
              <a:gdLst>
                <a:gd name="T0" fmla="*/ 182 w 192"/>
                <a:gd name="T1" fmla="*/ 0 h 320"/>
                <a:gd name="T2" fmla="*/ 86 w 192"/>
                <a:gd name="T3" fmla="*/ 0 h 320"/>
                <a:gd name="T4" fmla="*/ 0 w 192"/>
                <a:gd name="T5" fmla="*/ 85 h 320"/>
                <a:gd name="T6" fmla="*/ 86 w 192"/>
                <a:gd name="T7" fmla="*/ 170 h 320"/>
                <a:gd name="T8" fmla="*/ 96 w 192"/>
                <a:gd name="T9" fmla="*/ 170 h 320"/>
                <a:gd name="T10" fmla="*/ 96 w 192"/>
                <a:gd name="T11" fmla="*/ 309 h 320"/>
                <a:gd name="T12" fmla="*/ 107 w 192"/>
                <a:gd name="T13" fmla="*/ 320 h 320"/>
                <a:gd name="T14" fmla="*/ 118 w 192"/>
                <a:gd name="T15" fmla="*/ 309 h 320"/>
                <a:gd name="T16" fmla="*/ 118 w 192"/>
                <a:gd name="T17" fmla="*/ 21 h 320"/>
                <a:gd name="T18" fmla="*/ 139 w 192"/>
                <a:gd name="T19" fmla="*/ 21 h 320"/>
                <a:gd name="T20" fmla="*/ 139 w 192"/>
                <a:gd name="T21" fmla="*/ 309 h 320"/>
                <a:gd name="T22" fmla="*/ 150 w 192"/>
                <a:gd name="T23" fmla="*/ 320 h 320"/>
                <a:gd name="T24" fmla="*/ 160 w 192"/>
                <a:gd name="T25" fmla="*/ 309 h 320"/>
                <a:gd name="T26" fmla="*/ 160 w 192"/>
                <a:gd name="T27" fmla="*/ 21 h 320"/>
                <a:gd name="T28" fmla="*/ 182 w 192"/>
                <a:gd name="T29" fmla="*/ 21 h 320"/>
                <a:gd name="T30" fmla="*/ 192 w 192"/>
                <a:gd name="T31" fmla="*/ 10 h 320"/>
                <a:gd name="T32" fmla="*/ 182 w 192"/>
                <a:gd name="T33" fmla="*/ 0 h 320"/>
                <a:gd name="T34" fmla="*/ 96 w 192"/>
                <a:gd name="T35" fmla="*/ 149 h 320"/>
                <a:gd name="T36" fmla="*/ 86 w 192"/>
                <a:gd name="T37" fmla="*/ 149 h 320"/>
                <a:gd name="T38" fmla="*/ 22 w 192"/>
                <a:gd name="T39" fmla="*/ 85 h 320"/>
                <a:gd name="T40" fmla="*/ 86 w 192"/>
                <a:gd name="T41" fmla="*/ 21 h 320"/>
                <a:gd name="T42" fmla="*/ 96 w 192"/>
                <a:gd name="T43" fmla="*/ 21 h 320"/>
                <a:gd name="T44" fmla="*/ 96 w 192"/>
                <a:gd name="T45"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320">
                  <a:moveTo>
                    <a:pt x="182" y="0"/>
                  </a:moveTo>
                  <a:cubicBezTo>
                    <a:pt x="86" y="0"/>
                    <a:pt x="86" y="0"/>
                    <a:pt x="86" y="0"/>
                  </a:cubicBezTo>
                  <a:cubicBezTo>
                    <a:pt x="39" y="0"/>
                    <a:pt x="0" y="38"/>
                    <a:pt x="0" y="85"/>
                  </a:cubicBezTo>
                  <a:cubicBezTo>
                    <a:pt x="0" y="132"/>
                    <a:pt x="39" y="170"/>
                    <a:pt x="86" y="170"/>
                  </a:cubicBezTo>
                  <a:cubicBezTo>
                    <a:pt x="96" y="170"/>
                    <a:pt x="96" y="170"/>
                    <a:pt x="96" y="170"/>
                  </a:cubicBezTo>
                  <a:cubicBezTo>
                    <a:pt x="96" y="309"/>
                    <a:pt x="96" y="309"/>
                    <a:pt x="96" y="309"/>
                  </a:cubicBezTo>
                  <a:cubicBezTo>
                    <a:pt x="96" y="315"/>
                    <a:pt x="101" y="320"/>
                    <a:pt x="107" y="320"/>
                  </a:cubicBezTo>
                  <a:cubicBezTo>
                    <a:pt x="113" y="320"/>
                    <a:pt x="118" y="315"/>
                    <a:pt x="118" y="309"/>
                  </a:cubicBezTo>
                  <a:cubicBezTo>
                    <a:pt x="118" y="21"/>
                    <a:pt x="118" y="21"/>
                    <a:pt x="118" y="21"/>
                  </a:cubicBezTo>
                  <a:cubicBezTo>
                    <a:pt x="139" y="21"/>
                    <a:pt x="139" y="21"/>
                    <a:pt x="139" y="21"/>
                  </a:cubicBezTo>
                  <a:cubicBezTo>
                    <a:pt x="139" y="309"/>
                    <a:pt x="139" y="309"/>
                    <a:pt x="139" y="309"/>
                  </a:cubicBezTo>
                  <a:cubicBezTo>
                    <a:pt x="139" y="315"/>
                    <a:pt x="144" y="320"/>
                    <a:pt x="150" y="320"/>
                  </a:cubicBezTo>
                  <a:cubicBezTo>
                    <a:pt x="156" y="320"/>
                    <a:pt x="160" y="315"/>
                    <a:pt x="160" y="309"/>
                  </a:cubicBezTo>
                  <a:cubicBezTo>
                    <a:pt x="160" y="21"/>
                    <a:pt x="160" y="21"/>
                    <a:pt x="160" y="21"/>
                  </a:cubicBezTo>
                  <a:cubicBezTo>
                    <a:pt x="182" y="21"/>
                    <a:pt x="182" y="21"/>
                    <a:pt x="182" y="21"/>
                  </a:cubicBezTo>
                  <a:cubicBezTo>
                    <a:pt x="188" y="21"/>
                    <a:pt x="192" y="16"/>
                    <a:pt x="192" y="10"/>
                  </a:cubicBezTo>
                  <a:cubicBezTo>
                    <a:pt x="192" y="4"/>
                    <a:pt x="188" y="0"/>
                    <a:pt x="182" y="0"/>
                  </a:cubicBezTo>
                  <a:close/>
                  <a:moveTo>
                    <a:pt x="96" y="149"/>
                  </a:moveTo>
                  <a:cubicBezTo>
                    <a:pt x="86" y="149"/>
                    <a:pt x="86" y="149"/>
                    <a:pt x="86" y="149"/>
                  </a:cubicBezTo>
                  <a:cubicBezTo>
                    <a:pt x="50" y="149"/>
                    <a:pt x="22" y="120"/>
                    <a:pt x="22" y="85"/>
                  </a:cubicBezTo>
                  <a:cubicBezTo>
                    <a:pt x="22" y="50"/>
                    <a:pt x="50" y="21"/>
                    <a:pt x="86" y="21"/>
                  </a:cubicBezTo>
                  <a:cubicBezTo>
                    <a:pt x="96" y="21"/>
                    <a:pt x="96" y="21"/>
                    <a:pt x="96" y="21"/>
                  </a:cubicBezTo>
                  <a:lnTo>
                    <a:pt x="96"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42" name="Freeform 210">
            <a:extLst>
              <a:ext uri="{FF2B5EF4-FFF2-40B4-BE49-F238E27FC236}">
                <a16:creationId xmlns:a16="http://schemas.microsoft.com/office/drawing/2014/main" id="{8BE6E591-DA59-42FA-A55A-B61C8D545D52}"/>
              </a:ext>
            </a:extLst>
          </p:cNvPr>
          <p:cNvSpPr>
            <a:spLocks noChangeAspect="1" noEditPoints="1"/>
          </p:cNvSpPr>
          <p:nvPr/>
        </p:nvSpPr>
        <p:spPr bwMode="auto">
          <a:xfrm>
            <a:off x="472662" y="4917023"/>
            <a:ext cx="369021" cy="369021"/>
          </a:xfrm>
          <a:custGeom>
            <a:avLst/>
            <a:gdLst>
              <a:gd name="T0" fmla="*/ 352 w 512"/>
              <a:gd name="T1" fmla="*/ 394 h 512"/>
              <a:gd name="T2" fmla="*/ 224 w 512"/>
              <a:gd name="T3" fmla="*/ 224 h 512"/>
              <a:gd name="T4" fmla="*/ 256 w 512"/>
              <a:gd name="T5" fmla="*/ 256 h 512"/>
              <a:gd name="T6" fmla="*/ 330 w 512"/>
              <a:gd name="T7" fmla="*/ 266 h 512"/>
              <a:gd name="T8" fmla="*/ 256 w 512"/>
              <a:gd name="T9" fmla="*/ 277 h 512"/>
              <a:gd name="T10" fmla="*/ 256 w 512"/>
              <a:gd name="T11" fmla="*/ 256 h 512"/>
              <a:gd name="T12" fmla="*/ 320 w 512"/>
              <a:gd name="T13" fmla="*/ 298 h 512"/>
              <a:gd name="T14" fmla="*/ 320 w 512"/>
              <a:gd name="T15" fmla="*/ 320 h 512"/>
              <a:gd name="T16" fmla="*/ 245 w 512"/>
              <a:gd name="T17" fmla="*/ 309 h 512"/>
              <a:gd name="T18" fmla="*/ 256 w 512"/>
              <a:gd name="T19" fmla="*/ 341 h 512"/>
              <a:gd name="T20" fmla="*/ 330 w 512"/>
              <a:gd name="T21" fmla="*/ 352 h 512"/>
              <a:gd name="T22" fmla="*/ 256 w 512"/>
              <a:gd name="T23" fmla="*/ 362 h 512"/>
              <a:gd name="T24" fmla="*/ 256 w 512"/>
              <a:gd name="T25" fmla="*/ 341 h 512"/>
              <a:gd name="T26" fmla="*/ 213 w 512"/>
              <a:gd name="T27" fmla="*/ 202 h 512"/>
              <a:gd name="T28" fmla="*/ 202 w 512"/>
              <a:gd name="T29" fmla="*/ 394 h 512"/>
              <a:gd name="T30" fmla="*/ 160 w 512"/>
              <a:gd name="T31" fmla="*/ 138 h 512"/>
              <a:gd name="T32" fmla="*/ 181 w 512"/>
              <a:gd name="T33" fmla="*/ 149 h 512"/>
              <a:gd name="T34" fmla="*/ 298 w 512"/>
              <a:gd name="T35" fmla="*/ 160 h 512"/>
              <a:gd name="T36" fmla="*/ 309 w 512"/>
              <a:gd name="T37" fmla="*/ 138 h 512"/>
              <a:gd name="T38" fmla="*/ 330 w 512"/>
              <a:gd name="T39" fmla="*/ 202 h 512"/>
              <a:gd name="T40" fmla="*/ 202 w 512"/>
              <a:gd name="T41" fmla="*/ 138 h 512"/>
              <a:gd name="T42" fmla="*/ 202 w 512"/>
              <a:gd name="T43" fmla="*/ 128 h 512"/>
              <a:gd name="T44" fmla="*/ 202 w 512"/>
              <a:gd name="T45" fmla="*/ 117 h 512"/>
              <a:gd name="T46" fmla="*/ 288 w 512"/>
              <a:gd name="T47" fmla="*/ 138 h 512"/>
              <a:gd name="T48" fmla="*/ 0 w 512"/>
              <a:gd name="T49" fmla="*/ 256 h 512"/>
              <a:gd name="T50" fmla="*/ 512 w 512"/>
              <a:gd name="T51" fmla="*/ 256 h 512"/>
              <a:gd name="T52" fmla="*/ 373 w 512"/>
              <a:gd name="T53" fmla="*/ 405 h 512"/>
              <a:gd name="T54" fmla="*/ 149 w 512"/>
              <a:gd name="T55" fmla="*/ 416 h 512"/>
              <a:gd name="T56" fmla="*/ 138 w 512"/>
              <a:gd name="T57" fmla="*/ 128 h 512"/>
              <a:gd name="T58" fmla="*/ 181 w 512"/>
              <a:gd name="T59" fmla="*/ 117 h 512"/>
              <a:gd name="T60" fmla="*/ 192 w 512"/>
              <a:gd name="T61" fmla="*/ 96 h 512"/>
              <a:gd name="T62" fmla="*/ 309 w 512"/>
              <a:gd name="T63" fmla="*/ 106 h 512"/>
              <a:gd name="T64" fmla="*/ 341 w 512"/>
              <a:gd name="T65" fmla="*/ 117 h 512"/>
              <a:gd name="T66" fmla="*/ 352 w 512"/>
              <a:gd name="T67" fmla="*/ 202 h 512"/>
              <a:gd name="T68" fmla="*/ 373 w 512"/>
              <a:gd name="T69"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24" y="394"/>
                </a:moveTo>
                <a:cubicBezTo>
                  <a:pt x="352" y="394"/>
                  <a:pt x="352" y="394"/>
                  <a:pt x="352" y="394"/>
                </a:cubicBezTo>
                <a:cubicBezTo>
                  <a:pt x="352" y="224"/>
                  <a:pt x="352" y="224"/>
                  <a:pt x="352" y="224"/>
                </a:cubicBezTo>
                <a:cubicBezTo>
                  <a:pt x="224" y="224"/>
                  <a:pt x="224" y="224"/>
                  <a:pt x="224" y="224"/>
                </a:cubicBezTo>
                <a:lnTo>
                  <a:pt x="224" y="394"/>
                </a:lnTo>
                <a:close/>
                <a:moveTo>
                  <a:pt x="256" y="256"/>
                </a:moveTo>
                <a:cubicBezTo>
                  <a:pt x="320" y="256"/>
                  <a:pt x="320" y="256"/>
                  <a:pt x="320" y="256"/>
                </a:cubicBezTo>
                <a:cubicBezTo>
                  <a:pt x="326" y="256"/>
                  <a:pt x="330" y="260"/>
                  <a:pt x="330" y="266"/>
                </a:cubicBezTo>
                <a:cubicBezTo>
                  <a:pt x="330" y="272"/>
                  <a:pt x="326" y="277"/>
                  <a:pt x="320" y="277"/>
                </a:cubicBezTo>
                <a:cubicBezTo>
                  <a:pt x="256" y="277"/>
                  <a:pt x="256" y="277"/>
                  <a:pt x="256" y="277"/>
                </a:cubicBezTo>
                <a:cubicBezTo>
                  <a:pt x="250" y="277"/>
                  <a:pt x="245" y="272"/>
                  <a:pt x="245" y="266"/>
                </a:cubicBezTo>
                <a:cubicBezTo>
                  <a:pt x="245" y="260"/>
                  <a:pt x="250" y="256"/>
                  <a:pt x="256" y="256"/>
                </a:cubicBezTo>
                <a:close/>
                <a:moveTo>
                  <a:pt x="256" y="298"/>
                </a:moveTo>
                <a:cubicBezTo>
                  <a:pt x="320" y="298"/>
                  <a:pt x="320" y="298"/>
                  <a:pt x="320" y="298"/>
                </a:cubicBezTo>
                <a:cubicBezTo>
                  <a:pt x="326" y="298"/>
                  <a:pt x="330" y="303"/>
                  <a:pt x="330" y="309"/>
                </a:cubicBezTo>
                <a:cubicBezTo>
                  <a:pt x="330" y="315"/>
                  <a:pt x="326" y="320"/>
                  <a:pt x="320" y="320"/>
                </a:cubicBezTo>
                <a:cubicBezTo>
                  <a:pt x="256" y="320"/>
                  <a:pt x="256" y="320"/>
                  <a:pt x="256" y="320"/>
                </a:cubicBezTo>
                <a:cubicBezTo>
                  <a:pt x="250" y="320"/>
                  <a:pt x="245" y="315"/>
                  <a:pt x="245" y="309"/>
                </a:cubicBezTo>
                <a:cubicBezTo>
                  <a:pt x="245" y="303"/>
                  <a:pt x="250" y="298"/>
                  <a:pt x="256" y="298"/>
                </a:cubicBezTo>
                <a:close/>
                <a:moveTo>
                  <a:pt x="256" y="341"/>
                </a:moveTo>
                <a:cubicBezTo>
                  <a:pt x="320" y="341"/>
                  <a:pt x="320" y="341"/>
                  <a:pt x="320" y="341"/>
                </a:cubicBezTo>
                <a:cubicBezTo>
                  <a:pt x="326" y="341"/>
                  <a:pt x="330" y="346"/>
                  <a:pt x="330" y="352"/>
                </a:cubicBezTo>
                <a:cubicBezTo>
                  <a:pt x="330" y="358"/>
                  <a:pt x="326" y="362"/>
                  <a:pt x="320" y="362"/>
                </a:cubicBezTo>
                <a:cubicBezTo>
                  <a:pt x="256" y="362"/>
                  <a:pt x="256" y="362"/>
                  <a:pt x="256" y="362"/>
                </a:cubicBezTo>
                <a:cubicBezTo>
                  <a:pt x="250" y="362"/>
                  <a:pt x="245" y="358"/>
                  <a:pt x="245" y="352"/>
                </a:cubicBezTo>
                <a:cubicBezTo>
                  <a:pt x="245" y="346"/>
                  <a:pt x="250" y="341"/>
                  <a:pt x="256" y="341"/>
                </a:cubicBezTo>
                <a:close/>
                <a:moveTo>
                  <a:pt x="330" y="202"/>
                </a:moveTo>
                <a:cubicBezTo>
                  <a:pt x="213" y="202"/>
                  <a:pt x="213" y="202"/>
                  <a:pt x="213" y="202"/>
                </a:cubicBezTo>
                <a:cubicBezTo>
                  <a:pt x="207" y="202"/>
                  <a:pt x="202" y="207"/>
                  <a:pt x="202" y="213"/>
                </a:cubicBezTo>
                <a:cubicBezTo>
                  <a:pt x="202" y="394"/>
                  <a:pt x="202" y="394"/>
                  <a:pt x="202" y="394"/>
                </a:cubicBezTo>
                <a:cubicBezTo>
                  <a:pt x="160" y="394"/>
                  <a:pt x="160" y="394"/>
                  <a:pt x="160" y="394"/>
                </a:cubicBezTo>
                <a:cubicBezTo>
                  <a:pt x="160" y="138"/>
                  <a:pt x="160" y="138"/>
                  <a:pt x="160" y="138"/>
                </a:cubicBezTo>
                <a:cubicBezTo>
                  <a:pt x="181" y="138"/>
                  <a:pt x="181" y="138"/>
                  <a:pt x="181" y="138"/>
                </a:cubicBezTo>
                <a:cubicBezTo>
                  <a:pt x="181" y="149"/>
                  <a:pt x="181" y="149"/>
                  <a:pt x="181" y="149"/>
                </a:cubicBezTo>
                <a:cubicBezTo>
                  <a:pt x="181" y="155"/>
                  <a:pt x="186" y="160"/>
                  <a:pt x="192" y="160"/>
                </a:cubicBezTo>
                <a:cubicBezTo>
                  <a:pt x="298" y="160"/>
                  <a:pt x="298" y="160"/>
                  <a:pt x="298" y="160"/>
                </a:cubicBezTo>
                <a:cubicBezTo>
                  <a:pt x="304" y="160"/>
                  <a:pt x="309" y="155"/>
                  <a:pt x="309" y="149"/>
                </a:cubicBezTo>
                <a:cubicBezTo>
                  <a:pt x="309" y="138"/>
                  <a:pt x="309" y="138"/>
                  <a:pt x="309" y="138"/>
                </a:cubicBezTo>
                <a:cubicBezTo>
                  <a:pt x="330" y="138"/>
                  <a:pt x="330" y="138"/>
                  <a:pt x="330" y="138"/>
                </a:cubicBezTo>
                <a:lnTo>
                  <a:pt x="330" y="202"/>
                </a:lnTo>
                <a:close/>
                <a:moveTo>
                  <a:pt x="288" y="138"/>
                </a:moveTo>
                <a:cubicBezTo>
                  <a:pt x="202" y="138"/>
                  <a:pt x="202" y="138"/>
                  <a:pt x="202" y="138"/>
                </a:cubicBezTo>
                <a:cubicBezTo>
                  <a:pt x="202" y="128"/>
                  <a:pt x="202" y="128"/>
                  <a:pt x="202" y="128"/>
                </a:cubicBezTo>
                <a:cubicBezTo>
                  <a:pt x="202" y="128"/>
                  <a:pt x="202" y="128"/>
                  <a:pt x="202" y="128"/>
                </a:cubicBezTo>
                <a:cubicBezTo>
                  <a:pt x="202" y="128"/>
                  <a:pt x="202" y="128"/>
                  <a:pt x="202" y="128"/>
                </a:cubicBezTo>
                <a:cubicBezTo>
                  <a:pt x="202" y="117"/>
                  <a:pt x="202" y="117"/>
                  <a:pt x="202"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28"/>
                  <a:pt x="138" y="128"/>
                  <a:pt x="138" y="128"/>
                </a:cubicBezTo>
                <a:cubicBezTo>
                  <a:pt x="138" y="122"/>
                  <a:pt x="143" y="117"/>
                  <a:pt x="149" y="117"/>
                </a:cubicBezTo>
                <a:cubicBezTo>
                  <a:pt x="181" y="117"/>
                  <a:pt x="181" y="117"/>
                  <a:pt x="181" y="117"/>
                </a:cubicBezTo>
                <a:cubicBezTo>
                  <a:pt x="181" y="106"/>
                  <a:pt x="181" y="106"/>
                  <a:pt x="181" y="106"/>
                </a:cubicBezTo>
                <a:cubicBezTo>
                  <a:pt x="181" y="100"/>
                  <a:pt x="186" y="96"/>
                  <a:pt x="192" y="96"/>
                </a:cubicBezTo>
                <a:cubicBezTo>
                  <a:pt x="298" y="96"/>
                  <a:pt x="298" y="96"/>
                  <a:pt x="298" y="96"/>
                </a:cubicBezTo>
                <a:cubicBezTo>
                  <a:pt x="304" y="96"/>
                  <a:pt x="309" y="100"/>
                  <a:pt x="309" y="106"/>
                </a:cubicBezTo>
                <a:cubicBezTo>
                  <a:pt x="309" y="117"/>
                  <a:pt x="309" y="117"/>
                  <a:pt x="309" y="117"/>
                </a:cubicBezTo>
                <a:cubicBezTo>
                  <a:pt x="341" y="117"/>
                  <a:pt x="341" y="117"/>
                  <a:pt x="341" y="117"/>
                </a:cubicBezTo>
                <a:cubicBezTo>
                  <a:pt x="347" y="117"/>
                  <a:pt x="352" y="122"/>
                  <a:pt x="352" y="128"/>
                </a:cubicBezTo>
                <a:cubicBezTo>
                  <a:pt x="352" y="202"/>
                  <a:pt x="352" y="202"/>
                  <a:pt x="352" y="202"/>
                </a:cubicBezTo>
                <a:cubicBezTo>
                  <a:pt x="362" y="202"/>
                  <a:pt x="362" y="202"/>
                  <a:pt x="362" y="202"/>
                </a:cubicBezTo>
                <a:cubicBezTo>
                  <a:pt x="368" y="202"/>
                  <a:pt x="373" y="207"/>
                  <a:pt x="373" y="213"/>
                </a:cubicBezTo>
                <a:lnTo>
                  <a:pt x="373" y="40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43" name="Group 213">
            <a:extLst>
              <a:ext uri="{FF2B5EF4-FFF2-40B4-BE49-F238E27FC236}">
                <a16:creationId xmlns:a16="http://schemas.microsoft.com/office/drawing/2014/main" id="{33EFE670-E5C2-47BC-9FD3-248734ECA031}"/>
              </a:ext>
            </a:extLst>
          </p:cNvPr>
          <p:cNvGrpSpPr>
            <a:grpSpLocks noChangeAspect="1"/>
          </p:cNvGrpSpPr>
          <p:nvPr/>
        </p:nvGrpSpPr>
        <p:grpSpPr bwMode="auto">
          <a:xfrm>
            <a:off x="916602" y="4917023"/>
            <a:ext cx="369021" cy="369021"/>
            <a:chOff x="1157" y="771"/>
            <a:chExt cx="340" cy="340"/>
          </a:xfrm>
          <a:solidFill>
            <a:schemeClr val="accent3"/>
          </a:solidFill>
        </p:grpSpPr>
        <p:sp>
          <p:nvSpPr>
            <p:cNvPr id="944" name="Freeform 214">
              <a:extLst>
                <a:ext uri="{FF2B5EF4-FFF2-40B4-BE49-F238E27FC236}">
                  <a16:creationId xmlns:a16="http://schemas.microsoft.com/office/drawing/2014/main" id="{F576C376-B0B6-4B46-8EF5-476784A11D74}"/>
                </a:ext>
              </a:extLst>
            </p:cNvPr>
            <p:cNvSpPr>
              <a:spLocks noEditPoints="1"/>
            </p:cNvSpPr>
            <p:nvPr/>
          </p:nvSpPr>
          <p:spPr bwMode="auto">
            <a:xfrm>
              <a:off x="1249" y="835"/>
              <a:ext cx="156" cy="212"/>
            </a:xfrm>
            <a:custGeom>
              <a:avLst/>
              <a:gdLst>
                <a:gd name="T0" fmla="*/ 224 w 235"/>
                <a:gd name="T1" fmla="*/ 106 h 320"/>
                <a:gd name="T2" fmla="*/ 214 w 235"/>
                <a:gd name="T3" fmla="*/ 106 h 320"/>
                <a:gd name="T4" fmla="*/ 214 w 235"/>
                <a:gd name="T5" fmla="*/ 32 h 320"/>
                <a:gd name="T6" fmla="*/ 203 w 235"/>
                <a:gd name="T7" fmla="*/ 21 h 320"/>
                <a:gd name="T8" fmla="*/ 171 w 235"/>
                <a:gd name="T9" fmla="*/ 21 h 320"/>
                <a:gd name="T10" fmla="*/ 171 w 235"/>
                <a:gd name="T11" fmla="*/ 10 h 320"/>
                <a:gd name="T12" fmla="*/ 160 w 235"/>
                <a:gd name="T13" fmla="*/ 0 h 320"/>
                <a:gd name="T14" fmla="*/ 54 w 235"/>
                <a:gd name="T15" fmla="*/ 0 h 320"/>
                <a:gd name="T16" fmla="*/ 43 w 235"/>
                <a:gd name="T17" fmla="*/ 10 h 320"/>
                <a:gd name="T18" fmla="*/ 43 w 235"/>
                <a:gd name="T19" fmla="*/ 21 h 320"/>
                <a:gd name="T20" fmla="*/ 11 w 235"/>
                <a:gd name="T21" fmla="*/ 21 h 320"/>
                <a:gd name="T22" fmla="*/ 0 w 235"/>
                <a:gd name="T23" fmla="*/ 32 h 320"/>
                <a:gd name="T24" fmla="*/ 0 w 235"/>
                <a:gd name="T25" fmla="*/ 309 h 320"/>
                <a:gd name="T26" fmla="*/ 11 w 235"/>
                <a:gd name="T27" fmla="*/ 320 h 320"/>
                <a:gd name="T28" fmla="*/ 224 w 235"/>
                <a:gd name="T29" fmla="*/ 320 h 320"/>
                <a:gd name="T30" fmla="*/ 235 w 235"/>
                <a:gd name="T31" fmla="*/ 309 h 320"/>
                <a:gd name="T32" fmla="*/ 235 w 235"/>
                <a:gd name="T33" fmla="*/ 117 h 320"/>
                <a:gd name="T34" fmla="*/ 224 w 235"/>
                <a:gd name="T35" fmla="*/ 106 h 320"/>
                <a:gd name="T36" fmla="*/ 150 w 235"/>
                <a:gd name="T37" fmla="*/ 21 h 320"/>
                <a:gd name="T38" fmla="*/ 150 w 235"/>
                <a:gd name="T39" fmla="*/ 42 h 320"/>
                <a:gd name="T40" fmla="*/ 64 w 235"/>
                <a:gd name="T41" fmla="*/ 42 h 320"/>
                <a:gd name="T42" fmla="*/ 64 w 235"/>
                <a:gd name="T43" fmla="*/ 32 h 320"/>
                <a:gd name="T44" fmla="*/ 64 w 235"/>
                <a:gd name="T45" fmla="*/ 32 h 320"/>
                <a:gd name="T46" fmla="*/ 64 w 235"/>
                <a:gd name="T47" fmla="*/ 32 h 320"/>
                <a:gd name="T48" fmla="*/ 64 w 235"/>
                <a:gd name="T49" fmla="*/ 21 h 320"/>
                <a:gd name="T50" fmla="*/ 150 w 235"/>
                <a:gd name="T51" fmla="*/ 21 h 320"/>
                <a:gd name="T52" fmla="*/ 22 w 235"/>
                <a:gd name="T53" fmla="*/ 42 h 320"/>
                <a:gd name="T54" fmla="*/ 43 w 235"/>
                <a:gd name="T55" fmla="*/ 42 h 320"/>
                <a:gd name="T56" fmla="*/ 43 w 235"/>
                <a:gd name="T57" fmla="*/ 53 h 320"/>
                <a:gd name="T58" fmla="*/ 54 w 235"/>
                <a:gd name="T59" fmla="*/ 64 h 320"/>
                <a:gd name="T60" fmla="*/ 160 w 235"/>
                <a:gd name="T61" fmla="*/ 64 h 320"/>
                <a:gd name="T62" fmla="*/ 171 w 235"/>
                <a:gd name="T63" fmla="*/ 53 h 320"/>
                <a:gd name="T64" fmla="*/ 171 w 235"/>
                <a:gd name="T65" fmla="*/ 42 h 320"/>
                <a:gd name="T66" fmla="*/ 192 w 235"/>
                <a:gd name="T67" fmla="*/ 42 h 320"/>
                <a:gd name="T68" fmla="*/ 192 w 235"/>
                <a:gd name="T69" fmla="*/ 106 h 320"/>
                <a:gd name="T70" fmla="*/ 75 w 235"/>
                <a:gd name="T71" fmla="*/ 106 h 320"/>
                <a:gd name="T72" fmla="*/ 64 w 235"/>
                <a:gd name="T73" fmla="*/ 117 h 320"/>
                <a:gd name="T74" fmla="*/ 64 w 235"/>
                <a:gd name="T75" fmla="*/ 298 h 320"/>
                <a:gd name="T76" fmla="*/ 22 w 235"/>
                <a:gd name="T77" fmla="*/ 298 h 320"/>
                <a:gd name="T78" fmla="*/ 22 w 235"/>
                <a:gd name="T79" fmla="*/ 42 h 320"/>
                <a:gd name="T80" fmla="*/ 214 w 235"/>
                <a:gd name="T81" fmla="*/ 298 h 320"/>
                <a:gd name="T82" fmla="*/ 86 w 235"/>
                <a:gd name="T83" fmla="*/ 298 h 320"/>
                <a:gd name="T84" fmla="*/ 86 w 235"/>
                <a:gd name="T85" fmla="*/ 128 h 320"/>
                <a:gd name="T86" fmla="*/ 214 w 235"/>
                <a:gd name="T87" fmla="*/ 128 h 320"/>
                <a:gd name="T88" fmla="*/ 214 w 235"/>
                <a:gd name="T8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20">
                  <a:moveTo>
                    <a:pt x="224" y="106"/>
                  </a:moveTo>
                  <a:cubicBezTo>
                    <a:pt x="214" y="106"/>
                    <a:pt x="214" y="106"/>
                    <a:pt x="214" y="106"/>
                  </a:cubicBezTo>
                  <a:cubicBezTo>
                    <a:pt x="214" y="32"/>
                    <a:pt x="214" y="32"/>
                    <a:pt x="214" y="32"/>
                  </a:cubicBezTo>
                  <a:cubicBezTo>
                    <a:pt x="214" y="26"/>
                    <a:pt x="209" y="21"/>
                    <a:pt x="203" y="21"/>
                  </a:cubicBezTo>
                  <a:cubicBezTo>
                    <a:pt x="171" y="21"/>
                    <a:pt x="171" y="21"/>
                    <a:pt x="171" y="21"/>
                  </a:cubicBezTo>
                  <a:cubicBezTo>
                    <a:pt x="171" y="10"/>
                    <a:pt x="171" y="10"/>
                    <a:pt x="171" y="10"/>
                  </a:cubicBezTo>
                  <a:cubicBezTo>
                    <a:pt x="171" y="4"/>
                    <a:pt x="166" y="0"/>
                    <a:pt x="160" y="0"/>
                  </a:cubicBezTo>
                  <a:cubicBezTo>
                    <a:pt x="54" y="0"/>
                    <a:pt x="54" y="0"/>
                    <a:pt x="54" y="0"/>
                  </a:cubicBezTo>
                  <a:cubicBezTo>
                    <a:pt x="48" y="0"/>
                    <a:pt x="43" y="4"/>
                    <a:pt x="43" y="10"/>
                  </a:cubicBezTo>
                  <a:cubicBezTo>
                    <a:pt x="43" y="21"/>
                    <a:pt x="43" y="21"/>
                    <a:pt x="43" y="21"/>
                  </a:cubicBezTo>
                  <a:cubicBezTo>
                    <a:pt x="11" y="21"/>
                    <a:pt x="11" y="21"/>
                    <a:pt x="11" y="21"/>
                  </a:cubicBezTo>
                  <a:cubicBezTo>
                    <a:pt x="5" y="21"/>
                    <a:pt x="0" y="26"/>
                    <a:pt x="0" y="32"/>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17"/>
                    <a:pt x="235" y="117"/>
                    <a:pt x="235" y="117"/>
                  </a:cubicBezTo>
                  <a:cubicBezTo>
                    <a:pt x="235" y="111"/>
                    <a:pt x="230" y="106"/>
                    <a:pt x="224" y="106"/>
                  </a:cubicBezTo>
                  <a:close/>
                  <a:moveTo>
                    <a:pt x="150" y="21"/>
                  </a:moveTo>
                  <a:cubicBezTo>
                    <a:pt x="150" y="42"/>
                    <a:pt x="150" y="42"/>
                    <a:pt x="150" y="42"/>
                  </a:cubicBezTo>
                  <a:cubicBezTo>
                    <a:pt x="64" y="42"/>
                    <a:pt x="64" y="42"/>
                    <a:pt x="64" y="42"/>
                  </a:cubicBezTo>
                  <a:cubicBezTo>
                    <a:pt x="64" y="32"/>
                    <a:pt x="64" y="32"/>
                    <a:pt x="64" y="32"/>
                  </a:cubicBezTo>
                  <a:cubicBezTo>
                    <a:pt x="64" y="32"/>
                    <a:pt x="64" y="32"/>
                    <a:pt x="64" y="32"/>
                  </a:cubicBezTo>
                  <a:cubicBezTo>
                    <a:pt x="64" y="32"/>
                    <a:pt x="64" y="32"/>
                    <a:pt x="64" y="32"/>
                  </a:cubicBezTo>
                  <a:cubicBezTo>
                    <a:pt x="64" y="21"/>
                    <a:pt x="64" y="21"/>
                    <a:pt x="64" y="21"/>
                  </a:cubicBezTo>
                  <a:lnTo>
                    <a:pt x="150" y="21"/>
                  </a:lnTo>
                  <a:close/>
                  <a:moveTo>
                    <a:pt x="22" y="42"/>
                  </a:moveTo>
                  <a:cubicBezTo>
                    <a:pt x="43" y="42"/>
                    <a:pt x="43" y="42"/>
                    <a:pt x="43" y="42"/>
                  </a:cubicBezTo>
                  <a:cubicBezTo>
                    <a:pt x="43" y="53"/>
                    <a:pt x="43" y="53"/>
                    <a:pt x="43" y="53"/>
                  </a:cubicBezTo>
                  <a:cubicBezTo>
                    <a:pt x="43" y="59"/>
                    <a:pt x="48" y="64"/>
                    <a:pt x="54" y="64"/>
                  </a:cubicBezTo>
                  <a:cubicBezTo>
                    <a:pt x="160" y="64"/>
                    <a:pt x="160" y="64"/>
                    <a:pt x="160" y="64"/>
                  </a:cubicBezTo>
                  <a:cubicBezTo>
                    <a:pt x="166" y="64"/>
                    <a:pt x="171" y="59"/>
                    <a:pt x="171" y="53"/>
                  </a:cubicBezTo>
                  <a:cubicBezTo>
                    <a:pt x="171" y="42"/>
                    <a:pt x="171" y="42"/>
                    <a:pt x="171" y="42"/>
                  </a:cubicBezTo>
                  <a:cubicBezTo>
                    <a:pt x="192" y="42"/>
                    <a:pt x="192" y="42"/>
                    <a:pt x="192" y="42"/>
                  </a:cubicBezTo>
                  <a:cubicBezTo>
                    <a:pt x="192" y="106"/>
                    <a:pt x="192" y="106"/>
                    <a:pt x="192" y="106"/>
                  </a:cubicBezTo>
                  <a:cubicBezTo>
                    <a:pt x="75" y="106"/>
                    <a:pt x="75" y="106"/>
                    <a:pt x="75" y="106"/>
                  </a:cubicBezTo>
                  <a:cubicBezTo>
                    <a:pt x="69" y="106"/>
                    <a:pt x="64" y="111"/>
                    <a:pt x="64" y="117"/>
                  </a:cubicBezTo>
                  <a:cubicBezTo>
                    <a:pt x="64" y="298"/>
                    <a:pt x="64" y="298"/>
                    <a:pt x="64" y="298"/>
                  </a:cubicBezTo>
                  <a:cubicBezTo>
                    <a:pt x="22" y="298"/>
                    <a:pt x="22" y="298"/>
                    <a:pt x="22" y="298"/>
                  </a:cubicBezTo>
                  <a:lnTo>
                    <a:pt x="22" y="42"/>
                  </a:lnTo>
                  <a:close/>
                  <a:moveTo>
                    <a:pt x="214" y="298"/>
                  </a:moveTo>
                  <a:cubicBezTo>
                    <a:pt x="86" y="298"/>
                    <a:pt x="86" y="298"/>
                    <a:pt x="86" y="298"/>
                  </a:cubicBezTo>
                  <a:cubicBezTo>
                    <a:pt x="86" y="128"/>
                    <a:pt x="86" y="128"/>
                    <a:pt x="86" y="128"/>
                  </a:cubicBezTo>
                  <a:cubicBezTo>
                    <a:pt x="214" y="128"/>
                    <a:pt x="214" y="128"/>
                    <a:pt x="214" y="128"/>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45" name="Freeform 215">
              <a:extLst>
                <a:ext uri="{FF2B5EF4-FFF2-40B4-BE49-F238E27FC236}">
                  <a16:creationId xmlns:a16="http://schemas.microsoft.com/office/drawing/2014/main" id="{8D59B72C-029C-428F-AD7B-72EDA779A9D5}"/>
                </a:ext>
              </a:extLst>
            </p:cNvPr>
            <p:cNvSpPr>
              <a:spLocks/>
            </p:cNvSpPr>
            <p:nvPr/>
          </p:nvSpPr>
          <p:spPr bwMode="auto">
            <a:xfrm>
              <a:off x="1320" y="941"/>
              <a:ext cx="56" cy="14"/>
            </a:xfrm>
            <a:custGeom>
              <a:avLst/>
              <a:gdLst>
                <a:gd name="T0" fmla="*/ 75 w 85"/>
                <a:gd name="T1" fmla="*/ 0 h 21"/>
                <a:gd name="T2" fmla="*/ 11 w 85"/>
                <a:gd name="T3" fmla="*/ 0 h 21"/>
                <a:gd name="T4" fmla="*/ 0 w 85"/>
                <a:gd name="T5" fmla="*/ 10 h 21"/>
                <a:gd name="T6" fmla="*/ 11 w 85"/>
                <a:gd name="T7" fmla="*/ 21 h 21"/>
                <a:gd name="T8" fmla="*/ 75 w 85"/>
                <a:gd name="T9" fmla="*/ 21 h 21"/>
                <a:gd name="T10" fmla="*/ 85 w 85"/>
                <a:gd name="T11" fmla="*/ 10 h 21"/>
                <a:gd name="T12" fmla="*/ 75 w 8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85" h="21">
                  <a:moveTo>
                    <a:pt x="75" y="0"/>
                  </a:moveTo>
                  <a:cubicBezTo>
                    <a:pt x="11" y="0"/>
                    <a:pt x="11" y="0"/>
                    <a:pt x="11" y="0"/>
                  </a:cubicBezTo>
                  <a:cubicBezTo>
                    <a:pt x="5" y="0"/>
                    <a:pt x="0" y="4"/>
                    <a:pt x="0" y="10"/>
                  </a:cubicBezTo>
                  <a:cubicBezTo>
                    <a:pt x="0" y="16"/>
                    <a:pt x="5" y="21"/>
                    <a:pt x="11" y="21"/>
                  </a:cubicBezTo>
                  <a:cubicBezTo>
                    <a:pt x="75" y="21"/>
                    <a:pt x="75" y="21"/>
                    <a:pt x="75" y="21"/>
                  </a:cubicBezTo>
                  <a:cubicBezTo>
                    <a:pt x="81" y="21"/>
                    <a:pt x="85" y="16"/>
                    <a:pt x="85" y="10"/>
                  </a:cubicBezTo>
                  <a:cubicBezTo>
                    <a:pt x="85" y="4"/>
                    <a:pt x="81" y="0"/>
                    <a:pt x="7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46" name="Freeform 216">
              <a:extLst>
                <a:ext uri="{FF2B5EF4-FFF2-40B4-BE49-F238E27FC236}">
                  <a16:creationId xmlns:a16="http://schemas.microsoft.com/office/drawing/2014/main" id="{9C89AD60-0285-4F51-9CDA-3A7B58EB0C41}"/>
                </a:ext>
              </a:extLst>
            </p:cNvPr>
            <p:cNvSpPr>
              <a:spLocks/>
            </p:cNvSpPr>
            <p:nvPr/>
          </p:nvSpPr>
          <p:spPr bwMode="auto">
            <a:xfrm>
              <a:off x="1320" y="969"/>
              <a:ext cx="56" cy="14"/>
            </a:xfrm>
            <a:custGeom>
              <a:avLst/>
              <a:gdLst>
                <a:gd name="T0" fmla="*/ 75 w 85"/>
                <a:gd name="T1" fmla="*/ 0 h 22"/>
                <a:gd name="T2" fmla="*/ 11 w 85"/>
                <a:gd name="T3" fmla="*/ 0 h 22"/>
                <a:gd name="T4" fmla="*/ 0 w 85"/>
                <a:gd name="T5" fmla="*/ 11 h 22"/>
                <a:gd name="T6" fmla="*/ 11 w 85"/>
                <a:gd name="T7" fmla="*/ 22 h 22"/>
                <a:gd name="T8" fmla="*/ 75 w 85"/>
                <a:gd name="T9" fmla="*/ 22 h 22"/>
                <a:gd name="T10" fmla="*/ 85 w 85"/>
                <a:gd name="T11" fmla="*/ 11 h 22"/>
                <a:gd name="T12" fmla="*/ 75 w 85"/>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85" h="22">
                  <a:moveTo>
                    <a:pt x="75" y="0"/>
                  </a:moveTo>
                  <a:cubicBezTo>
                    <a:pt x="11" y="0"/>
                    <a:pt x="11" y="0"/>
                    <a:pt x="11" y="0"/>
                  </a:cubicBezTo>
                  <a:cubicBezTo>
                    <a:pt x="5" y="0"/>
                    <a:pt x="0" y="5"/>
                    <a:pt x="0" y="11"/>
                  </a:cubicBezTo>
                  <a:cubicBezTo>
                    <a:pt x="0" y="17"/>
                    <a:pt x="5" y="22"/>
                    <a:pt x="11" y="22"/>
                  </a:cubicBezTo>
                  <a:cubicBezTo>
                    <a:pt x="75" y="22"/>
                    <a:pt x="75" y="22"/>
                    <a:pt x="75" y="22"/>
                  </a:cubicBezTo>
                  <a:cubicBezTo>
                    <a:pt x="81" y="22"/>
                    <a:pt x="85" y="17"/>
                    <a:pt x="85" y="11"/>
                  </a:cubicBezTo>
                  <a:cubicBezTo>
                    <a:pt x="85" y="5"/>
                    <a:pt x="81" y="0"/>
                    <a:pt x="7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47" name="Freeform 217">
              <a:extLst>
                <a:ext uri="{FF2B5EF4-FFF2-40B4-BE49-F238E27FC236}">
                  <a16:creationId xmlns:a16="http://schemas.microsoft.com/office/drawing/2014/main" id="{7BD655D5-8B8B-4DEE-8105-A7D27495168D}"/>
                </a:ext>
              </a:extLst>
            </p:cNvPr>
            <p:cNvSpPr>
              <a:spLocks/>
            </p:cNvSpPr>
            <p:nvPr/>
          </p:nvSpPr>
          <p:spPr bwMode="auto">
            <a:xfrm>
              <a:off x="1320" y="997"/>
              <a:ext cx="56" cy="14"/>
            </a:xfrm>
            <a:custGeom>
              <a:avLst/>
              <a:gdLst>
                <a:gd name="T0" fmla="*/ 75 w 85"/>
                <a:gd name="T1" fmla="*/ 0 h 21"/>
                <a:gd name="T2" fmla="*/ 11 w 85"/>
                <a:gd name="T3" fmla="*/ 0 h 21"/>
                <a:gd name="T4" fmla="*/ 0 w 85"/>
                <a:gd name="T5" fmla="*/ 11 h 21"/>
                <a:gd name="T6" fmla="*/ 11 w 85"/>
                <a:gd name="T7" fmla="*/ 21 h 21"/>
                <a:gd name="T8" fmla="*/ 75 w 85"/>
                <a:gd name="T9" fmla="*/ 21 h 21"/>
                <a:gd name="T10" fmla="*/ 85 w 85"/>
                <a:gd name="T11" fmla="*/ 11 h 21"/>
                <a:gd name="T12" fmla="*/ 75 w 8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85" h="21">
                  <a:moveTo>
                    <a:pt x="75" y="0"/>
                  </a:moveTo>
                  <a:cubicBezTo>
                    <a:pt x="11" y="0"/>
                    <a:pt x="11" y="0"/>
                    <a:pt x="11" y="0"/>
                  </a:cubicBezTo>
                  <a:cubicBezTo>
                    <a:pt x="5" y="0"/>
                    <a:pt x="0" y="5"/>
                    <a:pt x="0" y="11"/>
                  </a:cubicBezTo>
                  <a:cubicBezTo>
                    <a:pt x="0" y="17"/>
                    <a:pt x="5" y="21"/>
                    <a:pt x="11" y="21"/>
                  </a:cubicBezTo>
                  <a:cubicBezTo>
                    <a:pt x="75" y="21"/>
                    <a:pt x="75" y="21"/>
                    <a:pt x="75" y="21"/>
                  </a:cubicBezTo>
                  <a:cubicBezTo>
                    <a:pt x="81" y="21"/>
                    <a:pt x="85" y="17"/>
                    <a:pt x="85" y="11"/>
                  </a:cubicBezTo>
                  <a:cubicBezTo>
                    <a:pt x="85" y="5"/>
                    <a:pt x="81" y="0"/>
                    <a:pt x="7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48" name="Freeform 218">
              <a:extLst>
                <a:ext uri="{FF2B5EF4-FFF2-40B4-BE49-F238E27FC236}">
                  <a16:creationId xmlns:a16="http://schemas.microsoft.com/office/drawing/2014/main" id="{722CD1AC-C6D0-485E-A00B-7D6E2706B7F9}"/>
                </a:ext>
              </a:extLst>
            </p:cNvPr>
            <p:cNvSpPr>
              <a:spLocks noEditPoints="1"/>
            </p:cNvSpPr>
            <p:nvPr/>
          </p:nvSpPr>
          <p:spPr bwMode="auto">
            <a:xfrm>
              <a:off x="1157" y="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49" name="Group 741">
            <a:extLst>
              <a:ext uri="{FF2B5EF4-FFF2-40B4-BE49-F238E27FC236}">
                <a16:creationId xmlns:a16="http://schemas.microsoft.com/office/drawing/2014/main" id="{7CE90655-B320-4E95-8BA5-6CA0625D2119}"/>
              </a:ext>
            </a:extLst>
          </p:cNvPr>
          <p:cNvGrpSpPr>
            <a:grpSpLocks noChangeAspect="1"/>
          </p:cNvGrpSpPr>
          <p:nvPr/>
        </p:nvGrpSpPr>
        <p:grpSpPr bwMode="auto">
          <a:xfrm>
            <a:off x="2693447" y="4917023"/>
            <a:ext cx="369021" cy="369021"/>
            <a:chOff x="1163" y="2706"/>
            <a:chExt cx="340" cy="340"/>
          </a:xfrm>
          <a:solidFill>
            <a:schemeClr val="accent2"/>
          </a:solidFill>
        </p:grpSpPr>
        <p:sp>
          <p:nvSpPr>
            <p:cNvPr id="950" name="Freeform 742">
              <a:extLst>
                <a:ext uri="{FF2B5EF4-FFF2-40B4-BE49-F238E27FC236}">
                  <a16:creationId xmlns:a16="http://schemas.microsoft.com/office/drawing/2014/main" id="{0236B614-FD4E-43EE-A07F-33A66FBEAA94}"/>
                </a:ext>
              </a:extLst>
            </p:cNvPr>
            <p:cNvSpPr>
              <a:spLocks noEditPoints="1"/>
            </p:cNvSpPr>
            <p:nvPr/>
          </p:nvSpPr>
          <p:spPr bwMode="auto">
            <a:xfrm>
              <a:off x="1247" y="2769"/>
              <a:ext cx="178" cy="213"/>
            </a:xfrm>
            <a:custGeom>
              <a:avLst/>
              <a:gdLst>
                <a:gd name="T0" fmla="*/ 182 w 268"/>
                <a:gd name="T1" fmla="*/ 321 h 321"/>
                <a:gd name="T2" fmla="*/ 173 w 268"/>
                <a:gd name="T3" fmla="*/ 316 h 321"/>
                <a:gd name="T4" fmla="*/ 176 w 268"/>
                <a:gd name="T5" fmla="*/ 302 h 321"/>
                <a:gd name="T6" fmla="*/ 203 w 268"/>
                <a:gd name="T7" fmla="*/ 247 h 321"/>
                <a:gd name="T8" fmla="*/ 134 w 268"/>
                <a:gd name="T9" fmla="*/ 172 h 321"/>
                <a:gd name="T10" fmla="*/ 129 w 268"/>
                <a:gd name="T11" fmla="*/ 172 h 321"/>
                <a:gd name="T12" fmla="*/ 129 w 268"/>
                <a:gd name="T13" fmla="*/ 225 h 321"/>
                <a:gd name="T14" fmla="*/ 122 w 268"/>
                <a:gd name="T15" fmla="*/ 235 h 321"/>
                <a:gd name="T16" fmla="*/ 111 w 268"/>
                <a:gd name="T17" fmla="*/ 233 h 321"/>
                <a:gd name="T18" fmla="*/ 4 w 268"/>
                <a:gd name="T19" fmla="*/ 126 h 321"/>
                <a:gd name="T20" fmla="*/ 4 w 268"/>
                <a:gd name="T21" fmla="*/ 111 h 321"/>
                <a:gd name="T22" fmla="*/ 111 w 268"/>
                <a:gd name="T23" fmla="*/ 4 h 321"/>
                <a:gd name="T24" fmla="*/ 122 w 268"/>
                <a:gd name="T25" fmla="*/ 2 h 321"/>
                <a:gd name="T26" fmla="*/ 129 w 268"/>
                <a:gd name="T27" fmla="*/ 12 h 321"/>
                <a:gd name="T28" fmla="*/ 129 w 268"/>
                <a:gd name="T29" fmla="*/ 55 h 321"/>
                <a:gd name="T30" fmla="*/ 268 w 268"/>
                <a:gd name="T31" fmla="*/ 193 h 321"/>
                <a:gd name="T32" fmla="*/ 187 w 268"/>
                <a:gd name="T33" fmla="*/ 320 h 321"/>
                <a:gd name="T34" fmla="*/ 182 w 268"/>
                <a:gd name="T35" fmla="*/ 321 h 321"/>
                <a:gd name="T36" fmla="*/ 118 w 268"/>
                <a:gd name="T37" fmla="*/ 151 h 321"/>
                <a:gd name="T38" fmla="*/ 134 w 268"/>
                <a:gd name="T39" fmla="*/ 151 h 321"/>
                <a:gd name="T40" fmla="*/ 225 w 268"/>
                <a:gd name="T41" fmla="*/ 247 h 321"/>
                <a:gd name="T42" fmla="*/ 222 w 268"/>
                <a:gd name="T43" fmla="*/ 266 h 321"/>
                <a:gd name="T44" fmla="*/ 246 w 268"/>
                <a:gd name="T45" fmla="*/ 193 h 321"/>
                <a:gd name="T46" fmla="*/ 129 w 268"/>
                <a:gd name="T47" fmla="*/ 76 h 321"/>
                <a:gd name="T48" fmla="*/ 118 w 268"/>
                <a:gd name="T49" fmla="*/ 76 h 321"/>
                <a:gd name="T50" fmla="*/ 108 w 268"/>
                <a:gd name="T51" fmla="*/ 65 h 321"/>
                <a:gd name="T52" fmla="*/ 108 w 268"/>
                <a:gd name="T53" fmla="*/ 38 h 321"/>
                <a:gd name="T54" fmla="*/ 27 w 268"/>
                <a:gd name="T55" fmla="*/ 119 h 321"/>
                <a:gd name="T56" fmla="*/ 108 w 268"/>
                <a:gd name="T57" fmla="*/ 200 h 321"/>
                <a:gd name="T58" fmla="*/ 108 w 268"/>
                <a:gd name="T59" fmla="*/ 161 h 321"/>
                <a:gd name="T60" fmla="*/ 118 w 268"/>
                <a:gd name="T61" fmla="*/ 15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8" h="321">
                  <a:moveTo>
                    <a:pt x="182" y="321"/>
                  </a:moveTo>
                  <a:cubicBezTo>
                    <a:pt x="179" y="321"/>
                    <a:pt x="175" y="320"/>
                    <a:pt x="173" y="316"/>
                  </a:cubicBezTo>
                  <a:cubicBezTo>
                    <a:pt x="170" y="312"/>
                    <a:pt x="171" y="306"/>
                    <a:pt x="176" y="302"/>
                  </a:cubicBezTo>
                  <a:cubicBezTo>
                    <a:pt x="193" y="288"/>
                    <a:pt x="203" y="267"/>
                    <a:pt x="203" y="247"/>
                  </a:cubicBezTo>
                  <a:cubicBezTo>
                    <a:pt x="203" y="210"/>
                    <a:pt x="182" y="172"/>
                    <a:pt x="134" y="172"/>
                  </a:cubicBezTo>
                  <a:cubicBezTo>
                    <a:pt x="129" y="172"/>
                    <a:pt x="129" y="172"/>
                    <a:pt x="129" y="172"/>
                  </a:cubicBezTo>
                  <a:cubicBezTo>
                    <a:pt x="129" y="225"/>
                    <a:pt x="129" y="225"/>
                    <a:pt x="129" y="225"/>
                  </a:cubicBezTo>
                  <a:cubicBezTo>
                    <a:pt x="129" y="230"/>
                    <a:pt x="126" y="234"/>
                    <a:pt x="122" y="235"/>
                  </a:cubicBezTo>
                  <a:cubicBezTo>
                    <a:pt x="118" y="237"/>
                    <a:pt x="114" y="236"/>
                    <a:pt x="111" y="233"/>
                  </a:cubicBezTo>
                  <a:cubicBezTo>
                    <a:pt x="4" y="126"/>
                    <a:pt x="4" y="126"/>
                    <a:pt x="4" y="126"/>
                  </a:cubicBezTo>
                  <a:cubicBezTo>
                    <a:pt x="0" y="122"/>
                    <a:pt x="0" y="115"/>
                    <a:pt x="4" y="111"/>
                  </a:cubicBezTo>
                  <a:cubicBezTo>
                    <a:pt x="111" y="4"/>
                    <a:pt x="111" y="4"/>
                    <a:pt x="111" y="4"/>
                  </a:cubicBezTo>
                  <a:cubicBezTo>
                    <a:pt x="114" y="1"/>
                    <a:pt x="118" y="0"/>
                    <a:pt x="122" y="2"/>
                  </a:cubicBezTo>
                  <a:cubicBezTo>
                    <a:pt x="126" y="4"/>
                    <a:pt x="129" y="8"/>
                    <a:pt x="129" y="12"/>
                  </a:cubicBezTo>
                  <a:cubicBezTo>
                    <a:pt x="129" y="55"/>
                    <a:pt x="129" y="55"/>
                    <a:pt x="129" y="55"/>
                  </a:cubicBezTo>
                  <a:cubicBezTo>
                    <a:pt x="205" y="55"/>
                    <a:pt x="268" y="117"/>
                    <a:pt x="268" y="193"/>
                  </a:cubicBezTo>
                  <a:cubicBezTo>
                    <a:pt x="268" y="249"/>
                    <a:pt x="236" y="299"/>
                    <a:pt x="187" y="320"/>
                  </a:cubicBezTo>
                  <a:cubicBezTo>
                    <a:pt x="185" y="321"/>
                    <a:pt x="184" y="321"/>
                    <a:pt x="182" y="321"/>
                  </a:cubicBezTo>
                  <a:close/>
                  <a:moveTo>
                    <a:pt x="118" y="151"/>
                  </a:moveTo>
                  <a:cubicBezTo>
                    <a:pt x="134" y="151"/>
                    <a:pt x="134" y="151"/>
                    <a:pt x="134" y="151"/>
                  </a:cubicBezTo>
                  <a:cubicBezTo>
                    <a:pt x="187" y="151"/>
                    <a:pt x="225" y="190"/>
                    <a:pt x="225" y="247"/>
                  </a:cubicBezTo>
                  <a:cubicBezTo>
                    <a:pt x="225" y="253"/>
                    <a:pt x="224" y="260"/>
                    <a:pt x="222" y="266"/>
                  </a:cubicBezTo>
                  <a:cubicBezTo>
                    <a:pt x="238" y="246"/>
                    <a:pt x="246" y="221"/>
                    <a:pt x="246" y="193"/>
                  </a:cubicBezTo>
                  <a:cubicBezTo>
                    <a:pt x="246" y="129"/>
                    <a:pt x="194" y="76"/>
                    <a:pt x="129" y="76"/>
                  </a:cubicBezTo>
                  <a:cubicBezTo>
                    <a:pt x="118" y="76"/>
                    <a:pt x="118" y="76"/>
                    <a:pt x="118" y="76"/>
                  </a:cubicBezTo>
                  <a:cubicBezTo>
                    <a:pt x="112" y="76"/>
                    <a:pt x="108" y="71"/>
                    <a:pt x="108" y="65"/>
                  </a:cubicBezTo>
                  <a:cubicBezTo>
                    <a:pt x="108" y="38"/>
                    <a:pt x="108" y="38"/>
                    <a:pt x="108" y="38"/>
                  </a:cubicBezTo>
                  <a:cubicBezTo>
                    <a:pt x="27" y="119"/>
                    <a:pt x="27" y="119"/>
                    <a:pt x="27" y="119"/>
                  </a:cubicBezTo>
                  <a:cubicBezTo>
                    <a:pt x="108" y="200"/>
                    <a:pt x="108" y="200"/>
                    <a:pt x="108" y="200"/>
                  </a:cubicBezTo>
                  <a:cubicBezTo>
                    <a:pt x="108" y="161"/>
                    <a:pt x="108" y="161"/>
                    <a:pt x="108" y="161"/>
                  </a:cubicBezTo>
                  <a:cubicBezTo>
                    <a:pt x="108" y="155"/>
                    <a:pt x="112" y="151"/>
                    <a:pt x="118" y="1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51" name="Freeform 743">
              <a:extLst>
                <a:ext uri="{FF2B5EF4-FFF2-40B4-BE49-F238E27FC236}">
                  <a16:creationId xmlns:a16="http://schemas.microsoft.com/office/drawing/2014/main" id="{D2557FEF-6EAC-4EDF-8C29-99278F4A6595}"/>
                </a:ext>
              </a:extLst>
            </p:cNvPr>
            <p:cNvSpPr>
              <a:spLocks noEditPoints="1"/>
            </p:cNvSpPr>
            <p:nvPr/>
          </p:nvSpPr>
          <p:spPr bwMode="auto">
            <a:xfrm>
              <a:off x="1163" y="270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52" name="Freeform 747">
            <a:extLst>
              <a:ext uri="{FF2B5EF4-FFF2-40B4-BE49-F238E27FC236}">
                <a16:creationId xmlns:a16="http://schemas.microsoft.com/office/drawing/2014/main" id="{1CD7E860-49F2-4132-8D92-9BD5BF210B1A}"/>
              </a:ext>
            </a:extLst>
          </p:cNvPr>
          <p:cNvSpPr>
            <a:spLocks noChangeAspect="1" noEditPoints="1"/>
          </p:cNvSpPr>
          <p:nvPr/>
        </p:nvSpPr>
        <p:spPr bwMode="auto">
          <a:xfrm>
            <a:off x="2249507" y="4917023"/>
            <a:ext cx="369021" cy="370106"/>
          </a:xfrm>
          <a:custGeom>
            <a:avLst/>
            <a:gdLst>
              <a:gd name="T0" fmla="*/ 373 w 512"/>
              <a:gd name="T1" fmla="*/ 288 h 512"/>
              <a:gd name="T2" fmla="*/ 349 w 512"/>
              <a:gd name="T3" fmla="*/ 361 h 512"/>
              <a:gd name="T4" fmla="*/ 352 w 512"/>
              <a:gd name="T5" fmla="*/ 342 h 512"/>
              <a:gd name="T6" fmla="*/ 261 w 512"/>
              <a:gd name="T7" fmla="*/ 246 h 512"/>
              <a:gd name="T8" fmla="*/ 245 w 512"/>
              <a:gd name="T9" fmla="*/ 246 h 512"/>
              <a:gd name="T10" fmla="*/ 235 w 512"/>
              <a:gd name="T11" fmla="*/ 256 h 512"/>
              <a:gd name="T12" fmla="*/ 235 w 512"/>
              <a:gd name="T13" fmla="*/ 295 h 512"/>
              <a:gd name="T14" fmla="*/ 154 w 512"/>
              <a:gd name="T15" fmla="*/ 214 h 512"/>
              <a:gd name="T16" fmla="*/ 235 w 512"/>
              <a:gd name="T17" fmla="*/ 133 h 512"/>
              <a:gd name="T18" fmla="*/ 235 w 512"/>
              <a:gd name="T19" fmla="*/ 160 h 512"/>
              <a:gd name="T20" fmla="*/ 245 w 512"/>
              <a:gd name="T21" fmla="*/ 171 h 512"/>
              <a:gd name="T22" fmla="*/ 256 w 512"/>
              <a:gd name="T23" fmla="*/ 171 h 512"/>
              <a:gd name="T24" fmla="*/ 373 w 512"/>
              <a:gd name="T25" fmla="*/ 28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395 w 512"/>
              <a:gd name="T37" fmla="*/ 288 h 512"/>
              <a:gd name="T38" fmla="*/ 256 w 512"/>
              <a:gd name="T39" fmla="*/ 150 h 512"/>
              <a:gd name="T40" fmla="*/ 256 w 512"/>
              <a:gd name="T41" fmla="*/ 107 h 512"/>
              <a:gd name="T42" fmla="*/ 249 w 512"/>
              <a:gd name="T43" fmla="*/ 97 h 512"/>
              <a:gd name="T44" fmla="*/ 238 w 512"/>
              <a:gd name="T45" fmla="*/ 99 h 512"/>
              <a:gd name="T46" fmla="*/ 131 w 512"/>
              <a:gd name="T47" fmla="*/ 206 h 512"/>
              <a:gd name="T48" fmla="*/ 131 w 512"/>
              <a:gd name="T49" fmla="*/ 221 h 512"/>
              <a:gd name="T50" fmla="*/ 238 w 512"/>
              <a:gd name="T51" fmla="*/ 328 h 512"/>
              <a:gd name="T52" fmla="*/ 249 w 512"/>
              <a:gd name="T53" fmla="*/ 330 h 512"/>
              <a:gd name="T54" fmla="*/ 256 w 512"/>
              <a:gd name="T55" fmla="*/ 320 h 512"/>
              <a:gd name="T56" fmla="*/ 256 w 512"/>
              <a:gd name="T57" fmla="*/ 267 h 512"/>
              <a:gd name="T58" fmla="*/ 261 w 512"/>
              <a:gd name="T59" fmla="*/ 267 h 512"/>
              <a:gd name="T60" fmla="*/ 330 w 512"/>
              <a:gd name="T61" fmla="*/ 342 h 512"/>
              <a:gd name="T62" fmla="*/ 303 w 512"/>
              <a:gd name="T63" fmla="*/ 397 h 512"/>
              <a:gd name="T64" fmla="*/ 300 w 512"/>
              <a:gd name="T65" fmla="*/ 411 h 512"/>
              <a:gd name="T66" fmla="*/ 309 w 512"/>
              <a:gd name="T67" fmla="*/ 416 h 512"/>
              <a:gd name="T68" fmla="*/ 314 w 512"/>
              <a:gd name="T69" fmla="*/ 415 h 512"/>
              <a:gd name="T70" fmla="*/ 395 w 512"/>
              <a:gd name="T71"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73" y="288"/>
                </a:moveTo>
                <a:cubicBezTo>
                  <a:pt x="373" y="316"/>
                  <a:pt x="365" y="341"/>
                  <a:pt x="349" y="361"/>
                </a:cubicBezTo>
                <a:cubicBezTo>
                  <a:pt x="351" y="355"/>
                  <a:pt x="352" y="348"/>
                  <a:pt x="352" y="342"/>
                </a:cubicBezTo>
                <a:cubicBezTo>
                  <a:pt x="352" y="285"/>
                  <a:pt x="314" y="246"/>
                  <a:pt x="261" y="246"/>
                </a:cubicBezTo>
                <a:cubicBezTo>
                  <a:pt x="245" y="246"/>
                  <a:pt x="245" y="246"/>
                  <a:pt x="245" y="246"/>
                </a:cubicBezTo>
                <a:cubicBezTo>
                  <a:pt x="239" y="246"/>
                  <a:pt x="235" y="250"/>
                  <a:pt x="235" y="256"/>
                </a:cubicBezTo>
                <a:cubicBezTo>
                  <a:pt x="235" y="295"/>
                  <a:pt x="235" y="295"/>
                  <a:pt x="235" y="295"/>
                </a:cubicBezTo>
                <a:cubicBezTo>
                  <a:pt x="154" y="214"/>
                  <a:pt x="154" y="214"/>
                  <a:pt x="154" y="214"/>
                </a:cubicBezTo>
                <a:cubicBezTo>
                  <a:pt x="235" y="133"/>
                  <a:pt x="235" y="133"/>
                  <a:pt x="235" y="133"/>
                </a:cubicBezTo>
                <a:cubicBezTo>
                  <a:pt x="235" y="160"/>
                  <a:pt x="235" y="160"/>
                  <a:pt x="235" y="160"/>
                </a:cubicBezTo>
                <a:cubicBezTo>
                  <a:pt x="235" y="166"/>
                  <a:pt x="239" y="171"/>
                  <a:pt x="245" y="171"/>
                </a:cubicBezTo>
                <a:cubicBezTo>
                  <a:pt x="256" y="171"/>
                  <a:pt x="256" y="171"/>
                  <a:pt x="256" y="171"/>
                </a:cubicBezTo>
                <a:cubicBezTo>
                  <a:pt x="321" y="171"/>
                  <a:pt x="373" y="224"/>
                  <a:pt x="373" y="28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5" y="288"/>
                </a:moveTo>
                <a:cubicBezTo>
                  <a:pt x="395" y="212"/>
                  <a:pt x="332" y="150"/>
                  <a:pt x="256" y="150"/>
                </a:cubicBezTo>
                <a:cubicBezTo>
                  <a:pt x="256" y="107"/>
                  <a:pt x="256" y="107"/>
                  <a:pt x="256" y="107"/>
                </a:cubicBezTo>
                <a:cubicBezTo>
                  <a:pt x="256" y="103"/>
                  <a:pt x="253" y="99"/>
                  <a:pt x="249" y="97"/>
                </a:cubicBezTo>
                <a:cubicBezTo>
                  <a:pt x="245" y="95"/>
                  <a:pt x="241" y="96"/>
                  <a:pt x="238" y="99"/>
                </a:cubicBezTo>
                <a:cubicBezTo>
                  <a:pt x="131" y="206"/>
                  <a:pt x="131" y="206"/>
                  <a:pt x="131" y="206"/>
                </a:cubicBezTo>
                <a:cubicBezTo>
                  <a:pt x="127" y="210"/>
                  <a:pt x="127" y="217"/>
                  <a:pt x="131" y="221"/>
                </a:cubicBezTo>
                <a:cubicBezTo>
                  <a:pt x="238" y="328"/>
                  <a:pt x="238" y="328"/>
                  <a:pt x="238" y="328"/>
                </a:cubicBezTo>
                <a:cubicBezTo>
                  <a:pt x="241" y="331"/>
                  <a:pt x="245" y="332"/>
                  <a:pt x="249" y="330"/>
                </a:cubicBezTo>
                <a:cubicBezTo>
                  <a:pt x="253" y="329"/>
                  <a:pt x="256" y="325"/>
                  <a:pt x="256" y="320"/>
                </a:cubicBezTo>
                <a:cubicBezTo>
                  <a:pt x="256" y="267"/>
                  <a:pt x="256" y="267"/>
                  <a:pt x="256" y="267"/>
                </a:cubicBezTo>
                <a:cubicBezTo>
                  <a:pt x="261" y="267"/>
                  <a:pt x="261" y="267"/>
                  <a:pt x="261" y="267"/>
                </a:cubicBezTo>
                <a:cubicBezTo>
                  <a:pt x="309" y="267"/>
                  <a:pt x="330" y="305"/>
                  <a:pt x="330" y="342"/>
                </a:cubicBezTo>
                <a:cubicBezTo>
                  <a:pt x="330" y="362"/>
                  <a:pt x="320" y="383"/>
                  <a:pt x="303" y="397"/>
                </a:cubicBezTo>
                <a:cubicBezTo>
                  <a:pt x="298" y="401"/>
                  <a:pt x="297" y="407"/>
                  <a:pt x="300" y="411"/>
                </a:cubicBezTo>
                <a:cubicBezTo>
                  <a:pt x="302" y="415"/>
                  <a:pt x="306" y="416"/>
                  <a:pt x="309" y="416"/>
                </a:cubicBezTo>
                <a:cubicBezTo>
                  <a:pt x="311" y="416"/>
                  <a:pt x="312" y="416"/>
                  <a:pt x="314" y="415"/>
                </a:cubicBezTo>
                <a:cubicBezTo>
                  <a:pt x="363" y="394"/>
                  <a:pt x="395" y="344"/>
                  <a:pt x="395" y="28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53" name="Group 750">
            <a:extLst>
              <a:ext uri="{FF2B5EF4-FFF2-40B4-BE49-F238E27FC236}">
                <a16:creationId xmlns:a16="http://schemas.microsoft.com/office/drawing/2014/main" id="{EE2AA07F-49AD-429E-913F-F7D15752254A}"/>
              </a:ext>
            </a:extLst>
          </p:cNvPr>
          <p:cNvGrpSpPr>
            <a:grpSpLocks noChangeAspect="1"/>
          </p:cNvGrpSpPr>
          <p:nvPr/>
        </p:nvGrpSpPr>
        <p:grpSpPr bwMode="auto">
          <a:xfrm>
            <a:off x="1804482" y="4917023"/>
            <a:ext cx="370106" cy="369021"/>
            <a:chOff x="388" y="2730"/>
            <a:chExt cx="341" cy="340"/>
          </a:xfrm>
          <a:solidFill>
            <a:schemeClr val="accent2"/>
          </a:solidFill>
        </p:grpSpPr>
        <p:sp>
          <p:nvSpPr>
            <p:cNvPr id="954" name="Freeform 751">
              <a:extLst>
                <a:ext uri="{FF2B5EF4-FFF2-40B4-BE49-F238E27FC236}">
                  <a16:creationId xmlns:a16="http://schemas.microsoft.com/office/drawing/2014/main" id="{7248904E-7D58-4191-9D2B-224BEE3E7B20}"/>
                </a:ext>
              </a:extLst>
            </p:cNvPr>
            <p:cNvSpPr>
              <a:spLocks noEditPoints="1"/>
            </p:cNvSpPr>
            <p:nvPr/>
          </p:nvSpPr>
          <p:spPr bwMode="auto">
            <a:xfrm>
              <a:off x="451" y="2793"/>
              <a:ext cx="214" cy="213"/>
            </a:xfrm>
            <a:custGeom>
              <a:avLst/>
              <a:gdLst>
                <a:gd name="T0" fmla="*/ 236 w 321"/>
                <a:gd name="T1" fmla="*/ 321 h 321"/>
                <a:gd name="T2" fmla="*/ 227 w 321"/>
                <a:gd name="T3" fmla="*/ 316 h 321"/>
                <a:gd name="T4" fmla="*/ 229 w 321"/>
                <a:gd name="T5" fmla="*/ 302 h 321"/>
                <a:gd name="T6" fmla="*/ 257 w 321"/>
                <a:gd name="T7" fmla="*/ 247 h 321"/>
                <a:gd name="T8" fmla="*/ 187 w 321"/>
                <a:gd name="T9" fmla="*/ 172 h 321"/>
                <a:gd name="T10" fmla="*/ 182 w 321"/>
                <a:gd name="T11" fmla="*/ 172 h 321"/>
                <a:gd name="T12" fmla="*/ 182 w 321"/>
                <a:gd name="T13" fmla="*/ 225 h 321"/>
                <a:gd name="T14" fmla="*/ 176 w 321"/>
                <a:gd name="T15" fmla="*/ 235 h 321"/>
                <a:gd name="T16" fmla="*/ 164 w 321"/>
                <a:gd name="T17" fmla="*/ 233 h 321"/>
                <a:gd name="T18" fmla="*/ 57 w 321"/>
                <a:gd name="T19" fmla="*/ 126 h 321"/>
                <a:gd name="T20" fmla="*/ 57 w 321"/>
                <a:gd name="T21" fmla="*/ 111 h 321"/>
                <a:gd name="T22" fmla="*/ 164 w 321"/>
                <a:gd name="T23" fmla="*/ 4 h 321"/>
                <a:gd name="T24" fmla="*/ 176 w 321"/>
                <a:gd name="T25" fmla="*/ 2 h 321"/>
                <a:gd name="T26" fmla="*/ 182 w 321"/>
                <a:gd name="T27" fmla="*/ 12 h 321"/>
                <a:gd name="T28" fmla="*/ 182 w 321"/>
                <a:gd name="T29" fmla="*/ 55 h 321"/>
                <a:gd name="T30" fmla="*/ 321 w 321"/>
                <a:gd name="T31" fmla="*/ 193 h 321"/>
                <a:gd name="T32" fmla="*/ 240 w 321"/>
                <a:gd name="T33" fmla="*/ 320 h 321"/>
                <a:gd name="T34" fmla="*/ 236 w 321"/>
                <a:gd name="T35" fmla="*/ 321 h 321"/>
                <a:gd name="T36" fmla="*/ 172 w 321"/>
                <a:gd name="T37" fmla="*/ 151 h 321"/>
                <a:gd name="T38" fmla="*/ 187 w 321"/>
                <a:gd name="T39" fmla="*/ 151 h 321"/>
                <a:gd name="T40" fmla="*/ 278 w 321"/>
                <a:gd name="T41" fmla="*/ 247 h 321"/>
                <a:gd name="T42" fmla="*/ 276 w 321"/>
                <a:gd name="T43" fmla="*/ 266 h 321"/>
                <a:gd name="T44" fmla="*/ 300 w 321"/>
                <a:gd name="T45" fmla="*/ 193 h 321"/>
                <a:gd name="T46" fmla="*/ 182 w 321"/>
                <a:gd name="T47" fmla="*/ 76 h 321"/>
                <a:gd name="T48" fmla="*/ 172 w 321"/>
                <a:gd name="T49" fmla="*/ 76 h 321"/>
                <a:gd name="T50" fmla="*/ 161 w 321"/>
                <a:gd name="T51" fmla="*/ 65 h 321"/>
                <a:gd name="T52" fmla="*/ 161 w 321"/>
                <a:gd name="T53" fmla="*/ 38 h 321"/>
                <a:gd name="T54" fmla="*/ 80 w 321"/>
                <a:gd name="T55" fmla="*/ 119 h 321"/>
                <a:gd name="T56" fmla="*/ 161 w 321"/>
                <a:gd name="T57" fmla="*/ 200 h 321"/>
                <a:gd name="T58" fmla="*/ 161 w 321"/>
                <a:gd name="T59" fmla="*/ 161 h 321"/>
                <a:gd name="T60" fmla="*/ 172 w 321"/>
                <a:gd name="T61" fmla="*/ 151 h 321"/>
                <a:gd name="T62" fmla="*/ 126 w 321"/>
                <a:gd name="T63" fmla="*/ 233 h 321"/>
                <a:gd name="T64" fmla="*/ 126 w 321"/>
                <a:gd name="T65" fmla="*/ 218 h 321"/>
                <a:gd name="T66" fmla="*/ 27 w 321"/>
                <a:gd name="T67" fmla="*/ 119 h 321"/>
                <a:gd name="T68" fmla="*/ 126 w 321"/>
                <a:gd name="T69" fmla="*/ 20 h 321"/>
                <a:gd name="T70" fmla="*/ 126 w 321"/>
                <a:gd name="T71" fmla="*/ 4 h 321"/>
                <a:gd name="T72" fmla="*/ 111 w 321"/>
                <a:gd name="T73" fmla="*/ 4 h 321"/>
                <a:gd name="T74" fmla="*/ 4 w 321"/>
                <a:gd name="T75" fmla="*/ 111 h 321"/>
                <a:gd name="T76" fmla="*/ 4 w 321"/>
                <a:gd name="T77" fmla="*/ 126 h 321"/>
                <a:gd name="T78" fmla="*/ 111 w 321"/>
                <a:gd name="T79" fmla="*/ 233 h 321"/>
                <a:gd name="T80" fmla="*/ 118 w 321"/>
                <a:gd name="T81" fmla="*/ 236 h 321"/>
                <a:gd name="T82" fmla="*/ 126 w 321"/>
                <a:gd name="T83" fmla="*/ 23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1" h="321">
                  <a:moveTo>
                    <a:pt x="236" y="321"/>
                  </a:moveTo>
                  <a:cubicBezTo>
                    <a:pt x="232" y="321"/>
                    <a:pt x="229" y="320"/>
                    <a:pt x="227" y="316"/>
                  </a:cubicBezTo>
                  <a:cubicBezTo>
                    <a:pt x="224" y="312"/>
                    <a:pt x="225" y="306"/>
                    <a:pt x="229" y="302"/>
                  </a:cubicBezTo>
                  <a:cubicBezTo>
                    <a:pt x="247" y="288"/>
                    <a:pt x="257" y="267"/>
                    <a:pt x="257" y="247"/>
                  </a:cubicBezTo>
                  <a:cubicBezTo>
                    <a:pt x="257" y="210"/>
                    <a:pt x="235" y="172"/>
                    <a:pt x="187" y="172"/>
                  </a:cubicBezTo>
                  <a:cubicBezTo>
                    <a:pt x="182" y="172"/>
                    <a:pt x="182" y="172"/>
                    <a:pt x="182" y="172"/>
                  </a:cubicBezTo>
                  <a:cubicBezTo>
                    <a:pt x="182" y="225"/>
                    <a:pt x="182" y="225"/>
                    <a:pt x="182" y="225"/>
                  </a:cubicBezTo>
                  <a:cubicBezTo>
                    <a:pt x="182" y="230"/>
                    <a:pt x="180" y="234"/>
                    <a:pt x="176" y="235"/>
                  </a:cubicBezTo>
                  <a:cubicBezTo>
                    <a:pt x="172" y="237"/>
                    <a:pt x="167" y="236"/>
                    <a:pt x="164" y="233"/>
                  </a:cubicBezTo>
                  <a:cubicBezTo>
                    <a:pt x="57" y="126"/>
                    <a:pt x="57" y="126"/>
                    <a:pt x="57" y="126"/>
                  </a:cubicBezTo>
                  <a:cubicBezTo>
                    <a:pt x="53" y="122"/>
                    <a:pt x="53" y="115"/>
                    <a:pt x="57" y="111"/>
                  </a:cubicBezTo>
                  <a:cubicBezTo>
                    <a:pt x="164" y="4"/>
                    <a:pt x="164" y="4"/>
                    <a:pt x="164" y="4"/>
                  </a:cubicBezTo>
                  <a:cubicBezTo>
                    <a:pt x="167" y="1"/>
                    <a:pt x="172" y="0"/>
                    <a:pt x="176" y="2"/>
                  </a:cubicBezTo>
                  <a:cubicBezTo>
                    <a:pt x="180" y="4"/>
                    <a:pt x="182" y="8"/>
                    <a:pt x="182" y="12"/>
                  </a:cubicBezTo>
                  <a:cubicBezTo>
                    <a:pt x="182" y="55"/>
                    <a:pt x="182" y="55"/>
                    <a:pt x="182" y="55"/>
                  </a:cubicBezTo>
                  <a:cubicBezTo>
                    <a:pt x="259" y="55"/>
                    <a:pt x="321" y="117"/>
                    <a:pt x="321" y="193"/>
                  </a:cubicBezTo>
                  <a:cubicBezTo>
                    <a:pt x="321" y="249"/>
                    <a:pt x="289" y="299"/>
                    <a:pt x="240" y="320"/>
                  </a:cubicBezTo>
                  <a:cubicBezTo>
                    <a:pt x="239" y="321"/>
                    <a:pt x="237" y="321"/>
                    <a:pt x="236" y="321"/>
                  </a:cubicBezTo>
                  <a:close/>
                  <a:moveTo>
                    <a:pt x="172" y="151"/>
                  </a:moveTo>
                  <a:cubicBezTo>
                    <a:pt x="187" y="151"/>
                    <a:pt x="187" y="151"/>
                    <a:pt x="187" y="151"/>
                  </a:cubicBezTo>
                  <a:cubicBezTo>
                    <a:pt x="241" y="151"/>
                    <a:pt x="278" y="190"/>
                    <a:pt x="278" y="247"/>
                  </a:cubicBezTo>
                  <a:cubicBezTo>
                    <a:pt x="278" y="253"/>
                    <a:pt x="277" y="260"/>
                    <a:pt x="276" y="266"/>
                  </a:cubicBezTo>
                  <a:cubicBezTo>
                    <a:pt x="291" y="246"/>
                    <a:pt x="300" y="221"/>
                    <a:pt x="300" y="193"/>
                  </a:cubicBezTo>
                  <a:cubicBezTo>
                    <a:pt x="300" y="129"/>
                    <a:pt x="247" y="76"/>
                    <a:pt x="182" y="76"/>
                  </a:cubicBezTo>
                  <a:cubicBezTo>
                    <a:pt x="172" y="76"/>
                    <a:pt x="172" y="76"/>
                    <a:pt x="172" y="76"/>
                  </a:cubicBezTo>
                  <a:cubicBezTo>
                    <a:pt x="166" y="76"/>
                    <a:pt x="161" y="71"/>
                    <a:pt x="161" y="65"/>
                  </a:cubicBezTo>
                  <a:cubicBezTo>
                    <a:pt x="161" y="38"/>
                    <a:pt x="161" y="38"/>
                    <a:pt x="161" y="38"/>
                  </a:cubicBezTo>
                  <a:cubicBezTo>
                    <a:pt x="80" y="119"/>
                    <a:pt x="80" y="119"/>
                    <a:pt x="80" y="119"/>
                  </a:cubicBezTo>
                  <a:cubicBezTo>
                    <a:pt x="161" y="200"/>
                    <a:pt x="161" y="200"/>
                    <a:pt x="161" y="200"/>
                  </a:cubicBezTo>
                  <a:cubicBezTo>
                    <a:pt x="161" y="161"/>
                    <a:pt x="161" y="161"/>
                    <a:pt x="161" y="161"/>
                  </a:cubicBezTo>
                  <a:cubicBezTo>
                    <a:pt x="161" y="155"/>
                    <a:pt x="166" y="151"/>
                    <a:pt x="172" y="151"/>
                  </a:cubicBezTo>
                  <a:close/>
                  <a:moveTo>
                    <a:pt x="126" y="233"/>
                  </a:moveTo>
                  <a:cubicBezTo>
                    <a:pt x="130" y="229"/>
                    <a:pt x="130" y="222"/>
                    <a:pt x="126" y="218"/>
                  </a:cubicBezTo>
                  <a:cubicBezTo>
                    <a:pt x="27" y="119"/>
                    <a:pt x="27" y="119"/>
                    <a:pt x="27" y="119"/>
                  </a:cubicBezTo>
                  <a:cubicBezTo>
                    <a:pt x="126" y="20"/>
                    <a:pt x="126" y="20"/>
                    <a:pt x="126" y="20"/>
                  </a:cubicBezTo>
                  <a:cubicBezTo>
                    <a:pt x="130" y="15"/>
                    <a:pt x="130" y="9"/>
                    <a:pt x="126" y="4"/>
                  </a:cubicBezTo>
                  <a:cubicBezTo>
                    <a:pt x="122" y="0"/>
                    <a:pt x="115" y="0"/>
                    <a:pt x="111" y="4"/>
                  </a:cubicBezTo>
                  <a:cubicBezTo>
                    <a:pt x="4" y="111"/>
                    <a:pt x="4" y="111"/>
                    <a:pt x="4" y="111"/>
                  </a:cubicBezTo>
                  <a:cubicBezTo>
                    <a:pt x="0" y="115"/>
                    <a:pt x="0" y="122"/>
                    <a:pt x="4" y="126"/>
                  </a:cubicBezTo>
                  <a:cubicBezTo>
                    <a:pt x="111" y="233"/>
                    <a:pt x="111" y="233"/>
                    <a:pt x="111" y="233"/>
                  </a:cubicBezTo>
                  <a:cubicBezTo>
                    <a:pt x="113" y="235"/>
                    <a:pt x="116" y="236"/>
                    <a:pt x="118" y="236"/>
                  </a:cubicBezTo>
                  <a:cubicBezTo>
                    <a:pt x="121" y="236"/>
                    <a:pt x="124" y="235"/>
                    <a:pt x="126" y="2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55" name="Freeform 752">
              <a:extLst>
                <a:ext uri="{FF2B5EF4-FFF2-40B4-BE49-F238E27FC236}">
                  <a16:creationId xmlns:a16="http://schemas.microsoft.com/office/drawing/2014/main" id="{208B1AEF-DD9A-4E06-8920-75F837B5CC74}"/>
                </a:ext>
              </a:extLst>
            </p:cNvPr>
            <p:cNvSpPr>
              <a:spLocks noEditPoints="1"/>
            </p:cNvSpPr>
            <p:nvPr/>
          </p:nvSpPr>
          <p:spPr bwMode="auto">
            <a:xfrm>
              <a:off x="388" y="2730"/>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56" name="Freeform 756">
            <a:extLst>
              <a:ext uri="{FF2B5EF4-FFF2-40B4-BE49-F238E27FC236}">
                <a16:creationId xmlns:a16="http://schemas.microsoft.com/office/drawing/2014/main" id="{2197D2A5-9006-4B52-8B0B-E5CE418D4B32}"/>
              </a:ext>
            </a:extLst>
          </p:cNvPr>
          <p:cNvSpPr>
            <a:spLocks noChangeAspect="1" noEditPoints="1"/>
          </p:cNvSpPr>
          <p:nvPr/>
        </p:nvSpPr>
        <p:spPr bwMode="auto">
          <a:xfrm>
            <a:off x="1360542" y="4917023"/>
            <a:ext cx="369021" cy="369021"/>
          </a:xfrm>
          <a:custGeom>
            <a:avLst/>
            <a:gdLst>
              <a:gd name="T0" fmla="*/ 395 w 512"/>
              <a:gd name="T1" fmla="*/ 288 h 512"/>
              <a:gd name="T2" fmla="*/ 371 w 512"/>
              <a:gd name="T3" fmla="*/ 361 h 512"/>
              <a:gd name="T4" fmla="*/ 373 w 512"/>
              <a:gd name="T5" fmla="*/ 342 h 512"/>
              <a:gd name="T6" fmla="*/ 282 w 512"/>
              <a:gd name="T7" fmla="*/ 246 h 512"/>
              <a:gd name="T8" fmla="*/ 267 w 512"/>
              <a:gd name="T9" fmla="*/ 246 h 512"/>
              <a:gd name="T10" fmla="*/ 256 w 512"/>
              <a:gd name="T11" fmla="*/ 256 h 512"/>
              <a:gd name="T12" fmla="*/ 256 w 512"/>
              <a:gd name="T13" fmla="*/ 295 h 512"/>
              <a:gd name="T14" fmla="*/ 175 w 512"/>
              <a:gd name="T15" fmla="*/ 214 h 512"/>
              <a:gd name="T16" fmla="*/ 256 w 512"/>
              <a:gd name="T17" fmla="*/ 133 h 512"/>
              <a:gd name="T18" fmla="*/ 256 w 512"/>
              <a:gd name="T19" fmla="*/ 160 h 512"/>
              <a:gd name="T20" fmla="*/ 267 w 512"/>
              <a:gd name="T21" fmla="*/ 171 h 512"/>
              <a:gd name="T22" fmla="*/ 277 w 512"/>
              <a:gd name="T23" fmla="*/ 171 h 512"/>
              <a:gd name="T24" fmla="*/ 395 w 512"/>
              <a:gd name="T25" fmla="*/ 28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221 w 512"/>
              <a:gd name="T37" fmla="*/ 313 h 512"/>
              <a:gd name="T38" fmla="*/ 122 w 512"/>
              <a:gd name="T39" fmla="*/ 214 h 512"/>
              <a:gd name="T40" fmla="*/ 221 w 512"/>
              <a:gd name="T41" fmla="*/ 115 h 512"/>
              <a:gd name="T42" fmla="*/ 221 w 512"/>
              <a:gd name="T43" fmla="*/ 99 h 512"/>
              <a:gd name="T44" fmla="*/ 206 w 512"/>
              <a:gd name="T45" fmla="*/ 99 h 512"/>
              <a:gd name="T46" fmla="*/ 99 w 512"/>
              <a:gd name="T47" fmla="*/ 206 h 512"/>
              <a:gd name="T48" fmla="*/ 99 w 512"/>
              <a:gd name="T49" fmla="*/ 221 h 512"/>
              <a:gd name="T50" fmla="*/ 206 w 512"/>
              <a:gd name="T51" fmla="*/ 328 h 512"/>
              <a:gd name="T52" fmla="*/ 213 w 512"/>
              <a:gd name="T53" fmla="*/ 331 h 512"/>
              <a:gd name="T54" fmla="*/ 221 w 512"/>
              <a:gd name="T55" fmla="*/ 328 h 512"/>
              <a:gd name="T56" fmla="*/ 221 w 512"/>
              <a:gd name="T57" fmla="*/ 313 h 512"/>
              <a:gd name="T58" fmla="*/ 416 w 512"/>
              <a:gd name="T59" fmla="*/ 288 h 512"/>
              <a:gd name="T60" fmla="*/ 277 w 512"/>
              <a:gd name="T61" fmla="*/ 150 h 512"/>
              <a:gd name="T62" fmla="*/ 277 w 512"/>
              <a:gd name="T63" fmla="*/ 107 h 512"/>
              <a:gd name="T64" fmla="*/ 271 w 512"/>
              <a:gd name="T65" fmla="*/ 97 h 512"/>
              <a:gd name="T66" fmla="*/ 259 w 512"/>
              <a:gd name="T67" fmla="*/ 99 h 512"/>
              <a:gd name="T68" fmla="*/ 152 w 512"/>
              <a:gd name="T69" fmla="*/ 206 h 512"/>
              <a:gd name="T70" fmla="*/ 152 w 512"/>
              <a:gd name="T71" fmla="*/ 221 h 512"/>
              <a:gd name="T72" fmla="*/ 259 w 512"/>
              <a:gd name="T73" fmla="*/ 328 h 512"/>
              <a:gd name="T74" fmla="*/ 271 w 512"/>
              <a:gd name="T75" fmla="*/ 330 h 512"/>
              <a:gd name="T76" fmla="*/ 277 w 512"/>
              <a:gd name="T77" fmla="*/ 320 h 512"/>
              <a:gd name="T78" fmla="*/ 277 w 512"/>
              <a:gd name="T79" fmla="*/ 267 h 512"/>
              <a:gd name="T80" fmla="*/ 282 w 512"/>
              <a:gd name="T81" fmla="*/ 267 h 512"/>
              <a:gd name="T82" fmla="*/ 352 w 512"/>
              <a:gd name="T83" fmla="*/ 342 h 512"/>
              <a:gd name="T84" fmla="*/ 324 w 512"/>
              <a:gd name="T85" fmla="*/ 397 h 512"/>
              <a:gd name="T86" fmla="*/ 322 w 512"/>
              <a:gd name="T87" fmla="*/ 411 h 512"/>
              <a:gd name="T88" fmla="*/ 331 w 512"/>
              <a:gd name="T89" fmla="*/ 416 h 512"/>
              <a:gd name="T90" fmla="*/ 335 w 512"/>
              <a:gd name="T91" fmla="*/ 415 h 512"/>
              <a:gd name="T92" fmla="*/ 416 w 512"/>
              <a:gd name="T9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395" y="288"/>
                </a:moveTo>
                <a:cubicBezTo>
                  <a:pt x="395" y="316"/>
                  <a:pt x="386" y="341"/>
                  <a:pt x="371" y="361"/>
                </a:cubicBezTo>
                <a:cubicBezTo>
                  <a:pt x="372" y="355"/>
                  <a:pt x="373" y="348"/>
                  <a:pt x="373" y="342"/>
                </a:cubicBezTo>
                <a:cubicBezTo>
                  <a:pt x="373" y="285"/>
                  <a:pt x="336" y="246"/>
                  <a:pt x="282" y="246"/>
                </a:cubicBezTo>
                <a:cubicBezTo>
                  <a:pt x="267" y="246"/>
                  <a:pt x="267" y="246"/>
                  <a:pt x="267" y="246"/>
                </a:cubicBezTo>
                <a:cubicBezTo>
                  <a:pt x="261" y="246"/>
                  <a:pt x="256" y="250"/>
                  <a:pt x="256" y="256"/>
                </a:cubicBezTo>
                <a:cubicBezTo>
                  <a:pt x="256" y="295"/>
                  <a:pt x="256" y="295"/>
                  <a:pt x="256" y="295"/>
                </a:cubicBezTo>
                <a:cubicBezTo>
                  <a:pt x="175" y="214"/>
                  <a:pt x="175" y="214"/>
                  <a:pt x="175" y="214"/>
                </a:cubicBezTo>
                <a:cubicBezTo>
                  <a:pt x="256" y="133"/>
                  <a:pt x="256" y="133"/>
                  <a:pt x="256" y="133"/>
                </a:cubicBezTo>
                <a:cubicBezTo>
                  <a:pt x="256" y="160"/>
                  <a:pt x="256" y="160"/>
                  <a:pt x="256" y="160"/>
                </a:cubicBezTo>
                <a:cubicBezTo>
                  <a:pt x="256" y="166"/>
                  <a:pt x="261" y="171"/>
                  <a:pt x="267" y="171"/>
                </a:cubicBezTo>
                <a:cubicBezTo>
                  <a:pt x="277" y="171"/>
                  <a:pt x="277" y="171"/>
                  <a:pt x="277" y="171"/>
                </a:cubicBezTo>
                <a:cubicBezTo>
                  <a:pt x="342" y="171"/>
                  <a:pt x="395" y="224"/>
                  <a:pt x="395" y="28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21" y="313"/>
                </a:moveTo>
                <a:cubicBezTo>
                  <a:pt x="122" y="214"/>
                  <a:pt x="122" y="214"/>
                  <a:pt x="122" y="214"/>
                </a:cubicBezTo>
                <a:cubicBezTo>
                  <a:pt x="221" y="115"/>
                  <a:pt x="221" y="115"/>
                  <a:pt x="221" y="115"/>
                </a:cubicBezTo>
                <a:cubicBezTo>
                  <a:pt x="225" y="110"/>
                  <a:pt x="225" y="104"/>
                  <a:pt x="221" y="99"/>
                </a:cubicBezTo>
                <a:cubicBezTo>
                  <a:pt x="217" y="95"/>
                  <a:pt x="210" y="95"/>
                  <a:pt x="206" y="99"/>
                </a:cubicBezTo>
                <a:cubicBezTo>
                  <a:pt x="99" y="206"/>
                  <a:pt x="99" y="206"/>
                  <a:pt x="99" y="206"/>
                </a:cubicBezTo>
                <a:cubicBezTo>
                  <a:pt x="95" y="210"/>
                  <a:pt x="95" y="217"/>
                  <a:pt x="99" y="221"/>
                </a:cubicBezTo>
                <a:cubicBezTo>
                  <a:pt x="206" y="328"/>
                  <a:pt x="206" y="328"/>
                  <a:pt x="206" y="328"/>
                </a:cubicBezTo>
                <a:cubicBezTo>
                  <a:pt x="208" y="330"/>
                  <a:pt x="211" y="331"/>
                  <a:pt x="213" y="331"/>
                </a:cubicBezTo>
                <a:cubicBezTo>
                  <a:pt x="216" y="331"/>
                  <a:pt x="219" y="330"/>
                  <a:pt x="221" y="328"/>
                </a:cubicBezTo>
                <a:cubicBezTo>
                  <a:pt x="225" y="324"/>
                  <a:pt x="225" y="317"/>
                  <a:pt x="221" y="313"/>
                </a:cubicBezTo>
                <a:close/>
                <a:moveTo>
                  <a:pt x="416" y="288"/>
                </a:moveTo>
                <a:cubicBezTo>
                  <a:pt x="416" y="212"/>
                  <a:pt x="354" y="150"/>
                  <a:pt x="277" y="150"/>
                </a:cubicBezTo>
                <a:cubicBezTo>
                  <a:pt x="277" y="107"/>
                  <a:pt x="277" y="107"/>
                  <a:pt x="277" y="107"/>
                </a:cubicBezTo>
                <a:cubicBezTo>
                  <a:pt x="277" y="103"/>
                  <a:pt x="275" y="99"/>
                  <a:pt x="271" y="97"/>
                </a:cubicBezTo>
                <a:cubicBezTo>
                  <a:pt x="267" y="95"/>
                  <a:pt x="262" y="96"/>
                  <a:pt x="259" y="99"/>
                </a:cubicBezTo>
                <a:cubicBezTo>
                  <a:pt x="152" y="206"/>
                  <a:pt x="152" y="206"/>
                  <a:pt x="152" y="206"/>
                </a:cubicBezTo>
                <a:cubicBezTo>
                  <a:pt x="148" y="210"/>
                  <a:pt x="148" y="217"/>
                  <a:pt x="152" y="221"/>
                </a:cubicBezTo>
                <a:cubicBezTo>
                  <a:pt x="259" y="328"/>
                  <a:pt x="259" y="328"/>
                  <a:pt x="259" y="328"/>
                </a:cubicBezTo>
                <a:cubicBezTo>
                  <a:pt x="262" y="331"/>
                  <a:pt x="267" y="332"/>
                  <a:pt x="271" y="330"/>
                </a:cubicBezTo>
                <a:cubicBezTo>
                  <a:pt x="275" y="329"/>
                  <a:pt x="277" y="325"/>
                  <a:pt x="277" y="320"/>
                </a:cubicBezTo>
                <a:cubicBezTo>
                  <a:pt x="277" y="267"/>
                  <a:pt x="277" y="267"/>
                  <a:pt x="277" y="267"/>
                </a:cubicBezTo>
                <a:cubicBezTo>
                  <a:pt x="282" y="267"/>
                  <a:pt x="282" y="267"/>
                  <a:pt x="282" y="267"/>
                </a:cubicBezTo>
                <a:cubicBezTo>
                  <a:pt x="330" y="267"/>
                  <a:pt x="352" y="305"/>
                  <a:pt x="352" y="342"/>
                </a:cubicBezTo>
                <a:cubicBezTo>
                  <a:pt x="352" y="362"/>
                  <a:pt x="342" y="383"/>
                  <a:pt x="324" y="397"/>
                </a:cubicBezTo>
                <a:cubicBezTo>
                  <a:pt x="320" y="401"/>
                  <a:pt x="319" y="407"/>
                  <a:pt x="322" y="411"/>
                </a:cubicBezTo>
                <a:cubicBezTo>
                  <a:pt x="324" y="415"/>
                  <a:pt x="327" y="416"/>
                  <a:pt x="331" y="416"/>
                </a:cubicBezTo>
                <a:cubicBezTo>
                  <a:pt x="332" y="416"/>
                  <a:pt x="334" y="416"/>
                  <a:pt x="335" y="415"/>
                </a:cubicBezTo>
                <a:cubicBezTo>
                  <a:pt x="384" y="394"/>
                  <a:pt x="416" y="344"/>
                  <a:pt x="416" y="28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57" name="Freeform 183">
            <a:extLst>
              <a:ext uri="{FF2B5EF4-FFF2-40B4-BE49-F238E27FC236}">
                <a16:creationId xmlns:a16="http://schemas.microsoft.com/office/drawing/2014/main" id="{20F6F6AF-F47F-40EF-8651-359FB8FE7661}"/>
              </a:ext>
            </a:extLst>
          </p:cNvPr>
          <p:cNvSpPr>
            <a:spLocks noChangeAspect="1" noEditPoints="1"/>
          </p:cNvSpPr>
          <p:nvPr/>
        </p:nvSpPr>
        <p:spPr bwMode="auto">
          <a:xfrm>
            <a:off x="3137387" y="491702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74 h 512"/>
              <a:gd name="T12" fmla="*/ 347 w 512"/>
              <a:gd name="T13" fmla="*/ 382 h 512"/>
              <a:gd name="T14" fmla="*/ 341 w 512"/>
              <a:gd name="T15" fmla="*/ 384 h 512"/>
              <a:gd name="T16" fmla="*/ 337 w 512"/>
              <a:gd name="T17" fmla="*/ 383 h 512"/>
              <a:gd name="T18" fmla="*/ 252 w 512"/>
              <a:gd name="T19" fmla="*/ 348 h 512"/>
              <a:gd name="T20" fmla="*/ 222 w 512"/>
              <a:gd name="T21" fmla="*/ 390 h 512"/>
              <a:gd name="T22" fmla="*/ 222 w 512"/>
              <a:gd name="T23" fmla="*/ 390 h 512"/>
              <a:gd name="T24" fmla="*/ 213 w 512"/>
              <a:gd name="T25" fmla="*/ 394 h 512"/>
              <a:gd name="T26" fmla="*/ 212 w 512"/>
              <a:gd name="T27" fmla="*/ 394 h 512"/>
              <a:gd name="T28" fmla="*/ 203 w 512"/>
              <a:gd name="T29" fmla="*/ 387 h 512"/>
              <a:gd name="T30" fmla="*/ 184 w 512"/>
              <a:gd name="T31" fmla="*/ 320 h 512"/>
              <a:gd name="T32" fmla="*/ 102 w 512"/>
              <a:gd name="T33" fmla="*/ 287 h 512"/>
              <a:gd name="T34" fmla="*/ 96 w 512"/>
              <a:gd name="T35" fmla="*/ 278 h 512"/>
              <a:gd name="T36" fmla="*/ 101 w 512"/>
              <a:gd name="T37" fmla="*/ 268 h 512"/>
              <a:gd name="T38" fmla="*/ 357 w 512"/>
              <a:gd name="T39" fmla="*/ 118 h 512"/>
              <a:gd name="T40" fmla="*/ 368 w 512"/>
              <a:gd name="T41" fmla="*/ 119 h 512"/>
              <a:gd name="T42" fmla="*/ 373 w 512"/>
              <a:gd name="T43" fmla="*/ 129 h 512"/>
              <a:gd name="T44" fmla="*/ 352 w 512"/>
              <a:gd name="T45" fmla="*/ 374 h 512"/>
              <a:gd name="T46" fmla="*/ 304 w 512"/>
              <a:gd name="T47" fmla="*/ 174 h 512"/>
              <a:gd name="T48" fmla="*/ 187 w 512"/>
              <a:gd name="T49" fmla="*/ 298 h 512"/>
              <a:gd name="T50" fmla="*/ 130 w 512"/>
              <a:gd name="T51" fmla="*/ 275 h 512"/>
              <a:gd name="T52" fmla="*/ 304 w 512"/>
              <a:gd name="T53" fmla="*/ 174 h 512"/>
              <a:gd name="T54" fmla="*/ 294 w 512"/>
              <a:gd name="T55" fmla="*/ 216 h 512"/>
              <a:gd name="T56" fmla="*/ 225 w 512"/>
              <a:gd name="T57" fmla="*/ 325 h 512"/>
              <a:gd name="T58" fmla="*/ 224 w 512"/>
              <a:gd name="T59" fmla="*/ 326 h 512"/>
              <a:gd name="T60" fmla="*/ 215 w 512"/>
              <a:gd name="T61" fmla="*/ 351 h 512"/>
              <a:gd name="T62" fmla="*/ 204 w 512"/>
              <a:gd name="T63" fmla="*/ 312 h 512"/>
              <a:gd name="T64" fmla="*/ 294 w 512"/>
              <a:gd name="T65" fmla="*/ 216 h 512"/>
              <a:gd name="T66" fmla="*/ 251 w 512"/>
              <a:gd name="T67" fmla="*/ 325 h 512"/>
              <a:gd name="T68" fmla="*/ 348 w 512"/>
              <a:gd name="T69" fmla="*/ 170 h 512"/>
              <a:gd name="T70" fmla="*/ 332 w 512"/>
              <a:gd name="T71" fmla="*/ 358 h 512"/>
              <a:gd name="T72" fmla="*/ 251 w 512"/>
              <a:gd name="T73" fmla="*/ 32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74"/>
                </a:moveTo>
                <a:cubicBezTo>
                  <a:pt x="351" y="377"/>
                  <a:pt x="349" y="380"/>
                  <a:pt x="347" y="382"/>
                </a:cubicBezTo>
                <a:cubicBezTo>
                  <a:pt x="345" y="383"/>
                  <a:pt x="343" y="384"/>
                  <a:pt x="341" y="384"/>
                </a:cubicBezTo>
                <a:cubicBezTo>
                  <a:pt x="340" y="384"/>
                  <a:pt x="338" y="383"/>
                  <a:pt x="337" y="383"/>
                </a:cubicBezTo>
                <a:cubicBezTo>
                  <a:pt x="252" y="348"/>
                  <a:pt x="252" y="348"/>
                  <a:pt x="252" y="348"/>
                </a:cubicBezTo>
                <a:cubicBezTo>
                  <a:pt x="222" y="390"/>
                  <a:pt x="222" y="390"/>
                  <a:pt x="222" y="390"/>
                </a:cubicBezTo>
                <a:cubicBezTo>
                  <a:pt x="222" y="390"/>
                  <a:pt x="222" y="390"/>
                  <a:pt x="222" y="390"/>
                </a:cubicBezTo>
                <a:cubicBezTo>
                  <a:pt x="220" y="393"/>
                  <a:pt x="216" y="394"/>
                  <a:pt x="213" y="394"/>
                </a:cubicBezTo>
                <a:cubicBezTo>
                  <a:pt x="213" y="394"/>
                  <a:pt x="213" y="394"/>
                  <a:pt x="212" y="394"/>
                </a:cubicBezTo>
                <a:cubicBezTo>
                  <a:pt x="208" y="394"/>
                  <a:pt x="204" y="391"/>
                  <a:pt x="203" y="387"/>
                </a:cubicBezTo>
                <a:cubicBezTo>
                  <a:pt x="184" y="320"/>
                  <a:pt x="184" y="320"/>
                  <a:pt x="184" y="320"/>
                </a:cubicBezTo>
                <a:cubicBezTo>
                  <a:pt x="102" y="287"/>
                  <a:pt x="102" y="287"/>
                  <a:pt x="102" y="287"/>
                </a:cubicBezTo>
                <a:cubicBezTo>
                  <a:pt x="99" y="285"/>
                  <a:pt x="96" y="282"/>
                  <a:pt x="96" y="278"/>
                </a:cubicBezTo>
                <a:cubicBezTo>
                  <a:pt x="95" y="274"/>
                  <a:pt x="97" y="270"/>
                  <a:pt x="101" y="268"/>
                </a:cubicBezTo>
                <a:cubicBezTo>
                  <a:pt x="357" y="118"/>
                  <a:pt x="357" y="118"/>
                  <a:pt x="357" y="118"/>
                </a:cubicBezTo>
                <a:cubicBezTo>
                  <a:pt x="360" y="116"/>
                  <a:pt x="365" y="117"/>
                  <a:pt x="368" y="119"/>
                </a:cubicBezTo>
                <a:cubicBezTo>
                  <a:pt x="371" y="121"/>
                  <a:pt x="373" y="125"/>
                  <a:pt x="373" y="129"/>
                </a:cubicBezTo>
                <a:lnTo>
                  <a:pt x="352" y="374"/>
                </a:lnTo>
                <a:close/>
                <a:moveTo>
                  <a:pt x="304" y="174"/>
                </a:moveTo>
                <a:cubicBezTo>
                  <a:pt x="187" y="298"/>
                  <a:pt x="187" y="298"/>
                  <a:pt x="187" y="298"/>
                </a:cubicBezTo>
                <a:cubicBezTo>
                  <a:pt x="130" y="275"/>
                  <a:pt x="130" y="275"/>
                  <a:pt x="130" y="275"/>
                </a:cubicBezTo>
                <a:lnTo>
                  <a:pt x="304" y="174"/>
                </a:lnTo>
                <a:close/>
                <a:moveTo>
                  <a:pt x="294" y="216"/>
                </a:moveTo>
                <a:cubicBezTo>
                  <a:pt x="225" y="325"/>
                  <a:pt x="225" y="325"/>
                  <a:pt x="225" y="325"/>
                </a:cubicBezTo>
                <a:cubicBezTo>
                  <a:pt x="225" y="325"/>
                  <a:pt x="225" y="326"/>
                  <a:pt x="224" y="326"/>
                </a:cubicBezTo>
                <a:cubicBezTo>
                  <a:pt x="215" y="351"/>
                  <a:pt x="215" y="351"/>
                  <a:pt x="215" y="351"/>
                </a:cubicBezTo>
                <a:cubicBezTo>
                  <a:pt x="204" y="312"/>
                  <a:pt x="204" y="312"/>
                  <a:pt x="204" y="312"/>
                </a:cubicBezTo>
                <a:lnTo>
                  <a:pt x="294" y="216"/>
                </a:lnTo>
                <a:close/>
                <a:moveTo>
                  <a:pt x="251" y="325"/>
                </a:moveTo>
                <a:cubicBezTo>
                  <a:pt x="348" y="170"/>
                  <a:pt x="348" y="170"/>
                  <a:pt x="348" y="170"/>
                </a:cubicBezTo>
                <a:cubicBezTo>
                  <a:pt x="332" y="358"/>
                  <a:pt x="332" y="358"/>
                  <a:pt x="332" y="358"/>
                </a:cubicBezTo>
                <a:lnTo>
                  <a:pt x="251" y="3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58" name="Group 186">
            <a:extLst>
              <a:ext uri="{FF2B5EF4-FFF2-40B4-BE49-F238E27FC236}">
                <a16:creationId xmlns:a16="http://schemas.microsoft.com/office/drawing/2014/main" id="{625F2D4B-BED7-4525-A90D-3891D20DDE53}"/>
              </a:ext>
            </a:extLst>
          </p:cNvPr>
          <p:cNvGrpSpPr>
            <a:grpSpLocks noChangeAspect="1"/>
          </p:cNvGrpSpPr>
          <p:nvPr/>
        </p:nvGrpSpPr>
        <p:grpSpPr bwMode="auto">
          <a:xfrm>
            <a:off x="3581327" y="4917023"/>
            <a:ext cx="369021" cy="369021"/>
            <a:chOff x="6560" y="394"/>
            <a:chExt cx="340" cy="340"/>
          </a:xfrm>
          <a:solidFill>
            <a:schemeClr val="accent2"/>
          </a:solidFill>
        </p:grpSpPr>
        <p:sp>
          <p:nvSpPr>
            <p:cNvPr id="959" name="Freeform 187">
              <a:extLst>
                <a:ext uri="{FF2B5EF4-FFF2-40B4-BE49-F238E27FC236}">
                  <a16:creationId xmlns:a16="http://schemas.microsoft.com/office/drawing/2014/main" id="{FA0B3B9B-C130-46E3-8CF4-65A8D06DFAA5}"/>
                </a:ext>
              </a:extLst>
            </p:cNvPr>
            <p:cNvSpPr>
              <a:spLocks noEditPoints="1"/>
            </p:cNvSpPr>
            <p:nvPr/>
          </p:nvSpPr>
          <p:spPr bwMode="auto">
            <a:xfrm>
              <a:off x="6560"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0" name="Freeform 188">
              <a:extLst>
                <a:ext uri="{FF2B5EF4-FFF2-40B4-BE49-F238E27FC236}">
                  <a16:creationId xmlns:a16="http://schemas.microsoft.com/office/drawing/2014/main" id="{181C04BF-4083-458E-B8D4-C0CB70C085D0}"/>
                </a:ext>
              </a:extLst>
            </p:cNvPr>
            <p:cNvSpPr>
              <a:spLocks noEditPoints="1"/>
            </p:cNvSpPr>
            <p:nvPr/>
          </p:nvSpPr>
          <p:spPr bwMode="auto">
            <a:xfrm>
              <a:off x="6623" y="471"/>
              <a:ext cx="185" cy="185"/>
            </a:xfrm>
            <a:custGeom>
              <a:avLst/>
              <a:gdLst>
                <a:gd name="T0" fmla="*/ 273 w 278"/>
                <a:gd name="T1" fmla="*/ 3 h 278"/>
                <a:gd name="T2" fmla="*/ 262 w 278"/>
                <a:gd name="T3" fmla="*/ 2 h 278"/>
                <a:gd name="T4" fmla="*/ 6 w 278"/>
                <a:gd name="T5" fmla="*/ 152 h 278"/>
                <a:gd name="T6" fmla="*/ 1 w 278"/>
                <a:gd name="T7" fmla="*/ 162 h 278"/>
                <a:gd name="T8" fmla="*/ 7 w 278"/>
                <a:gd name="T9" fmla="*/ 171 h 278"/>
                <a:gd name="T10" fmla="*/ 89 w 278"/>
                <a:gd name="T11" fmla="*/ 204 h 278"/>
                <a:gd name="T12" fmla="*/ 108 w 278"/>
                <a:gd name="T13" fmla="*/ 271 h 278"/>
                <a:gd name="T14" fmla="*/ 117 w 278"/>
                <a:gd name="T15" fmla="*/ 278 h 278"/>
                <a:gd name="T16" fmla="*/ 118 w 278"/>
                <a:gd name="T17" fmla="*/ 278 h 278"/>
                <a:gd name="T18" fmla="*/ 127 w 278"/>
                <a:gd name="T19" fmla="*/ 274 h 278"/>
                <a:gd name="T20" fmla="*/ 127 w 278"/>
                <a:gd name="T21" fmla="*/ 274 h 278"/>
                <a:gd name="T22" fmla="*/ 157 w 278"/>
                <a:gd name="T23" fmla="*/ 232 h 278"/>
                <a:gd name="T24" fmla="*/ 242 w 278"/>
                <a:gd name="T25" fmla="*/ 267 h 278"/>
                <a:gd name="T26" fmla="*/ 246 w 278"/>
                <a:gd name="T27" fmla="*/ 268 h 278"/>
                <a:gd name="T28" fmla="*/ 252 w 278"/>
                <a:gd name="T29" fmla="*/ 266 h 278"/>
                <a:gd name="T30" fmla="*/ 257 w 278"/>
                <a:gd name="T31" fmla="*/ 258 h 278"/>
                <a:gd name="T32" fmla="*/ 278 w 278"/>
                <a:gd name="T33" fmla="*/ 13 h 278"/>
                <a:gd name="T34" fmla="*/ 273 w 278"/>
                <a:gd name="T35" fmla="*/ 3 h 278"/>
                <a:gd name="T36" fmla="*/ 92 w 278"/>
                <a:gd name="T37" fmla="*/ 182 h 278"/>
                <a:gd name="T38" fmla="*/ 35 w 278"/>
                <a:gd name="T39" fmla="*/ 159 h 278"/>
                <a:gd name="T40" fmla="*/ 209 w 278"/>
                <a:gd name="T41" fmla="*/ 58 h 278"/>
                <a:gd name="T42" fmla="*/ 92 w 278"/>
                <a:gd name="T43" fmla="*/ 182 h 278"/>
                <a:gd name="T44" fmla="*/ 199 w 278"/>
                <a:gd name="T45" fmla="*/ 100 h 278"/>
                <a:gd name="T46" fmla="*/ 130 w 278"/>
                <a:gd name="T47" fmla="*/ 209 h 278"/>
                <a:gd name="T48" fmla="*/ 129 w 278"/>
                <a:gd name="T49" fmla="*/ 210 h 278"/>
                <a:gd name="T50" fmla="*/ 120 w 278"/>
                <a:gd name="T51" fmla="*/ 235 h 278"/>
                <a:gd name="T52" fmla="*/ 109 w 278"/>
                <a:gd name="T53" fmla="*/ 196 h 278"/>
                <a:gd name="T54" fmla="*/ 199 w 278"/>
                <a:gd name="T55" fmla="*/ 100 h 278"/>
                <a:gd name="T56" fmla="*/ 237 w 278"/>
                <a:gd name="T57" fmla="*/ 242 h 278"/>
                <a:gd name="T58" fmla="*/ 156 w 278"/>
                <a:gd name="T59" fmla="*/ 209 h 278"/>
                <a:gd name="T60" fmla="*/ 253 w 278"/>
                <a:gd name="T61" fmla="*/ 54 h 278"/>
                <a:gd name="T62" fmla="*/ 237 w 278"/>
                <a:gd name="T6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8" h="278">
                  <a:moveTo>
                    <a:pt x="273" y="3"/>
                  </a:moveTo>
                  <a:cubicBezTo>
                    <a:pt x="270" y="1"/>
                    <a:pt x="265" y="0"/>
                    <a:pt x="262" y="2"/>
                  </a:cubicBezTo>
                  <a:cubicBezTo>
                    <a:pt x="6" y="152"/>
                    <a:pt x="6" y="152"/>
                    <a:pt x="6" y="152"/>
                  </a:cubicBezTo>
                  <a:cubicBezTo>
                    <a:pt x="2" y="154"/>
                    <a:pt x="0" y="158"/>
                    <a:pt x="1" y="162"/>
                  </a:cubicBezTo>
                  <a:cubicBezTo>
                    <a:pt x="1" y="166"/>
                    <a:pt x="4" y="169"/>
                    <a:pt x="7" y="171"/>
                  </a:cubicBezTo>
                  <a:cubicBezTo>
                    <a:pt x="89" y="204"/>
                    <a:pt x="89" y="204"/>
                    <a:pt x="89" y="204"/>
                  </a:cubicBezTo>
                  <a:cubicBezTo>
                    <a:pt x="108" y="271"/>
                    <a:pt x="108" y="271"/>
                    <a:pt x="108" y="271"/>
                  </a:cubicBezTo>
                  <a:cubicBezTo>
                    <a:pt x="109" y="275"/>
                    <a:pt x="113" y="278"/>
                    <a:pt x="117" y="278"/>
                  </a:cubicBezTo>
                  <a:cubicBezTo>
                    <a:pt x="118" y="278"/>
                    <a:pt x="118" y="278"/>
                    <a:pt x="118" y="278"/>
                  </a:cubicBezTo>
                  <a:cubicBezTo>
                    <a:pt x="121" y="278"/>
                    <a:pt x="125" y="277"/>
                    <a:pt x="127" y="274"/>
                  </a:cubicBezTo>
                  <a:cubicBezTo>
                    <a:pt x="127" y="274"/>
                    <a:pt x="127" y="274"/>
                    <a:pt x="127" y="274"/>
                  </a:cubicBezTo>
                  <a:cubicBezTo>
                    <a:pt x="157" y="232"/>
                    <a:pt x="157" y="232"/>
                    <a:pt x="157" y="232"/>
                  </a:cubicBezTo>
                  <a:cubicBezTo>
                    <a:pt x="242" y="267"/>
                    <a:pt x="242" y="267"/>
                    <a:pt x="242" y="267"/>
                  </a:cubicBezTo>
                  <a:cubicBezTo>
                    <a:pt x="243" y="267"/>
                    <a:pt x="245" y="268"/>
                    <a:pt x="246" y="268"/>
                  </a:cubicBezTo>
                  <a:cubicBezTo>
                    <a:pt x="248" y="268"/>
                    <a:pt x="250" y="267"/>
                    <a:pt x="252" y="266"/>
                  </a:cubicBezTo>
                  <a:cubicBezTo>
                    <a:pt x="254" y="264"/>
                    <a:pt x="256" y="261"/>
                    <a:pt x="257" y="258"/>
                  </a:cubicBezTo>
                  <a:cubicBezTo>
                    <a:pt x="278" y="13"/>
                    <a:pt x="278" y="13"/>
                    <a:pt x="278" y="13"/>
                  </a:cubicBezTo>
                  <a:cubicBezTo>
                    <a:pt x="278" y="9"/>
                    <a:pt x="276" y="5"/>
                    <a:pt x="273" y="3"/>
                  </a:cubicBezTo>
                  <a:close/>
                  <a:moveTo>
                    <a:pt x="92" y="182"/>
                  </a:moveTo>
                  <a:cubicBezTo>
                    <a:pt x="35" y="159"/>
                    <a:pt x="35" y="159"/>
                    <a:pt x="35" y="159"/>
                  </a:cubicBezTo>
                  <a:cubicBezTo>
                    <a:pt x="209" y="58"/>
                    <a:pt x="209" y="58"/>
                    <a:pt x="209" y="58"/>
                  </a:cubicBezTo>
                  <a:lnTo>
                    <a:pt x="92" y="182"/>
                  </a:lnTo>
                  <a:close/>
                  <a:moveTo>
                    <a:pt x="199" y="100"/>
                  </a:moveTo>
                  <a:cubicBezTo>
                    <a:pt x="130" y="209"/>
                    <a:pt x="130" y="209"/>
                    <a:pt x="130" y="209"/>
                  </a:cubicBezTo>
                  <a:cubicBezTo>
                    <a:pt x="130" y="209"/>
                    <a:pt x="130" y="210"/>
                    <a:pt x="129" y="210"/>
                  </a:cubicBezTo>
                  <a:cubicBezTo>
                    <a:pt x="120" y="235"/>
                    <a:pt x="120" y="235"/>
                    <a:pt x="120" y="235"/>
                  </a:cubicBezTo>
                  <a:cubicBezTo>
                    <a:pt x="109" y="196"/>
                    <a:pt x="109" y="196"/>
                    <a:pt x="109" y="196"/>
                  </a:cubicBezTo>
                  <a:lnTo>
                    <a:pt x="199" y="100"/>
                  </a:lnTo>
                  <a:close/>
                  <a:moveTo>
                    <a:pt x="237" y="242"/>
                  </a:moveTo>
                  <a:cubicBezTo>
                    <a:pt x="156" y="209"/>
                    <a:pt x="156" y="209"/>
                    <a:pt x="156" y="209"/>
                  </a:cubicBezTo>
                  <a:cubicBezTo>
                    <a:pt x="253" y="54"/>
                    <a:pt x="253" y="54"/>
                    <a:pt x="253" y="54"/>
                  </a:cubicBezTo>
                  <a:lnTo>
                    <a:pt x="237" y="24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61" name="TextBox 960">
            <a:extLst>
              <a:ext uri="{FF2B5EF4-FFF2-40B4-BE49-F238E27FC236}">
                <a16:creationId xmlns:a16="http://schemas.microsoft.com/office/drawing/2014/main" id="{8704597E-F790-41C6-94F6-73538DB71539}"/>
              </a:ext>
            </a:extLst>
          </p:cNvPr>
          <p:cNvSpPr txBox="1"/>
          <p:nvPr/>
        </p:nvSpPr>
        <p:spPr>
          <a:xfrm>
            <a:off x="9176834" y="2105125"/>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st forward</a:t>
            </a:r>
          </a:p>
        </p:txBody>
      </p:sp>
      <p:grpSp>
        <p:nvGrpSpPr>
          <p:cNvPr id="962" name="Group 595">
            <a:extLst>
              <a:ext uri="{FF2B5EF4-FFF2-40B4-BE49-F238E27FC236}">
                <a16:creationId xmlns:a16="http://schemas.microsoft.com/office/drawing/2014/main" id="{63C8F1AE-087B-4015-BE4C-FFB8268443EC}"/>
              </a:ext>
            </a:extLst>
          </p:cNvPr>
          <p:cNvGrpSpPr>
            <a:grpSpLocks noChangeAspect="1"/>
          </p:cNvGrpSpPr>
          <p:nvPr/>
        </p:nvGrpSpPr>
        <p:grpSpPr bwMode="auto">
          <a:xfrm>
            <a:off x="9197267" y="1700213"/>
            <a:ext cx="367631" cy="367631"/>
            <a:chOff x="1572" y="2382"/>
            <a:chExt cx="340" cy="340"/>
          </a:xfrm>
          <a:solidFill>
            <a:schemeClr val="accent1"/>
          </a:solidFill>
        </p:grpSpPr>
        <p:sp>
          <p:nvSpPr>
            <p:cNvPr id="963" name="Freeform 596">
              <a:extLst>
                <a:ext uri="{FF2B5EF4-FFF2-40B4-BE49-F238E27FC236}">
                  <a16:creationId xmlns:a16="http://schemas.microsoft.com/office/drawing/2014/main" id="{8C88650E-E2F5-469D-8D5D-EEE4AC0AF3C0}"/>
                </a:ext>
              </a:extLst>
            </p:cNvPr>
            <p:cNvSpPr>
              <a:spLocks noEditPoints="1"/>
            </p:cNvSpPr>
            <p:nvPr/>
          </p:nvSpPr>
          <p:spPr bwMode="auto">
            <a:xfrm>
              <a:off x="1572" y="238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1 w 512"/>
                <a:gd name="T11" fmla="*/ 265 h 512"/>
                <a:gd name="T12" fmla="*/ 240 w 512"/>
                <a:gd name="T13" fmla="*/ 371 h 512"/>
                <a:gd name="T14" fmla="*/ 234 w 512"/>
                <a:gd name="T15" fmla="*/ 373 h 512"/>
                <a:gd name="T16" fmla="*/ 229 w 512"/>
                <a:gd name="T17" fmla="*/ 372 h 512"/>
                <a:gd name="T18" fmla="*/ 224 w 512"/>
                <a:gd name="T19" fmla="*/ 362 h 512"/>
                <a:gd name="T20" fmla="*/ 224 w 512"/>
                <a:gd name="T21" fmla="*/ 308 h 512"/>
                <a:gd name="T22" fmla="*/ 123 w 512"/>
                <a:gd name="T23" fmla="*/ 371 h 512"/>
                <a:gd name="T24" fmla="*/ 112 w 512"/>
                <a:gd name="T25" fmla="*/ 372 h 512"/>
                <a:gd name="T26" fmla="*/ 106 w 512"/>
                <a:gd name="T27" fmla="*/ 362 h 512"/>
                <a:gd name="T28" fmla="*/ 106 w 512"/>
                <a:gd name="T29" fmla="*/ 149 h 512"/>
                <a:gd name="T30" fmla="*/ 112 w 512"/>
                <a:gd name="T31" fmla="*/ 140 h 512"/>
                <a:gd name="T32" fmla="*/ 123 w 512"/>
                <a:gd name="T33" fmla="*/ 140 h 512"/>
                <a:gd name="T34" fmla="*/ 224 w 512"/>
                <a:gd name="T35" fmla="*/ 203 h 512"/>
                <a:gd name="T36" fmla="*/ 224 w 512"/>
                <a:gd name="T37" fmla="*/ 149 h 512"/>
                <a:gd name="T38" fmla="*/ 229 w 512"/>
                <a:gd name="T39" fmla="*/ 140 h 512"/>
                <a:gd name="T40" fmla="*/ 240 w 512"/>
                <a:gd name="T41" fmla="*/ 140 h 512"/>
                <a:gd name="T42" fmla="*/ 411 w 512"/>
                <a:gd name="T43" fmla="*/ 247 h 512"/>
                <a:gd name="T44" fmla="*/ 416 w 512"/>
                <a:gd name="T45" fmla="*/ 256 h 512"/>
                <a:gd name="T46" fmla="*/ 411 w 512"/>
                <a:gd name="T47"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1" y="265"/>
                  </a:moveTo>
                  <a:cubicBezTo>
                    <a:pt x="240" y="371"/>
                    <a:pt x="240" y="371"/>
                    <a:pt x="240" y="371"/>
                  </a:cubicBezTo>
                  <a:cubicBezTo>
                    <a:pt x="238" y="372"/>
                    <a:pt x="236" y="373"/>
                    <a:pt x="234" y="373"/>
                  </a:cubicBezTo>
                  <a:cubicBezTo>
                    <a:pt x="233" y="373"/>
                    <a:pt x="231" y="373"/>
                    <a:pt x="229" y="372"/>
                  </a:cubicBezTo>
                  <a:cubicBezTo>
                    <a:pt x="226" y="370"/>
                    <a:pt x="224" y="366"/>
                    <a:pt x="224" y="362"/>
                  </a:cubicBezTo>
                  <a:cubicBezTo>
                    <a:pt x="224" y="308"/>
                    <a:pt x="224" y="308"/>
                    <a:pt x="224" y="308"/>
                  </a:cubicBezTo>
                  <a:cubicBezTo>
                    <a:pt x="123" y="371"/>
                    <a:pt x="123" y="371"/>
                    <a:pt x="123" y="371"/>
                  </a:cubicBezTo>
                  <a:cubicBezTo>
                    <a:pt x="119" y="373"/>
                    <a:pt x="115" y="374"/>
                    <a:pt x="112" y="372"/>
                  </a:cubicBezTo>
                  <a:cubicBezTo>
                    <a:pt x="108" y="370"/>
                    <a:pt x="106" y="366"/>
                    <a:pt x="106" y="362"/>
                  </a:cubicBezTo>
                  <a:cubicBezTo>
                    <a:pt x="106" y="149"/>
                    <a:pt x="106" y="149"/>
                    <a:pt x="106" y="149"/>
                  </a:cubicBezTo>
                  <a:cubicBezTo>
                    <a:pt x="106" y="145"/>
                    <a:pt x="108" y="142"/>
                    <a:pt x="112" y="140"/>
                  </a:cubicBezTo>
                  <a:cubicBezTo>
                    <a:pt x="115" y="138"/>
                    <a:pt x="119" y="138"/>
                    <a:pt x="123" y="140"/>
                  </a:cubicBezTo>
                  <a:cubicBezTo>
                    <a:pt x="224" y="203"/>
                    <a:pt x="224" y="203"/>
                    <a:pt x="224" y="203"/>
                  </a:cubicBezTo>
                  <a:cubicBezTo>
                    <a:pt x="224" y="149"/>
                    <a:pt x="224" y="149"/>
                    <a:pt x="224" y="149"/>
                  </a:cubicBezTo>
                  <a:cubicBezTo>
                    <a:pt x="224" y="145"/>
                    <a:pt x="226" y="142"/>
                    <a:pt x="229" y="140"/>
                  </a:cubicBezTo>
                  <a:cubicBezTo>
                    <a:pt x="233" y="138"/>
                    <a:pt x="237" y="138"/>
                    <a:pt x="240" y="140"/>
                  </a:cubicBezTo>
                  <a:cubicBezTo>
                    <a:pt x="411" y="247"/>
                    <a:pt x="411" y="247"/>
                    <a:pt x="411" y="247"/>
                  </a:cubicBezTo>
                  <a:cubicBezTo>
                    <a:pt x="414" y="249"/>
                    <a:pt x="416" y="252"/>
                    <a:pt x="416" y="256"/>
                  </a:cubicBezTo>
                  <a:cubicBezTo>
                    <a:pt x="416" y="259"/>
                    <a:pt x="414" y="263"/>
                    <a:pt x="411" y="2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4" name="Freeform 597">
              <a:extLst>
                <a:ext uri="{FF2B5EF4-FFF2-40B4-BE49-F238E27FC236}">
                  <a16:creationId xmlns:a16="http://schemas.microsoft.com/office/drawing/2014/main" id="{1B0E7E94-0437-4A45-94EE-581C8D996162}"/>
                </a:ext>
              </a:extLst>
            </p:cNvPr>
            <p:cNvSpPr>
              <a:spLocks/>
            </p:cNvSpPr>
            <p:nvPr/>
          </p:nvSpPr>
          <p:spPr bwMode="auto">
            <a:xfrm>
              <a:off x="1657" y="2494"/>
              <a:ext cx="171" cy="116"/>
            </a:xfrm>
            <a:custGeom>
              <a:avLst/>
              <a:gdLst>
                <a:gd name="T0" fmla="*/ 117 w 257"/>
                <a:gd name="T1" fmla="*/ 54 h 175"/>
                <a:gd name="T2" fmla="*/ 112 w 257"/>
                <a:gd name="T3" fmla="*/ 64 h 175"/>
                <a:gd name="T4" fmla="*/ 101 w 257"/>
                <a:gd name="T5" fmla="*/ 63 h 175"/>
                <a:gd name="T6" fmla="*/ 0 w 257"/>
                <a:gd name="T7" fmla="*/ 0 h 175"/>
                <a:gd name="T8" fmla="*/ 0 w 257"/>
                <a:gd name="T9" fmla="*/ 175 h 175"/>
                <a:gd name="T10" fmla="*/ 101 w 257"/>
                <a:gd name="T11" fmla="*/ 112 h 175"/>
                <a:gd name="T12" fmla="*/ 106 w 257"/>
                <a:gd name="T13" fmla="*/ 110 h 175"/>
                <a:gd name="T14" fmla="*/ 112 w 257"/>
                <a:gd name="T15" fmla="*/ 112 h 175"/>
                <a:gd name="T16" fmla="*/ 117 w 257"/>
                <a:gd name="T17" fmla="*/ 121 h 175"/>
                <a:gd name="T18" fmla="*/ 117 w 257"/>
                <a:gd name="T19" fmla="*/ 175 h 175"/>
                <a:gd name="T20" fmla="*/ 257 w 257"/>
                <a:gd name="T21" fmla="*/ 88 h 175"/>
                <a:gd name="T22" fmla="*/ 117 w 257"/>
                <a:gd name="T23" fmla="*/ 0 h 175"/>
                <a:gd name="T24" fmla="*/ 117 w 257"/>
                <a:gd name="T25" fmla="*/ 5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175">
                  <a:moveTo>
                    <a:pt x="117" y="54"/>
                  </a:moveTo>
                  <a:cubicBezTo>
                    <a:pt x="117" y="58"/>
                    <a:pt x="115" y="62"/>
                    <a:pt x="112" y="64"/>
                  </a:cubicBezTo>
                  <a:cubicBezTo>
                    <a:pt x="108" y="66"/>
                    <a:pt x="104" y="65"/>
                    <a:pt x="101" y="63"/>
                  </a:cubicBezTo>
                  <a:cubicBezTo>
                    <a:pt x="0" y="0"/>
                    <a:pt x="0" y="0"/>
                    <a:pt x="0" y="0"/>
                  </a:cubicBezTo>
                  <a:cubicBezTo>
                    <a:pt x="0" y="175"/>
                    <a:pt x="0" y="175"/>
                    <a:pt x="0" y="175"/>
                  </a:cubicBezTo>
                  <a:cubicBezTo>
                    <a:pt x="101" y="112"/>
                    <a:pt x="101" y="112"/>
                    <a:pt x="101" y="112"/>
                  </a:cubicBezTo>
                  <a:cubicBezTo>
                    <a:pt x="102" y="111"/>
                    <a:pt x="104" y="110"/>
                    <a:pt x="106" y="110"/>
                  </a:cubicBezTo>
                  <a:cubicBezTo>
                    <a:pt x="108" y="110"/>
                    <a:pt x="110" y="111"/>
                    <a:pt x="112" y="112"/>
                  </a:cubicBezTo>
                  <a:cubicBezTo>
                    <a:pt x="115" y="114"/>
                    <a:pt x="117" y="117"/>
                    <a:pt x="117" y="121"/>
                  </a:cubicBezTo>
                  <a:cubicBezTo>
                    <a:pt x="117" y="175"/>
                    <a:pt x="117" y="175"/>
                    <a:pt x="117" y="175"/>
                  </a:cubicBezTo>
                  <a:cubicBezTo>
                    <a:pt x="257" y="88"/>
                    <a:pt x="257" y="88"/>
                    <a:pt x="257" y="88"/>
                  </a:cubicBezTo>
                  <a:cubicBezTo>
                    <a:pt x="117" y="0"/>
                    <a:pt x="117" y="0"/>
                    <a:pt x="117" y="0"/>
                  </a:cubicBezTo>
                  <a:lnTo>
                    <a:pt x="117"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65" name="Group 600">
            <a:extLst>
              <a:ext uri="{FF2B5EF4-FFF2-40B4-BE49-F238E27FC236}">
                <a16:creationId xmlns:a16="http://schemas.microsoft.com/office/drawing/2014/main" id="{29B281BA-6137-4D8B-B557-720647E5B277}"/>
              </a:ext>
            </a:extLst>
          </p:cNvPr>
          <p:cNvGrpSpPr>
            <a:grpSpLocks noChangeAspect="1"/>
          </p:cNvGrpSpPr>
          <p:nvPr/>
        </p:nvGrpSpPr>
        <p:grpSpPr bwMode="auto">
          <a:xfrm>
            <a:off x="9631283" y="1700213"/>
            <a:ext cx="367631" cy="367631"/>
            <a:chOff x="1949" y="2395"/>
            <a:chExt cx="340" cy="340"/>
          </a:xfrm>
          <a:solidFill>
            <a:schemeClr val="accent1"/>
          </a:solidFill>
        </p:grpSpPr>
        <p:sp>
          <p:nvSpPr>
            <p:cNvPr id="966" name="Freeform 601">
              <a:extLst>
                <a:ext uri="{FF2B5EF4-FFF2-40B4-BE49-F238E27FC236}">
                  <a16:creationId xmlns:a16="http://schemas.microsoft.com/office/drawing/2014/main" id="{9A20CEB6-C983-4D86-B0FB-74650CB46E31}"/>
                </a:ext>
              </a:extLst>
            </p:cNvPr>
            <p:cNvSpPr>
              <a:spLocks noEditPoints="1"/>
            </p:cNvSpPr>
            <p:nvPr/>
          </p:nvSpPr>
          <p:spPr bwMode="auto">
            <a:xfrm>
              <a:off x="1949" y="23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7" name="Freeform 602">
              <a:extLst>
                <a:ext uri="{FF2B5EF4-FFF2-40B4-BE49-F238E27FC236}">
                  <a16:creationId xmlns:a16="http://schemas.microsoft.com/office/drawing/2014/main" id="{B459287D-9BC1-499D-AFB4-9EE1174E1C1C}"/>
                </a:ext>
              </a:extLst>
            </p:cNvPr>
            <p:cNvSpPr>
              <a:spLocks noEditPoints="1"/>
            </p:cNvSpPr>
            <p:nvPr/>
          </p:nvSpPr>
          <p:spPr bwMode="auto">
            <a:xfrm>
              <a:off x="2019" y="2487"/>
              <a:ext cx="206" cy="156"/>
            </a:xfrm>
            <a:custGeom>
              <a:avLst/>
              <a:gdLst>
                <a:gd name="T0" fmla="*/ 128 w 310"/>
                <a:gd name="T1" fmla="*/ 235 h 236"/>
                <a:gd name="T2" fmla="*/ 123 w 310"/>
                <a:gd name="T3" fmla="*/ 234 h 236"/>
                <a:gd name="T4" fmla="*/ 118 w 310"/>
                <a:gd name="T5" fmla="*/ 224 h 236"/>
                <a:gd name="T6" fmla="*/ 118 w 310"/>
                <a:gd name="T7" fmla="*/ 170 h 236"/>
                <a:gd name="T8" fmla="*/ 17 w 310"/>
                <a:gd name="T9" fmla="*/ 233 h 236"/>
                <a:gd name="T10" fmla="*/ 6 w 310"/>
                <a:gd name="T11" fmla="*/ 234 h 236"/>
                <a:gd name="T12" fmla="*/ 0 w 310"/>
                <a:gd name="T13" fmla="*/ 224 h 236"/>
                <a:gd name="T14" fmla="*/ 0 w 310"/>
                <a:gd name="T15" fmla="*/ 11 h 236"/>
                <a:gd name="T16" fmla="*/ 6 w 310"/>
                <a:gd name="T17" fmla="*/ 2 h 236"/>
                <a:gd name="T18" fmla="*/ 17 w 310"/>
                <a:gd name="T19" fmla="*/ 2 h 236"/>
                <a:gd name="T20" fmla="*/ 118 w 310"/>
                <a:gd name="T21" fmla="*/ 65 h 236"/>
                <a:gd name="T22" fmla="*/ 118 w 310"/>
                <a:gd name="T23" fmla="*/ 11 h 236"/>
                <a:gd name="T24" fmla="*/ 123 w 310"/>
                <a:gd name="T25" fmla="*/ 2 h 236"/>
                <a:gd name="T26" fmla="*/ 134 w 310"/>
                <a:gd name="T27" fmla="*/ 2 h 236"/>
                <a:gd name="T28" fmla="*/ 305 w 310"/>
                <a:gd name="T29" fmla="*/ 109 h 236"/>
                <a:gd name="T30" fmla="*/ 310 w 310"/>
                <a:gd name="T31" fmla="*/ 118 h 236"/>
                <a:gd name="T32" fmla="*/ 305 w 310"/>
                <a:gd name="T33" fmla="*/ 127 h 236"/>
                <a:gd name="T34" fmla="*/ 134 w 310"/>
                <a:gd name="T35" fmla="*/ 233 h 236"/>
                <a:gd name="T36" fmla="*/ 128 w 310"/>
                <a:gd name="T37" fmla="*/ 235 h 236"/>
                <a:gd name="T38" fmla="*/ 128 w 310"/>
                <a:gd name="T39" fmla="*/ 140 h 236"/>
                <a:gd name="T40" fmla="*/ 134 w 310"/>
                <a:gd name="T41" fmla="*/ 142 h 236"/>
                <a:gd name="T42" fmla="*/ 139 w 310"/>
                <a:gd name="T43" fmla="*/ 151 h 236"/>
                <a:gd name="T44" fmla="*/ 139 w 310"/>
                <a:gd name="T45" fmla="*/ 205 h 236"/>
                <a:gd name="T46" fmla="*/ 279 w 310"/>
                <a:gd name="T47" fmla="*/ 118 h 236"/>
                <a:gd name="T48" fmla="*/ 139 w 310"/>
                <a:gd name="T49" fmla="*/ 30 h 236"/>
                <a:gd name="T50" fmla="*/ 139 w 310"/>
                <a:gd name="T51" fmla="*/ 84 h 236"/>
                <a:gd name="T52" fmla="*/ 134 w 310"/>
                <a:gd name="T53" fmla="*/ 94 h 236"/>
                <a:gd name="T54" fmla="*/ 123 w 310"/>
                <a:gd name="T55" fmla="*/ 93 h 236"/>
                <a:gd name="T56" fmla="*/ 22 w 310"/>
                <a:gd name="T57" fmla="*/ 30 h 236"/>
                <a:gd name="T58" fmla="*/ 22 w 310"/>
                <a:gd name="T59" fmla="*/ 205 h 236"/>
                <a:gd name="T60" fmla="*/ 123 w 310"/>
                <a:gd name="T61" fmla="*/ 142 h 236"/>
                <a:gd name="T62" fmla="*/ 128 w 310"/>
                <a:gd name="T63"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0" h="236">
                  <a:moveTo>
                    <a:pt x="128" y="235"/>
                  </a:moveTo>
                  <a:cubicBezTo>
                    <a:pt x="127" y="235"/>
                    <a:pt x="125" y="235"/>
                    <a:pt x="123" y="234"/>
                  </a:cubicBezTo>
                  <a:cubicBezTo>
                    <a:pt x="120" y="232"/>
                    <a:pt x="118" y="228"/>
                    <a:pt x="118" y="224"/>
                  </a:cubicBezTo>
                  <a:cubicBezTo>
                    <a:pt x="118" y="170"/>
                    <a:pt x="118" y="170"/>
                    <a:pt x="118" y="170"/>
                  </a:cubicBezTo>
                  <a:cubicBezTo>
                    <a:pt x="17" y="233"/>
                    <a:pt x="17" y="233"/>
                    <a:pt x="17" y="233"/>
                  </a:cubicBezTo>
                  <a:cubicBezTo>
                    <a:pt x="13" y="235"/>
                    <a:pt x="9" y="236"/>
                    <a:pt x="6" y="234"/>
                  </a:cubicBezTo>
                  <a:cubicBezTo>
                    <a:pt x="2" y="232"/>
                    <a:pt x="0" y="228"/>
                    <a:pt x="0" y="224"/>
                  </a:cubicBezTo>
                  <a:cubicBezTo>
                    <a:pt x="0" y="11"/>
                    <a:pt x="0" y="11"/>
                    <a:pt x="0" y="11"/>
                  </a:cubicBezTo>
                  <a:cubicBezTo>
                    <a:pt x="0" y="7"/>
                    <a:pt x="2" y="4"/>
                    <a:pt x="6" y="2"/>
                  </a:cubicBezTo>
                  <a:cubicBezTo>
                    <a:pt x="9" y="0"/>
                    <a:pt x="13" y="0"/>
                    <a:pt x="17" y="2"/>
                  </a:cubicBezTo>
                  <a:cubicBezTo>
                    <a:pt x="118" y="65"/>
                    <a:pt x="118" y="65"/>
                    <a:pt x="118" y="65"/>
                  </a:cubicBezTo>
                  <a:cubicBezTo>
                    <a:pt x="118" y="11"/>
                    <a:pt x="118" y="11"/>
                    <a:pt x="118" y="11"/>
                  </a:cubicBezTo>
                  <a:cubicBezTo>
                    <a:pt x="118" y="7"/>
                    <a:pt x="120" y="4"/>
                    <a:pt x="123" y="2"/>
                  </a:cubicBezTo>
                  <a:cubicBezTo>
                    <a:pt x="127" y="0"/>
                    <a:pt x="131" y="0"/>
                    <a:pt x="134" y="2"/>
                  </a:cubicBezTo>
                  <a:cubicBezTo>
                    <a:pt x="305" y="109"/>
                    <a:pt x="305" y="109"/>
                    <a:pt x="305" y="109"/>
                  </a:cubicBezTo>
                  <a:cubicBezTo>
                    <a:pt x="308" y="111"/>
                    <a:pt x="310" y="114"/>
                    <a:pt x="310" y="118"/>
                  </a:cubicBezTo>
                  <a:cubicBezTo>
                    <a:pt x="310" y="121"/>
                    <a:pt x="308" y="125"/>
                    <a:pt x="305" y="127"/>
                  </a:cubicBezTo>
                  <a:cubicBezTo>
                    <a:pt x="134" y="233"/>
                    <a:pt x="134" y="233"/>
                    <a:pt x="134" y="233"/>
                  </a:cubicBezTo>
                  <a:cubicBezTo>
                    <a:pt x="132" y="234"/>
                    <a:pt x="130" y="235"/>
                    <a:pt x="128" y="235"/>
                  </a:cubicBezTo>
                  <a:close/>
                  <a:moveTo>
                    <a:pt x="128" y="140"/>
                  </a:moveTo>
                  <a:cubicBezTo>
                    <a:pt x="130" y="140"/>
                    <a:pt x="132" y="141"/>
                    <a:pt x="134" y="142"/>
                  </a:cubicBezTo>
                  <a:cubicBezTo>
                    <a:pt x="137" y="144"/>
                    <a:pt x="139" y="147"/>
                    <a:pt x="139" y="151"/>
                  </a:cubicBezTo>
                  <a:cubicBezTo>
                    <a:pt x="139" y="205"/>
                    <a:pt x="139" y="205"/>
                    <a:pt x="139" y="205"/>
                  </a:cubicBezTo>
                  <a:cubicBezTo>
                    <a:pt x="279" y="118"/>
                    <a:pt x="279" y="118"/>
                    <a:pt x="279" y="118"/>
                  </a:cubicBezTo>
                  <a:cubicBezTo>
                    <a:pt x="139" y="30"/>
                    <a:pt x="139" y="30"/>
                    <a:pt x="139" y="30"/>
                  </a:cubicBezTo>
                  <a:cubicBezTo>
                    <a:pt x="139" y="84"/>
                    <a:pt x="139" y="84"/>
                    <a:pt x="139" y="84"/>
                  </a:cubicBezTo>
                  <a:cubicBezTo>
                    <a:pt x="139" y="88"/>
                    <a:pt x="137" y="92"/>
                    <a:pt x="134" y="94"/>
                  </a:cubicBezTo>
                  <a:cubicBezTo>
                    <a:pt x="130" y="96"/>
                    <a:pt x="126" y="95"/>
                    <a:pt x="123" y="93"/>
                  </a:cubicBezTo>
                  <a:cubicBezTo>
                    <a:pt x="22" y="30"/>
                    <a:pt x="22" y="30"/>
                    <a:pt x="22" y="30"/>
                  </a:cubicBezTo>
                  <a:cubicBezTo>
                    <a:pt x="22" y="205"/>
                    <a:pt x="22" y="205"/>
                    <a:pt x="22" y="205"/>
                  </a:cubicBezTo>
                  <a:cubicBezTo>
                    <a:pt x="123" y="142"/>
                    <a:pt x="123" y="142"/>
                    <a:pt x="123" y="142"/>
                  </a:cubicBezTo>
                  <a:cubicBezTo>
                    <a:pt x="124" y="141"/>
                    <a:pt x="126" y="140"/>
                    <a:pt x="128"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68" name="TextBox 967">
            <a:extLst>
              <a:ext uri="{FF2B5EF4-FFF2-40B4-BE49-F238E27FC236}">
                <a16:creationId xmlns:a16="http://schemas.microsoft.com/office/drawing/2014/main" id="{6F2E1D29-4259-4C4E-B0D6-32343788C5AB}"/>
              </a:ext>
            </a:extLst>
          </p:cNvPr>
          <p:cNvSpPr txBox="1"/>
          <p:nvPr/>
        </p:nvSpPr>
        <p:spPr>
          <a:xfrm>
            <a:off x="9183433" y="3683706"/>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dit profile</a:t>
            </a:r>
          </a:p>
        </p:txBody>
      </p:sp>
      <p:sp>
        <p:nvSpPr>
          <p:cNvPr id="969" name="Freeform 433">
            <a:extLst>
              <a:ext uri="{FF2B5EF4-FFF2-40B4-BE49-F238E27FC236}">
                <a16:creationId xmlns:a16="http://schemas.microsoft.com/office/drawing/2014/main" id="{E56405FE-2DFF-45E8-878B-2C6E82089FD3}"/>
              </a:ext>
            </a:extLst>
          </p:cNvPr>
          <p:cNvSpPr>
            <a:spLocks noChangeAspect="1" noEditPoints="1"/>
          </p:cNvSpPr>
          <p:nvPr/>
        </p:nvSpPr>
        <p:spPr bwMode="auto">
          <a:xfrm>
            <a:off x="9188358" y="3292640"/>
            <a:ext cx="367631" cy="367631"/>
          </a:xfrm>
          <a:custGeom>
            <a:avLst/>
            <a:gdLst>
              <a:gd name="T0" fmla="*/ 368 w 512"/>
              <a:gd name="T1" fmla="*/ 225 h 512"/>
              <a:gd name="T2" fmla="*/ 281 w 512"/>
              <a:gd name="T3" fmla="*/ 138 h 512"/>
              <a:gd name="T4" fmla="*/ 298 w 512"/>
              <a:gd name="T5" fmla="*/ 121 h 512"/>
              <a:gd name="T6" fmla="*/ 385 w 512"/>
              <a:gd name="T7" fmla="*/ 208 h 512"/>
              <a:gd name="T8" fmla="*/ 390 w 512"/>
              <a:gd name="T9" fmla="*/ 230 h 512"/>
              <a:gd name="T10" fmla="*/ 368 w 512"/>
              <a:gd name="T11" fmla="*/ 225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59 w 512"/>
              <a:gd name="T23" fmla="*/ 146 h 512"/>
              <a:gd name="T24" fmla="*/ 355 w 512"/>
              <a:gd name="T25" fmla="*/ 242 h 512"/>
              <a:gd name="T26" fmla="*/ 360 w 512"/>
              <a:gd name="T27" fmla="*/ 245 h 512"/>
              <a:gd name="T28" fmla="*/ 402 w 512"/>
              <a:gd name="T29" fmla="*/ 255 h 512"/>
              <a:gd name="T30" fmla="*/ 405 w 512"/>
              <a:gd name="T31" fmla="*/ 256 h 512"/>
              <a:gd name="T32" fmla="*/ 413 w 512"/>
              <a:gd name="T33" fmla="*/ 253 h 512"/>
              <a:gd name="T34" fmla="*/ 415 w 512"/>
              <a:gd name="T35" fmla="*/ 242 h 512"/>
              <a:gd name="T36" fmla="*/ 405 w 512"/>
              <a:gd name="T37" fmla="*/ 200 h 512"/>
              <a:gd name="T38" fmla="*/ 402 w 512"/>
              <a:gd name="T39" fmla="*/ 195 h 512"/>
              <a:gd name="T40" fmla="*/ 306 w 512"/>
              <a:gd name="T41" fmla="*/ 99 h 512"/>
              <a:gd name="T42" fmla="*/ 291 w 512"/>
              <a:gd name="T43" fmla="*/ 99 h 512"/>
              <a:gd name="T44" fmla="*/ 259 w 512"/>
              <a:gd name="T45" fmla="*/ 131 h 512"/>
              <a:gd name="T46" fmla="*/ 259 w 512"/>
              <a:gd name="T47" fmla="*/ 146 h 512"/>
              <a:gd name="T48" fmla="*/ 303 w 512"/>
              <a:gd name="T49" fmla="*/ 342 h 512"/>
              <a:gd name="T50" fmla="*/ 267 w 512"/>
              <a:gd name="T51" fmla="*/ 334 h 512"/>
              <a:gd name="T52" fmla="*/ 250 w 512"/>
              <a:gd name="T53" fmla="*/ 331 h 512"/>
              <a:gd name="T54" fmla="*/ 239 w 512"/>
              <a:gd name="T55" fmla="*/ 302 h 512"/>
              <a:gd name="T56" fmla="*/ 261 w 512"/>
              <a:gd name="T57" fmla="*/ 251 h 512"/>
              <a:gd name="T58" fmla="*/ 251 w 512"/>
              <a:gd name="T59" fmla="*/ 177 h 512"/>
              <a:gd name="T60" fmla="*/ 203 w 512"/>
              <a:gd name="T61" fmla="*/ 155 h 512"/>
              <a:gd name="T62" fmla="*/ 153 w 512"/>
              <a:gd name="T63" fmla="*/ 177 h 512"/>
              <a:gd name="T64" fmla="*/ 144 w 512"/>
              <a:gd name="T65" fmla="*/ 251 h 512"/>
              <a:gd name="T66" fmla="*/ 166 w 512"/>
              <a:gd name="T67" fmla="*/ 302 h 512"/>
              <a:gd name="T68" fmla="*/ 155 w 512"/>
              <a:gd name="T69" fmla="*/ 331 h 512"/>
              <a:gd name="T70" fmla="*/ 137 w 512"/>
              <a:gd name="T71" fmla="*/ 334 h 512"/>
              <a:gd name="T72" fmla="*/ 101 w 512"/>
              <a:gd name="T73" fmla="*/ 342 h 512"/>
              <a:gd name="T74" fmla="*/ 97 w 512"/>
              <a:gd name="T75" fmla="*/ 357 h 512"/>
              <a:gd name="T76" fmla="*/ 111 w 512"/>
              <a:gd name="T77" fmla="*/ 361 h 512"/>
              <a:gd name="T78" fmla="*/ 139 w 512"/>
              <a:gd name="T79" fmla="*/ 356 h 512"/>
              <a:gd name="T80" fmla="*/ 164 w 512"/>
              <a:gd name="T81" fmla="*/ 351 h 512"/>
              <a:gd name="T82" fmla="*/ 185 w 512"/>
              <a:gd name="T83" fmla="*/ 318 h 512"/>
              <a:gd name="T84" fmla="*/ 184 w 512"/>
              <a:gd name="T85" fmla="*/ 290 h 512"/>
              <a:gd name="T86" fmla="*/ 165 w 512"/>
              <a:gd name="T87" fmla="*/ 246 h 512"/>
              <a:gd name="T88" fmla="*/ 170 w 512"/>
              <a:gd name="T89" fmla="*/ 191 h 512"/>
              <a:gd name="T90" fmla="*/ 203 w 512"/>
              <a:gd name="T91" fmla="*/ 177 h 512"/>
              <a:gd name="T92" fmla="*/ 235 w 512"/>
              <a:gd name="T93" fmla="*/ 191 h 512"/>
              <a:gd name="T94" fmla="*/ 240 w 512"/>
              <a:gd name="T95" fmla="*/ 246 h 512"/>
              <a:gd name="T96" fmla="*/ 221 w 512"/>
              <a:gd name="T97" fmla="*/ 290 h 512"/>
              <a:gd name="T98" fmla="*/ 219 w 512"/>
              <a:gd name="T99" fmla="*/ 318 h 512"/>
              <a:gd name="T100" fmla="*/ 240 w 512"/>
              <a:gd name="T101" fmla="*/ 351 h 512"/>
              <a:gd name="T102" fmla="*/ 265 w 512"/>
              <a:gd name="T103" fmla="*/ 356 h 512"/>
              <a:gd name="T104" fmla="*/ 293 w 512"/>
              <a:gd name="T105" fmla="*/ 361 h 512"/>
              <a:gd name="T106" fmla="*/ 298 w 512"/>
              <a:gd name="T107" fmla="*/ 362 h 512"/>
              <a:gd name="T108" fmla="*/ 308 w 512"/>
              <a:gd name="T109" fmla="*/ 357 h 512"/>
              <a:gd name="T110" fmla="*/ 303 w 512"/>
              <a:gd name="T111" fmla="*/ 342 h 512"/>
              <a:gd name="T112" fmla="*/ 416 w 512"/>
              <a:gd name="T113" fmla="*/ 288 h 512"/>
              <a:gd name="T114" fmla="*/ 405 w 512"/>
              <a:gd name="T115" fmla="*/ 277 h 512"/>
              <a:gd name="T116" fmla="*/ 298 w 512"/>
              <a:gd name="T117" fmla="*/ 277 h 512"/>
              <a:gd name="T118" fmla="*/ 288 w 512"/>
              <a:gd name="T119" fmla="*/ 288 h 512"/>
              <a:gd name="T120" fmla="*/ 298 w 512"/>
              <a:gd name="T121" fmla="*/ 298 h 512"/>
              <a:gd name="T122" fmla="*/ 405 w 512"/>
              <a:gd name="T123" fmla="*/ 298 h 512"/>
              <a:gd name="T124" fmla="*/ 416 w 512"/>
              <a:gd name="T12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68" y="225"/>
                </a:moveTo>
                <a:cubicBezTo>
                  <a:pt x="281" y="138"/>
                  <a:pt x="281" y="138"/>
                  <a:pt x="281" y="138"/>
                </a:cubicBezTo>
                <a:cubicBezTo>
                  <a:pt x="298" y="121"/>
                  <a:pt x="298" y="121"/>
                  <a:pt x="298" y="121"/>
                </a:cubicBezTo>
                <a:cubicBezTo>
                  <a:pt x="385" y="208"/>
                  <a:pt x="385" y="208"/>
                  <a:pt x="385" y="208"/>
                </a:cubicBezTo>
                <a:cubicBezTo>
                  <a:pt x="390" y="230"/>
                  <a:pt x="390" y="230"/>
                  <a:pt x="390" y="230"/>
                </a:cubicBezTo>
                <a:lnTo>
                  <a:pt x="368" y="22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9" y="146"/>
                </a:moveTo>
                <a:cubicBezTo>
                  <a:pt x="355" y="242"/>
                  <a:pt x="355" y="242"/>
                  <a:pt x="355" y="242"/>
                </a:cubicBezTo>
                <a:cubicBezTo>
                  <a:pt x="356" y="243"/>
                  <a:pt x="358" y="244"/>
                  <a:pt x="360" y="245"/>
                </a:cubicBezTo>
                <a:cubicBezTo>
                  <a:pt x="402" y="255"/>
                  <a:pt x="402" y="255"/>
                  <a:pt x="402" y="255"/>
                </a:cubicBezTo>
                <a:cubicBezTo>
                  <a:pt x="403" y="256"/>
                  <a:pt x="404" y="256"/>
                  <a:pt x="405" y="256"/>
                </a:cubicBezTo>
                <a:cubicBezTo>
                  <a:pt x="408" y="256"/>
                  <a:pt x="411" y="255"/>
                  <a:pt x="413" y="253"/>
                </a:cubicBezTo>
                <a:cubicBezTo>
                  <a:pt x="415" y="250"/>
                  <a:pt x="416" y="246"/>
                  <a:pt x="415" y="242"/>
                </a:cubicBezTo>
                <a:cubicBezTo>
                  <a:pt x="405" y="200"/>
                  <a:pt x="405" y="200"/>
                  <a:pt x="405" y="200"/>
                </a:cubicBezTo>
                <a:cubicBezTo>
                  <a:pt x="404" y="198"/>
                  <a:pt x="403" y="196"/>
                  <a:pt x="402" y="195"/>
                </a:cubicBezTo>
                <a:cubicBezTo>
                  <a:pt x="306" y="99"/>
                  <a:pt x="306" y="99"/>
                  <a:pt x="306" y="99"/>
                </a:cubicBezTo>
                <a:cubicBezTo>
                  <a:pt x="302" y="95"/>
                  <a:pt x="295" y="95"/>
                  <a:pt x="291" y="99"/>
                </a:cubicBezTo>
                <a:cubicBezTo>
                  <a:pt x="259" y="131"/>
                  <a:pt x="259" y="131"/>
                  <a:pt x="259" y="131"/>
                </a:cubicBezTo>
                <a:cubicBezTo>
                  <a:pt x="255" y="135"/>
                  <a:pt x="255" y="142"/>
                  <a:pt x="259" y="146"/>
                </a:cubicBezTo>
                <a:close/>
                <a:moveTo>
                  <a:pt x="303" y="342"/>
                </a:moveTo>
                <a:cubicBezTo>
                  <a:pt x="293" y="337"/>
                  <a:pt x="279" y="335"/>
                  <a:pt x="267" y="334"/>
                </a:cubicBezTo>
                <a:cubicBezTo>
                  <a:pt x="260" y="334"/>
                  <a:pt x="252" y="333"/>
                  <a:pt x="250" y="331"/>
                </a:cubicBezTo>
                <a:cubicBezTo>
                  <a:pt x="243" y="328"/>
                  <a:pt x="237" y="308"/>
                  <a:pt x="239" y="302"/>
                </a:cubicBezTo>
                <a:cubicBezTo>
                  <a:pt x="247" y="289"/>
                  <a:pt x="256" y="269"/>
                  <a:pt x="261" y="251"/>
                </a:cubicBezTo>
                <a:cubicBezTo>
                  <a:pt x="268" y="219"/>
                  <a:pt x="265" y="194"/>
                  <a:pt x="251" y="177"/>
                </a:cubicBezTo>
                <a:cubicBezTo>
                  <a:pt x="233" y="155"/>
                  <a:pt x="203" y="155"/>
                  <a:pt x="203" y="155"/>
                </a:cubicBezTo>
                <a:cubicBezTo>
                  <a:pt x="201" y="155"/>
                  <a:pt x="172" y="155"/>
                  <a:pt x="153" y="177"/>
                </a:cubicBezTo>
                <a:cubicBezTo>
                  <a:pt x="139" y="194"/>
                  <a:pt x="136" y="219"/>
                  <a:pt x="144" y="251"/>
                </a:cubicBezTo>
                <a:cubicBezTo>
                  <a:pt x="148" y="269"/>
                  <a:pt x="157" y="289"/>
                  <a:pt x="166" y="302"/>
                </a:cubicBezTo>
                <a:cubicBezTo>
                  <a:pt x="167" y="308"/>
                  <a:pt x="161" y="328"/>
                  <a:pt x="155" y="331"/>
                </a:cubicBezTo>
                <a:cubicBezTo>
                  <a:pt x="152" y="333"/>
                  <a:pt x="144" y="334"/>
                  <a:pt x="137" y="334"/>
                </a:cubicBezTo>
                <a:cubicBezTo>
                  <a:pt x="125" y="335"/>
                  <a:pt x="112" y="337"/>
                  <a:pt x="101" y="342"/>
                </a:cubicBezTo>
                <a:cubicBezTo>
                  <a:pt x="96" y="345"/>
                  <a:pt x="94" y="351"/>
                  <a:pt x="97" y="357"/>
                </a:cubicBezTo>
                <a:cubicBezTo>
                  <a:pt x="100" y="362"/>
                  <a:pt x="106" y="364"/>
                  <a:pt x="111" y="361"/>
                </a:cubicBezTo>
                <a:cubicBezTo>
                  <a:pt x="118" y="357"/>
                  <a:pt x="129" y="356"/>
                  <a:pt x="139" y="356"/>
                </a:cubicBezTo>
                <a:cubicBezTo>
                  <a:pt x="149" y="355"/>
                  <a:pt x="158" y="354"/>
                  <a:pt x="164" y="351"/>
                </a:cubicBezTo>
                <a:cubicBezTo>
                  <a:pt x="178" y="344"/>
                  <a:pt x="184" y="324"/>
                  <a:pt x="185" y="318"/>
                </a:cubicBezTo>
                <a:cubicBezTo>
                  <a:pt x="187" y="309"/>
                  <a:pt x="189" y="297"/>
                  <a:pt x="184" y="290"/>
                </a:cubicBezTo>
                <a:cubicBezTo>
                  <a:pt x="176" y="280"/>
                  <a:pt x="168" y="261"/>
                  <a:pt x="165" y="246"/>
                </a:cubicBezTo>
                <a:cubicBezTo>
                  <a:pt x="159" y="221"/>
                  <a:pt x="160" y="202"/>
                  <a:pt x="170" y="191"/>
                </a:cubicBezTo>
                <a:cubicBezTo>
                  <a:pt x="181" y="176"/>
                  <a:pt x="202" y="176"/>
                  <a:pt x="203" y="177"/>
                </a:cubicBezTo>
                <a:cubicBezTo>
                  <a:pt x="203" y="176"/>
                  <a:pt x="223" y="176"/>
                  <a:pt x="235" y="191"/>
                </a:cubicBezTo>
                <a:cubicBezTo>
                  <a:pt x="244" y="202"/>
                  <a:pt x="246" y="221"/>
                  <a:pt x="240" y="246"/>
                </a:cubicBezTo>
                <a:cubicBezTo>
                  <a:pt x="236" y="261"/>
                  <a:pt x="228" y="280"/>
                  <a:pt x="221" y="290"/>
                </a:cubicBezTo>
                <a:cubicBezTo>
                  <a:pt x="216" y="297"/>
                  <a:pt x="217" y="309"/>
                  <a:pt x="219" y="318"/>
                </a:cubicBezTo>
                <a:cubicBezTo>
                  <a:pt x="221" y="324"/>
                  <a:pt x="227" y="344"/>
                  <a:pt x="240" y="351"/>
                </a:cubicBezTo>
                <a:cubicBezTo>
                  <a:pt x="247" y="354"/>
                  <a:pt x="255" y="355"/>
                  <a:pt x="265" y="356"/>
                </a:cubicBezTo>
                <a:cubicBezTo>
                  <a:pt x="275" y="356"/>
                  <a:pt x="286" y="357"/>
                  <a:pt x="293" y="361"/>
                </a:cubicBezTo>
                <a:cubicBezTo>
                  <a:pt x="295" y="362"/>
                  <a:pt x="296" y="362"/>
                  <a:pt x="298" y="362"/>
                </a:cubicBezTo>
                <a:cubicBezTo>
                  <a:pt x="302" y="362"/>
                  <a:pt x="306" y="360"/>
                  <a:pt x="308" y="357"/>
                </a:cubicBezTo>
                <a:cubicBezTo>
                  <a:pt x="310" y="351"/>
                  <a:pt x="308" y="345"/>
                  <a:pt x="303" y="342"/>
                </a:cubicBezTo>
                <a:close/>
                <a:moveTo>
                  <a:pt x="416" y="288"/>
                </a:moveTo>
                <a:cubicBezTo>
                  <a:pt x="416" y="282"/>
                  <a:pt x="411" y="277"/>
                  <a:pt x="405" y="277"/>
                </a:cubicBezTo>
                <a:cubicBezTo>
                  <a:pt x="298" y="277"/>
                  <a:pt x="298" y="277"/>
                  <a:pt x="298" y="277"/>
                </a:cubicBezTo>
                <a:cubicBezTo>
                  <a:pt x="292" y="277"/>
                  <a:pt x="288" y="282"/>
                  <a:pt x="288" y="288"/>
                </a:cubicBezTo>
                <a:cubicBezTo>
                  <a:pt x="288" y="294"/>
                  <a:pt x="292" y="298"/>
                  <a:pt x="298" y="298"/>
                </a:cubicBezTo>
                <a:cubicBezTo>
                  <a:pt x="405" y="298"/>
                  <a:pt x="405" y="298"/>
                  <a:pt x="405" y="298"/>
                </a:cubicBezTo>
                <a:cubicBezTo>
                  <a:pt x="411" y="298"/>
                  <a:pt x="416" y="294"/>
                  <a:pt x="416" y="28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70" name="Group 436">
            <a:extLst>
              <a:ext uri="{FF2B5EF4-FFF2-40B4-BE49-F238E27FC236}">
                <a16:creationId xmlns:a16="http://schemas.microsoft.com/office/drawing/2014/main" id="{0597981A-F885-4D92-B743-FF9B4765AF7B}"/>
              </a:ext>
            </a:extLst>
          </p:cNvPr>
          <p:cNvGrpSpPr>
            <a:grpSpLocks noChangeAspect="1"/>
          </p:cNvGrpSpPr>
          <p:nvPr/>
        </p:nvGrpSpPr>
        <p:grpSpPr bwMode="auto">
          <a:xfrm>
            <a:off x="9623706" y="3292640"/>
            <a:ext cx="367631" cy="367631"/>
            <a:chOff x="4224" y="1636"/>
            <a:chExt cx="340" cy="340"/>
          </a:xfrm>
          <a:solidFill>
            <a:schemeClr val="accent5"/>
          </a:solidFill>
        </p:grpSpPr>
        <p:sp>
          <p:nvSpPr>
            <p:cNvPr id="971" name="Freeform 437">
              <a:extLst>
                <a:ext uri="{FF2B5EF4-FFF2-40B4-BE49-F238E27FC236}">
                  <a16:creationId xmlns:a16="http://schemas.microsoft.com/office/drawing/2014/main" id="{DC1C4A45-5002-450B-8BD7-3D95C3A0141A}"/>
                </a:ext>
              </a:extLst>
            </p:cNvPr>
            <p:cNvSpPr>
              <a:spLocks noEditPoints="1"/>
            </p:cNvSpPr>
            <p:nvPr/>
          </p:nvSpPr>
          <p:spPr bwMode="auto">
            <a:xfrm>
              <a:off x="4224" y="16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2" name="Freeform 438">
              <a:extLst>
                <a:ext uri="{FF2B5EF4-FFF2-40B4-BE49-F238E27FC236}">
                  <a16:creationId xmlns:a16="http://schemas.microsoft.com/office/drawing/2014/main" id="{2116B39C-8D8C-42FF-996B-B61804D6CEB8}"/>
                </a:ext>
              </a:extLst>
            </p:cNvPr>
            <p:cNvSpPr>
              <a:spLocks/>
            </p:cNvSpPr>
            <p:nvPr/>
          </p:nvSpPr>
          <p:spPr bwMode="auto">
            <a:xfrm>
              <a:off x="4415" y="1820"/>
              <a:ext cx="85" cy="14"/>
            </a:xfrm>
            <a:custGeom>
              <a:avLst/>
              <a:gdLst>
                <a:gd name="T0" fmla="*/ 117 w 128"/>
                <a:gd name="T1" fmla="*/ 0 h 21"/>
                <a:gd name="T2" fmla="*/ 10 w 128"/>
                <a:gd name="T3" fmla="*/ 0 h 21"/>
                <a:gd name="T4" fmla="*/ 0 w 128"/>
                <a:gd name="T5" fmla="*/ 11 h 21"/>
                <a:gd name="T6" fmla="*/ 10 w 128"/>
                <a:gd name="T7" fmla="*/ 21 h 21"/>
                <a:gd name="T8" fmla="*/ 117 w 128"/>
                <a:gd name="T9" fmla="*/ 21 h 21"/>
                <a:gd name="T10" fmla="*/ 128 w 128"/>
                <a:gd name="T11" fmla="*/ 11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5"/>
                    <a:pt x="0" y="11"/>
                  </a:cubicBezTo>
                  <a:cubicBezTo>
                    <a:pt x="0" y="17"/>
                    <a:pt x="4" y="21"/>
                    <a:pt x="10" y="21"/>
                  </a:cubicBezTo>
                  <a:cubicBezTo>
                    <a:pt x="117" y="21"/>
                    <a:pt x="117" y="21"/>
                    <a:pt x="117" y="21"/>
                  </a:cubicBezTo>
                  <a:cubicBezTo>
                    <a:pt x="123" y="21"/>
                    <a:pt x="128" y="17"/>
                    <a:pt x="128" y="11"/>
                  </a:cubicBezTo>
                  <a:cubicBezTo>
                    <a:pt x="128" y="5"/>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3" name="Freeform 439">
              <a:extLst>
                <a:ext uri="{FF2B5EF4-FFF2-40B4-BE49-F238E27FC236}">
                  <a16:creationId xmlns:a16="http://schemas.microsoft.com/office/drawing/2014/main" id="{B122D49A-CCD5-471F-8737-46D380A0197B}"/>
                </a:ext>
              </a:extLst>
            </p:cNvPr>
            <p:cNvSpPr>
              <a:spLocks noEditPoints="1"/>
            </p:cNvSpPr>
            <p:nvPr/>
          </p:nvSpPr>
          <p:spPr bwMode="auto">
            <a:xfrm>
              <a:off x="4393" y="1699"/>
              <a:ext cx="107" cy="107"/>
            </a:xfrm>
            <a:custGeom>
              <a:avLst/>
              <a:gdLst>
                <a:gd name="T0" fmla="*/ 100 w 161"/>
                <a:gd name="T1" fmla="*/ 147 h 161"/>
                <a:gd name="T2" fmla="*/ 105 w 161"/>
                <a:gd name="T3" fmla="*/ 150 h 161"/>
                <a:gd name="T4" fmla="*/ 147 w 161"/>
                <a:gd name="T5" fmla="*/ 160 h 161"/>
                <a:gd name="T6" fmla="*/ 150 w 161"/>
                <a:gd name="T7" fmla="*/ 161 h 161"/>
                <a:gd name="T8" fmla="*/ 158 w 161"/>
                <a:gd name="T9" fmla="*/ 158 h 161"/>
                <a:gd name="T10" fmla="*/ 160 w 161"/>
                <a:gd name="T11" fmla="*/ 147 h 161"/>
                <a:gd name="T12" fmla="*/ 150 w 161"/>
                <a:gd name="T13" fmla="*/ 105 h 161"/>
                <a:gd name="T14" fmla="*/ 147 w 161"/>
                <a:gd name="T15" fmla="*/ 100 h 161"/>
                <a:gd name="T16" fmla="*/ 51 w 161"/>
                <a:gd name="T17" fmla="*/ 4 h 161"/>
                <a:gd name="T18" fmla="*/ 36 w 161"/>
                <a:gd name="T19" fmla="*/ 4 h 161"/>
                <a:gd name="T20" fmla="*/ 4 w 161"/>
                <a:gd name="T21" fmla="*/ 36 h 161"/>
                <a:gd name="T22" fmla="*/ 4 w 161"/>
                <a:gd name="T23" fmla="*/ 51 h 161"/>
                <a:gd name="T24" fmla="*/ 100 w 161"/>
                <a:gd name="T25" fmla="*/ 147 h 161"/>
                <a:gd name="T26" fmla="*/ 43 w 161"/>
                <a:gd name="T27" fmla="*/ 26 h 161"/>
                <a:gd name="T28" fmla="*/ 130 w 161"/>
                <a:gd name="T29" fmla="*/ 113 h 161"/>
                <a:gd name="T30" fmla="*/ 135 w 161"/>
                <a:gd name="T31" fmla="*/ 135 h 161"/>
                <a:gd name="T32" fmla="*/ 113 w 161"/>
                <a:gd name="T33" fmla="*/ 130 h 161"/>
                <a:gd name="T34" fmla="*/ 26 w 161"/>
                <a:gd name="T35" fmla="*/ 43 h 161"/>
                <a:gd name="T36" fmla="*/ 43 w 161"/>
                <a:gd name="T37" fmla="*/ 26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 h="161">
                  <a:moveTo>
                    <a:pt x="100" y="147"/>
                  </a:moveTo>
                  <a:cubicBezTo>
                    <a:pt x="101" y="148"/>
                    <a:pt x="103" y="149"/>
                    <a:pt x="105" y="150"/>
                  </a:cubicBezTo>
                  <a:cubicBezTo>
                    <a:pt x="147" y="160"/>
                    <a:pt x="147" y="160"/>
                    <a:pt x="147" y="160"/>
                  </a:cubicBezTo>
                  <a:cubicBezTo>
                    <a:pt x="148" y="161"/>
                    <a:pt x="149" y="161"/>
                    <a:pt x="150" y="161"/>
                  </a:cubicBezTo>
                  <a:cubicBezTo>
                    <a:pt x="153" y="161"/>
                    <a:pt x="156" y="160"/>
                    <a:pt x="158" y="158"/>
                  </a:cubicBezTo>
                  <a:cubicBezTo>
                    <a:pt x="160" y="155"/>
                    <a:pt x="161" y="151"/>
                    <a:pt x="160" y="147"/>
                  </a:cubicBezTo>
                  <a:cubicBezTo>
                    <a:pt x="150" y="105"/>
                    <a:pt x="150" y="105"/>
                    <a:pt x="150" y="105"/>
                  </a:cubicBezTo>
                  <a:cubicBezTo>
                    <a:pt x="149" y="103"/>
                    <a:pt x="148" y="101"/>
                    <a:pt x="147" y="100"/>
                  </a:cubicBezTo>
                  <a:cubicBezTo>
                    <a:pt x="51" y="4"/>
                    <a:pt x="51" y="4"/>
                    <a:pt x="51" y="4"/>
                  </a:cubicBezTo>
                  <a:cubicBezTo>
                    <a:pt x="47" y="0"/>
                    <a:pt x="40" y="0"/>
                    <a:pt x="36" y="4"/>
                  </a:cubicBezTo>
                  <a:cubicBezTo>
                    <a:pt x="4" y="36"/>
                    <a:pt x="4" y="36"/>
                    <a:pt x="4" y="36"/>
                  </a:cubicBezTo>
                  <a:cubicBezTo>
                    <a:pt x="0" y="40"/>
                    <a:pt x="0" y="47"/>
                    <a:pt x="4" y="51"/>
                  </a:cubicBezTo>
                  <a:lnTo>
                    <a:pt x="100" y="147"/>
                  </a:lnTo>
                  <a:close/>
                  <a:moveTo>
                    <a:pt x="43" y="26"/>
                  </a:moveTo>
                  <a:cubicBezTo>
                    <a:pt x="130" y="113"/>
                    <a:pt x="130" y="113"/>
                    <a:pt x="130" y="113"/>
                  </a:cubicBezTo>
                  <a:cubicBezTo>
                    <a:pt x="135" y="135"/>
                    <a:pt x="135" y="135"/>
                    <a:pt x="135" y="135"/>
                  </a:cubicBezTo>
                  <a:cubicBezTo>
                    <a:pt x="113" y="130"/>
                    <a:pt x="113" y="130"/>
                    <a:pt x="113" y="130"/>
                  </a:cubicBezTo>
                  <a:cubicBezTo>
                    <a:pt x="26" y="43"/>
                    <a:pt x="26" y="43"/>
                    <a:pt x="26" y="43"/>
                  </a:cubicBezTo>
                  <a:lnTo>
                    <a:pt x="4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4" name="Freeform 440">
              <a:extLst>
                <a:ext uri="{FF2B5EF4-FFF2-40B4-BE49-F238E27FC236}">
                  <a16:creationId xmlns:a16="http://schemas.microsoft.com/office/drawing/2014/main" id="{02078571-56B4-4910-A4B1-8851D90AABB0}"/>
                </a:ext>
              </a:extLst>
            </p:cNvPr>
            <p:cNvSpPr>
              <a:spLocks/>
            </p:cNvSpPr>
            <p:nvPr/>
          </p:nvSpPr>
          <p:spPr bwMode="auto">
            <a:xfrm>
              <a:off x="4286" y="1739"/>
              <a:ext cx="144"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75" name="TextBox 974">
            <a:extLst>
              <a:ext uri="{FF2B5EF4-FFF2-40B4-BE49-F238E27FC236}">
                <a16:creationId xmlns:a16="http://schemas.microsoft.com/office/drawing/2014/main" id="{E7EAE9C8-5F20-421E-AB78-045A41269C0B}"/>
              </a:ext>
            </a:extLst>
          </p:cNvPr>
          <p:cNvSpPr txBox="1"/>
          <p:nvPr/>
        </p:nvSpPr>
        <p:spPr>
          <a:xfrm>
            <a:off x="9175846" y="452728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aperclip</a:t>
            </a:r>
          </a:p>
        </p:txBody>
      </p:sp>
      <p:sp>
        <p:nvSpPr>
          <p:cNvPr id="976" name="Freeform 192">
            <a:extLst>
              <a:ext uri="{FF2B5EF4-FFF2-40B4-BE49-F238E27FC236}">
                <a16:creationId xmlns:a16="http://schemas.microsoft.com/office/drawing/2014/main" id="{589AC0CB-FBD5-4EF1-BA82-4FC9E0AA4168}"/>
              </a:ext>
            </a:extLst>
          </p:cNvPr>
          <p:cNvSpPr>
            <a:spLocks noChangeAspect="1" noEditPoints="1"/>
          </p:cNvSpPr>
          <p:nvPr/>
        </p:nvSpPr>
        <p:spPr bwMode="auto">
          <a:xfrm>
            <a:off x="9213108" y="4127084"/>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1 w 512"/>
              <a:gd name="T11" fmla="*/ 226 h 512"/>
              <a:gd name="T12" fmla="*/ 241 w 512"/>
              <a:gd name="T13" fmla="*/ 376 h 512"/>
              <a:gd name="T14" fmla="*/ 188 w 512"/>
              <a:gd name="T15" fmla="*/ 398 h 512"/>
              <a:gd name="T16" fmla="*/ 135 w 512"/>
              <a:gd name="T17" fmla="*/ 376 h 512"/>
              <a:gd name="T18" fmla="*/ 113 w 512"/>
              <a:gd name="T19" fmla="*/ 324 h 512"/>
              <a:gd name="T20" fmla="*/ 135 w 512"/>
              <a:gd name="T21" fmla="*/ 271 h 512"/>
              <a:gd name="T22" fmla="*/ 241 w 512"/>
              <a:gd name="T23" fmla="*/ 165 h 512"/>
              <a:gd name="T24" fmla="*/ 256 w 512"/>
              <a:gd name="T25" fmla="*/ 165 h 512"/>
              <a:gd name="T26" fmla="*/ 256 w 512"/>
              <a:gd name="T27" fmla="*/ 180 h 512"/>
              <a:gd name="T28" fmla="*/ 150 w 512"/>
              <a:gd name="T29" fmla="*/ 286 h 512"/>
              <a:gd name="T30" fmla="*/ 134 w 512"/>
              <a:gd name="T31" fmla="*/ 324 h 512"/>
              <a:gd name="T32" fmla="*/ 150 w 512"/>
              <a:gd name="T33" fmla="*/ 361 h 512"/>
              <a:gd name="T34" fmla="*/ 188 w 512"/>
              <a:gd name="T35" fmla="*/ 377 h 512"/>
              <a:gd name="T36" fmla="*/ 226 w 512"/>
              <a:gd name="T37" fmla="*/ 361 h 512"/>
              <a:gd name="T38" fmla="*/ 376 w 512"/>
              <a:gd name="T39" fmla="*/ 210 h 512"/>
              <a:gd name="T40" fmla="*/ 376 w 512"/>
              <a:gd name="T41" fmla="*/ 165 h 512"/>
              <a:gd name="T42" fmla="*/ 331 w 512"/>
              <a:gd name="T43" fmla="*/ 165 h 512"/>
              <a:gd name="T44" fmla="*/ 180 w 512"/>
              <a:gd name="T45" fmla="*/ 316 h 512"/>
              <a:gd name="T46" fmla="*/ 177 w 512"/>
              <a:gd name="T47" fmla="*/ 324 h 512"/>
              <a:gd name="T48" fmla="*/ 180 w 512"/>
              <a:gd name="T49" fmla="*/ 331 h 512"/>
              <a:gd name="T50" fmla="*/ 195 w 512"/>
              <a:gd name="T51" fmla="*/ 331 h 512"/>
              <a:gd name="T52" fmla="*/ 301 w 512"/>
              <a:gd name="T53" fmla="*/ 226 h 512"/>
              <a:gd name="T54" fmla="*/ 316 w 512"/>
              <a:gd name="T55" fmla="*/ 226 h 512"/>
              <a:gd name="T56" fmla="*/ 316 w 512"/>
              <a:gd name="T57" fmla="*/ 241 h 512"/>
              <a:gd name="T58" fmla="*/ 210 w 512"/>
              <a:gd name="T59" fmla="*/ 346 h 512"/>
              <a:gd name="T60" fmla="*/ 188 w 512"/>
              <a:gd name="T61" fmla="*/ 356 h 512"/>
              <a:gd name="T62" fmla="*/ 165 w 512"/>
              <a:gd name="T63" fmla="*/ 346 h 512"/>
              <a:gd name="T64" fmla="*/ 156 w 512"/>
              <a:gd name="T65" fmla="*/ 324 h 512"/>
              <a:gd name="T66" fmla="*/ 165 w 512"/>
              <a:gd name="T67" fmla="*/ 301 h 512"/>
              <a:gd name="T68" fmla="*/ 316 w 512"/>
              <a:gd name="T69" fmla="*/ 150 h 512"/>
              <a:gd name="T70" fmla="*/ 391 w 512"/>
              <a:gd name="T71" fmla="*/ 150 h 512"/>
              <a:gd name="T72" fmla="*/ 391 w 512"/>
              <a:gd name="T73" fmla="*/ 22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1" y="226"/>
                </a:moveTo>
                <a:cubicBezTo>
                  <a:pt x="241" y="376"/>
                  <a:pt x="241" y="376"/>
                  <a:pt x="241" y="376"/>
                </a:cubicBezTo>
                <a:cubicBezTo>
                  <a:pt x="226" y="390"/>
                  <a:pt x="208" y="398"/>
                  <a:pt x="188" y="398"/>
                </a:cubicBezTo>
                <a:cubicBezTo>
                  <a:pt x="168" y="398"/>
                  <a:pt x="149" y="390"/>
                  <a:pt x="135" y="376"/>
                </a:cubicBezTo>
                <a:cubicBezTo>
                  <a:pt x="121" y="362"/>
                  <a:pt x="113" y="344"/>
                  <a:pt x="113" y="324"/>
                </a:cubicBezTo>
                <a:cubicBezTo>
                  <a:pt x="113" y="304"/>
                  <a:pt x="121" y="285"/>
                  <a:pt x="135" y="271"/>
                </a:cubicBezTo>
                <a:cubicBezTo>
                  <a:pt x="241" y="165"/>
                  <a:pt x="241" y="165"/>
                  <a:pt x="241" y="165"/>
                </a:cubicBezTo>
                <a:cubicBezTo>
                  <a:pt x="245" y="161"/>
                  <a:pt x="252" y="161"/>
                  <a:pt x="256" y="165"/>
                </a:cubicBezTo>
                <a:cubicBezTo>
                  <a:pt x="260" y="169"/>
                  <a:pt x="260" y="176"/>
                  <a:pt x="256" y="180"/>
                </a:cubicBezTo>
                <a:cubicBezTo>
                  <a:pt x="150" y="286"/>
                  <a:pt x="150" y="286"/>
                  <a:pt x="150" y="286"/>
                </a:cubicBezTo>
                <a:cubicBezTo>
                  <a:pt x="140" y="296"/>
                  <a:pt x="134" y="309"/>
                  <a:pt x="134" y="324"/>
                </a:cubicBezTo>
                <a:cubicBezTo>
                  <a:pt x="134" y="338"/>
                  <a:pt x="140" y="351"/>
                  <a:pt x="150" y="361"/>
                </a:cubicBezTo>
                <a:cubicBezTo>
                  <a:pt x="160" y="371"/>
                  <a:pt x="174" y="377"/>
                  <a:pt x="188" y="377"/>
                </a:cubicBezTo>
                <a:cubicBezTo>
                  <a:pt x="202" y="377"/>
                  <a:pt x="215" y="371"/>
                  <a:pt x="226" y="361"/>
                </a:cubicBezTo>
                <a:cubicBezTo>
                  <a:pt x="376" y="210"/>
                  <a:pt x="376" y="210"/>
                  <a:pt x="376" y="210"/>
                </a:cubicBezTo>
                <a:cubicBezTo>
                  <a:pt x="389" y="198"/>
                  <a:pt x="389" y="178"/>
                  <a:pt x="376" y="165"/>
                </a:cubicBezTo>
                <a:cubicBezTo>
                  <a:pt x="364" y="153"/>
                  <a:pt x="344" y="153"/>
                  <a:pt x="331" y="165"/>
                </a:cubicBezTo>
                <a:cubicBezTo>
                  <a:pt x="180" y="316"/>
                  <a:pt x="180" y="316"/>
                  <a:pt x="180" y="316"/>
                </a:cubicBezTo>
                <a:cubicBezTo>
                  <a:pt x="178" y="318"/>
                  <a:pt x="177" y="321"/>
                  <a:pt x="177" y="324"/>
                </a:cubicBezTo>
                <a:cubicBezTo>
                  <a:pt x="177" y="326"/>
                  <a:pt x="178" y="329"/>
                  <a:pt x="180" y="331"/>
                </a:cubicBezTo>
                <a:cubicBezTo>
                  <a:pt x="184" y="335"/>
                  <a:pt x="191" y="335"/>
                  <a:pt x="195" y="331"/>
                </a:cubicBezTo>
                <a:cubicBezTo>
                  <a:pt x="301" y="226"/>
                  <a:pt x="301" y="226"/>
                  <a:pt x="301" y="226"/>
                </a:cubicBezTo>
                <a:cubicBezTo>
                  <a:pt x="305" y="221"/>
                  <a:pt x="312" y="221"/>
                  <a:pt x="316" y="226"/>
                </a:cubicBezTo>
                <a:cubicBezTo>
                  <a:pt x="320" y="230"/>
                  <a:pt x="320" y="236"/>
                  <a:pt x="316" y="241"/>
                </a:cubicBezTo>
                <a:cubicBezTo>
                  <a:pt x="210" y="346"/>
                  <a:pt x="210" y="346"/>
                  <a:pt x="210" y="346"/>
                </a:cubicBezTo>
                <a:cubicBezTo>
                  <a:pt x="204" y="352"/>
                  <a:pt x="196" y="356"/>
                  <a:pt x="188" y="356"/>
                </a:cubicBezTo>
                <a:cubicBezTo>
                  <a:pt x="180" y="356"/>
                  <a:pt x="171" y="352"/>
                  <a:pt x="165" y="346"/>
                </a:cubicBezTo>
                <a:cubicBezTo>
                  <a:pt x="159" y="340"/>
                  <a:pt x="156" y="332"/>
                  <a:pt x="156" y="324"/>
                </a:cubicBezTo>
                <a:cubicBezTo>
                  <a:pt x="156" y="315"/>
                  <a:pt x="159" y="307"/>
                  <a:pt x="165" y="301"/>
                </a:cubicBezTo>
                <a:cubicBezTo>
                  <a:pt x="316" y="150"/>
                  <a:pt x="316" y="150"/>
                  <a:pt x="316" y="150"/>
                </a:cubicBezTo>
                <a:cubicBezTo>
                  <a:pt x="337" y="129"/>
                  <a:pt x="371" y="129"/>
                  <a:pt x="391" y="150"/>
                </a:cubicBezTo>
                <a:cubicBezTo>
                  <a:pt x="412" y="171"/>
                  <a:pt x="412" y="205"/>
                  <a:pt x="391" y="22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77" name="Group 195">
            <a:extLst>
              <a:ext uri="{FF2B5EF4-FFF2-40B4-BE49-F238E27FC236}">
                <a16:creationId xmlns:a16="http://schemas.microsoft.com/office/drawing/2014/main" id="{11387A3D-3F1E-410F-90A7-EAB08ECB92AD}"/>
              </a:ext>
            </a:extLst>
          </p:cNvPr>
          <p:cNvGrpSpPr>
            <a:grpSpLocks noChangeAspect="1"/>
          </p:cNvGrpSpPr>
          <p:nvPr/>
        </p:nvGrpSpPr>
        <p:grpSpPr bwMode="auto">
          <a:xfrm>
            <a:off x="9643959" y="4127084"/>
            <a:ext cx="369021" cy="369021"/>
            <a:chOff x="7340" y="410"/>
            <a:chExt cx="340" cy="340"/>
          </a:xfrm>
          <a:solidFill>
            <a:schemeClr val="accent2"/>
          </a:solidFill>
        </p:grpSpPr>
        <p:sp>
          <p:nvSpPr>
            <p:cNvPr id="978" name="Freeform 196">
              <a:extLst>
                <a:ext uri="{FF2B5EF4-FFF2-40B4-BE49-F238E27FC236}">
                  <a16:creationId xmlns:a16="http://schemas.microsoft.com/office/drawing/2014/main" id="{601C485D-50BA-40C0-9FED-4C33D9ED0A2E}"/>
                </a:ext>
              </a:extLst>
            </p:cNvPr>
            <p:cNvSpPr>
              <a:spLocks/>
            </p:cNvSpPr>
            <p:nvPr/>
          </p:nvSpPr>
          <p:spPr bwMode="auto">
            <a:xfrm>
              <a:off x="7415" y="496"/>
              <a:ext cx="199" cy="178"/>
            </a:xfrm>
            <a:custGeom>
              <a:avLst/>
              <a:gdLst>
                <a:gd name="T0" fmla="*/ 278 w 299"/>
                <a:gd name="T1" fmla="*/ 21 h 269"/>
                <a:gd name="T2" fmla="*/ 203 w 299"/>
                <a:gd name="T3" fmla="*/ 21 h 269"/>
                <a:gd name="T4" fmla="*/ 52 w 299"/>
                <a:gd name="T5" fmla="*/ 172 h 269"/>
                <a:gd name="T6" fmla="*/ 43 w 299"/>
                <a:gd name="T7" fmla="*/ 195 h 269"/>
                <a:gd name="T8" fmla="*/ 52 w 299"/>
                <a:gd name="T9" fmla="*/ 217 h 269"/>
                <a:gd name="T10" fmla="*/ 75 w 299"/>
                <a:gd name="T11" fmla="*/ 227 h 269"/>
                <a:gd name="T12" fmla="*/ 97 w 299"/>
                <a:gd name="T13" fmla="*/ 217 h 269"/>
                <a:gd name="T14" fmla="*/ 203 w 299"/>
                <a:gd name="T15" fmla="*/ 112 h 269"/>
                <a:gd name="T16" fmla="*/ 203 w 299"/>
                <a:gd name="T17" fmla="*/ 97 h 269"/>
                <a:gd name="T18" fmla="*/ 188 w 299"/>
                <a:gd name="T19" fmla="*/ 97 h 269"/>
                <a:gd name="T20" fmla="*/ 82 w 299"/>
                <a:gd name="T21" fmla="*/ 202 h 269"/>
                <a:gd name="T22" fmla="*/ 67 w 299"/>
                <a:gd name="T23" fmla="*/ 202 h 269"/>
                <a:gd name="T24" fmla="*/ 64 w 299"/>
                <a:gd name="T25" fmla="*/ 195 h 269"/>
                <a:gd name="T26" fmla="*/ 67 w 299"/>
                <a:gd name="T27" fmla="*/ 187 h 269"/>
                <a:gd name="T28" fmla="*/ 218 w 299"/>
                <a:gd name="T29" fmla="*/ 36 h 269"/>
                <a:gd name="T30" fmla="*/ 263 w 299"/>
                <a:gd name="T31" fmla="*/ 36 h 269"/>
                <a:gd name="T32" fmla="*/ 263 w 299"/>
                <a:gd name="T33" fmla="*/ 81 h 269"/>
                <a:gd name="T34" fmla="*/ 113 w 299"/>
                <a:gd name="T35" fmla="*/ 232 h 269"/>
                <a:gd name="T36" fmla="*/ 75 w 299"/>
                <a:gd name="T37" fmla="*/ 248 h 269"/>
                <a:gd name="T38" fmla="*/ 37 w 299"/>
                <a:gd name="T39" fmla="*/ 232 h 269"/>
                <a:gd name="T40" fmla="*/ 21 w 299"/>
                <a:gd name="T41" fmla="*/ 195 h 269"/>
                <a:gd name="T42" fmla="*/ 37 w 299"/>
                <a:gd name="T43" fmla="*/ 157 h 269"/>
                <a:gd name="T44" fmla="*/ 143 w 299"/>
                <a:gd name="T45" fmla="*/ 51 h 269"/>
                <a:gd name="T46" fmla="*/ 143 w 299"/>
                <a:gd name="T47" fmla="*/ 36 h 269"/>
                <a:gd name="T48" fmla="*/ 128 w 299"/>
                <a:gd name="T49" fmla="*/ 36 h 269"/>
                <a:gd name="T50" fmla="*/ 22 w 299"/>
                <a:gd name="T51" fmla="*/ 142 h 269"/>
                <a:gd name="T52" fmla="*/ 0 w 299"/>
                <a:gd name="T53" fmla="*/ 195 h 269"/>
                <a:gd name="T54" fmla="*/ 22 w 299"/>
                <a:gd name="T55" fmla="*/ 247 h 269"/>
                <a:gd name="T56" fmla="*/ 75 w 299"/>
                <a:gd name="T57" fmla="*/ 269 h 269"/>
                <a:gd name="T58" fmla="*/ 128 w 299"/>
                <a:gd name="T59" fmla="*/ 247 h 269"/>
                <a:gd name="T60" fmla="*/ 278 w 299"/>
                <a:gd name="T61" fmla="*/ 97 h 269"/>
                <a:gd name="T62" fmla="*/ 278 w 299"/>
                <a:gd name="T63" fmla="*/ 2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9" h="269">
                  <a:moveTo>
                    <a:pt x="278" y="21"/>
                  </a:moveTo>
                  <a:cubicBezTo>
                    <a:pt x="258" y="0"/>
                    <a:pt x="224" y="0"/>
                    <a:pt x="203" y="21"/>
                  </a:cubicBezTo>
                  <a:cubicBezTo>
                    <a:pt x="52" y="172"/>
                    <a:pt x="52" y="172"/>
                    <a:pt x="52" y="172"/>
                  </a:cubicBezTo>
                  <a:cubicBezTo>
                    <a:pt x="46" y="178"/>
                    <a:pt x="43" y="186"/>
                    <a:pt x="43" y="195"/>
                  </a:cubicBezTo>
                  <a:cubicBezTo>
                    <a:pt x="43" y="203"/>
                    <a:pt x="46" y="211"/>
                    <a:pt x="52" y="217"/>
                  </a:cubicBezTo>
                  <a:cubicBezTo>
                    <a:pt x="58" y="223"/>
                    <a:pt x="67" y="227"/>
                    <a:pt x="75" y="227"/>
                  </a:cubicBezTo>
                  <a:cubicBezTo>
                    <a:pt x="83" y="227"/>
                    <a:pt x="91" y="223"/>
                    <a:pt x="97" y="217"/>
                  </a:cubicBezTo>
                  <a:cubicBezTo>
                    <a:pt x="203" y="112"/>
                    <a:pt x="203" y="112"/>
                    <a:pt x="203" y="112"/>
                  </a:cubicBezTo>
                  <a:cubicBezTo>
                    <a:pt x="207" y="107"/>
                    <a:pt x="207" y="101"/>
                    <a:pt x="203" y="97"/>
                  </a:cubicBezTo>
                  <a:cubicBezTo>
                    <a:pt x="199" y="92"/>
                    <a:pt x="192" y="92"/>
                    <a:pt x="188" y="97"/>
                  </a:cubicBezTo>
                  <a:cubicBezTo>
                    <a:pt x="82" y="202"/>
                    <a:pt x="82" y="202"/>
                    <a:pt x="82" y="202"/>
                  </a:cubicBezTo>
                  <a:cubicBezTo>
                    <a:pt x="78" y="206"/>
                    <a:pt x="71" y="206"/>
                    <a:pt x="67" y="202"/>
                  </a:cubicBezTo>
                  <a:cubicBezTo>
                    <a:pt x="65" y="200"/>
                    <a:pt x="64" y="197"/>
                    <a:pt x="64" y="195"/>
                  </a:cubicBezTo>
                  <a:cubicBezTo>
                    <a:pt x="64" y="192"/>
                    <a:pt x="65" y="189"/>
                    <a:pt x="67" y="187"/>
                  </a:cubicBezTo>
                  <a:cubicBezTo>
                    <a:pt x="218" y="36"/>
                    <a:pt x="218" y="36"/>
                    <a:pt x="218" y="36"/>
                  </a:cubicBezTo>
                  <a:cubicBezTo>
                    <a:pt x="231" y="24"/>
                    <a:pt x="251" y="24"/>
                    <a:pt x="263" y="36"/>
                  </a:cubicBezTo>
                  <a:cubicBezTo>
                    <a:pt x="276" y="49"/>
                    <a:pt x="276" y="69"/>
                    <a:pt x="263" y="81"/>
                  </a:cubicBezTo>
                  <a:cubicBezTo>
                    <a:pt x="113" y="232"/>
                    <a:pt x="113" y="232"/>
                    <a:pt x="113" y="232"/>
                  </a:cubicBezTo>
                  <a:cubicBezTo>
                    <a:pt x="102" y="242"/>
                    <a:pt x="89" y="248"/>
                    <a:pt x="75" y="248"/>
                  </a:cubicBezTo>
                  <a:cubicBezTo>
                    <a:pt x="61" y="248"/>
                    <a:pt x="47" y="242"/>
                    <a:pt x="37" y="232"/>
                  </a:cubicBezTo>
                  <a:cubicBezTo>
                    <a:pt x="27" y="222"/>
                    <a:pt x="21" y="209"/>
                    <a:pt x="21" y="195"/>
                  </a:cubicBezTo>
                  <a:cubicBezTo>
                    <a:pt x="21" y="180"/>
                    <a:pt x="27" y="167"/>
                    <a:pt x="37" y="157"/>
                  </a:cubicBezTo>
                  <a:cubicBezTo>
                    <a:pt x="143" y="51"/>
                    <a:pt x="143" y="51"/>
                    <a:pt x="143" y="51"/>
                  </a:cubicBezTo>
                  <a:cubicBezTo>
                    <a:pt x="147" y="47"/>
                    <a:pt x="147" y="40"/>
                    <a:pt x="143" y="36"/>
                  </a:cubicBezTo>
                  <a:cubicBezTo>
                    <a:pt x="139" y="32"/>
                    <a:pt x="132" y="32"/>
                    <a:pt x="128" y="36"/>
                  </a:cubicBezTo>
                  <a:cubicBezTo>
                    <a:pt x="22" y="142"/>
                    <a:pt x="22" y="142"/>
                    <a:pt x="22" y="142"/>
                  </a:cubicBezTo>
                  <a:cubicBezTo>
                    <a:pt x="8" y="156"/>
                    <a:pt x="0" y="175"/>
                    <a:pt x="0" y="195"/>
                  </a:cubicBezTo>
                  <a:cubicBezTo>
                    <a:pt x="0" y="215"/>
                    <a:pt x="8" y="233"/>
                    <a:pt x="22" y="247"/>
                  </a:cubicBezTo>
                  <a:cubicBezTo>
                    <a:pt x="36" y="261"/>
                    <a:pt x="55" y="269"/>
                    <a:pt x="75" y="269"/>
                  </a:cubicBezTo>
                  <a:cubicBezTo>
                    <a:pt x="95" y="269"/>
                    <a:pt x="113" y="261"/>
                    <a:pt x="128" y="247"/>
                  </a:cubicBezTo>
                  <a:cubicBezTo>
                    <a:pt x="278" y="97"/>
                    <a:pt x="278" y="97"/>
                    <a:pt x="278" y="97"/>
                  </a:cubicBezTo>
                  <a:cubicBezTo>
                    <a:pt x="299" y="76"/>
                    <a:pt x="299" y="42"/>
                    <a:pt x="278"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9" name="Freeform 197">
              <a:extLst>
                <a:ext uri="{FF2B5EF4-FFF2-40B4-BE49-F238E27FC236}">
                  <a16:creationId xmlns:a16="http://schemas.microsoft.com/office/drawing/2014/main" id="{0CE0B368-862F-41A9-892A-4BE6C38A398E}"/>
                </a:ext>
              </a:extLst>
            </p:cNvPr>
            <p:cNvSpPr>
              <a:spLocks noEditPoints="1"/>
            </p:cNvSpPr>
            <p:nvPr/>
          </p:nvSpPr>
          <p:spPr bwMode="auto">
            <a:xfrm>
              <a:off x="7340" y="4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80" name="TextBox 979">
            <a:extLst>
              <a:ext uri="{FF2B5EF4-FFF2-40B4-BE49-F238E27FC236}">
                <a16:creationId xmlns:a16="http://schemas.microsoft.com/office/drawing/2014/main" id="{7F67A02F-BB14-471C-AEE9-29DD5E7BDD32}"/>
              </a:ext>
            </a:extLst>
          </p:cNvPr>
          <p:cNvSpPr txBox="1"/>
          <p:nvPr/>
        </p:nvSpPr>
        <p:spPr>
          <a:xfrm>
            <a:off x="10044029"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de</a:t>
            </a:r>
          </a:p>
        </p:txBody>
      </p:sp>
      <p:sp>
        <p:nvSpPr>
          <p:cNvPr id="981" name="Freeform 815">
            <a:extLst>
              <a:ext uri="{FF2B5EF4-FFF2-40B4-BE49-F238E27FC236}">
                <a16:creationId xmlns:a16="http://schemas.microsoft.com/office/drawing/2014/main" id="{A664401C-84FD-4E11-82D3-A33BCE588067}"/>
              </a:ext>
            </a:extLst>
          </p:cNvPr>
          <p:cNvSpPr>
            <a:spLocks noChangeAspect="1" noEditPoints="1"/>
          </p:cNvSpPr>
          <p:nvPr/>
        </p:nvSpPr>
        <p:spPr bwMode="auto">
          <a:xfrm>
            <a:off x="10059054" y="3292640"/>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9 w 512"/>
              <a:gd name="T11" fmla="*/ 334 h 512"/>
              <a:gd name="T12" fmla="*/ 199 w 512"/>
              <a:gd name="T13" fmla="*/ 349 h 512"/>
              <a:gd name="T14" fmla="*/ 192 w 512"/>
              <a:gd name="T15" fmla="*/ 352 h 512"/>
              <a:gd name="T16" fmla="*/ 184 w 512"/>
              <a:gd name="T17" fmla="*/ 349 h 512"/>
              <a:gd name="T18" fmla="*/ 99 w 512"/>
              <a:gd name="T19" fmla="*/ 264 h 512"/>
              <a:gd name="T20" fmla="*/ 99 w 512"/>
              <a:gd name="T21" fmla="*/ 248 h 512"/>
              <a:gd name="T22" fmla="*/ 184 w 512"/>
              <a:gd name="T23" fmla="*/ 163 h 512"/>
              <a:gd name="T24" fmla="*/ 199 w 512"/>
              <a:gd name="T25" fmla="*/ 163 h 512"/>
              <a:gd name="T26" fmla="*/ 199 w 512"/>
              <a:gd name="T27" fmla="*/ 178 h 512"/>
              <a:gd name="T28" fmla="*/ 121 w 512"/>
              <a:gd name="T29" fmla="*/ 256 h 512"/>
              <a:gd name="T30" fmla="*/ 199 w 512"/>
              <a:gd name="T31" fmla="*/ 334 h 512"/>
              <a:gd name="T32" fmla="*/ 241 w 512"/>
              <a:gd name="T33" fmla="*/ 386 h 512"/>
              <a:gd name="T34" fmla="*/ 230 w 512"/>
              <a:gd name="T35" fmla="*/ 395 h 512"/>
              <a:gd name="T36" fmla="*/ 228 w 512"/>
              <a:gd name="T37" fmla="*/ 394 h 512"/>
              <a:gd name="T38" fmla="*/ 220 w 512"/>
              <a:gd name="T39" fmla="*/ 382 h 512"/>
              <a:gd name="T40" fmla="*/ 271 w 512"/>
              <a:gd name="T41" fmla="*/ 126 h 512"/>
              <a:gd name="T42" fmla="*/ 283 w 512"/>
              <a:gd name="T43" fmla="*/ 118 h 512"/>
              <a:gd name="T44" fmla="*/ 292 w 512"/>
              <a:gd name="T45" fmla="*/ 130 h 512"/>
              <a:gd name="T46" fmla="*/ 241 w 512"/>
              <a:gd name="T47" fmla="*/ 386 h 512"/>
              <a:gd name="T48" fmla="*/ 413 w 512"/>
              <a:gd name="T49" fmla="*/ 264 h 512"/>
              <a:gd name="T50" fmla="*/ 327 w 512"/>
              <a:gd name="T51" fmla="*/ 349 h 512"/>
              <a:gd name="T52" fmla="*/ 320 w 512"/>
              <a:gd name="T53" fmla="*/ 352 h 512"/>
              <a:gd name="T54" fmla="*/ 312 w 512"/>
              <a:gd name="T55" fmla="*/ 349 h 512"/>
              <a:gd name="T56" fmla="*/ 312 w 512"/>
              <a:gd name="T57" fmla="*/ 334 h 512"/>
              <a:gd name="T58" fmla="*/ 390 w 512"/>
              <a:gd name="T59" fmla="*/ 256 h 512"/>
              <a:gd name="T60" fmla="*/ 312 w 512"/>
              <a:gd name="T61" fmla="*/ 178 h 512"/>
              <a:gd name="T62" fmla="*/ 312 w 512"/>
              <a:gd name="T63" fmla="*/ 163 h 512"/>
              <a:gd name="T64" fmla="*/ 327 w 512"/>
              <a:gd name="T65" fmla="*/ 163 h 512"/>
              <a:gd name="T66" fmla="*/ 413 w 512"/>
              <a:gd name="T67" fmla="*/ 248 h 512"/>
              <a:gd name="T68" fmla="*/ 413 w 512"/>
              <a:gd name="T69"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9" y="334"/>
                </a:moveTo>
                <a:cubicBezTo>
                  <a:pt x="203" y="338"/>
                  <a:pt x="203" y="345"/>
                  <a:pt x="199" y="349"/>
                </a:cubicBezTo>
                <a:cubicBezTo>
                  <a:pt x="197" y="351"/>
                  <a:pt x="194" y="352"/>
                  <a:pt x="192" y="352"/>
                </a:cubicBezTo>
                <a:cubicBezTo>
                  <a:pt x="189" y="352"/>
                  <a:pt x="186" y="351"/>
                  <a:pt x="184" y="349"/>
                </a:cubicBezTo>
                <a:cubicBezTo>
                  <a:pt x="99" y="264"/>
                  <a:pt x="99" y="264"/>
                  <a:pt x="99" y="264"/>
                </a:cubicBezTo>
                <a:cubicBezTo>
                  <a:pt x="95" y="259"/>
                  <a:pt x="95" y="253"/>
                  <a:pt x="99" y="248"/>
                </a:cubicBezTo>
                <a:cubicBezTo>
                  <a:pt x="184" y="163"/>
                  <a:pt x="184" y="163"/>
                  <a:pt x="184" y="163"/>
                </a:cubicBezTo>
                <a:cubicBezTo>
                  <a:pt x="188" y="159"/>
                  <a:pt x="195" y="159"/>
                  <a:pt x="199" y="163"/>
                </a:cubicBezTo>
                <a:cubicBezTo>
                  <a:pt x="203" y="167"/>
                  <a:pt x="203" y="174"/>
                  <a:pt x="199" y="178"/>
                </a:cubicBezTo>
                <a:cubicBezTo>
                  <a:pt x="121" y="256"/>
                  <a:pt x="121" y="256"/>
                  <a:pt x="121" y="256"/>
                </a:cubicBezTo>
                <a:lnTo>
                  <a:pt x="199" y="334"/>
                </a:lnTo>
                <a:close/>
                <a:moveTo>
                  <a:pt x="241" y="386"/>
                </a:moveTo>
                <a:cubicBezTo>
                  <a:pt x="240" y="391"/>
                  <a:pt x="235" y="395"/>
                  <a:pt x="230" y="395"/>
                </a:cubicBezTo>
                <a:cubicBezTo>
                  <a:pt x="229" y="395"/>
                  <a:pt x="229" y="395"/>
                  <a:pt x="228" y="394"/>
                </a:cubicBezTo>
                <a:cubicBezTo>
                  <a:pt x="222" y="393"/>
                  <a:pt x="218" y="388"/>
                  <a:pt x="220" y="382"/>
                </a:cubicBezTo>
                <a:cubicBezTo>
                  <a:pt x="271" y="126"/>
                  <a:pt x="271" y="126"/>
                  <a:pt x="271" y="126"/>
                </a:cubicBezTo>
                <a:cubicBezTo>
                  <a:pt x="272" y="120"/>
                  <a:pt x="278" y="116"/>
                  <a:pt x="283" y="118"/>
                </a:cubicBezTo>
                <a:cubicBezTo>
                  <a:pt x="289" y="119"/>
                  <a:pt x="293" y="124"/>
                  <a:pt x="292" y="130"/>
                </a:cubicBezTo>
                <a:lnTo>
                  <a:pt x="241" y="386"/>
                </a:lnTo>
                <a:close/>
                <a:moveTo>
                  <a:pt x="413" y="264"/>
                </a:moveTo>
                <a:cubicBezTo>
                  <a:pt x="327" y="349"/>
                  <a:pt x="327" y="349"/>
                  <a:pt x="327" y="349"/>
                </a:cubicBezTo>
                <a:cubicBezTo>
                  <a:pt x="325" y="351"/>
                  <a:pt x="322" y="352"/>
                  <a:pt x="320" y="352"/>
                </a:cubicBezTo>
                <a:cubicBezTo>
                  <a:pt x="317" y="352"/>
                  <a:pt x="314" y="351"/>
                  <a:pt x="312" y="349"/>
                </a:cubicBezTo>
                <a:cubicBezTo>
                  <a:pt x="308" y="345"/>
                  <a:pt x="308" y="338"/>
                  <a:pt x="312" y="334"/>
                </a:cubicBezTo>
                <a:cubicBezTo>
                  <a:pt x="390" y="256"/>
                  <a:pt x="390" y="256"/>
                  <a:pt x="390" y="256"/>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7" y="253"/>
                  <a:pt x="417" y="259"/>
                  <a:pt x="413" y="26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82" name="Group 8">
            <a:extLst>
              <a:ext uri="{FF2B5EF4-FFF2-40B4-BE49-F238E27FC236}">
                <a16:creationId xmlns:a16="http://schemas.microsoft.com/office/drawing/2014/main" id="{62BAB93B-3481-470B-9F1E-15C08C867605}"/>
              </a:ext>
            </a:extLst>
          </p:cNvPr>
          <p:cNvGrpSpPr>
            <a:grpSpLocks noChangeAspect="1"/>
          </p:cNvGrpSpPr>
          <p:nvPr/>
        </p:nvGrpSpPr>
        <p:grpSpPr bwMode="auto">
          <a:xfrm>
            <a:off x="10494402" y="3292640"/>
            <a:ext cx="367631" cy="367631"/>
            <a:chOff x="4229" y="1872"/>
            <a:chExt cx="340" cy="340"/>
          </a:xfrm>
          <a:solidFill>
            <a:schemeClr val="accent1"/>
          </a:solidFill>
        </p:grpSpPr>
        <p:sp>
          <p:nvSpPr>
            <p:cNvPr id="983" name="Freeform 9">
              <a:extLst>
                <a:ext uri="{FF2B5EF4-FFF2-40B4-BE49-F238E27FC236}">
                  <a16:creationId xmlns:a16="http://schemas.microsoft.com/office/drawing/2014/main" id="{C30AF00A-79C7-461E-9788-8AF134A616BA}"/>
                </a:ext>
              </a:extLst>
            </p:cNvPr>
            <p:cNvSpPr>
              <a:spLocks noEditPoints="1"/>
            </p:cNvSpPr>
            <p:nvPr/>
          </p:nvSpPr>
          <p:spPr bwMode="auto">
            <a:xfrm>
              <a:off x="4292" y="1949"/>
              <a:ext cx="214" cy="185"/>
            </a:xfrm>
            <a:custGeom>
              <a:avLst/>
              <a:gdLst>
                <a:gd name="T0" fmla="*/ 97 w 322"/>
                <a:gd name="T1" fmla="*/ 236 h 279"/>
                <a:gd name="T2" fmla="*/ 89 w 322"/>
                <a:gd name="T3" fmla="*/ 233 h 279"/>
                <a:gd name="T4" fmla="*/ 4 w 322"/>
                <a:gd name="T5" fmla="*/ 148 h 279"/>
                <a:gd name="T6" fmla="*/ 4 w 322"/>
                <a:gd name="T7" fmla="*/ 132 h 279"/>
                <a:gd name="T8" fmla="*/ 89 w 322"/>
                <a:gd name="T9" fmla="*/ 47 h 279"/>
                <a:gd name="T10" fmla="*/ 104 w 322"/>
                <a:gd name="T11" fmla="*/ 47 h 279"/>
                <a:gd name="T12" fmla="*/ 104 w 322"/>
                <a:gd name="T13" fmla="*/ 62 h 279"/>
                <a:gd name="T14" fmla="*/ 26 w 322"/>
                <a:gd name="T15" fmla="*/ 140 h 279"/>
                <a:gd name="T16" fmla="*/ 104 w 322"/>
                <a:gd name="T17" fmla="*/ 218 h 279"/>
                <a:gd name="T18" fmla="*/ 104 w 322"/>
                <a:gd name="T19" fmla="*/ 233 h 279"/>
                <a:gd name="T20" fmla="*/ 97 w 322"/>
                <a:gd name="T21" fmla="*/ 236 h 279"/>
                <a:gd name="T22" fmla="*/ 232 w 322"/>
                <a:gd name="T23" fmla="*/ 233 h 279"/>
                <a:gd name="T24" fmla="*/ 318 w 322"/>
                <a:gd name="T25" fmla="*/ 148 h 279"/>
                <a:gd name="T26" fmla="*/ 318 w 322"/>
                <a:gd name="T27" fmla="*/ 132 h 279"/>
                <a:gd name="T28" fmla="*/ 232 w 322"/>
                <a:gd name="T29" fmla="*/ 47 h 279"/>
                <a:gd name="T30" fmla="*/ 217 w 322"/>
                <a:gd name="T31" fmla="*/ 47 h 279"/>
                <a:gd name="T32" fmla="*/ 217 w 322"/>
                <a:gd name="T33" fmla="*/ 62 h 279"/>
                <a:gd name="T34" fmla="*/ 295 w 322"/>
                <a:gd name="T35" fmla="*/ 140 h 279"/>
                <a:gd name="T36" fmla="*/ 217 w 322"/>
                <a:gd name="T37" fmla="*/ 218 h 279"/>
                <a:gd name="T38" fmla="*/ 217 w 322"/>
                <a:gd name="T39" fmla="*/ 233 h 279"/>
                <a:gd name="T40" fmla="*/ 225 w 322"/>
                <a:gd name="T41" fmla="*/ 236 h 279"/>
                <a:gd name="T42" fmla="*/ 232 w 322"/>
                <a:gd name="T43" fmla="*/ 233 h 279"/>
                <a:gd name="T44" fmla="*/ 146 w 322"/>
                <a:gd name="T45" fmla="*/ 270 h 279"/>
                <a:gd name="T46" fmla="*/ 197 w 322"/>
                <a:gd name="T47" fmla="*/ 14 h 279"/>
                <a:gd name="T48" fmla="*/ 188 w 322"/>
                <a:gd name="T49" fmla="*/ 2 h 279"/>
                <a:gd name="T50" fmla="*/ 176 w 322"/>
                <a:gd name="T51" fmla="*/ 10 h 279"/>
                <a:gd name="T52" fmla="*/ 125 w 322"/>
                <a:gd name="T53" fmla="*/ 266 h 279"/>
                <a:gd name="T54" fmla="*/ 133 w 322"/>
                <a:gd name="T55" fmla="*/ 278 h 279"/>
                <a:gd name="T56" fmla="*/ 135 w 322"/>
                <a:gd name="T57" fmla="*/ 279 h 279"/>
                <a:gd name="T58" fmla="*/ 146 w 322"/>
                <a:gd name="T59" fmla="*/ 27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2" h="279">
                  <a:moveTo>
                    <a:pt x="97" y="236"/>
                  </a:moveTo>
                  <a:cubicBezTo>
                    <a:pt x="94" y="236"/>
                    <a:pt x="91" y="235"/>
                    <a:pt x="89" y="233"/>
                  </a:cubicBezTo>
                  <a:cubicBezTo>
                    <a:pt x="4" y="148"/>
                    <a:pt x="4" y="148"/>
                    <a:pt x="4" y="148"/>
                  </a:cubicBezTo>
                  <a:cubicBezTo>
                    <a:pt x="0" y="143"/>
                    <a:pt x="0" y="137"/>
                    <a:pt x="4" y="132"/>
                  </a:cubicBezTo>
                  <a:cubicBezTo>
                    <a:pt x="89" y="47"/>
                    <a:pt x="89" y="47"/>
                    <a:pt x="89" y="47"/>
                  </a:cubicBezTo>
                  <a:cubicBezTo>
                    <a:pt x="93" y="43"/>
                    <a:pt x="100" y="43"/>
                    <a:pt x="104" y="47"/>
                  </a:cubicBezTo>
                  <a:cubicBezTo>
                    <a:pt x="108" y="51"/>
                    <a:pt x="108" y="58"/>
                    <a:pt x="104" y="62"/>
                  </a:cubicBezTo>
                  <a:cubicBezTo>
                    <a:pt x="26" y="140"/>
                    <a:pt x="26" y="140"/>
                    <a:pt x="26" y="140"/>
                  </a:cubicBezTo>
                  <a:cubicBezTo>
                    <a:pt x="104" y="218"/>
                    <a:pt x="104" y="218"/>
                    <a:pt x="104" y="218"/>
                  </a:cubicBezTo>
                  <a:cubicBezTo>
                    <a:pt x="108" y="222"/>
                    <a:pt x="108" y="229"/>
                    <a:pt x="104" y="233"/>
                  </a:cubicBezTo>
                  <a:cubicBezTo>
                    <a:pt x="102" y="235"/>
                    <a:pt x="99" y="236"/>
                    <a:pt x="97" y="236"/>
                  </a:cubicBezTo>
                  <a:close/>
                  <a:moveTo>
                    <a:pt x="232" y="233"/>
                  </a:moveTo>
                  <a:cubicBezTo>
                    <a:pt x="318" y="148"/>
                    <a:pt x="318" y="148"/>
                    <a:pt x="318" y="148"/>
                  </a:cubicBezTo>
                  <a:cubicBezTo>
                    <a:pt x="322" y="143"/>
                    <a:pt x="322" y="137"/>
                    <a:pt x="318" y="132"/>
                  </a:cubicBezTo>
                  <a:cubicBezTo>
                    <a:pt x="232" y="47"/>
                    <a:pt x="232" y="47"/>
                    <a:pt x="232" y="47"/>
                  </a:cubicBezTo>
                  <a:cubicBezTo>
                    <a:pt x="228" y="43"/>
                    <a:pt x="221" y="43"/>
                    <a:pt x="217" y="47"/>
                  </a:cubicBezTo>
                  <a:cubicBezTo>
                    <a:pt x="213" y="51"/>
                    <a:pt x="213" y="58"/>
                    <a:pt x="217" y="62"/>
                  </a:cubicBezTo>
                  <a:cubicBezTo>
                    <a:pt x="295" y="140"/>
                    <a:pt x="295" y="140"/>
                    <a:pt x="295" y="140"/>
                  </a:cubicBezTo>
                  <a:cubicBezTo>
                    <a:pt x="217" y="218"/>
                    <a:pt x="217" y="218"/>
                    <a:pt x="217" y="218"/>
                  </a:cubicBezTo>
                  <a:cubicBezTo>
                    <a:pt x="213" y="222"/>
                    <a:pt x="213" y="229"/>
                    <a:pt x="217" y="233"/>
                  </a:cubicBezTo>
                  <a:cubicBezTo>
                    <a:pt x="219" y="235"/>
                    <a:pt x="222" y="236"/>
                    <a:pt x="225" y="236"/>
                  </a:cubicBezTo>
                  <a:cubicBezTo>
                    <a:pt x="227" y="236"/>
                    <a:pt x="230" y="235"/>
                    <a:pt x="232" y="233"/>
                  </a:cubicBezTo>
                  <a:close/>
                  <a:moveTo>
                    <a:pt x="146" y="270"/>
                  </a:moveTo>
                  <a:cubicBezTo>
                    <a:pt x="197" y="14"/>
                    <a:pt x="197" y="14"/>
                    <a:pt x="197" y="14"/>
                  </a:cubicBezTo>
                  <a:cubicBezTo>
                    <a:pt x="198" y="8"/>
                    <a:pt x="194" y="3"/>
                    <a:pt x="188" y="2"/>
                  </a:cubicBezTo>
                  <a:cubicBezTo>
                    <a:pt x="183" y="0"/>
                    <a:pt x="177" y="4"/>
                    <a:pt x="176" y="10"/>
                  </a:cubicBezTo>
                  <a:cubicBezTo>
                    <a:pt x="125" y="266"/>
                    <a:pt x="125" y="266"/>
                    <a:pt x="125" y="266"/>
                  </a:cubicBezTo>
                  <a:cubicBezTo>
                    <a:pt x="123" y="272"/>
                    <a:pt x="127" y="277"/>
                    <a:pt x="133" y="278"/>
                  </a:cubicBezTo>
                  <a:cubicBezTo>
                    <a:pt x="134" y="279"/>
                    <a:pt x="134" y="279"/>
                    <a:pt x="135" y="279"/>
                  </a:cubicBezTo>
                  <a:cubicBezTo>
                    <a:pt x="140" y="279"/>
                    <a:pt x="145" y="275"/>
                    <a:pt x="146"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84" name="Freeform 10">
              <a:extLst>
                <a:ext uri="{FF2B5EF4-FFF2-40B4-BE49-F238E27FC236}">
                  <a16:creationId xmlns:a16="http://schemas.microsoft.com/office/drawing/2014/main" id="{7184593E-F4F9-48D3-8044-FC7D7EB599AC}"/>
                </a:ext>
              </a:extLst>
            </p:cNvPr>
            <p:cNvSpPr>
              <a:spLocks noEditPoints="1"/>
            </p:cNvSpPr>
            <p:nvPr/>
          </p:nvSpPr>
          <p:spPr bwMode="auto">
            <a:xfrm>
              <a:off x="4229" y="1872"/>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85" name="TextBox 984">
            <a:extLst>
              <a:ext uri="{FF2B5EF4-FFF2-40B4-BE49-F238E27FC236}">
                <a16:creationId xmlns:a16="http://schemas.microsoft.com/office/drawing/2014/main" id="{9D441C50-F6D6-4C41-B54C-C12DE3E8488F}"/>
              </a:ext>
            </a:extLst>
          </p:cNvPr>
          <p:cNvSpPr txBox="1"/>
          <p:nvPr/>
        </p:nvSpPr>
        <p:spPr>
          <a:xfrm>
            <a:off x="2213996"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audio</a:t>
            </a:r>
          </a:p>
        </p:txBody>
      </p:sp>
      <p:sp>
        <p:nvSpPr>
          <p:cNvPr id="986" name="TextBox 985">
            <a:extLst>
              <a:ext uri="{FF2B5EF4-FFF2-40B4-BE49-F238E27FC236}">
                <a16:creationId xmlns:a16="http://schemas.microsoft.com/office/drawing/2014/main" id="{F84B1CA0-9CA2-453B-9147-A1BACCC8F4B0}"/>
              </a:ext>
            </a:extLst>
          </p:cNvPr>
          <p:cNvSpPr txBox="1"/>
          <p:nvPr/>
        </p:nvSpPr>
        <p:spPr>
          <a:xfrm>
            <a:off x="3086234"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code</a:t>
            </a:r>
          </a:p>
        </p:txBody>
      </p:sp>
      <p:sp>
        <p:nvSpPr>
          <p:cNvPr id="987" name="TextBox 986">
            <a:extLst>
              <a:ext uri="{FF2B5EF4-FFF2-40B4-BE49-F238E27FC236}">
                <a16:creationId xmlns:a16="http://schemas.microsoft.com/office/drawing/2014/main" id="{2AF006B0-1FF1-485A-8F81-FD99E34CD3AA}"/>
              </a:ext>
            </a:extLst>
          </p:cNvPr>
          <p:cNvSpPr txBox="1"/>
          <p:nvPr/>
        </p:nvSpPr>
        <p:spPr>
          <a:xfrm>
            <a:off x="1341758" y="3683706"/>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Doc</a:t>
            </a:r>
          </a:p>
        </p:txBody>
      </p:sp>
      <p:sp>
        <p:nvSpPr>
          <p:cNvPr id="988" name="Freeform 641">
            <a:extLst>
              <a:ext uri="{FF2B5EF4-FFF2-40B4-BE49-F238E27FC236}">
                <a16:creationId xmlns:a16="http://schemas.microsoft.com/office/drawing/2014/main" id="{735121D2-4C9E-44EA-AE06-46A923B6B9CD}"/>
              </a:ext>
            </a:extLst>
          </p:cNvPr>
          <p:cNvSpPr>
            <a:spLocks noChangeAspect="1" noEditPoints="1"/>
          </p:cNvSpPr>
          <p:nvPr/>
        </p:nvSpPr>
        <p:spPr bwMode="auto">
          <a:xfrm>
            <a:off x="2206985" y="3292640"/>
            <a:ext cx="367631" cy="367631"/>
          </a:xfrm>
          <a:custGeom>
            <a:avLst/>
            <a:gdLst>
              <a:gd name="T0" fmla="*/ 309 w 512"/>
              <a:gd name="T1" fmla="*/ 330 h 512"/>
              <a:gd name="T2" fmla="*/ 298 w 512"/>
              <a:gd name="T3" fmla="*/ 341 h 512"/>
              <a:gd name="T4" fmla="*/ 288 w 512"/>
              <a:gd name="T5" fmla="*/ 330 h 512"/>
              <a:gd name="T6" fmla="*/ 298 w 512"/>
              <a:gd name="T7" fmla="*/ 320 h 512"/>
              <a:gd name="T8" fmla="*/ 309 w 512"/>
              <a:gd name="T9" fmla="*/ 330 h 512"/>
              <a:gd name="T10" fmla="*/ 213 w 512"/>
              <a:gd name="T11" fmla="*/ 330 h 512"/>
              <a:gd name="T12" fmla="*/ 202 w 512"/>
              <a:gd name="T13" fmla="*/ 341 h 512"/>
              <a:gd name="T14" fmla="*/ 213 w 512"/>
              <a:gd name="T15" fmla="*/ 352 h 512"/>
              <a:gd name="T16" fmla="*/ 224 w 512"/>
              <a:gd name="T17" fmla="*/ 341 h 512"/>
              <a:gd name="T18" fmla="*/ 213 w 512"/>
              <a:gd name="T19" fmla="*/ 330 h 512"/>
              <a:gd name="T20" fmla="*/ 298 w 512"/>
              <a:gd name="T21" fmla="*/ 132 h 512"/>
              <a:gd name="T22" fmla="*/ 298 w 512"/>
              <a:gd name="T23" fmla="*/ 170 h 512"/>
              <a:gd name="T24" fmla="*/ 337 w 512"/>
              <a:gd name="T25" fmla="*/ 170 h 512"/>
              <a:gd name="T26" fmla="*/ 298 w 512"/>
              <a:gd name="T27" fmla="*/ 132 h 512"/>
              <a:gd name="T28" fmla="*/ 288 w 512"/>
              <a:gd name="T29" fmla="*/ 192 h 512"/>
              <a:gd name="T30" fmla="*/ 352 w 512"/>
              <a:gd name="T31" fmla="*/ 192 h 512"/>
              <a:gd name="T32" fmla="*/ 352 w 512"/>
              <a:gd name="T33" fmla="*/ 394 h 512"/>
              <a:gd name="T34" fmla="*/ 160 w 512"/>
              <a:gd name="T35" fmla="*/ 394 h 512"/>
              <a:gd name="T36" fmla="*/ 160 w 512"/>
              <a:gd name="T37" fmla="*/ 117 h 512"/>
              <a:gd name="T38" fmla="*/ 277 w 512"/>
              <a:gd name="T39" fmla="*/ 117 h 512"/>
              <a:gd name="T40" fmla="*/ 277 w 512"/>
              <a:gd name="T41" fmla="*/ 181 h 512"/>
              <a:gd name="T42" fmla="*/ 288 w 512"/>
              <a:gd name="T43" fmla="*/ 192 h 512"/>
              <a:gd name="T44" fmla="*/ 317 w 512"/>
              <a:gd name="T45" fmla="*/ 224 h 512"/>
              <a:gd name="T46" fmla="*/ 232 w 512"/>
              <a:gd name="T47" fmla="*/ 245 h 512"/>
              <a:gd name="T48" fmla="*/ 224 w 512"/>
              <a:gd name="T49" fmla="*/ 256 h 512"/>
              <a:gd name="T50" fmla="*/ 224 w 512"/>
              <a:gd name="T51" fmla="*/ 311 h 512"/>
              <a:gd name="T52" fmla="*/ 213 w 512"/>
              <a:gd name="T53" fmla="*/ 309 h 512"/>
              <a:gd name="T54" fmla="*/ 181 w 512"/>
              <a:gd name="T55" fmla="*/ 341 h 512"/>
              <a:gd name="T56" fmla="*/ 213 w 512"/>
              <a:gd name="T57" fmla="*/ 373 h 512"/>
              <a:gd name="T58" fmla="*/ 245 w 512"/>
              <a:gd name="T59" fmla="*/ 341 h 512"/>
              <a:gd name="T60" fmla="*/ 245 w 512"/>
              <a:gd name="T61" fmla="*/ 264 h 512"/>
              <a:gd name="T62" fmla="*/ 309 w 512"/>
              <a:gd name="T63" fmla="*/ 248 h 512"/>
              <a:gd name="T64" fmla="*/ 309 w 512"/>
              <a:gd name="T65" fmla="*/ 300 h 512"/>
              <a:gd name="T66" fmla="*/ 298 w 512"/>
              <a:gd name="T67" fmla="*/ 298 h 512"/>
              <a:gd name="T68" fmla="*/ 266 w 512"/>
              <a:gd name="T69" fmla="*/ 330 h 512"/>
              <a:gd name="T70" fmla="*/ 298 w 512"/>
              <a:gd name="T71" fmla="*/ 362 h 512"/>
              <a:gd name="T72" fmla="*/ 330 w 512"/>
              <a:gd name="T73" fmla="*/ 330 h 512"/>
              <a:gd name="T74" fmla="*/ 330 w 512"/>
              <a:gd name="T75" fmla="*/ 234 h 512"/>
              <a:gd name="T76" fmla="*/ 330 w 512"/>
              <a:gd name="T77" fmla="*/ 232 h 512"/>
              <a:gd name="T78" fmla="*/ 317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1 h 512"/>
              <a:gd name="T92" fmla="*/ 372 w 512"/>
              <a:gd name="T93" fmla="*/ 177 h 512"/>
              <a:gd name="T94" fmla="*/ 370 w 512"/>
              <a:gd name="T95" fmla="*/ 173 h 512"/>
              <a:gd name="T96" fmla="*/ 295 w 512"/>
              <a:gd name="T97" fmla="*/ 99 h 512"/>
              <a:gd name="T98" fmla="*/ 292 w 512"/>
              <a:gd name="T99" fmla="*/ 96 h 512"/>
              <a:gd name="T100" fmla="*/ 288 w 512"/>
              <a:gd name="T101" fmla="*/ 96 h 512"/>
              <a:gd name="T102" fmla="*/ 149 w 512"/>
              <a:gd name="T103" fmla="*/ 96 h 512"/>
              <a:gd name="T104" fmla="*/ 138 w 512"/>
              <a:gd name="T105" fmla="*/ 106 h 512"/>
              <a:gd name="T106" fmla="*/ 138 w 512"/>
              <a:gd name="T107" fmla="*/ 405 h 512"/>
              <a:gd name="T108" fmla="*/ 149 w 512"/>
              <a:gd name="T109" fmla="*/ 416 h 512"/>
              <a:gd name="T110" fmla="*/ 362 w 512"/>
              <a:gd name="T111" fmla="*/ 416 h 512"/>
              <a:gd name="T112" fmla="*/ 373 w 512"/>
              <a:gd name="T113" fmla="*/ 405 h 512"/>
              <a:gd name="T114" fmla="*/ 373 w 512"/>
              <a:gd name="T11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09" y="330"/>
                </a:moveTo>
                <a:cubicBezTo>
                  <a:pt x="309" y="336"/>
                  <a:pt x="304" y="341"/>
                  <a:pt x="298" y="341"/>
                </a:cubicBezTo>
                <a:cubicBezTo>
                  <a:pt x="292" y="341"/>
                  <a:pt x="288" y="336"/>
                  <a:pt x="288" y="330"/>
                </a:cubicBezTo>
                <a:cubicBezTo>
                  <a:pt x="288" y="324"/>
                  <a:pt x="292" y="320"/>
                  <a:pt x="298" y="320"/>
                </a:cubicBezTo>
                <a:cubicBezTo>
                  <a:pt x="304" y="320"/>
                  <a:pt x="309" y="324"/>
                  <a:pt x="309" y="330"/>
                </a:cubicBezTo>
                <a:close/>
                <a:moveTo>
                  <a:pt x="213" y="330"/>
                </a:moveTo>
                <a:cubicBezTo>
                  <a:pt x="207" y="330"/>
                  <a:pt x="202" y="335"/>
                  <a:pt x="202" y="341"/>
                </a:cubicBezTo>
                <a:cubicBezTo>
                  <a:pt x="202" y="347"/>
                  <a:pt x="207" y="352"/>
                  <a:pt x="213" y="352"/>
                </a:cubicBezTo>
                <a:cubicBezTo>
                  <a:pt x="219" y="352"/>
                  <a:pt x="224" y="347"/>
                  <a:pt x="224" y="341"/>
                </a:cubicBezTo>
                <a:cubicBezTo>
                  <a:pt x="224" y="335"/>
                  <a:pt x="219" y="330"/>
                  <a:pt x="213" y="330"/>
                </a:cubicBezTo>
                <a:close/>
                <a:moveTo>
                  <a:pt x="298" y="132"/>
                </a:moveTo>
                <a:cubicBezTo>
                  <a:pt x="298" y="170"/>
                  <a:pt x="298" y="170"/>
                  <a:pt x="298" y="170"/>
                </a:cubicBezTo>
                <a:cubicBezTo>
                  <a:pt x="337" y="170"/>
                  <a:pt x="337" y="170"/>
                  <a:pt x="337" y="170"/>
                </a:cubicBezTo>
                <a:lnTo>
                  <a:pt x="298" y="132"/>
                </a:lnTo>
                <a:close/>
                <a:moveTo>
                  <a:pt x="288" y="192"/>
                </a:moveTo>
                <a:cubicBezTo>
                  <a:pt x="352" y="192"/>
                  <a:pt x="352" y="192"/>
                  <a:pt x="352" y="192"/>
                </a:cubicBezTo>
                <a:cubicBezTo>
                  <a:pt x="352" y="394"/>
                  <a:pt x="352" y="394"/>
                  <a:pt x="352" y="394"/>
                </a:cubicBezTo>
                <a:cubicBezTo>
                  <a:pt x="160" y="394"/>
                  <a:pt x="160" y="394"/>
                  <a:pt x="160" y="394"/>
                </a:cubicBezTo>
                <a:cubicBezTo>
                  <a:pt x="160" y="117"/>
                  <a:pt x="160" y="117"/>
                  <a:pt x="160" y="117"/>
                </a:cubicBezTo>
                <a:cubicBezTo>
                  <a:pt x="277" y="117"/>
                  <a:pt x="277" y="117"/>
                  <a:pt x="277" y="117"/>
                </a:cubicBezTo>
                <a:cubicBezTo>
                  <a:pt x="277" y="181"/>
                  <a:pt x="277" y="181"/>
                  <a:pt x="277" y="181"/>
                </a:cubicBezTo>
                <a:cubicBezTo>
                  <a:pt x="277" y="187"/>
                  <a:pt x="282" y="192"/>
                  <a:pt x="288" y="192"/>
                </a:cubicBezTo>
                <a:close/>
                <a:moveTo>
                  <a:pt x="317" y="224"/>
                </a:moveTo>
                <a:cubicBezTo>
                  <a:pt x="232" y="245"/>
                  <a:pt x="232" y="245"/>
                  <a:pt x="232" y="245"/>
                </a:cubicBezTo>
                <a:cubicBezTo>
                  <a:pt x="227" y="247"/>
                  <a:pt x="224" y="251"/>
                  <a:pt x="224" y="256"/>
                </a:cubicBezTo>
                <a:cubicBezTo>
                  <a:pt x="224" y="311"/>
                  <a:pt x="224" y="311"/>
                  <a:pt x="224" y="311"/>
                </a:cubicBezTo>
                <a:cubicBezTo>
                  <a:pt x="220" y="310"/>
                  <a:pt x="217" y="309"/>
                  <a:pt x="213" y="309"/>
                </a:cubicBezTo>
                <a:cubicBezTo>
                  <a:pt x="195" y="309"/>
                  <a:pt x="181" y="323"/>
                  <a:pt x="181" y="341"/>
                </a:cubicBezTo>
                <a:cubicBezTo>
                  <a:pt x="181" y="359"/>
                  <a:pt x="195" y="373"/>
                  <a:pt x="213" y="373"/>
                </a:cubicBezTo>
                <a:cubicBezTo>
                  <a:pt x="231" y="373"/>
                  <a:pt x="245" y="359"/>
                  <a:pt x="245" y="341"/>
                </a:cubicBezTo>
                <a:cubicBezTo>
                  <a:pt x="245" y="264"/>
                  <a:pt x="245" y="264"/>
                  <a:pt x="245" y="264"/>
                </a:cubicBezTo>
                <a:cubicBezTo>
                  <a:pt x="309" y="248"/>
                  <a:pt x="309" y="248"/>
                  <a:pt x="309" y="248"/>
                </a:cubicBezTo>
                <a:cubicBezTo>
                  <a:pt x="309" y="300"/>
                  <a:pt x="309" y="300"/>
                  <a:pt x="309" y="300"/>
                </a:cubicBezTo>
                <a:cubicBezTo>
                  <a:pt x="306" y="299"/>
                  <a:pt x="302" y="298"/>
                  <a:pt x="298" y="298"/>
                </a:cubicBezTo>
                <a:cubicBezTo>
                  <a:pt x="281" y="298"/>
                  <a:pt x="266" y="313"/>
                  <a:pt x="266" y="330"/>
                </a:cubicBezTo>
                <a:cubicBezTo>
                  <a:pt x="266" y="348"/>
                  <a:pt x="281" y="362"/>
                  <a:pt x="298" y="362"/>
                </a:cubicBezTo>
                <a:cubicBezTo>
                  <a:pt x="316" y="362"/>
                  <a:pt x="330" y="348"/>
                  <a:pt x="330" y="330"/>
                </a:cubicBezTo>
                <a:cubicBezTo>
                  <a:pt x="330" y="234"/>
                  <a:pt x="330" y="234"/>
                  <a:pt x="330" y="234"/>
                </a:cubicBezTo>
                <a:cubicBezTo>
                  <a:pt x="330" y="233"/>
                  <a:pt x="330" y="233"/>
                  <a:pt x="330" y="232"/>
                </a:cubicBezTo>
                <a:cubicBezTo>
                  <a:pt x="329" y="226"/>
                  <a:pt x="323" y="223"/>
                  <a:pt x="317"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80"/>
                  <a:pt x="373" y="178"/>
                  <a:pt x="372" y="177"/>
                </a:cubicBezTo>
                <a:cubicBezTo>
                  <a:pt x="372" y="176"/>
                  <a:pt x="371" y="174"/>
                  <a:pt x="370" y="173"/>
                </a:cubicBezTo>
                <a:cubicBezTo>
                  <a:pt x="295" y="99"/>
                  <a:pt x="295" y="99"/>
                  <a:pt x="295" y="99"/>
                </a:cubicBezTo>
                <a:cubicBezTo>
                  <a:pt x="294" y="98"/>
                  <a:pt x="293" y="97"/>
                  <a:pt x="292" y="96"/>
                </a:cubicBezTo>
                <a:cubicBezTo>
                  <a:pt x="290" y="96"/>
                  <a:pt x="289" y="96"/>
                  <a:pt x="288"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8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89" name="Group 644">
            <a:extLst>
              <a:ext uri="{FF2B5EF4-FFF2-40B4-BE49-F238E27FC236}">
                <a16:creationId xmlns:a16="http://schemas.microsoft.com/office/drawing/2014/main" id="{C127AC45-9F0C-4F9C-B4F4-2A92C4029C61}"/>
              </a:ext>
            </a:extLst>
          </p:cNvPr>
          <p:cNvGrpSpPr>
            <a:grpSpLocks noChangeAspect="1"/>
          </p:cNvGrpSpPr>
          <p:nvPr/>
        </p:nvGrpSpPr>
        <p:grpSpPr bwMode="auto">
          <a:xfrm>
            <a:off x="2642333" y="3292640"/>
            <a:ext cx="367631" cy="368713"/>
            <a:chOff x="5834" y="2368"/>
            <a:chExt cx="340" cy="341"/>
          </a:xfrm>
          <a:solidFill>
            <a:schemeClr val="accent1"/>
          </a:solidFill>
        </p:grpSpPr>
        <p:sp>
          <p:nvSpPr>
            <p:cNvPr id="990" name="Freeform 645">
              <a:extLst>
                <a:ext uri="{FF2B5EF4-FFF2-40B4-BE49-F238E27FC236}">
                  <a16:creationId xmlns:a16="http://schemas.microsoft.com/office/drawing/2014/main" id="{FB42CFF1-9867-410D-9861-131EC4FDB856}"/>
                </a:ext>
              </a:extLst>
            </p:cNvPr>
            <p:cNvSpPr>
              <a:spLocks noEditPoints="1"/>
            </p:cNvSpPr>
            <p:nvPr/>
          </p:nvSpPr>
          <p:spPr bwMode="auto">
            <a:xfrm>
              <a:off x="5926" y="2432"/>
              <a:ext cx="156" cy="213"/>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14 w 235"/>
                <a:gd name="T35" fmla="*/ 298 h 320"/>
                <a:gd name="T36" fmla="*/ 22 w 235"/>
                <a:gd name="T37" fmla="*/ 298 h 320"/>
                <a:gd name="T38" fmla="*/ 22 w 235"/>
                <a:gd name="T39" fmla="*/ 21 h 320"/>
                <a:gd name="T40" fmla="*/ 139 w 235"/>
                <a:gd name="T41" fmla="*/ 21 h 320"/>
                <a:gd name="T42" fmla="*/ 139 w 235"/>
                <a:gd name="T43" fmla="*/ 85 h 320"/>
                <a:gd name="T44" fmla="*/ 150 w 235"/>
                <a:gd name="T45" fmla="*/ 96 h 320"/>
                <a:gd name="T46" fmla="*/ 214 w 235"/>
                <a:gd name="T47" fmla="*/ 96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1" name="Freeform 646">
              <a:extLst>
                <a:ext uri="{FF2B5EF4-FFF2-40B4-BE49-F238E27FC236}">
                  <a16:creationId xmlns:a16="http://schemas.microsoft.com/office/drawing/2014/main" id="{AE1A2D18-37AB-4016-85AA-AB47D60EAC08}"/>
                </a:ext>
              </a:extLst>
            </p:cNvPr>
            <p:cNvSpPr>
              <a:spLocks noEditPoints="1"/>
            </p:cNvSpPr>
            <p:nvPr/>
          </p:nvSpPr>
          <p:spPr bwMode="auto">
            <a:xfrm>
              <a:off x="5954" y="2517"/>
              <a:ext cx="99" cy="99"/>
            </a:xfrm>
            <a:custGeom>
              <a:avLst/>
              <a:gdLst>
                <a:gd name="T0" fmla="*/ 43 w 149"/>
                <a:gd name="T1" fmla="*/ 33 h 150"/>
                <a:gd name="T2" fmla="*/ 43 w 149"/>
                <a:gd name="T3" fmla="*/ 88 h 150"/>
                <a:gd name="T4" fmla="*/ 32 w 149"/>
                <a:gd name="T5" fmla="*/ 86 h 150"/>
                <a:gd name="T6" fmla="*/ 0 w 149"/>
                <a:gd name="T7" fmla="*/ 118 h 150"/>
                <a:gd name="T8" fmla="*/ 32 w 149"/>
                <a:gd name="T9" fmla="*/ 150 h 150"/>
                <a:gd name="T10" fmla="*/ 64 w 149"/>
                <a:gd name="T11" fmla="*/ 118 h 150"/>
                <a:gd name="T12" fmla="*/ 64 w 149"/>
                <a:gd name="T13" fmla="*/ 41 h 150"/>
                <a:gd name="T14" fmla="*/ 128 w 149"/>
                <a:gd name="T15" fmla="*/ 25 h 150"/>
                <a:gd name="T16" fmla="*/ 128 w 149"/>
                <a:gd name="T17" fmla="*/ 77 h 150"/>
                <a:gd name="T18" fmla="*/ 117 w 149"/>
                <a:gd name="T19" fmla="*/ 75 h 150"/>
                <a:gd name="T20" fmla="*/ 85 w 149"/>
                <a:gd name="T21" fmla="*/ 107 h 150"/>
                <a:gd name="T22" fmla="*/ 117 w 149"/>
                <a:gd name="T23" fmla="*/ 139 h 150"/>
                <a:gd name="T24" fmla="*/ 149 w 149"/>
                <a:gd name="T25" fmla="*/ 107 h 150"/>
                <a:gd name="T26" fmla="*/ 149 w 149"/>
                <a:gd name="T27" fmla="*/ 11 h 150"/>
                <a:gd name="T28" fmla="*/ 149 w 149"/>
                <a:gd name="T29" fmla="*/ 9 h 150"/>
                <a:gd name="T30" fmla="*/ 136 w 149"/>
                <a:gd name="T31" fmla="*/ 1 h 150"/>
                <a:gd name="T32" fmla="*/ 51 w 149"/>
                <a:gd name="T33" fmla="*/ 22 h 150"/>
                <a:gd name="T34" fmla="*/ 43 w 149"/>
                <a:gd name="T35" fmla="*/ 33 h 150"/>
                <a:gd name="T36" fmla="*/ 32 w 149"/>
                <a:gd name="T37" fmla="*/ 129 h 150"/>
                <a:gd name="T38" fmla="*/ 21 w 149"/>
                <a:gd name="T39" fmla="*/ 118 h 150"/>
                <a:gd name="T40" fmla="*/ 32 w 149"/>
                <a:gd name="T41" fmla="*/ 107 h 150"/>
                <a:gd name="T42" fmla="*/ 43 w 149"/>
                <a:gd name="T43" fmla="*/ 118 h 150"/>
                <a:gd name="T44" fmla="*/ 32 w 149"/>
                <a:gd name="T45" fmla="*/ 129 h 150"/>
                <a:gd name="T46" fmla="*/ 117 w 149"/>
                <a:gd name="T47" fmla="*/ 118 h 150"/>
                <a:gd name="T48" fmla="*/ 107 w 149"/>
                <a:gd name="T49" fmla="*/ 107 h 150"/>
                <a:gd name="T50" fmla="*/ 117 w 149"/>
                <a:gd name="T51" fmla="*/ 97 h 150"/>
                <a:gd name="T52" fmla="*/ 128 w 149"/>
                <a:gd name="T53" fmla="*/ 107 h 150"/>
                <a:gd name="T54" fmla="*/ 117 w 149"/>
                <a:gd name="T55"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9" h="150">
                  <a:moveTo>
                    <a:pt x="43" y="33"/>
                  </a:moveTo>
                  <a:cubicBezTo>
                    <a:pt x="43" y="88"/>
                    <a:pt x="43" y="88"/>
                    <a:pt x="43" y="88"/>
                  </a:cubicBezTo>
                  <a:cubicBezTo>
                    <a:pt x="39" y="87"/>
                    <a:pt x="36" y="86"/>
                    <a:pt x="32" y="86"/>
                  </a:cubicBezTo>
                  <a:cubicBezTo>
                    <a:pt x="14" y="86"/>
                    <a:pt x="0" y="100"/>
                    <a:pt x="0" y="118"/>
                  </a:cubicBezTo>
                  <a:cubicBezTo>
                    <a:pt x="0" y="136"/>
                    <a:pt x="14" y="150"/>
                    <a:pt x="32" y="150"/>
                  </a:cubicBezTo>
                  <a:cubicBezTo>
                    <a:pt x="50" y="150"/>
                    <a:pt x="64" y="136"/>
                    <a:pt x="64" y="118"/>
                  </a:cubicBezTo>
                  <a:cubicBezTo>
                    <a:pt x="64" y="41"/>
                    <a:pt x="64" y="41"/>
                    <a:pt x="64" y="41"/>
                  </a:cubicBezTo>
                  <a:cubicBezTo>
                    <a:pt x="128" y="25"/>
                    <a:pt x="128" y="25"/>
                    <a:pt x="128" y="25"/>
                  </a:cubicBezTo>
                  <a:cubicBezTo>
                    <a:pt x="128" y="77"/>
                    <a:pt x="128" y="77"/>
                    <a:pt x="128" y="77"/>
                  </a:cubicBezTo>
                  <a:cubicBezTo>
                    <a:pt x="125" y="76"/>
                    <a:pt x="121" y="75"/>
                    <a:pt x="117" y="75"/>
                  </a:cubicBezTo>
                  <a:cubicBezTo>
                    <a:pt x="100" y="75"/>
                    <a:pt x="85" y="90"/>
                    <a:pt x="85" y="107"/>
                  </a:cubicBezTo>
                  <a:cubicBezTo>
                    <a:pt x="85" y="125"/>
                    <a:pt x="100" y="139"/>
                    <a:pt x="117" y="139"/>
                  </a:cubicBezTo>
                  <a:cubicBezTo>
                    <a:pt x="135" y="139"/>
                    <a:pt x="149" y="125"/>
                    <a:pt x="149" y="107"/>
                  </a:cubicBezTo>
                  <a:cubicBezTo>
                    <a:pt x="149" y="11"/>
                    <a:pt x="149" y="11"/>
                    <a:pt x="149" y="11"/>
                  </a:cubicBezTo>
                  <a:cubicBezTo>
                    <a:pt x="149" y="10"/>
                    <a:pt x="149" y="10"/>
                    <a:pt x="149" y="9"/>
                  </a:cubicBezTo>
                  <a:cubicBezTo>
                    <a:pt x="148" y="3"/>
                    <a:pt x="142" y="0"/>
                    <a:pt x="136" y="1"/>
                  </a:cubicBezTo>
                  <a:cubicBezTo>
                    <a:pt x="51" y="22"/>
                    <a:pt x="51" y="22"/>
                    <a:pt x="51" y="22"/>
                  </a:cubicBezTo>
                  <a:cubicBezTo>
                    <a:pt x="46" y="24"/>
                    <a:pt x="43" y="28"/>
                    <a:pt x="43" y="33"/>
                  </a:cubicBezTo>
                  <a:close/>
                  <a:moveTo>
                    <a:pt x="32" y="129"/>
                  </a:moveTo>
                  <a:cubicBezTo>
                    <a:pt x="26" y="129"/>
                    <a:pt x="21" y="124"/>
                    <a:pt x="21" y="118"/>
                  </a:cubicBezTo>
                  <a:cubicBezTo>
                    <a:pt x="21" y="112"/>
                    <a:pt x="26" y="107"/>
                    <a:pt x="32" y="107"/>
                  </a:cubicBezTo>
                  <a:cubicBezTo>
                    <a:pt x="38" y="107"/>
                    <a:pt x="43" y="112"/>
                    <a:pt x="43" y="118"/>
                  </a:cubicBezTo>
                  <a:cubicBezTo>
                    <a:pt x="43" y="124"/>
                    <a:pt x="38" y="129"/>
                    <a:pt x="32" y="129"/>
                  </a:cubicBezTo>
                  <a:close/>
                  <a:moveTo>
                    <a:pt x="117" y="118"/>
                  </a:moveTo>
                  <a:cubicBezTo>
                    <a:pt x="111" y="118"/>
                    <a:pt x="107" y="113"/>
                    <a:pt x="107" y="107"/>
                  </a:cubicBezTo>
                  <a:cubicBezTo>
                    <a:pt x="107" y="101"/>
                    <a:pt x="111" y="97"/>
                    <a:pt x="117" y="97"/>
                  </a:cubicBezTo>
                  <a:cubicBezTo>
                    <a:pt x="123" y="97"/>
                    <a:pt x="128" y="101"/>
                    <a:pt x="128" y="107"/>
                  </a:cubicBezTo>
                  <a:cubicBezTo>
                    <a:pt x="128" y="113"/>
                    <a:pt x="123" y="118"/>
                    <a:pt x="117"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2" name="Freeform 647">
              <a:extLst>
                <a:ext uri="{FF2B5EF4-FFF2-40B4-BE49-F238E27FC236}">
                  <a16:creationId xmlns:a16="http://schemas.microsoft.com/office/drawing/2014/main" id="{51E85691-1776-41D6-BB5F-94C962B31499}"/>
                </a:ext>
              </a:extLst>
            </p:cNvPr>
            <p:cNvSpPr>
              <a:spLocks noEditPoints="1"/>
            </p:cNvSpPr>
            <p:nvPr/>
          </p:nvSpPr>
          <p:spPr bwMode="auto">
            <a:xfrm>
              <a:off x="5834" y="236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93" name="Group 650">
            <a:extLst>
              <a:ext uri="{FF2B5EF4-FFF2-40B4-BE49-F238E27FC236}">
                <a16:creationId xmlns:a16="http://schemas.microsoft.com/office/drawing/2014/main" id="{F2538C72-CE34-4DEC-A920-43D218541ACD}"/>
              </a:ext>
            </a:extLst>
          </p:cNvPr>
          <p:cNvGrpSpPr>
            <a:grpSpLocks noChangeAspect="1"/>
          </p:cNvGrpSpPr>
          <p:nvPr/>
        </p:nvGrpSpPr>
        <p:grpSpPr bwMode="auto">
          <a:xfrm>
            <a:off x="3077681" y="3292640"/>
            <a:ext cx="367631" cy="367631"/>
            <a:chOff x="6224" y="2372"/>
            <a:chExt cx="340" cy="340"/>
          </a:xfrm>
          <a:solidFill>
            <a:schemeClr val="accent1"/>
          </a:solidFill>
        </p:grpSpPr>
        <p:sp>
          <p:nvSpPr>
            <p:cNvPr id="994" name="Freeform 651">
              <a:extLst>
                <a:ext uri="{FF2B5EF4-FFF2-40B4-BE49-F238E27FC236}">
                  <a16:creationId xmlns:a16="http://schemas.microsoft.com/office/drawing/2014/main" id="{8C76958B-9681-4FF5-BD03-3E21A91ACA11}"/>
                </a:ext>
              </a:extLst>
            </p:cNvPr>
            <p:cNvSpPr>
              <a:spLocks noEditPoints="1"/>
            </p:cNvSpPr>
            <p:nvPr/>
          </p:nvSpPr>
          <p:spPr bwMode="auto">
            <a:xfrm>
              <a:off x="6330" y="2450"/>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 name="T16" fmla="*/ 21 w 192"/>
                <a:gd name="T17" fmla="*/ 128 h 277"/>
                <a:gd name="T18" fmla="*/ 26 w 192"/>
                <a:gd name="T19" fmla="*/ 119 h 277"/>
                <a:gd name="T20" fmla="*/ 58 w 192"/>
                <a:gd name="T21" fmla="*/ 98 h 277"/>
                <a:gd name="T22" fmla="*/ 73 w 192"/>
                <a:gd name="T23" fmla="*/ 101 h 277"/>
                <a:gd name="T24" fmla="*/ 70 w 192"/>
                <a:gd name="T25" fmla="*/ 116 h 277"/>
                <a:gd name="T26" fmla="*/ 51 w 192"/>
                <a:gd name="T27" fmla="*/ 128 h 277"/>
                <a:gd name="T28" fmla="*/ 70 w 192"/>
                <a:gd name="T29" fmla="*/ 140 h 277"/>
                <a:gd name="T30" fmla="*/ 73 w 192"/>
                <a:gd name="T31" fmla="*/ 155 h 277"/>
                <a:gd name="T32" fmla="*/ 64 w 192"/>
                <a:gd name="T33" fmla="*/ 160 h 277"/>
                <a:gd name="T34" fmla="*/ 58 w 192"/>
                <a:gd name="T35" fmla="*/ 158 h 277"/>
                <a:gd name="T36" fmla="*/ 26 w 192"/>
                <a:gd name="T37" fmla="*/ 137 h 277"/>
                <a:gd name="T38" fmla="*/ 21 w 192"/>
                <a:gd name="T39" fmla="*/ 128 h 277"/>
                <a:gd name="T40" fmla="*/ 170 w 192"/>
                <a:gd name="T41" fmla="*/ 203 h 277"/>
                <a:gd name="T42" fmla="*/ 166 w 192"/>
                <a:gd name="T43" fmla="*/ 212 h 277"/>
                <a:gd name="T44" fmla="*/ 134 w 192"/>
                <a:gd name="T45" fmla="*/ 233 h 277"/>
                <a:gd name="T46" fmla="*/ 128 w 192"/>
                <a:gd name="T47" fmla="*/ 235 h 277"/>
                <a:gd name="T48" fmla="*/ 119 w 192"/>
                <a:gd name="T49" fmla="*/ 230 h 277"/>
                <a:gd name="T50" fmla="*/ 122 w 192"/>
                <a:gd name="T51" fmla="*/ 215 h 277"/>
                <a:gd name="T52" fmla="*/ 140 w 192"/>
                <a:gd name="T53" fmla="*/ 203 h 277"/>
                <a:gd name="T54" fmla="*/ 122 w 192"/>
                <a:gd name="T55" fmla="*/ 190 h 277"/>
                <a:gd name="T56" fmla="*/ 119 w 192"/>
                <a:gd name="T57" fmla="*/ 175 h 277"/>
                <a:gd name="T58" fmla="*/ 134 w 192"/>
                <a:gd name="T59" fmla="*/ 172 h 277"/>
                <a:gd name="T60" fmla="*/ 166 w 192"/>
                <a:gd name="T61" fmla="*/ 194 h 277"/>
                <a:gd name="T62" fmla="*/ 170 w 192"/>
                <a:gd name="T63" fmla="*/ 203 h 277"/>
                <a:gd name="T64" fmla="*/ 134 w 192"/>
                <a:gd name="T65" fmla="*/ 108 h 277"/>
                <a:gd name="T66" fmla="*/ 137 w 192"/>
                <a:gd name="T67" fmla="*/ 123 h 277"/>
                <a:gd name="T68" fmla="*/ 73 w 192"/>
                <a:gd name="T69" fmla="*/ 219 h 277"/>
                <a:gd name="T70" fmla="*/ 64 w 192"/>
                <a:gd name="T71" fmla="*/ 224 h 277"/>
                <a:gd name="T72" fmla="*/ 58 w 192"/>
                <a:gd name="T73" fmla="*/ 222 h 277"/>
                <a:gd name="T74" fmla="*/ 55 w 192"/>
                <a:gd name="T75" fmla="*/ 207 h 277"/>
                <a:gd name="T76" fmla="*/ 119 w 192"/>
                <a:gd name="T77" fmla="*/ 111 h 277"/>
                <a:gd name="T78" fmla="*/ 134 w 192"/>
                <a:gd name="T79" fmla="*/ 10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moveTo>
                    <a:pt x="21" y="128"/>
                  </a:moveTo>
                  <a:cubicBezTo>
                    <a:pt x="21" y="124"/>
                    <a:pt x="23" y="121"/>
                    <a:pt x="26" y="119"/>
                  </a:cubicBezTo>
                  <a:cubicBezTo>
                    <a:pt x="58" y="98"/>
                    <a:pt x="58" y="98"/>
                    <a:pt x="58" y="98"/>
                  </a:cubicBezTo>
                  <a:cubicBezTo>
                    <a:pt x="63" y="95"/>
                    <a:pt x="69" y="96"/>
                    <a:pt x="73" y="101"/>
                  </a:cubicBezTo>
                  <a:cubicBezTo>
                    <a:pt x="76" y="106"/>
                    <a:pt x="74" y="112"/>
                    <a:pt x="70" y="116"/>
                  </a:cubicBezTo>
                  <a:cubicBezTo>
                    <a:pt x="51" y="128"/>
                    <a:pt x="51" y="128"/>
                    <a:pt x="51" y="128"/>
                  </a:cubicBezTo>
                  <a:cubicBezTo>
                    <a:pt x="70" y="140"/>
                    <a:pt x="70" y="140"/>
                    <a:pt x="70" y="140"/>
                  </a:cubicBezTo>
                  <a:cubicBezTo>
                    <a:pt x="74" y="144"/>
                    <a:pt x="76" y="150"/>
                    <a:pt x="73" y="155"/>
                  </a:cubicBezTo>
                  <a:cubicBezTo>
                    <a:pt x="70" y="158"/>
                    <a:pt x="67" y="160"/>
                    <a:pt x="64" y="160"/>
                  </a:cubicBezTo>
                  <a:cubicBezTo>
                    <a:pt x="62" y="160"/>
                    <a:pt x="60" y="159"/>
                    <a:pt x="58" y="158"/>
                  </a:cubicBezTo>
                  <a:cubicBezTo>
                    <a:pt x="26" y="137"/>
                    <a:pt x="26" y="137"/>
                    <a:pt x="26" y="137"/>
                  </a:cubicBezTo>
                  <a:cubicBezTo>
                    <a:pt x="23" y="135"/>
                    <a:pt x="21" y="132"/>
                    <a:pt x="21" y="128"/>
                  </a:cubicBezTo>
                  <a:close/>
                  <a:moveTo>
                    <a:pt x="170" y="203"/>
                  </a:moveTo>
                  <a:cubicBezTo>
                    <a:pt x="170" y="206"/>
                    <a:pt x="169" y="210"/>
                    <a:pt x="166" y="212"/>
                  </a:cubicBezTo>
                  <a:cubicBezTo>
                    <a:pt x="134" y="233"/>
                    <a:pt x="134" y="233"/>
                    <a:pt x="134" y="233"/>
                  </a:cubicBezTo>
                  <a:cubicBezTo>
                    <a:pt x="132" y="234"/>
                    <a:pt x="130" y="235"/>
                    <a:pt x="128" y="235"/>
                  </a:cubicBezTo>
                  <a:cubicBezTo>
                    <a:pt x="124" y="235"/>
                    <a:pt x="121" y="233"/>
                    <a:pt x="119" y="230"/>
                  </a:cubicBezTo>
                  <a:cubicBezTo>
                    <a:pt x="116" y="225"/>
                    <a:pt x="117" y="218"/>
                    <a:pt x="122" y="215"/>
                  </a:cubicBezTo>
                  <a:cubicBezTo>
                    <a:pt x="140" y="203"/>
                    <a:pt x="140" y="203"/>
                    <a:pt x="140" y="203"/>
                  </a:cubicBezTo>
                  <a:cubicBezTo>
                    <a:pt x="122" y="190"/>
                    <a:pt x="122" y="190"/>
                    <a:pt x="122" y="190"/>
                  </a:cubicBezTo>
                  <a:cubicBezTo>
                    <a:pt x="117" y="187"/>
                    <a:pt x="116" y="180"/>
                    <a:pt x="119" y="175"/>
                  </a:cubicBezTo>
                  <a:cubicBezTo>
                    <a:pt x="122" y="171"/>
                    <a:pt x="129" y="169"/>
                    <a:pt x="134" y="172"/>
                  </a:cubicBezTo>
                  <a:cubicBezTo>
                    <a:pt x="166" y="194"/>
                    <a:pt x="166" y="194"/>
                    <a:pt x="166" y="194"/>
                  </a:cubicBezTo>
                  <a:cubicBezTo>
                    <a:pt x="169" y="196"/>
                    <a:pt x="170" y="199"/>
                    <a:pt x="170" y="203"/>
                  </a:cubicBezTo>
                  <a:close/>
                  <a:moveTo>
                    <a:pt x="134" y="108"/>
                  </a:moveTo>
                  <a:cubicBezTo>
                    <a:pt x="138" y="112"/>
                    <a:pt x="140" y="118"/>
                    <a:pt x="137" y="123"/>
                  </a:cubicBezTo>
                  <a:cubicBezTo>
                    <a:pt x="73" y="219"/>
                    <a:pt x="73" y="219"/>
                    <a:pt x="73" y="219"/>
                  </a:cubicBezTo>
                  <a:cubicBezTo>
                    <a:pt x="70" y="222"/>
                    <a:pt x="67" y="224"/>
                    <a:pt x="64" y="224"/>
                  </a:cubicBezTo>
                  <a:cubicBezTo>
                    <a:pt x="62" y="224"/>
                    <a:pt x="60" y="223"/>
                    <a:pt x="58" y="222"/>
                  </a:cubicBezTo>
                  <a:cubicBezTo>
                    <a:pt x="53" y="219"/>
                    <a:pt x="52" y="212"/>
                    <a:pt x="55" y="207"/>
                  </a:cubicBezTo>
                  <a:cubicBezTo>
                    <a:pt x="119" y="111"/>
                    <a:pt x="119" y="111"/>
                    <a:pt x="119" y="111"/>
                  </a:cubicBezTo>
                  <a:cubicBezTo>
                    <a:pt x="122" y="107"/>
                    <a:pt x="129" y="105"/>
                    <a:pt x="134" y="10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5" name="Freeform 652">
              <a:extLst>
                <a:ext uri="{FF2B5EF4-FFF2-40B4-BE49-F238E27FC236}">
                  <a16:creationId xmlns:a16="http://schemas.microsoft.com/office/drawing/2014/main" id="{4FFB8539-0816-4365-8679-13369C3EBCA4}"/>
                </a:ext>
              </a:extLst>
            </p:cNvPr>
            <p:cNvSpPr>
              <a:spLocks noEditPoints="1"/>
            </p:cNvSpPr>
            <p:nvPr/>
          </p:nvSpPr>
          <p:spPr bwMode="auto">
            <a:xfrm>
              <a:off x="6224" y="237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181 h 512"/>
                <a:gd name="T12" fmla="*/ 373 w 512"/>
                <a:gd name="T13" fmla="*/ 405 h 512"/>
                <a:gd name="T14" fmla="*/ 362 w 512"/>
                <a:gd name="T15" fmla="*/ 416 h 512"/>
                <a:gd name="T16" fmla="*/ 149 w 512"/>
                <a:gd name="T17" fmla="*/ 416 h 512"/>
                <a:gd name="T18" fmla="*/ 138 w 512"/>
                <a:gd name="T19" fmla="*/ 405 h 512"/>
                <a:gd name="T20" fmla="*/ 138 w 512"/>
                <a:gd name="T21" fmla="*/ 106 h 512"/>
                <a:gd name="T22" fmla="*/ 149 w 512"/>
                <a:gd name="T23" fmla="*/ 96 h 512"/>
                <a:gd name="T24" fmla="*/ 288 w 512"/>
                <a:gd name="T25" fmla="*/ 96 h 512"/>
                <a:gd name="T26" fmla="*/ 295 w 512"/>
                <a:gd name="T27" fmla="*/ 98 h 512"/>
                <a:gd name="T28" fmla="*/ 295 w 512"/>
                <a:gd name="T29" fmla="*/ 98 h 512"/>
                <a:gd name="T30" fmla="*/ 295 w 512"/>
                <a:gd name="T31" fmla="*/ 98 h 512"/>
                <a:gd name="T32" fmla="*/ 295 w 512"/>
                <a:gd name="T33" fmla="*/ 99 h 512"/>
                <a:gd name="T34" fmla="*/ 370 w 512"/>
                <a:gd name="T35" fmla="*/ 173 h 512"/>
                <a:gd name="T36" fmla="*/ 372 w 512"/>
                <a:gd name="T37" fmla="*/ 177 h 512"/>
                <a:gd name="T38" fmla="*/ 373 w 512"/>
                <a:gd name="T39" fmla="*/ 181 h 512"/>
                <a:gd name="T40" fmla="*/ 373 w 512"/>
                <a:gd name="T4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81"/>
                  </a:move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90" y="96"/>
                    <a:pt x="293" y="97"/>
                    <a:pt x="295" y="98"/>
                  </a:cubicBezTo>
                  <a:cubicBezTo>
                    <a:pt x="295" y="98"/>
                    <a:pt x="295" y="98"/>
                    <a:pt x="295" y="98"/>
                  </a:cubicBezTo>
                  <a:cubicBezTo>
                    <a:pt x="295" y="98"/>
                    <a:pt x="295" y="98"/>
                    <a:pt x="295" y="98"/>
                  </a:cubicBezTo>
                  <a:cubicBezTo>
                    <a:pt x="295" y="99"/>
                    <a:pt x="295" y="99"/>
                    <a:pt x="295" y="99"/>
                  </a:cubicBezTo>
                  <a:cubicBezTo>
                    <a:pt x="370" y="173"/>
                    <a:pt x="370" y="173"/>
                    <a:pt x="370" y="173"/>
                  </a:cubicBezTo>
                  <a:cubicBezTo>
                    <a:pt x="371" y="174"/>
                    <a:pt x="372" y="176"/>
                    <a:pt x="372" y="177"/>
                  </a:cubicBezTo>
                  <a:cubicBezTo>
                    <a:pt x="373" y="178"/>
                    <a:pt x="373" y="180"/>
                    <a:pt x="373" y="181"/>
                  </a:cubicBezTo>
                  <a:cubicBezTo>
                    <a:pt x="373" y="181"/>
                    <a:pt x="373" y="181"/>
                    <a:pt x="373" y="1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6" name="Freeform 653">
              <a:extLst>
                <a:ext uri="{FF2B5EF4-FFF2-40B4-BE49-F238E27FC236}">
                  <a16:creationId xmlns:a16="http://schemas.microsoft.com/office/drawing/2014/main" id="{E2C4D28B-C4B0-4605-A9F4-D883ABAD6778}"/>
                </a:ext>
              </a:extLst>
            </p:cNvPr>
            <p:cNvSpPr>
              <a:spLocks/>
            </p:cNvSpPr>
            <p:nvPr/>
          </p:nvSpPr>
          <p:spPr bwMode="auto">
            <a:xfrm>
              <a:off x="6422" y="2460"/>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97" name="Group 656">
            <a:extLst>
              <a:ext uri="{FF2B5EF4-FFF2-40B4-BE49-F238E27FC236}">
                <a16:creationId xmlns:a16="http://schemas.microsoft.com/office/drawing/2014/main" id="{8C83B218-20D4-4F38-B17D-4BDBBE30FA87}"/>
              </a:ext>
            </a:extLst>
          </p:cNvPr>
          <p:cNvGrpSpPr>
            <a:grpSpLocks noChangeAspect="1"/>
          </p:cNvGrpSpPr>
          <p:nvPr/>
        </p:nvGrpSpPr>
        <p:grpSpPr bwMode="auto">
          <a:xfrm>
            <a:off x="3513029" y="3292640"/>
            <a:ext cx="368712" cy="368713"/>
            <a:chOff x="6597" y="2396"/>
            <a:chExt cx="341" cy="341"/>
          </a:xfrm>
          <a:solidFill>
            <a:schemeClr val="accent1"/>
          </a:solidFill>
        </p:grpSpPr>
        <p:sp>
          <p:nvSpPr>
            <p:cNvPr id="998" name="Freeform 657">
              <a:extLst>
                <a:ext uri="{FF2B5EF4-FFF2-40B4-BE49-F238E27FC236}">
                  <a16:creationId xmlns:a16="http://schemas.microsoft.com/office/drawing/2014/main" id="{7616D260-2BA5-49B3-A340-B486410228AA}"/>
                </a:ext>
              </a:extLst>
            </p:cNvPr>
            <p:cNvSpPr>
              <a:spLocks noEditPoints="1"/>
            </p:cNvSpPr>
            <p:nvPr/>
          </p:nvSpPr>
          <p:spPr bwMode="auto">
            <a:xfrm>
              <a:off x="6689" y="2460"/>
              <a:ext cx="156" cy="213"/>
            </a:xfrm>
            <a:custGeom>
              <a:avLst/>
              <a:gdLst>
                <a:gd name="T0" fmla="*/ 234 w 235"/>
                <a:gd name="T1" fmla="*/ 81 h 320"/>
                <a:gd name="T2" fmla="*/ 232 w 235"/>
                <a:gd name="T3" fmla="*/ 77 h 320"/>
                <a:gd name="T4" fmla="*/ 157 w 235"/>
                <a:gd name="T5" fmla="*/ 3 h 320"/>
                <a:gd name="T6" fmla="*/ 157 w 235"/>
                <a:gd name="T7" fmla="*/ 2 h 320"/>
                <a:gd name="T8" fmla="*/ 157 w 235"/>
                <a:gd name="T9" fmla="*/ 2 h 320"/>
                <a:gd name="T10" fmla="*/ 157 w 235"/>
                <a:gd name="T11" fmla="*/ 2 h 320"/>
                <a:gd name="T12" fmla="*/ 150 w 235"/>
                <a:gd name="T13" fmla="*/ 0 h 320"/>
                <a:gd name="T14" fmla="*/ 11 w 235"/>
                <a:gd name="T15" fmla="*/ 0 h 320"/>
                <a:gd name="T16" fmla="*/ 0 w 235"/>
                <a:gd name="T17" fmla="*/ 10 h 320"/>
                <a:gd name="T18" fmla="*/ 0 w 235"/>
                <a:gd name="T19" fmla="*/ 309 h 320"/>
                <a:gd name="T20" fmla="*/ 11 w 235"/>
                <a:gd name="T21" fmla="*/ 320 h 320"/>
                <a:gd name="T22" fmla="*/ 224 w 235"/>
                <a:gd name="T23" fmla="*/ 320 h 320"/>
                <a:gd name="T24" fmla="*/ 235 w 235"/>
                <a:gd name="T25" fmla="*/ 309 h 320"/>
                <a:gd name="T26" fmla="*/ 235 w 235"/>
                <a:gd name="T27" fmla="*/ 85 h 320"/>
                <a:gd name="T28" fmla="*/ 235 w 235"/>
                <a:gd name="T29" fmla="*/ 85 h 320"/>
                <a:gd name="T30" fmla="*/ 234 w 235"/>
                <a:gd name="T31" fmla="*/ 81 h 320"/>
                <a:gd name="T32" fmla="*/ 160 w 235"/>
                <a:gd name="T33" fmla="*/ 36 h 320"/>
                <a:gd name="T34" fmla="*/ 199 w 235"/>
                <a:gd name="T35" fmla="*/ 74 h 320"/>
                <a:gd name="T36" fmla="*/ 160 w 235"/>
                <a:gd name="T37" fmla="*/ 74 h 320"/>
                <a:gd name="T38" fmla="*/ 160 w 235"/>
                <a:gd name="T39" fmla="*/ 36 h 320"/>
                <a:gd name="T40" fmla="*/ 214 w 235"/>
                <a:gd name="T41" fmla="*/ 298 h 320"/>
                <a:gd name="T42" fmla="*/ 22 w 235"/>
                <a:gd name="T43" fmla="*/ 298 h 320"/>
                <a:gd name="T44" fmla="*/ 22 w 235"/>
                <a:gd name="T45" fmla="*/ 21 h 320"/>
                <a:gd name="T46" fmla="*/ 139 w 235"/>
                <a:gd name="T47" fmla="*/ 21 h 320"/>
                <a:gd name="T48" fmla="*/ 139 w 235"/>
                <a:gd name="T49" fmla="*/ 85 h 320"/>
                <a:gd name="T50" fmla="*/ 150 w 235"/>
                <a:gd name="T51" fmla="*/ 96 h 320"/>
                <a:gd name="T52" fmla="*/ 214 w 235"/>
                <a:gd name="T53" fmla="*/ 96 h 320"/>
                <a:gd name="T54" fmla="*/ 214 w 235"/>
                <a:gd name="T5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5" h="320">
                  <a:moveTo>
                    <a:pt x="234" y="81"/>
                  </a:moveTo>
                  <a:cubicBezTo>
                    <a:pt x="234" y="80"/>
                    <a:pt x="233" y="78"/>
                    <a:pt x="232" y="77"/>
                  </a:cubicBezTo>
                  <a:cubicBezTo>
                    <a:pt x="157" y="3"/>
                    <a:pt x="157" y="3"/>
                    <a:pt x="157" y="3"/>
                  </a:cubicBezTo>
                  <a:cubicBezTo>
                    <a:pt x="157" y="3"/>
                    <a:pt x="157" y="3"/>
                    <a:pt x="157" y="2"/>
                  </a:cubicBezTo>
                  <a:cubicBezTo>
                    <a:pt x="157" y="2"/>
                    <a:pt x="157" y="2"/>
                    <a:pt x="157" y="2"/>
                  </a:cubicBezTo>
                  <a:cubicBezTo>
                    <a:pt x="157" y="2"/>
                    <a:pt x="157" y="2"/>
                    <a:pt x="157" y="2"/>
                  </a:cubicBezTo>
                  <a:cubicBezTo>
                    <a:pt x="155" y="1"/>
                    <a:pt x="152"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9" name="Freeform 658">
              <a:extLst>
                <a:ext uri="{FF2B5EF4-FFF2-40B4-BE49-F238E27FC236}">
                  <a16:creationId xmlns:a16="http://schemas.microsoft.com/office/drawing/2014/main" id="{A98939AF-58DD-4E61-84A8-7B256D2EA3DA}"/>
                </a:ext>
              </a:extLst>
            </p:cNvPr>
            <p:cNvSpPr>
              <a:spLocks/>
            </p:cNvSpPr>
            <p:nvPr/>
          </p:nvSpPr>
          <p:spPr bwMode="auto">
            <a:xfrm>
              <a:off x="6738" y="2544"/>
              <a:ext cx="59" cy="79"/>
            </a:xfrm>
            <a:custGeom>
              <a:avLst/>
              <a:gdLst>
                <a:gd name="T0" fmla="*/ 3 w 88"/>
                <a:gd name="T1" fmla="*/ 102 h 119"/>
                <a:gd name="T2" fmla="*/ 6 w 88"/>
                <a:gd name="T3" fmla="*/ 117 h 119"/>
                <a:gd name="T4" fmla="*/ 12 w 88"/>
                <a:gd name="T5" fmla="*/ 119 h 119"/>
                <a:gd name="T6" fmla="*/ 21 w 88"/>
                <a:gd name="T7" fmla="*/ 114 h 119"/>
                <a:gd name="T8" fmla="*/ 85 w 88"/>
                <a:gd name="T9" fmla="*/ 18 h 119"/>
                <a:gd name="T10" fmla="*/ 82 w 88"/>
                <a:gd name="T11" fmla="*/ 3 h 119"/>
                <a:gd name="T12" fmla="*/ 67 w 88"/>
                <a:gd name="T13" fmla="*/ 6 h 119"/>
                <a:gd name="T14" fmla="*/ 3 w 88"/>
                <a:gd name="T15" fmla="*/ 102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19">
                  <a:moveTo>
                    <a:pt x="3" y="102"/>
                  </a:moveTo>
                  <a:cubicBezTo>
                    <a:pt x="0" y="107"/>
                    <a:pt x="1" y="114"/>
                    <a:pt x="6" y="117"/>
                  </a:cubicBezTo>
                  <a:cubicBezTo>
                    <a:pt x="8" y="118"/>
                    <a:pt x="10" y="119"/>
                    <a:pt x="12" y="119"/>
                  </a:cubicBezTo>
                  <a:cubicBezTo>
                    <a:pt x="15" y="119"/>
                    <a:pt x="18" y="117"/>
                    <a:pt x="21" y="114"/>
                  </a:cubicBezTo>
                  <a:cubicBezTo>
                    <a:pt x="85" y="18"/>
                    <a:pt x="85" y="18"/>
                    <a:pt x="85" y="18"/>
                  </a:cubicBezTo>
                  <a:cubicBezTo>
                    <a:pt x="88" y="13"/>
                    <a:pt x="86" y="7"/>
                    <a:pt x="82" y="3"/>
                  </a:cubicBezTo>
                  <a:cubicBezTo>
                    <a:pt x="77" y="0"/>
                    <a:pt x="70" y="2"/>
                    <a:pt x="67" y="6"/>
                  </a:cubicBezTo>
                  <a:lnTo>
                    <a:pt x="3"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0" name="Freeform 659">
              <a:extLst>
                <a:ext uri="{FF2B5EF4-FFF2-40B4-BE49-F238E27FC236}">
                  <a16:creationId xmlns:a16="http://schemas.microsoft.com/office/drawing/2014/main" id="{9D93F370-7C3B-40D9-A18A-08DB29EBCCAB}"/>
                </a:ext>
              </a:extLst>
            </p:cNvPr>
            <p:cNvSpPr>
              <a:spLocks/>
            </p:cNvSpPr>
            <p:nvPr/>
          </p:nvSpPr>
          <p:spPr bwMode="auto">
            <a:xfrm>
              <a:off x="6718" y="2537"/>
              <a:ext cx="36" cy="43"/>
            </a:xfrm>
            <a:custGeom>
              <a:avLst/>
              <a:gdLst>
                <a:gd name="T0" fmla="*/ 43 w 55"/>
                <a:gd name="T1" fmla="*/ 65 h 65"/>
                <a:gd name="T2" fmla="*/ 52 w 55"/>
                <a:gd name="T3" fmla="*/ 60 h 65"/>
                <a:gd name="T4" fmla="*/ 49 w 55"/>
                <a:gd name="T5" fmla="*/ 45 h 65"/>
                <a:gd name="T6" fmla="*/ 30 w 55"/>
                <a:gd name="T7" fmla="*/ 33 h 65"/>
                <a:gd name="T8" fmla="*/ 49 w 55"/>
                <a:gd name="T9" fmla="*/ 21 h 65"/>
                <a:gd name="T10" fmla="*/ 52 w 55"/>
                <a:gd name="T11" fmla="*/ 6 h 65"/>
                <a:gd name="T12" fmla="*/ 37 w 55"/>
                <a:gd name="T13" fmla="*/ 3 h 65"/>
                <a:gd name="T14" fmla="*/ 5 w 55"/>
                <a:gd name="T15" fmla="*/ 24 h 65"/>
                <a:gd name="T16" fmla="*/ 0 w 55"/>
                <a:gd name="T17" fmla="*/ 33 h 65"/>
                <a:gd name="T18" fmla="*/ 5 w 55"/>
                <a:gd name="T19" fmla="*/ 42 h 65"/>
                <a:gd name="T20" fmla="*/ 37 w 55"/>
                <a:gd name="T21" fmla="*/ 63 h 65"/>
                <a:gd name="T22" fmla="*/ 43 w 55"/>
                <a:gd name="T23"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65">
                  <a:moveTo>
                    <a:pt x="43" y="65"/>
                  </a:moveTo>
                  <a:cubicBezTo>
                    <a:pt x="46" y="65"/>
                    <a:pt x="49" y="63"/>
                    <a:pt x="52" y="60"/>
                  </a:cubicBezTo>
                  <a:cubicBezTo>
                    <a:pt x="55" y="55"/>
                    <a:pt x="53" y="49"/>
                    <a:pt x="49" y="45"/>
                  </a:cubicBezTo>
                  <a:cubicBezTo>
                    <a:pt x="30" y="33"/>
                    <a:pt x="30" y="33"/>
                    <a:pt x="30" y="33"/>
                  </a:cubicBezTo>
                  <a:cubicBezTo>
                    <a:pt x="49" y="21"/>
                    <a:pt x="49" y="21"/>
                    <a:pt x="49" y="21"/>
                  </a:cubicBezTo>
                  <a:cubicBezTo>
                    <a:pt x="53" y="17"/>
                    <a:pt x="55" y="11"/>
                    <a:pt x="52" y="6"/>
                  </a:cubicBezTo>
                  <a:cubicBezTo>
                    <a:pt x="48" y="1"/>
                    <a:pt x="42" y="0"/>
                    <a:pt x="37" y="3"/>
                  </a:cubicBezTo>
                  <a:cubicBezTo>
                    <a:pt x="5" y="24"/>
                    <a:pt x="5" y="24"/>
                    <a:pt x="5" y="24"/>
                  </a:cubicBezTo>
                  <a:cubicBezTo>
                    <a:pt x="2" y="26"/>
                    <a:pt x="0" y="29"/>
                    <a:pt x="0" y="33"/>
                  </a:cubicBezTo>
                  <a:cubicBezTo>
                    <a:pt x="0" y="37"/>
                    <a:pt x="2" y="40"/>
                    <a:pt x="5" y="42"/>
                  </a:cubicBezTo>
                  <a:cubicBezTo>
                    <a:pt x="37" y="63"/>
                    <a:pt x="37" y="63"/>
                    <a:pt x="37" y="63"/>
                  </a:cubicBezTo>
                  <a:cubicBezTo>
                    <a:pt x="39" y="64"/>
                    <a:pt x="41" y="65"/>
                    <a:pt x="43" y="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1" name="Freeform 660">
              <a:extLst>
                <a:ext uri="{FF2B5EF4-FFF2-40B4-BE49-F238E27FC236}">
                  <a16:creationId xmlns:a16="http://schemas.microsoft.com/office/drawing/2014/main" id="{91792926-794D-4BAF-AD03-6616375CF0D1}"/>
                </a:ext>
              </a:extLst>
            </p:cNvPr>
            <p:cNvSpPr>
              <a:spLocks/>
            </p:cNvSpPr>
            <p:nvPr/>
          </p:nvSpPr>
          <p:spPr bwMode="auto">
            <a:xfrm>
              <a:off x="6781" y="2586"/>
              <a:ext cx="36" cy="44"/>
            </a:xfrm>
            <a:custGeom>
              <a:avLst/>
              <a:gdLst>
                <a:gd name="T0" fmla="*/ 3 w 54"/>
                <a:gd name="T1" fmla="*/ 6 h 66"/>
                <a:gd name="T2" fmla="*/ 6 w 54"/>
                <a:gd name="T3" fmla="*/ 21 h 66"/>
                <a:gd name="T4" fmla="*/ 24 w 54"/>
                <a:gd name="T5" fmla="*/ 34 h 66"/>
                <a:gd name="T6" fmla="*/ 6 w 54"/>
                <a:gd name="T7" fmla="*/ 46 h 66"/>
                <a:gd name="T8" fmla="*/ 3 w 54"/>
                <a:gd name="T9" fmla="*/ 61 h 66"/>
                <a:gd name="T10" fmla="*/ 12 w 54"/>
                <a:gd name="T11" fmla="*/ 66 h 66"/>
                <a:gd name="T12" fmla="*/ 18 w 54"/>
                <a:gd name="T13" fmla="*/ 64 h 66"/>
                <a:gd name="T14" fmla="*/ 50 w 54"/>
                <a:gd name="T15" fmla="*/ 43 h 66"/>
                <a:gd name="T16" fmla="*/ 54 w 54"/>
                <a:gd name="T17" fmla="*/ 34 h 66"/>
                <a:gd name="T18" fmla="*/ 50 w 54"/>
                <a:gd name="T19" fmla="*/ 25 h 66"/>
                <a:gd name="T20" fmla="*/ 18 w 54"/>
                <a:gd name="T21" fmla="*/ 3 h 66"/>
                <a:gd name="T22" fmla="*/ 3 w 54"/>
                <a:gd name="T23"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66">
                  <a:moveTo>
                    <a:pt x="3" y="6"/>
                  </a:moveTo>
                  <a:cubicBezTo>
                    <a:pt x="0" y="11"/>
                    <a:pt x="1" y="18"/>
                    <a:pt x="6" y="21"/>
                  </a:cubicBezTo>
                  <a:cubicBezTo>
                    <a:pt x="24" y="34"/>
                    <a:pt x="24" y="34"/>
                    <a:pt x="24" y="34"/>
                  </a:cubicBezTo>
                  <a:cubicBezTo>
                    <a:pt x="6" y="46"/>
                    <a:pt x="6" y="46"/>
                    <a:pt x="6" y="46"/>
                  </a:cubicBezTo>
                  <a:cubicBezTo>
                    <a:pt x="1" y="49"/>
                    <a:pt x="0" y="56"/>
                    <a:pt x="3" y="61"/>
                  </a:cubicBezTo>
                  <a:cubicBezTo>
                    <a:pt x="5" y="64"/>
                    <a:pt x="8" y="66"/>
                    <a:pt x="12" y="66"/>
                  </a:cubicBezTo>
                  <a:cubicBezTo>
                    <a:pt x="14" y="66"/>
                    <a:pt x="16" y="65"/>
                    <a:pt x="18" y="64"/>
                  </a:cubicBezTo>
                  <a:cubicBezTo>
                    <a:pt x="50" y="43"/>
                    <a:pt x="50" y="43"/>
                    <a:pt x="50" y="43"/>
                  </a:cubicBezTo>
                  <a:cubicBezTo>
                    <a:pt x="53" y="41"/>
                    <a:pt x="54" y="37"/>
                    <a:pt x="54" y="34"/>
                  </a:cubicBezTo>
                  <a:cubicBezTo>
                    <a:pt x="54" y="30"/>
                    <a:pt x="53" y="27"/>
                    <a:pt x="50" y="25"/>
                  </a:cubicBezTo>
                  <a:cubicBezTo>
                    <a:pt x="18" y="3"/>
                    <a:pt x="18" y="3"/>
                    <a:pt x="18" y="3"/>
                  </a:cubicBezTo>
                  <a:cubicBezTo>
                    <a:pt x="13" y="0"/>
                    <a:pt x="6" y="2"/>
                    <a:pt x="3" y="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2" name="Freeform 661">
              <a:extLst>
                <a:ext uri="{FF2B5EF4-FFF2-40B4-BE49-F238E27FC236}">
                  <a16:creationId xmlns:a16="http://schemas.microsoft.com/office/drawing/2014/main" id="{BC457407-644B-484C-99C1-6D8A2BBDBD94}"/>
                </a:ext>
              </a:extLst>
            </p:cNvPr>
            <p:cNvSpPr>
              <a:spLocks noEditPoints="1"/>
            </p:cNvSpPr>
            <p:nvPr/>
          </p:nvSpPr>
          <p:spPr bwMode="auto">
            <a:xfrm>
              <a:off x="6597" y="2396"/>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03" name="Group 664">
            <a:extLst>
              <a:ext uri="{FF2B5EF4-FFF2-40B4-BE49-F238E27FC236}">
                <a16:creationId xmlns:a16="http://schemas.microsoft.com/office/drawing/2014/main" id="{B8AB16C5-3253-4E71-B0B0-F8137CA67EC8}"/>
              </a:ext>
            </a:extLst>
          </p:cNvPr>
          <p:cNvGrpSpPr>
            <a:grpSpLocks noChangeAspect="1"/>
          </p:cNvGrpSpPr>
          <p:nvPr/>
        </p:nvGrpSpPr>
        <p:grpSpPr bwMode="auto">
          <a:xfrm>
            <a:off x="1336289" y="3292640"/>
            <a:ext cx="367631" cy="367631"/>
            <a:chOff x="6958" y="2381"/>
            <a:chExt cx="340" cy="340"/>
          </a:xfrm>
          <a:solidFill>
            <a:schemeClr val="accent1"/>
          </a:solidFill>
        </p:grpSpPr>
        <p:sp>
          <p:nvSpPr>
            <p:cNvPr id="1004" name="Freeform 665">
              <a:extLst>
                <a:ext uri="{FF2B5EF4-FFF2-40B4-BE49-F238E27FC236}">
                  <a16:creationId xmlns:a16="http://schemas.microsoft.com/office/drawing/2014/main" id="{5DD98525-4C6F-43AA-8D72-698E2CD157FD}"/>
                </a:ext>
              </a:extLst>
            </p:cNvPr>
            <p:cNvSpPr>
              <a:spLocks/>
            </p:cNvSpPr>
            <p:nvPr/>
          </p:nvSpPr>
          <p:spPr bwMode="auto">
            <a:xfrm>
              <a:off x="7117" y="2559"/>
              <a:ext cx="26" cy="33"/>
            </a:xfrm>
            <a:custGeom>
              <a:avLst/>
              <a:gdLst>
                <a:gd name="T0" fmla="*/ 19 w 38"/>
                <a:gd name="T1" fmla="*/ 50 h 50"/>
                <a:gd name="T2" fmla="*/ 38 w 38"/>
                <a:gd name="T3" fmla="*/ 25 h 50"/>
                <a:gd name="T4" fmla="*/ 19 w 38"/>
                <a:gd name="T5" fmla="*/ 0 h 50"/>
                <a:gd name="T6" fmla="*/ 4 w 38"/>
                <a:gd name="T7" fmla="*/ 6 h 50"/>
                <a:gd name="T8" fmla="*/ 0 w 38"/>
                <a:gd name="T9" fmla="*/ 25 h 50"/>
                <a:gd name="T10" fmla="*/ 4 w 38"/>
                <a:gd name="T11" fmla="*/ 44 h 50"/>
                <a:gd name="T12" fmla="*/ 19 w 3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8" h="50">
                  <a:moveTo>
                    <a:pt x="19" y="50"/>
                  </a:moveTo>
                  <a:cubicBezTo>
                    <a:pt x="31" y="50"/>
                    <a:pt x="38" y="42"/>
                    <a:pt x="38" y="25"/>
                  </a:cubicBezTo>
                  <a:cubicBezTo>
                    <a:pt x="38" y="8"/>
                    <a:pt x="31" y="0"/>
                    <a:pt x="19" y="0"/>
                  </a:cubicBezTo>
                  <a:cubicBezTo>
                    <a:pt x="12" y="0"/>
                    <a:pt x="8" y="2"/>
                    <a:pt x="4" y="6"/>
                  </a:cubicBezTo>
                  <a:cubicBezTo>
                    <a:pt x="1" y="10"/>
                    <a:pt x="0" y="17"/>
                    <a:pt x="0" y="25"/>
                  </a:cubicBezTo>
                  <a:cubicBezTo>
                    <a:pt x="0" y="33"/>
                    <a:pt x="1" y="40"/>
                    <a:pt x="4" y="44"/>
                  </a:cubicBezTo>
                  <a:cubicBezTo>
                    <a:pt x="8" y="48"/>
                    <a:pt x="12" y="50"/>
                    <a:pt x="19" y="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5" name="Rectangle 666">
              <a:extLst>
                <a:ext uri="{FF2B5EF4-FFF2-40B4-BE49-F238E27FC236}">
                  <a16:creationId xmlns:a16="http://schemas.microsoft.com/office/drawing/2014/main" id="{E40331F1-2A18-494B-B10E-9E9076C1E521}"/>
                </a:ext>
              </a:extLst>
            </p:cNvPr>
            <p:cNvSpPr>
              <a:spLocks noChangeArrowheads="1"/>
            </p:cNvSpPr>
            <p:nvPr/>
          </p:nvSpPr>
          <p:spPr bwMode="auto">
            <a:xfrm>
              <a:off x="7064" y="2629"/>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6" name="Freeform 667">
              <a:extLst>
                <a:ext uri="{FF2B5EF4-FFF2-40B4-BE49-F238E27FC236}">
                  <a16:creationId xmlns:a16="http://schemas.microsoft.com/office/drawing/2014/main" id="{0FA64A7B-69EA-4132-9424-173AAE53EA19}"/>
                </a:ext>
              </a:extLst>
            </p:cNvPr>
            <p:cNvSpPr>
              <a:spLocks/>
            </p:cNvSpPr>
            <p:nvPr/>
          </p:nvSpPr>
          <p:spPr bwMode="auto">
            <a:xfrm>
              <a:off x="7064" y="2459"/>
              <a:ext cx="128" cy="63"/>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7" name="Freeform 668">
              <a:extLst>
                <a:ext uri="{FF2B5EF4-FFF2-40B4-BE49-F238E27FC236}">
                  <a16:creationId xmlns:a16="http://schemas.microsoft.com/office/drawing/2014/main" id="{BF65E314-4D20-4E70-A6F9-825C047ACAA2}"/>
                </a:ext>
              </a:extLst>
            </p:cNvPr>
            <p:cNvSpPr>
              <a:spLocks/>
            </p:cNvSpPr>
            <p:nvPr/>
          </p:nvSpPr>
          <p:spPr bwMode="auto">
            <a:xfrm>
              <a:off x="7156" y="2469"/>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8" name="Freeform 669">
              <a:extLst>
                <a:ext uri="{FF2B5EF4-FFF2-40B4-BE49-F238E27FC236}">
                  <a16:creationId xmlns:a16="http://schemas.microsoft.com/office/drawing/2014/main" id="{123F8341-4F90-441B-9455-D4531A4537F7}"/>
                </a:ext>
              </a:extLst>
            </p:cNvPr>
            <p:cNvSpPr>
              <a:spLocks noEditPoints="1"/>
            </p:cNvSpPr>
            <p:nvPr/>
          </p:nvSpPr>
          <p:spPr bwMode="auto">
            <a:xfrm>
              <a:off x="6958" y="238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394 w 512"/>
                <a:gd name="T13" fmla="*/ 373 h 512"/>
                <a:gd name="T14" fmla="*/ 373 w 512"/>
                <a:gd name="T15" fmla="*/ 373 h 512"/>
                <a:gd name="T16" fmla="*/ 373 w 512"/>
                <a:gd name="T17" fmla="*/ 405 h 512"/>
                <a:gd name="T18" fmla="*/ 362 w 512"/>
                <a:gd name="T19" fmla="*/ 416 h 512"/>
                <a:gd name="T20" fmla="*/ 149 w 512"/>
                <a:gd name="T21" fmla="*/ 416 h 512"/>
                <a:gd name="T22" fmla="*/ 138 w 512"/>
                <a:gd name="T23" fmla="*/ 405 h 512"/>
                <a:gd name="T24" fmla="*/ 138 w 512"/>
                <a:gd name="T25" fmla="*/ 373 h 512"/>
                <a:gd name="T26" fmla="*/ 117 w 512"/>
                <a:gd name="T27" fmla="*/ 373 h 512"/>
                <a:gd name="T28" fmla="*/ 106 w 512"/>
                <a:gd name="T29" fmla="*/ 362 h 512"/>
                <a:gd name="T30" fmla="*/ 106 w 512"/>
                <a:gd name="T31" fmla="*/ 224 h 512"/>
                <a:gd name="T32" fmla="*/ 117 w 512"/>
                <a:gd name="T33" fmla="*/ 213 h 512"/>
                <a:gd name="T34" fmla="*/ 138 w 512"/>
                <a:gd name="T35" fmla="*/ 213 h 512"/>
                <a:gd name="T36" fmla="*/ 138 w 512"/>
                <a:gd name="T37" fmla="*/ 106 h 512"/>
                <a:gd name="T38" fmla="*/ 149 w 512"/>
                <a:gd name="T39" fmla="*/ 96 h 512"/>
                <a:gd name="T40" fmla="*/ 288 w 512"/>
                <a:gd name="T41" fmla="*/ 96 h 512"/>
                <a:gd name="T42" fmla="*/ 292 w 512"/>
                <a:gd name="T43" fmla="*/ 96 h 512"/>
                <a:gd name="T44" fmla="*/ 295 w 512"/>
                <a:gd name="T45" fmla="*/ 99 h 512"/>
                <a:gd name="T46" fmla="*/ 370 w 512"/>
                <a:gd name="T47" fmla="*/ 173 h 512"/>
                <a:gd name="T48" fmla="*/ 372 w 512"/>
                <a:gd name="T49" fmla="*/ 177 h 512"/>
                <a:gd name="T50" fmla="*/ 373 w 512"/>
                <a:gd name="T51" fmla="*/ 181 h 512"/>
                <a:gd name="T52" fmla="*/ 373 w 512"/>
                <a:gd name="T53" fmla="*/ 213 h 512"/>
                <a:gd name="T54" fmla="*/ 394 w 512"/>
                <a:gd name="T55" fmla="*/ 213 h 512"/>
                <a:gd name="T56" fmla="*/ 405 w 512"/>
                <a:gd name="T57" fmla="*/ 224 h 512"/>
                <a:gd name="T58" fmla="*/ 405 w 512"/>
                <a:gd name="T5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405" y="368"/>
                    <a:pt x="400" y="373"/>
                    <a:pt x="394" y="373"/>
                  </a:cubicBezTo>
                  <a:cubicBezTo>
                    <a:pt x="373" y="373"/>
                    <a:pt x="373" y="373"/>
                    <a:pt x="373" y="373"/>
                  </a:cubicBez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373"/>
                    <a:pt x="138" y="373"/>
                    <a:pt x="138" y="373"/>
                  </a:cubicBezTo>
                  <a:cubicBezTo>
                    <a:pt x="117" y="373"/>
                    <a:pt x="117" y="373"/>
                    <a:pt x="117" y="373"/>
                  </a:cubicBezTo>
                  <a:cubicBezTo>
                    <a:pt x="111" y="373"/>
                    <a:pt x="106" y="368"/>
                    <a:pt x="106" y="362"/>
                  </a:cubicBezTo>
                  <a:cubicBezTo>
                    <a:pt x="106" y="224"/>
                    <a:pt x="106" y="224"/>
                    <a:pt x="106" y="224"/>
                  </a:cubicBezTo>
                  <a:cubicBezTo>
                    <a:pt x="106" y="218"/>
                    <a:pt x="111" y="213"/>
                    <a:pt x="117" y="213"/>
                  </a:cubicBezTo>
                  <a:cubicBezTo>
                    <a:pt x="138" y="213"/>
                    <a:pt x="138" y="213"/>
                    <a:pt x="138" y="213"/>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cubicBezTo>
                    <a:pt x="373" y="213"/>
                    <a:pt x="373" y="213"/>
                    <a:pt x="373" y="213"/>
                  </a:cubicBezTo>
                  <a:cubicBezTo>
                    <a:pt x="394" y="213"/>
                    <a:pt x="394" y="213"/>
                    <a:pt x="394" y="213"/>
                  </a:cubicBezTo>
                  <a:cubicBezTo>
                    <a:pt x="400" y="213"/>
                    <a:pt x="405" y="218"/>
                    <a:pt x="405" y="224"/>
                  </a:cubicBezTo>
                  <a:lnTo>
                    <a:pt x="405"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9" name="Freeform 670">
              <a:extLst>
                <a:ext uri="{FF2B5EF4-FFF2-40B4-BE49-F238E27FC236}">
                  <a16:creationId xmlns:a16="http://schemas.microsoft.com/office/drawing/2014/main" id="{D2898DF4-9E11-4607-BB83-3B03F5013232}"/>
                </a:ext>
              </a:extLst>
            </p:cNvPr>
            <p:cNvSpPr>
              <a:spLocks noEditPoints="1"/>
            </p:cNvSpPr>
            <p:nvPr/>
          </p:nvSpPr>
          <p:spPr bwMode="auto">
            <a:xfrm>
              <a:off x="7043" y="2536"/>
              <a:ext cx="170" cy="79"/>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83 w 256"/>
                <a:gd name="T11" fmla="*/ 39 h 118"/>
                <a:gd name="T12" fmla="*/ 195 w 256"/>
                <a:gd name="T13" fmla="*/ 25 h 118"/>
                <a:gd name="T14" fmla="*/ 213 w 256"/>
                <a:gd name="T15" fmla="*/ 21 h 118"/>
                <a:gd name="T16" fmla="*/ 235 w 256"/>
                <a:gd name="T17" fmla="*/ 26 h 118"/>
                <a:gd name="T18" fmla="*/ 230 w 256"/>
                <a:gd name="T19" fmla="*/ 39 h 118"/>
                <a:gd name="T20" fmla="*/ 222 w 256"/>
                <a:gd name="T21" fmla="*/ 35 h 118"/>
                <a:gd name="T22" fmla="*/ 213 w 256"/>
                <a:gd name="T23" fmla="*/ 34 h 118"/>
                <a:gd name="T24" fmla="*/ 199 w 256"/>
                <a:gd name="T25" fmla="*/ 41 h 118"/>
                <a:gd name="T26" fmla="*/ 195 w 256"/>
                <a:gd name="T27" fmla="*/ 59 h 118"/>
                <a:gd name="T28" fmla="*/ 213 w 256"/>
                <a:gd name="T29" fmla="*/ 84 h 118"/>
                <a:gd name="T30" fmla="*/ 232 w 256"/>
                <a:gd name="T31" fmla="*/ 80 h 118"/>
                <a:gd name="T32" fmla="*/ 232 w 256"/>
                <a:gd name="T33" fmla="*/ 94 h 118"/>
                <a:gd name="T34" fmla="*/ 212 w 256"/>
                <a:gd name="T35" fmla="*/ 97 h 118"/>
                <a:gd name="T36" fmla="*/ 187 w 256"/>
                <a:gd name="T37" fmla="*/ 87 h 118"/>
                <a:gd name="T38" fmla="*/ 178 w 256"/>
                <a:gd name="T39" fmla="*/ 59 h 118"/>
                <a:gd name="T40" fmla="*/ 183 w 256"/>
                <a:gd name="T41" fmla="*/ 39 h 118"/>
                <a:gd name="T42" fmla="*/ 104 w 256"/>
                <a:gd name="T43" fmla="*/ 30 h 118"/>
                <a:gd name="T44" fmla="*/ 131 w 256"/>
                <a:gd name="T45" fmla="*/ 21 h 118"/>
                <a:gd name="T46" fmla="*/ 157 w 256"/>
                <a:gd name="T47" fmla="*/ 30 h 118"/>
                <a:gd name="T48" fmla="*/ 166 w 256"/>
                <a:gd name="T49" fmla="*/ 59 h 118"/>
                <a:gd name="T50" fmla="*/ 157 w 256"/>
                <a:gd name="T51" fmla="*/ 87 h 118"/>
                <a:gd name="T52" fmla="*/ 131 w 256"/>
                <a:gd name="T53" fmla="*/ 97 h 118"/>
                <a:gd name="T54" fmla="*/ 104 w 256"/>
                <a:gd name="T55" fmla="*/ 87 h 118"/>
                <a:gd name="T56" fmla="*/ 95 w 256"/>
                <a:gd name="T57" fmla="*/ 59 h 118"/>
                <a:gd name="T58" fmla="*/ 104 w 256"/>
                <a:gd name="T59" fmla="*/ 30 h 118"/>
                <a:gd name="T60" fmla="*/ 21 w 256"/>
                <a:gd name="T61" fmla="*/ 22 h 118"/>
                <a:gd name="T62" fmla="*/ 44 w 256"/>
                <a:gd name="T63" fmla="*/ 22 h 118"/>
                <a:gd name="T64" fmla="*/ 73 w 256"/>
                <a:gd name="T65" fmla="*/ 31 h 118"/>
                <a:gd name="T66" fmla="*/ 83 w 256"/>
                <a:gd name="T67" fmla="*/ 58 h 118"/>
                <a:gd name="T68" fmla="*/ 72 w 256"/>
                <a:gd name="T69" fmla="*/ 87 h 118"/>
                <a:gd name="T70" fmla="*/ 42 w 256"/>
                <a:gd name="T71" fmla="*/ 96 h 118"/>
                <a:gd name="T72" fmla="*/ 21 w 256"/>
                <a:gd name="T73" fmla="*/ 96 h 118"/>
                <a:gd name="T74" fmla="*/ 21 w 256"/>
                <a:gd name="T75"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83" y="39"/>
                  </a:moveTo>
                  <a:cubicBezTo>
                    <a:pt x="185" y="33"/>
                    <a:pt x="189" y="28"/>
                    <a:pt x="195" y="25"/>
                  </a:cubicBezTo>
                  <a:cubicBezTo>
                    <a:pt x="200" y="22"/>
                    <a:pt x="206" y="21"/>
                    <a:pt x="213" y="21"/>
                  </a:cubicBezTo>
                  <a:cubicBezTo>
                    <a:pt x="221" y="21"/>
                    <a:pt x="228" y="22"/>
                    <a:pt x="235" y="26"/>
                  </a:cubicBezTo>
                  <a:cubicBezTo>
                    <a:pt x="230" y="39"/>
                    <a:pt x="230" y="39"/>
                    <a:pt x="230" y="39"/>
                  </a:cubicBezTo>
                  <a:cubicBezTo>
                    <a:pt x="227" y="37"/>
                    <a:pt x="224" y="36"/>
                    <a:pt x="222" y="35"/>
                  </a:cubicBezTo>
                  <a:cubicBezTo>
                    <a:pt x="219" y="34"/>
                    <a:pt x="216" y="34"/>
                    <a:pt x="213" y="34"/>
                  </a:cubicBezTo>
                  <a:cubicBezTo>
                    <a:pt x="207" y="34"/>
                    <a:pt x="203" y="36"/>
                    <a:pt x="199" y="41"/>
                  </a:cubicBezTo>
                  <a:cubicBezTo>
                    <a:pt x="196" y="45"/>
                    <a:pt x="195" y="51"/>
                    <a:pt x="195" y="59"/>
                  </a:cubicBezTo>
                  <a:cubicBezTo>
                    <a:pt x="195" y="76"/>
                    <a:pt x="201" y="84"/>
                    <a:pt x="213" y="84"/>
                  </a:cubicBezTo>
                  <a:cubicBezTo>
                    <a:pt x="219" y="84"/>
                    <a:pt x="225" y="83"/>
                    <a:pt x="232" y="80"/>
                  </a:cubicBezTo>
                  <a:cubicBezTo>
                    <a:pt x="232" y="94"/>
                    <a:pt x="232" y="94"/>
                    <a:pt x="232" y="94"/>
                  </a:cubicBezTo>
                  <a:cubicBezTo>
                    <a:pt x="226" y="96"/>
                    <a:pt x="219" y="97"/>
                    <a:pt x="212" y="97"/>
                  </a:cubicBezTo>
                  <a:cubicBezTo>
                    <a:pt x="201" y="97"/>
                    <a:pt x="193" y="94"/>
                    <a:pt x="187" y="87"/>
                  </a:cubicBezTo>
                  <a:cubicBezTo>
                    <a:pt x="181" y="81"/>
                    <a:pt x="178" y="71"/>
                    <a:pt x="178" y="59"/>
                  </a:cubicBezTo>
                  <a:cubicBezTo>
                    <a:pt x="178" y="51"/>
                    <a:pt x="180" y="45"/>
                    <a:pt x="183" y="39"/>
                  </a:cubicBezTo>
                  <a:close/>
                  <a:moveTo>
                    <a:pt x="104" y="30"/>
                  </a:moveTo>
                  <a:cubicBezTo>
                    <a:pt x="110" y="24"/>
                    <a:pt x="119" y="21"/>
                    <a:pt x="131" y="21"/>
                  </a:cubicBezTo>
                  <a:cubicBezTo>
                    <a:pt x="142" y="21"/>
                    <a:pt x="151" y="24"/>
                    <a:pt x="157" y="30"/>
                  </a:cubicBezTo>
                  <a:cubicBezTo>
                    <a:pt x="163" y="37"/>
                    <a:pt x="166" y="47"/>
                    <a:pt x="166" y="59"/>
                  </a:cubicBezTo>
                  <a:cubicBezTo>
                    <a:pt x="166" y="71"/>
                    <a:pt x="163" y="81"/>
                    <a:pt x="157" y="87"/>
                  </a:cubicBezTo>
                  <a:cubicBezTo>
                    <a:pt x="151" y="94"/>
                    <a:pt x="142" y="97"/>
                    <a:pt x="131" y="97"/>
                  </a:cubicBezTo>
                  <a:cubicBezTo>
                    <a:pt x="119" y="97"/>
                    <a:pt x="110" y="94"/>
                    <a:pt x="104" y="87"/>
                  </a:cubicBezTo>
                  <a:cubicBezTo>
                    <a:pt x="98" y="81"/>
                    <a:pt x="95" y="71"/>
                    <a:pt x="95" y="59"/>
                  </a:cubicBezTo>
                  <a:cubicBezTo>
                    <a:pt x="95" y="46"/>
                    <a:pt x="98" y="37"/>
                    <a:pt x="104" y="30"/>
                  </a:cubicBezTo>
                  <a:close/>
                  <a:moveTo>
                    <a:pt x="21" y="22"/>
                  </a:moveTo>
                  <a:cubicBezTo>
                    <a:pt x="44" y="22"/>
                    <a:pt x="44" y="22"/>
                    <a:pt x="44" y="22"/>
                  </a:cubicBezTo>
                  <a:cubicBezTo>
                    <a:pt x="57" y="22"/>
                    <a:pt x="66" y="25"/>
                    <a:pt x="73" y="31"/>
                  </a:cubicBezTo>
                  <a:cubicBezTo>
                    <a:pt x="80" y="38"/>
                    <a:pt x="83" y="47"/>
                    <a:pt x="83" y="58"/>
                  </a:cubicBezTo>
                  <a:cubicBezTo>
                    <a:pt x="83" y="71"/>
                    <a:pt x="79" y="80"/>
                    <a:pt x="72" y="87"/>
                  </a:cubicBezTo>
                  <a:cubicBezTo>
                    <a:pt x="65" y="93"/>
                    <a:pt x="55" y="96"/>
                    <a:pt x="42" y="96"/>
                  </a:cubicBezTo>
                  <a:cubicBezTo>
                    <a:pt x="21" y="96"/>
                    <a:pt x="21" y="96"/>
                    <a:pt x="21" y="96"/>
                  </a:cubicBezTo>
                  <a:lnTo>
                    <a:pt x="21"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0" name="Freeform 671">
              <a:extLst>
                <a:ext uri="{FF2B5EF4-FFF2-40B4-BE49-F238E27FC236}">
                  <a16:creationId xmlns:a16="http://schemas.microsoft.com/office/drawing/2014/main" id="{72086463-8D19-4FD3-8EC5-5B5AA07FB2E0}"/>
                </a:ext>
              </a:extLst>
            </p:cNvPr>
            <p:cNvSpPr>
              <a:spLocks/>
            </p:cNvSpPr>
            <p:nvPr/>
          </p:nvSpPr>
          <p:spPr bwMode="auto">
            <a:xfrm>
              <a:off x="7068" y="2560"/>
              <a:ext cx="19" cy="32"/>
            </a:xfrm>
            <a:custGeom>
              <a:avLst/>
              <a:gdLst>
                <a:gd name="T0" fmla="*/ 29 w 29"/>
                <a:gd name="T1" fmla="*/ 24 h 48"/>
                <a:gd name="T2" fmla="*/ 8 w 29"/>
                <a:gd name="T3" fmla="*/ 0 h 48"/>
                <a:gd name="T4" fmla="*/ 0 w 29"/>
                <a:gd name="T5" fmla="*/ 0 h 48"/>
                <a:gd name="T6" fmla="*/ 0 w 29"/>
                <a:gd name="T7" fmla="*/ 48 h 48"/>
                <a:gd name="T8" fmla="*/ 7 w 29"/>
                <a:gd name="T9" fmla="*/ 48 h 48"/>
                <a:gd name="T10" fmla="*/ 29 w 29"/>
                <a:gd name="T11" fmla="*/ 24 h 48"/>
              </a:gdLst>
              <a:ahLst/>
              <a:cxnLst>
                <a:cxn ang="0">
                  <a:pos x="T0" y="T1"/>
                </a:cxn>
                <a:cxn ang="0">
                  <a:pos x="T2" y="T3"/>
                </a:cxn>
                <a:cxn ang="0">
                  <a:pos x="T4" y="T5"/>
                </a:cxn>
                <a:cxn ang="0">
                  <a:pos x="T6" y="T7"/>
                </a:cxn>
                <a:cxn ang="0">
                  <a:pos x="T8" y="T9"/>
                </a:cxn>
                <a:cxn ang="0">
                  <a:pos x="T10" y="T11"/>
                </a:cxn>
              </a:cxnLst>
              <a:rect l="0" t="0" r="r" b="b"/>
              <a:pathLst>
                <a:path w="29" h="48">
                  <a:moveTo>
                    <a:pt x="29" y="24"/>
                  </a:moveTo>
                  <a:cubicBezTo>
                    <a:pt x="29" y="8"/>
                    <a:pt x="22" y="0"/>
                    <a:pt x="8" y="0"/>
                  </a:cubicBezTo>
                  <a:cubicBezTo>
                    <a:pt x="0" y="0"/>
                    <a:pt x="0" y="0"/>
                    <a:pt x="0" y="0"/>
                  </a:cubicBezTo>
                  <a:cubicBezTo>
                    <a:pt x="0" y="48"/>
                    <a:pt x="0" y="48"/>
                    <a:pt x="0" y="48"/>
                  </a:cubicBezTo>
                  <a:cubicBezTo>
                    <a:pt x="7" y="48"/>
                    <a:pt x="7" y="48"/>
                    <a:pt x="7" y="48"/>
                  </a:cubicBezTo>
                  <a:cubicBezTo>
                    <a:pt x="22" y="48"/>
                    <a:pt x="29" y="40"/>
                    <a:pt x="29"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11" name="Group 674">
            <a:extLst>
              <a:ext uri="{FF2B5EF4-FFF2-40B4-BE49-F238E27FC236}">
                <a16:creationId xmlns:a16="http://schemas.microsoft.com/office/drawing/2014/main" id="{27EC49B1-A568-43E5-B440-B5ECB1A6B523}"/>
              </a:ext>
            </a:extLst>
          </p:cNvPr>
          <p:cNvGrpSpPr>
            <a:grpSpLocks noChangeAspect="1"/>
          </p:cNvGrpSpPr>
          <p:nvPr/>
        </p:nvGrpSpPr>
        <p:grpSpPr bwMode="auto">
          <a:xfrm>
            <a:off x="1771637" y="3292640"/>
            <a:ext cx="367631" cy="367631"/>
            <a:chOff x="6082" y="3636"/>
            <a:chExt cx="340" cy="340"/>
          </a:xfrm>
          <a:solidFill>
            <a:schemeClr val="accent1"/>
          </a:solidFill>
        </p:grpSpPr>
        <p:sp>
          <p:nvSpPr>
            <p:cNvPr id="1012" name="Freeform 675">
              <a:extLst>
                <a:ext uri="{FF2B5EF4-FFF2-40B4-BE49-F238E27FC236}">
                  <a16:creationId xmlns:a16="http://schemas.microsoft.com/office/drawing/2014/main" id="{02726115-90FB-4B69-9FB1-A04819B14FAD}"/>
                </a:ext>
              </a:extLst>
            </p:cNvPr>
            <p:cNvSpPr>
              <a:spLocks noEditPoints="1"/>
            </p:cNvSpPr>
            <p:nvPr/>
          </p:nvSpPr>
          <p:spPr bwMode="auto">
            <a:xfrm>
              <a:off x="6082" y="36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3" name="Freeform 676">
              <a:extLst>
                <a:ext uri="{FF2B5EF4-FFF2-40B4-BE49-F238E27FC236}">
                  <a16:creationId xmlns:a16="http://schemas.microsoft.com/office/drawing/2014/main" id="{EE0B9DA6-AED3-43D6-A111-4CFC27838494}"/>
                </a:ext>
              </a:extLst>
            </p:cNvPr>
            <p:cNvSpPr>
              <a:spLocks noEditPoints="1"/>
            </p:cNvSpPr>
            <p:nvPr/>
          </p:nvSpPr>
          <p:spPr bwMode="auto">
            <a:xfrm>
              <a:off x="6152" y="3700"/>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209 w 299"/>
                <a:gd name="T47" fmla="*/ 225 h 320"/>
                <a:gd name="T48" fmla="*/ 205 w 299"/>
                <a:gd name="T49" fmla="*/ 177 h 320"/>
                <a:gd name="T50" fmla="*/ 235 w 299"/>
                <a:gd name="T51" fmla="*/ 159 h 320"/>
                <a:gd name="T52" fmla="*/ 252 w 299"/>
                <a:gd name="T53" fmla="*/ 177 h 320"/>
                <a:gd name="T54" fmla="*/ 235 w 299"/>
                <a:gd name="T55" fmla="*/ 172 h 320"/>
                <a:gd name="T56" fmla="*/ 217 w 299"/>
                <a:gd name="T57" fmla="*/ 197 h 320"/>
                <a:gd name="T58" fmla="*/ 254 w 299"/>
                <a:gd name="T59" fmla="*/ 218 h 320"/>
                <a:gd name="T60" fmla="*/ 234 w 299"/>
                <a:gd name="T61" fmla="*/ 235 h 320"/>
                <a:gd name="T62" fmla="*/ 153 w 299"/>
                <a:gd name="T63" fmla="*/ 235 h 320"/>
                <a:gd name="T64" fmla="*/ 188 w 299"/>
                <a:gd name="T65" fmla="*/ 197 h 320"/>
                <a:gd name="T66" fmla="*/ 153 w 299"/>
                <a:gd name="T67" fmla="*/ 159 h 320"/>
                <a:gd name="T68" fmla="*/ 117 w 299"/>
                <a:gd name="T69" fmla="*/ 197 h 320"/>
                <a:gd name="T70" fmla="*/ 153 w 299"/>
                <a:gd name="T71" fmla="*/ 235 h 320"/>
                <a:gd name="T72" fmla="*/ 153 w 299"/>
                <a:gd name="T73" fmla="*/ 172 h 320"/>
                <a:gd name="T74" fmla="*/ 153 w 299"/>
                <a:gd name="T75" fmla="*/ 222 h 320"/>
                <a:gd name="T76" fmla="*/ 134 w 299"/>
                <a:gd name="T77" fmla="*/ 197 h 320"/>
                <a:gd name="T78" fmla="*/ 94 w 299"/>
                <a:gd name="T79" fmla="*/ 225 h 320"/>
                <a:gd name="T80" fmla="*/ 95 w 299"/>
                <a:gd name="T81" fmla="*/ 169 h 320"/>
                <a:gd name="T82" fmla="*/ 43 w 299"/>
                <a:gd name="T83" fmla="*/ 160 h 320"/>
                <a:gd name="T84" fmla="*/ 64 w 299"/>
                <a:gd name="T85" fmla="*/ 234 h 320"/>
                <a:gd name="T86" fmla="*/ 59 w 299"/>
                <a:gd name="T87" fmla="*/ 173 h 320"/>
                <a:gd name="T88" fmla="*/ 88 w 299"/>
                <a:gd name="T89" fmla="*/ 197 h 320"/>
                <a:gd name="T90" fmla="*/ 59 w 299"/>
                <a:gd name="T91" fmla="*/ 2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209" y="225"/>
                  </a:moveTo>
                  <a:cubicBezTo>
                    <a:pt x="203" y="219"/>
                    <a:pt x="200" y="209"/>
                    <a:pt x="200" y="197"/>
                  </a:cubicBezTo>
                  <a:cubicBezTo>
                    <a:pt x="200" y="189"/>
                    <a:pt x="202" y="183"/>
                    <a:pt x="205" y="177"/>
                  </a:cubicBezTo>
                  <a:cubicBezTo>
                    <a:pt x="207" y="171"/>
                    <a:pt x="211" y="166"/>
                    <a:pt x="217" y="163"/>
                  </a:cubicBezTo>
                  <a:cubicBezTo>
                    <a:pt x="222" y="160"/>
                    <a:pt x="228" y="159"/>
                    <a:pt x="235" y="159"/>
                  </a:cubicBezTo>
                  <a:cubicBezTo>
                    <a:pt x="243" y="159"/>
                    <a:pt x="250" y="160"/>
                    <a:pt x="257" y="164"/>
                  </a:cubicBezTo>
                  <a:cubicBezTo>
                    <a:pt x="252" y="177"/>
                    <a:pt x="252" y="177"/>
                    <a:pt x="252" y="177"/>
                  </a:cubicBezTo>
                  <a:cubicBezTo>
                    <a:pt x="249" y="175"/>
                    <a:pt x="246" y="174"/>
                    <a:pt x="244" y="173"/>
                  </a:cubicBezTo>
                  <a:cubicBezTo>
                    <a:pt x="241" y="172"/>
                    <a:pt x="238" y="172"/>
                    <a:pt x="235" y="172"/>
                  </a:cubicBezTo>
                  <a:cubicBezTo>
                    <a:pt x="229" y="172"/>
                    <a:pt x="225" y="174"/>
                    <a:pt x="221" y="179"/>
                  </a:cubicBezTo>
                  <a:cubicBezTo>
                    <a:pt x="218" y="183"/>
                    <a:pt x="217" y="189"/>
                    <a:pt x="217" y="197"/>
                  </a:cubicBezTo>
                  <a:cubicBezTo>
                    <a:pt x="217" y="214"/>
                    <a:pt x="223" y="222"/>
                    <a:pt x="235" y="222"/>
                  </a:cubicBezTo>
                  <a:cubicBezTo>
                    <a:pt x="241" y="222"/>
                    <a:pt x="247" y="221"/>
                    <a:pt x="254" y="218"/>
                  </a:cubicBezTo>
                  <a:cubicBezTo>
                    <a:pt x="254" y="232"/>
                    <a:pt x="254" y="232"/>
                    <a:pt x="254" y="232"/>
                  </a:cubicBezTo>
                  <a:cubicBezTo>
                    <a:pt x="248" y="234"/>
                    <a:pt x="241" y="235"/>
                    <a:pt x="234" y="235"/>
                  </a:cubicBezTo>
                  <a:cubicBezTo>
                    <a:pt x="223" y="235"/>
                    <a:pt x="215" y="232"/>
                    <a:pt x="209" y="225"/>
                  </a:cubicBezTo>
                  <a:close/>
                  <a:moveTo>
                    <a:pt x="153" y="235"/>
                  </a:moveTo>
                  <a:cubicBezTo>
                    <a:pt x="164" y="235"/>
                    <a:pt x="173" y="232"/>
                    <a:pt x="179" y="225"/>
                  </a:cubicBezTo>
                  <a:cubicBezTo>
                    <a:pt x="185" y="219"/>
                    <a:pt x="188" y="209"/>
                    <a:pt x="188" y="197"/>
                  </a:cubicBezTo>
                  <a:cubicBezTo>
                    <a:pt x="188" y="185"/>
                    <a:pt x="185" y="175"/>
                    <a:pt x="179" y="168"/>
                  </a:cubicBezTo>
                  <a:cubicBezTo>
                    <a:pt x="173" y="162"/>
                    <a:pt x="164" y="159"/>
                    <a:pt x="153" y="159"/>
                  </a:cubicBezTo>
                  <a:cubicBezTo>
                    <a:pt x="141" y="159"/>
                    <a:pt x="132" y="162"/>
                    <a:pt x="126" y="168"/>
                  </a:cubicBezTo>
                  <a:cubicBezTo>
                    <a:pt x="120" y="175"/>
                    <a:pt x="117" y="184"/>
                    <a:pt x="117" y="197"/>
                  </a:cubicBezTo>
                  <a:cubicBezTo>
                    <a:pt x="117" y="209"/>
                    <a:pt x="120" y="219"/>
                    <a:pt x="126" y="225"/>
                  </a:cubicBezTo>
                  <a:cubicBezTo>
                    <a:pt x="132" y="232"/>
                    <a:pt x="141" y="235"/>
                    <a:pt x="153" y="235"/>
                  </a:cubicBezTo>
                  <a:close/>
                  <a:moveTo>
                    <a:pt x="138" y="178"/>
                  </a:moveTo>
                  <a:cubicBezTo>
                    <a:pt x="142" y="174"/>
                    <a:pt x="146" y="172"/>
                    <a:pt x="153" y="172"/>
                  </a:cubicBezTo>
                  <a:cubicBezTo>
                    <a:pt x="165" y="172"/>
                    <a:pt x="172" y="180"/>
                    <a:pt x="172" y="197"/>
                  </a:cubicBezTo>
                  <a:cubicBezTo>
                    <a:pt x="172" y="214"/>
                    <a:pt x="165" y="222"/>
                    <a:pt x="153" y="222"/>
                  </a:cubicBezTo>
                  <a:cubicBezTo>
                    <a:pt x="146" y="222"/>
                    <a:pt x="142" y="220"/>
                    <a:pt x="138" y="216"/>
                  </a:cubicBezTo>
                  <a:cubicBezTo>
                    <a:pt x="135" y="212"/>
                    <a:pt x="134" y="205"/>
                    <a:pt x="134" y="197"/>
                  </a:cubicBezTo>
                  <a:cubicBezTo>
                    <a:pt x="134" y="189"/>
                    <a:pt x="135" y="182"/>
                    <a:pt x="138" y="178"/>
                  </a:cubicBezTo>
                  <a:close/>
                  <a:moveTo>
                    <a:pt x="94" y="225"/>
                  </a:moveTo>
                  <a:cubicBezTo>
                    <a:pt x="101" y="218"/>
                    <a:pt x="105" y="209"/>
                    <a:pt x="105" y="196"/>
                  </a:cubicBezTo>
                  <a:cubicBezTo>
                    <a:pt x="105" y="185"/>
                    <a:pt x="102" y="176"/>
                    <a:pt x="95" y="169"/>
                  </a:cubicBezTo>
                  <a:cubicBezTo>
                    <a:pt x="88" y="163"/>
                    <a:pt x="79" y="160"/>
                    <a:pt x="66" y="160"/>
                  </a:cubicBezTo>
                  <a:cubicBezTo>
                    <a:pt x="43" y="160"/>
                    <a:pt x="43" y="160"/>
                    <a:pt x="43" y="160"/>
                  </a:cubicBezTo>
                  <a:cubicBezTo>
                    <a:pt x="43" y="234"/>
                    <a:pt x="43" y="234"/>
                    <a:pt x="43" y="234"/>
                  </a:cubicBezTo>
                  <a:cubicBezTo>
                    <a:pt x="64" y="234"/>
                    <a:pt x="64" y="234"/>
                    <a:pt x="64" y="234"/>
                  </a:cubicBezTo>
                  <a:cubicBezTo>
                    <a:pt x="77" y="234"/>
                    <a:pt x="87" y="231"/>
                    <a:pt x="94" y="225"/>
                  </a:cubicBezTo>
                  <a:close/>
                  <a:moveTo>
                    <a:pt x="59" y="173"/>
                  </a:moveTo>
                  <a:cubicBezTo>
                    <a:pt x="67" y="173"/>
                    <a:pt x="67" y="173"/>
                    <a:pt x="67" y="173"/>
                  </a:cubicBezTo>
                  <a:cubicBezTo>
                    <a:pt x="81" y="173"/>
                    <a:pt x="88" y="181"/>
                    <a:pt x="88" y="197"/>
                  </a:cubicBezTo>
                  <a:cubicBezTo>
                    <a:pt x="88" y="213"/>
                    <a:pt x="81" y="221"/>
                    <a:pt x="66" y="221"/>
                  </a:cubicBezTo>
                  <a:cubicBezTo>
                    <a:pt x="59" y="221"/>
                    <a:pt x="59" y="221"/>
                    <a:pt x="59" y="221"/>
                  </a:cubicBezTo>
                  <a:lnTo>
                    <a:pt x="59" y="1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14" name="TextBox 1013">
            <a:extLst>
              <a:ext uri="{FF2B5EF4-FFF2-40B4-BE49-F238E27FC236}">
                <a16:creationId xmlns:a16="http://schemas.microsoft.com/office/drawing/2014/main" id="{B5299EDA-EB3B-4EB1-8F7F-44793A522B49}"/>
              </a:ext>
            </a:extLst>
          </p:cNvPr>
          <p:cNvSpPr txBox="1"/>
          <p:nvPr/>
        </p:nvSpPr>
        <p:spPr>
          <a:xfrm>
            <a:off x="10039623" y="2105125"/>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uffering 1</a:t>
            </a:r>
          </a:p>
        </p:txBody>
      </p:sp>
      <p:sp>
        <p:nvSpPr>
          <p:cNvPr id="1015" name="TextBox 1014">
            <a:extLst>
              <a:ext uri="{FF2B5EF4-FFF2-40B4-BE49-F238E27FC236}">
                <a16:creationId xmlns:a16="http://schemas.microsoft.com/office/drawing/2014/main" id="{52720444-73D4-4E45-930D-E118C720641B}"/>
              </a:ext>
            </a:extLst>
          </p:cNvPr>
          <p:cNvSpPr txBox="1"/>
          <p:nvPr/>
        </p:nvSpPr>
        <p:spPr>
          <a:xfrm>
            <a:off x="10902409" y="210512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uffering 21</a:t>
            </a:r>
          </a:p>
        </p:txBody>
      </p:sp>
      <p:sp>
        <p:nvSpPr>
          <p:cNvPr id="1016" name="Freeform 696">
            <a:extLst>
              <a:ext uri="{FF2B5EF4-FFF2-40B4-BE49-F238E27FC236}">
                <a16:creationId xmlns:a16="http://schemas.microsoft.com/office/drawing/2014/main" id="{64B297F0-BAA7-4F19-AD4E-F61A35A19F5F}"/>
              </a:ext>
            </a:extLst>
          </p:cNvPr>
          <p:cNvSpPr>
            <a:spLocks noChangeAspect="1" noEditPoints="1"/>
          </p:cNvSpPr>
          <p:nvPr/>
        </p:nvSpPr>
        <p:spPr bwMode="auto">
          <a:xfrm>
            <a:off x="10065299" y="170021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1 w 512"/>
              <a:gd name="T11" fmla="*/ 195 h 512"/>
              <a:gd name="T12" fmla="*/ 355 w 512"/>
              <a:gd name="T13" fmla="*/ 141 h 512"/>
              <a:gd name="T14" fmla="*/ 370 w 512"/>
              <a:gd name="T15" fmla="*/ 141 h 512"/>
              <a:gd name="T16" fmla="*/ 370 w 512"/>
              <a:gd name="T17" fmla="*/ 157 h 512"/>
              <a:gd name="T18" fmla="*/ 317 w 512"/>
              <a:gd name="T19" fmla="*/ 210 h 512"/>
              <a:gd name="T20" fmla="*/ 309 w 512"/>
              <a:gd name="T21" fmla="*/ 213 h 512"/>
              <a:gd name="T22" fmla="*/ 301 w 512"/>
              <a:gd name="T23" fmla="*/ 210 h 512"/>
              <a:gd name="T24" fmla="*/ 301 w 512"/>
              <a:gd name="T25" fmla="*/ 195 h 512"/>
              <a:gd name="T26" fmla="*/ 96 w 512"/>
              <a:gd name="T27" fmla="*/ 256 h 512"/>
              <a:gd name="T28" fmla="*/ 106 w 512"/>
              <a:gd name="T29" fmla="*/ 245 h 512"/>
              <a:gd name="T30" fmla="*/ 181 w 512"/>
              <a:gd name="T31" fmla="*/ 245 h 512"/>
              <a:gd name="T32" fmla="*/ 192 w 512"/>
              <a:gd name="T33" fmla="*/ 256 h 512"/>
              <a:gd name="T34" fmla="*/ 181 w 512"/>
              <a:gd name="T35" fmla="*/ 266 h 512"/>
              <a:gd name="T36" fmla="*/ 106 w 512"/>
              <a:gd name="T37" fmla="*/ 266 h 512"/>
              <a:gd name="T38" fmla="*/ 96 w 512"/>
              <a:gd name="T39" fmla="*/ 256 h 512"/>
              <a:gd name="T40" fmla="*/ 210 w 512"/>
              <a:gd name="T41" fmla="*/ 317 h 512"/>
              <a:gd name="T42" fmla="*/ 157 w 512"/>
              <a:gd name="T43" fmla="*/ 370 h 512"/>
              <a:gd name="T44" fmla="*/ 149 w 512"/>
              <a:gd name="T45" fmla="*/ 373 h 512"/>
              <a:gd name="T46" fmla="*/ 141 w 512"/>
              <a:gd name="T47" fmla="*/ 370 h 512"/>
              <a:gd name="T48" fmla="*/ 141 w 512"/>
              <a:gd name="T49" fmla="*/ 355 h 512"/>
              <a:gd name="T50" fmla="*/ 195 w 512"/>
              <a:gd name="T51" fmla="*/ 301 h 512"/>
              <a:gd name="T52" fmla="*/ 210 w 512"/>
              <a:gd name="T53" fmla="*/ 301 h 512"/>
              <a:gd name="T54" fmla="*/ 210 w 512"/>
              <a:gd name="T55" fmla="*/ 317 h 512"/>
              <a:gd name="T56" fmla="*/ 266 w 512"/>
              <a:gd name="T57" fmla="*/ 405 h 512"/>
              <a:gd name="T58" fmla="*/ 256 w 512"/>
              <a:gd name="T59" fmla="*/ 416 h 512"/>
              <a:gd name="T60" fmla="*/ 245 w 512"/>
              <a:gd name="T61" fmla="*/ 405 h 512"/>
              <a:gd name="T62" fmla="*/ 245 w 512"/>
              <a:gd name="T63" fmla="*/ 330 h 512"/>
              <a:gd name="T64" fmla="*/ 256 w 512"/>
              <a:gd name="T65" fmla="*/ 320 h 512"/>
              <a:gd name="T66" fmla="*/ 266 w 512"/>
              <a:gd name="T67" fmla="*/ 330 h 512"/>
              <a:gd name="T68" fmla="*/ 266 w 512"/>
              <a:gd name="T69" fmla="*/ 405 h 512"/>
              <a:gd name="T70" fmla="*/ 266 w 512"/>
              <a:gd name="T71" fmla="*/ 181 h 512"/>
              <a:gd name="T72" fmla="*/ 256 w 512"/>
              <a:gd name="T73" fmla="*/ 192 h 512"/>
              <a:gd name="T74" fmla="*/ 245 w 512"/>
              <a:gd name="T75" fmla="*/ 181 h 512"/>
              <a:gd name="T76" fmla="*/ 245 w 512"/>
              <a:gd name="T77" fmla="*/ 106 h 512"/>
              <a:gd name="T78" fmla="*/ 256 w 512"/>
              <a:gd name="T79" fmla="*/ 96 h 512"/>
              <a:gd name="T80" fmla="*/ 266 w 512"/>
              <a:gd name="T81" fmla="*/ 106 h 512"/>
              <a:gd name="T82" fmla="*/ 266 w 512"/>
              <a:gd name="T83" fmla="*/ 181 h 512"/>
              <a:gd name="T84" fmla="*/ 370 w 512"/>
              <a:gd name="T85" fmla="*/ 370 h 512"/>
              <a:gd name="T86" fmla="*/ 362 w 512"/>
              <a:gd name="T87" fmla="*/ 373 h 512"/>
              <a:gd name="T88" fmla="*/ 355 w 512"/>
              <a:gd name="T89" fmla="*/ 370 h 512"/>
              <a:gd name="T90" fmla="*/ 301 w 512"/>
              <a:gd name="T91" fmla="*/ 317 h 512"/>
              <a:gd name="T92" fmla="*/ 301 w 512"/>
              <a:gd name="T93" fmla="*/ 301 h 512"/>
              <a:gd name="T94" fmla="*/ 317 w 512"/>
              <a:gd name="T95" fmla="*/ 301 h 512"/>
              <a:gd name="T96" fmla="*/ 370 w 512"/>
              <a:gd name="T97" fmla="*/ 355 h 512"/>
              <a:gd name="T98" fmla="*/ 370 w 512"/>
              <a:gd name="T99" fmla="*/ 370 h 512"/>
              <a:gd name="T100" fmla="*/ 405 w 512"/>
              <a:gd name="T101" fmla="*/ 266 h 512"/>
              <a:gd name="T102" fmla="*/ 330 w 512"/>
              <a:gd name="T103" fmla="*/ 266 h 512"/>
              <a:gd name="T104" fmla="*/ 320 w 512"/>
              <a:gd name="T105" fmla="*/ 256 h 512"/>
              <a:gd name="T106" fmla="*/ 330 w 512"/>
              <a:gd name="T107" fmla="*/ 245 h 512"/>
              <a:gd name="T108" fmla="*/ 405 w 512"/>
              <a:gd name="T109" fmla="*/ 245 h 512"/>
              <a:gd name="T110" fmla="*/ 416 w 512"/>
              <a:gd name="T111" fmla="*/ 256 h 512"/>
              <a:gd name="T112" fmla="*/ 405 w 512"/>
              <a:gd name="T11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1" y="195"/>
                </a:moveTo>
                <a:cubicBezTo>
                  <a:pt x="355" y="141"/>
                  <a:pt x="355" y="141"/>
                  <a:pt x="355" y="141"/>
                </a:cubicBezTo>
                <a:cubicBezTo>
                  <a:pt x="359" y="137"/>
                  <a:pt x="366" y="137"/>
                  <a:pt x="370" y="141"/>
                </a:cubicBezTo>
                <a:cubicBezTo>
                  <a:pt x="374" y="146"/>
                  <a:pt x="374" y="152"/>
                  <a:pt x="370" y="157"/>
                </a:cubicBezTo>
                <a:cubicBezTo>
                  <a:pt x="317" y="210"/>
                  <a:pt x="317" y="210"/>
                  <a:pt x="317" y="210"/>
                </a:cubicBezTo>
                <a:cubicBezTo>
                  <a:pt x="314" y="212"/>
                  <a:pt x="312" y="213"/>
                  <a:pt x="309" y="213"/>
                </a:cubicBezTo>
                <a:cubicBezTo>
                  <a:pt x="306" y="213"/>
                  <a:pt x="304" y="212"/>
                  <a:pt x="301" y="210"/>
                </a:cubicBezTo>
                <a:cubicBezTo>
                  <a:pt x="297" y="206"/>
                  <a:pt x="297" y="199"/>
                  <a:pt x="301" y="195"/>
                </a:cubicBezTo>
                <a:close/>
                <a:moveTo>
                  <a:pt x="96" y="256"/>
                </a:moveTo>
                <a:cubicBezTo>
                  <a:pt x="96" y="250"/>
                  <a:pt x="100" y="245"/>
                  <a:pt x="106" y="245"/>
                </a:cubicBezTo>
                <a:cubicBezTo>
                  <a:pt x="181" y="245"/>
                  <a:pt x="181" y="245"/>
                  <a:pt x="181" y="245"/>
                </a:cubicBezTo>
                <a:cubicBezTo>
                  <a:pt x="187" y="245"/>
                  <a:pt x="192" y="250"/>
                  <a:pt x="192" y="256"/>
                </a:cubicBezTo>
                <a:cubicBezTo>
                  <a:pt x="192" y="262"/>
                  <a:pt x="187" y="266"/>
                  <a:pt x="181" y="266"/>
                </a:cubicBezTo>
                <a:cubicBezTo>
                  <a:pt x="106" y="266"/>
                  <a:pt x="106" y="266"/>
                  <a:pt x="106" y="266"/>
                </a:cubicBezTo>
                <a:cubicBezTo>
                  <a:pt x="100" y="266"/>
                  <a:pt x="96" y="262"/>
                  <a:pt x="96" y="256"/>
                </a:cubicBezTo>
                <a:close/>
                <a:moveTo>
                  <a:pt x="210" y="317"/>
                </a:move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5" y="301"/>
                  <a:pt x="195" y="301"/>
                  <a:pt x="195" y="301"/>
                </a:cubicBezTo>
                <a:cubicBezTo>
                  <a:pt x="199" y="297"/>
                  <a:pt x="206" y="297"/>
                  <a:pt x="210" y="301"/>
                </a:cubicBezTo>
                <a:cubicBezTo>
                  <a:pt x="214" y="306"/>
                  <a:pt x="214" y="312"/>
                  <a:pt x="210" y="317"/>
                </a:cubicBezTo>
                <a:close/>
                <a:moveTo>
                  <a:pt x="266" y="405"/>
                </a:moveTo>
                <a:cubicBezTo>
                  <a:pt x="266" y="411"/>
                  <a:pt x="262" y="416"/>
                  <a:pt x="256" y="416"/>
                </a:cubicBezTo>
                <a:cubicBezTo>
                  <a:pt x="250" y="416"/>
                  <a:pt x="245" y="411"/>
                  <a:pt x="245" y="405"/>
                </a:cubicBezTo>
                <a:cubicBezTo>
                  <a:pt x="245" y="330"/>
                  <a:pt x="245" y="330"/>
                  <a:pt x="245" y="330"/>
                </a:cubicBezTo>
                <a:cubicBezTo>
                  <a:pt x="245" y="324"/>
                  <a:pt x="250" y="320"/>
                  <a:pt x="256" y="320"/>
                </a:cubicBezTo>
                <a:cubicBezTo>
                  <a:pt x="262" y="320"/>
                  <a:pt x="266" y="324"/>
                  <a:pt x="266" y="330"/>
                </a:cubicBezTo>
                <a:lnTo>
                  <a:pt x="266" y="405"/>
                </a:lnTo>
                <a:close/>
                <a:moveTo>
                  <a:pt x="266" y="181"/>
                </a:moveTo>
                <a:cubicBezTo>
                  <a:pt x="266" y="187"/>
                  <a:pt x="262" y="192"/>
                  <a:pt x="256" y="192"/>
                </a:cubicBezTo>
                <a:cubicBezTo>
                  <a:pt x="250" y="192"/>
                  <a:pt x="245" y="187"/>
                  <a:pt x="245" y="181"/>
                </a:cubicBezTo>
                <a:cubicBezTo>
                  <a:pt x="245" y="106"/>
                  <a:pt x="245" y="106"/>
                  <a:pt x="245" y="106"/>
                </a:cubicBezTo>
                <a:cubicBezTo>
                  <a:pt x="245" y="100"/>
                  <a:pt x="250" y="96"/>
                  <a:pt x="256" y="96"/>
                </a:cubicBezTo>
                <a:cubicBezTo>
                  <a:pt x="262" y="96"/>
                  <a:pt x="266" y="100"/>
                  <a:pt x="266" y="106"/>
                </a:cubicBezTo>
                <a:lnTo>
                  <a:pt x="266" y="181"/>
                </a:lnTo>
                <a:close/>
                <a:moveTo>
                  <a:pt x="370" y="370"/>
                </a:moveTo>
                <a:cubicBezTo>
                  <a:pt x="368" y="372"/>
                  <a:pt x="365" y="373"/>
                  <a:pt x="362" y="373"/>
                </a:cubicBezTo>
                <a:cubicBezTo>
                  <a:pt x="360" y="373"/>
                  <a:pt x="357" y="372"/>
                  <a:pt x="355" y="370"/>
                </a:cubicBezTo>
                <a:cubicBezTo>
                  <a:pt x="301" y="317"/>
                  <a:pt x="301" y="317"/>
                  <a:pt x="301" y="317"/>
                </a:cubicBezTo>
                <a:cubicBezTo>
                  <a:pt x="297" y="312"/>
                  <a:pt x="297" y="306"/>
                  <a:pt x="301" y="301"/>
                </a:cubicBezTo>
                <a:cubicBezTo>
                  <a:pt x="306" y="297"/>
                  <a:pt x="312" y="297"/>
                  <a:pt x="317" y="301"/>
                </a:cubicBezTo>
                <a:cubicBezTo>
                  <a:pt x="370" y="355"/>
                  <a:pt x="370" y="355"/>
                  <a:pt x="370" y="355"/>
                </a:cubicBezTo>
                <a:cubicBezTo>
                  <a:pt x="374" y="359"/>
                  <a:pt x="374" y="366"/>
                  <a:pt x="370" y="370"/>
                </a:cubicBezTo>
                <a:close/>
                <a:moveTo>
                  <a:pt x="405" y="266"/>
                </a:moveTo>
                <a:cubicBezTo>
                  <a:pt x="330" y="266"/>
                  <a:pt x="330" y="266"/>
                  <a:pt x="330" y="266"/>
                </a:cubicBezTo>
                <a:cubicBezTo>
                  <a:pt x="324" y="266"/>
                  <a:pt x="320" y="262"/>
                  <a:pt x="320" y="256"/>
                </a:cubicBezTo>
                <a:cubicBezTo>
                  <a:pt x="320" y="250"/>
                  <a:pt x="324" y="245"/>
                  <a:pt x="330" y="245"/>
                </a:cubicBezTo>
                <a:cubicBezTo>
                  <a:pt x="405" y="245"/>
                  <a:pt x="405" y="245"/>
                  <a:pt x="405" y="245"/>
                </a:cubicBezTo>
                <a:cubicBezTo>
                  <a:pt x="411" y="245"/>
                  <a:pt x="416" y="250"/>
                  <a:pt x="416" y="256"/>
                </a:cubicBezTo>
                <a:cubicBezTo>
                  <a:pt x="416" y="262"/>
                  <a:pt x="411" y="266"/>
                  <a:pt x="405" y="26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17" name="Group 699">
            <a:extLst>
              <a:ext uri="{FF2B5EF4-FFF2-40B4-BE49-F238E27FC236}">
                <a16:creationId xmlns:a16="http://schemas.microsoft.com/office/drawing/2014/main" id="{7C910C9B-40F1-4970-AAAA-52277D29FDF2}"/>
              </a:ext>
            </a:extLst>
          </p:cNvPr>
          <p:cNvGrpSpPr>
            <a:grpSpLocks noChangeAspect="1"/>
          </p:cNvGrpSpPr>
          <p:nvPr/>
        </p:nvGrpSpPr>
        <p:grpSpPr bwMode="auto">
          <a:xfrm>
            <a:off x="10499666" y="1700213"/>
            <a:ext cx="367982" cy="367982"/>
            <a:chOff x="4147" y="2931"/>
            <a:chExt cx="340" cy="340"/>
          </a:xfrm>
          <a:solidFill>
            <a:schemeClr val="accent2"/>
          </a:solidFill>
        </p:grpSpPr>
        <p:sp>
          <p:nvSpPr>
            <p:cNvPr id="1018" name="Freeform 852">
              <a:extLst>
                <a:ext uri="{FF2B5EF4-FFF2-40B4-BE49-F238E27FC236}">
                  <a16:creationId xmlns:a16="http://schemas.microsoft.com/office/drawing/2014/main" id="{D19A6EEE-0C03-488B-A572-9FF5C3415018}"/>
                </a:ext>
              </a:extLst>
            </p:cNvPr>
            <p:cNvSpPr>
              <a:spLocks noEditPoints="1"/>
            </p:cNvSpPr>
            <p:nvPr/>
          </p:nvSpPr>
          <p:spPr bwMode="auto">
            <a:xfrm>
              <a:off x="4147" y="29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9" name="Freeform 853">
              <a:extLst>
                <a:ext uri="{FF2B5EF4-FFF2-40B4-BE49-F238E27FC236}">
                  <a16:creationId xmlns:a16="http://schemas.microsoft.com/office/drawing/2014/main" id="{7BDA4596-DF7B-44E8-BE49-D2F9A7D90110}"/>
                </a:ext>
              </a:extLst>
            </p:cNvPr>
            <p:cNvSpPr>
              <a:spLocks noEditPoints="1"/>
            </p:cNvSpPr>
            <p:nvPr/>
          </p:nvSpPr>
          <p:spPr bwMode="auto">
            <a:xfrm>
              <a:off x="4211" y="2995"/>
              <a:ext cx="212" cy="212"/>
            </a:xfrm>
            <a:custGeom>
              <a:avLst/>
              <a:gdLst>
                <a:gd name="T0" fmla="*/ 170 w 320"/>
                <a:gd name="T1" fmla="*/ 10 h 320"/>
                <a:gd name="T2" fmla="*/ 170 w 320"/>
                <a:gd name="T3" fmla="*/ 85 h 320"/>
                <a:gd name="T4" fmla="*/ 160 w 320"/>
                <a:gd name="T5" fmla="*/ 96 h 320"/>
                <a:gd name="T6" fmla="*/ 149 w 320"/>
                <a:gd name="T7" fmla="*/ 85 h 320"/>
                <a:gd name="T8" fmla="*/ 149 w 320"/>
                <a:gd name="T9" fmla="*/ 10 h 320"/>
                <a:gd name="T10" fmla="*/ 160 w 320"/>
                <a:gd name="T11" fmla="*/ 0 h 320"/>
                <a:gd name="T12" fmla="*/ 170 w 320"/>
                <a:gd name="T13" fmla="*/ 10 h 320"/>
                <a:gd name="T14" fmla="*/ 213 w 320"/>
                <a:gd name="T15" fmla="*/ 117 h 320"/>
                <a:gd name="T16" fmla="*/ 221 w 320"/>
                <a:gd name="T17" fmla="*/ 114 h 320"/>
                <a:gd name="T18" fmla="*/ 274 w 320"/>
                <a:gd name="T19" fmla="*/ 61 h 320"/>
                <a:gd name="T20" fmla="*/ 274 w 320"/>
                <a:gd name="T21" fmla="*/ 45 h 320"/>
                <a:gd name="T22" fmla="*/ 259 w 320"/>
                <a:gd name="T23" fmla="*/ 45 h 320"/>
                <a:gd name="T24" fmla="*/ 205 w 320"/>
                <a:gd name="T25" fmla="*/ 99 h 320"/>
                <a:gd name="T26" fmla="*/ 205 w 320"/>
                <a:gd name="T27" fmla="*/ 114 h 320"/>
                <a:gd name="T28" fmla="*/ 213 w 320"/>
                <a:gd name="T29" fmla="*/ 117 h 320"/>
                <a:gd name="T30" fmla="*/ 309 w 320"/>
                <a:gd name="T31" fmla="*/ 149 h 320"/>
                <a:gd name="T32" fmla="*/ 234 w 320"/>
                <a:gd name="T33" fmla="*/ 149 h 320"/>
                <a:gd name="T34" fmla="*/ 224 w 320"/>
                <a:gd name="T35" fmla="*/ 160 h 320"/>
                <a:gd name="T36" fmla="*/ 234 w 320"/>
                <a:gd name="T37" fmla="*/ 170 h 320"/>
                <a:gd name="T38" fmla="*/ 309 w 320"/>
                <a:gd name="T39" fmla="*/ 170 h 320"/>
                <a:gd name="T40" fmla="*/ 320 w 320"/>
                <a:gd name="T41" fmla="*/ 160 h 320"/>
                <a:gd name="T42" fmla="*/ 309 w 320"/>
                <a:gd name="T43" fmla="*/ 149 h 320"/>
                <a:gd name="T44" fmla="*/ 221 w 320"/>
                <a:gd name="T45" fmla="*/ 205 h 320"/>
                <a:gd name="T46" fmla="*/ 205 w 320"/>
                <a:gd name="T47" fmla="*/ 205 h 320"/>
                <a:gd name="T48" fmla="*/ 205 w 320"/>
                <a:gd name="T49" fmla="*/ 221 h 320"/>
                <a:gd name="T50" fmla="*/ 259 w 320"/>
                <a:gd name="T51" fmla="*/ 274 h 320"/>
                <a:gd name="T52" fmla="*/ 266 w 320"/>
                <a:gd name="T53" fmla="*/ 277 h 320"/>
                <a:gd name="T54" fmla="*/ 274 w 320"/>
                <a:gd name="T55" fmla="*/ 274 h 320"/>
                <a:gd name="T56" fmla="*/ 274 w 320"/>
                <a:gd name="T57" fmla="*/ 259 h 320"/>
                <a:gd name="T58" fmla="*/ 221 w 320"/>
                <a:gd name="T59" fmla="*/ 205 h 320"/>
                <a:gd name="T60" fmla="*/ 160 w 320"/>
                <a:gd name="T61" fmla="*/ 224 h 320"/>
                <a:gd name="T62" fmla="*/ 149 w 320"/>
                <a:gd name="T63" fmla="*/ 234 h 320"/>
                <a:gd name="T64" fmla="*/ 149 w 320"/>
                <a:gd name="T65" fmla="*/ 309 h 320"/>
                <a:gd name="T66" fmla="*/ 160 w 320"/>
                <a:gd name="T67" fmla="*/ 320 h 320"/>
                <a:gd name="T68" fmla="*/ 170 w 320"/>
                <a:gd name="T69" fmla="*/ 309 h 320"/>
                <a:gd name="T70" fmla="*/ 170 w 320"/>
                <a:gd name="T71" fmla="*/ 234 h 320"/>
                <a:gd name="T72" fmla="*/ 160 w 320"/>
                <a:gd name="T73" fmla="*/ 224 h 320"/>
                <a:gd name="T74" fmla="*/ 99 w 320"/>
                <a:gd name="T75" fmla="*/ 205 h 320"/>
                <a:gd name="T76" fmla="*/ 45 w 320"/>
                <a:gd name="T77" fmla="*/ 259 h 320"/>
                <a:gd name="T78" fmla="*/ 45 w 320"/>
                <a:gd name="T79" fmla="*/ 274 h 320"/>
                <a:gd name="T80" fmla="*/ 53 w 320"/>
                <a:gd name="T81" fmla="*/ 277 h 320"/>
                <a:gd name="T82" fmla="*/ 61 w 320"/>
                <a:gd name="T83" fmla="*/ 274 h 320"/>
                <a:gd name="T84" fmla="*/ 114 w 320"/>
                <a:gd name="T85" fmla="*/ 221 h 320"/>
                <a:gd name="T86" fmla="*/ 114 w 320"/>
                <a:gd name="T87" fmla="*/ 205 h 320"/>
                <a:gd name="T88" fmla="*/ 99 w 320"/>
                <a:gd name="T89" fmla="*/ 205 h 320"/>
                <a:gd name="T90" fmla="*/ 96 w 320"/>
                <a:gd name="T91" fmla="*/ 160 h 320"/>
                <a:gd name="T92" fmla="*/ 85 w 320"/>
                <a:gd name="T93" fmla="*/ 149 h 320"/>
                <a:gd name="T94" fmla="*/ 10 w 320"/>
                <a:gd name="T95" fmla="*/ 149 h 320"/>
                <a:gd name="T96" fmla="*/ 0 w 320"/>
                <a:gd name="T97" fmla="*/ 160 h 320"/>
                <a:gd name="T98" fmla="*/ 10 w 320"/>
                <a:gd name="T99" fmla="*/ 170 h 320"/>
                <a:gd name="T100" fmla="*/ 85 w 320"/>
                <a:gd name="T101" fmla="*/ 170 h 320"/>
                <a:gd name="T102" fmla="*/ 96 w 320"/>
                <a:gd name="T103"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320">
                  <a:moveTo>
                    <a:pt x="170" y="10"/>
                  </a:moveTo>
                  <a:cubicBezTo>
                    <a:pt x="170" y="85"/>
                    <a:pt x="170" y="85"/>
                    <a:pt x="170" y="85"/>
                  </a:cubicBezTo>
                  <a:cubicBezTo>
                    <a:pt x="170" y="91"/>
                    <a:pt x="166" y="96"/>
                    <a:pt x="160" y="96"/>
                  </a:cubicBezTo>
                  <a:cubicBezTo>
                    <a:pt x="154" y="96"/>
                    <a:pt x="149" y="91"/>
                    <a:pt x="149" y="85"/>
                  </a:cubicBezTo>
                  <a:cubicBezTo>
                    <a:pt x="149" y="10"/>
                    <a:pt x="149" y="10"/>
                    <a:pt x="149" y="10"/>
                  </a:cubicBezTo>
                  <a:cubicBezTo>
                    <a:pt x="149" y="4"/>
                    <a:pt x="154" y="0"/>
                    <a:pt x="160" y="0"/>
                  </a:cubicBezTo>
                  <a:cubicBezTo>
                    <a:pt x="166" y="0"/>
                    <a:pt x="170" y="4"/>
                    <a:pt x="170" y="10"/>
                  </a:cubicBezTo>
                  <a:close/>
                  <a:moveTo>
                    <a:pt x="213" y="117"/>
                  </a:moveTo>
                  <a:cubicBezTo>
                    <a:pt x="216" y="117"/>
                    <a:pt x="218" y="116"/>
                    <a:pt x="221" y="114"/>
                  </a:cubicBezTo>
                  <a:cubicBezTo>
                    <a:pt x="274" y="61"/>
                    <a:pt x="274" y="61"/>
                    <a:pt x="274" y="61"/>
                  </a:cubicBezTo>
                  <a:cubicBezTo>
                    <a:pt x="278" y="56"/>
                    <a:pt x="278" y="50"/>
                    <a:pt x="274" y="45"/>
                  </a:cubicBezTo>
                  <a:cubicBezTo>
                    <a:pt x="270" y="41"/>
                    <a:pt x="263" y="41"/>
                    <a:pt x="259" y="45"/>
                  </a:cubicBezTo>
                  <a:cubicBezTo>
                    <a:pt x="205" y="99"/>
                    <a:pt x="205" y="99"/>
                    <a:pt x="205" y="99"/>
                  </a:cubicBezTo>
                  <a:cubicBezTo>
                    <a:pt x="201" y="103"/>
                    <a:pt x="201" y="110"/>
                    <a:pt x="205" y="114"/>
                  </a:cubicBezTo>
                  <a:cubicBezTo>
                    <a:pt x="208" y="116"/>
                    <a:pt x="210" y="117"/>
                    <a:pt x="213" y="117"/>
                  </a:cubicBezTo>
                  <a:close/>
                  <a:moveTo>
                    <a:pt x="309" y="149"/>
                  </a:moveTo>
                  <a:cubicBezTo>
                    <a:pt x="234" y="149"/>
                    <a:pt x="234" y="149"/>
                    <a:pt x="234" y="149"/>
                  </a:cubicBezTo>
                  <a:cubicBezTo>
                    <a:pt x="228" y="149"/>
                    <a:pt x="224" y="154"/>
                    <a:pt x="224" y="160"/>
                  </a:cubicBezTo>
                  <a:cubicBezTo>
                    <a:pt x="224" y="166"/>
                    <a:pt x="228" y="170"/>
                    <a:pt x="234" y="170"/>
                  </a:cubicBezTo>
                  <a:cubicBezTo>
                    <a:pt x="309" y="170"/>
                    <a:pt x="309" y="170"/>
                    <a:pt x="309" y="170"/>
                  </a:cubicBezTo>
                  <a:cubicBezTo>
                    <a:pt x="315" y="170"/>
                    <a:pt x="320" y="166"/>
                    <a:pt x="320" y="160"/>
                  </a:cubicBezTo>
                  <a:cubicBezTo>
                    <a:pt x="320" y="154"/>
                    <a:pt x="315" y="149"/>
                    <a:pt x="309" y="149"/>
                  </a:cubicBezTo>
                  <a:close/>
                  <a:moveTo>
                    <a:pt x="221" y="205"/>
                  </a:moveTo>
                  <a:cubicBezTo>
                    <a:pt x="216" y="201"/>
                    <a:pt x="210" y="201"/>
                    <a:pt x="205" y="205"/>
                  </a:cubicBezTo>
                  <a:cubicBezTo>
                    <a:pt x="201" y="210"/>
                    <a:pt x="201" y="216"/>
                    <a:pt x="205" y="221"/>
                  </a:cubicBezTo>
                  <a:cubicBezTo>
                    <a:pt x="259" y="274"/>
                    <a:pt x="259" y="274"/>
                    <a:pt x="259" y="274"/>
                  </a:cubicBezTo>
                  <a:cubicBezTo>
                    <a:pt x="261" y="276"/>
                    <a:pt x="264" y="277"/>
                    <a:pt x="266" y="277"/>
                  </a:cubicBezTo>
                  <a:cubicBezTo>
                    <a:pt x="269" y="277"/>
                    <a:pt x="272" y="276"/>
                    <a:pt x="274" y="274"/>
                  </a:cubicBezTo>
                  <a:cubicBezTo>
                    <a:pt x="278" y="270"/>
                    <a:pt x="278" y="263"/>
                    <a:pt x="274" y="259"/>
                  </a:cubicBezTo>
                  <a:lnTo>
                    <a:pt x="221" y="205"/>
                  </a:lnTo>
                  <a:close/>
                  <a:moveTo>
                    <a:pt x="160" y="224"/>
                  </a:moveTo>
                  <a:cubicBezTo>
                    <a:pt x="154" y="224"/>
                    <a:pt x="149" y="228"/>
                    <a:pt x="149" y="234"/>
                  </a:cubicBezTo>
                  <a:cubicBezTo>
                    <a:pt x="149" y="309"/>
                    <a:pt x="149" y="309"/>
                    <a:pt x="149" y="309"/>
                  </a:cubicBezTo>
                  <a:cubicBezTo>
                    <a:pt x="149" y="315"/>
                    <a:pt x="154" y="320"/>
                    <a:pt x="160" y="320"/>
                  </a:cubicBezTo>
                  <a:cubicBezTo>
                    <a:pt x="166" y="320"/>
                    <a:pt x="170" y="315"/>
                    <a:pt x="170" y="309"/>
                  </a:cubicBezTo>
                  <a:cubicBezTo>
                    <a:pt x="170" y="234"/>
                    <a:pt x="170" y="234"/>
                    <a:pt x="170" y="234"/>
                  </a:cubicBezTo>
                  <a:cubicBezTo>
                    <a:pt x="170" y="228"/>
                    <a:pt x="166" y="224"/>
                    <a:pt x="160" y="224"/>
                  </a:cubicBezTo>
                  <a:close/>
                  <a:moveTo>
                    <a:pt x="99" y="205"/>
                  </a:moveTo>
                  <a:cubicBezTo>
                    <a:pt x="45" y="259"/>
                    <a:pt x="45" y="259"/>
                    <a:pt x="45" y="259"/>
                  </a:cubicBezTo>
                  <a:cubicBezTo>
                    <a:pt x="41" y="263"/>
                    <a:pt x="41" y="270"/>
                    <a:pt x="45" y="274"/>
                  </a:cubicBezTo>
                  <a:cubicBezTo>
                    <a:pt x="48" y="276"/>
                    <a:pt x="50" y="277"/>
                    <a:pt x="53" y="277"/>
                  </a:cubicBezTo>
                  <a:cubicBezTo>
                    <a:pt x="56" y="277"/>
                    <a:pt x="58" y="276"/>
                    <a:pt x="61" y="274"/>
                  </a:cubicBezTo>
                  <a:cubicBezTo>
                    <a:pt x="114" y="221"/>
                    <a:pt x="114" y="221"/>
                    <a:pt x="114" y="221"/>
                  </a:cubicBezTo>
                  <a:cubicBezTo>
                    <a:pt x="118" y="216"/>
                    <a:pt x="118" y="210"/>
                    <a:pt x="114" y="205"/>
                  </a:cubicBezTo>
                  <a:cubicBezTo>
                    <a:pt x="110" y="201"/>
                    <a:pt x="103" y="201"/>
                    <a:pt x="99" y="205"/>
                  </a:cubicBezTo>
                  <a:close/>
                  <a:moveTo>
                    <a:pt x="96" y="160"/>
                  </a:moveTo>
                  <a:cubicBezTo>
                    <a:pt x="96" y="154"/>
                    <a:pt x="91" y="149"/>
                    <a:pt x="85" y="149"/>
                  </a:cubicBezTo>
                  <a:cubicBezTo>
                    <a:pt x="10" y="149"/>
                    <a:pt x="10" y="149"/>
                    <a:pt x="10" y="149"/>
                  </a:cubicBezTo>
                  <a:cubicBezTo>
                    <a:pt x="4" y="149"/>
                    <a:pt x="0" y="154"/>
                    <a:pt x="0" y="160"/>
                  </a:cubicBezTo>
                  <a:cubicBezTo>
                    <a:pt x="0" y="166"/>
                    <a:pt x="4" y="170"/>
                    <a:pt x="10" y="170"/>
                  </a:cubicBezTo>
                  <a:cubicBezTo>
                    <a:pt x="85" y="170"/>
                    <a:pt x="85" y="170"/>
                    <a:pt x="85" y="170"/>
                  </a:cubicBezTo>
                  <a:cubicBezTo>
                    <a:pt x="91" y="170"/>
                    <a:pt x="96" y="166"/>
                    <a:pt x="96"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20" name="Freeform 705">
            <a:extLst>
              <a:ext uri="{FF2B5EF4-FFF2-40B4-BE49-F238E27FC236}">
                <a16:creationId xmlns:a16="http://schemas.microsoft.com/office/drawing/2014/main" id="{39594274-9E8F-4425-92B3-9CC6622A1CDA}"/>
              </a:ext>
            </a:extLst>
          </p:cNvPr>
          <p:cNvSpPr>
            <a:spLocks noChangeAspect="1" noEditPoints="1"/>
          </p:cNvSpPr>
          <p:nvPr/>
        </p:nvSpPr>
        <p:spPr bwMode="auto">
          <a:xfrm>
            <a:off x="10934033" y="170021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14 w 512"/>
              <a:gd name="T11" fmla="*/ 128 h 512"/>
              <a:gd name="T12" fmla="*/ 216 w 512"/>
              <a:gd name="T13" fmla="*/ 124 h 512"/>
              <a:gd name="T14" fmla="*/ 228 w 512"/>
              <a:gd name="T15" fmla="*/ 122 h 512"/>
              <a:gd name="T16" fmla="*/ 231 w 512"/>
              <a:gd name="T17" fmla="*/ 124 h 512"/>
              <a:gd name="T18" fmla="*/ 233 w 512"/>
              <a:gd name="T19" fmla="*/ 128 h 512"/>
              <a:gd name="T20" fmla="*/ 234 w 512"/>
              <a:gd name="T21" fmla="*/ 132 h 512"/>
              <a:gd name="T22" fmla="*/ 231 w 512"/>
              <a:gd name="T23" fmla="*/ 139 h 512"/>
              <a:gd name="T24" fmla="*/ 224 w 512"/>
              <a:gd name="T25" fmla="*/ 142 h 512"/>
              <a:gd name="T26" fmla="*/ 216 w 512"/>
              <a:gd name="T27" fmla="*/ 139 h 512"/>
              <a:gd name="T28" fmla="*/ 213 w 512"/>
              <a:gd name="T29" fmla="*/ 132 h 512"/>
              <a:gd name="T30" fmla="*/ 214 w 512"/>
              <a:gd name="T31" fmla="*/ 128 h 512"/>
              <a:gd name="T32" fmla="*/ 187 w 512"/>
              <a:gd name="T33" fmla="*/ 135 h 512"/>
              <a:gd name="T34" fmla="*/ 201 w 512"/>
              <a:gd name="T35" fmla="*/ 139 h 512"/>
              <a:gd name="T36" fmla="*/ 197 w 512"/>
              <a:gd name="T37" fmla="*/ 154 h 512"/>
              <a:gd name="T38" fmla="*/ 192 w 512"/>
              <a:gd name="T39" fmla="*/ 155 h 512"/>
              <a:gd name="T40" fmla="*/ 183 w 512"/>
              <a:gd name="T41" fmla="*/ 150 h 512"/>
              <a:gd name="T42" fmla="*/ 187 w 512"/>
              <a:gd name="T43" fmla="*/ 135 h 512"/>
              <a:gd name="T44" fmla="*/ 158 w 512"/>
              <a:gd name="T45" fmla="*/ 158 h 512"/>
              <a:gd name="T46" fmla="*/ 173 w 512"/>
              <a:gd name="T47" fmla="*/ 158 h 512"/>
              <a:gd name="T48" fmla="*/ 173 w 512"/>
              <a:gd name="T49" fmla="*/ 173 h 512"/>
              <a:gd name="T50" fmla="*/ 165 w 512"/>
              <a:gd name="T51" fmla="*/ 176 h 512"/>
              <a:gd name="T52" fmla="*/ 158 w 512"/>
              <a:gd name="T53" fmla="*/ 173 h 512"/>
              <a:gd name="T54" fmla="*/ 158 w 512"/>
              <a:gd name="T55" fmla="*/ 158 h 512"/>
              <a:gd name="T56" fmla="*/ 135 w 512"/>
              <a:gd name="T57" fmla="*/ 187 h 512"/>
              <a:gd name="T58" fmla="*/ 150 w 512"/>
              <a:gd name="T59" fmla="*/ 183 h 512"/>
              <a:gd name="T60" fmla="*/ 154 w 512"/>
              <a:gd name="T61" fmla="*/ 197 h 512"/>
              <a:gd name="T62" fmla="*/ 145 w 512"/>
              <a:gd name="T63" fmla="*/ 203 h 512"/>
              <a:gd name="T64" fmla="*/ 139 w 512"/>
              <a:gd name="T65" fmla="*/ 201 h 512"/>
              <a:gd name="T66" fmla="*/ 135 w 512"/>
              <a:gd name="T67" fmla="*/ 187 h 512"/>
              <a:gd name="T68" fmla="*/ 122 w 512"/>
              <a:gd name="T69" fmla="*/ 220 h 512"/>
              <a:gd name="T70" fmla="*/ 124 w 512"/>
              <a:gd name="T71" fmla="*/ 216 h 512"/>
              <a:gd name="T72" fmla="*/ 139 w 512"/>
              <a:gd name="T73" fmla="*/ 216 h 512"/>
              <a:gd name="T74" fmla="*/ 142 w 512"/>
              <a:gd name="T75" fmla="*/ 224 h 512"/>
              <a:gd name="T76" fmla="*/ 142 w 512"/>
              <a:gd name="T77" fmla="*/ 228 h 512"/>
              <a:gd name="T78" fmla="*/ 139 w 512"/>
              <a:gd name="T79" fmla="*/ 231 h 512"/>
              <a:gd name="T80" fmla="*/ 136 w 512"/>
              <a:gd name="T81" fmla="*/ 233 h 512"/>
              <a:gd name="T82" fmla="*/ 132 w 512"/>
              <a:gd name="T83" fmla="*/ 234 h 512"/>
              <a:gd name="T84" fmla="*/ 124 w 512"/>
              <a:gd name="T85" fmla="*/ 231 h 512"/>
              <a:gd name="T86" fmla="*/ 122 w 512"/>
              <a:gd name="T87" fmla="*/ 228 h 512"/>
              <a:gd name="T88" fmla="*/ 121 w 512"/>
              <a:gd name="T89" fmla="*/ 224 h 512"/>
              <a:gd name="T90" fmla="*/ 122 w 512"/>
              <a:gd name="T91" fmla="*/ 220 h 512"/>
              <a:gd name="T92" fmla="*/ 256 w 512"/>
              <a:gd name="T93" fmla="*/ 394 h 512"/>
              <a:gd name="T94" fmla="*/ 117 w 512"/>
              <a:gd name="T95" fmla="*/ 256 h 512"/>
              <a:gd name="T96" fmla="*/ 128 w 512"/>
              <a:gd name="T97" fmla="*/ 245 h 512"/>
              <a:gd name="T98" fmla="*/ 138 w 512"/>
              <a:gd name="T99" fmla="*/ 256 h 512"/>
              <a:gd name="T100" fmla="*/ 256 w 512"/>
              <a:gd name="T101" fmla="*/ 373 h 512"/>
              <a:gd name="T102" fmla="*/ 373 w 512"/>
              <a:gd name="T103" fmla="*/ 256 h 512"/>
              <a:gd name="T104" fmla="*/ 256 w 512"/>
              <a:gd name="T105" fmla="*/ 138 h 512"/>
              <a:gd name="T106" fmla="*/ 245 w 512"/>
              <a:gd name="T107" fmla="*/ 128 h 512"/>
              <a:gd name="T108" fmla="*/ 256 w 512"/>
              <a:gd name="T109" fmla="*/ 117 h 512"/>
              <a:gd name="T110" fmla="*/ 394 w 512"/>
              <a:gd name="T111" fmla="*/ 256 h 512"/>
              <a:gd name="T112" fmla="*/ 256 w 512"/>
              <a:gd name="T11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4" y="128"/>
                </a:moveTo>
                <a:cubicBezTo>
                  <a:pt x="214" y="126"/>
                  <a:pt x="215" y="125"/>
                  <a:pt x="216" y="124"/>
                </a:cubicBezTo>
                <a:cubicBezTo>
                  <a:pt x="219" y="121"/>
                  <a:pt x="224" y="120"/>
                  <a:pt x="228" y="122"/>
                </a:cubicBezTo>
                <a:cubicBezTo>
                  <a:pt x="229" y="122"/>
                  <a:pt x="230" y="123"/>
                  <a:pt x="231" y="124"/>
                </a:cubicBezTo>
                <a:cubicBezTo>
                  <a:pt x="232" y="125"/>
                  <a:pt x="233" y="126"/>
                  <a:pt x="233" y="128"/>
                </a:cubicBezTo>
                <a:cubicBezTo>
                  <a:pt x="234" y="129"/>
                  <a:pt x="234" y="130"/>
                  <a:pt x="234" y="132"/>
                </a:cubicBezTo>
                <a:cubicBezTo>
                  <a:pt x="234" y="135"/>
                  <a:pt x="233" y="137"/>
                  <a:pt x="231" y="139"/>
                </a:cubicBezTo>
                <a:cubicBezTo>
                  <a:pt x="229" y="141"/>
                  <a:pt x="227" y="142"/>
                  <a:pt x="224" y="142"/>
                </a:cubicBezTo>
                <a:cubicBezTo>
                  <a:pt x="221" y="142"/>
                  <a:pt x="218" y="141"/>
                  <a:pt x="216" y="139"/>
                </a:cubicBezTo>
                <a:cubicBezTo>
                  <a:pt x="214" y="137"/>
                  <a:pt x="213" y="135"/>
                  <a:pt x="213" y="132"/>
                </a:cubicBezTo>
                <a:cubicBezTo>
                  <a:pt x="213" y="130"/>
                  <a:pt x="213" y="129"/>
                  <a:pt x="214" y="128"/>
                </a:cubicBezTo>
                <a:close/>
                <a:moveTo>
                  <a:pt x="187" y="135"/>
                </a:moveTo>
                <a:cubicBezTo>
                  <a:pt x="192" y="132"/>
                  <a:pt x="198" y="134"/>
                  <a:pt x="201" y="139"/>
                </a:cubicBezTo>
                <a:cubicBezTo>
                  <a:pt x="204" y="144"/>
                  <a:pt x="203" y="151"/>
                  <a:pt x="197" y="154"/>
                </a:cubicBezTo>
                <a:cubicBezTo>
                  <a:pt x="196" y="155"/>
                  <a:pt x="194" y="155"/>
                  <a:pt x="192" y="155"/>
                </a:cubicBezTo>
                <a:cubicBezTo>
                  <a:pt x="188" y="155"/>
                  <a:pt x="185" y="153"/>
                  <a:pt x="183" y="150"/>
                </a:cubicBezTo>
                <a:cubicBezTo>
                  <a:pt x="180" y="145"/>
                  <a:pt x="182" y="138"/>
                  <a:pt x="187" y="135"/>
                </a:cubicBezTo>
                <a:close/>
                <a:moveTo>
                  <a:pt x="158" y="158"/>
                </a:moveTo>
                <a:cubicBezTo>
                  <a:pt x="162" y="153"/>
                  <a:pt x="169" y="153"/>
                  <a:pt x="173" y="158"/>
                </a:cubicBezTo>
                <a:cubicBezTo>
                  <a:pt x="177" y="162"/>
                  <a:pt x="177" y="169"/>
                  <a:pt x="173" y="173"/>
                </a:cubicBezTo>
                <a:cubicBezTo>
                  <a:pt x="171" y="175"/>
                  <a:pt x="168" y="176"/>
                  <a:pt x="165" y="176"/>
                </a:cubicBezTo>
                <a:cubicBezTo>
                  <a:pt x="162" y="176"/>
                  <a:pt x="160" y="175"/>
                  <a:pt x="158" y="173"/>
                </a:cubicBezTo>
                <a:cubicBezTo>
                  <a:pt x="153" y="169"/>
                  <a:pt x="153" y="162"/>
                  <a:pt x="158" y="158"/>
                </a:cubicBezTo>
                <a:close/>
                <a:moveTo>
                  <a:pt x="135" y="187"/>
                </a:moveTo>
                <a:cubicBezTo>
                  <a:pt x="138" y="182"/>
                  <a:pt x="145" y="180"/>
                  <a:pt x="150" y="183"/>
                </a:cubicBezTo>
                <a:cubicBezTo>
                  <a:pt x="155" y="186"/>
                  <a:pt x="157" y="192"/>
                  <a:pt x="154" y="197"/>
                </a:cubicBezTo>
                <a:cubicBezTo>
                  <a:pt x="152" y="201"/>
                  <a:pt x="148" y="203"/>
                  <a:pt x="145" y="203"/>
                </a:cubicBezTo>
                <a:cubicBezTo>
                  <a:pt x="143" y="203"/>
                  <a:pt x="141" y="202"/>
                  <a:pt x="139" y="201"/>
                </a:cubicBezTo>
                <a:cubicBezTo>
                  <a:pt x="134" y="198"/>
                  <a:pt x="132" y="192"/>
                  <a:pt x="135" y="187"/>
                </a:cubicBezTo>
                <a:close/>
                <a:moveTo>
                  <a:pt x="122" y="220"/>
                </a:moveTo>
                <a:cubicBezTo>
                  <a:pt x="122" y="218"/>
                  <a:pt x="123" y="217"/>
                  <a:pt x="124" y="216"/>
                </a:cubicBezTo>
                <a:cubicBezTo>
                  <a:pt x="128" y="212"/>
                  <a:pt x="135" y="212"/>
                  <a:pt x="139" y="216"/>
                </a:cubicBezTo>
                <a:cubicBezTo>
                  <a:pt x="141" y="218"/>
                  <a:pt x="142" y="221"/>
                  <a:pt x="142" y="224"/>
                </a:cubicBezTo>
                <a:cubicBezTo>
                  <a:pt x="142" y="225"/>
                  <a:pt x="142" y="226"/>
                  <a:pt x="142" y="228"/>
                </a:cubicBezTo>
                <a:cubicBezTo>
                  <a:pt x="141" y="229"/>
                  <a:pt x="140" y="230"/>
                  <a:pt x="139" y="231"/>
                </a:cubicBezTo>
                <a:cubicBezTo>
                  <a:pt x="138" y="232"/>
                  <a:pt x="137" y="233"/>
                  <a:pt x="136" y="233"/>
                </a:cubicBezTo>
                <a:cubicBezTo>
                  <a:pt x="134" y="234"/>
                  <a:pt x="133" y="234"/>
                  <a:pt x="132" y="234"/>
                </a:cubicBezTo>
                <a:cubicBezTo>
                  <a:pt x="129" y="234"/>
                  <a:pt x="126" y="233"/>
                  <a:pt x="124" y="231"/>
                </a:cubicBezTo>
                <a:cubicBezTo>
                  <a:pt x="123" y="230"/>
                  <a:pt x="122" y="229"/>
                  <a:pt x="122" y="228"/>
                </a:cubicBezTo>
                <a:cubicBezTo>
                  <a:pt x="121" y="226"/>
                  <a:pt x="121" y="225"/>
                  <a:pt x="121" y="224"/>
                </a:cubicBezTo>
                <a:cubicBezTo>
                  <a:pt x="121" y="222"/>
                  <a:pt x="121" y="221"/>
                  <a:pt x="122" y="220"/>
                </a:cubicBezTo>
                <a:close/>
                <a:moveTo>
                  <a:pt x="256" y="394"/>
                </a:moveTo>
                <a:cubicBezTo>
                  <a:pt x="179" y="394"/>
                  <a:pt x="117" y="332"/>
                  <a:pt x="117" y="256"/>
                </a:cubicBezTo>
                <a:cubicBezTo>
                  <a:pt x="117" y="250"/>
                  <a:pt x="122" y="245"/>
                  <a:pt x="128" y="245"/>
                </a:cubicBezTo>
                <a:cubicBezTo>
                  <a:pt x="134" y="245"/>
                  <a:pt x="138" y="250"/>
                  <a:pt x="138" y="256"/>
                </a:cubicBezTo>
                <a:cubicBezTo>
                  <a:pt x="138" y="320"/>
                  <a:pt x="191" y="373"/>
                  <a:pt x="256" y="373"/>
                </a:cubicBezTo>
                <a:cubicBezTo>
                  <a:pt x="320" y="373"/>
                  <a:pt x="373" y="320"/>
                  <a:pt x="373" y="256"/>
                </a:cubicBezTo>
                <a:cubicBezTo>
                  <a:pt x="373" y="191"/>
                  <a:pt x="320" y="138"/>
                  <a:pt x="256" y="138"/>
                </a:cubicBezTo>
                <a:cubicBezTo>
                  <a:pt x="250" y="138"/>
                  <a:pt x="245" y="134"/>
                  <a:pt x="245" y="128"/>
                </a:cubicBezTo>
                <a:cubicBezTo>
                  <a:pt x="245" y="122"/>
                  <a:pt x="250" y="117"/>
                  <a:pt x="256" y="117"/>
                </a:cubicBezTo>
                <a:cubicBezTo>
                  <a:pt x="332" y="117"/>
                  <a:pt x="394" y="179"/>
                  <a:pt x="394" y="256"/>
                </a:cubicBezTo>
                <a:cubicBezTo>
                  <a:pt x="394" y="332"/>
                  <a:pt x="332" y="394"/>
                  <a:pt x="256" y="3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21" name="Group 708">
            <a:extLst>
              <a:ext uri="{FF2B5EF4-FFF2-40B4-BE49-F238E27FC236}">
                <a16:creationId xmlns:a16="http://schemas.microsoft.com/office/drawing/2014/main" id="{61E59F28-F11E-4B40-B732-AA46D3B185F8}"/>
              </a:ext>
            </a:extLst>
          </p:cNvPr>
          <p:cNvGrpSpPr>
            <a:grpSpLocks noChangeAspect="1"/>
          </p:cNvGrpSpPr>
          <p:nvPr/>
        </p:nvGrpSpPr>
        <p:grpSpPr bwMode="auto">
          <a:xfrm>
            <a:off x="11368394" y="1700213"/>
            <a:ext cx="367982" cy="367982"/>
            <a:chOff x="4601" y="3177"/>
            <a:chExt cx="340" cy="340"/>
          </a:xfrm>
          <a:solidFill>
            <a:schemeClr val="accent2"/>
          </a:solidFill>
        </p:grpSpPr>
        <p:sp>
          <p:nvSpPr>
            <p:cNvPr id="1022" name="Freeform 709">
              <a:extLst>
                <a:ext uri="{FF2B5EF4-FFF2-40B4-BE49-F238E27FC236}">
                  <a16:creationId xmlns:a16="http://schemas.microsoft.com/office/drawing/2014/main" id="{813C20D3-00B4-40EE-BFBA-0025DCE33363}"/>
                </a:ext>
              </a:extLst>
            </p:cNvPr>
            <p:cNvSpPr>
              <a:spLocks noEditPoints="1"/>
            </p:cNvSpPr>
            <p:nvPr/>
          </p:nvSpPr>
          <p:spPr bwMode="auto">
            <a:xfrm>
              <a:off x="4601"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3" name="Freeform 710">
              <a:extLst>
                <a:ext uri="{FF2B5EF4-FFF2-40B4-BE49-F238E27FC236}">
                  <a16:creationId xmlns:a16="http://schemas.microsoft.com/office/drawing/2014/main" id="{3325B1F7-41B4-4F37-AD68-11580DF9CA5D}"/>
                </a:ext>
              </a:extLst>
            </p:cNvPr>
            <p:cNvSpPr>
              <a:spLocks noEditPoints="1"/>
            </p:cNvSpPr>
            <p:nvPr/>
          </p:nvSpPr>
          <p:spPr bwMode="auto">
            <a:xfrm>
              <a:off x="4679" y="3255"/>
              <a:ext cx="184" cy="184"/>
            </a:xfrm>
            <a:custGeom>
              <a:avLst/>
              <a:gdLst>
                <a:gd name="T0" fmla="*/ 277 w 277"/>
                <a:gd name="T1" fmla="*/ 139 h 277"/>
                <a:gd name="T2" fmla="*/ 139 w 277"/>
                <a:gd name="T3" fmla="*/ 277 h 277"/>
                <a:gd name="T4" fmla="*/ 0 w 277"/>
                <a:gd name="T5" fmla="*/ 139 h 277"/>
                <a:gd name="T6" fmla="*/ 11 w 277"/>
                <a:gd name="T7" fmla="*/ 128 h 277"/>
                <a:gd name="T8" fmla="*/ 21 w 277"/>
                <a:gd name="T9" fmla="*/ 139 h 277"/>
                <a:gd name="T10" fmla="*/ 139 w 277"/>
                <a:gd name="T11" fmla="*/ 256 h 277"/>
                <a:gd name="T12" fmla="*/ 256 w 277"/>
                <a:gd name="T13" fmla="*/ 139 h 277"/>
                <a:gd name="T14" fmla="*/ 139 w 277"/>
                <a:gd name="T15" fmla="*/ 21 h 277"/>
                <a:gd name="T16" fmla="*/ 128 w 277"/>
                <a:gd name="T17" fmla="*/ 11 h 277"/>
                <a:gd name="T18" fmla="*/ 139 w 277"/>
                <a:gd name="T19" fmla="*/ 0 h 277"/>
                <a:gd name="T20" fmla="*/ 277 w 277"/>
                <a:gd name="T21" fmla="*/ 139 h 277"/>
                <a:gd name="T22" fmla="*/ 7 w 277"/>
                <a:gd name="T23" fmla="*/ 114 h 277"/>
                <a:gd name="T24" fmla="*/ 15 w 277"/>
                <a:gd name="T25" fmla="*/ 117 h 277"/>
                <a:gd name="T26" fmla="*/ 19 w 277"/>
                <a:gd name="T27" fmla="*/ 116 h 277"/>
                <a:gd name="T28" fmla="*/ 22 w 277"/>
                <a:gd name="T29" fmla="*/ 114 h 277"/>
                <a:gd name="T30" fmla="*/ 25 w 277"/>
                <a:gd name="T31" fmla="*/ 111 h 277"/>
                <a:gd name="T32" fmla="*/ 25 w 277"/>
                <a:gd name="T33" fmla="*/ 107 h 277"/>
                <a:gd name="T34" fmla="*/ 22 w 277"/>
                <a:gd name="T35" fmla="*/ 99 h 277"/>
                <a:gd name="T36" fmla="*/ 7 w 277"/>
                <a:gd name="T37" fmla="*/ 99 h 277"/>
                <a:gd name="T38" fmla="*/ 5 w 277"/>
                <a:gd name="T39" fmla="*/ 103 h 277"/>
                <a:gd name="T40" fmla="*/ 4 w 277"/>
                <a:gd name="T41" fmla="*/ 107 h 277"/>
                <a:gd name="T42" fmla="*/ 5 w 277"/>
                <a:gd name="T43" fmla="*/ 111 h 277"/>
                <a:gd name="T44" fmla="*/ 7 w 277"/>
                <a:gd name="T45" fmla="*/ 114 h 277"/>
                <a:gd name="T46" fmla="*/ 75 w 277"/>
                <a:gd name="T47" fmla="*/ 38 h 277"/>
                <a:gd name="T48" fmla="*/ 80 w 277"/>
                <a:gd name="T49" fmla="*/ 37 h 277"/>
                <a:gd name="T50" fmla="*/ 84 w 277"/>
                <a:gd name="T51" fmla="*/ 22 h 277"/>
                <a:gd name="T52" fmla="*/ 70 w 277"/>
                <a:gd name="T53" fmla="*/ 18 h 277"/>
                <a:gd name="T54" fmla="*/ 66 w 277"/>
                <a:gd name="T55" fmla="*/ 33 h 277"/>
                <a:gd name="T56" fmla="*/ 75 w 277"/>
                <a:gd name="T57" fmla="*/ 38 h 277"/>
                <a:gd name="T58" fmla="*/ 22 w 277"/>
                <a:gd name="T59" fmla="*/ 84 h 277"/>
                <a:gd name="T60" fmla="*/ 28 w 277"/>
                <a:gd name="T61" fmla="*/ 86 h 277"/>
                <a:gd name="T62" fmla="*/ 37 w 277"/>
                <a:gd name="T63" fmla="*/ 80 h 277"/>
                <a:gd name="T64" fmla="*/ 33 w 277"/>
                <a:gd name="T65" fmla="*/ 66 h 277"/>
                <a:gd name="T66" fmla="*/ 18 w 277"/>
                <a:gd name="T67" fmla="*/ 70 h 277"/>
                <a:gd name="T68" fmla="*/ 22 w 277"/>
                <a:gd name="T69" fmla="*/ 84 h 277"/>
                <a:gd name="T70" fmla="*/ 48 w 277"/>
                <a:gd name="T71" fmla="*/ 59 h 277"/>
                <a:gd name="T72" fmla="*/ 56 w 277"/>
                <a:gd name="T73" fmla="*/ 56 h 277"/>
                <a:gd name="T74" fmla="*/ 56 w 277"/>
                <a:gd name="T75" fmla="*/ 41 h 277"/>
                <a:gd name="T76" fmla="*/ 41 w 277"/>
                <a:gd name="T77" fmla="*/ 41 h 277"/>
                <a:gd name="T78" fmla="*/ 41 w 277"/>
                <a:gd name="T79" fmla="*/ 56 h 277"/>
                <a:gd name="T80" fmla="*/ 48 w 277"/>
                <a:gd name="T81" fmla="*/ 59 h 277"/>
                <a:gd name="T82" fmla="*/ 107 w 277"/>
                <a:gd name="T83" fmla="*/ 25 h 277"/>
                <a:gd name="T84" fmla="*/ 114 w 277"/>
                <a:gd name="T85" fmla="*/ 22 h 277"/>
                <a:gd name="T86" fmla="*/ 117 w 277"/>
                <a:gd name="T87" fmla="*/ 15 h 277"/>
                <a:gd name="T88" fmla="*/ 116 w 277"/>
                <a:gd name="T89" fmla="*/ 11 h 277"/>
                <a:gd name="T90" fmla="*/ 114 w 277"/>
                <a:gd name="T91" fmla="*/ 7 h 277"/>
                <a:gd name="T92" fmla="*/ 111 w 277"/>
                <a:gd name="T93" fmla="*/ 5 h 277"/>
                <a:gd name="T94" fmla="*/ 99 w 277"/>
                <a:gd name="T95" fmla="*/ 7 h 277"/>
                <a:gd name="T96" fmla="*/ 97 w 277"/>
                <a:gd name="T97" fmla="*/ 11 h 277"/>
                <a:gd name="T98" fmla="*/ 96 w 277"/>
                <a:gd name="T99" fmla="*/ 15 h 277"/>
                <a:gd name="T100" fmla="*/ 99 w 277"/>
                <a:gd name="T101" fmla="*/ 22 h 277"/>
                <a:gd name="T102" fmla="*/ 107 w 277"/>
                <a:gd name="T103" fmla="*/ 2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7" h="277">
                  <a:moveTo>
                    <a:pt x="277" y="139"/>
                  </a:moveTo>
                  <a:cubicBezTo>
                    <a:pt x="277" y="215"/>
                    <a:pt x="215" y="277"/>
                    <a:pt x="139" y="277"/>
                  </a:cubicBezTo>
                  <a:cubicBezTo>
                    <a:pt x="62" y="277"/>
                    <a:pt x="0" y="215"/>
                    <a:pt x="0" y="139"/>
                  </a:cubicBezTo>
                  <a:cubicBezTo>
                    <a:pt x="0" y="133"/>
                    <a:pt x="5" y="128"/>
                    <a:pt x="11" y="128"/>
                  </a:cubicBezTo>
                  <a:cubicBezTo>
                    <a:pt x="17" y="128"/>
                    <a:pt x="21" y="133"/>
                    <a:pt x="21" y="139"/>
                  </a:cubicBezTo>
                  <a:cubicBezTo>
                    <a:pt x="21" y="203"/>
                    <a:pt x="74" y="256"/>
                    <a:pt x="139" y="256"/>
                  </a:cubicBezTo>
                  <a:cubicBezTo>
                    <a:pt x="203" y="256"/>
                    <a:pt x="256" y="203"/>
                    <a:pt x="256" y="139"/>
                  </a:cubicBezTo>
                  <a:cubicBezTo>
                    <a:pt x="256" y="74"/>
                    <a:pt x="203" y="21"/>
                    <a:pt x="139" y="21"/>
                  </a:cubicBezTo>
                  <a:cubicBezTo>
                    <a:pt x="133" y="21"/>
                    <a:pt x="128" y="17"/>
                    <a:pt x="128" y="11"/>
                  </a:cubicBezTo>
                  <a:cubicBezTo>
                    <a:pt x="128" y="5"/>
                    <a:pt x="133" y="0"/>
                    <a:pt x="139" y="0"/>
                  </a:cubicBezTo>
                  <a:cubicBezTo>
                    <a:pt x="215" y="0"/>
                    <a:pt x="277" y="62"/>
                    <a:pt x="277" y="139"/>
                  </a:cubicBezTo>
                  <a:close/>
                  <a:moveTo>
                    <a:pt x="7" y="114"/>
                  </a:moveTo>
                  <a:cubicBezTo>
                    <a:pt x="9" y="116"/>
                    <a:pt x="12" y="117"/>
                    <a:pt x="15" y="117"/>
                  </a:cubicBezTo>
                  <a:cubicBezTo>
                    <a:pt x="16" y="117"/>
                    <a:pt x="17" y="117"/>
                    <a:pt x="19" y="116"/>
                  </a:cubicBezTo>
                  <a:cubicBezTo>
                    <a:pt x="20" y="116"/>
                    <a:pt x="21" y="115"/>
                    <a:pt x="22" y="114"/>
                  </a:cubicBezTo>
                  <a:cubicBezTo>
                    <a:pt x="23" y="113"/>
                    <a:pt x="24" y="112"/>
                    <a:pt x="25" y="111"/>
                  </a:cubicBezTo>
                  <a:cubicBezTo>
                    <a:pt x="25" y="109"/>
                    <a:pt x="25" y="108"/>
                    <a:pt x="25" y="107"/>
                  </a:cubicBezTo>
                  <a:cubicBezTo>
                    <a:pt x="25" y="104"/>
                    <a:pt x="24" y="101"/>
                    <a:pt x="22" y="99"/>
                  </a:cubicBezTo>
                  <a:cubicBezTo>
                    <a:pt x="18" y="95"/>
                    <a:pt x="11" y="95"/>
                    <a:pt x="7" y="99"/>
                  </a:cubicBezTo>
                  <a:cubicBezTo>
                    <a:pt x="6" y="100"/>
                    <a:pt x="5" y="101"/>
                    <a:pt x="5" y="103"/>
                  </a:cubicBezTo>
                  <a:cubicBezTo>
                    <a:pt x="4" y="104"/>
                    <a:pt x="4" y="105"/>
                    <a:pt x="4" y="107"/>
                  </a:cubicBezTo>
                  <a:cubicBezTo>
                    <a:pt x="4" y="108"/>
                    <a:pt x="4" y="109"/>
                    <a:pt x="5" y="111"/>
                  </a:cubicBezTo>
                  <a:cubicBezTo>
                    <a:pt x="5" y="112"/>
                    <a:pt x="6" y="113"/>
                    <a:pt x="7" y="114"/>
                  </a:cubicBezTo>
                  <a:close/>
                  <a:moveTo>
                    <a:pt x="75" y="38"/>
                  </a:moveTo>
                  <a:cubicBezTo>
                    <a:pt x="77" y="38"/>
                    <a:pt x="79" y="38"/>
                    <a:pt x="80" y="37"/>
                  </a:cubicBezTo>
                  <a:cubicBezTo>
                    <a:pt x="86" y="34"/>
                    <a:pt x="87" y="27"/>
                    <a:pt x="84" y="22"/>
                  </a:cubicBezTo>
                  <a:cubicBezTo>
                    <a:pt x="81" y="17"/>
                    <a:pt x="75" y="15"/>
                    <a:pt x="70" y="18"/>
                  </a:cubicBezTo>
                  <a:cubicBezTo>
                    <a:pt x="65" y="21"/>
                    <a:pt x="63" y="28"/>
                    <a:pt x="66" y="33"/>
                  </a:cubicBezTo>
                  <a:cubicBezTo>
                    <a:pt x="68" y="36"/>
                    <a:pt x="71" y="38"/>
                    <a:pt x="75" y="38"/>
                  </a:cubicBezTo>
                  <a:close/>
                  <a:moveTo>
                    <a:pt x="22" y="84"/>
                  </a:moveTo>
                  <a:cubicBezTo>
                    <a:pt x="24" y="85"/>
                    <a:pt x="26" y="86"/>
                    <a:pt x="28" y="86"/>
                  </a:cubicBezTo>
                  <a:cubicBezTo>
                    <a:pt x="31" y="86"/>
                    <a:pt x="35" y="84"/>
                    <a:pt x="37" y="80"/>
                  </a:cubicBezTo>
                  <a:cubicBezTo>
                    <a:pt x="40" y="75"/>
                    <a:pt x="38" y="69"/>
                    <a:pt x="33" y="66"/>
                  </a:cubicBezTo>
                  <a:cubicBezTo>
                    <a:pt x="28" y="63"/>
                    <a:pt x="21" y="65"/>
                    <a:pt x="18" y="70"/>
                  </a:cubicBezTo>
                  <a:cubicBezTo>
                    <a:pt x="15" y="75"/>
                    <a:pt x="17" y="81"/>
                    <a:pt x="22" y="84"/>
                  </a:cubicBezTo>
                  <a:close/>
                  <a:moveTo>
                    <a:pt x="48" y="59"/>
                  </a:moveTo>
                  <a:cubicBezTo>
                    <a:pt x="51" y="59"/>
                    <a:pt x="54" y="58"/>
                    <a:pt x="56" y="56"/>
                  </a:cubicBezTo>
                  <a:cubicBezTo>
                    <a:pt x="60" y="52"/>
                    <a:pt x="60" y="45"/>
                    <a:pt x="56" y="41"/>
                  </a:cubicBezTo>
                  <a:cubicBezTo>
                    <a:pt x="52" y="36"/>
                    <a:pt x="45" y="36"/>
                    <a:pt x="41" y="41"/>
                  </a:cubicBezTo>
                  <a:cubicBezTo>
                    <a:pt x="36" y="45"/>
                    <a:pt x="36" y="52"/>
                    <a:pt x="41" y="56"/>
                  </a:cubicBezTo>
                  <a:cubicBezTo>
                    <a:pt x="43" y="58"/>
                    <a:pt x="45" y="59"/>
                    <a:pt x="48" y="59"/>
                  </a:cubicBezTo>
                  <a:close/>
                  <a:moveTo>
                    <a:pt x="107" y="25"/>
                  </a:moveTo>
                  <a:cubicBezTo>
                    <a:pt x="110" y="25"/>
                    <a:pt x="112" y="24"/>
                    <a:pt x="114" y="22"/>
                  </a:cubicBezTo>
                  <a:cubicBezTo>
                    <a:pt x="116" y="20"/>
                    <a:pt x="117" y="18"/>
                    <a:pt x="117" y="15"/>
                  </a:cubicBezTo>
                  <a:cubicBezTo>
                    <a:pt x="117" y="13"/>
                    <a:pt x="117" y="12"/>
                    <a:pt x="116" y="11"/>
                  </a:cubicBezTo>
                  <a:cubicBezTo>
                    <a:pt x="116" y="9"/>
                    <a:pt x="115" y="8"/>
                    <a:pt x="114" y="7"/>
                  </a:cubicBezTo>
                  <a:cubicBezTo>
                    <a:pt x="113" y="6"/>
                    <a:pt x="112" y="5"/>
                    <a:pt x="111" y="5"/>
                  </a:cubicBezTo>
                  <a:cubicBezTo>
                    <a:pt x="107" y="3"/>
                    <a:pt x="102" y="4"/>
                    <a:pt x="99" y="7"/>
                  </a:cubicBezTo>
                  <a:cubicBezTo>
                    <a:pt x="98" y="8"/>
                    <a:pt x="97" y="9"/>
                    <a:pt x="97" y="11"/>
                  </a:cubicBezTo>
                  <a:cubicBezTo>
                    <a:pt x="96" y="12"/>
                    <a:pt x="96" y="13"/>
                    <a:pt x="96" y="15"/>
                  </a:cubicBezTo>
                  <a:cubicBezTo>
                    <a:pt x="96" y="18"/>
                    <a:pt x="97" y="20"/>
                    <a:pt x="99" y="22"/>
                  </a:cubicBezTo>
                  <a:cubicBezTo>
                    <a:pt x="101" y="24"/>
                    <a:pt x="104" y="25"/>
                    <a:pt x="107"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24" name="TextBox 1023">
            <a:extLst>
              <a:ext uri="{FF2B5EF4-FFF2-40B4-BE49-F238E27FC236}">
                <a16:creationId xmlns:a16="http://schemas.microsoft.com/office/drawing/2014/main" id="{02472EBF-77B7-432F-AF04-912373DB01CC}"/>
              </a:ext>
            </a:extLst>
          </p:cNvPr>
          <p:cNvSpPr txBox="1"/>
          <p:nvPr/>
        </p:nvSpPr>
        <p:spPr>
          <a:xfrm>
            <a:off x="4026029" y="531722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shtag</a:t>
            </a:r>
          </a:p>
        </p:txBody>
      </p:sp>
      <p:sp>
        <p:nvSpPr>
          <p:cNvPr id="1025" name="Freeform 198">
            <a:extLst>
              <a:ext uri="{FF2B5EF4-FFF2-40B4-BE49-F238E27FC236}">
                <a16:creationId xmlns:a16="http://schemas.microsoft.com/office/drawing/2014/main" id="{151CA756-8F20-427C-B3A8-08FB606874D6}"/>
              </a:ext>
            </a:extLst>
          </p:cNvPr>
          <p:cNvSpPr>
            <a:spLocks noChangeAspect="1" noEditPoints="1"/>
          </p:cNvSpPr>
          <p:nvPr/>
        </p:nvSpPr>
        <p:spPr bwMode="auto">
          <a:xfrm>
            <a:off x="4025267" y="4917023"/>
            <a:ext cx="367041" cy="368121"/>
          </a:xfrm>
          <a:custGeom>
            <a:avLst/>
            <a:gdLst>
              <a:gd name="T0" fmla="*/ 213 w 512"/>
              <a:gd name="T1" fmla="*/ 206 h 512"/>
              <a:gd name="T2" fmla="*/ 312 w 512"/>
              <a:gd name="T3" fmla="*/ 206 h 512"/>
              <a:gd name="T4" fmla="*/ 299 w 512"/>
              <a:gd name="T5" fmla="*/ 305 h 512"/>
              <a:gd name="T6" fmla="*/ 199 w 512"/>
              <a:gd name="T7" fmla="*/ 305 h 512"/>
              <a:gd name="T8" fmla="*/ 213 w 512"/>
              <a:gd name="T9" fmla="*/ 20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0 w 512"/>
              <a:gd name="T21" fmla="*/ 195 h 512"/>
              <a:gd name="T22" fmla="*/ 400 w 512"/>
              <a:gd name="T23" fmla="*/ 185 h 512"/>
              <a:gd name="T24" fmla="*/ 336 w 512"/>
              <a:gd name="T25" fmla="*/ 185 h 512"/>
              <a:gd name="T26" fmla="*/ 345 w 512"/>
              <a:gd name="T27" fmla="*/ 121 h 512"/>
              <a:gd name="T28" fmla="*/ 335 w 512"/>
              <a:gd name="T29" fmla="*/ 109 h 512"/>
              <a:gd name="T30" fmla="*/ 323 w 512"/>
              <a:gd name="T31" fmla="*/ 118 h 512"/>
              <a:gd name="T32" fmla="*/ 315 w 512"/>
              <a:gd name="T33" fmla="*/ 185 h 512"/>
              <a:gd name="T34" fmla="*/ 215 w 512"/>
              <a:gd name="T35" fmla="*/ 185 h 512"/>
              <a:gd name="T36" fmla="*/ 224 w 512"/>
              <a:gd name="T37" fmla="*/ 121 h 512"/>
              <a:gd name="T38" fmla="*/ 215 w 512"/>
              <a:gd name="T39" fmla="*/ 109 h 512"/>
              <a:gd name="T40" fmla="*/ 203 w 512"/>
              <a:gd name="T41" fmla="*/ 118 h 512"/>
              <a:gd name="T42" fmla="*/ 194 w 512"/>
              <a:gd name="T43" fmla="*/ 185 h 512"/>
              <a:gd name="T44" fmla="*/ 128 w 512"/>
              <a:gd name="T45" fmla="*/ 185 h 512"/>
              <a:gd name="T46" fmla="*/ 117 w 512"/>
              <a:gd name="T47" fmla="*/ 195 h 512"/>
              <a:gd name="T48" fmla="*/ 128 w 512"/>
              <a:gd name="T49" fmla="*/ 206 h 512"/>
              <a:gd name="T50" fmla="*/ 191 w 512"/>
              <a:gd name="T51" fmla="*/ 206 h 512"/>
              <a:gd name="T52" fmla="*/ 178 w 512"/>
              <a:gd name="T53" fmla="*/ 305 h 512"/>
              <a:gd name="T54" fmla="*/ 112 w 512"/>
              <a:gd name="T55" fmla="*/ 305 h 512"/>
              <a:gd name="T56" fmla="*/ 101 w 512"/>
              <a:gd name="T57" fmla="*/ 316 h 512"/>
              <a:gd name="T58" fmla="*/ 112 w 512"/>
              <a:gd name="T59" fmla="*/ 327 h 512"/>
              <a:gd name="T60" fmla="*/ 175 w 512"/>
              <a:gd name="T61" fmla="*/ 327 h 512"/>
              <a:gd name="T62" fmla="*/ 167 w 512"/>
              <a:gd name="T63" fmla="*/ 390 h 512"/>
              <a:gd name="T64" fmla="*/ 176 w 512"/>
              <a:gd name="T65" fmla="*/ 402 h 512"/>
              <a:gd name="T66" fmla="*/ 177 w 512"/>
              <a:gd name="T67" fmla="*/ 402 h 512"/>
              <a:gd name="T68" fmla="*/ 188 w 512"/>
              <a:gd name="T69" fmla="*/ 393 h 512"/>
              <a:gd name="T70" fmla="*/ 197 w 512"/>
              <a:gd name="T71" fmla="*/ 327 h 512"/>
              <a:gd name="T72" fmla="*/ 296 w 512"/>
              <a:gd name="T73" fmla="*/ 327 h 512"/>
              <a:gd name="T74" fmla="*/ 288 w 512"/>
              <a:gd name="T75" fmla="*/ 390 h 512"/>
              <a:gd name="T76" fmla="*/ 297 w 512"/>
              <a:gd name="T77" fmla="*/ 402 h 512"/>
              <a:gd name="T78" fmla="*/ 298 w 512"/>
              <a:gd name="T79" fmla="*/ 402 h 512"/>
              <a:gd name="T80" fmla="*/ 309 w 512"/>
              <a:gd name="T81" fmla="*/ 393 h 512"/>
              <a:gd name="T82" fmla="*/ 318 w 512"/>
              <a:gd name="T83" fmla="*/ 327 h 512"/>
              <a:gd name="T84" fmla="*/ 384 w 512"/>
              <a:gd name="T85" fmla="*/ 327 h 512"/>
              <a:gd name="T86" fmla="*/ 394 w 512"/>
              <a:gd name="T87" fmla="*/ 316 h 512"/>
              <a:gd name="T88" fmla="*/ 384 w 512"/>
              <a:gd name="T89" fmla="*/ 305 h 512"/>
              <a:gd name="T90" fmla="*/ 320 w 512"/>
              <a:gd name="T91" fmla="*/ 305 h 512"/>
              <a:gd name="T92" fmla="*/ 333 w 512"/>
              <a:gd name="T93" fmla="*/ 206 h 512"/>
              <a:gd name="T94" fmla="*/ 400 w 512"/>
              <a:gd name="T95" fmla="*/ 206 h 512"/>
              <a:gd name="T96" fmla="*/ 410 w 512"/>
              <a:gd name="T97" fmla="*/ 1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13" y="206"/>
                </a:moveTo>
                <a:cubicBezTo>
                  <a:pt x="312" y="206"/>
                  <a:pt x="312" y="206"/>
                  <a:pt x="312" y="206"/>
                </a:cubicBezTo>
                <a:cubicBezTo>
                  <a:pt x="299" y="305"/>
                  <a:pt x="299" y="305"/>
                  <a:pt x="299" y="305"/>
                </a:cubicBezTo>
                <a:cubicBezTo>
                  <a:pt x="199" y="305"/>
                  <a:pt x="199" y="305"/>
                  <a:pt x="199" y="305"/>
                </a:cubicBezTo>
                <a:lnTo>
                  <a:pt x="213" y="20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195"/>
                </a:moveTo>
                <a:cubicBezTo>
                  <a:pt x="410" y="189"/>
                  <a:pt x="406" y="185"/>
                  <a:pt x="400" y="185"/>
                </a:cubicBezTo>
                <a:cubicBezTo>
                  <a:pt x="336" y="185"/>
                  <a:pt x="336" y="185"/>
                  <a:pt x="336" y="185"/>
                </a:cubicBezTo>
                <a:cubicBezTo>
                  <a:pt x="345" y="121"/>
                  <a:pt x="345" y="121"/>
                  <a:pt x="345" y="121"/>
                </a:cubicBezTo>
                <a:cubicBezTo>
                  <a:pt x="345" y="115"/>
                  <a:pt x="341" y="110"/>
                  <a:pt x="335" y="109"/>
                </a:cubicBezTo>
                <a:cubicBezTo>
                  <a:pt x="330" y="108"/>
                  <a:pt x="324" y="112"/>
                  <a:pt x="323" y="118"/>
                </a:cubicBezTo>
                <a:cubicBezTo>
                  <a:pt x="315" y="185"/>
                  <a:pt x="315" y="185"/>
                  <a:pt x="315" y="185"/>
                </a:cubicBezTo>
                <a:cubicBezTo>
                  <a:pt x="215" y="185"/>
                  <a:pt x="215" y="185"/>
                  <a:pt x="215" y="185"/>
                </a:cubicBezTo>
                <a:cubicBezTo>
                  <a:pt x="224" y="121"/>
                  <a:pt x="224" y="121"/>
                  <a:pt x="224" y="121"/>
                </a:cubicBezTo>
                <a:cubicBezTo>
                  <a:pt x="224" y="115"/>
                  <a:pt x="220" y="110"/>
                  <a:pt x="215" y="109"/>
                </a:cubicBezTo>
                <a:cubicBezTo>
                  <a:pt x="209" y="108"/>
                  <a:pt x="203" y="112"/>
                  <a:pt x="203" y="118"/>
                </a:cubicBezTo>
                <a:cubicBezTo>
                  <a:pt x="194" y="185"/>
                  <a:pt x="194" y="185"/>
                  <a:pt x="194" y="185"/>
                </a:cubicBezTo>
                <a:cubicBezTo>
                  <a:pt x="128" y="185"/>
                  <a:pt x="128" y="185"/>
                  <a:pt x="128" y="185"/>
                </a:cubicBezTo>
                <a:cubicBezTo>
                  <a:pt x="122" y="185"/>
                  <a:pt x="117" y="189"/>
                  <a:pt x="117" y="195"/>
                </a:cubicBezTo>
                <a:cubicBezTo>
                  <a:pt x="117" y="201"/>
                  <a:pt x="122" y="206"/>
                  <a:pt x="128" y="206"/>
                </a:cubicBezTo>
                <a:cubicBezTo>
                  <a:pt x="191" y="206"/>
                  <a:pt x="191" y="206"/>
                  <a:pt x="191" y="206"/>
                </a:cubicBezTo>
                <a:cubicBezTo>
                  <a:pt x="178" y="305"/>
                  <a:pt x="178" y="305"/>
                  <a:pt x="178" y="305"/>
                </a:cubicBezTo>
                <a:cubicBezTo>
                  <a:pt x="112" y="305"/>
                  <a:pt x="112" y="305"/>
                  <a:pt x="112" y="305"/>
                </a:cubicBezTo>
                <a:cubicBezTo>
                  <a:pt x="106" y="305"/>
                  <a:pt x="101" y="310"/>
                  <a:pt x="101" y="316"/>
                </a:cubicBezTo>
                <a:cubicBezTo>
                  <a:pt x="101" y="322"/>
                  <a:pt x="106" y="327"/>
                  <a:pt x="112" y="327"/>
                </a:cubicBezTo>
                <a:cubicBezTo>
                  <a:pt x="175" y="327"/>
                  <a:pt x="175" y="327"/>
                  <a:pt x="175" y="327"/>
                </a:cubicBezTo>
                <a:cubicBezTo>
                  <a:pt x="167" y="390"/>
                  <a:pt x="167" y="390"/>
                  <a:pt x="167" y="390"/>
                </a:cubicBezTo>
                <a:cubicBezTo>
                  <a:pt x="166" y="396"/>
                  <a:pt x="170" y="402"/>
                  <a:pt x="176" y="402"/>
                </a:cubicBezTo>
                <a:cubicBezTo>
                  <a:pt x="177" y="402"/>
                  <a:pt x="177" y="402"/>
                  <a:pt x="177" y="402"/>
                </a:cubicBezTo>
                <a:cubicBezTo>
                  <a:pt x="183" y="402"/>
                  <a:pt x="187" y="398"/>
                  <a:pt x="188" y="393"/>
                </a:cubicBezTo>
                <a:cubicBezTo>
                  <a:pt x="197" y="327"/>
                  <a:pt x="197" y="327"/>
                  <a:pt x="197" y="327"/>
                </a:cubicBezTo>
                <a:cubicBezTo>
                  <a:pt x="296" y="327"/>
                  <a:pt x="296" y="327"/>
                  <a:pt x="296" y="327"/>
                </a:cubicBezTo>
                <a:cubicBezTo>
                  <a:pt x="288" y="390"/>
                  <a:pt x="288" y="390"/>
                  <a:pt x="288" y="390"/>
                </a:cubicBezTo>
                <a:cubicBezTo>
                  <a:pt x="287" y="396"/>
                  <a:pt x="291" y="402"/>
                  <a:pt x="297" y="402"/>
                </a:cubicBezTo>
                <a:cubicBezTo>
                  <a:pt x="298" y="402"/>
                  <a:pt x="298" y="402"/>
                  <a:pt x="298" y="402"/>
                </a:cubicBezTo>
                <a:cubicBezTo>
                  <a:pt x="304" y="402"/>
                  <a:pt x="308" y="398"/>
                  <a:pt x="309" y="393"/>
                </a:cubicBezTo>
                <a:cubicBezTo>
                  <a:pt x="318" y="327"/>
                  <a:pt x="318" y="327"/>
                  <a:pt x="318" y="327"/>
                </a:cubicBezTo>
                <a:cubicBezTo>
                  <a:pt x="384" y="327"/>
                  <a:pt x="384" y="327"/>
                  <a:pt x="384" y="327"/>
                </a:cubicBezTo>
                <a:cubicBezTo>
                  <a:pt x="390" y="327"/>
                  <a:pt x="394" y="322"/>
                  <a:pt x="394" y="316"/>
                </a:cubicBezTo>
                <a:cubicBezTo>
                  <a:pt x="394" y="310"/>
                  <a:pt x="390" y="305"/>
                  <a:pt x="384" y="305"/>
                </a:cubicBezTo>
                <a:cubicBezTo>
                  <a:pt x="320" y="305"/>
                  <a:pt x="320" y="305"/>
                  <a:pt x="320" y="305"/>
                </a:cubicBezTo>
                <a:cubicBezTo>
                  <a:pt x="333" y="206"/>
                  <a:pt x="333" y="206"/>
                  <a:pt x="333" y="206"/>
                </a:cubicBezTo>
                <a:cubicBezTo>
                  <a:pt x="400" y="206"/>
                  <a:pt x="400" y="206"/>
                  <a:pt x="400" y="206"/>
                </a:cubicBezTo>
                <a:cubicBezTo>
                  <a:pt x="406" y="206"/>
                  <a:pt x="410" y="201"/>
                  <a:pt x="410" y="19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26" name="Group 201">
            <a:extLst>
              <a:ext uri="{FF2B5EF4-FFF2-40B4-BE49-F238E27FC236}">
                <a16:creationId xmlns:a16="http://schemas.microsoft.com/office/drawing/2014/main" id="{B2DA3A95-6FE2-452F-BFA5-5F4B35B00ECD}"/>
              </a:ext>
            </a:extLst>
          </p:cNvPr>
          <p:cNvGrpSpPr>
            <a:grpSpLocks noChangeAspect="1"/>
          </p:cNvGrpSpPr>
          <p:nvPr/>
        </p:nvGrpSpPr>
        <p:grpSpPr bwMode="auto">
          <a:xfrm>
            <a:off x="4467227" y="4917023"/>
            <a:ext cx="367041" cy="367041"/>
            <a:chOff x="1152" y="749"/>
            <a:chExt cx="340" cy="340"/>
          </a:xfrm>
          <a:solidFill>
            <a:schemeClr val="accent3"/>
          </a:solidFill>
        </p:grpSpPr>
        <p:sp>
          <p:nvSpPr>
            <p:cNvPr id="1027" name="Freeform 202">
              <a:extLst>
                <a:ext uri="{FF2B5EF4-FFF2-40B4-BE49-F238E27FC236}">
                  <a16:creationId xmlns:a16="http://schemas.microsoft.com/office/drawing/2014/main" id="{6B81CD93-447C-4810-9B01-C0C427D406A0}"/>
                </a:ext>
              </a:extLst>
            </p:cNvPr>
            <p:cNvSpPr>
              <a:spLocks noEditPoints="1"/>
            </p:cNvSpPr>
            <p:nvPr/>
          </p:nvSpPr>
          <p:spPr bwMode="auto">
            <a:xfrm>
              <a:off x="1152" y="74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8" name="Freeform 203">
              <a:extLst>
                <a:ext uri="{FF2B5EF4-FFF2-40B4-BE49-F238E27FC236}">
                  <a16:creationId xmlns:a16="http://schemas.microsoft.com/office/drawing/2014/main" id="{4043AE5A-CC17-4114-9295-97C7E6370F91}"/>
                </a:ext>
              </a:extLst>
            </p:cNvPr>
            <p:cNvSpPr>
              <a:spLocks noEditPoints="1"/>
            </p:cNvSpPr>
            <p:nvPr/>
          </p:nvSpPr>
          <p:spPr bwMode="auto">
            <a:xfrm>
              <a:off x="1219" y="821"/>
              <a:ext cx="205" cy="195"/>
            </a:xfrm>
            <a:custGeom>
              <a:avLst/>
              <a:gdLst>
                <a:gd name="T0" fmla="*/ 299 w 309"/>
                <a:gd name="T1" fmla="*/ 77 h 294"/>
                <a:gd name="T2" fmla="*/ 235 w 309"/>
                <a:gd name="T3" fmla="*/ 77 h 294"/>
                <a:gd name="T4" fmla="*/ 244 w 309"/>
                <a:gd name="T5" fmla="*/ 13 h 294"/>
                <a:gd name="T6" fmla="*/ 234 w 309"/>
                <a:gd name="T7" fmla="*/ 1 h 294"/>
                <a:gd name="T8" fmla="*/ 222 w 309"/>
                <a:gd name="T9" fmla="*/ 10 h 294"/>
                <a:gd name="T10" fmla="*/ 214 w 309"/>
                <a:gd name="T11" fmla="*/ 77 h 294"/>
                <a:gd name="T12" fmla="*/ 114 w 309"/>
                <a:gd name="T13" fmla="*/ 77 h 294"/>
                <a:gd name="T14" fmla="*/ 123 w 309"/>
                <a:gd name="T15" fmla="*/ 13 h 294"/>
                <a:gd name="T16" fmla="*/ 114 w 309"/>
                <a:gd name="T17" fmla="*/ 1 h 294"/>
                <a:gd name="T18" fmla="*/ 102 w 309"/>
                <a:gd name="T19" fmla="*/ 10 h 294"/>
                <a:gd name="T20" fmla="*/ 93 w 309"/>
                <a:gd name="T21" fmla="*/ 77 h 294"/>
                <a:gd name="T22" fmla="*/ 27 w 309"/>
                <a:gd name="T23" fmla="*/ 77 h 294"/>
                <a:gd name="T24" fmla="*/ 16 w 309"/>
                <a:gd name="T25" fmla="*/ 87 h 294"/>
                <a:gd name="T26" fmla="*/ 27 w 309"/>
                <a:gd name="T27" fmla="*/ 98 h 294"/>
                <a:gd name="T28" fmla="*/ 90 w 309"/>
                <a:gd name="T29" fmla="*/ 98 h 294"/>
                <a:gd name="T30" fmla="*/ 77 w 309"/>
                <a:gd name="T31" fmla="*/ 197 h 294"/>
                <a:gd name="T32" fmla="*/ 11 w 309"/>
                <a:gd name="T33" fmla="*/ 197 h 294"/>
                <a:gd name="T34" fmla="*/ 0 w 309"/>
                <a:gd name="T35" fmla="*/ 208 h 294"/>
                <a:gd name="T36" fmla="*/ 11 w 309"/>
                <a:gd name="T37" fmla="*/ 219 h 294"/>
                <a:gd name="T38" fmla="*/ 74 w 309"/>
                <a:gd name="T39" fmla="*/ 219 h 294"/>
                <a:gd name="T40" fmla="*/ 66 w 309"/>
                <a:gd name="T41" fmla="*/ 282 h 294"/>
                <a:gd name="T42" fmla="*/ 75 w 309"/>
                <a:gd name="T43" fmla="*/ 294 h 294"/>
                <a:gd name="T44" fmla="*/ 76 w 309"/>
                <a:gd name="T45" fmla="*/ 294 h 294"/>
                <a:gd name="T46" fmla="*/ 87 w 309"/>
                <a:gd name="T47" fmla="*/ 285 h 294"/>
                <a:gd name="T48" fmla="*/ 96 w 309"/>
                <a:gd name="T49" fmla="*/ 219 h 294"/>
                <a:gd name="T50" fmla="*/ 195 w 309"/>
                <a:gd name="T51" fmla="*/ 219 h 294"/>
                <a:gd name="T52" fmla="*/ 187 w 309"/>
                <a:gd name="T53" fmla="*/ 282 h 294"/>
                <a:gd name="T54" fmla="*/ 196 w 309"/>
                <a:gd name="T55" fmla="*/ 294 h 294"/>
                <a:gd name="T56" fmla="*/ 197 w 309"/>
                <a:gd name="T57" fmla="*/ 294 h 294"/>
                <a:gd name="T58" fmla="*/ 208 w 309"/>
                <a:gd name="T59" fmla="*/ 285 h 294"/>
                <a:gd name="T60" fmla="*/ 217 w 309"/>
                <a:gd name="T61" fmla="*/ 219 h 294"/>
                <a:gd name="T62" fmla="*/ 283 w 309"/>
                <a:gd name="T63" fmla="*/ 219 h 294"/>
                <a:gd name="T64" fmla="*/ 293 w 309"/>
                <a:gd name="T65" fmla="*/ 208 h 294"/>
                <a:gd name="T66" fmla="*/ 283 w 309"/>
                <a:gd name="T67" fmla="*/ 197 h 294"/>
                <a:gd name="T68" fmla="*/ 219 w 309"/>
                <a:gd name="T69" fmla="*/ 197 h 294"/>
                <a:gd name="T70" fmla="*/ 232 w 309"/>
                <a:gd name="T71" fmla="*/ 98 h 294"/>
                <a:gd name="T72" fmla="*/ 299 w 309"/>
                <a:gd name="T73" fmla="*/ 98 h 294"/>
                <a:gd name="T74" fmla="*/ 309 w 309"/>
                <a:gd name="T75" fmla="*/ 87 h 294"/>
                <a:gd name="T76" fmla="*/ 299 w 309"/>
                <a:gd name="T77" fmla="*/ 77 h 294"/>
                <a:gd name="T78" fmla="*/ 198 w 309"/>
                <a:gd name="T79" fmla="*/ 197 h 294"/>
                <a:gd name="T80" fmla="*/ 98 w 309"/>
                <a:gd name="T81" fmla="*/ 197 h 294"/>
                <a:gd name="T82" fmla="*/ 112 w 309"/>
                <a:gd name="T83" fmla="*/ 98 h 294"/>
                <a:gd name="T84" fmla="*/ 211 w 309"/>
                <a:gd name="T85" fmla="*/ 98 h 294"/>
                <a:gd name="T86" fmla="*/ 198 w 309"/>
                <a:gd name="T87" fmla="*/ 197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9" h="294">
                  <a:moveTo>
                    <a:pt x="299" y="77"/>
                  </a:moveTo>
                  <a:cubicBezTo>
                    <a:pt x="235" y="77"/>
                    <a:pt x="235" y="77"/>
                    <a:pt x="235" y="77"/>
                  </a:cubicBezTo>
                  <a:cubicBezTo>
                    <a:pt x="244" y="13"/>
                    <a:pt x="244" y="13"/>
                    <a:pt x="244" y="13"/>
                  </a:cubicBezTo>
                  <a:cubicBezTo>
                    <a:pt x="244" y="7"/>
                    <a:pt x="240" y="2"/>
                    <a:pt x="234" y="1"/>
                  </a:cubicBezTo>
                  <a:cubicBezTo>
                    <a:pt x="229" y="0"/>
                    <a:pt x="223" y="4"/>
                    <a:pt x="222" y="10"/>
                  </a:cubicBezTo>
                  <a:cubicBezTo>
                    <a:pt x="214" y="77"/>
                    <a:pt x="214" y="77"/>
                    <a:pt x="214" y="77"/>
                  </a:cubicBezTo>
                  <a:cubicBezTo>
                    <a:pt x="114" y="77"/>
                    <a:pt x="114" y="77"/>
                    <a:pt x="114" y="77"/>
                  </a:cubicBezTo>
                  <a:cubicBezTo>
                    <a:pt x="123" y="13"/>
                    <a:pt x="123" y="13"/>
                    <a:pt x="123" y="13"/>
                  </a:cubicBezTo>
                  <a:cubicBezTo>
                    <a:pt x="123" y="7"/>
                    <a:pt x="119" y="2"/>
                    <a:pt x="114" y="1"/>
                  </a:cubicBezTo>
                  <a:cubicBezTo>
                    <a:pt x="108" y="0"/>
                    <a:pt x="102" y="4"/>
                    <a:pt x="102" y="10"/>
                  </a:cubicBezTo>
                  <a:cubicBezTo>
                    <a:pt x="93" y="77"/>
                    <a:pt x="93" y="77"/>
                    <a:pt x="93" y="77"/>
                  </a:cubicBezTo>
                  <a:cubicBezTo>
                    <a:pt x="27" y="77"/>
                    <a:pt x="27" y="77"/>
                    <a:pt x="27" y="77"/>
                  </a:cubicBezTo>
                  <a:cubicBezTo>
                    <a:pt x="21" y="77"/>
                    <a:pt x="16" y="81"/>
                    <a:pt x="16" y="87"/>
                  </a:cubicBezTo>
                  <a:cubicBezTo>
                    <a:pt x="16" y="93"/>
                    <a:pt x="21" y="98"/>
                    <a:pt x="27" y="98"/>
                  </a:cubicBezTo>
                  <a:cubicBezTo>
                    <a:pt x="90" y="98"/>
                    <a:pt x="90" y="98"/>
                    <a:pt x="90" y="98"/>
                  </a:cubicBezTo>
                  <a:cubicBezTo>
                    <a:pt x="77" y="197"/>
                    <a:pt x="77" y="197"/>
                    <a:pt x="77" y="197"/>
                  </a:cubicBezTo>
                  <a:cubicBezTo>
                    <a:pt x="11" y="197"/>
                    <a:pt x="11" y="197"/>
                    <a:pt x="11" y="197"/>
                  </a:cubicBezTo>
                  <a:cubicBezTo>
                    <a:pt x="5" y="197"/>
                    <a:pt x="0" y="202"/>
                    <a:pt x="0" y="208"/>
                  </a:cubicBezTo>
                  <a:cubicBezTo>
                    <a:pt x="0" y="214"/>
                    <a:pt x="5" y="219"/>
                    <a:pt x="11" y="219"/>
                  </a:cubicBezTo>
                  <a:cubicBezTo>
                    <a:pt x="74" y="219"/>
                    <a:pt x="74" y="219"/>
                    <a:pt x="74" y="219"/>
                  </a:cubicBezTo>
                  <a:cubicBezTo>
                    <a:pt x="66" y="282"/>
                    <a:pt x="66" y="282"/>
                    <a:pt x="66" y="282"/>
                  </a:cubicBezTo>
                  <a:cubicBezTo>
                    <a:pt x="65" y="288"/>
                    <a:pt x="69" y="294"/>
                    <a:pt x="75" y="294"/>
                  </a:cubicBezTo>
                  <a:cubicBezTo>
                    <a:pt x="76" y="294"/>
                    <a:pt x="76" y="294"/>
                    <a:pt x="76" y="294"/>
                  </a:cubicBezTo>
                  <a:cubicBezTo>
                    <a:pt x="82" y="294"/>
                    <a:pt x="86" y="290"/>
                    <a:pt x="87" y="285"/>
                  </a:cubicBezTo>
                  <a:cubicBezTo>
                    <a:pt x="96" y="219"/>
                    <a:pt x="96" y="219"/>
                    <a:pt x="96" y="219"/>
                  </a:cubicBezTo>
                  <a:cubicBezTo>
                    <a:pt x="195" y="219"/>
                    <a:pt x="195" y="219"/>
                    <a:pt x="195" y="219"/>
                  </a:cubicBezTo>
                  <a:cubicBezTo>
                    <a:pt x="187" y="282"/>
                    <a:pt x="187" y="282"/>
                    <a:pt x="187" y="282"/>
                  </a:cubicBezTo>
                  <a:cubicBezTo>
                    <a:pt x="186" y="288"/>
                    <a:pt x="190" y="294"/>
                    <a:pt x="196" y="294"/>
                  </a:cubicBezTo>
                  <a:cubicBezTo>
                    <a:pt x="197" y="294"/>
                    <a:pt x="197" y="294"/>
                    <a:pt x="197" y="294"/>
                  </a:cubicBezTo>
                  <a:cubicBezTo>
                    <a:pt x="203" y="294"/>
                    <a:pt x="207" y="290"/>
                    <a:pt x="208" y="285"/>
                  </a:cubicBezTo>
                  <a:cubicBezTo>
                    <a:pt x="217" y="219"/>
                    <a:pt x="217" y="219"/>
                    <a:pt x="217" y="219"/>
                  </a:cubicBezTo>
                  <a:cubicBezTo>
                    <a:pt x="283" y="219"/>
                    <a:pt x="283" y="219"/>
                    <a:pt x="283" y="219"/>
                  </a:cubicBezTo>
                  <a:cubicBezTo>
                    <a:pt x="289" y="219"/>
                    <a:pt x="293" y="214"/>
                    <a:pt x="293" y="208"/>
                  </a:cubicBezTo>
                  <a:cubicBezTo>
                    <a:pt x="293" y="202"/>
                    <a:pt x="289" y="197"/>
                    <a:pt x="283" y="197"/>
                  </a:cubicBezTo>
                  <a:cubicBezTo>
                    <a:pt x="219" y="197"/>
                    <a:pt x="219" y="197"/>
                    <a:pt x="219" y="197"/>
                  </a:cubicBezTo>
                  <a:cubicBezTo>
                    <a:pt x="232" y="98"/>
                    <a:pt x="232" y="98"/>
                    <a:pt x="232" y="98"/>
                  </a:cubicBezTo>
                  <a:cubicBezTo>
                    <a:pt x="299" y="98"/>
                    <a:pt x="299" y="98"/>
                    <a:pt x="299" y="98"/>
                  </a:cubicBezTo>
                  <a:cubicBezTo>
                    <a:pt x="305" y="98"/>
                    <a:pt x="309" y="93"/>
                    <a:pt x="309" y="87"/>
                  </a:cubicBezTo>
                  <a:cubicBezTo>
                    <a:pt x="309" y="81"/>
                    <a:pt x="305" y="77"/>
                    <a:pt x="299" y="77"/>
                  </a:cubicBezTo>
                  <a:close/>
                  <a:moveTo>
                    <a:pt x="198" y="197"/>
                  </a:moveTo>
                  <a:cubicBezTo>
                    <a:pt x="98" y="197"/>
                    <a:pt x="98" y="197"/>
                    <a:pt x="98" y="197"/>
                  </a:cubicBezTo>
                  <a:cubicBezTo>
                    <a:pt x="112" y="98"/>
                    <a:pt x="112" y="98"/>
                    <a:pt x="112" y="98"/>
                  </a:cubicBezTo>
                  <a:cubicBezTo>
                    <a:pt x="211" y="98"/>
                    <a:pt x="211" y="98"/>
                    <a:pt x="211" y="98"/>
                  </a:cubicBezTo>
                  <a:lnTo>
                    <a:pt x="198" y="1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29" name="TextBox 1028">
            <a:extLst>
              <a:ext uri="{FF2B5EF4-FFF2-40B4-BE49-F238E27FC236}">
                <a16:creationId xmlns:a16="http://schemas.microsoft.com/office/drawing/2014/main" id="{189DC215-6646-4DDD-93B7-C0205400EF33}"/>
              </a:ext>
            </a:extLst>
          </p:cNvPr>
          <p:cNvSpPr txBox="1"/>
          <p:nvPr/>
        </p:nvSpPr>
        <p:spPr>
          <a:xfrm>
            <a:off x="4915474" y="531722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t>
            </a:r>
          </a:p>
        </p:txBody>
      </p:sp>
      <p:sp>
        <p:nvSpPr>
          <p:cNvPr id="1030" name="Freeform 15">
            <a:extLst>
              <a:ext uri="{FF2B5EF4-FFF2-40B4-BE49-F238E27FC236}">
                <a16:creationId xmlns:a16="http://schemas.microsoft.com/office/drawing/2014/main" id="{92210F6E-5BA9-4382-8AC9-4FD3ACDFDE8E}"/>
              </a:ext>
            </a:extLst>
          </p:cNvPr>
          <p:cNvSpPr>
            <a:spLocks noChangeAspect="1" noEditPoints="1"/>
          </p:cNvSpPr>
          <p:nvPr/>
        </p:nvSpPr>
        <p:spPr bwMode="auto">
          <a:xfrm>
            <a:off x="4909187" y="4917023"/>
            <a:ext cx="368152" cy="368152"/>
          </a:xfrm>
          <a:custGeom>
            <a:avLst/>
            <a:gdLst>
              <a:gd name="T0" fmla="*/ 259 w 512"/>
              <a:gd name="T1" fmla="*/ 192 h 512"/>
              <a:gd name="T2" fmla="*/ 300 w 512"/>
              <a:gd name="T3" fmla="*/ 205 h 512"/>
              <a:gd name="T4" fmla="*/ 290 w 512"/>
              <a:gd name="T5" fmla="*/ 265 h 512"/>
              <a:gd name="T6" fmla="*/ 222 w 512"/>
              <a:gd name="T7" fmla="*/ 317 h 512"/>
              <a:gd name="T8" fmla="*/ 199 w 512"/>
              <a:gd name="T9" fmla="*/ 291 h 512"/>
              <a:gd name="T10" fmla="*/ 218 w 512"/>
              <a:gd name="T11" fmla="*/ 211 h 512"/>
              <a:gd name="T12" fmla="*/ 259 w 512"/>
              <a:gd name="T13" fmla="*/ 192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416 w 512"/>
              <a:gd name="T25" fmla="*/ 256 h 512"/>
              <a:gd name="T26" fmla="*/ 256 w 512"/>
              <a:gd name="T27" fmla="*/ 96 h 512"/>
              <a:gd name="T28" fmla="*/ 96 w 512"/>
              <a:gd name="T29" fmla="*/ 256 h 512"/>
              <a:gd name="T30" fmla="*/ 256 w 512"/>
              <a:gd name="T31" fmla="*/ 416 h 512"/>
              <a:gd name="T32" fmla="*/ 328 w 512"/>
              <a:gd name="T33" fmla="*/ 398 h 512"/>
              <a:gd name="T34" fmla="*/ 333 w 512"/>
              <a:gd name="T35" fmla="*/ 384 h 512"/>
              <a:gd name="T36" fmla="*/ 319 w 512"/>
              <a:gd name="T37" fmla="*/ 379 h 512"/>
              <a:gd name="T38" fmla="*/ 256 w 512"/>
              <a:gd name="T39" fmla="*/ 394 h 512"/>
              <a:gd name="T40" fmla="*/ 117 w 512"/>
              <a:gd name="T41" fmla="*/ 256 h 512"/>
              <a:gd name="T42" fmla="*/ 256 w 512"/>
              <a:gd name="T43" fmla="*/ 117 h 512"/>
              <a:gd name="T44" fmla="*/ 394 w 512"/>
              <a:gd name="T45" fmla="*/ 256 h 512"/>
              <a:gd name="T46" fmla="*/ 384 w 512"/>
              <a:gd name="T47" fmla="*/ 307 h 512"/>
              <a:gd name="T48" fmla="*/ 338 w 512"/>
              <a:gd name="T49" fmla="*/ 338 h 512"/>
              <a:gd name="T50" fmla="*/ 309 w 512"/>
              <a:gd name="T51" fmla="*/ 286 h 512"/>
              <a:gd name="T52" fmla="*/ 323 w 512"/>
              <a:gd name="T53" fmla="*/ 201 h 512"/>
              <a:gd name="T54" fmla="*/ 318 w 512"/>
              <a:gd name="T55" fmla="*/ 190 h 512"/>
              <a:gd name="T56" fmla="*/ 202 w 512"/>
              <a:gd name="T57" fmla="*/ 197 h 512"/>
              <a:gd name="T58" fmla="*/ 179 w 512"/>
              <a:gd name="T59" fmla="*/ 297 h 512"/>
              <a:gd name="T60" fmla="*/ 216 w 512"/>
              <a:gd name="T61" fmla="*/ 337 h 512"/>
              <a:gd name="T62" fmla="*/ 288 w 512"/>
              <a:gd name="T63" fmla="*/ 305 h 512"/>
              <a:gd name="T64" fmla="*/ 332 w 512"/>
              <a:gd name="T65" fmla="*/ 359 h 512"/>
              <a:gd name="T66" fmla="*/ 404 w 512"/>
              <a:gd name="T67" fmla="*/ 316 h 512"/>
              <a:gd name="T68" fmla="*/ 416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9" y="192"/>
                </a:moveTo>
                <a:cubicBezTo>
                  <a:pt x="275" y="192"/>
                  <a:pt x="291" y="199"/>
                  <a:pt x="300" y="205"/>
                </a:cubicBezTo>
                <a:cubicBezTo>
                  <a:pt x="290" y="265"/>
                  <a:pt x="290" y="265"/>
                  <a:pt x="290" y="265"/>
                </a:cubicBezTo>
                <a:cubicBezTo>
                  <a:pt x="280" y="283"/>
                  <a:pt x="249" y="325"/>
                  <a:pt x="222" y="317"/>
                </a:cubicBezTo>
                <a:cubicBezTo>
                  <a:pt x="208" y="313"/>
                  <a:pt x="202" y="300"/>
                  <a:pt x="199" y="291"/>
                </a:cubicBezTo>
                <a:cubicBezTo>
                  <a:pt x="192" y="265"/>
                  <a:pt x="200" y="232"/>
                  <a:pt x="218" y="211"/>
                </a:cubicBezTo>
                <a:cubicBezTo>
                  <a:pt x="231" y="197"/>
                  <a:pt x="245" y="192"/>
                  <a:pt x="259" y="19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8"/>
                  <a:pt x="344" y="96"/>
                  <a:pt x="256" y="96"/>
                </a:cubicBezTo>
                <a:cubicBezTo>
                  <a:pt x="168" y="96"/>
                  <a:pt x="96" y="168"/>
                  <a:pt x="96" y="256"/>
                </a:cubicBezTo>
                <a:cubicBezTo>
                  <a:pt x="96" y="344"/>
                  <a:pt x="168" y="416"/>
                  <a:pt x="256" y="416"/>
                </a:cubicBezTo>
                <a:cubicBezTo>
                  <a:pt x="281" y="416"/>
                  <a:pt x="306" y="410"/>
                  <a:pt x="328" y="398"/>
                </a:cubicBezTo>
                <a:cubicBezTo>
                  <a:pt x="333" y="395"/>
                  <a:pt x="336" y="389"/>
                  <a:pt x="333" y="384"/>
                </a:cubicBezTo>
                <a:cubicBezTo>
                  <a:pt x="330" y="379"/>
                  <a:pt x="324" y="376"/>
                  <a:pt x="319" y="379"/>
                </a:cubicBezTo>
                <a:cubicBezTo>
                  <a:pt x="299" y="389"/>
                  <a:pt x="278" y="394"/>
                  <a:pt x="256" y="394"/>
                </a:cubicBezTo>
                <a:cubicBezTo>
                  <a:pt x="179" y="394"/>
                  <a:pt x="117" y="332"/>
                  <a:pt x="117" y="256"/>
                </a:cubicBezTo>
                <a:cubicBezTo>
                  <a:pt x="117" y="179"/>
                  <a:pt x="179" y="117"/>
                  <a:pt x="256" y="117"/>
                </a:cubicBezTo>
                <a:cubicBezTo>
                  <a:pt x="332" y="117"/>
                  <a:pt x="394" y="179"/>
                  <a:pt x="394" y="256"/>
                </a:cubicBezTo>
                <a:cubicBezTo>
                  <a:pt x="394" y="274"/>
                  <a:pt x="391" y="291"/>
                  <a:pt x="384" y="307"/>
                </a:cubicBezTo>
                <a:cubicBezTo>
                  <a:pt x="384" y="308"/>
                  <a:pt x="365" y="346"/>
                  <a:pt x="338" y="338"/>
                </a:cubicBezTo>
                <a:cubicBezTo>
                  <a:pt x="303" y="329"/>
                  <a:pt x="308" y="287"/>
                  <a:pt x="309" y="286"/>
                </a:cubicBezTo>
                <a:cubicBezTo>
                  <a:pt x="323" y="201"/>
                  <a:pt x="323" y="201"/>
                  <a:pt x="323" y="201"/>
                </a:cubicBezTo>
                <a:cubicBezTo>
                  <a:pt x="323" y="197"/>
                  <a:pt x="322" y="193"/>
                  <a:pt x="318" y="190"/>
                </a:cubicBezTo>
                <a:cubicBezTo>
                  <a:pt x="284" y="168"/>
                  <a:pt x="236" y="158"/>
                  <a:pt x="202" y="197"/>
                </a:cubicBezTo>
                <a:cubicBezTo>
                  <a:pt x="179" y="223"/>
                  <a:pt x="169" y="264"/>
                  <a:pt x="179" y="297"/>
                </a:cubicBezTo>
                <a:cubicBezTo>
                  <a:pt x="185" y="318"/>
                  <a:pt x="198" y="332"/>
                  <a:pt x="216" y="337"/>
                </a:cubicBezTo>
                <a:cubicBezTo>
                  <a:pt x="245" y="345"/>
                  <a:pt x="270" y="325"/>
                  <a:pt x="288" y="305"/>
                </a:cubicBezTo>
                <a:cubicBezTo>
                  <a:pt x="291" y="326"/>
                  <a:pt x="302" y="350"/>
                  <a:pt x="332" y="359"/>
                </a:cubicBezTo>
                <a:cubicBezTo>
                  <a:pt x="376" y="371"/>
                  <a:pt x="402" y="319"/>
                  <a:pt x="404" y="316"/>
                </a:cubicBezTo>
                <a:cubicBezTo>
                  <a:pt x="412" y="297"/>
                  <a:pt x="416" y="276"/>
                  <a:pt x="416" y="25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31" name="Group 22">
            <a:extLst>
              <a:ext uri="{FF2B5EF4-FFF2-40B4-BE49-F238E27FC236}">
                <a16:creationId xmlns:a16="http://schemas.microsoft.com/office/drawing/2014/main" id="{BCB72243-781D-4D7E-987B-B136C1DC00BF}"/>
              </a:ext>
            </a:extLst>
          </p:cNvPr>
          <p:cNvGrpSpPr>
            <a:grpSpLocks noChangeAspect="1"/>
          </p:cNvGrpSpPr>
          <p:nvPr/>
        </p:nvGrpSpPr>
        <p:grpSpPr bwMode="auto">
          <a:xfrm>
            <a:off x="5352259" y="4917023"/>
            <a:ext cx="368051" cy="368152"/>
            <a:chOff x="299" y="531"/>
            <a:chExt cx="3635" cy="3636"/>
          </a:xfrm>
          <a:solidFill>
            <a:schemeClr val="accent1"/>
          </a:solidFill>
        </p:grpSpPr>
        <p:sp>
          <p:nvSpPr>
            <p:cNvPr id="1032" name="Freeform 23">
              <a:extLst>
                <a:ext uri="{FF2B5EF4-FFF2-40B4-BE49-F238E27FC236}">
                  <a16:creationId xmlns:a16="http://schemas.microsoft.com/office/drawing/2014/main" id="{E7EA6C4F-38C8-4DFA-9713-658EEA25A681}"/>
                </a:ext>
              </a:extLst>
            </p:cNvPr>
            <p:cNvSpPr>
              <a:spLocks noEditPoints="1"/>
            </p:cNvSpPr>
            <p:nvPr/>
          </p:nvSpPr>
          <p:spPr bwMode="auto">
            <a:xfrm>
              <a:off x="299" y="531"/>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3" name="Freeform 24">
              <a:extLst>
                <a:ext uri="{FF2B5EF4-FFF2-40B4-BE49-F238E27FC236}">
                  <a16:creationId xmlns:a16="http://schemas.microsoft.com/office/drawing/2014/main" id="{447C3231-B672-4CEA-9C76-55AC6FBFD74D}"/>
                </a:ext>
              </a:extLst>
            </p:cNvPr>
            <p:cNvSpPr>
              <a:spLocks noEditPoints="1"/>
            </p:cNvSpPr>
            <p:nvPr/>
          </p:nvSpPr>
          <p:spPr bwMode="auto">
            <a:xfrm>
              <a:off x="980" y="1213"/>
              <a:ext cx="2272" cy="2272"/>
            </a:xfrm>
            <a:custGeom>
              <a:avLst/>
              <a:gdLst>
                <a:gd name="T0" fmla="*/ 160 w 320"/>
                <a:gd name="T1" fmla="*/ 320 h 320"/>
                <a:gd name="T2" fmla="*/ 0 w 320"/>
                <a:gd name="T3" fmla="*/ 160 h 320"/>
                <a:gd name="T4" fmla="*/ 160 w 320"/>
                <a:gd name="T5" fmla="*/ 0 h 320"/>
                <a:gd name="T6" fmla="*/ 320 w 320"/>
                <a:gd name="T7" fmla="*/ 160 h 320"/>
                <a:gd name="T8" fmla="*/ 308 w 320"/>
                <a:gd name="T9" fmla="*/ 220 h 320"/>
                <a:gd name="T10" fmla="*/ 236 w 320"/>
                <a:gd name="T11" fmla="*/ 263 h 320"/>
                <a:gd name="T12" fmla="*/ 192 w 320"/>
                <a:gd name="T13" fmla="*/ 209 h 320"/>
                <a:gd name="T14" fmla="*/ 120 w 320"/>
                <a:gd name="T15" fmla="*/ 241 h 320"/>
                <a:gd name="T16" fmla="*/ 83 w 320"/>
                <a:gd name="T17" fmla="*/ 201 h 320"/>
                <a:gd name="T18" fmla="*/ 106 w 320"/>
                <a:gd name="T19" fmla="*/ 101 h 320"/>
                <a:gd name="T20" fmla="*/ 222 w 320"/>
                <a:gd name="T21" fmla="*/ 94 h 320"/>
                <a:gd name="T22" fmla="*/ 227 w 320"/>
                <a:gd name="T23" fmla="*/ 105 h 320"/>
                <a:gd name="T24" fmla="*/ 213 w 320"/>
                <a:gd name="T25" fmla="*/ 190 h 320"/>
                <a:gd name="T26" fmla="*/ 242 w 320"/>
                <a:gd name="T27" fmla="*/ 242 h 320"/>
                <a:gd name="T28" fmla="*/ 288 w 320"/>
                <a:gd name="T29" fmla="*/ 211 h 320"/>
                <a:gd name="T30" fmla="*/ 298 w 320"/>
                <a:gd name="T31" fmla="*/ 160 h 320"/>
                <a:gd name="T32" fmla="*/ 160 w 320"/>
                <a:gd name="T33" fmla="*/ 21 h 320"/>
                <a:gd name="T34" fmla="*/ 21 w 320"/>
                <a:gd name="T35" fmla="*/ 160 h 320"/>
                <a:gd name="T36" fmla="*/ 160 w 320"/>
                <a:gd name="T37" fmla="*/ 298 h 320"/>
                <a:gd name="T38" fmla="*/ 223 w 320"/>
                <a:gd name="T39" fmla="*/ 283 h 320"/>
                <a:gd name="T40" fmla="*/ 237 w 320"/>
                <a:gd name="T41" fmla="*/ 288 h 320"/>
                <a:gd name="T42" fmla="*/ 232 w 320"/>
                <a:gd name="T43" fmla="*/ 302 h 320"/>
                <a:gd name="T44" fmla="*/ 160 w 320"/>
                <a:gd name="T45" fmla="*/ 320 h 320"/>
                <a:gd name="T46" fmla="*/ 163 w 320"/>
                <a:gd name="T47" fmla="*/ 96 h 320"/>
                <a:gd name="T48" fmla="*/ 122 w 320"/>
                <a:gd name="T49" fmla="*/ 115 h 320"/>
                <a:gd name="T50" fmla="*/ 103 w 320"/>
                <a:gd name="T51" fmla="*/ 195 h 320"/>
                <a:gd name="T52" fmla="*/ 126 w 320"/>
                <a:gd name="T53" fmla="*/ 221 h 320"/>
                <a:gd name="T54" fmla="*/ 194 w 320"/>
                <a:gd name="T55" fmla="*/ 169 h 320"/>
                <a:gd name="T56" fmla="*/ 204 w 320"/>
                <a:gd name="T57" fmla="*/ 109 h 320"/>
                <a:gd name="T58" fmla="*/ 163 w 320"/>
                <a:gd name="T59"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320">
                  <a:moveTo>
                    <a:pt x="160" y="320"/>
                  </a:moveTo>
                  <a:cubicBezTo>
                    <a:pt x="72" y="320"/>
                    <a:pt x="0" y="248"/>
                    <a:pt x="0" y="160"/>
                  </a:cubicBezTo>
                  <a:cubicBezTo>
                    <a:pt x="0" y="72"/>
                    <a:pt x="72" y="0"/>
                    <a:pt x="160" y="0"/>
                  </a:cubicBezTo>
                  <a:cubicBezTo>
                    <a:pt x="248" y="0"/>
                    <a:pt x="320" y="72"/>
                    <a:pt x="320" y="160"/>
                  </a:cubicBezTo>
                  <a:cubicBezTo>
                    <a:pt x="320" y="180"/>
                    <a:pt x="316" y="201"/>
                    <a:pt x="308" y="220"/>
                  </a:cubicBezTo>
                  <a:cubicBezTo>
                    <a:pt x="306" y="223"/>
                    <a:pt x="280" y="275"/>
                    <a:pt x="236" y="263"/>
                  </a:cubicBezTo>
                  <a:cubicBezTo>
                    <a:pt x="206" y="254"/>
                    <a:pt x="195" y="230"/>
                    <a:pt x="192" y="209"/>
                  </a:cubicBezTo>
                  <a:cubicBezTo>
                    <a:pt x="174" y="229"/>
                    <a:pt x="149" y="249"/>
                    <a:pt x="120" y="241"/>
                  </a:cubicBezTo>
                  <a:cubicBezTo>
                    <a:pt x="102" y="236"/>
                    <a:pt x="89" y="222"/>
                    <a:pt x="83" y="201"/>
                  </a:cubicBezTo>
                  <a:cubicBezTo>
                    <a:pt x="73" y="168"/>
                    <a:pt x="83" y="127"/>
                    <a:pt x="106" y="101"/>
                  </a:cubicBezTo>
                  <a:cubicBezTo>
                    <a:pt x="140" y="62"/>
                    <a:pt x="188" y="72"/>
                    <a:pt x="222" y="94"/>
                  </a:cubicBezTo>
                  <a:cubicBezTo>
                    <a:pt x="226" y="97"/>
                    <a:pt x="227" y="101"/>
                    <a:pt x="227" y="105"/>
                  </a:cubicBezTo>
                  <a:cubicBezTo>
                    <a:pt x="213" y="190"/>
                    <a:pt x="213" y="190"/>
                    <a:pt x="213" y="190"/>
                  </a:cubicBezTo>
                  <a:cubicBezTo>
                    <a:pt x="212" y="191"/>
                    <a:pt x="207" y="233"/>
                    <a:pt x="242" y="242"/>
                  </a:cubicBezTo>
                  <a:cubicBezTo>
                    <a:pt x="269" y="250"/>
                    <a:pt x="288" y="212"/>
                    <a:pt x="288" y="211"/>
                  </a:cubicBezTo>
                  <a:cubicBezTo>
                    <a:pt x="295" y="195"/>
                    <a:pt x="298" y="178"/>
                    <a:pt x="298" y="160"/>
                  </a:cubicBezTo>
                  <a:cubicBezTo>
                    <a:pt x="298" y="83"/>
                    <a:pt x="236" y="21"/>
                    <a:pt x="160" y="21"/>
                  </a:cubicBezTo>
                  <a:cubicBezTo>
                    <a:pt x="83" y="21"/>
                    <a:pt x="21" y="83"/>
                    <a:pt x="21" y="160"/>
                  </a:cubicBezTo>
                  <a:cubicBezTo>
                    <a:pt x="21" y="236"/>
                    <a:pt x="83" y="298"/>
                    <a:pt x="160" y="298"/>
                  </a:cubicBezTo>
                  <a:cubicBezTo>
                    <a:pt x="182" y="298"/>
                    <a:pt x="203" y="293"/>
                    <a:pt x="223" y="283"/>
                  </a:cubicBezTo>
                  <a:cubicBezTo>
                    <a:pt x="228" y="280"/>
                    <a:pt x="234" y="283"/>
                    <a:pt x="237" y="288"/>
                  </a:cubicBezTo>
                  <a:cubicBezTo>
                    <a:pt x="240" y="293"/>
                    <a:pt x="237" y="299"/>
                    <a:pt x="232" y="302"/>
                  </a:cubicBezTo>
                  <a:cubicBezTo>
                    <a:pt x="210" y="314"/>
                    <a:pt x="185" y="320"/>
                    <a:pt x="160" y="320"/>
                  </a:cubicBezTo>
                  <a:close/>
                  <a:moveTo>
                    <a:pt x="163" y="96"/>
                  </a:moveTo>
                  <a:cubicBezTo>
                    <a:pt x="149" y="96"/>
                    <a:pt x="135" y="101"/>
                    <a:pt x="122" y="115"/>
                  </a:cubicBezTo>
                  <a:cubicBezTo>
                    <a:pt x="104" y="136"/>
                    <a:pt x="96" y="169"/>
                    <a:pt x="103" y="195"/>
                  </a:cubicBezTo>
                  <a:cubicBezTo>
                    <a:pt x="106" y="204"/>
                    <a:pt x="112" y="217"/>
                    <a:pt x="126" y="221"/>
                  </a:cubicBezTo>
                  <a:cubicBezTo>
                    <a:pt x="153" y="229"/>
                    <a:pt x="184" y="187"/>
                    <a:pt x="194" y="169"/>
                  </a:cubicBezTo>
                  <a:cubicBezTo>
                    <a:pt x="204" y="109"/>
                    <a:pt x="204" y="109"/>
                    <a:pt x="204" y="109"/>
                  </a:cubicBezTo>
                  <a:cubicBezTo>
                    <a:pt x="195" y="103"/>
                    <a:pt x="179" y="96"/>
                    <a:pt x="163"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34" name="TextBox 1033">
            <a:extLst>
              <a:ext uri="{FF2B5EF4-FFF2-40B4-BE49-F238E27FC236}">
                <a16:creationId xmlns:a16="http://schemas.microsoft.com/office/drawing/2014/main" id="{3DB87218-86FE-41D7-ADDC-F33747FDDAF2}"/>
              </a:ext>
            </a:extLst>
          </p:cNvPr>
          <p:cNvSpPr txBox="1"/>
          <p:nvPr/>
        </p:nvSpPr>
        <p:spPr>
          <a:xfrm>
            <a:off x="473547" y="4527288"/>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edit</a:t>
            </a:r>
          </a:p>
        </p:txBody>
      </p:sp>
      <p:sp>
        <p:nvSpPr>
          <p:cNvPr id="1035" name="Freeform 680">
            <a:extLst>
              <a:ext uri="{FF2B5EF4-FFF2-40B4-BE49-F238E27FC236}">
                <a16:creationId xmlns:a16="http://schemas.microsoft.com/office/drawing/2014/main" id="{D91DB4A1-32CA-4BE7-B30C-946C62712554}"/>
              </a:ext>
            </a:extLst>
          </p:cNvPr>
          <p:cNvSpPr>
            <a:spLocks noChangeAspect="1" noEditPoints="1"/>
          </p:cNvSpPr>
          <p:nvPr/>
        </p:nvSpPr>
        <p:spPr bwMode="auto">
          <a:xfrm>
            <a:off x="482834" y="4127084"/>
            <a:ext cx="367632" cy="367631"/>
          </a:xfrm>
          <a:custGeom>
            <a:avLst/>
            <a:gdLst>
              <a:gd name="T0" fmla="*/ 337 w 512"/>
              <a:gd name="T1" fmla="*/ 202 h 512"/>
              <a:gd name="T2" fmla="*/ 309 w 512"/>
              <a:gd name="T3" fmla="*/ 175 h 512"/>
              <a:gd name="T4" fmla="*/ 215 w 512"/>
              <a:gd name="T5" fmla="*/ 312 h 512"/>
              <a:gd name="T6" fmla="*/ 226 w 512"/>
              <a:gd name="T7" fmla="*/ 300 h 512"/>
              <a:gd name="T8" fmla="*/ 138 w 512"/>
              <a:gd name="T9" fmla="*/ 207 h 512"/>
              <a:gd name="T10" fmla="*/ 197 w 512"/>
              <a:gd name="T11" fmla="*/ 299 h 512"/>
              <a:gd name="T12" fmla="*/ 512 w 512"/>
              <a:gd name="T13" fmla="*/ 256 h 512"/>
              <a:gd name="T14" fmla="*/ 0 w 512"/>
              <a:gd name="T15" fmla="*/ 256 h 512"/>
              <a:gd name="T16" fmla="*/ 512 w 512"/>
              <a:gd name="T17" fmla="*/ 256 h 512"/>
              <a:gd name="T18" fmla="*/ 195 w 512"/>
              <a:gd name="T19" fmla="*/ 327 h 512"/>
              <a:gd name="T20" fmla="*/ 242 w 512"/>
              <a:gd name="T21" fmla="*/ 341 h 512"/>
              <a:gd name="T22" fmla="*/ 253 w 512"/>
              <a:gd name="T23" fmla="*/ 338 h 512"/>
              <a:gd name="T24" fmla="*/ 245 w 512"/>
              <a:gd name="T25" fmla="*/ 285 h 512"/>
              <a:gd name="T26" fmla="*/ 146 w 512"/>
              <a:gd name="T27" fmla="*/ 184 h 512"/>
              <a:gd name="T28" fmla="*/ 99 w 512"/>
              <a:gd name="T29" fmla="*/ 216 h 512"/>
              <a:gd name="T30" fmla="*/ 373 w 512"/>
              <a:gd name="T31" fmla="*/ 213 h 512"/>
              <a:gd name="T32" fmla="*/ 372 w 512"/>
              <a:gd name="T33" fmla="*/ 209 h 512"/>
              <a:gd name="T34" fmla="*/ 306 w 512"/>
              <a:gd name="T35" fmla="*/ 141 h 512"/>
              <a:gd name="T36" fmla="*/ 298 w 512"/>
              <a:gd name="T37" fmla="*/ 138 h 512"/>
              <a:gd name="T38" fmla="*/ 170 w 512"/>
              <a:gd name="T39" fmla="*/ 149 h 512"/>
              <a:gd name="T40" fmla="*/ 181 w 512"/>
              <a:gd name="T41" fmla="*/ 192 h 512"/>
              <a:gd name="T42" fmla="*/ 192 w 512"/>
              <a:gd name="T43" fmla="*/ 160 h 512"/>
              <a:gd name="T44" fmla="*/ 288 w 512"/>
              <a:gd name="T45" fmla="*/ 213 h 512"/>
              <a:gd name="T46" fmla="*/ 352 w 512"/>
              <a:gd name="T47" fmla="*/ 224 h 512"/>
              <a:gd name="T48" fmla="*/ 192 w 512"/>
              <a:gd name="T49" fmla="*/ 394 h 512"/>
              <a:gd name="T50" fmla="*/ 181 w 512"/>
              <a:gd name="T51" fmla="*/ 341 h 512"/>
              <a:gd name="T52" fmla="*/ 170 w 512"/>
              <a:gd name="T53" fmla="*/ 405 h 512"/>
              <a:gd name="T54" fmla="*/ 362 w 512"/>
              <a:gd name="T55" fmla="*/ 416 h 512"/>
              <a:gd name="T56" fmla="*/ 373 w 512"/>
              <a:gd name="T57" fmla="*/ 213 h 512"/>
              <a:gd name="T58" fmla="*/ 320 w 512"/>
              <a:gd name="T59" fmla="*/ 277 h 512"/>
              <a:gd name="T60" fmla="*/ 266 w 512"/>
              <a:gd name="T61" fmla="*/ 288 h 512"/>
              <a:gd name="T62" fmla="*/ 320 w 512"/>
              <a:gd name="T63" fmla="*/ 298 h 512"/>
              <a:gd name="T64" fmla="*/ 320 w 512"/>
              <a:gd name="T65" fmla="*/ 320 h 512"/>
              <a:gd name="T66" fmla="*/ 277 w 512"/>
              <a:gd name="T67" fmla="*/ 330 h 512"/>
              <a:gd name="T68" fmla="*/ 320 w 512"/>
              <a:gd name="T69" fmla="*/ 341 h 512"/>
              <a:gd name="T70" fmla="*/ 320 w 512"/>
              <a:gd name="T71"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09" y="175"/>
                </a:moveTo>
                <a:cubicBezTo>
                  <a:pt x="337" y="202"/>
                  <a:pt x="337" y="202"/>
                  <a:pt x="337" y="202"/>
                </a:cubicBezTo>
                <a:cubicBezTo>
                  <a:pt x="309" y="202"/>
                  <a:pt x="309" y="202"/>
                  <a:pt x="309" y="202"/>
                </a:cubicBezTo>
                <a:lnTo>
                  <a:pt x="309" y="175"/>
                </a:lnTo>
                <a:close/>
                <a:moveTo>
                  <a:pt x="226" y="300"/>
                </a:moveTo>
                <a:cubicBezTo>
                  <a:pt x="215" y="312"/>
                  <a:pt x="215" y="312"/>
                  <a:pt x="215" y="312"/>
                </a:cubicBezTo>
                <a:cubicBezTo>
                  <a:pt x="230" y="316"/>
                  <a:pt x="230" y="316"/>
                  <a:pt x="230" y="316"/>
                </a:cubicBezTo>
                <a:lnTo>
                  <a:pt x="226" y="300"/>
                </a:lnTo>
                <a:close/>
                <a:moveTo>
                  <a:pt x="214" y="282"/>
                </a:moveTo>
                <a:cubicBezTo>
                  <a:pt x="138" y="207"/>
                  <a:pt x="138" y="207"/>
                  <a:pt x="138" y="207"/>
                </a:cubicBezTo>
                <a:cubicBezTo>
                  <a:pt x="121" y="224"/>
                  <a:pt x="121" y="224"/>
                  <a:pt x="121" y="224"/>
                </a:cubicBezTo>
                <a:cubicBezTo>
                  <a:pt x="197" y="299"/>
                  <a:pt x="197" y="299"/>
                  <a:pt x="197" y="299"/>
                </a:cubicBezTo>
                <a:lnTo>
                  <a:pt x="214" y="2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99" y="231"/>
                </a:moveTo>
                <a:cubicBezTo>
                  <a:pt x="195" y="327"/>
                  <a:pt x="195" y="327"/>
                  <a:pt x="195" y="327"/>
                </a:cubicBezTo>
                <a:cubicBezTo>
                  <a:pt x="196" y="329"/>
                  <a:pt x="198" y="330"/>
                  <a:pt x="200" y="330"/>
                </a:cubicBezTo>
                <a:cubicBezTo>
                  <a:pt x="242" y="341"/>
                  <a:pt x="242" y="341"/>
                  <a:pt x="242" y="341"/>
                </a:cubicBezTo>
                <a:cubicBezTo>
                  <a:pt x="243" y="341"/>
                  <a:pt x="244" y="341"/>
                  <a:pt x="245" y="341"/>
                </a:cubicBezTo>
                <a:cubicBezTo>
                  <a:pt x="248" y="341"/>
                  <a:pt x="251" y="340"/>
                  <a:pt x="253" y="338"/>
                </a:cubicBezTo>
                <a:cubicBezTo>
                  <a:pt x="255" y="335"/>
                  <a:pt x="256" y="331"/>
                  <a:pt x="255" y="328"/>
                </a:cubicBezTo>
                <a:cubicBezTo>
                  <a:pt x="245" y="285"/>
                  <a:pt x="245" y="285"/>
                  <a:pt x="245" y="285"/>
                </a:cubicBezTo>
                <a:cubicBezTo>
                  <a:pt x="244" y="283"/>
                  <a:pt x="243" y="281"/>
                  <a:pt x="242" y="280"/>
                </a:cubicBezTo>
                <a:cubicBezTo>
                  <a:pt x="146" y="184"/>
                  <a:pt x="146" y="184"/>
                  <a:pt x="146" y="184"/>
                </a:cubicBezTo>
                <a:cubicBezTo>
                  <a:pt x="142" y="180"/>
                  <a:pt x="135" y="180"/>
                  <a:pt x="131" y="184"/>
                </a:cubicBezTo>
                <a:cubicBezTo>
                  <a:pt x="99" y="216"/>
                  <a:pt x="99" y="216"/>
                  <a:pt x="99" y="216"/>
                </a:cubicBezTo>
                <a:cubicBezTo>
                  <a:pt x="95" y="220"/>
                  <a:pt x="95" y="227"/>
                  <a:pt x="99" y="231"/>
                </a:cubicBezTo>
                <a:close/>
                <a:moveTo>
                  <a:pt x="373" y="213"/>
                </a:moveTo>
                <a:cubicBezTo>
                  <a:pt x="373" y="213"/>
                  <a:pt x="373" y="213"/>
                  <a:pt x="373" y="213"/>
                </a:cubicBezTo>
                <a:cubicBezTo>
                  <a:pt x="373" y="211"/>
                  <a:pt x="373" y="210"/>
                  <a:pt x="372" y="209"/>
                </a:cubicBezTo>
                <a:cubicBezTo>
                  <a:pt x="372" y="208"/>
                  <a:pt x="371" y="206"/>
                  <a:pt x="370" y="205"/>
                </a:cubicBezTo>
                <a:cubicBezTo>
                  <a:pt x="306" y="141"/>
                  <a:pt x="306" y="141"/>
                  <a:pt x="306" y="141"/>
                </a:cubicBezTo>
                <a:cubicBezTo>
                  <a:pt x="305" y="140"/>
                  <a:pt x="304" y="140"/>
                  <a:pt x="302" y="139"/>
                </a:cubicBezTo>
                <a:cubicBezTo>
                  <a:pt x="301" y="139"/>
                  <a:pt x="300" y="138"/>
                  <a:pt x="298" y="138"/>
                </a:cubicBezTo>
                <a:cubicBezTo>
                  <a:pt x="181" y="138"/>
                  <a:pt x="181" y="138"/>
                  <a:pt x="181" y="138"/>
                </a:cubicBezTo>
                <a:cubicBezTo>
                  <a:pt x="175" y="138"/>
                  <a:pt x="170" y="143"/>
                  <a:pt x="170" y="149"/>
                </a:cubicBezTo>
                <a:cubicBezTo>
                  <a:pt x="170" y="181"/>
                  <a:pt x="170" y="181"/>
                  <a:pt x="170" y="181"/>
                </a:cubicBezTo>
                <a:cubicBezTo>
                  <a:pt x="170" y="187"/>
                  <a:pt x="175" y="192"/>
                  <a:pt x="181" y="192"/>
                </a:cubicBezTo>
                <a:cubicBezTo>
                  <a:pt x="187" y="192"/>
                  <a:pt x="192" y="187"/>
                  <a:pt x="192" y="181"/>
                </a:cubicBezTo>
                <a:cubicBezTo>
                  <a:pt x="192" y="160"/>
                  <a:pt x="192" y="160"/>
                  <a:pt x="192" y="160"/>
                </a:cubicBezTo>
                <a:cubicBezTo>
                  <a:pt x="288" y="160"/>
                  <a:pt x="288" y="160"/>
                  <a:pt x="288" y="160"/>
                </a:cubicBezTo>
                <a:cubicBezTo>
                  <a:pt x="288" y="213"/>
                  <a:pt x="288" y="213"/>
                  <a:pt x="288" y="213"/>
                </a:cubicBezTo>
                <a:cubicBezTo>
                  <a:pt x="288" y="219"/>
                  <a:pt x="292" y="224"/>
                  <a:pt x="298" y="224"/>
                </a:cubicBezTo>
                <a:cubicBezTo>
                  <a:pt x="352" y="224"/>
                  <a:pt x="352" y="224"/>
                  <a:pt x="352" y="224"/>
                </a:cubicBezTo>
                <a:cubicBezTo>
                  <a:pt x="352" y="394"/>
                  <a:pt x="352" y="394"/>
                  <a:pt x="352" y="394"/>
                </a:cubicBezTo>
                <a:cubicBezTo>
                  <a:pt x="192" y="394"/>
                  <a:pt x="192" y="394"/>
                  <a:pt x="192" y="394"/>
                </a:cubicBezTo>
                <a:cubicBezTo>
                  <a:pt x="192" y="352"/>
                  <a:pt x="192" y="352"/>
                  <a:pt x="192" y="352"/>
                </a:cubicBezTo>
                <a:cubicBezTo>
                  <a:pt x="192" y="346"/>
                  <a:pt x="187" y="341"/>
                  <a:pt x="181" y="341"/>
                </a:cubicBezTo>
                <a:cubicBezTo>
                  <a:pt x="175" y="341"/>
                  <a:pt x="170" y="346"/>
                  <a:pt x="170" y="352"/>
                </a:cubicBezTo>
                <a:cubicBezTo>
                  <a:pt x="170" y="405"/>
                  <a:pt x="170" y="405"/>
                  <a:pt x="170" y="405"/>
                </a:cubicBezTo>
                <a:cubicBezTo>
                  <a:pt x="170" y="411"/>
                  <a:pt x="175" y="416"/>
                  <a:pt x="181" y="416"/>
                </a:cubicBezTo>
                <a:cubicBezTo>
                  <a:pt x="362" y="416"/>
                  <a:pt x="362" y="416"/>
                  <a:pt x="362" y="416"/>
                </a:cubicBezTo>
                <a:cubicBezTo>
                  <a:pt x="368" y="416"/>
                  <a:pt x="373" y="411"/>
                  <a:pt x="373" y="405"/>
                </a:cubicBezTo>
                <a:lnTo>
                  <a:pt x="373" y="213"/>
                </a:lnTo>
                <a:close/>
                <a:moveTo>
                  <a:pt x="330" y="288"/>
                </a:moveTo>
                <a:cubicBezTo>
                  <a:pt x="330" y="282"/>
                  <a:pt x="326" y="277"/>
                  <a:pt x="320" y="277"/>
                </a:cubicBezTo>
                <a:cubicBezTo>
                  <a:pt x="277" y="277"/>
                  <a:pt x="277" y="277"/>
                  <a:pt x="277" y="277"/>
                </a:cubicBezTo>
                <a:cubicBezTo>
                  <a:pt x="271" y="277"/>
                  <a:pt x="266" y="282"/>
                  <a:pt x="266" y="288"/>
                </a:cubicBezTo>
                <a:cubicBezTo>
                  <a:pt x="266" y="294"/>
                  <a:pt x="271" y="298"/>
                  <a:pt x="277" y="298"/>
                </a:cubicBezTo>
                <a:cubicBezTo>
                  <a:pt x="320" y="298"/>
                  <a:pt x="320" y="298"/>
                  <a:pt x="320" y="298"/>
                </a:cubicBezTo>
                <a:cubicBezTo>
                  <a:pt x="326" y="298"/>
                  <a:pt x="330" y="294"/>
                  <a:pt x="330" y="288"/>
                </a:cubicBezTo>
                <a:close/>
                <a:moveTo>
                  <a:pt x="320" y="320"/>
                </a:moveTo>
                <a:cubicBezTo>
                  <a:pt x="288" y="320"/>
                  <a:pt x="288" y="320"/>
                  <a:pt x="288" y="320"/>
                </a:cubicBezTo>
                <a:cubicBezTo>
                  <a:pt x="282" y="320"/>
                  <a:pt x="277" y="324"/>
                  <a:pt x="277" y="330"/>
                </a:cubicBezTo>
                <a:cubicBezTo>
                  <a:pt x="277" y="336"/>
                  <a:pt x="282" y="341"/>
                  <a:pt x="288" y="341"/>
                </a:cubicBezTo>
                <a:cubicBezTo>
                  <a:pt x="320" y="341"/>
                  <a:pt x="320" y="341"/>
                  <a:pt x="320" y="341"/>
                </a:cubicBezTo>
                <a:cubicBezTo>
                  <a:pt x="326" y="341"/>
                  <a:pt x="330" y="336"/>
                  <a:pt x="330" y="330"/>
                </a:cubicBezTo>
                <a:cubicBezTo>
                  <a:pt x="330" y="324"/>
                  <a:pt x="326" y="320"/>
                  <a:pt x="320" y="3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36" name="Group 683">
            <a:extLst>
              <a:ext uri="{FF2B5EF4-FFF2-40B4-BE49-F238E27FC236}">
                <a16:creationId xmlns:a16="http://schemas.microsoft.com/office/drawing/2014/main" id="{A7E275BD-574F-4801-960E-3C9F5AD45AB6}"/>
              </a:ext>
            </a:extLst>
          </p:cNvPr>
          <p:cNvGrpSpPr>
            <a:grpSpLocks noChangeAspect="1"/>
          </p:cNvGrpSpPr>
          <p:nvPr/>
        </p:nvGrpSpPr>
        <p:grpSpPr bwMode="auto">
          <a:xfrm>
            <a:off x="912296" y="4127084"/>
            <a:ext cx="367631" cy="367631"/>
            <a:chOff x="377" y="2771"/>
            <a:chExt cx="340" cy="340"/>
          </a:xfrm>
          <a:solidFill>
            <a:schemeClr val="accent2"/>
          </a:solidFill>
        </p:grpSpPr>
        <p:sp>
          <p:nvSpPr>
            <p:cNvPr id="1037" name="Freeform 684">
              <a:extLst>
                <a:ext uri="{FF2B5EF4-FFF2-40B4-BE49-F238E27FC236}">
                  <a16:creationId xmlns:a16="http://schemas.microsoft.com/office/drawing/2014/main" id="{73BCB46F-D5F9-4650-A0D7-1B158652E94C}"/>
                </a:ext>
              </a:extLst>
            </p:cNvPr>
            <p:cNvSpPr>
              <a:spLocks noEditPoints="1"/>
            </p:cNvSpPr>
            <p:nvPr/>
          </p:nvSpPr>
          <p:spPr bwMode="auto">
            <a:xfrm>
              <a:off x="377"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8" name="Freeform 685">
              <a:extLst>
                <a:ext uri="{FF2B5EF4-FFF2-40B4-BE49-F238E27FC236}">
                  <a16:creationId xmlns:a16="http://schemas.microsoft.com/office/drawing/2014/main" id="{BEB18E99-E200-4C2D-8D99-548563E5F8E5}"/>
                </a:ext>
              </a:extLst>
            </p:cNvPr>
            <p:cNvSpPr>
              <a:spLocks noEditPoints="1"/>
            </p:cNvSpPr>
            <p:nvPr/>
          </p:nvSpPr>
          <p:spPr bwMode="auto">
            <a:xfrm>
              <a:off x="440" y="2863"/>
              <a:ext cx="185" cy="184"/>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263624276"/>
      </p:ext>
    </p:extLst>
  </p:cSld>
  <p:clrMapOvr>
    <a:masterClrMapping/>
  </p:clrMapOvr>
  <p:transition>
    <p:fade/>
  </p:transition>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Media/technology</a:t>
            </a:r>
          </a:p>
        </p:txBody>
      </p:sp>
      <p:sp>
        <p:nvSpPr>
          <p:cNvPr id="4" name="Title 3"/>
          <p:cNvSpPr>
            <a:spLocks noGrp="1"/>
          </p:cNvSpPr>
          <p:nvPr>
            <p:ph type="title"/>
          </p:nvPr>
        </p:nvSpPr>
        <p:spPr/>
        <p:txBody>
          <a:bodyPr/>
          <a:lstStyle/>
          <a:p>
            <a:r>
              <a:rPr lang="en-GB" dirty="0"/>
              <a:t>Iconography</a:t>
            </a:r>
          </a:p>
        </p:txBody>
      </p:sp>
      <p:sp>
        <p:nvSpPr>
          <p:cNvPr id="91" name="TextBox 90">
            <a:extLst>
              <a:ext uri="{FF2B5EF4-FFF2-40B4-BE49-F238E27FC236}">
                <a16:creationId xmlns:a16="http://schemas.microsoft.com/office/drawing/2014/main" id="{62203AE7-F408-4C72-9F53-50807A21E657}"/>
              </a:ext>
            </a:extLst>
          </p:cNvPr>
          <p:cNvSpPr txBox="1"/>
          <p:nvPr/>
        </p:nvSpPr>
        <p:spPr>
          <a:xfrm>
            <a:off x="453858"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earch</a:t>
            </a:r>
          </a:p>
        </p:txBody>
      </p:sp>
      <p:sp>
        <p:nvSpPr>
          <p:cNvPr id="92" name="TextBox 91">
            <a:extLst>
              <a:ext uri="{FF2B5EF4-FFF2-40B4-BE49-F238E27FC236}">
                <a16:creationId xmlns:a16="http://schemas.microsoft.com/office/drawing/2014/main" id="{66DF79B5-480A-4472-A893-51B2B7CDF192}"/>
              </a:ext>
            </a:extLst>
          </p:cNvPr>
          <p:cNvSpPr txBox="1"/>
          <p:nvPr/>
        </p:nvSpPr>
        <p:spPr>
          <a:xfrm>
            <a:off x="1324351"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Zoom in</a:t>
            </a:r>
          </a:p>
        </p:txBody>
      </p:sp>
      <p:sp>
        <p:nvSpPr>
          <p:cNvPr id="93" name="TextBox 92">
            <a:extLst>
              <a:ext uri="{FF2B5EF4-FFF2-40B4-BE49-F238E27FC236}">
                <a16:creationId xmlns:a16="http://schemas.microsoft.com/office/drawing/2014/main" id="{7CA8F4C3-FA44-4C8B-A395-B0AD84CD8F30}"/>
              </a:ext>
            </a:extLst>
          </p:cNvPr>
          <p:cNvSpPr txBox="1"/>
          <p:nvPr/>
        </p:nvSpPr>
        <p:spPr>
          <a:xfrm>
            <a:off x="2194844"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Zoom out</a:t>
            </a:r>
          </a:p>
        </p:txBody>
      </p:sp>
      <p:sp>
        <p:nvSpPr>
          <p:cNvPr id="94" name="TextBox 93">
            <a:extLst>
              <a:ext uri="{FF2B5EF4-FFF2-40B4-BE49-F238E27FC236}">
                <a16:creationId xmlns:a16="http://schemas.microsoft.com/office/drawing/2014/main" id="{D4D9732D-75EE-4A6F-A76C-B7B2E93888E0}"/>
              </a:ext>
            </a:extLst>
          </p:cNvPr>
          <p:cNvSpPr txBox="1"/>
          <p:nvPr/>
        </p:nvSpPr>
        <p:spPr>
          <a:xfrm>
            <a:off x="3065337"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ettins (Cog)</a:t>
            </a:r>
          </a:p>
        </p:txBody>
      </p:sp>
      <p:grpSp>
        <p:nvGrpSpPr>
          <p:cNvPr id="95" name="Group 892">
            <a:extLst>
              <a:ext uri="{FF2B5EF4-FFF2-40B4-BE49-F238E27FC236}">
                <a16:creationId xmlns:a16="http://schemas.microsoft.com/office/drawing/2014/main" id="{2757ADD0-9FCD-4357-A974-613D17F9EA9C}"/>
              </a:ext>
            </a:extLst>
          </p:cNvPr>
          <p:cNvGrpSpPr>
            <a:grpSpLocks noChangeAspect="1"/>
          </p:cNvGrpSpPr>
          <p:nvPr/>
        </p:nvGrpSpPr>
        <p:grpSpPr bwMode="auto">
          <a:xfrm>
            <a:off x="912991" y="1697045"/>
            <a:ext cx="369021" cy="370106"/>
            <a:chOff x="4270" y="3457"/>
            <a:chExt cx="340" cy="341"/>
          </a:xfrm>
          <a:solidFill>
            <a:schemeClr val="accent4"/>
          </a:solidFill>
        </p:grpSpPr>
        <p:sp>
          <p:nvSpPr>
            <p:cNvPr id="96" name="Freeform 893">
              <a:extLst>
                <a:ext uri="{FF2B5EF4-FFF2-40B4-BE49-F238E27FC236}">
                  <a16:creationId xmlns:a16="http://schemas.microsoft.com/office/drawing/2014/main" id="{E0BB4B11-2128-4E5C-8240-12E3E0EF799D}"/>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 name="Freeform 894">
              <a:extLst>
                <a:ext uri="{FF2B5EF4-FFF2-40B4-BE49-F238E27FC236}">
                  <a16:creationId xmlns:a16="http://schemas.microsoft.com/office/drawing/2014/main" id="{0449A8C8-2EEC-46DE-A91C-9484DFFD1438}"/>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8" name="Group 897">
            <a:extLst>
              <a:ext uri="{FF2B5EF4-FFF2-40B4-BE49-F238E27FC236}">
                <a16:creationId xmlns:a16="http://schemas.microsoft.com/office/drawing/2014/main" id="{95F666DB-592A-49C5-9EAF-875263C62C93}"/>
              </a:ext>
            </a:extLst>
          </p:cNvPr>
          <p:cNvGrpSpPr>
            <a:grpSpLocks noChangeAspect="1"/>
          </p:cNvGrpSpPr>
          <p:nvPr/>
        </p:nvGrpSpPr>
        <p:grpSpPr bwMode="auto">
          <a:xfrm>
            <a:off x="478201" y="1697045"/>
            <a:ext cx="369021" cy="369021"/>
            <a:chOff x="3891" y="3455"/>
            <a:chExt cx="340" cy="340"/>
          </a:xfrm>
          <a:solidFill>
            <a:schemeClr val="accent4"/>
          </a:solidFill>
        </p:grpSpPr>
        <p:sp>
          <p:nvSpPr>
            <p:cNvPr id="99" name="Freeform 898">
              <a:extLst>
                <a:ext uri="{FF2B5EF4-FFF2-40B4-BE49-F238E27FC236}">
                  <a16:creationId xmlns:a16="http://schemas.microsoft.com/office/drawing/2014/main" id="{7E03FB80-FECF-49EE-B4DB-FE8095496307}"/>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 name="Oval 899">
              <a:extLst>
                <a:ext uri="{FF2B5EF4-FFF2-40B4-BE49-F238E27FC236}">
                  <a16:creationId xmlns:a16="http://schemas.microsoft.com/office/drawing/2014/main" id="{919D14A3-51DE-4153-9415-D23C1671B02B}"/>
                </a:ext>
              </a:extLst>
            </p:cNvPr>
            <p:cNvSpPr>
              <a:spLocks noChangeArrowheads="1"/>
            </p:cNvSpPr>
            <p:nvPr/>
          </p:nvSpPr>
          <p:spPr bwMode="auto">
            <a:xfrm>
              <a:off x="3969" y="3533"/>
              <a:ext cx="113" cy="11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1" name="Group 925">
            <a:extLst>
              <a:ext uri="{FF2B5EF4-FFF2-40B4-BE49-F238E27FC236}">
                <a16:creationId xmlns:a16="http://schemas.microsoft.com/office/drawing/2014/main" id="{A4C67B40-84FD-4B6E-89E1-ED52674BEB22}"/>
              </a:ext>
            </a:extLst>
          </p:cNvPr>
          <p:cNvGrpSpPr>
            <a:grpSpLocks noChangeAspect="1"/>
          </p:cNvGrpSpPr>
          <p:nvPr/>
        </p:nvGrpSpPr>
        <p:grpSpPr bwMode="auto">
          <a:xfrm>
            <a:off x="1784313" y="1697045"/>
            <a:ext cx="378373" cy="356628"/>
            <a:chOff x="1152" y="3440"/>
            <a:chExt cx="348" cy="328"/>
          </a:xfrm>
          <a:solidFill>
            <a:schemeClr val="accent4"/>
          </a:solidFill>
        </p:grpSpPr>
        <p:sp>
          <p:nvSpPr>
            <p:cNvPr id="102" name="Freeform 926">
              <a:extLst>
                <a:ext uri="{FF2B5EF4-FFF2-40B4-BE49-F238E27FC236}">
                  <a16:creationId xmlns:a16="http://schemas.microsoft.com/office/drawing/2014/main" id="{3666D967-0376-4F3B-9107-B5167356A0F4}"/>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 name="Freeform 927">
              <a:extLst>
                <a:ext uri="{FF2B5EF4-FFF2-40B4-BE49-F238E27FC236}">
                  <a16:creationId xmlns:a16="http://schemas.microsoft.com/office/drawing/2014/main" id="{E416069F-454B-491B-9A69-E5BC96BDC6A6}"/>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4" name="Freeform 928">
              <a:extLst>
                <a:ext uri="{FF2B5EF4-FFF2-40B4-BE49-F238E27FC236}">
                  <a16:creationId xmlns:a16="http://schemas.microsoft.com/office/drawing/2014/main" id="{AFF06C1E-6850-4F6B-9063-39F5F387D048}"/>
                </a:ext>
              </a:extLst>
            </p:cNvPr>
            <p:cNvSpPr>
              <a:spLocks noEditPoints="1"/>
            </p:cNvSpPr>
            <p:nvPr/>
          </p:nvSpPr>
          <p:spPr bwMode="auto">
            <a:xfrm>
              <a:off x="1152" y="3440"/>
              <a:ext cx="348" cy="3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5" name="Freeform 932">
            <a:extLst>
              <a:ext uri="{FF2B5EF4-FFF2-40B4-BE49-F238E27FC236}">
                <a16:creationId xmlns:a16="http://schemas.microsoft.com/office/drawing/2014/main" id="{1BA8B578-0926-4B82-B6CB-C27311889F9E}"/>
              </a:ext>
            </a:extLst>
          </p:cNvPr>
          <p:cNvSpPr>
            <a:spLocks noChangeAspect="1" noEditPoints="1"/>
          </p:cNvSpPr>
          <p:nvPr/>
        </p:nvSpPr>
        <p:spPr bwMode="auto">
          <a:xfrm>
            <a:off x="1347781" y="1697045"/>
            <a:ext cx="370763" cy="369676"/>
          </a:xfrm>
          <a:custGeom>
            <a:avLst/>
            <a:gdLst>
              <a:gd name="T0" fmla="*/ 202 w 512"/>
              <a:gd name="T1" fmla="*/ 117 h 512"/>
              <a:gd name="T2" fmla="*/ 117 w 512"/>
              <a:gd name="T3" fmla="*/ 202 h 512"/>
              <a:gd name="T4" fmla="*/ 202 w 512"/>
              <a:gd name="T5" fmla="*/ 288 h 512"/>
              <a:gd name="T6" fmla="*/ 288 w 512"/>
              <a:gd name="T7" fmla="*/ 202 h 512"/>
              <a:gd name="T8" fmla="*/ 202 w 512"/>
              <a:gd name="T9" fmla="*/ 117 h 512"/>
              <a:gd name="T10" fmla="*/ 245 w 512"/>
              <a:gd name="T11" fmla="*/ 213 h 512"/>
              <a:gd name="T12" fmla="*/ 213 w 512"/>
              <a:gd name="T13" fmla="*/ 213 h 512"/>
              <a:gd name="T14" fmla="*/ 213 w 512"/>
              <a:gd name="T15" fmla="*/ 245 h 512"/>
              <a:gd name="T16" fmla="*/ 202 w 512"/>
              <a:gd name="T17" fmla="*/ 256 h 512"/>
              <a:gd name="T18" fmla="*/ 192 w 512"/>
              <a:gd name="T19" fmla="*/ 245 h 512"/>
              <a:gd name="T20" fmla="*/ 192 w 512"/>
              <a:gd name="T21" fmla="*/ 213 h 512"/>
              <a:gd name="T22" fmla="*/ 160 w 512"/>
              <a:gd name="T23" fmla="*/ 213 h 512"/>
              <a:gd name="T24" fmla="*/ 149 w 512"/>
              <a:gd name="T25" fmla="*/ 202 h 512"/>
              <a:gd name="T26" fmla="*/ 160 w 512"/>
              <a:gd name="T27" fmla="*/ 192 h 512"/>
              <a:gd name="T28" fmla="*/ 192 w 512"/>
              <a:gd name="T29" fmla="*/ 192 h 512"/>
              <a:gd name="T30" fmla="*/ 192 w 512"/>
              <a:gd name="T31" fmla="*/ 160 h 512"/>
              <a:gd name="T32" fmla="*/ 202 w 512"/>
              <a:gd name="T33" fmla="*/ 149 h 512"/>
              <a:gd name="T34" fmla="*/ 213 w 512"/>
              <a:gd name="T35" fmla="*/ 160 h 512"/>
              <a:gd name="T36" fmla="*/ 213 w 512"/>
              <a:gd name="T37" fmla="*/ 192 h 512"/>
              <a:gd name="T38" fmla="*/ 245 w 512"/>
              <a:gd name="T39" fmla="*/ 192 h 512"/>
              <a:gd name="T40" fmla="*/ 256 w 512"/>
              <a:gd name="T41" fmla="*/ 202 h 512"/>
              <a:gd name="T42" fmla="*/ 245 w 512"/>
              <a:gd name="T43" fmla="*/ 213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81 w 512"/>
              <a:gd name="T55" fmla="*/ 381 h 512"/>
              <a:gd name="T56" fmla="*/ 373 w 512"/>
              <a:gd name="T57" fmla="*/ 384 h 512"/>
              <a:gd name="T58" fmla="*/ 365 w 512"/>
              <a:gd name="T59" fmla="*/ 381 h 512"/>
              <a:gd name="T60" fmla="*/ 270 w 512"/>
              <a:gd name="T61" fmla="*/ 285 h 512"/>
              <a:gd name="T62" fmla="*/ 202 w 512"/>
              <a:gd name="T63" fmla="*/ 309 h 512"/>
              <a:gd name="T64" fmla="*/ 96 w 512"/>
              <a:gd name="T65" fmla="*/ 202 h 512"/>
              <a:gd name="T66" fmla="*/ 202 w 512"/>
              <a:gd name="T67" fmla="*/ 96 h 512"/>
              <a:gd name="T68" fmla="*/ 309 w 512"/>
              <a:gd name="T69" fmla="*/ 202 h 512"/>
              <a:gd name="T70" fmla="*/ 285 w 512"/>
              <a:gd name="T71" fmla="*/ 270 h 512"/>
              <a:gd name="T72" fmla="*/ 381 w 512"/>
              <a:gd name="T73" fmla="*/ 365 h 512"/>
              <a:gd name="T74" fmla="*/ 381 w 512"/>
              <a:gd name="T75"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02" y="117"/>
                </a:moveTo>
                <a:cubicBezTo>
                  <a:pt x="155" y="117"/>
                  <a:pt x="117" y="155"/>
                  <a:pt x="117" y="202"/>
                </a:cubicBezTo>
                <a:cubicBezTo>
                  <a:pt x="117" y="249"/>
                  <a:pt x="155" y="288"/>
                  <a:pt x="202" y="288"/>
                </a:cubicBezTo>
                <a:cubicBezTo>
                  <a:pt x="249" y="288"/>
                  <a:pt x="288" y="249"/>
                  <a:pt x="288" y="202"/>
                </a:cubicBezTo>
                <a:cubicBezTo>
                  <a:pt x="288" y="155"/>
                  <a:pt x="249" y="117"/>
                  <a:pt x="202" y="117"/>
                </a:cubicBezTo>
                <a:close/>
                <a:moveTo>
                  <a:pt x="245" y="213"/>
                </a:moveTo>
                <a:cubicBezTo>
                  <a:pt x="213" y="213"/>
                  <a:pt x="213" y="213"/>
                  <a:pt x="213" y="213"/>
                </a:cubicBezTo>
                <a:cubicBezTo>
                  <a:pt x="213" y="245"/>
                  <a:pt x="213" y="245"/>
                  <a:pt x="213" y="245"/>
                </a:cubicBezTo>
                <a:cubicBezTo>
                  <a:pt x="213" y="251"/>
                  <a:pt x="208" y="256"/>
                  <a:pt x="202" y="256"/>
                </a:cubicBezTo>
                <a:cubicBezTo>
                  <a:pt x="196" y="256"/>
                  <a:pt x="192" y="251"/>
                  <a:pt x="192" y="245"/>
                </a:cubicBezTo>
                <a:cubicBezTo>
                  <a:pt x="192" y="213"/>
                  <a:pt x="192" y="213"/>
                  <a:pt x="192" y="213"/>
                </a:cubicBezTo>
                <a:cubicBezTo>
                  <a:pt x="160" y="213"/>
                  <a:pt x="160" y="213"/>
                  <a:pt x="160" y="213"/>
                </a:cubicBezTo>
                <a:cubicBezTo>
                  <a:pt x="154" y="213"/>
                  <a:pt x="149" y="208"/>
                  <a:pt x="149" y="202"/>
                </a:cubicBezTo>
                <a:cubicBezTo>
                  <a:pt x="149" y="196"/>
                  <a:pt x="154" y="192"/>
                  <a:pt x="160" y="192"/>
                </a:cubicBezTo>
                <a:cubicBezTo>
                  <a:pt x="192" y="192"/>
                  <a:pt x="192" y="192"/>
                  <a:pt x="192" y="192"/>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45" y="192"/>
                  <a:pt x="245" y="192"/>
                  <a:pt x="245" y="192"/>
                </a:cubicBezTo>
                <a:cubicBezTo>
                  <a:pt x="251" y="192"/>
                  <a:pt x="256" y="196"/>
                  <a:pt x="256" y="202"/>
                </a:cubicBezTo>
                <a:cubicBezTo>
                  <a:pt x="256" y="208"/>
                  <a:pt x="251" y="213"/>
                  <a:pt x="245"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6" name="Group 915">
            <a:extLst>
              <a:ext uri="{FF2B5EF4-FFF2-40B4-BE49-F238E27FC236}">
                <a16:creationId xmlns:a16="http://schemas.microsoft.com/office/drawing/2014/main" id="{A66A3061-D5E1-4C30-83AC-92EDC69F2CE1}"/>
              </a:ext>
            </a:extLst>
          </p:cNvPr>
          <p:cNvGrpSpPr>
            <a:grpSpLocks noChangeAspect="1"/>
          </p:cNvGrpSpPr>
          <p:nvPr/>
        </p:nvGrpSpPr>
        <p:grpSpPr bwMode="auto">
          <a:xfrm>
            <a:off x="2663900" y="1697045"/>
            <a:ext cx="369676" cy="369676"/>
            <a:chOff x="1926" y="3440"/>
            <a:chExt cx="340" cy="340"/>
          </a:xfrm>
          <a:solidFill>
            <a:schemeClr val="accent4"/>
          </a:solidFill>
        </p:grpSpPr>
        <p:sp>
          <p:nvSpPr>
            <p:cNvPr id="107" name="Freeform 916">
              <a:extLst>
                <a:ext uri="{FF2B5EF4-FFF2-40B4-BE49-F238E27FC236}">
                  <a16:creationId xmlns:a16="http://schemas.microsoft.com/office/drawing/2014/main" id="{BF9156C6-6F58-4F5D-BB68-DA916BE24C90}"/>
                </a:ext>
              </a:extLst>
            </p:cNvPr>
            <p:cNvSpPr>
              <a:spLocks noEditPoints="1"/>
            </p:cNvSpPr>
            <p:nvPr/>
          </p:nvSpPr>
          <p:spPr bwMode="auto">
            <a:xfrm>
              <a:off x="1990"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8" name="Freeform 917">
              <a:extLst>
                <a:ext uri="{FF2B5EF4-FFF2-40B4-BE49-F238E27FC236}">
                  <a16:creationId xmlns:a16="http://schemas.microsoft.com/office/drawing/2014/main" id="{26CED479-99EF-4CEA-A97E-96DDF84E9E43}"/>
                </a:ext>
              </a:extLst>
            </p:cNvPr>
            <p:cNvSpPr>
              <a:spLocks/>
            </p:cNvSpPr>
            <p:nvPr/>
          </p:nvSpPr>
          <p:spPr bwMode="auto">
            <a:xfrm>
              <a:off x="2025" y="3567"/>
              <a:ext cx="71" cy="14"/>
            </a:xfrm>
            <a:custGeom>
              <a:avLst/>
              <a:gdLst>
                <a:gd name="T0" fmla="*/ 96 w 107"/>
                <a:gd name="T1" fmla="*/ 0 h 21"/>
                <a:gd name="T2" fmla="*/ 11 w 107"/>
                <a:gd name="T3" fmla="*/ 0 h 21"/>
                <a:gd name="T4" fmla="*/ 0 w 107"/>
                <a:gd name="T5" fmla="*/ 10 h 21"/>
                <a:gd name="T6" fmla="*/ 11 w 107"/>
                <a:gd name="T7" fmla="*/ 21 h 21"/>
                <a:gd name="T8" fmla="*/ 96 w 107"/>
                <a:gd name="T9" fmla="*/ 21 h 21"/>
                <a:gd name="T10" fmla="*/ 107 w 107"/>
                <a:gd name="T11" fmla="*/ 10 h 21"/>
                <a:gd name="T12" fmla="*/ 96 w 107"/>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07" h="21">
                  <a:moveTo>
                    <a:pt x="96" y="0"/>
                  </a:moveTo>
                  <a:cubicBezTo>
                    <a:pt x="11" y="0"/>
                    <a:pt x="11" y="0"/>
                    <a:pt x="11" y="0"/>
                  </a:cubicBezTo>
                  <a:cubicBezTo>
                    <a:pt x="5" y="0"/>
                    <a:pt x="0" y="4"/>
                    <a:pt x="0" y="10"/>
                  </a:cubicBezTo>
                  <a:cubicBezTo>
                    <a:pt x="0" y="16"/>
                    <a:pt x="5" y="21"/>
                    <a:pt x="11" y="21"/>
                  </a:cubicBezTo>
                  <a:cubicBezTo>
                    <a:pt x="96" y="21"/>
                    <a:pt x="96" y="21"/>
                    <a:pt x="96" y="21"/>
                  </a:cubicBezTo>
                  <a:cubicBezTo>
                    <a:pt x="102" y="21"/>
                    <a:pt x="107" y="16"/>
                    <a:pt x="107" y="10"/>
                  </a:cubicBezTo>
                  <a:cubicBezTo>
                    <a:pt x="107" y="4"/>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918">
              <a:extLst>
                <a:ext uri="{FF2B5EF4-FFF2-40B4-BE49-F238E27FC236}">
                  <a16:creationId xmlns:a16="http://schemas.microsoft.com/office/drawing/2014/main" id="{707D890A-66D8-454C-8796-FFFAAC08C83C}"/>
                </a:ext>
              </a:extLst>
            </p:cNvPr>
            <p:cNvSpPr>
              <a:spLocks noEditPoints="1"/>
            </p:cNvSpPr>
            <p:nvPr/>
          </p:nvSpPr>
          <p:spPr bwMode="auto">
            <a:xfrm>
              <a:off x="1926" y="34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0" name="Freeform 922">
            <a:extLst>
              <a:ext uri="{FF2B5EF4-FFF2-40B4-BE49-F238E27FC236}">
                <a16:creationId xmlns:a16="http://schemas.microsoft.com/office/drawing/2014/main" id="{6CECBF5C-F2CF-467A-8780-E1F423FF537E}"/>
              </a:ext>
            </a:extLst>
          </p:cNvPr>
          <p:cNvSpPr>
            <a:spLocks noChangeAspect="1" noEditPoints="1"/>
          </p:cNvSpPr>
          <p:nvPr/>
        </p:nvSpPr>
        <p:spPr bwMode="auto">
          <a:xfrm>
            <a:off x="2228455" y="1697045"/>
            <a:ext cx="369676" cy="369676"/>
          </a:xfrm>
          <a:custGeom>
            <a:avLst/>
            <a:gdLst>
              <a:gd name="T0" fmla="*/ 202 w 512"/>
              <a:gd name="T1" fmla="*/ 117 h 512"/>
              <a:gd name="T2" fmla="*/ 117 w 512"/>
              <a:gd name="T3" fmla="*/ 202 h 512"/>
              <a:gd name="T4" fmla="*/ 202 w 512"/>
              <a:gd name="T5" fmla="*/ 288 h 512"/>
              <a:gd name="T6" fmla="*/ 288 w 512"/>
              <a:gd name="T7" fmla="*/ 202 h 512"/>
              <a:gd name="T8" fmla="*/ 202 w 512"/>
              <a:gd name="T9" fmla="*/ 117 h 512"/>
              <a:gd name="T10" fmla="*/ 245 w 512"/>
              <a:gd name="T11" fmla="*/ 213 h 512"/>
              <a:gd name="T12" fmla="*/ 160 w 512"/>
              <a:gd name="T13" fmla="*/ 213 h 512"/>
              <a:gd name="T14" fmla="*/ 149 w 512"/>
              <a:gd name="T15" fmla="*/ 202 h 512"/>
              <a:gd name="T16" fmla="*/ 160 w 512"/>
              <a:gd name="T17" fmla="*/ 192 h 512"/>
              <a:gd name="T18" fmla="*/ 245 w 512"/>
              <a:gd name="T19" fmla="*/ 192 h 512"/>
              <a:gd name="T20" fmla="*/ 256 w 512"/>
              <a:gd name="T21" fmla="*/ 202 h 512"/>
              <a:gd name="T22" fmla="*/ 245 w 512"/>
              <a:gd name="T23" fmla="*/ 213 h 512"/>
              <a:gd name="T24" fmla="*/ 256 w 512"/>
              <a:gd name="T25" fmla="*/ 0 h 512"/>
              <a:gd name="T26" fmla="*/ 0 w 512"/>
              <a:gd name="T27" fmla="*/ 256 h 512"/>
              <a:gd name="T28" fmla="*/ 256 w 512"/>
              <a:gd name="T29" fmla="*/ 512 h 512"/>
              <a:gd name="T30" fmla="*/ 512 w 512"/>
              <a:gd name="T31" fmla="*/ 256 h 512"/>
              <a:gd name="T32" fmla="*/ 256 w 512"/>
              <a:gd name="T33" fmla="*/ 0 h 512"/>
              <a:gd name="T34" fmla="*/ 381 w 512"/>
              <a:gd name="T35" fmla="*/ 381 h 512"/>
              <a:gd name="T36" fmla="*/ 373 w 512"/>
              <a:gd name="T37" fmla="*/ 384 h 512"/>
              <a:gd name="T38" fmla="*/ 365 w 512"/>
              <a:gd name="T39" fmla="*/ 381 h 512"/>
              <a:gd name="T40" fmla="*/ 270 w 512"/>
              <a:gd name="T41" fmla="*/ 285 h 512"/>
              <a:gd name="T42" fmla="*/ 202 w 512"/>
              <a:gd name="T43" fmla="*/ 309 h 512"/>
              <a:gd name="T44" fmla="*/ 96 w 512"/>
              <a:gd name="T45" fmla="*/ 202 h 512"/>
              <a:gd name="T46" fmla="*/ 202 w 512"/>
              <a:gd name="T47" fmla="*/ 96 h 512"/>
              <a:gd name="T48" fmla="*/ 309 w 512"/>
              <a:gd name="T49" fmla="*/ 202 h 512"/>
              <a:gd name="T50" fmla="*/ 285 w 512"/>
              <a:gd name="T51" fmla="*/ 270 h 512"/>
              <a:gd name="T52" fmla="*/ 381 w 512"/>
              <a:gd name="T53" fmla="*/ 365 h 512"/>
              <a:gd name="T54" fmla="*/ 381 w 512"/>
              <a:gd name="T55"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02" y="117"/>
                </a:moveTo>
                <a:cubicBezTo>
                  <a:pt x="155" y="117"/>
                  <a:pt x="117" y="155"/>
                  <a:pt x="117" y="202"/>
                </a:cubicBezTo>
                <a:cubicBezTo>
                  <a:pt x="117" y="249"/>
                  <a:pt x="155" y="288"/>
                  <a:pt x="202" y="288"/>
                </a:cubicBezTo>
                <a:cubicBezTo>
                  <a:pt x="249" y="288"/>
                  <a:pt x="288" y="249"/>
                  <a:pt x="288" y="202"/>
                </a:cubicBezTo>
                <a:cubicBezTo>
                  <a:pt x="288" y="155"/>
                  <a:pt x="249" y="117"/>
                  <a:pt x="202" y="117"/>
                </a:cubicBezTo>
                <a:close/>
                <a:moveTo>
                  <a:pt x="245" y="213"/>
                </a:moveTo>
                <a:cubicBezTo>
                  <a:pt x="160" y="213"/>
                  <a:pt x="160" y="213"/>
                  <a:pt x="160" y="213"/>
                </a:cubicBezTo>
                <a:cubicBezTo>
                  <a:pt x="154" y="213"/>
                  <a:pt x="149" y="208"/>
                  <a:pt x="149" y="202"/>
                </a:cubicBezTo>
                <a:cubicBezTo>
                  <a:pt x="149" y="196"/>
                  <a:pt x="154" y="192"/>
                  <a:pt x="160" y="192"/>
                </a:cubicBezTo>
                <a:cubicBezTo>
                  <a:pt x="245" y="192"/>
                  <a:pt x="245" y="192"/>
                  <a:pt x="245" y="192"/>
                </a:cubicBezTo>
                <a:cubicBezTo>
                  <a:pt x="251" y="192"/>
                  <a:pt x="256" y="196"/>
                  <a:pt x="256" y="202"/>
                </a:cubicBezTo>
                <a:cubicBezTo>
                  <a:pt x="256" y="208"/>
                  <a:pt x="251" y="213"/>
                  <a:pt x="245"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1" name="Freeform 26">
            <a:extLst>
              <a:ext uri="{FF2B5EF4-FFF2-40B4-BE49-F238E27FC236}">
                <a16:creationId xmlns:a16="http://schemas.microsoft.com/office/drawing/2014/main" id="{B5BC4596-5E3A-4C70-9DCB-B976DBE195AB}"/>
              </a:ext>
            </a:extLst>
          </p:cNvPr>
          <p:cNvSpPr>
            <a:spLocks noChangeAspect="1" noEditPoints="1"/>
          </p:cNvSpPr>
          <p:nvPr/>
        </p:nvSpPr>
        <p:spPr bwMode="auto">
          <a:xfrm>
            <a:off x="3099345" y="1697045"/>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2" name="Group 29">
            <a:extLst>
              <a:ext uri="{FF2B5EF4-FFF2-40B4-BE49-F238E27FC236}">
                <a16:creationId xmlns:a16="http://schemas.microsoft.com/office/drawing/2014/main" id="{9899D153-3AA6-45E2-8A76-41BC6CC0A6A6}"/>
              </a:ext>
            </a:extLst>
          </p:cNvPr>
          <p:cNvGrpSpPr>
            <a:grpSpLocks noChangeAspect="1"/>
          </p:cNvGrpSpPr>
          <p:nvPr/>
        </p:nvGrpSpPr>
        <p:grpSpPr bwMode="auto">
          <a:xfrm>
            <a:off x="3532745" y="1697045"/>
            <a:ext cx="367631" cy="367631"/>
            <a:chOff x="2899" y="653"/>
            <a:chExt cx="340" cy="340"/>
          </a:xfrm>
          <a:solidFill>
            <a:schemeClr val="accent1"/>
          </a:solidFill>
        </p:grpSpPr>
        <p:sp>
          <p:nvSpPr>
            <p:cNvPr id="113" name="Freeform 30">
              <a:extLst>
                <a:ext uri="{FF2B5EF4-FFF2-40B4-BE49-F238E27FC236}">
                  <a16:creationId xmlns:a16="http://schemas.microsoft.com/office/drawing/2014/main" id="{DB186A54-3421-42F1-A02F-143145EE3234}"/>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4" name="Freeform 31">
              <a:extLst>
                <a:ext uri="{FF2B5EF4-FFF2-40B4-BE49-F238E27FC236}">
                  <a16:creationId xmlns:a16="http://schemas.microsoft.com/office/drawing/2014/main" id="{C505A303-F033-456A-A49E-BCEE886F283F}"/>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5" name="Freeform 32">
              <a:extLst>
                <a:ext uri="{FF2B5EF4-FFF2-40B4-BE49-F238E27FC236}">
                  <a16:creationId xmlns:a16="http://schemas.microsoft.com/office/drawing/2014/main" id="{1BC934E7-0F73-4A69-9434-99917C7F5D52}"/>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6" name="TextBox 115">
            <a:extLst>
              <a:ext uri="{FF2B5EF4-FFF2-40B4-BE49-F238E27FC236}">
                <a16:creationId xmlns:a16="http://schemas.microsoft.com/office/drawing/2014/main" id="{A019473E-D96D-4E7D-AF4B-A5BA7F62C326}"/>
              </a:ext>
            </a:extLst>
          </p:cNvPr>
          <p:cNvSpPr txBox="1"/>
          <p:nvPr/>
        </p:nvSpPr>
        <p:spPr>
          <a:xfrm>
            <a:off x="3935830"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rop</a:t>
            </a:r>
          </a:p>
        </p:txBody>
      </p:sp>
      <p:sp>
        <p:nvSpPr>
          <p:cNvPr id="117" name="TextBox 116">
            <a:extLst>
              <a:ext uri="{FF2B5EF4-FFF2-40B4-BE49-F238E27FC236}">
                <a16:creationId xmlns:a16="http://schemas.microsoft.com/office/drawing/2014/main" id="{38372115-43BF-46BF-85E9-BAD8E978F71A}"/>
              </a:ext>
            </a:extLst>
          </p:cNvPr>
          <p:cNvSpPr txBox="1"/>
          <p:nvPr/>
        </p:nvSpPr>
        <p:spPr>
          <a:xfrm>
            <a:off x="4806323"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xternal link</a:t>
            </a:r>
          </a:p>
        </p:txBody>
      </p:sp>
      <p:sp>
        <p:nvSpPr>
          <p:cNvPr id="118" name="TextBox 117">
            <a:extLst>
              <a:ext uri="{FF2B5EF4-FFF2-40B4-BE49-F238E27FC236}">
                <a16:creationId xmlns:a16="http://schemas.microsoft.com/office/drawing/2014/main" id="{35337C0A-9626-4A8C-8F37-D3D6EC6D2A25}"/>
              </a:ext>
            </a:extLst>
          </p:cNvPr>
          <p:cNvSpPr txBox="1"/>
          <p:nvPr/>
        </p:nvSpPr>
        <p:spPr>
          <a:xfrm>
            <a:off x="5676816"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ursor</a:t>
            </a:r>
          </a:p>
        </p:txBody>
      </p:sp>
      <p:sp>
        <p:nvSpPr>
          <p:cNvPr id="119" name="Freeform 537">
            <a:extLst>
              <a:ext uri="{FF2B5EF4-FFF2-40B4-BE49-F238E27FC236}">
                <a16:creationId xmlns:a16="http://schemas.microsoft.com/office/drawing/2014/main" id="{FCC2F9B0-9C1D-4964-B829-66532771D6E8}"/>
              </a:ext>
            </a:extLst>
          </p:cNvPr>
          <p:cNvSpPr>
            <a:spLocks noChangeAspect="1" noEditPoints="1"/>
          </p:cNvSpPr>
          <p:nvPr/>
        </p:nvSpPr>
        <p:spPr bwMode="auto">
          <a:xfrm>
            <a:off x="4832945" y="1697045"/>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245 w 512"/>
              <a:gd name="T23" fmla="*/ 117 h 512"/>
              <a:gd name="T24" fmla="*/ 256 w 512"/>
              <a:gd name="T25" fmla="*/ 128 h 512"/>
              <a:gd name="T26" fmla="*/ 245 w 512"/>
              <a:gd name="T27" fmla="*/ 138 h 512"/>
              <a:gd name="T28" fmla="*/ 138 w 512"/>
              <a:gd name="T29" fmla="*/ 138 h 512"/>
              <a:gd name="T30" fmla="*/ 138 w 512"/>
              <a:gd name="T31" fmla="*/ 373 h 512"/>
              <a:gd name="T32" fmla="*/ 373 w 512"/>
              <a:gd name="T33" fmla="*/ 373 h 512"/>
              <a:gd name="T34" fmla="*/ 373 w 512"/>
              <a:gd name="T35" fmla="*/ 266 h 512"/>
              <a:gd name="T36" fmla="*/ 384 w 512"/>
              <a:gd name="T37" fmla="*/ 256 h 512"/>
              <a:gd name="T38" fmla="*/ 394 w 512"/>
              <a:gd name="T39" fmla="*/ 266 h 512"/>
              <a:gd name="T40" fmla="*/ 394 w 512"/>
              <a:gd name="T41" fmla="*/ 384 h 512"/>
              <a:gd name="T42" fmla="*/ 394 w 512"/>
              <a:gd name="T43" fmla="*/ 213 h 512"/>
              <a:gd name="T44" fmla="*/ 384 w 512"/>
              <a:gd name="T45" fmla="*/ 224 h 512"/>
              <a:gd name="T46" fmla="*/ 373 w 512"/>
              <a:gd name="T47" fmla="*/ 213 h 512"/>
              <a:gd name="T48" fmla="*/ 373 w 512"/>
              <a:gd name="T49" fmla="*/ 153 h 512"/>
              <a:gd name="T50" fmla="*/ 263 w 512"/>
              <a:gd name="T51" fmla="*/ 263 h 512"/>
              <a:gd name="T52" fmla="*/ 256 w 512"/>
              <a:gd name="T53" fmla="*/ 266 h 512"/>
              <a:gd name="T54" fmla="*/ 248 w 512"/>
              <a:gd name="T55" fmla="*/ 263 h 512"/>
              <a:gd name="T56" fmla="*/ 248 w 512"/>
              <a:gd name="T57" fmla="*/ 248 h 512"/>
              <a:gd name="T58" fmla="*/ 358 w 512"/>
              <a:gd name="T59" fmla="*/ 138 h 512"/>
              <a:gd name="T60" fmla="*/ 298 w 512"/>
              <a:gd name="T61" fmla="*/ 138 h 512"/>
              <a:gd name="T62" fmla="*/ 288 w 512"/>
              <a:gd name="T63" fmla="*/ 128 h 512"/>
              <a:gd name="T64" fmla="*/ 298 w 512"/>
              <a:gd name="T65" fmla="*/ 117 h 512"/>
              <a:gd name="T66" fmla="*/ 384 w 512"/>
              <a:gd name="T67" fmla="*/ 117 h 512"/>
              <a:gd name="T68" fmla="*/ 388 w 512"/>
              <a:gd name="T69" fmla="*/ 118 h 512"/>
              <a:gd name="T70" fmla="*/ 394 w 512"/>
              <a:gd name="T71" fmla="*/ 124 h 512"/>
              <a:gd name="T72" fmla="*/ 394 w 512"/>
              <a:gd name="T73" fmla="*/ 128 h 512"/>
              <a:gd name="T74" fmla="*/ 394 w 512"/>
              <a:gd name="T7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245" y="117"/>
                  <a:pt x="245" y="117"/>
                  <a:pt x="245" y="117"/>
                </a:cubicBezTo>
                <a:cubicBezTo>
                  <a:pt x="251" y="117"/>
                  <a:pt x="256" y="122"/>
                  <a:pt x="256" y="128"/>
                </a:cubicBezTo>
                <a:cubicBezTo>
                  <a:pt x="256" y="134"/>
                  <a:pt x="251" y="138"/>
                  <a:pt x="245" y="138"/>
                </a:cubicBezTo>
                <a:cubicBezTo>
                  <a:pt x="138" y="138"/>
                  <a:pt x="138" y="138"/>
                  <a:pt x="138" y="138"/>
                </a:cubicBezTo>
                <a:cubicBezTo>
                  <a:pt x="138" y="373"/>
                  <a:pt x="138" y="373"/>
                  <a:pt x="138" y="373"/>
                </a:cubicBezTo>
                <a:cubicBezTo>
                  <a:pt x="373" y="373"/>
                  <a:pt x="373" y="373"/>
                  <a:pt x="373" y="373"/>
                </a:cubicBezTo>
                <a:cubicBezTo>
                  <a:pt x="373" y="266"/>
                  <a:pt x="373" y="266"/>
                  <a:pt x="373" y="266"/>
                </a:cubicBezTo>
                <a:cubicBezTo>
                  <a:pt x="373" y="260"/>
                  <a:pt x="378" y="256"/>
                  <a:pt x="384" y="256"/>
                </a:cubicBezTo>
                <a:cubicBezTo>
                  <a:pt x="390" y="256"/>
                  <a:pt x="394" y="260"/>
                  <a:pt x="394" y="266"/>
                </a:cubicBezTo>
                <a:lnTo>
                  <a:pt x="394" y="384"/>
                </a:lnTo>
                <a:close/>
                <a:moveTo>
                  <a:pt x="394" y="213"/>
                </a:moveTo>
                <a:cubicBezTo>
                  <a:pt x="394" y="219"/>
                  <a:pt x="390" y="224"/>
                  <a:pt x="384" y="224"/>
                </a:cubicBezTo>
                <a:cubicBezTo>
                  <a:pt x="378" y="224"/>
                  <a:pt x="373" y="219"/>
                  <a:pt x="373" y="213"/>
                </a:cubicBezTo>
                <a:cubicBezTo>
                  <a:pt x="373" y="153"/>
                  <a:pt x="373" y="153"/>
                  <a:pt x="373" y="153"/>
                </a:cubicBezTo>
                <a:cubicBezTo>
                  <a:pt x="263" y="263"/>
                  <a:pt x="263" y="263"/>
                  <a:pt x="263" y="263"/>
                </a:cubicBezTo>
                <a:cubicBezTo>
                  <a:pt x="261" y="265"/>
                  <a:pt x="258" y="266"/>
                  <a:pt x="256" y="266"/>
                </a:cubicBezTo>
                <a:cubicBezTo>
                  <a:pt x="253" y="266"/>
                  <a:pt x="250" y="265"/>
                  <a:pt x="248" y="263"/>
                </a:cubicBezTo>
                <a:cubicBezTo>
                  <a:pt x="244" y="259"/>
                  <a:pt x="244" y="252"/>
                  <a:pt x="248" y="248"/>
                </a:cubicBezTo>
                <a:cubicBezTo>
                  <a:pt x="358" y="138"/>
                  <a:pt x="358" y="138"/>
                  <a:pt x="358" y="138"/>
                </a:cubicBezTo>
                <a:cubicBezTo>
                  <a:pt x="298" y="138"/>
                  <a:pt x="298" y="138"/>
                  <a:pt x="298" y="138"/>
                </a:cubicBezTo>
                <a:cubicBezTo>
                  <a:pt x="292" y="138"/>
                  <a:pt x="288" y="134"/>
                  <a:pt x="288" y="128"/>
                </a:cubicBezTo>
                <a:cubicBezTo>
                  <a:pt x="288" y="122"/>
                  <a:pt x="292" y="117"/>
                  <a:pt x="298"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0" name="Group 540">
            <a:extLst>
              <a:ext uri="{FF2B5EF4-FFF2-40B4-BE49-F238E27FC236}">
                <a16:creationId xmlns:a16="http://schemas.microsoft.com/office/drawing/2014/main" id="{B79E3C15-AD34-43FB-9B74-C4BCCF47922A}"/>
              </a:ext>
            </a:extLst>
          </p:cNvPr>
          <p:cNvGrpSpPr>
            <a:grpSpLocks noChangeAspect="1"/>
          </p:cNvGrpSpPr>
          <p:nvPr/>
        </p:nvGrpSpPr>
        <p:grpSpPr bwMode="auto">
          <a:xfrm>
            <a:off x="5266345" y="1697045"/>
            <a:ext cx="367631" cy="367631"/>
            <a:chOff x="4969" y="2016"/>
            <a:chExt cx="340" cy="340"/>
          </a:xfrm>
          <a:solidFill>
            <a:schemeClr val="accent6"/>
          </a:solidFill>
        </p:grpSpPr>
        <p:sp>
          <p:nvSpPr>
            <p:cNvPr id="121" name="Freeform 541">
              <a:extLst>
                <a:ext uri="{FF2B5EF4-FFF2-40B4-BE49-F238E27FC236}">
                  <a16:creationId xmlns:a16="http://schemas.microsoft.com/office/drawing/2014/main" id="{BE31080B-BCEE-43DB-9B4A-839078E99403}"/>
                </a:ext>
              </a:extLst>
            </p:cNvPr>
            <p:cNvSpPr>
              <a:spLocks/>
            </p:cNvSpPr>
            <p:nvPr/>
          </p:nvSpPr>
          <p:spPr bwMode="auto">
            <a:xfrm>
              <a:off x="5047" y="2094"/>
              <a:ext cx="184" cy="184"/>
            </a:xfrm>
            <a:custGeom>
              <a:avLst/>
              <a:gdLst>
                <a:gd name="T0" fmla="*/ 267 w 277"/>
                <a:gd name="T1" fmla="*/ 139 h 277"/>
                <a:gd name="T2" fmla="*/ 256 w 277"/>
                <a:gd name="T3" fmla="*/ 149 h 277"/>
                <a:gd name="T4" fmla="*/ 256 w 277"/>
                <a:gd name="T5" fmla="*/ 256 h 277"/>
                <a:gd name="T6" fmla="*/ 21 w 277"/>
                <a:gd name="T7" fmla="*/ 256 h 277"/>
                <a:gd name="T8" fmla="*/ 21 w 277"/>
                <a:gd name="T9" fmla="*/ 21 h 277"/>
                <a:gd name="T10" fmla="*/ 128 w 277"/>
                <a:gd name="T11" fmla="*/ 21 h 277"/>
                <a:gd name="T12" fmla="*/ 139 w 277"/>
                <a:gd name="T13" fmla="*/ 11 h 277"/>
                <a:gd name="T14" fmla="*/ 128 w 277"/>
                <a:gd name="T15" fmla="*/ 0 h 277"/>
                <a:gd name="T16" fmla="*/ 11 w 277"/>
                <a:gd name="T17" fmla="*/ 0 h 277"/>
                <a:gd name="T18" fmla="*/ 0 w 277"/>
                <a:gd name="T19" fmla="*/ 11 h 277"/>
                <a:gd name="T20" fmla="*/ 0 w 277"/>
                <a:gd name="T21" fmla="*/ 267 h 277"/>
                <a:gd name="T22" fmla="*/ 11 w 277"/>
                <a:gd name="T23" fmla="*/ 277 h 277"/>
                <a:gd name="T24" fmla="*/ 267 w 277"/>
                <a:gd name="T25" fmla="*/ 277 h 277"/>
                <a:gd name="T26" fmla="*/ 277 w 277"/>
                <a:gd name="T27" fmla="*/ 267 h 277"/>
                <a:gd name="T28" fmla="*/ 277 w 277"/>
                <a:gd name="T29" fmla="*/ 149 h 277"/>
                <a:gd name="T30" fmla="*/ 267 w 277"/>
                <a:gd name="T31" fmla="*/ 13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77">
                  <a:moveTo>
                    <a:pt x="267" y="139"/>
                  </a:moveTo>
                  <a:cubicBezTo>
                    <a:pt x="261" y="139"/>
                    <a:pt x="256" y="143"/>
                    <a:pt x="256" y="149"/>
                  </a:cubicBezTo>
                  <a:cubicBezTo>
                    <a:pt x="256" y="256"/>
                    <a:pt x="256" y="256"/>
                    <a:pt x="256" y="256"/>
                  </a:cubicBezTo>
                  <a:cubicBezTo>
                    <a:pt x="21" y="256"/>
                    <a:pt x="21" y="256"/>
                    <a:pt x="21" y="256"/>
                  </a:cubicBezTo>
                  <a:cubicBezTo>
                    <a:pt x="21" y="21"/>
                    <a:pt x="21" y="21"/>
                    <a:pt x="21" y="21"/>
                  </a:cubicBezTo>
                  <a:cubicBezTo>
                    <a:pt x="128" y="21"/>
                    <a:pt x="128" y="21"/>
                    <a:pt x="128" y="21"/>
                  </a:cubicBezTo>
                  <a:cubicBezTo>
                    <a:pt x="134" y="21"/>
                    <a:pt x="139" y="17"/>
                    <a:pt x="139" y="11"/>
                  </a:cubicBezTo>
                  <a:cubicBezTo>
                    <a:pt x="139" y="5"/>
                    <a:pt x="134" y="0"/>
                    <a:pt x="128" y="0"/>
                  </a:cubicBez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49"/>
                    <a:pt x="277" y="149"/>
                    <a:pt x="277" y="149"/>
                  </a:cubicBezTo>
                  <a:cubicBezTo>
                    <a:pt x="277" y="143"/>
                    <a:pt x="273" y="139"/>
                    <a:pt x="267"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2" name="Freeform 542">
              <a:extLst>
                <a:ext uri="{FF2B5EF4-FFF2-40B4-BE49-F238E27FC236}">
                  <a16:creationId xmlns:a16="http://schemas.microsoft.com/office/drawing/2014/main" id="{6C057BC3-E0F5-448B-94D4-7DBDBAB1EFAB}"/>
                </a:ext>
              </a:extLst>
            </p:cNvPr>
            <p:cNvSpPr>
              <a:spLocks/>
            </p:cNvSpPr>
            <p:nvPr/>
          </p:nvSpPr>
          <p:spPr bwMode="auto">
            <a:xfrm>
              <a:off x="5131" y="2094"/>
              <a:ext cx="100" cy="99"/>
            </a:xfrm>
            <a:custGeom>
              <a:avLst/>
              <a:gdLst>
                <a:gd name="T0" fmla="*/ 150 w 150"/>
                <a:gd name="T1" fmla="*/ 7 h 149"/>
                <a:gd name="T2" fmla="*/ 144 w 150"/>
                <a:gd name="T3" fmla="*/ 1 h 149"/>
                <a:gd name="T4" fmla="*/ 140 w 150"/>
                <a:gd name="T5" fmla="*/ 0 h 149"/>
                <a:gd name="T6" fmla="*/ 54 w 150"/>
                <a:gd name="T7" fmla="*/ 0 h 149"/>
                <a:gd name="T8" fmla="*/ 44 w 150"/>
                <a:gd name="T9" fmla="*/ 11 h 149"/>
                <a:gd name="T10" fmla="*/ 54 w 150"/>
                <a:gd name="T11" fmla="*/ 21 h 149"/>
                <a:gd name="T12" fmla="*/ 114 w 150"/>
                <a:gd name="T13" fmla="*/ 21 h 149"/>
                <a:gd name="T14" fmla="*/ 4 w 150"/>
                <a:gd name="T15" fmla="*/ 131 h 149"/>
                <a:gd name="T16" fmla="*/ 4 w 150"/>
                <a:gd name="T17" fmla="*/ 146 h 149"/>
                <a:gd name="T18" fmla="*/ 12 w 150"/>
                <a:gd name="T19" fmla="*/ 149 h 149"/>
                <a:gd name="T20" fmla="*/ 19 w 150"/>
                <a:gd name="T21" fmla="*/ 146 h 149"/>
                <a:gd name="T22" fmla="*/ 129 w 150"/>
                <a:gd name="T23" fmla="*/ 36 h 149"/>
                <a:gd name="T24" fmla="*/ 129 w 150"/>
                <a:gd name="T25" fmla="*/ 96 h 149"/>
                <a:gd name="T26" fmla="*/ 140 w 150"/>
                <a:gd name="T27" fmla="*/ 107 h 149"/>
                <a:gd name="T28" fmla="*/ 150 w 150"/>
                <a:gd name="T29" fmla="*/ 96 h 149"/>
                <a:gd name="T30" fmla="*/ 150 w 150"/>
                <a:gd name="T31" fmla="*/ 11 h 149"/>
                <a:gd name="T32" fmla="*/ 150 w 150"/>
                <a:gd name="T33" fmla="*/ 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 h="149">
                  <a:moveTo>
                    <a:pt x="150" y="7"/>
                  </a:moveTo>
                  <a:cubicBezTo>
                    <a:pt x="148" y="4"/>
                    <a:pt x="146" y="2"/>
                    <a:pt x="144" y="1"/>
                  </a:cubicBezTo>
                  <a:cubicBezTo>
                    <a:pt x="142" y="0"/>
                    <a:pt x="141" y="0"/>
                    <a:pt x="140" y="0"/>
                  </a:cubicBezTo>
                  <a:cubicBezTo>
                    <a:pt x="54" y="0"/>
                    <a:pt x="54" y="0"/>
                    <a:pt x="54" y="0"/>
                  </a:cubicBezTo>
                  <a:cubicBezTo>
                    <a:pt x="48" y="0"/>
                    <a:pt x="44" y="5"/>
                    <a:pt x="44" y="11"/>
                  </a:cubicBezTo>
                  <a:cubicBezTo>
                    <a:pt x="44" y="17"/>
                    <a:pt x="48" y="21"/>
                    <a:pt x="54" y="21"/>
                  </a:cubicBezTo>
                  <a:cubicBezTo>
                    <a:pt x="114" y="21"/>
                    <a:pt x="114" y="21"/>
                    <a:pt x="114" y="21"/>
                  </a:cubicBezTo>
                  <a:cubicBezTo>
                    <a:pt x="4" y="131"/>
                    <a:pt x="4" y="131"/>
                    <a:pt x="4" y="131"/>
                  </a:cubicBezTo>
                  <a:cubicBezTo>
                    <a:pt x="0" y="135"/>
                    <a:pt x="0" y="142"/>
                    <a:pt x="4" y="146"/>
                  </a:cubicBezTo>
                  <a:cubicBezTo>
                    <a:pt x="6" y="148"/>
                    <a:pt x="9" y="149"/>
                    <a:pt x="12" y="149"/>
                  </a:cubicBezTo>
                  <a:cubicBezTo>
                    <a:pt x="14" y="149"/>
                    <a:pt x="17" y="148"/>
                    <a:pt x="19" y="146"/>
                  </a:cubicBezTo>
                  <a:cubicBezTo>
                    <a:pt x="129" y="36"/>
                    <a:pt x="129" y="36"/>
                    <a:pt x="129" y="36"/>
                  </a:cubicBezTo>
                  <a:cubicBezTo>
                    <a:pt x="129" y="96"/>
                    <a:pt x="129" y="96"/>
                    <a:pt x="129" y="96"/>
                  </a:cubicBezTo>
                  <a:cubicBezTo>
                    <a:pt x="129" y="102"/>
                    <a:pt x="134" y="107"/>
                    <a:pt x="140" y="107"/>
                  </a:cubicBezTo>
                  <a:cubicBezTo>
                    <a:pt x="146" y="107"/>
                    <a:pt x="150" y="102"/>
                    <a:pt x="150" y="96"/>
                  </a:cubicBezTo>
                  <a:cubicBezTo>
                    <a:pt x="150" y="11"/>
                    <a:pt x="150" y="11"/>
                    <a:pt x="150" y="11"/>
                  </a:cubicBezTo>
                  <a:cubicBezTo>
                    <a:pt x="150" y="9"/>
                    <a:pt x="150" y="8"/>
                    <a:pt x="15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3" name="Freeform 543">
              <a:extLst>
                <a:ext uri="{FF2B5EF4-FFF2-40B4-BE49-F238E27FC236}">
                  <a16:creationId xmlns:a16="http://schemas.microsoft.com/office/drawing/2014/main" id="{E38BE78E-2563-41FE-8AB9-CCBA5BD206A5}"/>
                </a:ext>
              </a:extLst>
            </p:cNvPr>
            <p:cNvSpPr>
              <a:spLocks noEditPoints="1"/>
            </p:cNvSpPr>
            <p:nvPr/>
          </p:nvSpPr>
          <p:spPr bwMode="auto">
            <a:xfrm>
              <a:off x="4969"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4" name="Freeform 123">
            <a:extLst>
              <a:ext uri="{FF2B5EF4-FFF2-40B4-BE49-F238E27FC236}">
                <a16:creationId xmlns:a16="http://schemas.microsoft.com/office/drawing/2014/main" id="{06577545-1D48-45E1-974A-0A6E2E575014}"/>
              </a:ext>
            </a:extLst>
          </p:cNvPr>
          <p:cNvSpPr>
            <a:spLocks noChangeAspect="1" noEditPoints="1"/>
          </p:cNvSpPr>
          <p:nvPr/>
        </p:nvSpPr>
        <p:spPr bwMode="auto">
          <a:xfrm>
            <a:off x="3966145" y="1697045"/>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149 h 512"/>
              <a:gd name="T12" fmla="*/ 352 w 512"/>
              <a:gd name="T13" fmla="*/ 149 h 512"/>
              <a:gd name="T14" fmla="*/ 362 w 512"/>
              <a:gd name="T15" fmla="*/ 160 h 512"/>
              <a:gd name="T16" fmla="*/ 362 w 512"/>
              <a:gd name="T17" fmla="*/ 309 h 512"/>
              <a:gd name="T18" fmla="*/ 352 w 512"/>
              <a:gd name="T19" fmla="*/ 320 h 512"/>
              <a:gd name="T20" fmla="*/ 341 w 512"/>
              <a:gd name="T21" fmla="*/ 309 h 512"/>
              <a:gd name="T22" fmla="*/ 341 w 512"/>
              <a:gd name="T23" fmla="*/ 170 h 512"/>
              <a:gd name="T24" fmla="*/ 202 w 512"/>
              <a:gd name="T25" fmla="*/ 170 h 512"/>
              <a:gd name="T26" fmla="*/ 192 w 512"/>
              <a:gd name="T27" fmla="*/ 160 h 512"/>
              <a:gd name="T28" fmla="*/ 202 w 512"/>
              <a:gd name="T29" fmla="*/ 149 h 512"/>
              <a:gd name="T30" fmla="*/ 405 w 512"/>
              <a:gd name="T31" fmla="*/ 362 h 512"/>
              <a:gd name="T32" fmla="*/ 362 w 512"/>
              <a:gd name="T33" fmla="*/ 362 h 512"/>
              <a:gd name="T34" fmla="*/ 362 w 512"/>
              <a:gd name="T35" fmla="*/ 405 h 512"/>
              <a:gd name="T36" fmla="*/ 352 w 512"/>
              <a:gd name="T37" fmla="*/ 416 h 512"/>
              <a:gd name="T38" fmla="*/ 341 w 512"/>
              <a:gd name="T39" fmla="*/ 405 h 512"/>
              <a:gd name="T40" fmla="*/ 341 w 512"/>
              <a:gd name="T41" fmla="*/ 362 h 512"/>
              <a:gd name="T42" fmla="*/ 160 w 512"/>
              <a:gd name="T43" fmla="*/ 362 h 512"/>
              <a:gd name="T44" fmla="*/ 149 w 512"/>
              <a:gd name="T45" fmla="*/ 352 h 512"/>
              <a:gd name="T46" fmla="*/ 149 w 512"/>
              <a:gd name="T47" fmla="*/ 170 h 512"/>
              <a:gd name="T48" fmla="*/ 106 w 512"/>
              <a:gd name="T49" fmla="*/ 170 h 512"/>
              <a:gd name="T50" fmla="*/ 96 w 512"/>
              <a:gd name="T51" fmla="*/ 160 h 512"/>
              <a:gd name="T52" fmla="*/ 106 w 512"/>
              <a:gd name="T53" fmla="*/ 149 h 512"/>
              <a:gd name="T54" fmla="*/ 149 w 512"/>
              <a:gd name="T55" fmla="*/ 149 h 512"/>
              <a:gd name="T56" fmla="*/ 149 w 512"/>
              <a:gd name="T57" fmla="*/ 106 h 512"/>
              <a:gd name="T58" fmla="*/ 160 w 512"/>
              <a:gd name="T59" fmla="*/ 96 h 512"/>
              <a:gd name="T60" fmla="*/ 170 w 512"/>
              <a:gd name="T61" fmla="*/ 106 h 512"/>
              <a:gd name="T62" fmla="*/ 170 w 512"/>
              <a:gd name="T63" fmla="*/ 341 h 512"/>
              <a:gd name="T64" fmla="*/ 405 w 512"/>
              <a:gd name="T65" fmla="*/ 341 h 512"/>
              <a:gd name="T66" fmla="*/ 416 w 512"/>
              <a:gd name="T67" fmla="*/ 352 h 512"/>
              <a:gd name="T68" fmla="*/ 405 w 512"/>
              <a:gd name="T6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149"/>
                </a:moveTo>
                <a:cubicBezTo>
                  <a:pt x="352" y="149"/>
                  <a:pt x="352" y="149"/>
                  <a:pt x="352" y="149"/>
                </a:cubicBezTo>
                <a:cubicBezTo>
                  <a:pt x="358" y="149"/>
                  <a:pt x="362" y="154"/>
                  <a:pt x="362" y="160"/>
                </a:cubicBezTo>
                <a:cubicBezTo>
                  <a:pt x="362" y="309"/>
                  <a:pt x="362" y="309"/>
                  <a:pt x="362" y="309"/>
                </a:cubicBezTo>
                <a:cubicBezTo>
                  <a:pt x="362" y="315"/>
                  <a:pt x="358" y="320"/>
                  <a:pt x="352" y="320"/>
                </a:cubicBezTo>
                <a:cubicBezTo>
                  <a:pt x="346" y="320"/>
                  <a:pt x="341" y="315"/>
                  <a:pt x="341" y="309"/>
                </a:cubicBezTo>
                <a:cubicBezTo>
                  <a:pt x="341" y="170"/>
                  <a:pt x="341" y="170"/>
                  <a:pt x="341" y="170"/>
                </a:cubicBezTo>
                <a:cubicBezTo>
                  <a:pt x="202" y="170"/>
                  <a:pt x="202" y="170"/>
                  <a:pt x="202" y="170"/>
                </a:cubicBezTo>
                <a:cubicBezTo>
                  <a:pt x="196" y="170"/>
                  <a:pt x="192" y="166"/>
                  <a:pt x="192" y="160"/>
                </a:cubicBezTo>
                <a:cubicBezTo>
                  <a:pt x="192" y="154"/>
                  <a:pt x="196" y="149"/>
                  <a:pt x="202" y="149"/>
                </a:cubicBezTo>
                <a:close/>
                <a:moveTo>
                  <a:pt x="405" y="362"/>
                </a:moveTo>
                <a:cubicBezTo>
                  <a:pt x="362" y="362"/>
                  <a:pt x="362" y="362"/>
                  <a:pt x="362" y="362"/>
                </a:cubicBezTo>
                <a:cubicBezTo>
                  <a:pt x="362" y="405"/>
                  <a:pt x="362" y="405"/>
                  <a:pt x="362" y="405"/>
                </a:cubicBezTo>
                <a:cubicBezTo>
                  <a:pt x="362" y="411"/>
                  <a:pt x="358" y="416"/>
                  <a:pt x="352" y="416"/>
                </a:cubicBezTo>
                <a:cubicBezTo>
                  <a:pt x="346" y="416"/>
                  <a:pt x="341" y="411"/>
                  <a:pt x="341" y="405"/>
                </a:cubicBezTo>
                <a:cubicBezTo>
                  <a:pt x="341" y="362"/>
                  <a:pt x="341" y="362"/>
                  <a:pt x="341" y="362"/>
                </a:cubicBezTo>
                <a:cubicBezTo>
                  <a:pt x="160" y="362"/>
                  <a:pt x="160" y="362"/>
                  <a:pt x="160" y="362"/>
                </a:cubicBezTo>
                <a:cubicBezTo>
                  <a:pt x="154" y="362"/>
                  <a:pt x="149" y="358"/>
                  <a:pt x="149" y="352"/>
                </a:cubicBezTo>
                <a:cubicBezTo>
                  <a:pt x="149" y="170"/>
                  <a:pt x="149" y="170"/>
                  <a:pt x="149" y="170"/>
                </a:cubicBezTo>
                <a:cubicBezTo>
                  <a:pt x="106" y="170"/>
                  <a:pt x="106" y="170"/>
                  <a:pt x="106" y="170"/>
                </a:cubicBezTo>
                <a:cubicBezTo>
                  <a:pt x="100" y="170"/>
                  <a:pt x="96" y="166"/>
                  <a:pt x="96" y="160"/>
                </a:cubicBezTo>
                <a:cubicBezTo>
                  <a:pt x="96" y="154"/>
                  <a:pt x="100" y="149"/>
                  <a:pt x="106" y="149"/>
                </a:cubicBezTo>
                <a:cubicBezTo>
                  <a:pt x="149" y="149"/>
                  <a:pt x="149" y="149"/>
                  <a:pt x="149" y="149"/>
                </a:cubicBezTo>
                <a:cubicBezTo>
                  <a:pt x="149" y="106"/>
                  <a:pt x="149" y="106"/>
                  <a:pt x="149" y="106"/>
                </a:cubicBezTo>
                <a:cubicBezTo>
                  <a:pt x="149" y="100"/>
                  <a:pt x="154" y="96"/>
                  <a:pt x="160" y="96"/>
                </a:cubicBezTo>
                <a:cubicBezTo>
                  <a:pt x="166" y="96"/>
                  <a:pt x="170" y="100"/>
                  <a:pt x="170" y="106"/>
                </a:cubicBezTo>
                <a:cubicBezTo>
                  <a:pt x="170" y="341"/>
                  <a:pt x="170" y="341"/>
                  <a:pt x="170" y="341"/>
                </a:cubicBezTo>
                <a:cubicBezTo>
                  <a:pt x="405" y="341"/>
                  <a:pt x="405" y="341"/>
                  <a:pt x="405" y="341"/>
                </a:cubicBezTo>
                <a:cubicBezTo>
                  <a:pt x="411" y="341"/>
                  <a:pt x="416" y="346"/>
                  <a:pt x="416" y="352"/>
                </a:cubicBezTo>
                <a:cubicBezTo>
                  <a:pt x="416" y="358"/>
                  <a:pt x="411" y="362"/>
                  <a:pt x="405" y="36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5" name="Group 126">
            <a:extLst>
              <a:ext uri="{FF2B5EF4-FFF2-40B4-BE49-F238E27FC236}">
                <a16:creationId xmlns:a16="http://schemas.microsoft.com/office/drawing/2014/main" id="{811F7BB2-787A-4C23-97D8-F4F9FD8D1243}"/>
              </a:ext>
            </a:extLst>
          </p:cNvPr>
          <p:cNvGrpSpPr>
            <a:grpSpLocks noChangeAspect="1"/>
          </p:cNvGrpSpPr>
          <p:nvPr/>
        </p:nvGrpSpPr>
        <p:grpSpPr bwMode="auto">
          <a:xfrm>
            <a:off x="4399545" y="1697045"/>
            <a:ext cx="367631" cy="367631"/>
            <a:chOff x="3018" y="929"/>
            <a:chExt cx="340" cy="340"/>
          </a:xfrm>
          <a:solidFill>
            <a:schemeClr val="accent2"/>
          </a:solidFill>
        </p:grpSpPr>
        <p:sp>
          <p:nvSpPr>
            <p:cNvPr id="126" name="Freeform 127">
              <a:extLst>
                <a:ext uri="{FF2B5EF4-FFF2-40B4-BE49-F238E27FC236}">
                  <a16:creationId xmlns:a16="http://schemas.microsoft.com/office/drawing/2014/main" id="{1C1C6477-3D64-4B5D-898A-D6421A1452DF}"/>
                </a:ext>
              </a:extLst>
            </p:cNvPr>
            <p:cNvSpPr>
              <a:spLocks noEditPoints="1"/>
            </p:cNvSpPr>
            <p:nvPr/>
          </p:nvSpPr>
          <p:spPr bwMode="auto">
            <a:xfrm>
              <a:off x="3018" y="9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7" name="Freeform 128">
              <a:extLst>
                <a:ext uri="{FF2B5EF4-FFF2-40B4-BE49-F238E27FC236}">
                  <a16:creationId xmlns:a16="http://schemas.microsoft.com/office/drawing/2014/main" id="{B71D78EA-E4E1-456A-86AD-F83B4F5CABB6}"/>
                </a:ext>
              </a:extLst>
            </p:cNvPr>
            <p:cNvSpPr>
              <a:spLocks noEditPoints="1"/>
            </p:cNvSpPr>
            <p:nvPr/>
          </p:nvSpPr>
          <p:spPr bwMode="auto">
            <a:xfrm>
              <a:off x="3082" y="993"/>
              <a:ext cx="212" cy="212"/>
            </a:xfrm>
            <a:custGeom>
              <a:avLst/>
              <a:gdLst>
                <a:gd name="T0" fmla="*/ 96 w 320"/>
                <a:gd name="T1" fmla="*/ 64 h 320"/>
                <a:gd name="T2" fmla="*/ 106 w 320"/>
                <a:gd name="T3" fmla="*/ 53 h 320"/>
                <a:gd name="T4" fmla="*/ 256 w 320"/>
                <a:gd name="T5" fmla="*/ 53 h 320"/>
                <a:gd name="T6" fmla="*/ 266 w 320"/>
                <a:gd name="T7" fmla="*/ 64 h 320"/>
                <a:gd name="T8" fmla="*/ 266 w 320"/>
                <a:gd name="T9" fmla="*/ 213 h 320"/>
                <a:gd name="T10" fmla="*/ 256 w 320"/>
                <a:gd name="T11" fmla="*/ 224 h 320"/>
                <a:gd name="T12" fmla="*/ 245 w 320"/>
                <a:gd name="T13" fmla="*/ 213 h 320"/>
                <a:gd name="T14" fmla="*/ 245 w 320"/>
                <a:gd name="T15" fmla="*/ 74 h 320"/>
                <a:gd name="T16" fmla="*/ 106 w 320"/>
                <a:gd name="T17" fmla="*/ 74 h 320"/>
                <a:gd name="T18" fmla="*/ 96 w 320"/>
                <a:gd name="T19" fmla="*/ 64 h 320"/>
                <a:gd name="T20" fmla="*/ 309 w 320"/>
                <a:gd name="T21" fmla="*/ 245 h 320"/>
                <a:gd name="T22" fmla="*/ 74 w 320"/>
                <a:gd name="T23" fmla="*/ 245 h 320"/>
                <a:gd name="T24" fmla="*/ 74 w 320"/>
                <a:gd name="T25" fmla="*/ 10 h 320"/>
                <a:gd name="T26" fmla="*/ 64 w 320"/>
                <a:gd name="T27" fmla="*/ 0 h 320"/>
                <a:gd name="T28" fmla="*/ 53 w 320"/>
                <a:gd name="T29" fmla="*/ 10 h 320"/>
                <a:gd name="T30" fmla="*/ 53 w 320"/>
                <a:gd name="T31" fmla="*/ 53 h 320"/>
                <a:gd name="T32" fmla="*/ 10 w 320"/>
                <a:gd name="T33" fmla="*/ 53 h 320"/>
                <a:gd name="T34" fmla="*/ 0 w 320"/>
                <a:gd name="T35" fmla="*/ 64 h 320"/>
                <a:gd name="T36" fmla="*/ 10 w 320"/>
                <a:gd name="T37" fmla="*/ 74 h 320"/>
                <a:gd name="T38" fmla="*/ 53 w 320"/>
                <a:gd name="T39" fmla="*/ 74 h 320"/>
                <a:gd name="T40" fmla="*/ 53 w 320"/>
                <a:gd name="T41" fmla="*/ 256 h 320"/>
                <a:gd name="T42" fmla="*/ 64 w 320"/>
                <a:gd name="T43" fmla="*/ 266 h 320"/>
                <a:gd name="T44" fmla="*/ 245 w 320"/>
                <a:gd name="T45" fmla="*/ 266 h 320"/>
                <a:gd name="T46" fmla="*/ 245 w 320"/>
                <a:gd name="T47" fmla="*/ 309 h 320"/>
                <a:gd name="T48" fmla="*/ 256 w 320"/>
                <a:gd name="T49" fmla="*/ 320 h 320"/>
                <a:gd name="T50" fmla="*/ 266 w 320"/>
                <a:gd name="T51" fmla="*/ 309 h 320"/>
                <a:gd name="T52" fmla="*/ 266 w 320"/>
                <a:gd name="T53" fmla="*/ 266 h 320"/>
                <a:gd name="T54" fmla="*/ 309 w 320"/>
                <a:gd name="T55" fmla="*/ 266 h 320"/>
                <a:gd name="T56" fmla="*/ 320 w 320"/>
                <a:gd name="T57" fmla="*/ 256 h 320"/>
                <a:gd name="T58" fmla="*/ 309 w 320"/>
                <a:gd name="T59"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320">
                  <a:moveTo>
                    <a:pt x="96" y="64"/>
                  </a:moveTo>
                  <a:cubicBezTo>
                    <a:pt x="96" y="58"/>
                    <a:pt x="100" y="53"/>
                    <a:pt x="106" y="53"/>
                  </a:cubicBezTo>
                  <a:cubicBezTo>
                    <a:pt x="256" y="53"/>
                    <a:pt x="256" y="53"/>
                    <a:pt x="256" y="53"/>
                  </a:cubicBezTo>
                  <a:cubicBezTo>
                    <a:pt x="262" y="53"/>
                    <a:pt x="266" y="58"/>
                    <a:pt x="266" y="64"/>
                  </a:cubicBezTo>
                  <a:cubicBezTo>
                    <a:pt x="266" y="213"/>
                    <a:pt x="266" y="213"/>
                    <a:pt x="266" y="213"/>
                  </a:cubicBezTo>
                  <a:cubicBezTo>
                    <a:pt x="266" y="219"/>
                    <a:pt x="262" y="224"/>
                    <a:pt x="256" y="224"/>
                  </a:cubicBezTo>
                  <a:cubicBezTo>
                    <a:pt x="250" y="224"/>
                    <a:pt x="245" y="219"/>
                    <a:pt x="245" y="213"/>
                  </a:cubicBezTo>
                  <a:cubicBezTo>
                    <a:pt x="245" y="74"/>
                    <a:pt x="245" y="74"/>
                    <a:pt x="245" y="74"/>
                  </a:cubicBezTo>
                  <a:cubicBezTo>
                    <a:pt x="106" y="74"/>
                    <a:pt x="106" y="74"/>
                    <a:pt x="106" y="74"/>
                  </a:cubicBezTo>
                  <a:cubicBezTo>
                    <a:pt x="100" y="74"/>
                    <a:pt x="96" y="70"/>
                    <a:pt x="96" y="64"/>
                  </a:cubicBezTo>
                  <a:close/>
                  <a:moveTo>
                    <a:pt x="309" y="245"/>
                  </a:moveTo>
                  <a:cubicBezTo>
                    <a:pt x="74" y="245"/>
                    <a:pt x="74" y="245"/>
                    <a:pt x="74" y="245"/>
                  </a:cubicBezTo>
                  <a:cubicBezTo>
                    <a:pt x="74" y="10"/>
                    <a:pt x="74" y="10"/>
                    <a:pt x="74" y="10"/>
                  </a:cubicBezTo>
                  <a:cubicBezTo>
                    <a:pt x="74" y="4"/>
                    <a:pt x="70" y="0"/>
                    <a:pt x="64" y="0"/>
                  </a:cubicBezTo>
                  <a:cubicBezTo>
                    <a:pt x="58" y="0"/>
                    <a:pt x="53" y="4"/>
                    <a:pt x="53" y="10"/>
                  </a:cubicBezTo>
                  <a:cubicBezTo>
                    <a:pt x="53" y="53"/>
                    <a:pt x="53" y="53"/>
                    <a:pt x="53" y="53"/>
                  </a:cubicBezTo>
                  <a:cubicBezTo>
                    <a:pt x="10" y="53"/>
                    <a:pt x="10" y="53"/>
                    <a:pt x="10" y="53"/>
                  </a:cubicBezTo>
                  <a:cubicBezTo>
                    <a:pt x="4" y="53"/>
                    <a:pt x="0" y="58"/>
                    <a:pt x="0" y="64"/>
                  </a:cubicBezTo>
                  <a:cubicBezTo>
                    <a:pt x="0" y="70"/>
                    <a:pt x="4" y="74"/>
                    <a:pt x="10" y="74"/>
                  </a:cubicBezTo>
                  <a:cubicBezTo>
                    <a:pt x="53" y="74"/>
                    <a:pt x="53" y="74"/>
                    <a:pt x="53" y="74"/>
                  </a:cubicBezTo>
                  <a:cubicBezTo>
                    <a:pt x="53" y="256"/>
                    <a:pt x="53" y="256"/>
                    <a:pt x="53" y="256"/>
                  </a:cubicBezTo>
                  <a:cubicBezTo>
                    <a:pt x="53" y="262"/>
                    <a:pt x="58" y="266"/>
                    <a:pt x="64" y="266"/>
                  </a:cubicBezTo>
                  <a:cubicBezTo>
                    <a:pt x="245" y="266"/>
                    <a:pt x="245" y="266"/>
                    <a:pt x="245" y="266"/>
                  </a:cubicBezTo>
                  <a:cubicBezTo>
                    <a:pt x="245" y="309"/>
                    <a:pt x="245" y="309"/>
                    <a:pt x="245" y="309"/>
                  </a:cubicBezTo>
                  <a:cubicBezTo>
                    <a:pt x="245" y="315"/>
                    <a:pt x="250" y="320"/>
                    <a:pt x="256" y="320"/>
                  </a:cubicBezTo>
                  <a:cubicBezTo>
                    <a:pt x="262" y="320"/>
                    <a:pt x="266" y="315"/>
                    <a:pt x="266" y="309"/>
                  </a:cubicBezTo>
                  <a:cubicBezTo>
                    <a:pt x="266" y="266"/>
                    <a:pt x="266" y="266"/>
                    <a:pt x="266" y="266"/>
                  </a:cubicBezTo>
                  <a:cubicBezTo>
                    <a:pt x="309" y="266"/>
                    <a:pt x="309" y="266"/>
                    <a:pt x="309" y="266"/>
                  </a:cubicBezTo>
                  <a:cubicBezTo>
                    <a:pt x="315" y="266"/>
                    <a:pt x="320" y="262"/>
                    <a:pt x="320" y="256"/>
                  </a:cubicBezTo>
                  <a:cubicBezTo>
                    <a:pt x="320" y="250"/>
                    <a:pt x="315" y="245"/>
                    <a:pt x="309" y="2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8" name="Freeform 150">
            <a:extLst>
              <a:ext uri="{FF2B5EF4-FFF2-40B4-BE49-F238E27FC236}">
                <a16:creationId xmlns:a16="http://schemas.microsoft.com/office/drawing/2014/main" id="{62CC832A-EEB7-4AD4-B649-2149CB84325C}"/>
              </a:ext>
            </a:extLst>
          </p:cNvPr>
          <p:cNvSpPr>
            <a:spLocks noChangeAspect="1" noEditPoints="1"/>
          </p:cNvSpPr>
          <p:nvPr/>
        </p:nvSpPr>
        <p:spPr bwMode="auto">
          <a:xfrm>
            <a:off x="5699745" y="1697045"/>
            <a:ext cx="367631" cy="367631"/>
          </a:xfrm>
          <a:custGeom>
            <a:avLst/>
            <a:gdLst>
              <a:gd name="T0" fmla="*/ 203 w 512"/>
              <a:gd name="T1" fmla="*/ 137 h 512"/>
              <a:gd name="T2" fmla="*/ 364 w 512"/>
              <a:gd name="T3" fmla="*/ 297 h 512"/>
              <a:gd name="T4" fmla="*/ 297 w 512"/>
              <a:gd name="T5" fmla="*/ 299 h 512"/>
              <a:gd name="T6" fmla="*/ 289 w 512"/>
              <a:gd name="T7" fmla="*/ 304 h 512"/>
              <a:gd name="T8" fmla="*/ 288 w 512"/>
              <a:gd name="T9" fmla="*/ 314 h 512"/>
              <a:gd name="T10" fmla="*/ 316 w 512"/>
              <a:gd name="T11" fmla="*/ 383 h 512"/>
              <a:gd name="T12" fmla="*/ 297 w 512"/>
              <a:gd name="T13" fmla="*/ 391 h 512"/>
              <a:gd name="T14" fmla="*/ 268 w 512"/>
              <a:gd name="T15" fmla="*/ 322 h 512"/>
              <a:gd name="T16" fmla="*/ 260 w 512"/>
              <a:gd name="T17" fmla="*/ 316 h 512"/>
              <a:gd name="T18" fmla="*/ 258 w 512"/>
              <a:gd name="T19" fmla="*/ 316 h 512"/>
              <a:gd name="T20" fmla="*/ 251 w 512"/>
              <a:gd name="T21" fmla="*/ 318 h 512"/>
              <a:gd name="T22" fmla="*/ 202 w 512"/>
              <a:gd name="T23" fmla="*/ 364 h 512"/>
              <a:gd name="T24" fmla="*/ 203 w 512"/>
              <a:gd name="T25" fmla="*/ 137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396 w 512"/>
              <a:gd name="T37" fmla="*/ 299 h 512"/>
              <a:gd name="T38" fmla="*/ 199 w 512"/>
              <a:gd name="T39" fmla="*/ 104 h 512"/>
              <a:gd name="T40" fmla="*/ 188 w 512"/>
              <a:gd name="T41" fmla="*/ 101 h 512"/>
              <a:gd name="T42" fmla="*/ 181 w 512"/>
              <a:gd name="T43" fmla="*/ 111 h 512"/>
              <a:gd name="T44" fmla="*/ 181 w 512"/>
              <a:gd name="T45" fmla="*/ 388 h 512"/>
              <a:gd name="T46" fmla="*/ 187 w 512"/>
              <a:gd name="T47" fmla="*/ 398 h 512"/>
              <a:gd name="T48" fmla="*/ 199 w 512"/>
              <a:gd name="T49" fmla="*/ 396 h 512"/>
              <a:gd name="T50" fmla="*/ 254 w 512"/>
              <a:gd name="T51" fmla="*/ 345 h 512"/>
              <a:gd name="T52" fmla="*/ 281 w 512"/>
              <a:gd name="T53" fmla="*/ 409 h 512"/>
              <a:gd name="T54" fmla="*/ 291 w 512"/>
              <a:gd name="T55" fmla="*/ 416 h 512"/>
              <a:gd name="T56" fmla="*/ 295 w 512"/>
              <a:gd name="T57" fmla="*/ 415 h 512"/>
              <a:gd name="T58" fmla="*/ 334 w 512"/>
              <a:gd name="T59" fmla="*/ 398 h 512"/>
              <a:gd name="T60" fmla="*/ 340 w 512"/>
              <a:gd name="T61" fmla="*/ 393 h 512"/>
              <a:gd name="T62" fmla="*/ 340 w 512"/>
              <a:gd name="T63" fmla="*/ 385 h 512"/>
              <a:gd name="T64" fmla="*/ 313 w 512"/>
              <a:gd name="T65" fmla="*/ 320 h 512"/>
              <a:gd name="T66" fmla="*/ 389 w 512"/>
              <a:gd name="T67" fmla="*/ 317 h 512"/>
              <a:gd name="T68" fmla="*/ 399 w 512"/>
              <a:gd name="T69" fmla="*/ 311 h 512"/>
              <a:gd name="T70" fmla="*/ 396 w 512"/>
              <a:gd name="T71" fmla="*/ 2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03" y="137"/>
                </a:moveTo>
                <a:cubicBezTo>
                  <a:pt x="364" y="297"/>
                  <a:pt x="364" y="297"/>
                  <a:pt x="364" y="297"/>
                </a:cubicBezTo>
                <a:cubicBezTo>
                  <a:pt x="297" y="299"/>
                  <a:pt x="297" y="299"/>
                  <a:pt x="297" y="299"/>
                </a:cubicBezTo>
                <a:cubicBezTo>
                  <a:pt x="294" y="299"/>
                  <a:pt x="291" y="301"/>
                  <a:pt x="289" y="304"/>
                </a:cubicBezTo>
                <a:cubicBezTo>
                  <a:pt x="287" y="307"/>
                  <a:pt x="286" y="311"/>
                  <a:pt x="288" y="314"/>
                </a:cubicBezTo>
                <a:cubicBezTo>
                  <a:pt x="316" y="383"/>
                  <a:pt x="316" y="383"/>
                  <a:pt x="316" y="383"/>
                </a:cubicBezTo>
                <a:cubicBezTo>
                  <a:pt x="297" y="391"/>
                  <a:pt x="297" y="391"/>
                  <a:pt x="297" y="391"/>
                </a:cubicBezTo>
                <a:cubicBezTo>
                  <a:pt x="268" y="322"/>
                  <a:pt x="268" y="322"/>
                  <a:pt x="268" y="322"/>
                </a:cubicBezTo>
                <a:cubicBezTo>
                  <a:pt x="267" y="319"/>
                  <a:pt x="264" y="317"/>
                  <a:pt x="260" y="316"/>
                </a:cubicBezTo>
                <a:cubicBezTo>
                  <a:pt x="260" y="316"/>
                  <a:pt x="259" y="316"/>
                  <a:pt x="258" y="316"/>
                </a:cubicBezTo>
                <a:cubicBezTo>
                  <a:pt x="256" y="316"/>
                  <a:pt x="253" y="317"/>
                  <a:pt x="251" y="318"/>
                </a:cubicBezTo>
                <a:cubicBezTo>
                  <a:pt x="202" y="364"/>
                  <a:pt x="202" y="364"/>
                  <a:pt x="202" y="364"/>
                </a:cubicBezTo>
                <a:lnTo>
                  <a:pt x="203" y="13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6" y="299"/>
                </a:moveTo>
                <a:cubicBezTo>
                  <a:pt x="199" y="104"/>
                  <a:pt x="199" y="104"/>
                  <a:pt x="199" y="104"/>
                </a:cubicBezTo>
                <a:cubicBezTo>
                  <a:pt x="196" y="101"/>
                  <a:pt x="192" y="100"/>
                  <a:pt x="188" y="101"/>
                </a:cubicBezTo>
                <a:cubicBezTo>
                  <a:pt x="184" y="103"/>
                  <a:pt x="181" y="107"/>
                  <a:pt x="181" y="111"/>
                </a:cubicBezTo>
                <a:cubicBezTo>
                  <a:pt x="181" y="388"/>
                  <a:pt x="181" y="388"/>
                  <a:pt x="181" y="388"/>
                </a:cubicBezTo>
                <a:cubicBezTo>
                  <a:pt x="181" y="393"/>
                  <a:pt x="184" y="397"/>
                  <a:pt x="187" y="398"/>
                </a:cubicBezTo>
                <a:cubicBezTo>
                  <a:pt x="191" y="400"/>
                  <a:pt x="196" y="399"/>
                  <a:pt x="199" y="396"/>
                </a:cubicBezTo>
                <a:cubicBezTo>
                  <a:pt x="254" y="345"/>
                  <a:pt x="254" y="345"/>
                  <a:pt x="254" y="345"/>
                </a:cubicBezTo>
                <a:cubicBezTo>
                  <a:pt x="281" y="409"/>
                  <a:pt x="281" y="409"/>
                  <a:pt x="281" y="409"/>
                </a:cubicBezTo>
                <a:cubicBezTo>
                  <a:pt x="283" y="413"/>
                  <a:pt x="287" y="416"/>
                  <a:pt x="291" y="416"/>
                </a:cubicBezTo>
                <a:cubicBezTo>
                  <a:pt x="292" y="416"/>
                  <a:pt x="294" y="415"/>
                  <a:pt x="295" y="415"/>
                </a:cubicBezTo>
                <a:cubicBezTo>
                  <a:pt x="334" y="398"/>
                  <a:pt x="334" y="398"/>
                  <a:pt x="334" y="398"/>
                </a:cubicBezTo>
                <a:cubicBezTo>
                  <a:pt x="337" y="397"/>
                  <a:pt x="339" y="395"/>
                  <a:pt x="340" y="393"/>
                </a:cubicBezTo>
                <a:cubicBezTo>
                  <a:pt x="341" y="390"/>
                  <a:pt x="341" y="387"/>
                  <a:pt x="340" y="385"/>
                </a:cubicBezTo>
                <a:cubicBezTo>
                  <a:pt x="313" y="320"/>
                  <a:pt x="313" y="320"/>
                  <a:pt x="313" y="320"/>
                </a:cubicBezTo>
                <a:cubicBezTo>
                  <a:pt x="389" y="317"/>
                  <a:pt x="389" y="317"/>
                  <a:pt x="389" y="317"/>
                </a:cubicBezTo>
                <a:cubicBezTo>
                  <a:pt x="393" y="317"/>
                  <a:pt x="397" y="315"/>
                  <a:pt x="399" y="311"/>
                </a:cubicBezTo>
                <a:cubicBezTo>
                  <a:pt x="400" y="307"/>
                  <a:pt x="399" y="302"/>
                  <a:pt x="396" y="29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9" name="Group 153">
            <a:extLst>
              <a:ext uri="{FF2B5EF4-FFF2-40B4-BE49-F238E27FC236}">
                <a16:creationId xmlns:a16="http://schemas.microsoft.com/office/drawing/2014/main" id="{00008626-947D-4615-930C-631C6D739BAE}"/>
              </a:ext>
            </a:extLst>
          </p:cNvPr>
          <p:cNvGrpSpPr>
            <a:grpSpLocks noChangeAspect="1"/>
          </p:cNvGrpSpPr>
          <p:nvPr/>
        </p:nvGrpSpPr>
        <p:grpSpPr bwMode="auto">
          <a:xfrm>
            <a:off x="6133145" y="1697045"/>
            <a:ext cx="368712" cy="367631"/>
            <a:chOff x="3641" y="1708"/>
            <a:chExt cx="341" cy="340"/>
          </a:xfrm>
          <a:solidFill>
            <a:schemeClr val="accent2"/>
          </a:solidFill>
        </p:grpSpPr>
        <p:sp>
          <p:nvSpPr>
            <p:cNvPr id="130" name="Freeform 154">
              <a:extLst>
                <a:ext uri="{FF2B5EF4-FFF2-40B4-BE49-F238E27FC236}">
                  <a16:creationId xmlns:a16="http://schemas.microsoft.com/office/drawing/2014/main" id="{B36D0703-BDB4-4F7A-825D-E479AAAA0E3C}"/>
                </a:ext>
              </a:extLst>
            </p:cNvPr>
            <p:cNvSpPr>
              <a:spLocks noEditPoints="1"/>
            </p:cNvSpPr>
            <p:nvPr/>
          </p:nvSpPr>
          <p:spPr bwMode="auto">
            <a:xfrm>
              <a:off x="3641" y="170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1" name="Freeform 155">
              <a:extLst>
                <a:ext uri="{FF2B5EF4-FFF2-40B4-BE49-F238E27FC236}">
                  <a16:creationId xmlns:a16="http://schemas.microsoft.com/office/drawing/2014/main" id="{10DB564C-440E-45A5-B270-7C228D555B09}"/>
                </a:ext>
              </a:extLst>
            </p:cNvPr>
            <p:cNvSpPr>
              <a:spLocks noEditPoints="1"/>
            </p:cNvSpPr>
            <p:nvPr/>
          </p:nvSpPr>
          <p:spPr bwMode="auto">
            <a:xfrm>
              <a:off x="3762" y="1774"/>
              <a:ext cx="145" cy="210"/>
            </a:xfrm>
            <a:custGeom>
              <a:avLst/>
              <a:gdLst>
                <a:gd name="T0" fmla="*/ 110 w 219"/>
                <a:gd name="T1" fmla="*/ 316 h 316"/>
                <a:gd name="T2" fmla="*/ 100 w 219"/>
                <a:gd name="T3" fmla="*/ 309 h 316"/>
                <a:gd name="T4" fmla="*/ 73 w 219"/>
                <a:gd name="T5" fmla="*/ 245 h 316"/>
                <a:gd name="T6" fmla="*/ 18 w 219"/>
                <a:gd name="T7" fmla="*/ 296 h 316"/>
                <a:gd name="T8" fmla="*/ 6 w 219"/>
                <a:gd name="T9" fmla="*/ 298 h 316"/>
                <a:gd name="T10" fmla="*/ 0 w 219"/>
                <a:gd name="T11" fmla="*/ 288 h 316"/>
                <a:gd name="T12" fmla="*/ 0 w 219"/>
                <a:gd name="T13" fmla="*/ 11 h 316"/>
                <a:gd name="T14" fmla="*/ 7 w 219"/>
                <a:gd name="T15" fmla="*/ 1 h 316"/>
                <a:gd name="T16" fmla="*/ 18 w 219"/>
                <a:gd name="T17" fmla="*/ 4 h 316"/>
                <a:gd name="T18" fmla="*/ 215 w 219"/>
                <a:gd name="T19" fmla="*/ 199 h 316"/>
                <a:gd name="T20" fmla="*/ 218 w 219"/>
                <a:gd name="T21" fmla="*/ 211 h 316"/>
                <a:gd name="T22" fmla="*/ 208 w 219"/>
                <a:gd name="T23" fmla="*/ 217 h 316"/>
                <a:gd name="T24" fmla="*/ 132 w 219"/>
                <a:gd name="T25" fmla="*/ 220 h 316"/>
                <a:gd name="T26" fmla="*/ 159 w 219"/>
                <a:gd name="T27" fmla="*/ 285 h 316"/>
                <a:gd name="T28" fmla="*/ 159 w 219"/>
                <a:gd name="T29" fmla="*/ 293 h 316"/>
                <a:gd name="T30" fmla="*/ 153 w 219"/>
                <a:gd name="T31" fmla="*/ 298 h 316"/>
                <a:gd name="T32" fmla="*/ 114 w 219"/>
                <a:gd name="T33" fmla="*/ 315 h 316"/>
                <a:gd name="T34" fmla="*/ 110 w 219"/>
                <a:gd name="T35" fmla="*/ 316 h 316"/>
                <a:gd name="T36" fmla="*/ 77 w 219"/>
                <a:gd name="T37" fmla="*/ 216 h 316"/>
                <a:gd name="T38" fmla="*/ 79 w 219"/>
                <a:gd name="T39" fmla="*/ 216 h 316"/>
                <a:gd name="T40" fmla="*/ 87 w 219"/>
                <a:gd name="T41" fmla="*/ 222 h 316"/>
                <a:gd name="T42" fmla="*/ 116 w 219"/>
                <a:gd name="T43" fmla="*/ 291 h 316"/>
                <a:gd name="T44" fmla="*/ 135 w 219"/>
                <a:gd name="T45" fmla="*/ 283 h 316"/>
                <a:gd name="T46" fmla="*/ 107 w 219"/>
                <a:gd name="T47" fmla="*/ 214 h 316"/>
                <a:gd name="T48" fmla="*/ 108 w 219"/>
                <a:gd name="T49" fmla="*/ 204 h 316"/>
                <a:gd name="T50" fmla="*/ 116 w 219"/>
                <a:gd name="T51" fmla="*/ 199 h 316"/>
                <a:gd name="T52" fmla="*/ 183 w 219"/>
                <a:gd name="T53" fmla="*/ 197 h 316"/>
                <a:gd name="T54" fmla="*/ 22 w 219"/>
                <a:gd name="T55" fmla="*/ 37 h 316"/>
                <a:gd name="T56" fmla="*/ 21 w 219"/>
                <a:gd name="T57" fmla="*/ 264 h 316"/>
                <a:gd name="T58" fmla="*/ 70 w 219"/>
                <a:gd name="T59" fmla="*/ 218 h 316"/>
                <a:gd name="T60" fmla="*/ 77 w 219"/>
                <a:gd name="T61" fmla="*/ 2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316">
                  <a:moveTo>
                    <a:pt x="110" y="316"/>
                  </a:moveTo>
                  <a:cubicBezTo>
                    <a:pt x="106" y="316"/>
                    <a:pt x="102" y="313"/>
                    <a:pt x="100" y="309"/>
                  </a:cubicBezTo>
                  <a:cubicBezTo>
                    <a:pt x="73" y="245"/>
                    <a:pt x="73" y="245"/>
                    <a:pt x="73" y="245"/>
                  </a:cubicBezTo>
                  <a:cubicBezTo>
                    <a:pt x="18" y="296"/>
                    <a:pt x="18" y="296"/>
                    <a:pt x="18" y="296"/>
                  </a:cubicBezTo>
                  <a:cubicBezTo>
                    <a:pt x="15" y="299"/>
                    <a:pt x="10" y="300"/>
                    <a:pt x="6" y="298"/>
                  </a:cubicBezTo>
                  <a:cubicBezTo>
                    <a:pt x="3" y="297"/>
                    <a:pt x="0" y="293"/>
                    <a:pt x="0" y="288"/>
                  </a:cubicBezTo>
                  <a:cubicBezTo>
                    <a:pt x="0" y="11"/>
                    <a:pt x="0" y="11"/>
                    <a:pt x="0" y="11"/>
                  </a:cubicBezTo>
                  <a:cubicBezTo>
                    <a:pt x="0" y="7"/>
                    <a:pt x="3" y="3"/>
                    <a:pt x="7" y="1"/>
                  </a:cubicBezTo>
                  <a:cubicBezTo>
                    <a:pt x="11" y="0"/>
                    <a:pt x="15" y="1"/>
                    <a:pt x="18" y="4"/>
                  </a:cubicBezTo>
                  <a:cubicBezTo>
                    <a:pt x="215" y="199"/>
                    <a:pt x="215" y="199"/>
                    <a:pt x="215" y="199"/>
                  </a:cubicBezTo>
                  <a:cubicBezTo>
                    <a:pt x="218" y="202"/>
                    <a:pt x="219" y="207"/>
                    <a:pt x="218" y="211"/>
                  </a:cubicBezTo>
                  <a:cubicBezTo>
                    <a:pt x="216" y="215"/>
                    <a:pt x="212" y="217"/>
                    <a:pt x="208" y="217"/>
                  </a:cubicBezTo>
                  <a:cubicBezTo>
                    <a:pt x="132" y="220"/>
                    <a:pt x="132" y="220"/>
                    <a:pt x="132" y="220"/>
                  </a:cubicBezTo>
                  <a:cubicBezTo>
                    <a:pt x="159" y="285"/>
                    <a:pt x="159" y="285"/>
                    <a:pt x="159" y="285"/>
                  </a:cubicBezTo>
                  <a:cubicBezTo>
                    <a:pt x="160" y="287"/>
                    <a:pt x="160" y="290"/>
                    <a:pt x="159" y="293"/>
                  </a:cubicBezTo>
                  <a:cubicBezTo>
                    <a:pt x="158" y="295"/>
                    <a:pt x="156" y="297"/>
                    <a:pt x="153" y="298"/>
                  </a:cubicBezTo>
                  <a:cubicBezTo>
                    <a:pt x="114" y="315"/>
                    <a:pt x="114" y="315"/>
                    <a:pt x="114" y="315"/>
                  </a:cubicBezTo>
                  <a:cubicBezTo>
                    <a:pt x="113" y="315"/>
                    <a:pt x="111" y="316"/>
                    <a:pt x="110" y="316"/>
                  </a:cubicBezTo>
                  <a:close/>
                  <a:moveTo>
                    <a:pt x="77" y="216"/>
                  </a:moveTo>
                  <a:cubicBezTo>
                    <a:pt x="78" y="216"/>
                    <a:pt x="79" y="216"/>
                    <a:pt x="79" y="216"/>
                  </a:cubicBezTo>
                  <a:cubicBezTo>
                    <a:pt x="83" y="217"/>
                    <a:pt x="86" y="219"/>
                    <a:pt x="87" y="222"/>
                  </a:cubicBezTo>
                  <a:cubicBezTo>
                    <a:pt x="116" y="291"/>
                    <a:pt x="116" y="291"/>
                    <a:pt x="116" y="291"/>
                  </a:cubicBezTo>
                  <a:cubicBezTo>
                    <a:pt x="135" y="283"/>
                    <a:pt x="135" y="283"/>
                    <a:pt x="135" y="283"/>
                  </a:cubicBezTo>
                  <a:cubicBezTo>
                    <a:pt x="107" y="214"/>
                    <a:pt x="107" y="214"/>
                    <a:pt x="107" y="214"/>
                  </a:cubicBezTo>
                  <a:cubicBezTo>
                    <a:pt x="105" y="211"/>
                    <a:pt x="106" y="207"/>
                    <a:pt x="108" y="204"/>
                  </a:cubicBezTo>
                  <a:cubicBezTo>
                    <a:pt x="110" y="201"/>
                    <a:pt x="113" y="199"/>
                    <a:pt x="116" y="199"/>
                  </a:cubicBezTo>
                  <a:cubicBezTo>
                    <a:pt x="183" y="197"/>
                    <a:pt x="183" y="197"/>
                    <a:pt x="183" y="197"/>
                  </a:cubicBezTo>
                  <a:cubicBezTo>
                    <a:pt x="22" y="37"/>
                    <a:pt x="22" y="37"/>
                    <a:pt x="22" y="37"/>
                  </a:cubicBezTo>
                  <a:cubicBezTo>
                    <a:pt x="21" y="264"/>
                    <a:pt x="21" y="264"/>
                    <a:pt x="21" y="264"/>
                  </a:cubicBezTo>
                  <a:cubicBezTo>
                    <a:pt x="70" y="218"/>
                    <a:pt x="70" y="218"/>
                    <a:pt x="70" y="218"/>
                  </a:cubicBezTo>
                  <a:cubicBezTo>
                    <a:pt x="72" y="217"/>
                    <a:pt x="75" y="216"/>
                    <a:pt x="77" y="2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2" name="TextBox 131">
            <a:extLst>
              <a:ext uri="{FF2B5EF4-FFF2-40B4-BE49-F238E27FC236}">
                <a16:creationId xmlns:a16="http://schemas.microsoft.com/office/drawing/2014/main" id="{95CCD99B-0DE8-463F-8393-704362DDABE2}"/>
              </a:ext>
            </a:extLst>
          </p:cNvPr>
          <p:cNvSpPr txBox="1"/>
          <p:nvPr/>
        </p:nvSpPr>
        <p:spPr>
          <a:xfrm>
            <a:off x="7417802" y="2113564"/>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ckup complete</a:t>
            </a:r>
          </a:p>
        </p:txBody>
      </p:sp>
      <p:sp>
        <p:nvSpPr>
          <p:cNvPr id="133" name="TextBox 132">
            <a:extLst>
              <a:ext uri="{FF2B5EF4-FFF2-40B4-BE49-F238E27FC236}">
                <a16:creationId xmlns:a16="http://schemas.microsoft.com/office/drawing/2014/main" id="{9FDD5853-C0CA-44EE-99C0-19910CEC89DB}"/>
              </a:ext>
            </a:extLst>
          </p:cNvPr>
          <p:cNvSpPr txBox="1"/>
          <p:nvPr/>
        </p:nvSpPr>
        <p:spPr>
          <a:xfrm>
            <a:off x="8276653" y="2113564"/>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ackup</a:t>
            </a:r>
          </a:p>
        </p:txBody>
      </p:sp>
      <p:sp>
        <p:nvSpPr>
          <p:cNvPr id="134" name="TextBox 133">
            <a:extLst>
              <a:ext uri="{FF2B5EF4-FFF2-40B4-BE49-F238E27FC236}">
                <a16:creationId xmlns:a16="http://schemas.microsoft.com/office/drawing/2014/main" id="{F966F09D-41FD-4C80-870A-C0820D5367E8}"/>
              </a:ext>
            </a:extLst>
          </p:cNvPr>
          <p:cNvSpPr txBox="1"/>
          <p:nvPr/>
        </p:nvSpPr>
        <p:spPr>
          <a:xfrm>
            <a:off x="9150321"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wnload</a:t>
            </a:r>
          </a:p>
        </p:txBody>
      </p:sp>
      <p:sp>
        <p:nvSpPr>
          <p:cNvPr id="135" name="Freeform 338">
            <a:extLst>
              <a:ext uri="{FF2B5EF4-FFF2-40B4-BE49-F238E27FC236}">
                <a16:creationId xmlns:a16="http://schemas.microsoft.com/office/drawing/2014/main" id="{3D0B724B-18A5-44BE-9EA1-751E1A4B6AD2}"/>
              </a:ext>
            </a:extLst>
          </p:cNvPr>
          <p:cNvSpPr>
            <a:spLocks noChangeAspect="1" noEditPoints="1"/>
          </p:cNvSpPr>
          <p:nvPr/>
        </p:nvSpPr>
        <p:spPr bwMode="auto">
          <a:xfrm>
            <a:off x="7438291" y="169704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84 h 512"/>
              <a:gd name="T12" fmla="*/ 341 w 512"/>
              <a:gd name="T13" fmla="*/ 394 h 512"/>
              <a:gd name="T14" fmla="*/ 330 w 512"/>
              <a:gd name="T15" fmla="*/ 384 h 512"/>
              <a:gd name="T16" fmla="*/ 330 w 512"/>
              <a:gd name="T17" fmla="*/ 359 h 512"/>
              <a:gd name="T18" fmla="*/ 256 w 512"/>
              <a:gd name="T19" fmla="*/ 384 h 512"/>
              <a:gd name="T20" fmla="*/ 128 w 512"/>
              <a:gd name="T21" fmla="*/ 256 h 512"/>
              <a:gd name="T22" fmla="*/ 138 w 512"/>
              <a:gd name="T23" fmla="*/ 245 h 512"/>
              <a:gd name="T24" fmla="*/ 149 w 512"/>
              <a:gd name="T25" fmla="*/ 256 h 512"/>
              <a:gd name="T26" fmla="*/ 256 w 512"/>
              <a:gd name="T27" fmla="*/ 362 h 512"/>
              <a:gd name="T28" fmla="*/ 320 w 512"/>
              <a:gd name="T29" fmla="*/ 341 h 512"/>
              <a:gd name="T30" fmla="*/ 288 w 512"/>
              <a:gd name="T31" fmla="*/ 341 h 512"/>
              <a:gd name="T32" fmla="*/ 277 w 512"/>
              <a:gd name="T33" fmla="*/ 330 h 512"/>
              <a:gd name="T34" fmla="*/ 288 w 512"/>
              <a:gd name="T35" fmla="*/ 320 h 512"/>
              <a:gd name="T36" fmla="*/ 341 w 512"/>
              <a:gd name="T37" fmla="*/ 320 h 512"/>
              <a:gd name="T38" fmla="*/ 352 w 512"/>
              <a:gd name="T39" fmla="*/ 330 h 512"/>
              <a:gd name="T40" fmla="*/ 352 w 512"/>
              <a:gd name="T41" fmla="*/ 384 h 512"/>
              <a:gd name="T42" fmla="*/ 205 w 512"/>
              <a:gd name="T43" fmla="*/ 248 h 512"/>
              <a:gd name="T44" fmla="*/ 221 w 512"/>
              <a:gd name="T45" fmla="*/ 248 h 512"/>
              <a:gd name="T46" fmla="*/ 245 w 512"/>
              <a:gd name="T47" fmla="*/ 273 h 512"/>
              <a:gd name="T48" fmla="*/ 301 w 512"/>
              <a:gd name="T49" fmla="*/ 216 h 512"/>
              <a:gd name="T50" fmla="*/ 317 w 512"/>
              <a:gd name="T51" fmla="*/ 216 h 512"/>
              <a:gd name="T52" fmla="*/ 317 w 512"/>
              <a:gd name="T53" fmla="*/ 231 h 512"/>
              <a:gd name="T54" fmla="*/ 253 w 512"/>
              <a:gd name="T55" fmla="*/ 295 h 512"/>
              <a:gd name="T56" fmla="*/ 245 w 512"/>
              <a:gd name="T57" fmla="*/ 298 h 512"/>
              <a:gd name="T58" fmla="*/ 237 w 512"/>
              <a:gd name="T59" fmla="*/ 295 h 512"/>
              <a:gd name="T60" fmla="*/ 205 w 512"/>
              <a:gd name="T61" fmla="*/ 263 h 512"/>
              <a:gd name="T62" fmla="*/ 205 w 512"/>
              <a:gd name="T63" fmla="*/ 248 h 512"/>
              <a:gd name="T64" fmla="*/ 373 w 512"/>
              <a:gd name="T65" fmla="*/ 266 h 512"/>
              <a:gd name="T66" fmla="*/ 362 w 512"/>
              <a:gd name="T67" fmla="*/ 256 h 512"/>
              <a:gd name="T68" fmla="*/ 256 w 512"/>
              <a:gd name="T69" fmla="*/ 149 h 512"/>
              <a:gd name="T70" fmla="*/ 192 w 512"/>
              <a:gd name="T71" fmla="*/ 170 h 512"/>
              <a:gd name="T72" fmla="*/ 224 w 512"/>
              <a:gd name="T73" fmla="*/ 170 h 512"/>
              <a:gd name="T74" fmla="*/ 234 w 512"/>
              <a:gd name="T75" fmla="*/ 181 h 512"/>
              <a:gd name="T76" fmla="*/ 224 w 512"/>
              <a:gd name="T77" fmla="*/ 192 h 512"/>
              <a:gd name="T78" fmla="*/ 170 w 512"/>
              <a:gd name="T79" fmla="*/ 192 h 512"/>
              <a:gd name="T80" fmla="*/ 160 w 512"/>
              <a:gd name="T81" fmla="*/ 181 h 512"/>
              <a:gd name="T82" fmla="*/ 160 w 512"/>
              <a:gd name="T83" fmla="*/ 128 h 512"/>
              <a:gd name="T84" fmla="*/ 170 w 512"/>
              <a:gd name="T85" fmla="*/ 117 h 512"/>
              <a:gd name="T86" fmla="*/ 181 w 512"/>
              <a:gd name="T87" fmla="*/ 128 h 512"/>
              <a:gd name="T88" fmla="*/ 181 w 512"/>
              <a:gd name="T89" fmla="*/ 152 h 512"/>
              <a:gd name="T90" fmla="*/ 256 w 512"/>
              <a:gd name="T91" fmla="*/ 128 h 512"/>
              <a:gd name="T92" fmla="*/ 384 w 512"/>
              <a:gd name="T93" fmla="*/ 256 h 512"/>
              <a:gd name="T94" fmla="*/ 373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84"/>
                </a:moveTo>
                <a:cubicBezTo>
                  <a:pt x="352" y="390"/>
                  <a:pt x="347" y="394"/>
                  <a:pt x="341" y="394"/>
                </a:cubicBezTo>
                <a:cubicBezTo>
                  <a:pt x="335" y="394"/>
                  <a:pt x="330" y="390"/>
                  <a:pt x="330" y="384"/>
                </a:cubicBezTo>
                <a:cubicBezTo>
                  <a:pt x="330" y="359"/>
                  <a:pt x="330" y="359"/>
                  <a:pt x="330" y="359"/>
                </a:cubicBezTo>
                <a:cubicBezTo>
                  <a:pt x="309" y="375"/>
                  <a:pt x="283" y="384"/>
                  <a:pt x="256" y="384"/>
                </a:cubicBezTo>
                <a:cubicBezTo>
                  <a:pt x="185" y="384"/>
                  <a:pt x="128" y="326"/>
                  <a:pt x="128" y="256"/>
                </a:cubicBezTo>
                <a:cubicBezTo>
                  <a:pt x="128" y="250"/>
                  <a:pt x="132" y="245"/>
                  <a:pt x="138" y="245"/>
                </a:cubicBezTo>
                <a:cubicBezTo>
                  <a:pt x="144" y="245"/>
                  <a:pt x="149" y="250"/>
                  <a:pt x="149" y="256"/>
                </a:cubicBezTo>
                <a:cubicBezTo>
                  <a:pt x="149" y="314"/>
                  <a:pt x="197" y="362"/>
                  <a:pt x="256" y="362"/>
                </a:cubicBezTo>
                <a:cubicBezTo>
                  <a:pt x="279" y="362"/>
                  <a:pt x="301" y="355"/>
                  <a:pt x="320" y="341"/>
                </a:cubicBezTo>
                <a:cubicBezTo>
                  <a:pt x="288" y="341"/>
                  <a:pt x="288" y="341"/>
                  <a:pt x="288" y="341"/>
                </a:cubicBezTo>
                <a:cubicBezTo>
                  <a:pt x="282" y="341"/>
                  <a:pt x="277" y="336"/>
                  <a:pt x="277" y="330"/>
                </a:cubicBezTo>
                <a:cubicBezTo>
                  <a:pt x="277" y="324"/>
                  <a:pt x="282" y="320"/>
                  <a:pt x="288" y="320"/>
                </a:cubicBezTo>
                <a:cubicBezTo>
                  <a:pt x="341" y="320"/>
                  <a:pt x="341" y="320"/>
                  <a:pt x="341" y="320"/>
                </a:cubicBezTo>
                <a:cubicBezTo>
                  <a:pt x="347" y="320"/>
                  <a:pt x="352" y="324"/>
                  <a:pt x="352" y="330"/>
                </a:cubicBezTo>
                <a:lnTo>
                  <a:pt x="352" y="384"/>
                </a:lnTo>
                <a:close/>
                <a:moveTo>
                  <a:pt x="205" y="248"/>
                </a:moveTo>
                <a:cubicBezTo>
                  <a:pt x="210" y="244"/>
                  <a:pt x="216" y="244"/>
                  <a:pt x="221" y="248"/>
                </a:cubicBezTo>
                <a:cubicBezTo>
                  <a:pt x="245" y="273"/>
                  <a:pt x="245" y="273"/>
                  <a:pt x="245" y="273"/>
                </a:cubicBezTo>
                <a:cubicBezTo>
                  <a:pt x="301" y="216"/>
                  <a:pt x="301" y="216"/>
                  <a:pt x="301" y="216"/>
                </a:cubicBezTo>
                <a:cubicBezTo>
                  <a:pt x="306" y="212"/>
                  <a:pt x="312" y="212"/>
                  <a:pt x="317" y="216"/>
                </a:cubicBezTo>
                <a:cubicBezTo>
                  <a:pt x="321" y="220"/>
                  <a:pt x="321" y="227"/>
                  <a:pt x="317" y="231"/>
                </a:cubicBezTo>
                <a:cubicBezTo>
                  <a:pt x="253" y="295"/>
                  <a:pt x="253" y="295"/>
                  <a:pt x="253" y="295"/>
                </a:cubicBezTo>
                <a:cubicBezTo>
                  <a:pt x="250" y="297"/>
                  <a:pt x="248" y="298"/>
                  <a:pt x="245" y="298"/>
                </a:cubicBezTo>
                <a:cubicBezTo>
                  <a:pt x="242" y="298"/>
                  <a:pt x="240" y="297"/>
                  <a:pt x="237" y="295"/>
                </a:cubicBezTo>
                <a:cubicBezTo>
                  <a:pt x="205" y="263"/>
                  <a:pt x="205" y="263"/>
                  <a:pt x="205" y="263"/>
                </a:cubicBezTo>
                <a:cubicBezTo>
                  <a:pt x="201" y="259"/>
                  <a:pt x="201" y="252"/>
                  <a:pt x="205" y="248"/>
                </a:cubicBezTo>
                <a:close/>
                <a:moveTo>
                  <a:pt x="373" y="266"/>
                </a:moveTo>
                <a:cubicBezTo>
                  <a:pt x="367" y="266"/>
                  <a:pt x="362" y="262"/>
                  <a:pt x="362" y="256"/>
                </a:cubicBezTo>
                <a:cubicBezTo>
                  <a:pt x="362" y="197"/>
                  <a:pt x="314" y="149"/>
                  <a:pt x="256" y="149"/>
                </a:cubicBezTo>
                <a:cubicBezTo>
                  <a:pt x="232" y="149"/>
                  <a:pt x="210" y="157"/>
                  <a:pt x="192" y="170"/>
                </a:cubicBezTo>
                <a:cubicBezTo>
                  <a:pt x="224" y="170"/>
                  <a:pt x="224" y="170"/>
                  <a:pt x="224" y="170"/>
                </a:cubicBezTo>
                <a:cubicBezTo>
                  <a:pt x="230" y="170"/>
                  <a:pt x="234" y="175"/>
                  <a:pt x="234" y="181"/>
                </a:cubicBezTo>
                <a:cubicBezTo>
                  <a:pt x="234" y="187"/>
                  <a:pt x="230" y="192"/>
                  <a:pt x="224" y="192"/>
                </a:cubicBezTo>
                <a:cubicBezTo>
                  <a:pt x="170" y="192"/>
                  <a:pt x="170" y="192"/>
                  <a:pt x="170" y="192"/>
                </a:cubicBezTo>
                <a:cubicBezTo>
                  <a:pt x="164" y="192"/>
                  <a:pt x="160" y="187"/>
                  <a:pt x="160" y="181"/>
                </a:cubicBezTo>
                <a:cubicBezTo>
                  <a:pt x="160" y="128"/>
                  <a:pt x="160" y="128"/>
                  <a:pt x="160" y="128"/>
                </a:cubicBezTo>
                <a:cubicBezTo>
                  <a:pt x="160" y="122"/>
                  <a:pt x="164" y="117"/>
                  <a:pt x="170" y="117"/>
                </a:cubicBezTo>
                <a:cubicBezTo>
                  <a:pt x="176" y="117"/>
                  <a:pt x="181" y="122"/>
                  <a:pt x="181" y="128"/>
                </a:cubicBezTo>
                <a:cubicBezTo>
                  <a:pt x="181" y="152"/>
                  <a:pt x="181" y="152"/>
                  <a:pt x="181" y="152"/>
                </a:cubicBezTo>
                <a:cubicBezTo>
                  <a:pt x="203" y="136"/>
                  <a:pt x="229" y="128"/>
                  <a:pt x="256" y="128"/>
                </a:cubicBezTo>
                <a:cubicBezTo>
                  <a:pt x="326" y="128"/>
                  <a:pt x="384" y="185"/>
                  <a:pt x="384" y="256"/>
                </a:cubicBezTo>
                <a:cubicBezTo>
                  <a:pt x="384" y="262"/>
                  <a:pt x="379" y="266"/>
                  <a:pt x="373" y="26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36" name="Group 135">
            <a:extLst>
              <a:ext uri="{FF2B5EF4-FFF2-40B4-BE49-F238E27FC236}">
                <a16:creationId xmlns:a16="http://schemas.microsoft.com/office/drawing/2014/main" id="{5F1B0728-0297-4E83-BE85-8D65EB2D5766}"/>
              </a:ext>
            </a:extLst>
          </p:cNvPr>
          <p:cNvGrpSpPr>
            <a:grpSpLocks noChangeAspect="1"/>
          </p:cNvGrpSpPr>
          <p:nvPr/>
        </p:nvGrpSpPr>
        <p:grpSpPr bwMode="auto">
          <a:xfrm>
            <a:off x="7872042" y="1697045"/>
            <a:ext cx="369064" cy="367982"/>
            <a:chOff x="3100" y="2384"/>
            <a:chExt cx="341" cy="340"/>
          </a:xfrm>
          <a:solidFill>
            <a:schemeClr val="accent4"/>
          </a:solidFill>
        </p:grpSpPr>
        <p:sp>
          <p:nvSpPr>
            <p:cNvPr id="137" name="Freeform 342">
              <a:extLst>
                <a:ext uri="{FF2B5EF4-FFF2-40B4-BE49-F238E27FC236}">
                  <a16:creationId xmlns:a16="http://schemas.microsoft.com/office/drawing/2014/main" id="{9C818823-4793-417C-ABD1-654ECE58124F}"/>
                </a:ext>
              </a:extLst>
            </p:cNvPr>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8" name="Freeform 343">
              <a:extLst>
                <a:ext uri="{FF2B5EF4-FFF2-40B4-BE49-F238E27FC236}">
                  <a16:creationId xmlns:a16="http://schemas.microsoft.com/office/drawing/2014/main" id="{7A705074-17C2-4EDC-A43D-3022D357C3CD}"/>
                </a:ext>
              </a:extLst>
            </p:cNvPr>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9" name="Freeform 51">
            <a:extLst>
              <a:ext uri="{FF2B5EF4-FFF2-40B4-BE49-F238E27FC236}">
                <a16:creationId xmlns:a16="http://schemas.microsoft.com/office/drawing/2014/main" id="{83FC8800-C188-407A-A54C-82FCF50274EF}"/>
              </a:ext>
            </a:extLst>
          </p:cNvPr>
          <p:cNvSpPr>
            <a:spLocks noChangeAspect="1" noEditPoints="1"/>
          </p:cNvSpPr>
          <p:nvPr/>
        </p:nvSpPr>
        <p:spPr bwMode="auto">
          <a:xfrm>
            <a:off x="8306875" y="169704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7 w 512"/>
              <a:gd name="T11" fmla="*/ 208 h 512"/>
              <a:gd name="T12" fmla="*/ 213 w 512"/>
              <a:gd name="T13" fmla="*/ 208 h 512"/>
              <a:gd name="T14" fmla="*/ 256 w 512"/>
              <a:gd name="T15" fmla="*/ 252 h 512"/>
              <a:gd name="T16" fmla="*/ 280 w 512"/>
              <a:gd name="T17" fmla="*/ 227 h 512"/>
              <a:gd name="T18" fmla="*/ 295 w 512"/>
              <a:gd name="T19" fmla="*/ 227 h 512"/>
              <a:gd name="T20" fmla="*/ 295 w 512"/>
              <a:gd name="T21" fmla="*/ 242 h 512"/>
              <a:gd name="T22" fmla="*/ 263 w 512"/>
              <a:gd name="T23" fmla="*/ 274 h 512"/>
              <a:gd name="T24" fmla="*/ 256 w 512"/>
              <a:gd name="T25" fmla="*/ 277 h 512"/>
              <a:gd name="T26" fmla="*/ 248 w 512"/>
              <a:gd name="T27" fmla="*/ 274 h 512"/>
              <a:gd name="T28" fmla="*/ 197 w 512"/>
              <a:gd name="T29" fmla="*/ 224 h 512"/>
              <a:gd name="T30" fmla="*/ 197 w 512"/>
              <a:gd name="T31" fmla="*/ 208 h 512"/>
              <a:gd name="T32" fmla="*/ 256 w 512"/>
              <a:gd name="T33" fmla="*/ 384 h 512"/>
              <a:gd name="T34" fmla="*/ 245 w 512"/>
              <a:gd name="T35" fmla="*/ 373 h 512"/>
              <a:gd name="T36" fmla="*/ 256 w 512"/>
              <a:gd name="T37" fmla="*/ 363 h 512"/>
              <a:gd name="T38" fmla="*/ 362 w 512"/>
              <a:gd name="T39" fmla="*/ 256 h 512"/>
              <a:gd name="T40" fmla="*/ 256 w 512"/>
              <a:gd name="T41" fmla="*/ 149 h 512"/>
              <a:gd name="T42" fmla="*/ 149 w 512"/>
              <a:gd name="T43" fmla="*/ 256 h 512"/>
              <a:gd name="T44" fmla="*/ 170 w 512"/>
              <a:gd name="T45" fmla="*/ 320 h 512"/>
              <a:gd name="T46" fmla="*/ 170 w 512"/>
              <a:gd name="T47" fmla="*/ 288 h 512"/>
              <a:gd name="T48" fmla="*/ 180 w 512"/>
              <a:gd name="T49" fmla="*/ 277 h 512"/>
              <a:gd name="T50" fmla="*/ 191 w 512"/>
              <a:gd name="T51" fmla="*/ 288 h 512"/>
              <a:gd name="T52" fmla="*/ 191 w 512"/>
              <a:gd name="T53" fmla="*/ 341 h 512"/>
              <a:gd name="T54" fmla="*/ 181 w 512"/>
              <a:gd name="T55" fmla="*/ 353 h 512"/>
              <a:gd name="T56" fmla="*/ 128 w 512"/>
              <a:gd name="T57" fmla="*/ 353 h 512"/>
              <a:gd name="T58" fmla="*/ 117 w 512"/>
              <a:gd name="T59" fmla="*/ 342 h 512"/>
              <a:gd name="T60" fmla="*/ 128 w 512"/>
              <a:gd name="T61" fmla="*/ 331 h 512"/>
              <a:gd name="T62" fmla="*/ 152 w 512"/>
              <a:gd name="T63" fmla="*/ 331 h 512"/>
              <a:gd name="T64" fmla="*/ 128 w 512"/>
              <a:gd name="T65" fmla="*/ 256 h 512"/>
              <a:gd name="T66" fmla="*/ 256 w 512"/>
              <a:gd name="T67" fmla="*/ 128 h 512"/>
              <a:gd name="T68" fmla="*/ 384 w 512"/>
              <a:gd name="T69" fmla="*/ 256 h 512"/>
              <a:gd name="T70" fmla="*/ 256 w 512"/>
              <a:gd name="T7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7" y="208"/>
                </a:moveTo>
                <a:cubicBezTo>
                  <a:pt x="202" y="204"/>
                  <a:pt x="208" y="204"/>
                  <a:pt x="213" y="208"/>
                </a:cubicBezTo>
                <a:cubicBezTo>
                  <a:pt x="256" y="252"/>
                  <a:pt x="256" y="252"/>
                  <a:pt x="256" y="252"/>
                </a:cubicBezTo>
                <a:cubicBezTo>
                  <a:pt x="280" y="227"/>
                  <a:pt x="280" y="227"/>
                  <a:pt x="280" y="227"/>
                </a:cubicBezTo>
                <a:cubicBezTo>
                  <a:pt x="284" y="223"/>
                  <a:pt x="291" y="223"/>
                  <a:pt x="295" y="227"/>
                </a:cubicBezTo>
                <a:cubicBezTo>
                  <a:pt x="299" y="231"/>
                  <a:pt x="299" y="238"/>
                  <a:pt x="295" y="242"/>
                </a:cubicBezTo>
                <a:cubicBezTo>
                  <a:pt x="263" y="274"/>
                  <a:pt x="263" y="274"/>
                  <a:pt x="263" y="274"/>
                </a:cubicBezTo>
                <a:cubicBezTo>
                  <a:pt x="261" y="276"/>
                  <a:pt x="258" y="277"/>
                  <a:pt x="256" y="277"/>
                </a:cubicBezTo>
                <a:cubicBezTo>
                  <a:pt x="253" y="277"/>
                  <a:pt x="250" y="276"/>
                  <a:pt x="248" y="274"/>
                </a:cubicBezTo>
                <a:cubicBezTo>
                  <a:pt x="197" y="224"/>
                  <a:pt x="197" y="224"/>
                  <a:pt x="197" y="224"/>
                </a:cubicBezTo>
                <a:cubicBezTo>
                  <a:pt x="193" y="219"/>
                  <a:pt x="193" y="213"/>
                  <a:pt x="197" y="208"/>
                </a:cubicBezTo>
                <a:close/>
                <a:moveTo>
                  <a:pt x="256" y="384"/>
                </a:moveTo>
                <a:cubicBezTo>
                  <a:pt x="250" y="384"/>
                  <a:pt x="245" y="379"/>
                  <a:pt x="245" y="373"/>
                </a:cubicBezTo>
                <a:cubicBezTo>
                  <a:pt x="245" y="367"/>
                  <a:pt x="250" y="363"/>
                  <a:pt x="256" y="363"/>
                </a:cubicBezTo>
                <a:cubicBezTo>
                  <a:pt x="314" y="363"/>
                  <a:pt x="362" y="315"/>
                  <a:pt x="362" y="256"/>
                </a:cubicBezTo>
                <a:cubicBezTo>
                  <a:pt x="362" y="197"/>
                  <a:pt x="314" y="149"/>
                  <a:pt x="256" y="149"/>
                </a:cubicBezTo>
                <a:cubicBezTo>
                  <a:pt x="197" y="149"/>
                  <a:pt x="149" y="197"/>
                  <a:pt x="149" y="256"/>
                </a:cubicBezTo>
                <a:cubicBezTo>
                  <a:pt x="149" y="279"/>
                  <a:pt x="156" y="302"/>
                  <a:pt x="170" y="320"/>
                </a:cubicBezTo>
                <a:cubicBezTo>
                  <a:pt x="170" y="288"/>
                  <a:pt x="170" y="288"/>
                  <a:pt x="170" y="288"/>
                </a:cubicBezTo>
                <a:cubicBezTo>
                  <a:pt x="170" y="282"/>
                  <a:pt x="174" y="277"/>
                  <a:pt x="180" y="277"/>
                </a:cubicBezTo>
                <a:cubicBezTo>
                  <a:pt x="186" y="277"/>
                  <a:pt x="191" y="282"/>
                  <a:pt x="191" y="288"/>
                </a:cubicBezTo>
                <a:cubicBezTo>
                  <a:pt x="191" y="341"/>
                  <a:pt x="191" y="341"/>
                  <a:pt x="191" y="341"/>
                </a:cubicBezTo>
                <a:cubicBezTo>
                  <a:pt x="191" y="347"/>
                  <a:pt x="187" y="353"/>
                  <a:pt x="181" y="353"/>
                </a:cubicBezTo>
                <a:cubicBezTo>
                  <a:pt x="128" y="353"/>
                  <a:pt x="128" y="353"/>
                  <a:pt x="128" y="353"/>
                </a:cubicBezTo>
                <a:cubicBezTo>
                  <a:pt x="122" y="353"/>
                  <a:pt x="117" y="348"/>
                  <a:pt x="117" y="342"/>
                </a:cubicBezTo>
                <a:cubicBezTo>
                  <a:pt x="117" y="336"/>
                  <a:pt x="122" y="331"/>
                  <a:pt x="128" y="331"/>
                </a:cubicBezTo>
                <a:cubicBezTo>
                  <a:pt x="152" y="331"/>
                  <a:pt x="152" y="331"/>
                  <a:pt x="152" y="331"/>
                </a:cubicBezTo>
                <a:cubicBezTo>
                  <a:pt x="136" y="309"/>
                  <a:pt x="128" y="283"/>
                  <a:pt x="128" y="256"/>
                </a:cubicBezTo>
                <a:cubicBezTo>
                  <a:pt x="128" y="186"/>
                  <a:pt x="185" y="128"/>
                  <a:pt x="256" y="128"/>
                </a:cubicBezTo>
                <a:cubicBezTo>
                  <a:pt x="326" y="128"/>
                  <a:pt x="384" y="186"/>
                  <a:pt x="384" y="256"/>
                </a:cubicBezTo>
                <a:cubicBezTo>
                  <a:pt x="384" y="327"/>
                  <a:pt x="326" y="384"/>
                  <a:pt x="256" y="38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0" name="Freeform 351">
            <a:extLst>
              <a:ext uri="{FF2B5EF4-FFF2-40B4-BE49-F238E27FC236}">
                <a16:creationId xmlns:a16="http://schemas.microsoft.com/office/drawing/2014/main" id="{23096A40-F864-4CCB-9378-3D6B66E0C5B0}"/>
              </a:ext>
            </a:extLst>
          </p:cNvPr>
          <p:cNvSpPr>
            <a:spLocks noChangeAspect="1" noEditPoints="1"/>
          </p:cNvSpPr>
          <p:nvPr/>
        </p:nvSpPr>
        <p:spPr bwMode="auto">
          <a:xfrm>
            <a:off x="8740626" y="1697045"/>
            <a:ext cx="367982" cy="367982"/>
          </a:xfrm>
          <a:custGeom>
            <a:avLst/>
            <a:gdLst>
              <a:gd name="T0" fmla="*/ 128 w 512"/>
              <a:gd name="T1" fmla="*/ 331 h 512"/>
              <a:gd name="T2" fmla="*/ 152 w 512"/>
              <a:gd name="T3" fmla="*/ 331 h 512"/>
              <a:gd name="T4" fmla="*/ 128 w 512"/>
              <a:gd name="T5" fmla="*/ 256 h 512"/>
              <a:gd name="T6" fmla="*/ 256 w 512"/>
              <a:gd name="T7" fmla="*/ 128 h 512"/>
              <a:gd name="T8" fmla="*/ 384 w 512"/>
              <a:gd name="T9" fmla="*/ 256 h 512"/>
              <a:gd name="T10" fmla="*/ 256 w 512"/>
              <a:gd name="T11" fmla="*/ 384 h 512"/>
              <a:gd name="T12" fmla="*/ 245 w 512"/>
              <a:gd name="T13" fmla="*/ 373 h 512"/>
              <a:gd name="T14" fmla="*/ 256 w 512"/>
              <a:gd name="T15" fmla="*/ 363 h 512"/>
              <a:gd name="T16" fmla="*/ 362 w 512"/>
              <a:gd name="T17" fmla="*/ 256 h 512"/>
              <a:gd name="T18" fmla="*/ 256 w 512"/>
              <a:gd name="T19" fmla="*/ 149 h 512"/>
              <a:gd name="T20" fmla="*/ 149 w 512"/>
              <a:gd name="T21" fmla="*/ 256 h 512"/>
              <a:gd name="T22" fmla="*/ 170 w 512"/>
              <a:gd name="T23" fmla="*/ 320 h 512"/>
              <a:gd name="T24" fmla="*/ 170 w 512"/>
              <a:gd name="T25" fmla="*/ 288 h 512"/>
              <a:gd name="T26" fmla="*/ 180 w 512"/>
              <a:gd name="T27" fmla="*/ 277 h 512"/>
              <a:gd name="T28" fmla="*/ 191 w 512"/>
              <a:gd name="T29" fmla="*/ 288 h 512"/>
              <a:gd name="T30" fmla="*/ 191 w 512"/>
              <a:gd name="T31" fmla="*/ 341 h 512"/>
              <a:gd name="T32" fmla="*/ 181 w 512"/>
              <a:gd name="T33" fmla="*/ 353 h 512"/>
              <a:gd name="T34" fmla="*/ 128 w 512"/>
              <a:gd name="T35" fmla="*/ 353 h 512"/>
              <a:gd name="T36" fmla="*/ 117 w 512"/>
              <a:gd name="T37" fmla="*/ 342 h 512"/>
              <a:gd name="T38" fmla="*/ 128 w 512"/>
              <a:gd name="T39" fmla="*/ 331 h 512"/>
              <a:gd name="T40" fmla="*/ 280 w 512"/>
              <a:gd name="T41" fmla="*/ 227 h 512"/>
              <a:gd name="T42" fmla="*/ 256 w 512"/>
              <a:gd name="T43" fmla="*/ 252 h 512"/>
              <a:gd name="T44" fmla="*/ 213 w 512"/>
              <a:gd name="T45" fmla="*/ 208 h 512"/>
              <a:gd name="T46" fmla="*/ 197 w 512"/>
              <a:gd name="T47" fmla="*/ 208 h 512"/>
              <a:gd name="T48" fmla="*/ 197 w 512"/>
              <a:gd name="T49" fmla="*/ 224 h 512"/>
              <a:gd name="T50" fmla="*/ 248 w 512"/>
              <a:gd name="T51" fmla="*/ 274 h 512"/>
              <a:gd name="T52" fmla="*/ 256 w 512"/>
              <a:gd name="T53" fmla="*/ 277 h 512"/>
              <a:gd name="T54" fmla="*/ 263 w 512"/>
              <a:gd name="T55" fmla="*/ 274 h 512"/>
              <a:gd name="T56" fmla="*/ 295 w 512"/>
              <a:gd name="T57" fmla="*/ 242 h 512"/>
              <a:gd name="T58" fmla="*/ 295 w 512"/>
              <a:gd name="T59" fmla="*/ 227 h 512"/>
              <a:gd name="T60" fmla="*/ 280 w 512"/>
              <a:gd name="T61" fmla="*/ 227 h 512"/>
              <a:gd name="T62" fmla="*/ 256 w 512"/>
              <a:gd name="T63" fmla="*/ 21 h 512"/>
              <a:gd name="T64" fmla="*/ 490 w 512"/>
              <a:gd name="T65" fmla="*/ 256 h 512"/>
              <a:gd name="T66" fmla="*/ 256 w 512"/>
              <a:gd name="T67" fmla="*/ 491 h 512"/>
              <a:gd name="T68" fmla="*/ 21 w 512"/>
              <a:gd name="T69" fmla="*/ 256 h 512"/>
              <a:gd name="T70" fmla="*/ 256 w 512"/>
              <a:gd name="T71" fmla="*/ 21 h 512"/>
              <a:gd name="T72" fmla="*/ 256 w 512"/>
              <a:gd name="T73" fmla="*/ 0 h 512"/>
              <a:gd name="T74" fmla="*/ 0 w 512"/>
              <a:gd name="T75" fmla="*/ 256 h 512"/>
              <a:gd name="T76" fmla="*/ 256 w 512"/>
              <a:gd name="T77" fmla="*/ 512 h 512"/>
              <a:gd name="T78" fmla="*/ 512 w 512"/>
              <a:gd name="T79" fmla="*/ 256 h 512"/>
              <a:gd name="T80" fmla="*/ 256 w 512"/>
              <a:gd name="T81"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28" y="331"/>
                </a:moveTo>
                <a:cubicBezTo>
                  <a:pt x="152" y="331"/>
                  <a:pt x="152" y="331"/>
                  <a:pt x="152" y="331"/>
                </a:cubicBezTo>
                <a:cubicBezTo>
                  <a:pt x="136" y="310"/>
                  <a:pt x="128" y="283"/>
                  <a:pt x="128" y="256"/>
                </a:cubicBezTo>
                <a:cubicBezTo>
                  <a:pt x="128" y="186"/>
                  <a:pt x="185" y="128"/>
                  <a:pt x="256" y="128"/>
                </a:cubicBezTo>
                <a:cubicBezTo>
                  <a:pt x="326" y="128"/>
                  <a:pt x="384" y="186"/>
                  <a:pt x="384" y="256"/>
                </a:cubicBezTo>
                <a:cubicBezTo>
                  <a:pt x="384" y="327"/>
                  <a:pt x="326" y="384"/>
                  <a:pt x="256" y="384"/>
                </a:cubicBezTo>
                <a:cubicBezTo>
                  <a:pt x="250" y="384"/>
                  <a:pt x="245" y="379"/>
                  <a:pt x="245" y="373"/>
                </a:cubicBezTo>
                <a:cubicBezTo>
                  <a:pt x="245" y="367"/>
                  <a:pt x="250" y="363"/>
                  <a:pt x="256" y="363"/>
                </a:cubicBezTo>
                <a:cubicBezTo>
                  <a:pt x="314" y="363"/>
                  <a:pt x="362" y="315"/>
                  <a:pt x="362" y="256"/>
                </a:cubicBezTo>
                <a:cubicBezTo>
                  <a:pt x="362" y="197"/>
                  <a:pt x="314" y="149"/>
                  <a:pt x="256" y="149"/>
                </a:cubicBezTo>
                <a:cubicBezTo>
                  <a:pt x="197" y="149"/>
                  <a:pt x="149" y="197"/>
                  <a:pt x="149" y="256"/>
                </a:cubicBezTo>
                <a:cubicBezTo>
                  <a:pt x="149" y="279"/>
                  <a:pt x="156" y="302"/>
                  <a:pt x="170" y="320"/>
                </a:cubicBezTo>
                <a:cubicBezTo>
                  <a:pt x="170" y="288"/>
                  <a:pt x="170" y="288"/>
                  <a:pt x="170" y="288"/>
                </a:cubicBezTo>
                <a:cubicBezTo>
                  <a:pt x="170" y="282"/>
                  <a:pt x="174" y="277"/>
                  <a:pt x="180" y="277"/>
                </a:cubicBezTo>
                <a:cubicBezTo>
                  <a:pt x="186" y="277"/>
                  <a:pt x="191" y="282"/>
                  <a:pt x="191" y="288"/>
                </a:cubicBezTo>
                <a:cubicBezTo>
                  <a:pt x="191" y="341"/>
                  <a:pt x="191" y="341"/>
                  <a:pt x="191" y="341"/>
                </a:cubicBezTo>
                <a:cubicBezTo>
                  <a:pt x="191" y="347"/>
                  <a:pt x="187" y="353"/>
                  <a:pt x="181" y="353"/>
                </a:cubicBezTo>
                <a:cubicBezTo>
                  <a:pt x="128" y="353"/>
                  <a:pt x="128" y="353"/>
                  <a:pt x="128" y="353"/>
                </a:cubicBezTo>
                <a:cubicBezTo>
                  <a:pt x="122" y="353"/>
                  <a:pt x="117" y="348"/>
                  <a:pt x="117" y="342"/>
                </a:cubicBezTo>
                <a:cubicBezTo>
                  <a:pt x="117" y="336"/>
                  <a:pt x="122" y="331"/>
                  <a:pt x="128" y="331"/>
                </a:cubicBezTo>
                <a:close/>
                <a:moveTo>
                  <a:pt x="280" y="227"/>
                </a:moveTo>
                <a:cubicBezTo>
                  <a:pt x="256" y="252"/>
                  <a:pt x="256" y="252"/>
                  <a:pt x="256" y="252"/>
                </a:cubicBezTo>
                <a:cubicBezTo>
                  <a:pt x="213" y="208"/>
                  <a:pt x="213" y="208"/>
                  <a:pt x="213" y="208"/>
                </a:cubicBezTo>
                <a:cubicBezTo>
                  <a:pt x="208" y="204"/>
                  <a:pt x="202" y="204"/>
                  <a:pt x="197" y="208"/>
                </a:cubicBezTo>
                <a:cubicBezTo>
                  <a:pt x="193" y="213"/>
                  <a:pt x="193" y="219"/>
                  <a:pt x="197" y="224"/>
                </a:cubicBezTo>
                <a:cubicBezTo>
                  <a:pt x="248" y="274"/>
                  <a:pt x="248" y="274"/>
                  <a:pt x="248" y="274"/>
                </a:cubicBezTo>
                <a:cubicBezTo>
                  <a:pt x="250" y="276"/>
                  <a:pt x="253" y="277"/>
                  <a:pt x="256" y="277"/>
                </a:cubicBezTo>
                <a:cubicBezTo>
                  <a:pt x="258" y="277"/>
                  <a:pt x="261" y="276"/>
                  <a:pt x="263" y="274"/>
                </a:cubicBezTo>
                <a:cubicBezTo>
                  <a:pt x="295" y="242"/>
                  <a:pt x="295" y="242"/>
                  <a:pt x="295" y="242"/>
                </a:cubicBezTo>
                <a:cubicBezTo>
                  <a:pt x="299" y="238"/>
                  <a:pt x="299" y="231"/>
                  <a:pt x="295" y="227"/>
                </a:cubicBezTo>
                <a:cubicBezTo>
                  <a:pt x="291" y="223"/>
                  <a:pt x="284" y="223"/>
                  <a:pt x="280" y="227"/>
                </a:cubicBezTo>
                <a:close/>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1" name="Group 412">
            <a:extLst>
              <a:ext uri="{FF2B5EF4-FFF2-40B4-BE49-F238E27FC236}">
                <a16:creationId xmlns:a16="http://schemas.microsoft.com/office/drawing/2014/main" id="{6C9DE396-5582-4187-87EB-06BF825F12BB}"/>
              </a:ext>
            </a:extLst>
          </p:cNvPr>
          <p:cNvGrpSpPr>
            <a:grpSpLocks noChangeAspect="1"/>
          </p:cNvGrpSpPr>
          <p:nvPr/>
        </p:nvGrpSpPr>
        <p:grpSpPr bwMode="auto">
          <a:xfrm>
            <a:off x="9174377" y="1697045"/>
            <a:ext cx="367631" cy="367631"/>
            <a:chOff x="2297" y="1592"/>
            <a:chExt cx="340" cy="340"/>
          </a:xfrm>
          <a:solidFill>
            <a:schemeClr val="accent5"/>
          </a:solidFill>
        </p:grpSpPr>
        <p:sp>
          <p:nvSpPr>
            <p:cNvPr id="142" name="Freeform 54">
              <a:extLst>
                <a:ext uri="{FF2B5EF4-FFF2-40B4-BE49-F238E27FC236}">
                  <a16:creationId xmlns:a16="http://schemas.microsoft.com/office/drawing/2014/main" id="{60D59DE7-EAED-4C23-ABB1-58055D45895C}"/>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3" name="Freeform 55">
              <a:extLst>
                <a:ext uri="{FF2B5EF4-FFF2-40B4-BE49-F238E27FC236}">
                  <a16:creationId xmlns:a16="http://schemas.microsoft.com/office/drawing/2014/main" id="{DA0A1D3B-FAE4-48E2-BF13-B65C2DCD2A86}"/>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4" name="Group 417">
            <a:extLst>
              <a:ext uri="{FF2B5EF4-FFF2-40B4-BE49-F238E27FC236}">
                <a16:creationId xmlns:a16="http://schemas.microsoft.com/office/drawing/2014/main" id="{F0AD2CC5-425E-4883-B158-AD5AD2305107}"/>
              </a:ext>
            </a:extLst>
          </p:cNvPr>
          <p:cNvGrpSpPr>
            <a:grpSpLocks noChangeAspect="1"/>
          </p:cNvGrpSpPr>
          <p:nvPr/>
        </p:nvGrpSpPr>
        <p:grpSpPr bwMode="auto">
          <a:xfrm>
            <a:off x="9607777" y="1697045"/>
            <a:ext cx="367631" cy="368712"/>
            <a:chOff x="2725" y="1609"/>
            <a:chExt cx="340" cy="341"/>
          </a:xfrm>
          <a:solidFill>
            <a:schemeClr val="accent5"/>
          </a:solidFill>
        </p:grpSpPr>
        <p:sp>
          <p:nvSpPr>
            <p:cNvPr id="145" name="Freeform 418">
              <a:extLst>
                <a:ext uri="{FF2B5EF4-FFF2-40B4-BE49-F238E27FC236}">
                  <a16:creationId xmlns:a16="http://schemas.microsoft.com/office/drawing/2014/main" id="{CAC23734-5CE2-4060-8D3C-65EF7E452E48}"/>
                </a:ext>
              </a:extLst>
            </p:cNvPr>
            <p:cNvSpPr>
              <a:spLocks noEditPoints="1"/>
            </p:cNvSpPr>
            <p:nvPr/>
          </p:nvSpPr>
          <p:spPr bwMode="auto">
            <a:xfrm>
              <a:off x="2725" y="160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6" name="Freeform 419">
              <a:extLst>
                <a:ext uri="{FF2B5EF4-FFF2-40B4-BE49-F238E27FC236}">
                  <a16:creationId xmlns:a16="http://schemas.microsoft.com/office/drawing/2014/main" id="{0D60351D-9747-43E9-A652-13AEA275D0CE}"/>
                </a:ext>
              </a:extLst>
            </p:cNvPr>
            <p:cNvSpPr>
              <a:spLocks noEditPoints="1"/>
            </p:cNvSpPr>
            <p:nvPr/>
          </p:nvSpPr>
          <p:spPr bwMode="auto">
            <a:xfrm>
              <a:off x="2817" y="1673"/>
              <a:ext cx="156" cy="213"/>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7" name="TextBox 146">
            <a:extLst>
              <a:ext uri="{FF2B5EF4-FFF2-40B4-BE49-F238E27FC236}">
                <a16:creationId xmlns:a16="http://schemas.microsoft.com/office/drawing/2014/main" id="{CDF7FD8F-7837-4DE3-8DE4-DA8A2147CFE4}"/>
              </a:ext>
            </a:extLst>
          </p:cNvPr>
          <p:cNvSpPr txBox="1"/>
          <p:nvPr/>
        </p:nvSpPr>
        <p:spPr>
          <a:xfrm>
            <a:off x="10020814"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fresh</a:t>
            </a:r>
          </a:p>
        </p:txBody>
      </p:sp>
      <p:grpSp>
        <p:nvGrpSpPr>
          <p:cNvPr id="148" name="Group 577">
            <a:extLst>
              <a:ext uri="{FF2B5EF4-FFF2-40B4-BE49-F238E27FC236}">
                <a16:creationId xmlns:a16="http://schemas.microsoft.com/office/drawing/2014/main" id="{20DF0144-EE37-408B-94DE-A17D1ABBC3E9}"/>
              </a:ext>
            </a:extLst>
          </p:cNvPr>
          <p:cNvGrpSpPr>
            <a:grpSpLocks noChangeAspect="1"/>
          </p:cNvGrpSpPr>
          <p:nvPr/>
        </p:nvGrpSpPr>
        <p:grpSpPr bwMode="auto">
          <a:xfrm>
            <a:off x="10475967" y="1697045"/>
            <a:ext cx="369021" cy="369021"/>
            <a:chOff x="7356" y="2314"/>
            <a:chExt cx="340" cy="340"/>
          </a:xfrm>
          <a:solidFill>
            <a:schemeClr val="accent1"/>
          </a:solidFill>
        </p:grpSpPr>
        <p:sp>
          <p:nvSpPr>
            <p:cNvPr id="149" name="Freeform 578">
              <a:extLst>
                <a:ext uri="{FF2B5EF4-FFF2-40B4-BE49-F238E27FC236}">
                  <a16:creationId xmlns:a16="http://schemas.microsoft.com/office/drawing/2014/main" id="{5BE8EF48-6E66-4C8F-B843-960E9ED5878B}"/>
                </a:ext>
              </a:extLst>
            </p:cNvPr>
            <p:cNvSpPr>
              <a:spLocks/>
            </p:cNvSpPr>
            <p:nvPr/>
          </p:nvSpPr>
          <p:spPr bwMode="auto">
            <a:xfrm>
              <a:off x="7441" y="2399"/>
              <a:ext cx="177" cy="170"/>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0" name="Freeform 579">
              <a:extLst>
                <a:ext uri="{FF2B5EF4-FFF2-40B4-BE49-F238E27FC236}">
                  <a16:creationId xmlns:a16="http://schemas.microsoft.com/office/drawing/2014/main" id="{F91B2EEF-77A2-486E-98A0-38839B3D94C5}"/>
                </a:ext>
              </a:extLst>
            </p:cNvPr>
            <p:cNvSpPr>
              <a:spLocks noEditPoints="1"/>
            </p:cNvSpPr>
            <p:nvPr/>
          </p:nvSpPr>
          <p:spPr bwMode="auto">
            <a:xfrm>
              <a:off x="7356"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1" name="Freeform 583">
            <a:extLst>
              <a:ext uri="{FF2B5EF4-FFF2-40B4-BE49-F238E27FC236}">
                <a16:creationId xmlns:a16="http://schemas.microsoft.com/office/drawing/2014/main" id="{D5D9918D-A4BF-4B02-B247-5B52924B582D}"/>
              </a:ext>
            </a:extLst>
          </p:cNvPr>
          <p:cNvSpPr>
            <a:spLocks noChangeAspect="1" noEditPoints="1"/>
          </p:cNvSpPr>
          <p:nvPr/>
        </p:nvSpPr>
        <p:spPr bwMode="auto">
          <a:xfrm>
            <a:off x="10041177" y="1697045"/>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30 w 512"/>
              <a:gd name="T13" fmla="*/ 352 h 512"/>
              <a:gd name="T14" fmla="*/ 320 w 512"/>
              <a:gd name="T15" fmla="*/ 341 h 512"/>
              <a:gd name="T16" fmla="*/ 320 w 512"/>
              <a:gd name="T17" fmla="*/ 288 h 512"/>
              <a:gd name="T18" fmla="*/ 330 w 512"/>
              <a:gd name="T19" fmla="*/ 277 h 512"/>
              <a:gd name="T20" fmla="*/ 341 w 512"/>
              <a:gd name="T21" fmla="*/ 288 h 512"/>
              <a:gd name="T22" fmla="*/ 341 w 512"/>
              <a:gd name="T23" fmla="*/ 320 h 512"/>
              <a:gd name="T24" fmla="*/ 362 w 512"/>
              <a:gd name="T25" fmla="*/ 256 h 512"/>
              <a:gd name="T26" fmla="*/ 256 w 512"/>
              <a:gd name="T27" fmla="*/ 149 h 512"/>
              <a:gd name="T28" fmla="*/ 149 w 512"/>
              <a:gd name="T29" fmla="*/ 256 h 512"/>
              <a:gd name="T30" fmla="*/ 256 w 512"/>
              <a:gd name="T31" fmla="*/ 362 h 512"/>
              <a:gd name="T32" fmla="*/ 266 w 512"/>
              <a:gd name="T33" fmla="*/ 373 h 512"/>
              <a:gd name="T34" fmla="*/ 256 w 512"/>
              <a:gd name="T35" fmla="*/ 384 h 512"/>
              <a:gd name="T36" fmla="*/ 128 w 512"/>
              <a:gd name="T37" fmla="*/ 256 h 512"/>
              <a:gd name="T38" fmla="*/ 256 w 512"/>
              <a:gd name="T39" fmla="*/ 128 h 512"/>
              <a:gd name="T40" fmla="*/ 384 w 512"/>
              <a:gd name="T41" fmla="*/ 256 h 512"/>
              <a:gd name="T42" fmla="*/ 359 w 512"/>
              <a:gd name="T43" fmla="*/ 330 h 512"/>
              <a:gd name="T44" fmla="*/ 384 w 512"/>
              <a:gd name="T45" fmla="*/ 330 h 512"/>
              <a:gd name="T46" fmla="*/ 394 w 512"/>
              <a:gd name="T47" fmla="*/ 341 h 512"/>
              <a:gd name="T48" fmla="*/ 384 w 512"/>
              <a:gd name="T49"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30" y="352"/>
                  <a:pt x="330" y="352"/>
                  <a:pt x="330" y="352"/>
                </a:cubicBezTo>
                <a:cubicBezTo>
                  <a:pt x="324" y="352"/>
                  <a:pt x="320" y="347"/>
                  <a:pt x="320" y="341"/>
                </a:cubicBezTo>
                <a:cubicBezTo>
                  <a:pt x="320" y="288"/>
                  <a:pt x="320" y="288"/>
                  <a:pt x="320" y="288"/>
                </a:cubicBezTo>
                <a:cubicBezTo>
                  <a:pt x="320" y="282"/>
                  <a:pt x="324" y="277"/>
                  <a:pt x="330" y="277"/>
                </a:cubicBezTo>
                <a:cubicBezTo>
                  <a:pt x="336" y="277"/>
                  <a:pt x="341" y="282"/>
                  <a:pt x="341" y="288"/>
                </a:cubicBezTo>
                <a:cubicBezTo>
                  <a:pt x="341" y="320"/>
                  <a:pt x="341" y="320"/>
                  <a:pt x="341" y="320"/>
                </a:cubicBezTo>
                <a:cubicBezTo>
                  <a:pt x="355" y="301"/>
                  <a:pt x="362" y="279"/>
                  <a:pt x="362" y="256"/>
                </a:cubicBezTo>
                <a:cubicBezTo>
                  <a:pt x="362" y="197"/>
                  <a:pt x="314" y="149"/>
                  <a:pt x="256" y="149"/>
                </a:cubicBezTo>
                <a:cubicBezTo>
                  <a:pt x="197" y="149"/>
                  <a:pt x="149" y="197"/>
                  <a:pt x="149" y="256"/>
                </a:cubicBezTo>
                <a:cubicBezTo>
                  <a:pt x="149" y="314"/>
                  <a:pt x="197" y="362"/>
                  <a:pt x="256" y="362"/>
                </a:cubicBezTo>
                <a:cubicBezTo>
                  <a:pt x="262" y="362"/>
                  <a:pt x="266" y="367"/>
                  <a:pt x="266" y="373"/>
                </a:cubicBezTo>
                <a:cubicBezTo>
                  <a:pt x="266" y="379"/>
                  <a:pt x="262" y="384"/>
                  <a:pt x="256" y="384"/>
                </a:cubicBezTo>
                <a:cubicBezTo>
                  <a:pt x="185" y="384"/>
                  <a:pt x="128" y="326"/>
                  <a:pt x="128" y="256"/>
                </a:cubicBezTo>
                <a:cubicBezTo>
                  <a:pt x="128" y="185"/>
                  <a:pt x="185" y="128"/>
                  <a:pt x="256" y="128"/>
                </a:cubicBezTo>
                <a:cubicBezTo>
                  <a:pt x="326" y="128"/>
                  <a:pt x="384" y="185"/>
                  <a:pt x="384" y="256"/>
                </a:cubicBezTo>
                <a:cubicBezTo>
                  <a:pt x="384" y="283"/>
                  <a:pt x="375" y="309"/>
                  <a:pt x="359" y="330"/>
                </a:cubicBezTo>
                <a:cubicBezTo>
                  <a:pt x="384" y="330"/>
                  <a:pt x="384" y="330"/>
                  <a:pt x="384" y="330"/>
                </a:cubicBezTo>
                <a:cubicBezTo>
                  <a:pt x="390" y="330"/>
                  <a:pt x="394" y="335"/>
                  <a:pt x="394" y="341"/>
                </a:cubicBezTo>
                <a:cubicBezTo>
                  <a:pt x="394" y="347"/>
                  <a:pt x="390" y="352"/>
                  <a:pt x="384" y="35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2" name="TextBox 151">
            <a:extLst>
              <a:ext uri="{FF2B5EF4-FFF2-40B4-BE49-F238E27FC236}">
                <a16:creationId xmlns:a16="http://schemas.microsoft.com/office/drawing/2014/main" id="{2699C556-628B-48B7-9DC3-0D1F5023A2EE}"/>
              </a:ext>
            </a:extLst>
          </p:cNvPr>
          <p:cNvSpPr txBox="1"/>
          <p:nvPr/>
        </p:nvSpPr>
        <p:spPr>
          <a:xfrm>
            <a:off x="6547309"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uffle</a:t>
            </a:r>
          </a:p>
        </p:txBody>
      </p:sp>
      <p:grpSp>
        <p:nvGrpSpPr>
          <p:cNvPr id="153" name="Group 977">
            <a:extLst>
              <a:ext uri="{FF2B5EF4-FFF2-40B4-BE49-F238E27FC236}">
                <a16:creationId xmlns:a16="http://schemas.microsoft.com/office/drawing/2014/main" id="{91FAD969-A23D-4DDB-B973-89289EFE8ADF}"/>
              </a:ext>
            </a:extLst>
          </p:cNvPr>
          <p:cNvGrpSpPr>
            <a:grpSpLocks noChangeAspect="1"/>
          </p:cNvGrpSpPr>
          <p:nvPr/>
        </p:nvGrpSpPr>
        <p:grpSpPr bwMode="auto">
          <a:xfrm>
            <a:off x="7003501" y="1697045"/>
            <a:ext cx="369021" cy="370106"/>
            <a:chOff x="5095" y="4001"/>
            <a:chExt cx="340" cy="341"/>
          </a:xfrm>
          <a:solidFill>
            <a:schemeClr val="accent5"/>
          </a:solidFill>
        </p:grpSpPr>
        <p:sp>
          <p:nvSpPr>
            <p:cNvPr id="154" name="Freeform 978">
              <a:extLst>
                <a:ext uri="{FF2B5EF4-FFF2-40B4-BE49-F238E27FC236}">
                  <a16:creationId xmlns:a16="http://schemas.microsoft.com/office/drawing/2014/main" id="{D12F3553-A74B-41AC-87F3-B28930335129}"/>
                </a:ext>
              </a:extLst>
            </p:cNvPr>
            <p:cNvSpPr>
              <a:spLocks/>
            </p:cNvSpPr>
            <p:nvPr/>
          </p:nvSpPr>
          <p:spPr bwMode="auto">
            <a:xfrm>
              <a:off x="5159" y="4086"/>
              <a:ext cx="212" cy="171"/>
            </a:xfrm>
            <a:custGeom>
              <a:avLst/>
              <a:gdLst>
                <a:gd name="T0" fmla="*/ 259 w 320"/>
                <a:gd name="T1" fmla="*/ 90 h 257"/>
                <a:gd name="T2" fmla="*/ 284 w 320"/>
                <a:gd name="T3" fmla="*/ 65 h 257"/>
                <a:gd name="T4" fmla="*/ 256 w 320"/>
                <a:gd name="T5" fmla="*/ 65 h 257"/>
                <a:gd name="T6" fmla="*/ 191 w 320"/>
                <a:gd name="T7" fmla="*/ 110 h 257"/>
                <a:gd name="T8" fmla="*/ 179 w 320"/>
                <a:gd name="T9" fmla="*/ 124 h 257"/>
                <a:gd name="T10" fmla="*/ 174 w 320"/>
                <a:gd name="T11" fmla="*/ 129 h 257"/>
                <a:gd name="T12" fmla="*/ 179 w 320"/>
                <a:gd name="T13" fmla="*/ 135 h 257"/>
                <a:gd name="T14" fmla="*/ 191 w 320"/>
                <a:gd name="T15" fmla="*/ 149 h 257"/>
                <a:gd name="T16" fmla="*/ 256 w 320"/>
                <a:gd name="T17" fmla="*/ 193 h 257"/>
                <a:gd name="T18" fmla="*/ 284 w 320"/>
                <a:gd name="T19" fmla="*/ 193 h 257"/>
                <a:gd name="T20" fmla="*/ 259 w 320"/>
                <a:gd name="T21" fmla="*/ 169 h 257"/>
                <a:gd name="T22" fmla="*/ 259 w 320"/>
                <a:gd name="T23" fmla="*/ 154 h 257"/>
                <a:gd name="T24" fmla="*/ 274 w 320"/>
                <a:gd name="T25" fmla="*/ 154 h 257"/>
                <a:gd name="T26" fmla="*/ 317 w 320"/>
                <a:gd name="T27" fmla="*/ 196 h 257"/>
                <a:gd name="T28" fmla="*/ 319 w 320"/>
                <a:gd name="T29" fmla="*/ 200 h 257"/>
                <a:gd name="T30" fmla="*/ 319 w 320"/>
                <a:gd name="T31" fmla="*/ 208 h 257"/>
                <a:gd name="T32" fmla="*/ 317 w 320"/>
                <a:gd name="T33" fmla="*/ 212 h 257"/>
                <a:gd name="T34" fmla="*/ 274 w 320"/>
                <a:gd name="T35" fmla="*/ 254 h 257"/>
                <a:gd name="T36" fmla="*/ 267 w 320"/>
                <a:gd name="T37" fmla="*/ 257 h 257"/>
                <a:gd name="T38" fmla="*/ 259 w 320"/>
                <a:gd name="T39" fmla="*/ 254 h 257"/>
                <a:gd name="T40" fmla="*/ 259 w 320"/>
                <a:gd name="T41" fmla="*/ 239 h 257"/>
                <a:gd name="T42" fmla="*/ 284 w 320"/>
                <a:gd name="T43" fmla="*/ 215 h 257"/>
                <a:gd name="T44" fmla="*/ 256 w 320"/>
                <a:gd name="T45" fmla="*/ 215 h 257"/>
                <a:gd name="T46" fmla="*/ 174 w 320"/>
                <a:gd name="T47" fmla="*/ 162 h 257"/>
                <a:gd name="T48" fmla="*/ 163 w 320"/>
                <a:gd name="T49" fmla="*/ 149 h 257"/>
                <a:gd name="T50" fmla="*/ 160 w 320"/>
                <a:gd name="T51" fmla="*/ 146 h 257"/>
                <a:gd name="T52" fmla="*/ 157 w 320"/>
                <a:gd name="T53" fmla="*/ 149 h 257"/>
                <a:gd name="T54" fmla="*/ 146 w 320"/>
                <a:gd name="T55" fmla="*/ 162 h 257"/>
                <a:gd name="T56" fmla="*/ 64 w 320"/>
                <a:gd name="T57" fmla="*/ 215 h 257"/>
                <a:gd name="T58" fmla="*/ 11 w 320"/>
                <a:gd name="T59" fmla="*/ 215 h 257"/>
                <a:gd name="T60" fmla="*/ 0 w 320"/>
                <a:gd name="T61" fmla="*/ 204 h 257"/>
                <a:gd name="T62" fmla="*/ 11 w 320"/>
                <a:gd name="T63" fmla="*/ 193 h 257"/>
                <a:gd name="T64" fmla="*/ 64 w 320"/>
                <a:gd name="T65" fmla="*/ 193 h 257"/>
                <a:gd name="T66" fmla="*/ 129 w 320"/>
                <a:gd name="T67" fmla="*/ 149 h 257"/>
                <a:gd name="T68" fmla="*/ 141 w 320"/>
                <a:gd name="T69" fmla="*/ 134 h 257"/>
                <a:gd name="T70" fmla="*/ 146 w 320"/>
                <a:gd name="T71" fmla="*/ 129 h 257"/>
                <a:gd name="T72" fmla="*/ 141 w 320"/>
                <a:gd name="T73" fmla="*/ 124 h 257"/>
                <a:gd name="T74" fmla="*/ 129 w 320"/>
                <a:gd name="T75" fmla="*/ 110 h 257"/>
                <a:gd name="T76" fmla="*/ 64 w 320"/>
                <a:gd name="T77" fmla="*/ 65 h 257"/>
                <a:gd name="T78" fmla="*/ 11 w 320"/>
                <a:gd name="T79" fmla="*/ 65 h 257"/>
                <a:gd name="T80" fmla="*/ 0 w 320"/>
                <a:gd name="T81" fmla="*/ 55 h 257"/>
                <a:gd name="T82" fmla="*/ 11 w 320"/>
                <a:gd name="T83" fmla="*/ 44 h 257"/>
                <a:gd name="T84" fmla="*/ 64 w 320"/>
                <a:gd name="T85" fmla="*/ 44 h 257"/>
                <a:gd name="T86" fmla="*/ 146 w 320"/>
                <a:gd name="T87" fmla="*/ 96 h 257"/>
                <a:gd name="T88" fmla="*/ 157 w 320"/>
                <a:gd name="T89" fmla="*/ 110 h 257"/>
                <a:gd name="T90" fmla="*/ 160 w 320"/>
                <a:gd name="T91" fmla="*/ 113 h 257"/>
                <a:gd name="T92" fmla="*/ 163 w 320"/>
                <a:gd name="T93" fmla="*/ 110 h 257"/>
                <a:gd name="T94" fmla="*/ 174 w 320"/>
                <a:gd name="T95" fmla="*/ 96 h 257"/>
                <a:gd name="T96" fmla="*/ 256 w 320"/>
                <a:gd name="T97" fmla="*/ 44 h 257"/>
                <a:gd name="T98" fmla="*/ 284 w 320"/>
                <a:gd name="T99" fmla="*/ 44 h 257"/>
                <a:gd name="T100" fmla="*/ 259 w 320"/>
                <a:gd name="T101" fmla="*/ 20 h 257"/>
                <a:gd name="T102" fmla="*/ 259 w 320"/>
                <a:gd name="T103" fmla="*/ 4 h 257"/>
                <a:gd name="T104" fmla="*/ 274 w 320"/>
                <a:gd name="T105" fmla="*/ 4 h 257"/>
                <a:gd name="T106" fmla="*/ 317 w 320"/>
                <a:gd name="T107" fmla="*/ 47 h 257"/>
                <a:gd name="T108" fmla="*/ 319 w 320"/>
                <a:gd name="T109" fmla="*/ 51 h 257"/>
                <a:gd name="T110" fmla="*/ 319 w 320"/>
                <a:gd name="T111" fmla="*/ 59 h 257"/>
                <a:gd name="T112" fmla="*/ 317 w 320"/>
                <a:gd name="T113" fmla="*/ 62 h 257"/>
                <a:gd name="T114" fmla="*/ 274 w 320"/>
                <a:gd name="T115" fmla="*/ 105 h 257"/>
                <a:gd name="T116" fmla="*/ 267 w 320"/>
                <a:gd name="T117" fmla="*/ 108 h 257"/>
                <a:gd name="T118" fmla="*/ 259 w 320"/>
                <a:gd name="T119" fmla="*/ 105 h 257"/>
                <a:gd name="T120" fmla="*/ 259 w 320"/>
                <a:gd name="T121" fmla="*/ 9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0" h="257">
                  <a:moveTo>
                    <a:pt x="259" y="90"/>
                  </a:moveTo>
                  <a:cubicBezTo>
                    <a:pt x="284" y="65"/>
                    <a:pt x="284" y="65"/>
                    <a:pt x="284" y="65"/>
                  </a:cubicBezTo>
                  <a:cubicBezTo>
                    <a:pt x="256" y="65"/>
                    <a:pt x="256" y="65"/>
                    <a:pt x="256" y="65"/>
                  </a:cubicBezTo>
                  <a:cubicBezTo>
                    <a:pt x="225" y="65"/>
                    <a:pt x="207" y="89"/>
                    <a:pt x="191" y="110"/>
                  </a:cubicBezTo>
                  <a:cubicBezTo>
                    <a:pt x="186" y="115"/>
                    <a:pt x="182" y="120"/>
                    <a:pt x="179" y="124"/>
                  </a:cubicBezTo>
                  <a:cubicBezTo>
                    <a:pt x="174" y="129"/>
                    <a:pt x="174" y="129"/>
                    <a:pt x="174" y="129"/>
                  </a:cubicBezTo>
                  <a:cubicBezTo>
                    <a:pt x="179" y="135"/>
                    <a:pt x="179" y="135"/>
                    <a:pt x="179" y="135"/>
                  </a:cubicBezTo>
                  <a:cubicBezTo>
                    <a:pt x="182" y="139"/>
                    <a:pt x="186" y="144"/>
                    <a:pt x="191" y="149"/>
                  </a:cubicBezTo>
                  <a:cubicBezTo>
                    <a:pt x="207" y="170"/>
                    <a:pt x="225" y="193"/>
                    <a:pt x="256" y="193"/>
                  </a:cubicBezTo>
                  <a:cubicBezTo>
                    <a:pt x="284" y="193"/>
                    <a:pt x="284" y="193"/>
                    <a:pt x="284" y="193"/>
                  </a:cubicBezTo>
                  <a:cubicBezTo>
                    <a:pt x="259" y="169"/>
                    <a:pt x="259" y="169"/>
                    <a:pt x="259" y="169"/>
                  </a:cubicBezTo>
                  <a:cubicBezTo>
                    <a:pt x="255" y="165"/>
                    <a:pt x="255" y="158"/>
                    <a:pt x="259" y="154"/>
                  </a:cubicBezTo>
                  <a:cubicBezTo>
                    <a:pt x="263" y="150"/>
                    <a:pt x="270" y="150"/>
                    <a:pt x="274" y="154"/>
                  </a:cubicBezTo>
                  <a:cubicBezTo>
                    <a:pt x="317" y="196"/>
                    <a:pt x="317" y="196"/>
                    <a:pt x="317" y="196"/>
                  </a:cubicBezTo>
                  <a:cubicBezTo>
                    <a:pt x="318" y="197"/>
                    <a:pt x="319" y="199"/>
                    <a:pt x="319" y="200"/>
                  </a:cubicBezTo>
                  <a:cubicBezTo>
                    <a:pt x="320" y="203"/>
                    <a:pt x="320" y="205"/>
                    <a:pt x="319" y="208"/>
                  </a:cubicBezTo>
                  <a:cubicBezTo>
                    <a:pt x="319" y="209"/>
                    <a:pt x="318" y="211"/>
                    <a:pt x="317" y="212"/>
                  </a:cubicBezTo>
                  <a:cubicBezTo>
                    <a:pt x="274" y="254"/>
                    <a:pt x="274" y="254"/>
                    <a:pt x="274" y="254"/>
                  </a:cubicBezTo>
                  <a:cubicBezTo>
                    <a:pt x="272" y="256"/>
                    <a:pt x="269" y="257"/>
                    <a:pt x="267" y="257"/>
                  </a:cubicBezTo>
                  <a:cubicBezTo>
                    <a:pt x="264" y="257"/>
                    <a:pt x="261" y="256"/>
                    <a:pt x="259" y="254"/>
                  </a:cubicBezTo>
                  <a:cubicBezTo>
                    <a:pt x="255" y="250"/>
                    <a:pt x="255" y="243"/>
                    <a:pt x="259" y="239"/>
                  </a:cubicBezTo>
                  <a:cubicBezTo>
                    <a:pt x="284" y="215"/>
                    <a:pt x="284" y="215"/>
                    <a:pt x="284" y="215"/>
                  </a:cubicBezTo>
                  <a:cubicBezTo>
                    <a:pt x="256" y="215"/>
                    <a:pt x="256" y="215"/>
                    <a:pt x="256" y="215"/>
                  </a:cubicBezTo>
                  <a:cubicBezTo>
                    <a:pt x="215" y="215"/>
                    <a:pt x="191" y="184"/>
                    <a:pt x="174" y="162"/>
                  </a:cubicBezTo>
                  <a:cubicBezTo>
                    <a:pt x="170" y="157"/>
                    <a:pt x="166" y="153"/>
                    <a:pt x="163" y="149"/>
                  </a:cubicBezTo>
                  <a:cubicBezTo>
                    <a:pt x="160" y="146"/>
                    <a:pt x="160" y="146"/>
                    <a:pt x="160" y="146"/>
                  </a:cubicBezTo>
                  <a:cubicBezTo>
                    <a:pt x="157" y="149"/>
                    <a:pt x="157" y="149"/>
                    <a:pt x="157" y="149"/>
                  </a:cubicBezTo>
                  <a:cubicBezTo>
                    <a:pt x="154" y="153"/>
                    <a:pt x="150" y="157"/>
                    <a:pt x="146" y="162"/>
                  </a:cubicBezTo>
                  <a:cubicBezTo>
                    <a:pt x="129" y="184"/>
                    <a:pt x="105" y="215"/>
                    <a:pt x="64" y="215"/>
                  </a:cubicBezTo>
                  <a:cubicBezTo>
                    <a:pt x="11" y="215"/>
                    <a:pt x="11" y="215"/>
                    <a:pt x="11" y="215"/>
                  </a:cubicBezTo>
                  <a:cubicBezTo>
                    <a:pt x="5" y="215"/>
                    <a:pt x="0" y="210"/>
                    <a:pt x="0" y="204"/>
                  </a:cubicBezTo>
                  <a:cubicBezTo>
                    <a:pt x="0" y="198"/>
                    <a:pt x="5" y="193"/>
                    <a:pt x="11" y="193"/>
                  </a:cubicBezTo>
                  <a:cubicBezTo>
                    <a:pt x="64" y="193"/>
                    <a:pt x="64" y="193"/>
                    <a:pt x="64" y="193"/>
                  </a:cubicBezTo>
                  <a:cubicBezTo>
                    <a:pt x="95" y="193"/>
                    <a:pt x="113" y="170"/>
                    <a:pt x="129" y="149"/>
                  </a:cubicBezTo>
                  <a:cubicBezTo>
                    <a:pt x="134" y="144"/>
                    <a:pt x="138" y="139"/>
                    <a:pt x="141" y="134"/>
                  </a:cubicBezTo>
                  <a:cubicBezTo>
                    <a:pt x="146" y="129"/>
                    <a:pt x="146" y="129"/>
                    <a:pt x="146" y="129"/>
                  </a:cubicBezTo>
                  <a:cubicBezTo>
                    <a:pt x="141" y="124"/>
                    <a:pt x="141" y="124"/>
                    <a:pt x="141" y="124"/>
                  </a:cubicBezTo>
                  <a:cubicBezTo>
                    <a:pt x="138" y="120"/>
                    <a:pt x="134" y="115"/>
                    <a:pt x="129" y="110"/>
                  </a:cubicBezTo>
                  <a:cubicBezTo>
                    <a:pt x="113" y="89"/>
                    <a:pt x="95" y="65"/>
                    <a:pt x="64" y="65"/>
                  </a:cubicBezTo>
                  <a:cubicBezTo>
                    <a:pt x="11" y="65"/>
                    <a:pt x="11" y="65"/>
                    <a:pt x="11" y="65"/>
                  </a:cubicBezTo>
                  <a:cubicBezTo>
                    <a:pt x="5" y="65"/>
                    <a:pt x="0" y="61"/>
                    <a:pt x="0" y="55"/>
                  </a:cubicBezTo>
                  <a:cubicBezTo>
                    <a:pt x="0" y="49"/>
                    <a:pt x="5" y="44"/>
                    <a:pt x="11" y="44"/>
                  </a:cubicBezTo>
                  <a:cubicBezTo>
                    <a:pt x="64" y="44"/>
                    <a:pt x="64" y="44"/>
                    <a:pt x="64" y="44"/>
                  </a:cubicBezTo>
                  <a:cubicBezTo>
                    <a:pt x="105" y="44"/>
                    <a:pt x="129" y="74"/>
                    <a:pt x="146" y="96"/>
                  </a:cubicBezTo>
                  <a:cubicBezTo>
                    <a:pt x="150" y="101"/>
                    <a:pt x="154" y="106"/>
                    <a:pt x="157" y="110"/>
                  </a:cubicBezTo>
                  <a:cubicBezTo>
                    <a:pt x="160" y="113"/>
                    <a:pt x="160" y="113"/>
                    <a:pt x="160" y="113"/>
                  </a:cubicBezTo>
                  <a:cubicBezTo>
                    <a:pt x="163" y="110"/>
                    <a:pt x="163" y="110"/>
                    <a:pt x="163" y="110"/>
                  </a:cubicBezTo>
                  <a:cubicBezTo>
                    <a:pt x="166" y="106"/>
                    <a:pt x="170" y="101"/>
                    <a:pt x="174" y="96"/>
                  </a:cubicBezTo>
                  <a:cubicBezTo>
                    <a:pt x="191" y="74"/>
                    <a:pt x="215" y="44"/>
                    <a:pt x="256" y="44"/>
                  </a:cubicBezTo>
                  <a:cubicBezTo>
                    <a:pt x="284" y="44"/>
                    <a:pt x="284" y="44"/>
                    <a:pt x="284" y="44"/>
                  </a:cubicBezTo>
                  <a:cubicBezTo>
                    <a:pt x="259" y="20"/>
                    <a:pt x="259" y="20"/>
                    <a:pt x="259" y="20"/>
                  </a:cubicBezTo>
                  <a:cubicBezTo>
                    <a:pt x="255" y="15"/>
                    <a:pt x="255" y="9"/>
                    <a:pt x="259" y="4"/>
                  </a:cubicBezTo>
                  <a:cubicBezTo>
                    <a:pt x="263" y="0"/>
                    <a:pt x="270" y="0"/>
                    <a:pt x="274" y="4"/>
                  </a:cubicBezTo>
                  <a:cubicBezTo>
                    <a:pt x="317" y="47"/>
                    <a:pt x="317" y="47"/>
                    <a:pt x="317" y="47"/>
                  </a:cubicBezTo>
                  <a:cubicBezTo>
                    <a:pt x="318" y="48"/>
                    <a:pt x="319" y="49"/>
                    <a:pt x="319" y="51"/>
                  </a:cubicBezTo>
                  <a:cubicBezTo>
                    <a:pt x="320" y="53"/>
                    <a:pt x="320" y="56"/>
                    <a:pt x="319" y="59"/>
                  </a:cubicBezTo>
                  <a:cubicBezTo>
                    <a:pt x="319" y="60"/>
                    <a:pt x="318" y="61"/>
                    <a:pt x="317" y="62"/>
                  </a:cubicBezTo>
                  <a:cubicBezTo>
                    <a:pt x="274" y="105"/>
                    <a:pt x="274" y="105"/>
                    <a:pt x="274" y="105"/>
                  </a:cubicBezTo>
                  <a:cubicBezTo>
                    <a:pt x="272" y="107"/>
                    <a:pt x="269" y="108"/>
                    <a:pt x="267" y="108"/>
                  </a:cubicBezTo>
                  <a:cubicBezTo>
                    <a:pt x="264" y="108"/>
                    <a:pt x="261" y="107"/>
                    <a:pt x="259" y="105"/>
                  </a:cubicBezTo>
                  <a:cubicBezTo>
                    <a:pt x="255" y="101"/>
                    <a:pt x="255" y="94"/>
                    <a:pt x="259" y="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979">
              <a:extLst>
                <a:ext uri="{FF2B5EF4-FFF2-40B4-BE49-F238E27FC236}">
                  <a16:creationId xmlns:a16="http://schemas.microsoft.com/office/drawing/2014/main" id="{74E888D6-90F1-4B6C-899F-1A513BD003A3}"/>
                </a:ext>
              </a:extLst>
            </p:cNvPr>
            <p:cNvSpPr>
              <a:spLocks noEditPoints="1"/>
            </p:cNvSpPr>
            <p:nvPr/>
          </p:nvSpPr>
          <p:spPr bwMode="auto">
            <a:xfrm>
              <a:off x="5095" y="4001"/>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1 w 512"/>
                <a:gd name="T13" fmla="*/ 256 h 512"/>
                <a:gd name="T14" fmla="*/ 256 w 512"/>
                <a:gd name="T15" fmla="*/ 22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56" y="491"/>
                  </a:moveTo>
                  <a:cubicBezTo>
                    <a:pt x="127" y="491"/>
                    <a:pt x="21" y="386"/>
                    <a:pt x="21" y="256"/>
                  </a:cubicBezTo>
                  <a:cubicBezTo>
                    <a:pt x="21" y="127"/>
                    <a:pt x="127" y="22"/>
                    <a:pt x="256" y="22"/>
                  </a:cubicBezTo>
                  <a:cubicBezTo>
                    <a:pt x="385" y="22"/>
                    <a:pt x="491" y="127"/>
                    <a:pt x="491" y="256"/>
                  </a:cubicBezTo>
                  <a:cubicBezTo>
                    <a:pt x="491" y="386"/>
                    <a:pt x="385" y="491"/>
                    <a:pt x="256" y="4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6" name="Freeform 983">
            <a:extLst>
              <a:ext uri="{FF2B5EF4-FFF2-40B4-BE49-F238E27FC236}">
                <a16:creationId xmlns:a16="http://schemas.microsoft.com/office/drawing/2014/main" id="{76443AFC-36A1-49D6-95DF-14CEAC4EA29F}"/>
              </a:ext>
            </a:extLst>
          </p:cNvPr>
          <p:cNvSpPr>
            <a:spLocks noChangeAspect="1" noEditPoints="1"/>
          </p:cNvSpPr>
          <p:nvPr/>
        </p:nvSpPr>
        <p:spPr bwMode="auto">
          <a:xfrm>
            <a:off x="6567626" y="1697045"/>
            <a:ext cx="370106" cy="369021"/>
          </a:xfrm>
          <a:custGeom>
            <a:avLst/>
            <a:gdLst>
              <a:gd name="T0" fmla="*/ 0 w 512"/>
              <a:gd name="T1" fmla="*/ 256 h 512"/>
              <a:gd name="T2" fmla="*/ 512 w 512"/>
              <a:gd name="T3" fmla="*/ 256 h 512"/>
              <a:gd name="T4" fmla="*/ 352 w 512"/>
              <a:gd name="T5" fmla="*/ 192 h 512"/>
              <a:gd name="T6" fmla="*/ 275 w 512"/>
              <a:gd name="T7" fmla="*/ 251 h 512"/>
              <a:gd name="T8" fmla="*/ 275 w 512"/>
              <a:gd name="T9" fmla="*/ 262 h 512"/>
              <a:gd name="T10" fmla="*/ 352 w 512"/>
              <a:gd name="T11" fmla="*/ 320 h 512"/>
              <a:gd name="T12" fmla="*/ 355 w 512"/>
              <a:gd name="T13" fmla="*/ 296 h 512"/>
              <a:gd name="T14" fmla="*/ 370 w 512"/>
              <a:gd name="T15" fmla="*/ 281 h 512"/>
              <a:gd name="T16" fmla="*/ 415 w 512"/>
              <a:gd name="T17" fmla="*/ 327 h 512"/>
              <a:gd name="T18" fmla="*/ 413 w 512"/>
              <a:gd name="T19" fmla="*/ 339 h 512"/>
              <a:gd name="T20" fmla="*/ 363 w 512"/>
              <a:gd name="T21" fmla="*/ 384 h 512"/>
              <a:gd name="T22" fmla="*/ 355 w 512"/>
              <a:gd name="T23" fmla="*/ 366 h 512"/>
              <a:gd name="T24" fmla="*/ 352 w 512"/>
              <a:gd name="T25" fmla="*/ 342 h 512"/>
              <a:gd name="T26" fmla="*/ 259 w 512"/>
              <a:gd name="T27" fmla="*/ 276 h 512"/>
              <a:gd name="T28" fmla="*/ 253 w 512"/>
              <a:gd name="T29" fmla="*/ 276 h 512"/>
              <a:gd name="T30" fmla="*/ 160 w 512"/>
              <a:gd name="T31" fmla="*/ 342 h 512"/>
              <a:gd name="T32" fmla="*/ 96 w 512"/>
              <a:gd name="T33" fmla="*/ 331 h 512"/>
              <a:gd name="T34" fmla="*/ 160 w 512"/>
              <a:gd name="T35" fmla="*/ 320 h 512"/>
              <a:gd name="T36" fmla="*/ 237 w 512"/>
              <a:gd name="T37" fmla="*/ 261 h 512"/>
              <a:gd name="T38" fmla="*/ 237 w 512"/>
              <a:gd name="T39" fmla="*/ 251 h 512"/>
              <a:gd name="T40" fmla="*/ 160 w 512"/>
              <a:gd name="T41" fmla="*/ 192 h 512"/>
              <a:gd name="T42" fmla="*/ 96 w 512"/>
              <a:gd name="T43" fmla="*/ 182 h 512"/>
              <a:gd name="T44" fmla="*/ 160 w 512"/>
              <a:gd name="T45" fmla="*/ 171 h 512"/>
              <a:gd name="T46" fmla="*/ 253 w 512"/>
              <a:gd name="T47" fmla="*/ 237 h 512"/>
              <a:gd name="T48" fmla="*/ 259 w 512"/>
              <a:gd name="T49" fmla="*/ 237 h 512"/>
              <a:gd name="T50" fmla="*/ 352 w 512"/>
              <a:gd name="T51" fmla="*/ 171 h 512"/>
              <a:gd name="T52" fmla="*/ 355 w 512"/>
              <a:gd name="T53" fmla="*/ 147 h 512"/>
              <a:gd name="T54" fmla="*/ 370 w 512"/>
              <a:gd name="T55" fmla="*/ 131 h 512"/>
              <a:gd name="T56" fmla="*/ 415 w 512"/>
              <a:gd name="T57" fmla="*/ 178 h 512"/>
              <a:gd name="T58" fmla="*/ 413 w 512"/>
              <a:gd name="T59" fmla="*/ 189 h 512"/>
              <a:gd name="T60" fmla="*/ 363 w 512"/>
              <a:gd name="T61" fmla="*/ 235 h 512"/>
              <a:gd name="T62" fmla="*/ 355 w 512"/>
              <a:gd name="T63" fmla="*/ 217 h 512"/>
              <a:gd name="T64" fmla="*/ 352 w 512"/>
              <a:gd name="T65"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192"/>
                </a:moveTo>
                <a:cubicBezTo>
                  <a:pt x="321" y="192"/>
                  <a:pt x="303" y="216"/>
                  <a:pt x="287" y="237"/>
                </a:cubicBezTo>
                <a:cubicBezTo>
                  <a:pt x="282" y="242"/>
                  <a:pt x="278" y="247"/>
                  <a:pt x="275" y="251"/>
                </a:cubicBezTo>
                <a:cubicBezTo>
                  <a:pt x="270" y="256"/>
                  <a:pt x="270" y="256"/>
                  <a:pt x="270" y="256"/>
                </a:cubicBezTo>
                <a:cubicBezTo>
                  <a:pt x="275" y="262"/>
                  <a:pt x="275" y="262"/>
                  <a:pt x="275" y="262"/>
                </a:cubicBezTo>
                <a:cubicBezTo>
                  <a:pt x="278" y="266"/>
                  <a:pt x="282" y="271"/>
                  <a:pt x="287" y="276"/>
                </a:cubicBezTo>
                <a:cubicBezTo>
                  <a:pt x="303" y="297"/>
                  <a:pt x="321" y="320"/>
                  <a:pt x="352" y="320"/>
                </a:cubicBezTo>
                <a:cubicBezTo>
                  <a:pt x="380" y="320"/>
                  <a:pt x="380" y="320"/>
                  <a:pt x="380" y="320"/>
                </a:cubicBezTo>
                <a:cubicBezTo>
                  <a:pt x="355" y="296"/>
                  <a:pt x="355" y="296"/>
                  <a:pt x="355" y="296"/>
                </a:cubicBezTo>
                <a:cubicBezTo>
                  <a:pt x="351" y="292"/>
                  <a:pt x="351" y="285"/>
                  <a:pt x="355" y="281"/>
                </a:cubicBezTo>
                <a:cubicBezTo>
                  <a:pt x="359" y="277"/>
                  <a:pt x="366" y="277"/>
                  <a:pt x="370" y="281"/>
                </a:cubicBezTo>
                <a:cubicBezTo>
                  <a:pt x="413" y="323"/>
                  <a:pt x="413" y="323"/>
                  <a:pt x="413" y="323"/>
                </a:cubicBezTo>
                <a:cubicBezTo>
                  <a:pt x="414" y="324"/>
                  <a:pt x="415" y="326"/>
                  <a:pt x="415" y="327"/>
                </a:cubicBezTo>
                <a:cubicBezTo>
                  <a:pt x="416" y="330"/>
                  <a:pt x="416" y="332"/>
                  <a:pt x="415" y="335"/>
                </a:cubicBezTo>
                <a:cubicBezTo>
                  <a:pt x="415" y="336"/>
                  <a:pt x="414" y="338"/>
                  <a:pt x="413" y="339"/>
                </a:cubicBezTo>
                <a:cubicBezTo>
                  <a:pt x="370" y="381"/>
                  <a:pt x="370" y="381"/>
                  <a:pt x="370" y="381"/>
                </a:cubicBezTo>
                <a:cubicBezTo>
                  <a:pt x="368" y="383"/>
                  <a:pt x="365" y="384"/>
                  <a:pt x="363" y="384"/>
                </a:cubicBezTo>
                <a:cubicBezTo>
                  <a:pt x="360" y="384"/>
                  <a:pt x="357" y="383"/>
                  <a:pt x="355" y="381"/>
                </a:cubicBezTo>
                <a:cubicBezTo>
                  <a:pt x="351" y="377"/>
                  <a:pt x="351" y="370"/>
                  <a:pt x="355" y="366"/>
                </a:cubicBezTo>
                <a:cubicBezTo>
                  <a:pt x="380" y="342"/>
                  <a:pt x="380" y="342"/>
                  <a:pt x="380" y="342"/>
                </a:cubicBezTo>
                <a:cubicBezTo>
                  <a:pt x="352" y="342"/>
                  <a:pt x="352" y="342"/>
                  <a:pt x="352" y="342"/>
                </a:cubicBezTo>
                <a:cubicBezTo>
                  <a:pt x="311" y="342"/>
                  <a:pt x="287" y="311"/>
                  <a:pt x="270" y="289"/>
                </a:cubicBezTo>
                <a:cubicBezTo>
                  <a:pt x="266" y="284"/>
                  <a:pt x="262" y="280"/>
                  <a:pt x="259" y="276"/>
                </a:cubicBezTo>
                <a:cubicBezTo>
                  <a:pt x="256" y="273"/>
                  <a:pt x="256" y="273"/>
                  <a:pt x="256" y="273"/>
                </a:cubicBezTo>
                <a:cubicBezTo>
                  <a:pt x="253" y="276"/>
                  <a:pt x="253" y="276"/>
                  <a:pt x="253" y="276"/>
                </a:cubicBezTo>
                <a:cubicBezTo>
                  <a:pt x="250" y="280"/>
                  <a:pt x="246" y="284"/>
                  <a:pt x="242" y="289"/>
                </a:cubicBezTo>
                <a:cubicBezTo>
                  <a:pt x="225" y="311"/>
                  <a:pt x="201" y="342"/>
                  <a:pt x="160" y="342"/>
                </a:cubicBezTo>
                <a:cubicBezTo>
                  <a:pt x="107" y="342"/>
                  <a:pt x="107" y="342"/>
                  <a:pt x="107" y="342"/>
                </a:cubicBezTo>
                <a:cubicBezTo>
                  <a:pt x="101" y="342"/>
                  <a:pt x="96" y="337"/>
                  <a:pt x="96" y="331"/>
                </a:cubicBezTo>
                <a:cubicBezTo>
                  <a:pt x="96" y="325"/>
                  <a:pt x="101" y="320"/>
                  <a:pt x="107" y="320"/>
                </a:cubicBezTo>
                <a:cubicBezTo>
                  <a:pt x="160" y="320"/>
                  <a:pt x="160" y="320"/>
                  <a:pt x="160" y="320"/>
                </a:cubicBezTo>
                <a:cubicBezTo>
                  <a:pt x="191" y="320"/>
                  <a:pt x="209" y="297"/>
                  <a:pt x="225" y="276"/>
                </a:cubicBezTo>
                <a:cubicBezTo>
                  <a:pt x="230" y="271"/>
                  <a:pt x="234" y="266"/>
                  <a:pt x="237" y="261"/>
                </a:cubicBezTo>
                <a:cubicBezTo>
                  <a:pt x="242" y="256"/>
                  <a:pt x="242" y="256"/>
                  <a:pt x="242" y="256"/>
                </a:cubicBezTo>
                <a:cubicBezTo>
                  <a:pt x="237" y="251"/>
                  <a:pt x="237" y="251"/>
                  <a:pt x="237" y="251"/>
                </a:cubicBezTo>
                <a:cubicBezTo>
                  <a:pt x="234" y="247"/>
                  <a:pt x="230" y="242"/>
                  <a:pt x="225" y="237"/>
                </a:cubicBezTo>
                <a:cubicBezTo>
                  <a:pt x="209" y="216"/>
                  <a:pt x="191" y="192"/>
                  <a:pt x="160" y="192"/>
                </a:cubicBezTo>
                <a:cubicBezTo>
                  <a:pt x="107" y="192"/>
                  <a:pt x="107" y="192"/>
                  <a:pt x="107" y="192"/>
                </a:cubicBezTo>
                <a:cubicBezTo>
                  <a:pt x="101" y="192"/>
                  <a:pt x="96" y="188"/>
                  <a:pt x="96" y="182"/>
                </a:cubicBezTo>
                <a:cubicBezTo>
                  <a:pt x="96" y="176"/>
                  <a:pt x="101" y="171"/>
                  <a:pt x="107" y="171"/>
                </a:cubicBezTo>
                <a:cubicBezTo>
                  <a:pt x="160" y="171"/>
                  <a:pt x="160" y="171"/>
                  <a:pt x="160" y="171"/>
                </a:cubicBezTo>
                <a:cubicBezTo>
                  <a:pt x="201" y="171"/>
                  <a:pt x="225" y="201"/>
                  <a:pt x="242" y="223"/>
                </a:cubicBezTo>
                <a:cubicBezTo>
                  <a:pt x="246" y="228"/>
                  <a:pt x="250" y="233"/>
                  <a:pt x="253" y="237"/>
                </a:cubicBezTo>
                <a:cubicBezTo>
                  <a:pt x="256" y="240"/>
                  <a:pt x="256" y="240"/>
                  <a:pt x="256" y="240"/>
                </a:cubicBezTo>
                <a:cubicBezTo>
                  <a:pt x="259" y="237"/>
                  <a:pt x="259" y="237"/>
                  <a:pt x="259" y="237"/>
                </a:cubicBezTo>
                <a:cubicBezTo>
                  <a:pt x="262" y="233"/>
                  <a:pt x="266" y="228"/>
                  <a:pt x="270" y="223"/>
                </a:cubicBezTo>
                <a:cubicBezTo>
                  <a:pt x="287" y="201"/>
                  <a:pt x="311" y="171"/>
                  <a:pt x="352" y="171"/>
                </a:cubicBezTo>
                <a:cubicBezTo>
                  <a:pt x="380" y="171"/>
                  <a:pt x="380" y="171"/>
                  <a:pt x="380" y="171"/>
                </a:cubicBezTo>
                <a:cubicBezTo>
                  <a:pt x="355" y="147"/>
                  <a:pt x="355" y="147"/>
                  <a:pt x="355" y="147"/>
                </a:cubicBezTo>
                <a:cubicBezTo>
                  <a:pt x="351" y="142"/>
                  <a:pt x="351" y="136"/>
                  <a:pt x="355" y="131"/>
                </a:cubicBezTo>
                <a:cubicBezTo>
                  <a:pt x="359" y="127"/>
                  <a:pt x="366" y="127"/>
                  <a:pt x="370" y="131"/>
                </a:cubicBezTo>
                <a:cubicBezTo>
                  <a:pt x="413" y="174"/>
                  <a:pt x="413" y="174"/>
                  <a:pt x="413" y="174"/>
                </a:cubicBezTo>
                <a:cubicBezTo>
                  <a:pt x="414" y="175"/>
                  <a:pt x="415" y="176"/>
                  <a:pt x="415" y="178"/>
                </a:cubicBezTo>
                <a:cubicBezTo>
                  <a:pt x="416" y="180"/>
                  <a:pt x="416" y="183"/>
                  <a:pt x="415" y="186"/>
                </a:cubicBezTo>
                <a:cubicBezTo>
                  <a:pt x="415" y="187"/>
                  <a:pt x="414" y="188"/>
                  <a:pt x="413" y="189"/>
                </a:cubicBezTo>
                <a:cubicBezTo>
                  <a:pt x="370" y="232"/>
                  <a:pt x="370" y="232"/>
                  <a:pt x="370" y="232"/>
                </a:cubicBezTo>
                <a:cubicBezTo>
                  <a:pt x="368" y="234"/>
                  <a:pt x="365" y="235"/>
                  <a:pt x="363" y="235"/>
                </a:cubicBezTo>
                <a:cubicBezTo>
                  <a:pt x="360" y="235"/>
                  <a:pt x="357" y="234"/>
                  <a:pt x="355" y="232"/>
                </a:cubicBezTo>
                <a:cubicBezTo>
                  <a:pt x="351" y="228"/>
                  <a:pt x="351" y="221"/>
                  <a:pt x="355" y="217"/>
                </a:cubicBezTo>
                <a:cubicBezTo>
                  <a:pt x="380" y="192"/>
                  <a:pt x="380" y="192"/>
                  <a:pt x="380" y="192"/>
                </a:cubicBezTo>
                <a:lnTo>
                  <a:pt x="352" y="19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7" name="TextBox 156">
            <a:extLst>
              <a:ext uri="{FF2B5EF4-FFF2-40B4-BE49-F238E27FC236}">
                <a16:creationId xmlns:a16="http://schemas.microsoft.com/office/drawing/2014/main" id="{B172F688-ABB0-4627-960A-F435CD779D38}"/>
              </a:ext>
            </a:extLst>
          </p:cNvPr>
          <p:cNvSpPr txBox="1"/>
          <p:nvPr/>
        </p:nvSpPr>
        <p:spPr>
          <a:xfrm>
            <a:off x="469900" y="295170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le code</a:t>
            </a:r>
          </a:p>
        </p:txBody>
      </p:sp>
      <p:sp>
        <p:nvSpPr>
          <p:cNvPr id="158" name="TextBox 157">
            <a:extLst>
              <a:ext uri="{FF2B5EF4-FFF2-40B4-BE49-F238E27FC236}">
                <a16:creationId xmlns:a16="http://schemas.microsoft.com/office/drawing/2014/main" id="{543AD05E-E8FF-410A-AC02-FF96A80F29D2}"/>
              </a:ext>
            </a:extLst>
          </p:cNvPr>
          <p:cNvSpPr txBox="1"/>
          <p:nvPr/>
        </p:nvSpPr>
        <p:spPr>
          <a:xfrm>
            <a:off x="10891308" y="21135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aker</a:t>
            </a:r>
          </a:p>
        </p:txBody>
      </p:sp>
      <p:sp>
        <p:nvSpPr>
          <p:cNvPr id="159" name="TextBox 158">
            <a:extLst>
              <a:ext uri="{FF2B5EF4-FFF2-40B4-BE49-F238E27FC236}">
                <a16:creationId xmlns:a16="http://schemas.microsoft.com/office/drawing/2014/main" id="{7FDE7437-1290-4D84-ABBA-E5BD8C22658C}"/>
              </a:ext>
            </a:extLst>
          </p:cNvPr>
          <p:cNvSpPr txBox="1"/>
          <p:nvPr/>
        </p:nvSpPr>
        <p:spPr>
          <a:xfrm>
            <a:off x="1314578" y="2951702"/>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log</a:t>
            </a:r>
          </a:p>
        </p:txBody>
      </p:sp>
      <p:sp>
        <p:nvSpPr>
          <p:cNvPr id="160" name="Freeform 552">
            <a:extLst>
              <a:ext uri="{FF2B5EF4-FFF2-40B4-BE49-F238E27FC236}">
                <a16:creationId xmlns:a16="http://schemas.microsoft.com/office/drawing/2014/main" id="{A41B7A95-A0EE-4CE1-8718-1067D7BB498E}"/>
              </a:ext>
            </a:extLst>
          </p:cNvPr>
          <p:cNvSpPr>
            <a:spLocks noChangeAspect="1" noEditPoints="1"/>
          </p:cNvSpPr>
          <p:nvPr/>
        </p:nvSpPr>
        <p:spPr bwMode="auto">
          <a:xfrm>
            <a:off x="1356855" y="2533626"/>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373 h 512"/>
              <a:gd name="T12" fmla="*/ 138 w 512"/>
              <a:gd name="T13" fmla="*/ 320 h 512"/>
              <a:gd name="T14" fmla="*/ 138 w 512"/>
              <a:gd name="T15" fmla="*/ 213 h 512"/>
              <a:gd name="T16" fmla="*/ 149 w 512"/>
              <a:gd name="T17" fmla="*/ 202 h 512"/>
              <a:gd name="T18" fmla="*/ 160 w 512"/>
              <a:gd name="T19" fmla="*/ 213 h 512"/>
              <a:gd name="T20" fmla="*/ 160 w 512"/>
              <a:gd name="T21" fmla="*/ 320 h 512"/>
              <a:gd name="T22" fmla="*/ 192 w 512"/>
              <a:gd name="T23" fmla="*/ 352 h 512"/>
              <a:gd name="T24" fmla="*/ 224 w 512"/>
              <a:gd name="T25" fmla="*/ 320 h 512"/>
              <a:gd name="T26" fmla="*/ 192 w 512"/>
              <a:gd name="T27" fmla="*/ 288 h 512"/>
              <a:gd name="T28" fmla="*/ 181 w 512"/>
              <a:gd name="T29" fmla="*/ 277 h 512"/>
              <a:gd name="T30" fmla="*/ 192 w 512"/>
              <a:gd name="T31" fmla="*/ 266 h 512"/>
              <a:gd name="T32" fmla="*/ 245 w 512"/>
              <a:gd name="T33" fmla="*/ 320 h 512"/>
              <a:gd name="T34" fmla="*/ 192 w 512"/>
              <a:gd name="T35" fmla="*/ 373 h 512"/>
              <a:gd name="T36" fmla="*/ 298 w 512"/>
              <a:gd name="T37" fmla="*/ 330 h 512"/>
              <a:gd name="T38" fmla="*/ 288 w 512"/>
              <a:gd name="T39" fmla="*/ 320 h 512"/>
              <a:gd name="T40" fmla="*/ 192 w 512"/>
              <a:gd name="T41" fmla="*/ 224 h 512"/>
              <a:gd name="T42" fmla="*/ 181 w 512"/>
              <a:gd name="T43" fmla="*/ 213 h 512"/>
              <a:gd name="T44" fmla="*/ 192 w 512"/>
              <a:gd name="T45" fmla="*/ 202 h 512"/>
              <a:gd name="T46" fmla="*/ 309 w 512"/>
              <a:gd name="T47" fmla="*/ 320 h 512"/>
              <a:gd name="T48" fmla="*/ 298 w 512"/>
              <a:gd name="T49" fmla="*/ 330 h 512"/>
              <a:gd name="T50" fmla="*/ 373 w 512"/>
              <a:gd name="T51" fmla="*/ 330 h 512"/>
              <a:gd name="T52" fmla="*/ 362 w 512"/>
              <a:gd name="T53" fmla="*/ 320 h 512"/>
              <a:gd name="T54" fmla="*/ 192 w 512"/>
              <a:gd name="T55" fmla="*/ 149 h 512"/>
              <a:gd name="T56" fmla="*/ 181 w 512"/>
              <a:gd name="T57" fmla="*/ 138 h 512"/>
              <a:gd name="T58" fmla="*/ 192 w 512"/>
              <a:gd name="T59" fmla="*/ 128 h 512"/>
              <a:gd name="T60" fmla="*/ 384 w 512"/>
              <a:gd name="T61" fmla="*/ 320 h 512"/>
              <a:gd name="T62" fmla="*/ 373 w 512"/>
              <a:gd name="T63"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373"/>
                </a:moveTo>
                <a:cubicBezTo>
                  <a:pt x="162" y="373"/>
                  <a:pt x="138" y="349"/>
                  <a:pt x="138" y="320"/>
                </a:cubicBezTo>
                <a:cubicBezTo>
                  <a:pt x="138" y="213"/>
                  <a:pt x="138" y="213"/>
                  <a:pt x="138" y="213"/>
                </a:cubicBezTo>
                <a:cubicBezTo>
                  <a:pt x="138" y="207"/>
                  <a:pt x="143" y="202"/>
                  <a:pt x="149" y="202"/>
                </a:cubicBezTo>
                <a:cubicBezTo>
                  <a:pt x="155" y="202"/>
                  <a:pt x="160" y="207"/>
                  <a:pt x="160" y="213"/>
                </a:cubicBezTo>
                <a:cubicBezTo>
                  <a:pt x="160" y="320"/>
                  <a:pt x="160" y="320"/>
                  <a:pt x="160" y="320"/>
                </a:cubicBezTo>
                <a:cubicBezTo>
                  <a:pt x="160" y="337"/>
                  <a:pt x="174" y="352"/>
                  <a:pt x="192" y="352"/>
                </a:cubicBezTo>
                <a:cubicBezTo>
                  <a:pt x="209" y="352"/>
                  <a:pt x="224" y="337"/>
                  <a:pt x="224" y="320"/>
                </a:cubicBezTo>
                <a:cubicBezTo>
                  <a:pt x="224" y="302"/>
                  <a:pt x="209" y="288"/>
                  <a:pt x="192" y="288"/>
                </a:cubicBezTo>
                <a:cubicBezTo>
                  <a:pt x="186" y="288"/>
                  <a:pt x="181" y="283"/>
                  <a:pt x="181" y="277"/>
                </a:cubicBezTo>
                <a:cubicBezTo>
                  <a:pt x="181" y="271"/>
                  <a:pt x="186" y="266"/>
                  <a:pt x="192" y="266"/>
                </a:cubicBezTo>
                <a:cubicBezTo>
                  <a:pt x="221" y="266"/>
                  <a:pt x="245" y="290"/>
                  <a:pt x="245" y="320"/>
                </a:cubicBezTo>
                <a:cubicBezTo>
                  <a:pt x="245" y="349"/>
                  <a:pt x="221" y="373"/>
                  <a:pt x="192" y="373"/>
                </a:cubicBezTo>
                <a:close/>
                <a:moveTo>
                  <a:pt x="298" y="330"/>
                </a:moveTo>
                <a:cubicBezTo>
                  <a:pt x="292" y="330"/>
                  <a:pt x="288" y="326"/>
                  <a:pt x="288" y="320"/>
                </a:cubicBezTo>
                <a:cubicBezTo>
                  <a:pt x="288" y="267"/>
                  <a:pt x="245" y="224"/>
                  <a:pt x="192" y="224"/>
                </a:cubicBezTo>
                <a:cubicBezTo>
                  <a:pt x="186" y="224"/>
                  <a:pt x="181" y="219"/>
                  <a:pt x="181" y="213"/>
                </a:cubicBezTo>
                <a:cubicBezTo>
                  <a:pt x="181" y="207"/>
                  <a:pt x="186" y="202"/>
                  <a:pt x="192" y="202"/>
                </a:cubicBezTo>
                <a:cubicBezTo>
                  <a:pt x="256" y="202"/>
                  <a:pt x="309" y="255"/>
                  <a:pt x="309" y="320"/>
                </a:cubicBezTo>
                <a:cubicBezTo>
                  <a:pt x="309" y="326"/>
                  <a:pt x="304" y="330"/>
                  <a:pt x="298" y="330"/>
                </a:cubicBezTo>
                <a:close/>
                <a:moveTo>
                  <a:pt x="373" y="330"/>
                </a:moveTo>
                <a:cubicBezTo>
                  <a:pt x="367" y="330"/>
                  <a:pt x="362" y="326"/>
                  <a:pt x="362" y="320"/>
                </a:cubicBezTo>
                <a:cubicBezTo>
                  <a:pt x="362" y="226"/>
                  <a:pt x="286" y="149"/>
                  <a:pt x="192" y="149"/>
                </a:cubicBezTo>
                <a:cubicBezTo>
                  <a:pt x="186" y="149"/>
                  <a:pt x="181" y="144"/>
                  <a:pt x="181" y="138"/>
                </a:cubicBezTo>
                <a:cubicBezTo>
                  <a:pt x="181" y="132"/>
                  <a:pt x="186" y="128"/>
                  <a:pt x="192" y="128"/>
                </a:cubicBezTo>
                <a:cubicBezTo>
                  <a:pt x="298" y="128"/>
                  <a:pt x="384" y="214"/>
                  <a:pt x="384" y="320"/>
                </a:cubicBezTo>
                <a:cubicBezTo>
                  <a:pt x="384" y="326"/>
                  <a:pt x="379" y="330"/>
                  <a:pt x="373" y="33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61" name="Group 555">
            <a:extLst>
              <a:ext uri="{FF2B5EF4-FFF2-40B4-BE49-F238E27FC236}">
                <a16:creationId xmlns:a16="http://schemas.microsoft.com/office/drawing/2014/main" id="{25EBA744-407E-4C57-A23D-FB247A59F6B7}"/>
              </a:ext>
            </a:extLst>
          </p:cNvPr>
          <p:cNvGrpSpPr>
            <a:grpSpLocks noChangeAspect="1"/>
          </p:cNvGrpSpPr>
          <p:nvPr/>
        </p:nvGrpSpPr>
        <p:grpSpPr bwMode="auto">
          <a:xfrm>
            <a:off x="1789021" y="2533626"/>
            <a:ext cx="367982" cy="367982"/>
            <a:chOff x="4144" y="3013"/>
            <a:chExt cx="340" cy="340"/>
          </a:xfrm>
          <a:solidFill>
            <a:schemeClr val="accent6"/>
          </a:solidFill>
        </p:grpSpPr>
        <p:sp>
          <p:nvSpPr>
            <p:cNvPr id="162" name="Freeform 556">
              <a:extLst>
                <a:ext uri="{FF2B5EF4-FFF2-40B4-BE49-F238E27FC236}">
                  <a16:creationId xmlns:a16="http://schemas.microsoft.com/office/drawing/2014/main" id="{1E9B1D74-D724-4982-A9B0-0F9D90FA8F7D}"/>
                </a:ext>
              </a:extLst>
            </p:cNvPr>
            <p:cNvSpPr>
              <a:spLocks noEditPoints="1"/>
            </p:cNvSpPr>
            <p:nvPr/>
          </p:nvSpPr>
          <p:spPr bwMode="auto">
            <a:xfrm>
              <a:off x="4144" y="30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3" name="Freeform 557">
              <a:extLst>
                <a:ext uri="{FF2B5EF4-FFF2-40B4-BE49-F238E27FC236}">
                  <a16:creationId xmlns:a16="http://schemas.microsoft.com/office/drawing/2014/main" id="{1E88AAB1-DB8A-4D34-B300-13E21442B144}"/>
                </a:ext>
              </a:extLst>
            </p:cNvPr>
            <p:cNvSpPr>
              <a:spLocks noEditPoints="1"/>
            </p:cNvSpPr>
            <p:nvPr/>
          </p:nvSpPr>
          <p:spPr bwMode="auto">
            <a:xfrm>
              <a:off x="4236" y="3098"/>
              <a:ext cx="163" cy="163"/>
            </a:xfrm>
            <a:custGeom>
              <a:avLst/>
              <a:gdLst>
                <a:gd name="T0" fmla="*/ 54 w 246"/>
                <a:gd name="T1" fmla="*/ 245 h 245"/>
                <a:gd name="T2" fmla="*/ 0 w 246"/>
                <a:gd name="T3" fmla="*/ 192 h 245"/>
                <a:gd name="T4" fmla="*/ 0 w 246"/>
                <a:gd name="T5" fmla="*/ 85 h 245"/>
                <a:gd name="T6" fmla="*/ 11 w 246"/>
                <a:gd name="T7" fmla="*/ 74 h 245"/>
                <a:gd name="T8" fmla="*/ 22 w 246"/>
                <a:gd name="T9" fmla="*/ 85 h 245"/>
                <a:gd name="T10" fmla="*/ 22 w 246"/>
                <a:gd name="T11" fmla="*/ 192 h 245"/>
                <a:gd name="T12" fmla="*/ 54 w 246"/>
                <a:gd name="T13" fmla="*/ 224 h 245"/>
                <a:gd name="T14" fmla="*/ 86 w 246"/>
                <a:gd name="T15" fmla="*/ 192 h 245"/>
                <a:gd name="T16" fmla="*/ 54 w 246"/>
                <a:gd name="T17" fmla="*/ 160 h 245"/>
                <a:gd name="T18" fmla="*/ 43 w 246"/>
                <a:gd name="T19" fmla="*/ 149 h 245"/>
                <a:gd name="T20" fmla="*/ 54 w 246"/>
                <a:gd name="T21" fmla="*/ 138 h 245"/>
                <a:gd name="T22" fmla="*/ 107 w 246"/>
                <a:gd name="T23" fmla="*/ 192 h 245"/>
                <a:gd name="T24" fmla="*/ 54 w 246"/>
                <a:gd name="T25" fmla="*/ 245 h 245"/>
                <a:gd name="T26" fmla="*/ 171 w 246"/>
                <a:gd name="T27" fmla="*/ 192 h 245"/>
                <a:gd name="T28" fmla="*/ 54 w 246"/>
                <a:gd name="T29" fmla="*/ 74 h 245"/>
                <a:gd name="T30" fmla="*/ 43 w 246"/>
                <a:gd name="T31" fmla="*/ 85 h 245"/>
                <a:gd name="T32" fmla="*/ 54 w 246"/>
                <a:gd name="T33" fmla="*/ 96 h 245"/>
                <a:gd name="T34" fmla="*/ 150 w 246"/>
                <a:gd name="T35" fmla="*/ 192 h 245"/>
                <a:gd name="T36" fmla="*/ 160 w 246"/>
                <a:gd name="T37" fmla="*/ 202 h 245"/>
                <a:gd name="T38" fmla="*/ 171 w 246"/>
                <a:gd name="T39" fmla="*/ 192 h 245"/>
                <a:gd name="T40" fmla="*/ 246 w 246"/>
                <a:gd name="T41" fmla="*/ 192 h 245"/>
                <a:gd name="T42" fmla="*/ 54 w 246"/>
                <a:gd name="T43" fmla="*/ 0 h 245"/>
                <a:gd name="T44" fmla="*/ 43 w 246"/>
                <a:gd name="T45" fmla="*/ 10 h 245"/>
                <a:gd name="T46" fmla="*/ 54 w 246"/>
                <a:gd name="T47" fmla="*/ 21 h 245"/>
                <a:gd name="T48" fmla="*/ 224 w 246"/>
                <a:gd name="T49" fmla="*/ 192 h 245"/>
                <a:gd name="T50" fmla="*/ 235 w 246"/>
                <a:gd name="T51" fmla="*/ 202 h 245"/>
                <a:gd name="T52" fmla="*/ 246 w 246"/>
                <a:gd name="T53" fmla="*/ 1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45">
                  <a:moveTo>
                    <a:pt x="54" y="245"/>
                  </a:moveTo>
                  <a:cubicBezTo>
                    <a:pt x="24" y="245"/>
                    <a:pt x="0" y="221"/>
                    <a:pt x="0" y="192"/>
                  </a:cubicBezTo>
                  <a:cubicBezTo>
                    <a:pt x="0" y="85"/>
                    <a:pt x="0" y="85"/>
                    <a:pt x="0" y="85"/>
                  </a:cubicBezTo>
                  <a:cubicBezTo>
                    <a:pt x="0" y="79"/>
                    <a:pt x="5" y="74"/>
                    <a:pt x="11" y="74"/>
                  </a:cubicBezTo>
                  <a:cubicBezTo>
                    <a:pt x="17" y="74"/>
                    <a:pt x="22" y="79"/>
                    <a:pt x="22" y="85"/>
                  </a:cubicBezTo>
                  <a:cubicBezTo>
                    <a:pt x="22" y="192"/>
                    <a:pt x="22" y="192"/>
                    <a:pt x="22" y="192"/>
                  </a:cubicBezTo>
                  <a:cubicBezTo>
                    <a:pt x="22" y="209"/>
                    <a:pt x="36" y="224"/>
                    <a:pt x="54" y="224"/>
                  </a:cubicBezTo>
                  <a:cubicBezTo>
                    <a:pt x="71" y="224"/>
                    <a:pt x="86" y="209"/>
                    <a:pt x="86" y="192"/>
                  </a:cubicBezTo>
                  <a:cubicBezTo>
                    <a:pt x="86" y="174"/>
                    <a:pt x="71" y="160"/>
                    <a:pt x="54" y="160"/>
                  </a:cubicBezTo>
                  <a:cubicBezTo>
                    <a:pt x="48" y="160"/>
                    <a:pt x="43" y="155"/>
                    <a:pt x="43" y="149"/>
                  </a:cubicBezTo>
                  <a:cubicBezTo>
                    <a:pt x="43" y="143"/>
                    <a:pt x="48" y="138"/>
                    <a:pt x="54" y="138"/>
                  </a:cubicBezTo>
                  <a:cubicBezTo>
                    <a:pt x="83" y="138"/>
                    <a:pt x="107" y="162"/>
                    <a:pt x="107" y="192"/>
                  </a:cubicBezTo>
                  <a:cubicBezTo>
                    <a:pt x="107" y="221"/>
                    <a:pt x="83" y="245"/>
                    <a:pt x="54" y="245"/>
                  </a:cubicBezTo>
                  <a:close/>
                  <a:moveTo>
                    <a:pt x="171" y="192"/>
                  </a:moveTo>
                  <a:cubicBezTo>
                    <a:pt x="171" y="127"/>
                    <a:pt x="118" y="74"/>
                    <a:pt x="54" y="74"/>
                  </a:cubicBezTo>
                  <a:cubicBezTo>
                    <a:pt x="48" y="74"/>
                    <a:pt x="43" y="79"/>
                    <a:pt x="43" y="85"/>
                  </a:cubicBezTo>
                  <a:cubicBezTo>
                    <a:pt x="43" y="91"/>
                    <a:pt x="48" y="96"/>
                    <a:pt x="54" y="96"/>
                  </a:cubicBezTo>
                  <a:cubicBezTo>
                    <a:pt x="107" y="96"/>
                    <a:pt x="150" y="139"/>
                    <a:pt x="150" y="192"/>
                  </a:cubicBezTo>
                  <a:cubicBezTo>
                    <a:pt x="150" y="198"/>
                    <a:pt x="154" y="202"/>
                    <a:pt x="160" y="202"/>
                  </a:cubicBezTo>
                  <a:cubicBezTo>
                    <a:pt x="166" y="202"/>
                    <a:pt x="171" y="198"/>
                    <a:pt x="171" y="192"/>
                  </a:cubicBezTo>
                  <a:close/>
                  <a:moveTo>
                    <a:pt x="246" y="192"/>
                  </a:moveTo>
                  <a:cubicBezTo>
                    <a:pt x="246" y="86"/>
                    <a:pt x="160" y="0"/>
                    <a:pt x="54" y="0"/>
                  </a:cubicBezTo>
                  <a:cubicBezTo>
                    <a:pt x="48" y="0"/>
                    <a:pt x="43" y="4"/>
                    <a:pt x="43" y="10"/>
                  </a:cubicBezTo>
                  <a:cubicBezTo>
                    <a:pt x="43" y="16"/>
                    <a:pt x="48" y="21"/>
                    <a:pt x="54" y="21"/>
                  </a:cubicBezTo>
                  <a:cubicBezTo>
                    <a:pt x="148" y="21"/>
                    <a:pt x="224" y="98"/>
                    <a:pt x="224" y="192"/>
                  </a:cubicBezTo>
                  <a:cubicBezTo>
                    <a:pt x="224" y="198"/>
                    <a:pt x="229" y="202"/>
                    <a:pt x="235" y="202"/>
                  </a:cubicBezTo>
                  <a:cubicBezTo>
                    <a:pt x="241" y="202"/>
                    <a:pt x="246" y="198"/>
                    <a:pt x="24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4" name="Group 163">
            <a:extLst>
              <a:ext uri="{FF2B5EF4-FFF2-40B4-BE49-F238E27FC236}">
                <a16:creationId xmlns:a16="http://schemas.microsoft.com/office/drawing/2014/main" id="{B34AB8B7-1E1D-4F6D-84B1-5084D4A8074C}"/>
              </a:ext>
            </a:extLst>
          </p:cNvPr>
          <p:cNvGrpSpPr>
            <a:grpSpLocks noChangeAspect="1"/>
          </p:cNvGrpSpPr>
          <p:nvPr/>
        </p:nvGrpSpPr>
        <p:grpSpPr>
          <a:xfrm>
            <a:off x="919807" y="2533626"/>
            <a:ext cx="372865" cy="370800"/>
            <a:chOff x="5157788" y="2657475"/>
            <a:chExt cx="3159125" cy="3141663"/>
          </a:xfrm>
          <a:solidFill>
            <a:schemeClr val="accent2"/>
          </a:solidFill>
        </p:grpSpPr>
        <p:sp>
          <p:nvSpPr>
            <p:cNvPr id="165" name="Freeform 9">
              <a:extLst>
                <a:ext uri="{FF2B5EF4-FFF2-40B4-BE49-F238E27FC236}">
                  <a16:creationId xmlns:a16="http://schemas.microsoft.com/office/drawing/2014/main" id="{997F4D92-91E4-49C9-B5B1-EE3F24584890}"/>
                </a:ext>
              </a:extLst>
            </p:cNvPr>
            <p:cNvSpPr>
              <a:spLocks noEditPoints="1"/>
            </p:cNvSpPr>
            <p:nvPr/>
          </p:nvSpPr>
          <p:spPr bwMode="auto">
            <a:xfrm>
              <a:off x="6013451" y="3246438"/>
              <a:ext cx="1447800" cy="1963738"/>
            </a:xfrm>
            <a:custGeom>
              <a:avLst/>
              <a:gdLst>
                <a:gd name="T0" fmla="*/ 175 w 176"/>
                <a:gd name="T1" fmla="*/ 61 h 240"/>
                <a:gd name="T2" fmla="*/ 173 w 176"/>
                <a:gd name="T3" fmla="*/ 58 h 240"/>
                <a:gd name="T4" fmla="*/ 117 w 176"/>
                <a:gd name="T5" fmla="*/ 2 h 240"/>
                <a:gd name="T6" fmla="*/ 117 w 176"/>
                <a:gd name="T7" fmla="*/ 2 h 240"/>
                <a:gd name="T8" fmla="*/ 117 w 176"/>
                <a:gd name="T9" fmla="*/ 2 h 240"/>
                <a:gd name="T10" fmla="*/ 117 w 176"/>
                <a:gd name="T11" fmla="*/ 2 h 240"/>
                <a:gd name="T12" fmla="*/ 112 w 176"/>
                <a:gd name="T13" fmla="*/ 0 h 240"/>
                <a:gd name="T14" fmla="*/ 8 w 176"/>
                <a:gd name="T15" fmla="*/ 0 h 240"/>
                <a:gd name="T16" fmla="*/ 0 w 176"/>
                <a:gd name="T17" fmla="*/ 8 h 240"/>
                <a:gd name="T18" fmla="*/ 0 w 176"/>
                <a:gd name="T19" fmla="*/ 232 h 240"/>
                <a:gd name="T20" fmla="*/ 8 w 176"/>
                <a:gd name="T21" fmla="*/ 240 h 240"/>
                <a:gd name="T22" fmla="*/ 168 w 176"/>
                <a:gd name="T23" fmla="*/ 240 h 240"/>
                <a:gd name="T24" fmla="*/ 176 w 176"/>
                <a:gd name="T25" fmla="*/ 232 h 240"/>
                <a:gd name="T26" fmla="*/ 176 w 176"/>
                <a:gd name="T27" fmla="*/ 64 h 240"/>
                <a:gd name="T28" fmla="*/ 176 w 176"/>
                <a:gd name="T29" fmla="*/ 64 h 240"/>
                <a:gd name="T30" fmla="*/ 175 w 176"/>
                <a:gd name="T31" fmla="*/ 61 h 240"/>
                <a:gd name="T32" fmla="*/ 120 w 176"/>
                <a:gd name="T33" fmla="*/ 27 h 240"/>
                <a:gd name="T34" fmla="*/ 148 w 176"/>
                <a:gd name="T35" fmla="*/ 56 h 240"/>
                <a:gd name="T36" fmla="*/ 120 w 176"/>
                <a:gd name="T37" fmla="*/ 56 h 240"/>
                <a:gd name="T38" fmla="*/ 120 w 176"/>
                <a:gd name="T39" fmla="*/ 27 h 240"/>
                <a:gd name="T40" fmla="*/ 160 w 176"/>
                <a:gd name="T41" fmla="*/ 224 h 240"/>
                <a:gd name="T42" fmla="*/ 16 w 176"/>
                <a:gd name="T43" fmla="*/ 224 h 240"/>
                <a:gd name="T44" fmla="*/ 16 w 176"/>
                <a:gd name="T45" fmla="*/ 16 h 240"/>
                <a:gd name="T46" fmla="*/ 104 w 176"/>
                <a:gd name="T47" fmla="*/ 16 h 240"/>
                <a:gd name="T48" fmla="*/ 104 w 176"/>
                <a:gd name="T49" fmla="*/ 64 h 240"/>
                <a:gd name="T50" fmla="*/ 112 w 176"/>
                <a:gd name="T51" fmla="*/ 72 h 240"/>
                <a:gd name="T52" fmla="*/ 160 w 176"/>
                <a:gd name="T53" fmla="*/ 72 h 240"/>
                <a:gd name="T54" fmla="*/ 160 w 176"/>
                <a:gd name="T55" fmla="*/ 2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6" h="240">
                  <a:moveTo>
                    <a:pt x="175" y="61"/>
                  </a:moveTo>
                  <a:cubicBezTo>
                    <a:pt x="175" y="60"/>
                    <a:pt x="174" y="59"/>
                    <a:pt x="173" y="58"/>
                  </a:cubicBezTo>
                  <a:cubicBezTo>
                    <a:pt x="117" y="2"/>
                    <a:pt x="117" y="2"/>
                    <a:pt x="117" y="2"/>
                  </a:cubicBezTo>
                  <a:cubicBezTo>
                    <a:pt x="117" y="2"/>
                    <a:pt x="117" y="2"/>
                    <a:pt x="117" y="2"/>
                  </a:cubicBezTo>
                  <a:cubicBezTo>
                    <a:pt x="117" y="2"/>
                    <a:pt x="117" y="2"/>
                    <a:pt x="117" y="2"/>
                  </a:cubicBezTo>
                  <a:cubicBezTo>
                    <a:pt x="117" y="2"/>
                    <a:pt x="117" y="2"/>
                    <a:pt x="117" y="2"/>
                  </a:cubicBezTo>
                  <a:cubicBezTo>
                    <a:pt x="116" y="0"/>
                    <a:pt x="114" y="0"/>
                    <a:pt x="112" y="0"/>
                  </a:cubicBezTo>
                  <a:cubicBezTo>
                    <a:pt x="8" y="0"/>
                    <a:pt x="8" y="0"/>
                    <a:pt x="8" y="0"/>
                  </a:cubicBezTo>
                  <a:cubicBezTo>
                    <a:pt x="3" y="0"/>
                    <a:pt x="0" y="3"/>
                    <a:pt x="0" y="8"/>
                  </a:cubicBezTo>
                  <a:cubicBezTo>
                    <a:pt x="0" y="232"/>
                    <a:pt x="0" y="232"/>
                    <a:pt x="0" y="232"/>
                  </a:cubicBezTo>
                  <a:cubicBezTo>
                    <a:pt x="0" y="236"/>
                    <a:pt x="3" y="240"/>
                    <a:pt x="8" y="240"/>
                  </a:cubicBezTo>
                  <a:cubicBezTo>
                    <a:pt x="168" y="240"/>
                    <a:pt x="168" y="240"/>
                    <a:pt x="168" y="240"/>
                  </a:cubicBezTo>
                  <a:cubicBezTo>
                    <a:pt x="172" y="240"/>
                    <a:pt x="176" y="236"/>
                    <a:pt x="176" y="232"/>
                  </a:cubicBezTo>
                  <a:cubicBezTo>
                    <a:pt x="176" y="64"/>
                    <a:pt x="176" y="64"/>
                    <a:pt x="176" y="64"/>
                  </a:cubicBezTo>
                  <a:cubicBezTo>
                    <a:pt x="176" y="64"/>
                    <a:pt x="176" y="64"/>
                    <a:pt x="176" y="64"/>
                  </a:cubicBezTo>
                  <a:cubicBezTo>
                    <a:pt x="176" y="63"/>
                    <a:pt x="175" y="62"/>
                    <a:pt x="175" y="61"/>
                  </a:cubicBezTo>
                  <a:close/>
                  <a:moveTo>
                    <a:pt x="120" y="27"/>
                  </a:moveTo>
                  <a:cubicBezTo>
                    <a:pt x="148" y="56"/>
                    <a:pt x="148" y="56"/>
                    <a:pt x="148" y="56"/>
                  </a:cubicBezTo>
                  <a:cubicBezTo>
                    <a:pt x="120" y="56"/>
                    <a:pt x="120" y="56"/>
                    <a:pt x="120" y="56"/>
                  </a:cubicBezTo>
                  <a:lnTo>
                    <a:pt x="120" y="27"/>
                  </a:lnTo>
                  <a:close/>
                  <a:moveTo>
                    <a:pt x="160" y="224"/>
                  </a:moveTo>
                  <a:cubicBezTo>
                    <a:pt x="16" y="224"/>
                    <a:pt x="16" y="224"/>
                    <a:pt x="16" y="224"/>
                  </a:cubicBezTo>
                  <a:cubicBezTo>
                    <a:pt x="16" y="16"/>
                    <a:pt x="16" y="16"/>
                    <a:pt x="16" y="16"/>
                  </a:cubicBezTo>
                  <a:cubicBezTo>
                    <a:pt x="104" y="16"/>
                    <a:pt x="104" y="16"/>
                    <a:pt x="104" y="16"/>
                  </a:cubicBezTo>
                  <a:cubicBezTo>
                    <a:pt x="104" y="64"/>
                    <a:pt x="104" y="64"/>
                    <a:pt x="104" y="64"/>
                  </a:cubicBezTo>
                  <a:cubicBezTo>
                    <a:pt x="104" y="68"/>
                    <a:pt x="107" y="72"/>
                    <a:pt x="112" y="72"/>
                  </a:cubicBezTo>
                  <a:cubicBezTo>
                    <a:pt x="160" y="72"/>
                    <a:pt x="160" y="72"/>
                    <a:pt x="160" y="72"/>
                  </a:cubicBezTo>
                  <a:lnTo>
                    <a:pt x="160"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10">
              <a:extLst>
                <a:ext uri="{FF2B5EF4-FFF2-40B4-BE49-F238E27FC236}">
                  <a16:creationId xmlns:a16="http://schemas.microsoft.com/office/drawing/2014/main" id="{3DF4329C-1EAC-456E-B7E7-7745570FB9D0}"/>
                </a:ext>
              </a:extLst>
            </p:cNvPr>
            <p:cNvSpPr>
              <a:spLocks/>
            </p:cNvSpPr>
            <p:nvPr/>
          </p:nvSpPr>
          <p:spPr bwMode="auto">
            <a:xfrm>
              <a:off x="6465888" y="4024313"/>
              <a:ext cx="542925" cy="727075"/>
            </a:xfrm>
            <a:custGeom>
              <a:avLst/>
              <a:gdLst>
                <a:gd name="T0" fmla="*/ 2 w 66"/>
                <a:gd name="T1" fmla="*/ 76 h 89"/>
                <a:gd name="T2" fmla="*/ 4 w 66"/>
                <a:gd name="T3" fmla="*/ 87 h 89"/>
                <a:gd name="T4" fmla="*/ 9 w 66"/>
                <a:gd name="T5" fmla="*/ 89 h 89"/>
                <a:gd name="T6" fmla="*/ 15 w 66"/>
                <a:gd name="T7" fmla="*/ 85 h 89"/>
                <a:gd name="T8" fmla="*/ 63 w 66"/>
                <a:gd name="T9" fmla="*/ 13 h 89"/>
                <a:gd name="T10" fmla="*/ 61 w 66"/>
                <a:gd name="T11" fmla="*/ 2 h 89"/>
                <a:gd name="T12" fmla="*/ 50 w 66"/>
                <a:gd name="T13" fmla="*/ 4 h 89"/>
                <a:gd name="T14" fmla="*/ 2 w 66"/>
                <a:gd name="T15" fmla="*/ 76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89">
                  <a:moveTo>
                    <a:pt x="2" y="76"/>
                  </a:moveTo>
                  <a:cubicBezTo>
                    <a:pt x="0" y="80"/>
                    <a:pt x="1" y="85"/>
                    <a:pt x="4" y="87"/>
                  </a:cubicBezTo>
                  <a:cubicBezTo>
                    <a:pt x="6" y="88"/>
                    <a:pt x="7" y="89"/>
                    <a:pt x="9" y="89"/>
                  </a:cubicBezTo>
                  <a:cubicBezTo>
                    <a:pt x="11" y="89"/>
                    <a:pt x="14" y="87"/>
                    <a:pt x="15" y="85"/>
                  </a:cubicBezTo>
                  <a:cubicBezTo>
                    <a:pt x="63" y="13"/>
                    <a:pt x="63" y="13"/>
                    <a:pt x="63" y="13"/>
                  </a:cubicBezTo>
                  <a:cubicBezTo>
                    <a:pt x="66" y="9"/>
                    <a:pt x="65" y="4"/>
                    <a:pt x="61" y="2"/>
                  </a:cubicBezTo>
                  <a:cubicBezTo>
                    <a:pt x="57" y="0"/>
                    <a:pt x="52" y="1"/>
                    <a:pt x="50" y="4"/>
                  </a:cubicBezTo>
                  <a:lnTo>
                    <a:pt x="2"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11">
              <a:extLst>
                <a:ext uri="{FF2B5EF4-FFF2-40B4-BE49-F238E27FC236}">
                  <a16:creationId xmlns:a16="http://schemas.microsoft.com/office/drawing/2014/main" id="{3CA1123B-0688-4D52-9673-1A75F407DDFF}"/>
                </a:ext>
              </a:extLst>
            </p:cNvPr>
            <p:cNvSpPr>
              <a:spLocks/>
            </p:cNvSpPr>
            <p:nvPr/>
          </p:nvSpPr>
          <p:spPr bwMode="auto">
            <a:xfrm>
              <a:off x="6276976" y="3957638"/>
              <a:ext cx="336550" cy="401638"/>
            </a:xfrm>
            <a:custGeom>
              <a:avLst/>
              <a:gdLst>
                <a:gd name="T0" fmla="*/ 32 w 41"/>
                <a:gd name="T1" fmla="*/ 49 h 49"/>
                <a:gd name="T2" fmla="*/ 38 w 41"/>
                <a:gd name="T3" fmla="*/ 45 h 49"/>
                <a:gd name="T4" fmla="*/ 36 w 41"/>
                <a:gd name="T5" fmla="*/ 34 h 49"/>
                <a:gd name="T6" fmla="*/ 22 w 41"/>
                <a:gd name="T7" fmla="*/ 25 h 49"/>
                <a:gd name="T8" fmla="*/ 36 w 41"/>
                <a:gd name="T9" fmla="*/ 15 h 49"/>
                <a:gd name="T10" fmla="*/ 38 w 41"/>
                <a:gd name="T11" fmla="*/ 4 h 49"/>
                <a:gd name="T12" fmla="*/ 27 w 41"/>
                <a:gd name="T13" fmla="*/ 2 h 49"/>
                <a:gd name="T14" fmla="*/ 3 w 41"/>
                <a:gd name="T15" fmla="*/ 18 h 49"/>
                <a:gd name="T16" fmla="*/ 0 w 41"/>
                <a:gd name="T17" fmla="*/ 25 h 49"/>
                <a:gd name="T18" fmla="*/ 3 w 41"/>
                <a:gd name="T19" fmla="*/ 31 h 49"/>
                <a:gd name="T20" fmla="*/ 27 w 41"/>
                <a:gd name="T21" fmla="*/ 47 h 49"/>
                <a:gd name="T22" fmla="*/ 32 w 41"/>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9">
                  <a:moveTo>
                    <a:pt x="32" y="49"/>
                  </a:moveTo>
                  <a:cubicBezTo>
                    <a:pt x="34" y="49"/>
                    <a:pt x="37" y="47"/>
                    <a:pt x="38" y="45"/>
                  </a:cubicBezTo>
                  <a:cubicBezTo>
                    <a:pt x="41" y="41"/>
                    <a:pt x="40" y="36"/>
                    <a:pt x="36" y="34"/>
                  </a:cubicBezTo>
                  <a:cubicBezTo>
                    <a:pt x="22" y="25"/>
                    <a:pt x="22" y="25"/>
                    <a:pt x="22" y="25"/>
                  </a:cubicBezTo>
                  <a:cubicBezTo>
                    <a:pt x="36" y="15"/>
                    <a:pt x="36" y="15"/>
                    <a:pt x="36" y="15"/>
                  </a:cubicBezTo>
                  <a:cubicBezTo>
                    <a:pt x="40" y="13"/>
                    <a:pt x="41" y="8"/>
                    <a:pt x="38" y="4"/>
                  </a:cubicBezTo>
                  <a:cubicBezTo>
                    <a:pt x="36" y="1"/>
                    <a:pt x="31" y="0"/>
                    <a:pt x="27" y="2"/>
                  </a:cubicBezTo>
                  <a:cubicBezTo>
                    <a:pt x="3" y="18"/>
                    <a:pt x="3" y="18"/>
                    <a:pt x="3" y="18"/>
                  </a:cubicBezTo>
                  <a:cubicBezTo>
                    <a:pt x="1" y="19"/>
                    <a:pt x="0" y="22"/>
                    <a:pt x="0" y="25"/>
                  </a:cubicBezTo>
                  <a:cubicBezTo>
                    <a:pt x="0" y="27"/>
                    <a:pt x="1" y="30"/>
                    <a:pt x="3" y="31"/>
                  </a:cubicBezTo>
                  <a:cubicBezTo>
                    <a:pt x="27" y="47"/>
                    <a:pt x="27" y="47"/>
                    <a:pt x="27" y="47"/>
                  </a:cubicBezTo>
                  <a:cubicBezTo>
                    <a:pt x="29" y="48"/>
                    <a:pt x="30" y="49"/>
                    <a:pt x="3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12">
              <a:extLst>
                <a:ext uri="{FF2B5EF4-FFF2-40B4-BE49-F238E27FC236}">
                  <a16:creationId xmlns:a16="http://schemas.microsoft.com/office/drawing/2014/main" id="{B744138A-B1BB-4091-89D0-1B9BBA4710AF}"/>
                </a:ext>
              </a:extLst>
            </p:cNvPr>
            <p:cNvSpPr>
              <a:spLocks/>
            </p:cNvSpPr>
            <p:nvPr/>
          </p:nvSpPr>
          <p:spPr bwMode="auto">
            <a:xfrm>
              <a:off x="6861176" y="4416425"/>
              <a:ext cx="336550" cy="401638"/>
            </a:xfrm>
            <a:custGeom>
              <a:avLst/>
              <a:gdLst>
                <a:gd name="T0" fmla="*/ 2 w 41"/>
                <a:gd name="T1" fmla="*/ 4 h 49"/>
                <a:gd name="T2" fmla="*/ 4 w 41"/>
                <a:gd name="T3" fmla="*/ 15 h 49"/>
                <a:gd name="T4" fmla="*/ 18 w 41"/>
                <a:gd name="T5" fmla="*/ 25 h 49"/>
                <a:gd name="T6" fmla="*/ 4 w 41"/>
                <a:gd name="T7" fmla="*/ 34 h 49"/>
                <a:gd name="T8" fmla="*/ 2 w 41"/>
                <a:gd name="T9" fmla="*/ 45 h 49"/>
                <a:gd name="T10" fmla="*/ 9 w 41"/>
                <a:gd name="T11" fmla="*/ 49 h 49"/>
                <a:gd name="T12" fmla="*/ 13 w 41"/>
                <a:gd name="T13" fmla="*/ 47 h 49"/>
                <a:gd name="T14" fmla="*/ 37 w 41"/>
                <a:gd name="T15" fmla="*/ 31 h 49"/>
                <a:gd name="T16" fmla="*/ 41 w 41"/>
                <a:gd name="T17" fmla="*/ 25 h 49"/>
                <a:gd name="T18" fmla="*/ 37 w 41"/>
                <a:gd name="T19" fmla="*/ 18 h 49"/>
                <a:gd name="T20" fmla="*/ 13 w 41"/>
                <a:gd name="T21" fmla="*/ 2 h 49"/>
                <a:gd name="T22" fmla="*/ 2 w 41"/>
                <a:gd name="T23" fmla="*/ 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9">
                  <a:moveTo>
                    <a:pt x="2" y="4"/>
                  </a:moveTo>
                  <a:cubicBezTo>
                    <a:pt x="0" y="8"/>
                    <a:pt x="1" y="13"/>
                    <a:pt x="4" y="15"/>
                  </a:cubicBezTo>
                  <a:cubicBezTo>
                    <a:pt x="18" y="25"/>
                    <a:pt x="18" y="25"/>
                    <a:pt x="18" y="25"/>
                  </a:cubicBezTo>
                  <a:cubicBezTo>
                    <a:pt x="4" y="34"/>
                    <a:pt x="4" y="34"/>
                    <a:pt x="4" y="34"/>
                  </a:cubicBezTo>
                  <a:cubicBezTo>
                    <a:pt x="1" y="36"/>
                    <a:pt x="0" y="41"/>
                    <a:pt x="2" y="45"/>
                  </a:cubicBezTo>
                  <a:cubicBezTo>
                    <a:pt x="4" y="47"/>
                    <a:pt x="6" y="49"/>
                    <a:pt x="9" y="49"/>
                  </a:cubicBezTo>
                  <a:cubicBezTo>
                    <a:pt x="10" y="49"/>
                    <a:pt x="12" y="48"/>
                    <a:pt x="13" y="47"/>
                  </a:cubicBezTo>
                  <a:cubicBezTo>
                    <a:pt x="37" y="31"/>
                    <a:pt x="37" y="31"/>
                    <a:pt x="37" y="31"/>
                  </a:cubicBezTo>
                  <a:cubicBezTo>
                    <a:pt x="39" y="30"/>
                    <a:pt x="41" y="27"/>
                    <a:pt x="41" y="25"/>
                  </a:cubicBezTo>
                  <a:cubicBezTo>
                    <a:pt x="41" y="22"/>
                    <a:pt x="39" y="19"/>
                    <a:pt x="37" y="18"/>
                  </a:cubicBezTo>
                  <a:cubicBezTo>
                    <a:pt x="13" y="2"/>
                    <a:pt x="13" y="2"/>
                    <a:pt x="13" y="2"/>
                  </a:cubicBezTo>
                  <a:cubicBezTo>
                    <a:pt x="9" y="0"/>
                    <a:pt x="4" y="1"/>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13">
              <a:extLst>
                <a:ext uri="{FF2B5EF4-FFF2-40B4-BE49-F238E27FC236}">
                  <a16:creationId xmlns:a16="http://schemas.microsoft.com/office/drawing/2014/main" id="{ECDACE82-58B8-4FAB-B446-F26AE14CB2EA}"/>
                </a:ext>
              </a:extLst>
            </p:cNvPr>
            <p:cNvSpPr>
              <a:spLocks noEditPoints="1"/>
            </p:cNvSpPr>
            <p:nvPr/>
          </p:nvSpPr>
          <p:spPr bwMode="auto">
            <a:xfrm>
              <a:off x="5157788" y="2657475"/>
              <a:ext cx="3159125" cy="3141663"/>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0" name="Group 169">
            <a:extLst>
              <a:ext uri="{FF2B5EF4-FFF2-40B4-BE49-F238E27FC236}">
                <a16:creationId xmlns:a16="http://schemas.microsoft.com/office/drawing/2014/main" id="{7599C349-D2F1-469B-883C-7D28F9059BB5}"/>
              </a:ext>
            </a:extLst>
          </p:cNvPr>
          <p:cNvGrpSpPr>
            <a:grpSpLocks noChangeAspect="1"/>
          </p:cNvGrpSpPr>
          <p:nvPr/>
        </p:nvGrpSpPr>
        <p:grpSpPr>
          <a:xfrm>
            <a:off x="482951" y="2533626"/>
            <a:ext cx="372673" cy="370800"/>
            <a:chOff x="3148013" y="3436938"/>
            <a:chExt cx="3159125" cy="3143250"/>
          </a:xfrm>
          <a:solidFill>
            <a:schemeClr val="accent2"/>
          </a:solidFill>
        </p:grpSpPr>
        <p:sp>
          <p:nvSpPr>
            <p:cNvPr id="171" name="Freeform 22">
              <a:extLst>
                <a:ext uri="{FF2B5EF4-FFF2-40B4-BE49-F238E27FC236}">
                  <a16:creationId xmlns:a16="http://schemas.microsoft.com/office/drawing/2014/main" id="{B90B2D30-182A-4416-B39C-82734EBB9113}"/>
                </a:ext>
              </a:extLst>
            </p:cNvPr>
            <p:cNvSpPr>
              <a:spLocks/>
            </p:cNvSpPr>
            <p:nvPr/>
          </p:nvSpPr>
          <p:spPr bwMode="auto">
            <a:xfrm>
              <a:off x="4991101" y="4246563"/>
              <a:ext cx="230188" cy="238125"/>
            </a:xfrm>
            <a:custGeom>
              <a:avLst/>
              <a:gdLst>
                <a:gd name="T0" fmla="*/ 0 w 145"/>
                <a:gd name="T1" fmla="*/ 0 h 150"/>
                <a:gd name="T2" fmla="*/ 0 w 145"/>
                <a:gd name="T3" fmla="*/ 150 h 150"/>
                <a:gd name="T4" fmla="*/ 145 w 145"/>
                <a:gd name="T5" fmla="*/ 150 h 150"/>
                <a:gd name="T6" fmla="*/ 0 w 145"/>
                <a:gd name="T7" fmla="*/ 0 h 150"/>
              </a:gdLst>
              <a:ahLst/>
              <a:cxnLst>
                <a:cxn ang="0">
                  <a:pos x="T0" y="T1"/>
                </a:cxn>
                <a:cxn ang="0">
                  <a:pos x="T2" y="T3"/>
                </a:cxn>
                <a:cxn ang="0">
                  <a:pos x="T4" y="T5"/>
                </a:cxn>
                <a:cxn ang="0">
                  <a:pos x="T6" y="T7"/>
                </a:cxn>
              </a:cxnLst>
              <a:rect l="0" t="0" r="r" b="b"/>
              <a:pathLst>
                <a:path w="145" h="150">
                  <a:moveTo>
                    <a:pt x="0" y="0"/>
                  </a:moveTo>
                  <a:lnTo>
                    <a:pt x="0" y="150"/>
                  </a:lnTo>
                  <a:lnTo>
                    <a:pt x="145" y="15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23">
              <a:extLst>
                <a:ext uri="{FF2B5EF4-FFF2-40B4-BE49-F238E27FC236}">
                  <a16:creationId xmlns:a16="http://schemas.microsoft.com/office/drawing/2014/main" id="{400FAEF0-3C94-40AD-96B2-EE12C577C777}"/>
                </a:ext>
              </a:extLst>
            </p:cNvPr>
            <p:cNvSpPr>
              <a:spLocks noEditPoints="1"/>
            </p:cNvSpPr>
            <p:nvPr/>
          </p:nvSpPr>
          <p:spPr bwMode="auto">
            <a:xfrm>
              <a:off x="4135438" y="4157663"/>
              <a:ext cx="1184275" cy="1701800"/>
            </a:xfrm>
            <a:custGeom>
              <a:avLst/>
              <a:gdLst>
                <a:gd name="T0" fmla="*/ 88 w 144"/>
                <a:gd name="T1" fmla="*/ 48 h 208"/>
                <a:gd name="T2" fmla="*/ 88 w 144"/>
                <a:gd name="T3" fmla="*/ 0 h 208"/>
                <a:gd name="T4" fmla="*/ 0 w 144"/>
                <a:gd name="T5" fmla="*/ 0 h 208"/>
                <a:gd name="T6" fmla="*/ 0 w 144"/>
                <a:gd name="T7" fmla="*/ 208 h 208"/>
                <a:gd name="T8" fmla="*/ 144 w 144"/>
                <a:gd name="T9" fmla="*/ 208 h 208"/>
                <a:gd name="T10" fmla="*/ 144 w 144"/>
                <a:gd name="T11" fmla="*/ 56 h 208"/>
                <a:gd name="T12" fmla="*/ 96 w 144"/>
                <a:gd name="T13" fmla="*/ 56 h 208"/>
                <a:gd name="T14" fmla="*/ 88 w 144"/>
                <a:gd name="T15" fmla="*/ 48 h 208"/>
                <a:gd name="T16" fmla="*/ 16 w 144"/>
                <a:gd name="T17" fmla="*/ 96 h 208"/>
                <a:gd name="T18" fmla="*/ 19 w 144"/>
                <a:gd name="T19" fmla="*/ 89 h 208"/>
                <a:gd name="T20" fmla="*/ 43 w 144"/>
                <a:gd name="T21" fmla="*/ 73 h 208"/>
                <a:gd name="T22" fmla="*/ 54 w 144"/>
                <a:gd name="T23" fmla="*/ 75 h 208"/>
                <a:gd name="T24" fmla="*/ 52 w 144"/>
                <a:gd name="T25" fmla="*/ 86 h 208"/>
                <a:gd name="T26" fmla="*/ 38 w 144"/>
                <a:gd name="T27" fmla="*/ 96 h 208"/>
                <a:gd name="T28" fmla="*/ 52 w 144"/>
                <a:gd name="T29" fmla="*/ 105 h 208"/>
                <a:gd name="T30" fmla="*/ 54 w 144"/>
                <a:gd name="T31" fmla="*/ 116 h 208"/>
                <a:gd name="T32" fmla="*/ 48 w 144"/>
                <a:gd name="T33" fmla="*/ 120 h 208"/>
                <a:gd name="T34" fmla="*/ 43 w 144"/>
                <a:gd name="T35" fmla="*/ 118 h 208"/>
                <a:gd name="T36" fmla="*/ 19 w 144"/>
                <a:gd name="T37" fmla="*/ 102 h 208"/>
                <a:gd name="T38" fmla="*/ 16 w 144"/>
                <a:gd name="T39" fmla="*/ 96 h 208"/>
                <a:gd name="T40" fmla="*/ 128 w 144"/>
                <a:gd name="T41" fmla="*/ 152 h 208"/>
                <a:gd name="T42" fmla="*/ 124 w 144"/>
                <a:gd name="T43" fmla="*/ 158 h 208"/>
                <a:gd name="T44" fmla="*/ 100 w 144"/>
                <a:gd name="T45" fmla="*/ 174 h 208"/>
                <a:gd name="T46" fmla="*/ 96 w 144"/>
                <a:gd name="T47" fmla="*/ 176 h 208"/>
                <a:gd name="T48" fmla="*/ 89 w 144"/>
                <a:gd name="T49" fmla="*/ 172 h 208"/>
                <a:gd name="T50" fmla="*/ 91 w 144"/>
                <a:gd name="T51" fmla="*/ 161 h 208"/>
                <a:gd name="T52" fmla="*/ 105 w 144"/>
                <a:gd name="T53" fmla="*/ 152 h 208"/>
                <a:gd name="T54" fmla="*/ 91 w 144"/>
                <a:gd name="T55" fmla="*/ 142 h 208"/>
                <a:gd name="T56" fmla="*/ 89 w 144"/>
                <a:gd name="T57" fmla="*/ 131 h 208"/>
                <a:gd name="T58" fmla="*/ 100 w 144"/>
                <a:gd name="T59" fmla="*/ 129 h 208"/>
                <a:gd name="T60" fmla="*/ 124 w 144"/>
                <a:gd name="T61" fmla="*/ 145 h 208"/>
                <a:gd name="T62" fmla="*/ 128 w 144"/>
                <a:gd name="T63" fmla="*/ 152 h 208"/>
                <a:gd name="T64" fmla="*/ 100 w 144"/>
                <a:gd name="T65" fmla="*/ 81 h 208"/>
                <a:gd name="T66" fmla="*/ 102 w 144"/>
                <a:gd name="T67" fmla="*/ 92 h 208"/>
                <a:gd name="T68" fmla="*/ 54 w 144"/>
                <a:gd name="T69" fmla="*/ 164 h 208"/>
                <a:gd name="T70" fmla="*/ 48 w 144"/>
                <a:gd name="T71" fmla="*/ 168 h 208"/>
                <a:gd name="T72" fmla="*/ 43 w 144"/>
                <a:gd name="T73" fmla="*/ 166 h 208"/>
                <a:gd name="T74" fmla="*/ 41 w 144"/>
                <a:gd name="T75" fmla="*/ 155 h 208"/>
                <a:gd name="T76" fmla="*/ 89 w 144"/>
                <a:gd name="T77" fmla="*/ 83 h 208"/>
                <a:gd name="T78" fmla="*/ 100 w 144"/>
                <a:gd name="T79" fmla="*/ 8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4" h="208">
                  <a:moveTo>
                    <a:pt x="88" y="48"/>
                  </a:moveTo>
                  <a:cubicBezTo>
                    <a:pt x="88" y="0"/>
                    <a:pt x="88" y="0"/>
                    <a:pt x="88" y="0"/>
                  </a:cubicBezTo>
                  <a:cubicBezTo>
                    <a:pt x="0" y="0"/>
                    <a:pt x="0" y="0"/>
                    <a:pt x="0" y="0"/>
                  </a:cubicBezTo>
                  <a:cubicBezTo>
                    <a:pt x="0" y="208"/>
                    <a:pt x="0" y="208"/>
                    <a:pt x="0" y="208"/>
                  </a:cubicBezTo>
                  <a:cubicBezTo>
                    <a:pt x="144" y="208"/>
                    <a:pt x="144" y="208"/>
                    <a:pt x="144" y="208"/>
                  </a:cubicBezTo>
                  <a:cubicBezTo>
                    <a:pt x="144" y="56"/>
                    <a:pt x="144" y="56"/>
                    <a:pt x="144" y="56"/>
                  </a:cubicBezTo>
                  <a:cubicBezTo>
                    <a:pt x="96" y="56"/>
                    <a:pt x="96" y="56"/>
                    <a:pt x="96" y="56"/>
                  </a:cubicBezTo>
                  <a:cubicBezTo>
                    <a:pt x="91" y="56"/>
                    <a:pt x="88" y="52"/>
                    <a:pt x="88" y="48"/>
                  </a:cubicBezTo>
                  <a:close/>
                  <a:moveTo>
                    <a:pt x="16" y="96"/>
                  </a:moveTo>
                  <a:cubicBezTo>
                    <a:pt x="16" y="93"/>
                    <a:pt x="17" y="90"/>
                    <a:pt x="19" y="89"/>
                  </a:cubicBezTo>
                  <a:cubicBezTo>
                    <a:pt x="43" y="73"/>
                    <a:pt x="43" y="73"/>
                    <a:pt x="43" y="73"/>
                  </a:cubicBezTo>
                  <a:cubicBezTo>
                    <a:pt x="47" y="71"/>
                    <a:pt x="52" y="72"/>
                    <a:pt x="54" y="75"/>
                  </a:cubicBezTo>
                  <a:cubicBezTo>
                    <a:pt x="57" y="79"/>
                    <a:pt x="56" y="84"/>
                    <a:pt x="52" y="86"/>
                  </a:cubicBezTo>
                  <a:cubicBezTo>
                    <a:pt x="38" y="96"/>
                    <a:pt x="38" y="96"/>
                    <a:pt x="38" y="96"/>
                  </a:cubicBezTo>
                  <a:cubicBezTo>
                    <a:pt x="52" y="105"/>
                    <a:pt x="52" y="105"/>
                    <a:pt x="52" y="105"/>
                  </a:cubicBezTo>
                  <a:cubicBezTo>
                    <a:pt x="56" y="107"/>
                    <a:pt x="57" y="112"/>
                    <a:pt x="54" y="116"/>
                  </a:cubicBezTo>
                  <a:cubicBezTo>
                    <a:pt x="53" y="118"/>
                    <a:pt x="50" y="120"/>
                    <a:pt x="48" y="120"/>
                  </a:cubicBezTo>
                  <a:cubicBezTo>
                    <a:pt x="46" y="120"/>
                    <a:pt x="45" y="119"/>
                    <a:pt x="43" y="118"/>
                  </a:cubicBezTo>
                  <a:cubicBezTo>
                    <a:pt x="19" y="102"/>
                    <a:pt x="19" y="102"/>
                    <a:pt x="19" y="102"/>
                  </a:cubicBezTo>
                  <a:cubicBezTo>
                    <a:pt x="17" y="101"/>
                    <a:pt x="16" y="98"/>
                    <a:pt x="16" y="96"/>
                  </a:cubicBezTo>
                  <a:close/>
                  <a:moveTo>
                    <a:pt x="128" y="152"/>
                  </a:moveTo>
                  <a:cubicBezTo>
                    <a:pt x="128" y="154"/>
                    <a:pt x="126" y="157"/>
                    <a:pt x="124" y="158"/>
                  </a:cubicBezTo>
                  <a:cubicBezTo>
                    <a:pt x="100" y="174"/>
                    <a:pt x="100" y="174"/>
                    <a:pt x="100" y="174"/>
                  </a:cubicBezTo>
                  <a:cubicBezTo>
                    <a:pt x="99" y="175"/>
                    <a:pt x="97" y="176"/>
                    <a:pt x="96" y="176"/>
                  </a:cubicBezTo>
                  <a:cubicBezTo>
                    <a:pt x="93" y="176"/>
                    <a:pt x="91" y="174"/>
                    <a:pt x="89" y="172"/>
                  </a:cubicBezTo>
                  <a:cubicBezTo>
                    <a:pt x="87" y="168"/>
                    <a:pt x="88" y="163"/>
                    <a:pt x="91" y="161"/>
                  </a:cubicBezTo>
                  <a:cubicBezTo>
                    <a:pt x="105" y="152"/>
                    <a:pt x="105" y="152"/>
                    <a:pt x="105" y="152"/>
                  </a:cubicBezTo>
                  <a:cubicBezTo>
                    <a:pt x="91" y="142"/>
                    <a:pt x="91" y="142"/>
                    <a:pt x="91" y="142"/>
                  </a:cubicBezTo>
                  <a:cubicBezTo>
                    <a:pt x="88" y="140"/>
                    <a:pt x="87" y="135"/>
                    <a:pt x="89" y="131"/>
                  </a:cubicBezTo>
                  <a:cubicBezTo>
                    <a:pt x="91" y="128"/>
                    <a:pt x="96" y="127"/>
                    <a:pt x="100" y="129"/>
                  </a:cubicBezTo>
                  <a:cubicBezTo>
                    <a:pt x="124" y="145"/>
                    <a:pt x="124" y="145"/>
                    <a:pt x="124" y="145"/>
                  </a:cubicBezTo>
                  <a:cubicBezTo>
                    <a:pt x="126" y="146"/>
                    <a:pt x="128" y="149"/>
                    <a:pt x="128" y="152"/>
                  </a:cubicBezTo>
                  <a:close/>
                  <a:moveTo>
                    <a:pt x="100" y="81"/>
                  </a:moveTo>
                  <a:cubicBezTo>
                    <a:pt x="104" y="83"/>
                    <a:pt x="105" y="88"/>
                    <a:pt x="102" y="92"/>
                  </a:cubicBezTo>
                  <a:cubicBezTo>
                    <a:pt x="54" y="164"/>
                    <a:pt x="54" y="164"/>
                    <a:pt x="54" y="164"/>
                  </a:cubicBezTo>
                  <a:cubicBezTo>
                    <a:pt x="53" y="166"/>
                    <a:pt x="50" y="168"/>
                    <a:pt x="48" y="168"/>
                  </a:cubicBezTo>
                  <a:cubicBezTo>
                    <a:pt x="46" y="168"/>
                    <a:pt x="45" y="167"/>
                    <a:pt x="43" y="166"/>
                  </a:cubicBezTo>
                  <a:cubicBezTo>
                    <a:pt x="40" y="164"/>
                    <a:pt x="39" y="159"/>
                    <a:pt x="41" y="155"/>
                  </a:cubicBezTo>
                  <a:cubicBezTo>
                    <a:pt x="89" y="83"/>
                    <a:pt x="89" y="83"/>
                    <a:pt x="89" y="83"/>
                  </a:cubicBezTo>
                  <a:cubicBezTo>
                    <a:pt x="91" y="80"/>
                    <a:pt x="96" y="79"/>
                    <a:pt x="10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24">
              <a:extLst>
                <a:ext uri="{FF2B5EF4-FFF2-40B4-BE49-F238E27FC236}">
                  <a16:creationId xmlns:a16="http://schemas.microsoft.com/office/drawing/2014/main" id="{7D407B14-A612-455A-A663-4EFDF79E2DD9}"/>
                </a:ext>
              </a:extLst>
            </p:cNvPr>
            <p:cNvSpPr>
              <a:spLocks noEditPoints="1"/>
            </p:cNvSpPr>
            <p:nvPr/>
          </p:nvSpPr>
          <p:spPr bwMode="auto">
            <a:xfrm>
              <a:off x="3148013" y="3436938"/>
              <a:ext cx="3159125" cy="314325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280 w 384"/>
                <a:gd name="T11" fmla="*/ 136 h 384"/>
                <a:gd name="T12" fmla="*/ 280 w 384"/>
                <a:gd name="T13" fmla="*/ 304 h 384"/>
                <a:gd name="T14" fmla="*/ 272 w 384"/>
                <a:gd name="T15" fmla="*/ 312 h 384"/>
                <a:gd name="T16" fmla="*/ 112 w 384"/>
                <a:gd name="T17" fmla="*/ 312 h 384"/>
                <a:gd name="T18" fmla="*/ 104 w 384"/>
                <a:gd name="T19" fmla="*/ 304 h 384"/>
                <a:gd name="T20" fmla="*/ 104 w 384"/>
                <a:gd name="T21" fmla="*/ 80 h 384"/>
                <a:gd name="T22" fmla="*/ 112 w 384"/>
                <a:gd name="T23" fmla="*/ 72 h 384"/>
                <a:gd name="T24" fmla="*/ 216 w 384"/>
                <a:gd name="T25" fmla="*/ 72 h 384"/>
                <a:gd name="T26" fmla="*/ 221 w 384"/>
                <a:gd name="T27" fmla="*/ 74 h 384"/>
                <a:gd name="T28" fmla="*/ 221 w 384"/>
                <a:gd name="T29" fmla="*/ 74 h 384"/>
                <a:gd name="T30" fmla="*/ 221 w 384"/>
                <a:gd name="T31" fmla="*/ 74 h 384"/>
                <a:gd name="T32" fmla="*/ 221 w 384"/>
                <a:gd name="T33" fmla="*/ 74 h 384"/>
                <a:gd name="T34" fmla="*/ 277 w 384"/>
                <a:gd name="T35" fmla="*/ 130 h 384"/>
                <a:gd name="T36" fmla="*/ 279 w 384"/>
                <a:gd name="T37" fmla="*/ 133 h 384"/>
                <a:gd name="T38" fmla="*/ 280 w 384"/>
                <a:gd name="T39" fmla="*/ 136 h 384"/>
                <a:gd name="T40" fmla="*/ 280 w 384"/>
                <a:gd name="T41" fmla="*/ 13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80" y="136"/>
                  </a:moveTo>
                  <a:cubicBezTo>
                    <a:pt x="280" y="304"/>
                    <a:pt x="280" y="304"/>
                    <a:pt x="280" y="304"/>
                  </a:cubicBezTo>
                  <a:cubicBezTo>
                    <a:pt x="280" y="308"/>
                    <a:pt x="276" y="312"/>
                    <a:pt x="272" y="312"/>
                  </a:cubicBezTo>
                  <a:cubicBezTo>
                    <a:pt x="112" y="312"/>
                    <a:pt x="112" y="312"/>
                    <a:pt x="112" y="312"/>
                  </a:cubicBezTo>
                  <a:cubicBezTo>
                    <a:pt x="107" y="312"/>
                    <a:pt x="104" y="308"/>
                    <a:pt x="104" y="304"/>
                  </a:cubicBezTo>
                  <a:cubicBezTo>
                    <a:pt x="104" y="80"/>
                    <a:pt x="104" y="80"/>
                    <a:pt x="104" y="80"/>
                  </a:cubicBezTo>
                  <a:cubicBezTo>
                    <a:pt x="104" y="75"/>
                    <a:pt x="107" y="72"/>
                    <a:pt x="112" y="72"/>
                  </a:cubicBezTo>
                  <a:cubicBezTo>
                    <a:pt x="216" y="72"/>
                    <a:pt x="216" y="72"/>
                    <a:pt x="216" y="72"/>
                  </a:cubicBezTo>
                  <a:cubicBezTo>
                    <a:pt x="218" y="72"/>
                    <a:pt x="220" y="73"/>
                    <a:pt x="221" y="74"/>
                  </a:cubicBezTo>
                  <a:cubicBezTo>
                    <a:pt x="221" y="74"/>
                    <a:pt x="221" y="74"/>
                    <a:pt x="221" y="74"/>
                  </a:cubicBezTo>
                  <a:cubicBezTo>
                    <a:pt x="221" y="74"/>
                    <a:pt x="221" y="74"/>
                    <a:pt x="221" y="74"/>
                  </a:cubicBezTo>
                  <a:cubicBezTo>
                    <a:pt x="221" y="74"/>
                    <a:pt x="221" y="74"/>
                    <a:pt x="221" y="74"/>
                  </a:cubicBezTo>
                  <a:cubicBezTo>
                    <a:pt x="277" y="130"/>
                    <a:pt x="277" y="130"/>
                    <a:pt x="277" y="130"/>
                  </a:cubicBezTo>
                  <a:cubicBezTo>
                    <a:pt x="278" y="131"/>
                    <a:pt x="279" y="132"/>
                    <a:pt x="279" y="133"/>
                  </a:cubicBezTo>
                  <a:cubicBezTo>
                    <a:pt x="279" y="134"/>
                    <a:pt x="280" y="135"/>
                    <a:pt x="280" y="136"/>
                  </a:cubicBezTo>
                  <a:cubicBezTo>
                    <a:pt x="280" y="136"/>
                    <a:pt x="280" y="136"/>
                    <a:pt x="280"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4" name="Group 173">
            <a:extLst>
              <a:ext uri="{FF2B5EF4-FFF2-40B4-BE49-F238E27FC236}">
                <a16:creationId xmlns:a16="http://schemas.microsoft.com/office/drawing/2014/main" id="{3D577226-0484-4B18-80FC-9E8A37A43E21}"/>
              </a:ext>
            </a:extLst>
          </p:cNvPr>
          <p:cNvGrpSpPr>
            <a:grpSpLocks noChangeAspect="1"/>
          </p:cNvGrpSpPr>
          <p:nvPr/>
        </p:nvGrpSpPr>
        <p:grpSpPr>
          <a:xfrm>
            <a:off x="10910757" y="1697045"/>
            <a:ext cx="372647" cy="370800"/>
            <a:chOff x="4870450" y="3725863"/>
            <a:chExt cx="1281113" cy="1274762"/>
          </a:xfrm>
          <a:solidFill>
            <a:schemeClr val="accent2"/>
          </a:solidFill>
        </p:grpSpPr>
        <p:sp>
          <p:nvSpPr>
            <p:cNvPr id="175" name="Freeform 28">
              <a:extLst>
                <a:ext uri="{FF2B5EF4-FFF2-40B4-BE49-F238E27FC236}">
                  <a16:creationId xmlns:a16="http://schemas.microsoft.com/office/drawing/2014/main" id="{CB407AB5-F554-4CE0-9106-9BFCE1163B80}"/>
                </a:ext>
              </a:extLst>
            </p:cNvPr>
            <p:cNvSpPr>
              <a:spLocks noEditPoints="1"/>
            </p:cNvSpPr>
            <p:nvPr/>
          </p:nvSpPr>
          <p:spPr bwMode="auto">
            <a:xfrm>
              <a:off x="4870450" y="3725863"/>
              <a:ext cx="1281113" cy="1274762"/>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249 w 384"/>
                <a:gd name="T11" fmla="*/ 312 h 384"/>
                <a:gd name="T12" fmla="*/ 134 w 384"/>
                <a:gd name="T13" fmla="*/ 312 h 384"/>
                <a:gd name="T14" fmla="*/ 104 w 384"/>
                <a:gd name="T15" fmla="*/ 281 h 384"/>
                <a:gd name="T16" fmla="*/ 104 w 384"/>
                <a:gd name="T17" fmla="*/ 102 h 384"/>
                <a:gd name="T18" fmla="*/ 134 w 384"/>
                <a:gd name="T19" fmla="*/ 72 h 384"/>
                <a:gd name="T20" fmla="*/ 249 w 384"/>
                <a:gd name="T21" fmla="*/ 72 h 384"/>
                <a:gd name="T22" fmla="*/ 280 w 384"/>
                <a:gd name="T23" fmla="*/ 102 h 384"/>
                <a:gd name="T24" fmla="*/ 280 w 384"/>
                <a:gd name="T25" fmla="*/ 281 h 384"/>
                <a:gd name="T26" fmla="*/ 249 w 384"/>
                <a:gd name="T27" fmla="*/ 312 h 384"/>
                <a:gd name="T28" fmla="*/ 134 w 384"/>
                <a:gd name="T29" fmla="*/ 88 h 384"/>
                <a:gd name="T30" fmla="*/ 120 w 384"/>
                <a:gd name="T31" fmla="*/ 102 h 384"/>
                <a:gd name="T32" fmla="*/ 120 w 384"/>
                <a:gd name="T33" fmla="*/ 281 h 384"/>
                <a:gd name="T34" fmla="*/ 134 w 384"/>
                <a:gd name="T35" fmla="*/ 296 h 384"/>
                <a:gd name="T36" fmla="*/ 249 w 384"/>
                <a:gd name="T37" fmla="*/ 296 h 384"/>
                <a:gd name="T38" fmla="*/ 264 w 384"/>
                <a:gd name="T39" fmla="*/ 281 h 384"/>
                <a:gd name="T40" fmla="*/ 264 w 384"/>
                <a:gd name="T41" fmla="*/ 102 h 384"/>
                <a:gd name="T42" fmla="*/ 249 w 384"/>
                <a:gd name="T43" fmla="*/ 88 h 384"/>
                <a:gd name="T44" fmla="*/ 134 w 384"/>
                <a:gd name="T45" fmla="*/ 88 h 384"/>
                <a:gd name="T46" fmla="*/ 192 w 384"/>
                <a:gd name="T47" fmla="*/ 280 h 384"/>
                <a:gd name="T48" fmla="*/ 136 w 384"/>
                <a:gd name="T49" fmla="*/ 224 h 384"/>
                <a:gd name="T50" fmla="*/ 192 w 384"/>
                <a:gd name="T51" fmla="*/ 168 h 384"/>
                <a:gd name="T52" fmla="*/ 248 w 384"/>
                <a:gd name="T53" fmla="*/ 224 h 384"/>
                <a:gd name="T54" fmla="*/ 192 w 384"/>
                <a:gd name="T55" fmla="*/ 280 h 384"/>
                <a:gd name="T56" fmla="*/ 192 w 384"/>
                <a:gd name="T57" fmla="*/ 184 h 384"/>
                <a:gd name="T58" fmla="*/ 152 w 384"/>
                <a:gd name="T59" fmla="*/ 224 h 384"/>
                <a:gd name="T60" fmla="*/ 192 w 384"/>
                <a:gd name="T61" fmla="*/ 264 h 384"/>
                <a:gd name="T62" fmla="*/ 232 w 384"/>
                <a:gd name="T63" fmla="*/ 224 h 384"/>
                <a:gd name="T64" fmla="*/ 192 w 384"/>
                <a:gd name="T65" fmla="*/ 184 h 384"/>
                <a:gd name="T66" fmla="*/ 192 w 384"/>
                <a:gd name="T67" fmla="*/ 152 h 384"/>
                <a:gd name="T68" fmla="*/ 168 w 384"/>
                <a:gd name="T69" fmla="*/ 128 h 384"/>
                <a:gd name="T70" fmla="*/ 192 w 384"/>
                <a:gd name="T71" fmla="*/ 104 h 384"/>
                <a:gd name="T72" fmla="*/ 216 w 384"/>
                <a:gd name="T73" fmla="*/ 128 h 384"/>
                <a:gd name="T74" fmla="*/ 192 w 384"/>
                <a:gd name="T75" fmla="*/ 152 h 384"/>
                <a:gd name="T76" fmla="*/ 192 w 384"/>
                <a:gd name="T77" fmla="*/ 120 h 384"/>
                <a:gd name="T78" fmla="*/ 184 w 384"/>
                <a:gd name="T79" fmla="*/ 128 h 384"/>
                <a:gd name="T80" fmla="*/ 192 w 384"/>
                <a:gd name="T81" fmla="*/ 136 h 384"/>
                <a:gd name="T82" fmla="*/ 200 w 384"/>
                <a:gd name="T83" fmla="*/ 128 h 384"/>
                <a:gd name="T84" fmla="*/ 192 w 384"/>
                <a:gd name="T85" fmla="*/ 120 h 384"/>
                <a:gd name="T86" fmla="*/ 200 w 384"/>
                <a:gd name="T87" fmla="*/ 224 h 384"/>
                <a:gd name="T88" fmla="*/ 192 w 384"/>
                <a:gd name="T89" fmla="*/ 216 h 384"/>
                <a:gd name="T90" fmla="*/ 192 w 384"/>
                <a:gd name="T91" fmla="*/ 216 h 384"/>
                <a:gd name="T92" fmla="*/ 184 w 384"/>
                <a:gd name="T93" fmla="*/ 224 h 384"/>
                <a:gd name="T94" fmla="*/ 192 w 384"/>
                <a:gd name="T95" fmla="*/ 232 h 384"/>
                <a:gd name="T96" fmla="*/ 200 w 384"/>
                <a:gd name="T97" fmla="*/ 22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49" y="312"/>
                  </a:moveTo>
                  <a:cubicBezTo>
                    <a:pt x="134" y="312"/>
                    <a:pt x="134" y="312"/>
                    <a:pt x="134" y="312"/>
                  </a:cubicBezTo>
                  <a:cubicBezTo>
                    <a:pt x="117" y="312"/>
                    <a:pt x="104" y="298"/>
                    <a:pt x="104" y="281"/>
                  </a:cubicBezTo>
                  <a:cubicBezTo>
                    <a:pt x="104" y="102"/>
                    <a:pt x="104" y="102"/>
                    <a:pt x="104" y="102"/>
                  </a:cubicBezTo>
                  <a:cubicBezTo>
                    <a:pt x="104" y="85"/>
                    <a:pt x="117" y="72"/>
                    <a:pt x="134" y="72"/>
                  </a:cubicBezTo>
                  <a:cubicBezTo>
                    <a:pt x="249" y="72"/>
                    <a:pt x="249" y="72"/>
                    <a:pt x="249" y="72"/>
                  </a:cubicBezTo>
                  <a:cubicBezTo>
                    <a:pt x="266" y="72"/>
                    <a:pt x="280" y="85"/>
                    <a:pt x="280" y="102"/>
                  </a:cubicBezTo>
                  <a:cubicBezTo>
                    <a:pt x="280" y="281"/>
                    <a:pt x="280" y="281"/>
                    <a:pt x="280" y="281"/>
                  </a:cubicBezTo>
                  <a:cubicBezTo>
                    <a:pt x="280" y="298"/>
                    <a:pt x="266" y="312"/>
                    <a:pt x="249" y="312"/>
                  </a:cubicBezTo>
                  <a:close/>
                  <a:moveTo>
                    <a:pt x="134" y="88"/>
                  </a:moveTo>
                  <a:cubicBezTo>
                    <a:pt x="126" y="88"/>
                    <a:pt x="120" y="94"/>
                    <a:pt x="120" y="102"/>
                  </a:cubicBezTo>
                  <a:cubicBezTo>
                    <a:pt x="120" y="281"/>
                    <a:pt x="120" y="281"/>
                    <a:pt x="120" y="281"/>
                  </a:cubicBezTo>
                  <a:cubicBezTo>
                    <a:pt x="120" y="289"/>
                    <a:pt x="126" y="296"/>
                    <a:pt x="134" y="296"/>
                  </a:cubicBezTo>
                  <a:cubicBezTo>
                    <a:pt x="249" y="296"/>
                    <a:pt x="249" y="296"/>
                    <a:pt x="249" y="296"/>
                  </a:cubicBezTo>
                  <a:cubicBezTo>
                    <a:pt x="257" y="296"/>
                    <a:pt x="264" y="289"/>
                    <a:pt x="264" y="281"/>
                  </a:cubicBezTo>
                  <a:cubicBezTo>
                    <a:pt x="264" y="102"/>
                    <a:pt x="264" y="102"/>
                    <a:pt x="264" y="102"/>
                  </a:cubicBezTo>
                  <a:cubicBezTo>
                    <a:pt x="264" y="94"/>
                    <a:pt x="257" y="88"/>
                    <a:pt x="249" y="88"/>
                  </a:cubicBezTo>
                  <a:lnTo>
                    <a:pt x="134" y="88"/>
                  </a:lnTo>
                  <a:close/>
                  <a:moveTo>
                    <a:pt x="192" y="280"/>
                  </a:moveTo>
                  <a:cubicBezTo>
                    <a:pt x="161" y="280"/>
                    <a:pt x="136" y="255"/>
                    <a:pt x="136" y="224"/>
                  </a:cubicBezTo>
                  <a:cubicBezTo>
                    <a:pt x="136" y="193"/>
                    <a:pt x="161" y="168"/>
                    <a:pt x="192" y="168"/>
                  </a:cubicBezTo>
                  <a:cubicBezTo>
                    <a:pt x="223" y="168"/>
                    <a:pt x="248" y="193"/>
                    <a:pt x="248" y="224"/>
                  </a:cubicBezTo>
                  <a:cubicBezTo>
                    <a:pt x="248" y="255"/>
                    <a:pt x="223" y="280"/>
                    <a:pt x="192" y="280"/>
                  </a:cubicBezTo>
                  <a:close/>
                  <a:moveTo>
                    <a:pt x="192" y="184"/>
                  </a:moveTo>
                  <a:cubicBezTo>
                    <a:pt x="170" y="184"/>
                    <a:pt x="152" y="202"/>
                    <a:pt x="152" y="224"/>
                  </a:cubicBezTo>
                  <a:cubicBezTo>
                    <a:pt x="152" y="246"/>
                    <a:pt x="170" y="264"/>
                    <a:pt x="192" y="264"/>
                  </a:cubicBezTo>
                  <a:cubicBezTo>
                    <a:pt x="214" y="264"/>
                    <a:pt x="232" y="246"/>
                    <a:pt x="232" y="224"/>
                  </a:cubicBezTo>
                  <a:cubicBezTo>
                    <a:pt x="232" y="202"/>
                    <a:pt x="214" y="184"/>
                    <a:pt x="192" y="184"/>
                  </a:cubicBezTo>
                  <a:close/>
                  <a:moveTo>
                    <a:pt x="192" y="152"/>
                  </a:moveTo>
                  <a:cubicBezTo>
                    <a:pt x="178" y="152"/>
                    <a:pt x="168" y="141"/>
                    <a:pt x="168" y="128"/>
                  </a:cubicBezTo>
                  <a:cubicBezTo>
                    <a:pt x="168" y="114"/>
                    <a:pt x="178" y="104"/>
                    <a:pt x="192" y="104"/>
                  </a:cubicBezTo>
                  <a:cubicBezTo>
                    <a:pt x="205" y="104"/>
                    <a:pt x="216" y="114"/>
                    <a:pt x="216" y="128"/>
                  </a:cubicBezTo>
                  <a:cubicBezTo>
                    <a:pt x="216" y="141"/>
                    <a:pt x="205" y="152"/>
                    <a:pt x="192" y="152"/>
                  </a:cubicBezTo>
                  <a:close/>
                  <a:moveTo>
                    <a:pt x="192" y="120"/>
                  </a:moveTo>
                  <a:cubicBezTo>
                    <a:pt x="187" y="120"/>
                    <a:pt x="184" y="123"/>
                    <a:pt x="184" y="128"/>
                  </a:cubicBezTo>
                  <a:cubicBezTo>
                    <a:pt x="184" y="132"/>
                    <a:pt x="187" y="136"/>
                    <a:pt x="192" y="136"/>
                  </a:cubicBezTo>
                  <a:cubicBezTo>
                    <a:pt x="196" y="136"/>
                    <a:pt x="200" y="132"/>
                    <a:pt x="200" y="128"/>
                  </a:cubicBezTo>
                  <a:cubicBezTo>
                    <a:pt x="200" y="123"/>
                    <a:pt x="196" y="120"/>
                    <a:pt x="192" y="120"/>
                  </a:cubicBezTo>
                  <a:close/>
                  <a:moveTo>
                    <a:pt x="200" y="224"/>
                  </a:moveTo>
                  <a:cubicBezTo>
                    <a:pt x="200" y="219"/>
                    <a:pt x="196" y="216"/>
                    <a:pt x="192" y="216"/>
                  </a:cubicBezTo>
                  <a:cubicBezTo>
                    <a:pt x="192" y="216"/>
                    <a:pt x="192" y="216"/>
                    <a:pt x="192" y="216"/>
                  </a:cubicBezTo>
                  <a:cubicBezTo>
                    <a:pt x="187" y="216"/>
                    <a:pt x="184" y="219"/>
                    <a:pt x="184" y="224"/>
                  </a:cubicBezTo>
                  <a:cubicBezTo>
                    <a:pt x="184" y="228"/>
                    <a:pt x="187" y="232"/>
                    <a:pt x="192" y="232"/>
                  </a:cubicBezTo>
                  <a:cubicBezTo>
                    <a:pt x="196" y="232"/>
                    <a:pt x="200" y="228"/>
                    <a:pt x="200"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29">
              <a:extLst>
                <a:ext uri="{FF2B5EF4-FFF2-40B4-BE49-F238E27FC236}">
                  <a16:creationId xmlns:a16="http://schemas.microsoft.com/office/drawing/2014/main" id="{F25E90C2-018A-4FDD-BAE6-DE38D8766612}"/>
                </a:ext>
              </a:extLst>
            </p:cNvPr>
            <p:cNvSpPr>
              <a:spLocks/>
            </p:cNvSpPr>
            <p:nvPr/>
          </p:nvSpPr>
          <p:spPr bwMode="auto">
            <a:xfrm>
              <a:off x="5484813" y="4443413"/>
              <a:ext cx="52388" cy="52387"/>
            </a:xfrm>
            <a:custGeom>
              <a:avLst/>
              <a:gdLst>
                <a:gd name="T0" fmla="*/ 16 w 16"/>
                <a:gd name="T1" fmla="*/ 8 h 16"/>
                <a:gd name="T2" fmla="*/ 8 w 16"/>
                <a:gd name="T3" fmla="*/ 0 h 16"/>
                <a:gd name="T4" fmla="*/ 8 w 16"/>
                <a:gd name="T5" fmla="*/ 0 h 16"/>
                <a:gd name="T6" fmla="*/ 0 w 16"/>
                <a:gd name="T7" fmla="*/ 8 h 16"/>
                <a:gd name="T8" fmla="*/ 8 w 16"/>
                <a:gd name="T9" fmla="*/ 16 h 16"/>
                <a:gd name="T10" fmla="*/ 16 w 16"/>
                <a:gd name="T11" fmla="*/ 8 h 16"/>
              </a:gdLst>
              <a:ahLst/>
              <a:cxnLst>
                <a:cxn ang="0">
                  <a:pos x="T0" y="T1"/>
                </a:cxn>
                <a:cxn ang="0">
                  <a:pos x="T2" y="T3"/>
                </a:cxn>
                <a:cxn ang="0">
                  <a:pos x="T4" y="T5"/>
                </a:cxn>
                <a:cxn ang="0">
                  <a:pos x="T6" y="T7"/>
                </a:cxn>
                <a:cxn ang="0">
                  <a:pos x="T8" y="T9"/>
                </a:cxn>
                <a:cxn ang="0">
                  <a:pos x="T10" y="T11"/>
                </a:cxn>
              </a:cxnLst>
              <a:rect l="0" t="0" r="r" b="b"/>
              <a:pathLst>
                <a:path w="16" h="16">
                  <a:moveTo>
                    <a:pt x="16" y="8"/>
                  </a:moveTo>
                  <a:cubicBezTo>
                    <a:pt x="16" y="3"/>
                    <a:pt x="12" y="0"/>
                    <a:pt x="8" y="0"/>
                  </a:cubicBezTo>
                  <a:cubicBezTo>
                    <a:pt x="8" y="0"/>
                    <a:pt x="8" y="0"/>
                    <a:pt x="8" y="0"/>
                  </a:cubicBezTo>
                  <a:cubicBezTo>
                    <a:pt x="3" y="0"/>
                    <a:pt x="0" y="3"/>
                    <a:pt x="0" y="8"/>
                  </a:cubicBezTo>
                  <a:cubicBezTo>
                    <a:pt x="0" y="12"/>
                    <a:pt x="3" y="16"/>
                    <a:pt x="8" y="16"/>
                  </a:cubicBezTo>
                  <a:cubicBezTo>
                    <a:pt x="12" y="16"/>
                    <a:pt x="16" y="12"/>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7" name="Freeform 33">
            <a:extLst>
              <a:ext uri="{FF2B5EF4-FFF2-40B4-BE49-F238E27FC236}">
                <a16:creationId xmlns:a16="http://schemas.microsoft.com/office/drawing/2014/main" id="{481CD64D-AE38-4D0A-B9DF-8FBA35F2AB3A}"/>
              </a:ext>
            </a:extLst>
          </p:cNvPr>
          <p:cNvSpPr>
            <a:spLocks noChangeAspect="1" noEditPoints="1"/>
          </p:cNvSpPr>
          <p:nvPr/>
        </p:nvSpPr>
        <p:spPr bwMode="auto">
          <a:xfrm>
            <a:off x="11349174" y="1697045"/>
            <a:ext cx="372926" cy="370800"/>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 name="T20" fmla="*/ 249 w 384"/>
              <a:gd name="T21" fmla="*/ 312 h 384"/>
              <a:gd name="T22" fmla="*/ 134 w 384"/>
              <a:gd name="T23" fmla="*/ 312 h 384"/>
              <a:gd name="T24" fmla="*/ 104 w 384"/>
              <a:gd name="T25" fmla="*/ 281 h 384"/>
              <a:gd name="T26" fmla="*/ 104 w 384"/>
              <a:gd name="T27" fmla="*/ 102 h 384"/>
              <a:gd name="T28" fmla="*/ 134 w 384"/>
              <a:gd name="T29" fmla="*/ 72 h 384"/>
              <a:gd name="T30" fmla="*/ 249 w 384"/>
              <a:gd name="T31" fmla="*/ 72 h 384"/>
              <a:gd name="T32" fmla="*/ 280 w 384"/>
              <a:gd name="T33" fmla="*/ 102 h 384"/>
              <a:gd name="T34" fmla="*/ 280 w 384"/>
              <a:gd name="T35" fmla="*/ 281 h 384"/>
              <a:gd name="T36" fmla="*/ 249 w 384"/>
              <a:gd name="T37" fmla="*/ 312 h 384"/>
              <a:gd name="T38" fmla="*/ 134 w 384"/>
              <a:gd name="T39" fmla="*/ 88 h 384"/>
              <a:gd name="T40" fmla="*/ 120 w 384"/>
              <a:gd name="T41" fmla="*/ 102 h 384"/>
              <a:gd name="T42" fmla="*/ 120 w 384"/>
              <a:gd name="T43" fmla="*/ 281 h 384"/>
              <a:gd name="T44" fmla="*/ 134 w 384"/>
              <a:gd name="T45" fmla="*/ 296 h 384"/>
              <a:gd name="T46" fmla="*/ 249 w 384"/>
              <a:gd name="T47" fmla="*/ 296 h 384"/>
              <a:gd name="T48" fmla="*/ 264 w 384"/>
              <a:gd name="T49" fmla="*/ 281 h 384"/>
              <a:gd name="T50" fmla="*/ 264 w 384"/>
              <a:gd name="T51" fmla="*/ 102 h 384"/>
              <a:gd name="T52" fmla="*/ 249 w 384"/>
              <a:gd name="T53" fmla="*/ 88 h 384"/>
              <a:gd name="T54" fmla="*/ 134 w 384"/>
              <a:gd name="T55" fmla="*/ 88 h 384"/>
              <a:gd name="T56" fmla="*/ 192 w 384"/>
              <a:gd name="T57" fmla="*/ 280 h 384"/>
              <a:gd name="T58" fmla="*/ 136 w 384"/>
              <a:gd name="T59" fmla="*/ 224 h 384"/>
              <a:gd name="T60" fmla="*/ 192 w 384"/>
              <a:gd name="T61" fmla="*/ 168 h 384"/>
              <a:gd name="T62" fmla="*/ 248 w 384"/>
              <a:gd name="T63" fmla="*/ 224 h 384"/>
              <a:gd name="T64" fmla="*/ 192 w 384"/>
              <a:gd name="T65" fmla="*/ 280 h 384"/>
              <a:gd name="T66" fmla="*/ 192 w 384"/>
              <a:gd name="T67" fmla="*/ 184 h 384"/>
              <a:gd name="T68" fmla="*/ 152 w 384"/>
              <a:gd name="T69" fmla="*/ 224 h 384"/>
              <a:gd name="T70" fmla="*/ 192 w 384"/>
              <a:gd name="T71" fmla="*/ 264 h 384"/>
              <a:gd name="T72" fmla="*/ 232 w 384"/>
              <a:gd name="T73" fmla="*/ 224 h 384"/>
              <a:gd name="T74" fmla="*/ 192 w 384"/>
              <a:gd name="T75" fmla="*/ 184 h 384"/>
              <a:gd name="T76" fmla="*/ 192 w 384"/>
              <a:gd name="T77" fmla="*/ 152 h 384"/>
              <a:gd name="T78" fmla="*/ 168 w 384"/>
              <a:gd name="T79" fmla="*/ 128 h 384"/>
              <a:gd name="T80" fmla="*/ 192 w 384"/>
              <a:gd name="T81" fmla="*/ 104 h 384"/>
              <a:gd name="T82" fmla="*/ 216 w 384"/>
              <a:gd name="T83" fmla="*/ 128 h 384"/>
              <a:gd name="T84" fmla="*/ 192 w 384"/>
              <a:gd name="T85" fmla="*/ 152 h 384"/>
              <a:gd name="T86" fmla="*/ 192 w 384"/>
              <a:gd name="T87" fmla="*/ 120 h 384"/>
              <a:gd name="T88" fmla="*/ 184 w 384"/>
              <a:gd name="T89" fmla="*/ 128 h 384"/>
              <a:gd name="T90" fmla="*/ 192 w 384"/>
              <a:gd name="T91" fmla="*/ 136 h 384"/>
              <a:gd name="T92" fmla="*/ 200 w 384"/>
              <a:gd name="T93" fmla="*/ 128 h 384"/>
              <a:gd name="T94" fmla="*/ 192 w 384"/>
              <a:gd name="T95" fmla="*/ 120 h 384"/>
              <a:gd name="T96" fmla="*/ 200 w 384"/>
              <a:gd name="T97" fmla="*/ 224 h 384"/>
              <a:gd name="T98" fmla="*/ 192 w 384"/>
              <a:gd name="T99" fmla="*/ 216 h 384"/>
              <a:gd name="T100" fmla="*/ 192 w 384"/>
              <a:gd name="T101" fmla="*/ 216 h 384"/>
              <a:gd name="T102" fmla="*/ 184 w 384"/>
              <a:gd name="T103" fmla="*/ 224 h 384"/>
              <a:gd name="T104" fmla="*/ 192 w 384"/>
              <a:gd name="T105" fmla="*/ 232 h 384"/>
              <a:gd name="T106" fmla="*/ 200 w 384"/>
              <a:gd name="T107" fmla="*/ 22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49" y="312"/>
                </a:moveTo>
                <a:cubicBezTo>
                  <a:pt x="134" y="312"/>
                  <a:pt x="134" y="312"/>
                  <a:pt x="134" y="312"/>
                </a:cubicBezTo>
                <a:cubicBezTo>
                  <a:pt x="117" y="312"/>
                  <a:pt x="104" y="298"/>
                  <a:pt x="104" y="281"/>
                </a:cubicBezTo>
                <a:cubicBezTo>
                  <a:pt x="104" y="102"/>
                  <a:pt x="104" y="102"/>
                  <a:pt x="104" y="102"/>
                </a:cubicBezTo>
                <a:cubicBezTo>
                  <a:pt x="104" y="85"/>
                  <a:pt x="117" y="72"/>
                  <a:pt x="134" y="72"/>
                </a:cubicBezTo>
                <a:cubicBezTo>
                  <a:pt x="249" y="72"/>
                  <a:pt x="249" y="72"/>
                  <a:pt x="249" y="72"/>
                </a:cubicBezTo>
                <a:cubicBezTo>
                  <a:pt x="266" y="72"/>
                  <a:pt x="280" y="85"/>
                  <a:pt x="280" y="102"/>
                </a:cubicBezTo>
                <a:cubicBezTo>
                  <a:pt x="280" y="281"/>
                  <a:pt x="280" y="281"/>
                  <a:pt x="280" y="281"/>
                </a:cubicBezTo>
                <a:cubicBezTo>
                  <a:pt x="280" y="298"/>
                  <a:pt x="266" y="312"/>
                  <a:pt x="249" y="312"/>
                </a:cubicBezTo>
                <a:close/>
                <a:moveTo>
                  <a:pt x="134" y="88"/>
                </a:moveTo>
                <a:cubicBezTo>
                  <a:pt x="126" y="88"/>
                  <a:pt x="120" y="94"/>
                  <a:pt x="120" y="102"/>
                </a:cubicBezTo>
                <a:cubicBezTo>
                  <a:pt x="120" y="281"/>
                  <a:pt x="120" y="281"/>
                  <a:pt x="120" y="281"/>
                </a:cubicBezTo>
                <a:cubicBezTo>
                  <a:pt x="120" y="289"/>
                  <a:pt x="126" y="296"/>
                  <a:pt x="134" y="296"/>
                </a:cubicBezTo>
                <a:cubicBezTo>
                  <a:pt x="249" y="296"/>
                  <a:pt x="249" y="296"/>
                  <a:pt x="249" y="296"/>
                </a:cubicBezTo>
                <a:cubicBezTo>
                  <a:pt x="257" y="296"/>
                  <a:pt x="264" y="289"/>
                  <a:pt x="264" y="281"/>
                </a:cubicBezTo>
                <a:cubicBezTo>
                  <a:pt x="264" y="102"/>
                  <a:pt x="264" y="102"/>
                  <a:pt x="264" y="102"/>
                </a:cubicBezTo>
                <a:cubicBezTo>
                  <a:pt x="264" y="94"/>
                  <a:pt x="257" y="88"/>
                  <a:pt x="249" y="88"/>
                </a:cubicBezTo>
                <a:lnTo>
                  <a:pt x="134" y="88"/>
                </a:lnTo>
                <a:close/>
                <a:moveTo>
                  <a:pt x="192" y="280"/>
                </a:moveTo>
                <a:cubicBezTo>
                  <a:pt x="161" y="280"/>
                  <a:pt x="136" y="255"/>
                  <a:pt x="136" y="224"/>
                </a:cubicBezTo>
                <a:cubicBezTo>
                  <a:pt x="136" y="193"/>
                  <a:pt x="161" y="168"/>
                  <a:pt x="192" y="168"/>
                </a:cubicBezTo>
                <a:cubicBezTo>
                  <a:pt x="223" y="168"/>
                  <a:pt x="248" y="193"/>
                  <a:pt x="248" y="224"/>
                </a:cubicBezTo>
                <a:cubicBezTo>
                  <a:pt x="248" y="255"/>
                  <a:pt x="223" y="280"/>
                  <a:pt x="192" y="280"/>
                </a:cubicBezTo>
                <a:close/>
                <a:moveTo>
                  <a:pt x="192" y="184"/>
                </a:moveTo>
                <a:cubicBezTo>
                  <a:pt x="170" y="184"/>
                  <a:pt x="152" y="202"/>
                  <a:pt x="152" y="224"/>
                </a:cubicBezTo>
                <a:cubicBezTo>
                  <a:pt x="152" y="246"/>
                  <a:pt x="170" y="264"/>
                  <a:pt x="192" y="264"/>
                </a:cubicBezTo>
                <a:cubicBezTo>
                  <a:pt x="214" y="264"/>
                  <a:pt x="232" y="246"/>
                  <a:pt x="232" y="224"/>
                </a:cubicBezTo>
                <a:cubicBezTo>
                  <a:pt x="232" y="202"/>
                  <a:pt x="214" y="184"/>
                  <a:pt x="192" y="184"/>
                </a:cubicBezTo>
                <a:close/>
                <a:moveTo>
                  <a:pt x="192" y="152"/>
                </a:moveTo>
                <a:cubicBezTo>
                  <a:pt x="178" y="152"/>
                  <a:pt x="168" y="141"/>
                  <a:pt x="168" y="128"/>
                </a:cubicBezTo>
                <a:cubicBezTo>
                  <a:pt x="168" y="114"/>
                  <a:pt x="178" y="104"/>
                  <a:pt x="192" y="104"/>
                </a:cubicBezTo>
                <a:cubicBezTo>
                  <a:pt x="205" y="104"/>
                  <a:pt x="216" y="114"/>
                  <a:pt x="216" y="128"/>
                </a:cubicBezTo>
                <a:cubicBezTo>
                  <a:pt x="216" y="141"/>
                  <a:pt x="205" y="152"/>
                  <a:pt x="192" y="152"/>
                </a:cubicBezTo>
                <a:close/>
                <a:moveTo>
                  <a:pt x="192" y="120"/>
                </a:moveTo>
                <a:cubicBezTo>
                  <a:pt x="187" y="120"/>
                  <a:pt x="184" y="123"/>
                  <a:pt x="184" y="128"/>
                </a:cubicBezTo>
                <a:cubicBezTo>
                  <a:pt x="184" y="132"/>
                  <a:pt x="187" y="136"/>
                  <a:pt x="192" y="136"/>
                </a:cubicBezTo>
                <a:cubicBezTo>
                  <a:pt x="196" y="136"/>
                  <a:pt x="200" y="132"/>
                  <a:pt x="200" y="128"/>
                </a:cubicBezTo>
                <a:cubicBezTo>
                  <a:pt x="200" y="123"/>
                  <a:pt x="196" y="120"/>
                  <a:pt x="192" y="120"/>
                </a:cubicBezTo>
                <a:close/>
                <a:moveTo>
                  <a:pt x="200" y="224"/>
                </a:moveTo>
                <a:cubicBezTo>
                  <a:pt x="200" y="219"/>
                  <a:pt x="196" y="216"/>
                  <a:pt x="192" y="216"/>
                </a:cubicBezTo>
                <a:cubicBezTo>
                  <a:pt x="192" y="216"/>
                  <a:pt x="192" y="216"/>
                  <a:pt x="192" y="216"/>
                </a:cubicBezTo>
                <a:cubicBezTo>
                  <a:pt x="187" y="216"/>
                  <a:pt x="184" y="219"/>
                  <a:pt x="184" y="224"/>
                </a:cubicBezTo>
                <a:cubicBezTo>
                  <a:pt x="184" y="228"/>
                  <a:pt x="187" y="232"/>
                  <a:pt x="192" y="232"/>
                </a:cubicBezTo>
                <a:cubicBezTo>
                  <a:pt x="196" y="232"/>
                  <a:pt x="200" y="228"/>
                  <a:pt x="200" y="22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78" name="Group 177">
            <a:extLst>
              <a:ext uri="{FF2B5EF4-FFF2-40B4-BE49-F238E27FC236}">
                <a16:creationId xmlns:a16="http://schemas.microsoft.com/office/drawing/2014/main" id="{C8808675-8244-4F79-8471-8C5FACCA9B8D}"/>
              </a:ext>
            </a:extLst>
          </p:cNvPr>
          <p:cNvGrpSpPr/>
          <p:nvPr/>
        </p:nvGrpSpPr>
        <p:grpSpPr>
          <a:xfrm>
            <a:off x="2649599" y="2514211"/>
            <a:ext cx="362046" cy="361475"/>
            <a:chOff x="-228629" y="3775075"/>
            <a:chExt cx="2012950" cy="2009775"/>
          </a:xfrm>
          <a:solidFill>
            <a:schemeClr val="bg2"/>
          </a:solidFill>
        </p:grpSpPr>
        <p:sp>
          <p:nvSpPr>
            <p:cNvPr id="179" name="Freeform 5">
              <a:extLst>
                <a:ext uri="{FF2B5EF4-FFF2-40B4-BE49-F238E27FC236}">
                  <a16:creationId xmlns:a16="http://schemas.microsoft.com/office/drawing/2014/main" id="{09A37B0B-85AE-439F-A2DF-8DED8AF34470}"/>
                </a:ext>
              </a:extLst>
            </p:cNvPr>
            <p:cNvSpPr>
              <a:spLocks noEditPoints="1"/>
            </p:cNvSpPr>
            <p:nvPr/>
          </p:nvSpPr>
          <p:spPr bwMode="auto">
            <a:xfrm>
              <a:off x="-228629" y="3775075"/>
              <a:ext cx="2012950" cy="2009775"/>
            </a:xfrm>
            <a:custGeom>
              <a:avLst/>
              <a:gdLst>
                <a:gd name="T0" fmla="*/ 722 w 1268"/>
                <a:gd name="T1" fmla="*/ 54 h 1266"/>
                <a:gd name="T2" fmla="*/ 862 w 1268"/>
                <a:gd name="T3" fmla="*/ 94 h 1266"/>
                <a:gd name="T4" fmla="*/ 984 w 1268"/>
                <a:gd name="T5" fmla="*/ 164 h 1266"/>
                <a:gd name="T6" fmla="*/ 1086 w 1268"/>
                <a:gd name="T7" fmla="*/ 260 h 1266"/>
                <a:gd name="T8" fmla="*/ 1162 w 1268"/>
                <a:gd name="T9" fmla="*/ 380 h 1266"/>
                <a:gd name="T10" fmla="*/ 1208 w 1268"/>
                <a:gd name="T11" fmla="*/ 516 h 1266"/>
                <a:gd name="T12" fmla="*/ 1220 w 1268"/>
                <a:gd name="T13" fmla="*/ 632 h 1266"/>
                <a:gd name="T14" fmla="*/ 1200 w 1268"/>
                <a:gd name="T15" fmla="*/ 780 h 1266"/>
                <a:gd name="T16" fmla="*/ 1148 w 1268"/>
                <a:gd name="T17" fmla="*/ 912 h 1266"/>
                <a:gd name="T18" fmla="*/ 1066 w 1268"/>
                <a:gd name="T19" fmla="*/ 1026 h 1266"/>
                <a:gd name="T20" fmla="*/ 960 w 1268"/>
                <a:gd name="T21" fmla="*/ 1118 h 1266"/>
                <a:gd name="T22" fmla="*/ 834 w 1268"/>
                <a:gd name="T23" fmla="*/ 1182 h 1266"/>
                <a:gd name="T24" fmla="*/ 694 w 1268"/>
                <a:gd name="T25" fmla="*/ 1216 h 1266"/>
                <a:gd name="T26" fmla="*/ 574 w 1268"/>
                <a:gd name="T27" fmla="*/ 1216 h 1266"/>
                <a:gd name="T28" fmla="*/ 432 w 1268"/>
                <a:gd name="T29" fmla="*/ 1182 h 1266"/>
                <a:gd name="T30" fmla="*/ 306 w 1268"/>
                <a:gd name="T31" fmla="*/ 1118 h 1266"/>
                <a:gd name="T32" fmla="*/ 200 w 1268"/>
                <a:gd name="T33" fmla="*/ 1026 h 1266"/>
                <a:gd name="T34" fmla="*/ 118 w 1268"/>
                <a:gd name="T35" fmla="*/ 912 h 1266"/>
                <a:gd name="T36" fmla="*/ 66 w 1268"/>
                <a:gd name="T37" fmla="*/ 780 h 1266"/>
                <a:gd name="T38" fmla="*/ 48 w 1268"/>
                <a:gd name="T39" fmla="*/ 632 h 1266"/>
                <a:gd name="T40" fmla="*/ 60 w 1268"/>
                <a:gd name="T41" fmla="*/ 516 h 1266"/>
                <a:gd name="T42" fmla="*/ 106 w 1268"/>
                <a:gd name="T43" fmla="*/ 380 h 1266"/>
                <a:gd name="T44" fmla="*/ 182 w 1268"/>
                <a:gd name="T45" fmla="*/ 260 h 1266"/>
                <a:gd name="T46" fmla="*/ 284 w 1268"/>
                <a:gd name="T47" fmla="*/ 164 h 1266"/>
                <a:gd name="T48" fmla="*/ 406 w 1268"/>
                <a:gd name="T49" fmla="*/ 94 h 1266"/>
                <a:gd name="T50" fmla="*/ 544 w 1268"/>
                <a:gd name="T51" fmla="*/ 54 h 1266"/>
                <a:gd name="T52" fmla="*/ 634 w 1268"/>
                <a:gd name="T53" fmla="*/ 0 h 1266"/>
                <a:gd name="T54" fmla="*/ 476 w 1268"/>
                <a:gd name="T55" fmla="*/ 20 h 1266"/>
                <a:gd name="T56" fmla="*/ 332 w 1268"/>
                <a:gd name="T57" fmla="*/ 76 h 1266"/>
                <a:gd name="T58" fmla="*/ 208 w 1268"/>
                <a:gd name="T59" fmla="*/ 164 h 1266"/>
                <a:gd name="T60" fmla="*/ 108 w 1268"/>
                <a:gd name="T61" fmla="*/ 278 h 1266"/>
                <a:gd name="T62" fmla="*/ 38 w 1268"/>
                <a:gd name="T63" fmla="*/ 416 h 1266"/>
                <a:gd name="T64" fmla="*/ 4 w 1268"/>
                <a:gd name="T65" fmla="*/ 568 h 1266"/>
                <a:gd name="T66" fmla="*/ 4 w 1268"/>
                <a:gd name="T67" fmla="*/ 698 h 1266"/>
                <a:gd name="T68" fmla="*/ 38 w 1268"/>
                <a:gd name="T69" fmla="*/ 850 h 1266"/>
                <a:gd name="T70" fmla="*/ 108 w 1268"/>
                <a:gd name="T71" fmla="*/ 988 h 1266"/>
                <a:gd name="T72" fmla="*/ 208 w 1268"/>
                <a:gd name="T73" fmla="*/ 1102 h 1266"/>
                <a:gd name="T74" fmla="*/ 332 w 1268"/>
                <a:gd name="T75" fmla="*/ 1190 h 1266"/>
                <a:gd name="T76" fmla="*/ 476 w 1268"/>
                <a:gd name="T77" fmla="*/ 1246 h 1266"/>
                <a:gd name="T78" fmla="*/ 634 w 1268"/>
                <a:gd name="T79" fmla="*/ 1266 h 1266"/>
                <a:gd name="T80" fmla="*/ 762 w 1268"/>
                <a:gd name="T81" fmla="*/ 1254 h 1266"/>
                <a:gd name="T82" fmla="*/ 908 w 1268"/>
                <a:gd name="T83" fmla="*/ 1204 h 1266"/>
                <a:gd name="T84" fmla="*/ 1036 w 1268"/>
                <a:gd name="T85" fmla="*/ 1122 h 1266"/>
                <a:gd name="T86" fmla="*/ 1142 w 1268"/>
                <a:gd name="T87" fmla="*/ 1012 h 1266"/>
                <a:gd name="T88" fmla="*/ 1218 w 1268"/>
                <a:gd name="T89" fmla="*/ 880 h 1266"/>
                <a:gd name="T90" fmla="*/ 1260 w 1268"/>
                <a:gd name="T91" fmla="*/ 730 h 1266"/>
                <a:gd name="T92" fmla="*/ 1266 w 1268"/>
                <a:gd name="T93" fmla="*/ 600 h 1266"/>
                <a:gd name="T94" fmla="*/ 1238 w 1268"/>
                <a:gd name="T95" fmla="*/ 444 h 1266"/>
                <a:gd name="T96" fmla="*/ 1176 w 1268"/>
                <a:gd name="T97" fmla="*/ 304 h 1266"/>
                <a:gd name="T98" fmla="*/ 1082 w 1268"/>
                <a:gd name="T99" fmla="*/ 184 h 1266"/>
                <a:gd name="T100" fmla="*/ 962 w 1268"/>
                <a:gd name="T101" fmla="*/ 92 h 1266"/>
                <a:gd name="T102" fmla="*/ 822 w 1268"/>
                <a:gd name="T103" fmla="*/ 28 h 1266"/>
                <a:gd name="T104" fmla="*/ 666 w 1268"/>
                <a:gd name="T105" fmla="*/ 0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8" h="1266">
                  <a:moveTo>
                    <a:pt x="634" y="48"/>
                  </a:moveTo>
                  <a:lnTo>
                    <a:pt x="634" y="48"/>
                  </a:lnTo>
                  <a:lnTo>
                    <a:pt x="664" y="48"/>
                  </a:lnTo>
                  <a:lnTo>
                    <a:pt x="694" y="50"/>
                  </a:lnTo>
                  <a:lnTo>
                    <a:pt x="722" y="54"/>
                  </a:lnTo>
                  <a:lnTo>
                    <a:pt x="752" y="60"/>
                  </a:lnTo>
                  <a:lnTo>
                    <a:pt x="780" y="66"/>
                  </a:lnTo>
                  <a:lnTo>
                    <a:pt x="808" y="74"/>
                  </a:lnTo>
                  <a:lnTo>
                    <a:pt x="834" y="82"/>
                  </a:lnTo>
                  <a:lnTo>
                    <a:pt x="862" y="94"/>
                  </a:lnTo>
                  <a:lnTo>
                    <a:pt x="888" y="106"/>
                  </a:lnTo>
                  <a:lnTo>
                    <a:pt x="912" y="118"/>
                  </a:lnTo>
                  <a:lnTo>
                    <a:pt x="936" y="132"/>
                  </a:lnTo>
                  <a:lnTo>
                    <a:pt x="960" y="148"/>
                  </a:lnTo>
                  <a:lnTo>
                    <a:pt x="984" y="164"/>
                  </a:lnTo>
                  <a:lnTo>
                    <a:pt x="1006" y="182"/>
                  </a:lnTo>
                  <a:lnTo>
                    <a:pt x="1028" y="200"/>
                  </a:lnTo>
                  <a:lnTo>
                    <a:pt x="1048" y="220"/>
                  </a:lnTo>
                  <a:lnTo>
                    <a:pt x="1066" y="240"/>
                  </a:lnTo>
                  <a:lnTo>
                    <a:pt x="1086" y="260"/>
                  </a:lnTo>
                  <a:lnTo>
                    <a:pt x="1102" y="282"/>
                  </a:lnTo>
                  <a:lnTo>
                    <a:pt x="1120" y="306"/>
                  </a:lnTo>
                  <a:lnTo>
                    <a:pt x="1134" y="330"/>
                  </a:lnTo>
                  <a:lnTo>
                    <a:pt x="1148" y="354"/>
                  </a:lnTo>
                  <a:lnTo>
                    <a:pt x="1162" y="380"/>
                  </a:lnTo>
                  <a:lnTo>
                    <a:pt x="1174" y="406"/>
                  </a:lnTo>
                  <a:lnTo>
                    <a:pt x="1184" y="432"/>
                  </a:lnTo>
                  <a:lnTo>
                    <a:pt x="1192" y="460"/>
                  </a:lnTo>
                  <a:lnTo>
                    <a:pt x="1200" y="486"/>
                  </a:lnTo>
                  <a:lnTo>
                    <a:pt x="1208" y="516"/>
                  </a:lnTo>
                  <a:lnTo>
                    <a:pt x="1212" y="544"/>
                  </a:lnTo>
                  <a:lnTo>
                    <a:pt x="1216" y="574"/>
                  </a:lnTo>
                  <a:lnTo>
                    <a:pt x="1218" y="602"/>
                  </a:lnTo>
                  <a:lnTo>
                    <a:pt x="1220" y="632"/>
                  </a:lnTo>
                  <a:lnTo>
                    <a:pt x="1220" y="632"/>
                  </a:lnTo>
                  <a:lnTo>
                    <a:pt x="1218" y="664"/>
                  </a:lnTo>
                  <a:lnTo>
                    <a:pt x="1216" y="692"/>
                  </a:lnTo>
                  <a:lnTo>
                    <a:pt x="1212" y="722"/>
                  </a:lnTo>
                  <a:lnTo>
                    <a:pt x="1208" y="750"/>
                  </a:lnTo>
                  <a:lnTo>
                    <a:pt x="1200" y="780"/>
                  </a:lnTo>
                  <a:lnTo>
                    <a:pt x="1192" y="806"/>
                  </a:lnTo>
                  <a:lnTo>
                    <a:pt x="1184" y="834"/>
                  </a:lnTo>
                  <a:lnTo>
                    <a:pt x="1174" y="860"/>
                  </a:lnTo>
                  <a:lnTo>
                    <a:pt x="1162" y="886"/>
                  </a:lnTo>
                  <a:lnTo>
                    <a:pt x="1148" y="912"/>
                  </a:lnTo>
                  <a:lnTo>
                    <a:pt x="1134" y="936"/>
                  </a:lnTo>
                  <a:lnTo>
                    <a:pt x="1120" y="960"/>
                  </a:lnTo>
                  <a:lnTo>
                    <a:pt x="1102" y="984"/>
                  </a:lnTo>
                  <a:lnTo>
                    <a:pt x="1086" y="1006"/>
                  </a:lnTo>
                  <a:lnTo>
                    <a:pt x="1066" y="1026"/>
                  </a:lnTo>
                  <a:lnTo>
                    <a:pt x="1048" y="1046"/>
                  </a:lnTo>
                  <a:lnTo>
                    <a:pt x="1028" y="1066"/>
                  </a:lnTo>
                  <a:lnTo>
                    <a:pt x="1006" y="1084"/>
                  </a:lnTo>
                  <a:lnTo>
                    <a:pt x="984" y="1102"/>
                  </a:lnTo>
                  <a:lnTo>
                    <a:pt x="960" y="1118"/>
                  </a:lnTo>
                  <a:lnTo>
                    <a:pt x="936" y="1134"/>
                  </a:lnTo>
                  <a:lnTo>
                    <a:pt x="912" y="1148"/>
                  </a:lnTo>
                  <a:lnTo>
                    <a:pt x="888" y="1160"/>
                  </a:lnTo>
                  <a:lnTo>
                    <a:pt x="862" y="1172"/>
                  </a:lnTo>
                  <a:lnTo>
                    <a:pt x="834" y="1182"/>
                  </a:lnTo>
                  <a:lnTo>
                    <a:pt x="808" y="1192"/>
                  </a:lnTo>
                  <a:lnTo>
                    <a:pt x="780" y="1200"/>
                  </a:lnTo>
                  <a:lnTo>
                    <a:pt x="752" y="1206"/>
                  </a:lnTo>
                  <a:lnTo>
                    <a:pt x="722" y="1212"/>
                  </a:lnTo>
                  <a:lnTo>
                    <a:pt x="694" y="1216"/>
                  </a:lnTo>
                  <a:lnTo>
                    <a:pt x="664" y="1218"/>
                  </a:lnTo>
                  <a:lnTo>
                    <a:pt x="634" y="1218"/>
                  </a:lnTo>
                  <a:lnTo>
                    <a:pt x="634" y="1218"/>
                  </a:lnTo>
                  <a:lnTo>
                    <a:pt x="604" y="1218"/>
                  </a:lnTo>
                  <a:lnTo>
                    <a:pt x="574" y="1216"/>
                  </a:lnTo>
                  <a:lnTo>
                    <a:pt x="544" y="1212"/>
                  </a:lnTo>
                  <a:lnTo>
                    <a:pt x="516" y="1206"/>
                  </a:lnTo>
                  <a:lnTo>
                    <a:pt x="488" y="1200"/>
                  </a:lnTo>
                  <a:lnTo>
                    <a:pt x="460" y="1192"/>
                  </a:lnTo>
                  <a:lnTo>
                    <a:pt x="432" y="1182"/>
                  </a:lnTo>
                  <a:lnTo>
                    <a:pt x="406" y="1172"/>
                  </a:lnTo>
                  <a:lnTo>
                    <a:pt x="380" y="1160"/>
                  </a:lnTo>
                  <a:lnTo>
                    <a:pt x="354" y="1148"/>
                  </a:lnTo>
                  <a:lnTo>
                    <a:pt x="330" y="1134"/>
                  </a:lnTo>
                  <a:lnTo>
                    <a:pt x="306" y="1118"/>
                  </a:lnTo>
                  <a:lnTo>
                    <a:pt x="284" y="1102"/>
                  </a:lnTo>
                  <a:lnTo>
                    <a:pt x="262" y="1084"/>
                  </a:lnTo>
                  <a:lnTo>
                    <a:pt x="240" y="1066"/>
                  </a:lnTo>
                  <a:lnTo>
                    <a:pt x="220" y="1046"/>
                  </a:lnTo>
                  <a:lnTo>
                    <a:pt x="200" y="1026"/>
                  </a:lnTo>
                  <a:lnTo>
                    <a:pt x="182" y="1006"/>
                  </a:lnTo>
                  <a:lnTo>
                    <a:pt x="164" y="984"/>
                  </a:lnTo>
                  <a:lnTo>
                    <a:pt x="148" y="960"/>
                  </a:lnTo>
                  <a:lnTo>
                    <a:pt x="132" y="936"/>
                  </a:lnTo>
                  <a:lnTo>
                    <a:pt x="118" y="912"/>
                  </a:lnTo>
                  <a:lnTo>
                    <a:pt x="106" y="886"/>
                  </a:lnTo>
                  <a:lnTo>
                    <a:pt x="94" y="860"/>
                  </a:lnTo>
                  <a:lnTo>
                    <a:pt x="84" y="834"/>
                  </a:lnTo>
                  <a:lnTo>
                    <a:pt x="74" y="806"/>
                  </a:lnTo>
                  <a:lnTo>
                    <a:pt x="66" y="780"/>
                  </a:lnTo>
                  <a:lnTo>
                    <a:pt x="60" y="750"/>
                  </a:lnTo>
                  <a:lnTo>
                    <a:pt x="54" y="722"/>
                  </a:lnTo>
                  <a:lnTo>
                    <a:pt x="52" y="692"/>
                  </a:lnTo>
                  <a:lnTo>
                    <a:pt x="48" y="664"/>
                  </a:lnTo>
                  <a:lnTo>
                    <a:pt x="48" y="632"/>
                  </a:lnTo>
                  <a:lnTo>
                    <a:pt x="48" y="632"/>
                  </a:lnTo>
                  <a:lnTo>
                    <a:pt x="48" y="602"/>
                  </a:lnTo>
                  <a:lnTo>
                    <a:pt x="52" y="574"/>
                  </a:lnTo>
                  <a:lnTo>
                    <a:pt x="54" y="544"/>
                  </a:lnTo>
                  <a:lnTo>
                    <a:pt x="60" y="516"/>
                  </a:lnTo>
                  <a:lnTo>
                    <a:pt x="66" y="486"/>
                  </a:lnTo>
                  <a:lnTo>
                    <a:pt x="74" y="460"/>
                  </a:lnTo>
                  <a:lnTo>
                    <a:pt x="84" y="432"/>
                  </a:lnTo>
                  <a:lnTo>
                    <a:pt x="94" y="406"/>
                  </a:lnTo>
                  <a:lnTo>
                    <a:pt x="106" y="380"/>
                  </a:lnTo>
                  <a:lnTo>
                    <a:pt x="118" y="354"/>
                  </a:lnTo>
                  <a:lnTo>
                    <a:pt x="132" y="330"/>
                  </a:lnTo>
                  <a:lnTo>
                    <a:pt x="148" y="306"/>
                  </a:lnTo>
                  <a:lnTo>
                    <a:pt x="164" y="282"/>
                  </a:lnTo>
                  <a:lnTo>
                    <a:pt x="182" y="260"/>
                  </a:lnTo>
                  <a:lnTo>
                    <a:pt x="200" y="240"/>
                  </a:lnTo>
                  <a:lnTo>
                    <a:pt x="220" y="220"/>
                  </a:lnTo>
                  <a:lnTo>
                    <a:pt x="240" y="200"/>
                  </a:lnTo>
                  <a:lnTo>
                    <a:pt x="262" y="182"/>
                  </a:lnTo>
                  <a:lnTo>
                    <a:pt x="284" y="164"/>
                  </a:lnTo>
                  <a:lnTo>
                    <a:pt x="306" y="148"/>
                  </a:lnTo>
                  <a:lnTo>
                    <a:pt x="330" y="132"/>
                  </a:lnTo>
                  <a:lnTo>
                    <a:pt x="354" y="118"/>
                  </a:lnTo>
                  <a:lnTo>
                    <a:pt x="380" y="106"/>
                  </a:lnTo>
                  <a:lnTo>
                    <a:pt x="406" y="94"/>
                  </a:lnTo>
                  <a:lnTo>
                    <a:pt x="432" y="82"/>
                  </a:lnTo>
                  <a:lnTo>
                    <a:pt x="460" y="74"/>
                  </a:lnTo>
                  <a:lnTo>
                    <a:pt x="488" y="66"/>
                  </a:lnTo>
                  <a:lnTo>
                    <a:pt x="516" y="60"/>
                  </a:lnTo>
                  <a:lnTo>
                    <a:pt x="544" y="54"/>
                  </a:lnTo>
                  <a:lnTo>
                    <a:pt x="574" y="50"/>
                  </a:lnTo>
                  <a:lnTo>
                    <a:pt x="604" y="48"/>
                  </a:lnTo>
                  <a:lnTo>
                    <a:pt x="634" y="48"/>
                  </a:lnTo>
                  <a:close/>
                  <a:moveTo>
                    <a:pt x="634" y="0"/>
                  </a:moveTo>
                  <a:lnTo>
                    <a:pt x="634" y="0"/>
                  </a:lnTo>
                  <a:lnTo>
                    <a:pt x="600" y="0"/>
                  </a:lnTo>
                  <a:lnTo>
                    <a:pt x="568" y="2"/>
                  </a:lnTo>
                  <a:lnTo>
                    <a:pt x="538" y="6"/>
                  </a:lnTo>
                  <a:lnTo>
                    <a:pt x="506" y="12"/>
                  </a:lnTo>
                  <a:lnTo>
                    <a:pt x="476" y="20"/>
                  </a:lnTo>
                  <a:lnTo>
                    <a:pt x="446" y="28"/>
                  </a:lnTo>
                  <a:lnTo>
                    <a:pt x="416" y="38"/>
                  </a:lnTo>
                  <a:lnTo>
                    <a:pt x="386" y="50"/>
                  </a:lnTo>
                  <a:lnTo>
                    <a:pt x="358" y="62"/>
                  </a:lnTo>
                  <a:lnTo>
                    <a:pt x="332" y="76"/>
                  </a:lnTo>
                  <a:lnTo>
                    <a:pt x="306" y="92"/>
                  </a:lnTo>
                  <a:lnTo>
                    <a:pt x="280" y="108"/>
                  </a:lnTo>
                  <a:lnTo>
                    <a:pt x="254" y="126"/>
                  </a:lnTo>
                  <a:lnTo>
                    <a:pt x="230" y="144"/>
                  </a:lnTo>
                  <a:lnTo>
                    <a:pt x="208" y="164"/>
                  </a:lnTo>
                  <a:lnTo>
                    <a:pt x="186" y="184"/>
                  </a:lnTo>
                  <a:lnTo>
                    <a:pt x="164" y="206"/>
                  </a:lnTo>
                  <a:lnTo>
                    <a:pt x="144" y="230"/>
                  </a:lnTo>
                  <a:lnTo>
                    <a:pt x="126" y="254"/>
                  </a:lnTo>
                  <a:lnTo>
                    <a:pt x="108" y="278"/>
                  </a:lnTo>
                  <a:lnTo>
                    <a:pt x="92" y="304"/>
                  </a:lnTo>
                  <a:lnTo>
                    <a:pt x="76" y="330"/>
                  </a:lnTo>
                  <a:lnTo>
                    <a:pt x="62" y="358"/>
                  </a:lnTo>
                  <a:lnTo>
                    <a:pt x="50" y="386"/>
                  </a:lnTo>
                  <a:lnTo>
                    <a:pt x="38" y="416"/>
                  </a:lnTo>
                  <a:lnTo>
                    <a:pt x="28" y="444"/>
                  </a:lnTo>
                  <a:lnTo>
                    <a:pt x="20" y="474"/>
                  </a:lnTo>
                  <a:lnTo>
                    <a:pt x="12" y="506"/>
                  </a:lnTo>
                  <a:lnTo>
                    <a:pt x="8" y="536"/>
                  </a:lnTo>
                  <a:lnTo>
                    <a:pt x="4" y="568"/>
                  </a:lnTo>
                  <a:lnTo>
                    <a:pt x="0" y="600"/>
                  </a:lnTo>
                  <a:lnTo>
                    <a:pt x="0" y="632"/>
                  </a:lnTo>
                  <a:lnTo>
                    <a:pt x="0" y="632"/>
                  </a:lnTo>
                  <a:lnTo>
                    <a:pt x="0" y="666"/>
                  </a:lnTo>
                  <a:lnTo>
                    <a:pt x="4" y="698"/>
                  </a:lnTo>
                  <a:lnTo>
                    <a:pt x="8" y="730"/>
                  </a:lnTo>
                  <a:lnTo>
                    <a:pt x="12" y="760"/>
                  </a:lnTo>
                  <a:lnTo>
                    <a:pt x="20" y="792"/>
                  </a:lnTo>
                  <a:lnTo>
                    <a:pt x="28" y="822"/>
                  </a:lnTo>
                  <a:lnTo>
                    <a:pt x="38" y="850"/>
                  </a:lnTo>
                  <a:lnTo>
                    <a:pt x="50" y="880"/>
                  </a:lnTo>
                  <a:lnTo>
                    <a:pt x="62" y="908"/>
                  </a:lnTo>
                  <a:lnTo>
                    <a:pt x="76" y="934"/>
                  </a:lnTo>
                  <a:lnTo>
                    <a:pt x="92" y="962"/>
                  </a:lnTo>
                  <a:lnTo>
                    <a:pt x="108" y="988"/>
                  </a:lnTo>
                  <a:lnTo>
                    <a:pt x="126" y="1012"/>
                  </a:lnTo>
                  <a:lnTo>
                    <a:pt x="144" y="1036"/>
                  </a:lnTo>
                  <a:lnTo>
                    <a:pt x="164" y="1058"/>
                  </a:lnTo>
                  <a:lnTo>
                    <a:pt x="186" y="1080"/>
                  </a:lnTo>
                  <a:lnTo>
                    <a:pt x="208" y="1102"/>
                  </a:lnTo>
                  <a:lnTo>
                    <a:pt x="230" y="1122"/>
                  </a:lnTo>
                  <a:lnTo>
                    <a:pt x="254" y="1140"/>
                  </a:lnTo>
                  <a:lnTo>
                    <a:pt x="280" y="1158"/>
                  </a:lnTo>
                  <a:lnTo>
                    <a:pt x="306" y="1174"/>
                  </a:lnTo>
                  <a:lnTo>
                    <a:pt x="332" y="1190"/>
                  </a:lnTo>
                  <a:lnTo>
                    <a:pt x="358" y="1204"/>
                  </a:lnTo>
                  <a:lnTo>
                    <a:pt x="386" y="1216"/>
                  </a:lnTo>
                  <a:lnTo>
                    <a:pt x="416" y="1228"/>
                  </a:lnTo>
                  <a:lnTo>
                    <a:pt x="446" y="1238"/>
                  </a:lnTo>
                  <a:lnTo>
                    <a:pt x="476" y="1246"/>
                  </a:lnTo>
                  <a:lnTo>
                    <a:pt x="506" y="1254"/>
                  </a:lnTo>
                  <a:lnTo>
                    <a:pt x="538" y="1260"/>
                  </a:lnTo>
                  <a:lnTo>
                    <a:pt x="568" y="1264"/>
                  </a:lnTo>
                  <a:lnTo>
                    <a:pt x="600" y="1266"/>
                  </a:lnTo>
                  <a:lnTo>
                    <a:pt x="634" y="1266"/>
                  </a:lnTo>
                  <a:lnTo>
                    <a:pt x="634" y="1266"/>
                  </a:lnTo>
                  <a:lnTo>
                    <a:pt x="666" y="1266"/>
                  </a:lnTo>
                  <a:lnTo>
                    <a:pt x="698" y="1264"/>
                  </a:lnTo>
                  <a:lnTo>
                    <a:pt x="730" y="1260"/>
                  </a:lnTo>
                  <a:lnTo>
                    <a:pt x="762" y="1254"/>
                  </a:lnTo>
                  <a:lnTo>
                    <a:pt x="792" y="1246"/>
                  </a:lnTo>
                  <a:lnTo>
                    <a:pt x="822" y="1238"/>
                  </a:lnTo>
                  <a:lnTo>
                    <a:pt x="852" y="1228"/>
                  </a:lnTo>
                  <a:lnTo>
                    <a:pt x="880" y="1216"/>
                  </a:lnTo>
                  <a:lnTo>
                    <a:pt x="908" y="1204"/>
                  </a:lnTo>
                  <a:lnTo>
                    <a:pt x="936" y="1190"/>
                  </a:lnTo>
                  <a:lnTo>
                    <a:pt x="962" y="1174"/>
                  </a:lnTo>
                  <a:lnTo>
                    <a:pt x="988" y="1158"/>
                  </a:lnTo>
                  <a:lnTo>
                    <a:pt x="1012" y="1140"/>
                  </a:lnTo>
                  <a:lnTo>
                    <a:pt x="1036" y="1122"/>
                  </a:lnTo>
                  <a:lnTo>
                    <a:pt x="1060" y="1102"/>
                  </a:lnTo>
                  <a:lnTo>
                    <a:pt x="1082" y="1080"/>
                  </a:lnTo>
                  <a:lnTo>
                    <a:pt x="1102" y="1058"/>
                  </a:lnTo>
                  <a:lnTo>
                    <a:pt x="1122" y="1036"/>
                  </a:lnTo>
                  <a:lnTo>
                    <a:pt x="1142" y="1012"/>
                  </a:lnTo>
                  <a:lnTo>
                    <a:pt x="1158" y="988"/>
                  </a:lnTo>
                  <a:lnTo>
                    <a:pt x="1176" y="962"/>
                  </a:lnTo>
                  <a:lnTo>
                    <a:pt x="1190" y="934"/>
                  </a:lnTo>
                  <a:lnTo>
                    <a:pt x="1204" y="908"/>
                  </a:lnTo>
                  <a:lnTo>
                    <a:pt x="1218" y="880"/>
                  </a:lnTo>
                  <a:lnTo>
                    <a:pt x="1228" y="850"/>
                  </a:lnTo>
                  <a:lnTo>
                    <a:pt x="1238" y="822"/>
                  </a:lnTo>
                  <a:lnTo>
                    <a:pt x="1248" y="792"/>
                  </a:lnTo>
                  <a:lnTo>
                    <a:pt x="1254" y="760"/>
                  </a:lnTo>
                  <a:lnTo>
                    <a:pt x="1260" y="730"/>
                  </a:lnTo>
                  <a:lnTo>
                    <a:pt x="1264" y="698"/>
                  </a:lnTo>
                  <a:lnTo>
                    <a:pt x="1266" y="666"/>
                  </a:lnTo>
                  <a:lnTo>
                    <a:pt x="1268" y="632"/>
                  </a:lnTo>
                  <a:lnTo>
                    <a:pt x="1268" y="632"/>
                  </a:lnTo>
                  <a:lnTo>
                    <a:pt x="1266" y="600"/>
                  </a:lnTo>
                  <a:lnTo>
                    <a:pt x="1264" y="568"/>
                  </a:lnTo>
                  <a:lnTo>
                    <a:pt x="1260" y="536"/>
                  </a:lnTo>
                  <a:lnTo>
                    <a:pt x="1254" y="506"/>
                  </a:lnTo>
                  <a:lnTo>
                    <a:pt x="1248" y="474"/>
                  </a:lnTo>
                  <a:lnTo>
                    <a:pt x="1238" y="444"/>
                  </a:lnTo>
                  <a:lnTo>
                    <a:pt x="1228" y="416"/>
                  </a:lnTo>
                  <a:lnTo>
                    <a:pt x="1218" y="386"/>
                  </a:lnTo>
                  <a:lnTo>
                    <a:pt x="1204" y="358"/>
                  </a:lnTo>
                  <a:lnTo>
                    <a:pt x="1190" y="330"/>
                  </a:lnTo>
                  <a:lnTo>
                    <a:pt x="1176" y="304"/>
                  </a:lnTo>
                  <a:lnTo>
                    <a:pt x="1158" y="278"/>
                  </a:lnTo>
                  <a:lnTo>
                    <a:pt x="1142" y="254"/>
                  </a:lnTo>
                  <a:lnTo>
                    <a:pt x="1122" y="230"/>
                  </a:lnTo>
                  <a:lnTo>
                    <a:pt x="1102" y="206"/>
                  </a:lnTo>
                  <a:lnTo>
                    <a:pt x="1082" y="184"/>
                  </a:lnTo>
                  <a:lnTo>
                    <a:pt x="1060" y="164"/>
                  </a:lnTo>
                  <a:lnTo>
                    <a:pt x="1036" y="144"/>
                  </a:lnTo>
                  <a:lnTo>
                    <a:pt x="1012" y="126"/>
                  </a:lnTo>
                  <a:lnTo>
                    <a:pt x="988" y="108"/>
                  </a:lnTo>
                  <a:lnTo>
                    <a:pt x="962" y="92"/>
                  </a:lnTo>
                  <a:lnTo>
                    <a:pt x="936" y="76"/>
                  </a:lnTo>
                  <a:lnTo>
                    <a:pt x="908" y="62"/>
                  </a:lnTo>
                  <a:lnTo>
                    <a:pt x="880" y="50"/>
                  </a:lnTo>
                  <a:lnTo>
                    <a:pt x="852" y="38"/>
                  </a:lnTo>
                  <a:lnTo>
                    <a:pt x="822" y="28"/>
                  </a:lnTo>
                  <a:lnTo>
                    <a:pt x="792" y="20"/>
                  </a:lnTo>
                  <a:lnTo>
                    <a:pt x="762" y="12"/>
                  </a:lnTo>
                  <a:lnTo>
                    <a:pt x="730" y="6"/>
                  </a:lnTo>
                  <a:lnTo>
                    <a:pt x="698" y="2"/>
                  </a:lnTo>
                  <a:lnTo>
                    <a:pt x="666" y="0"/>
                  </a:lnTo>
                  <a:lnTo>
                    <a:pt x="634" y="0"/>
                  </a:lnTo>
                  <a:lnTo>
                    <a:pt x="63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0" name="Freeform 10">
              <a:extLst>
                <a:ext uri="{FF2B5EF4-FFF2-40B4-BE49-F238E27FC236}">
                  <a16:creationId xmlns:a16="http://schemas.microsoft.com/office/drawing/2014/main" id="{F99BD985-337F-4D4C-9E10-8B76EBC29440}"/>
                </a:ext>
              </a:extLst>
            </p:cNvPr>
            <p:cNvSpPr>
              <a:spLocks/>
            </p:cNvSpPr>
            <p:nvPr/>
          </p:nvSpPr>
          <p:spPr bwMode="auto">
            <a:xfrm>
              <a:off x="517496" y="4873625"/>
              <a:ext cx="527050" cy="66675"/>
            </a:xfrm>
            <a:custGeom>
              <a:avLst/>
              <a:gdLst>
                <a:gd name="T0" fmla="*/ 22 w 332"/>
                <a:gd name="T1" fmla="*/ 42 h 42"/>
                <a:gd name="T2" fmla="*/ 22 w 332"/>
                <a:gd name="T3" fmla="*/ 42 h 42"/>
                <a:gd name="T4" fmla="*/ 14 w 332"/>
                <a:gd name="T5" fmla="*/ 42 h 42"/>
                <a:gd name="T6" fmla="*/ 8 w 332"/>
                <a:gd name="T7" fmla="*/ 36 h 42"/>
                <a:gd name="T8" fmla="*/ 2 w 332"/>
                <a:gd name="T9" fmla="*/ 30 h 42"/>
                <a:gd name="T10" fmla="*/ 0 w 332"/>
                <a:gd name="T11" fmla="*/ 20 h 42"/>
                <a:gd name="T12" fmla="*/ 0 w 332"/>
                <a:gd name="T13" fmla="*/ 20 h 42"/>
                <a:gd name="T14" fmla="*/ 2 w 332"/>
                <a:gd name="T15" fmla="*/ 12 h 42"/>
                <a:gd name="T16" fmla="*/ 8 w 332"/>
                <a:gd name="T17" fmla="*/ 6 h 42"/>
                <a:gd name="T18" fmla="*/ 14 w 332"/>
                <a:gd name="T19" fmla="*/ 0 h 42"/>
                <a:gd name="T20" fmla="*/ 22 w 332"/>
                <a:gd name="T21" fmla="*/ 0 h 42"/>
                <a:gd name="T22" fmla="*/ 310 w 332"/>
                <a:gd name="T23" fmla="*/ 0 h 42"/>
                <a:gd name="T24" fmla="*/ 310 w 332"/>
                <a:gd name="T25" fmla="*/ 0 h 42"/>
                <a:gd name="T26" fmla="*/ 318 w 332"/>
                <a:gd name="T27" fmla="*/ 0 h 42"/>
                <a:gd name="T28" fmla="*/ 324 w 332"/>
                <a:gd name="T29" fmla="*/ 6 h 42"/>
                <a:gd name="T30" fmla="*/ 330 w 332"/>
                <a:gd name="T31" fmla="*/ 12 h 42"/>
                <a:gd name="T32" fmla="*/ 332 w 332"/>
                <a:gd name="T33" fmla="*/ 20 h 42"/>
                <a:gd name="T34" fmla="*/ 332 w 332"/>
                <a:gd name="T35" fmla="*/ 20 h 42"/>
                <a:gd name="T36" fmla="*/ 330 w 332"/>
                <a:gd name="T37" fmla="*/ 30 h 42"/>
                <a:gd name="T38" fmla="*/ 324 w 332"/>
                <a:gd name="T39" fmla="*/ 36 h 42"/>
                <a:gd name="T40" fmla="*/ 318 w 332"/>
                <a:gd name="T41" fmla="*/ 42 h 42"/>
                <a:gd name="T42" fmla="*/ 310 w 332"/>
                <a:gd name="T43" fmla="*/ 42 h 42"/>
                <a:gd name="T44" fmla="*/ 22 w 332"/>
                <a:gd name="T4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2" h="42">
                  <a:moveTo>
                    <a:pt x="22" y="42"/>
                  </a:moveTo>
                  <a:lnTo>
                    <a:pt x="22" y="42"/>
                  </a:lnTo>
                  <a:lnTo>
                    <a:pt x="14" y="42"/>
                  </a:lnTo>
                  <a:lnTo>
                    <a:pt x="8" y="36"/>
                  </a:lnTo>
                  <a:lnTo>
                    <a:pt x="2" y="30"/>
                  </a:lnTo>
                  <a:lnTo>
                    <a:pt x="0" y="20"/>
                  </a:lnTo>
                  <a:lnTo>
                    <a:pt x="0" y="20"/>
                  </a:lnTo>
                  <a:lnTo>
                    <a:pt x="2" y="12"/>
                  </a:lnTo>
                  <a:lnTo>
                    <a:pt x="8" y="6"/>
                  </a:lnTo>
                  <a:lnTo>
                    <a:pt x="14" y="0"/>
                  </a:lnTo>
                  <a:lnTo>
                    <a:pt x="22" y="0"/>
                  </a:lnTo>
                  <a:lnTo>
                    <a:pt x="310" y="0"/>
                  </a:lnTo>
                  <a:lnTo>
                    <a:pt x="310" y="0"/>
                  </a:lnTo>
                  <a:lnTo>
                    <a:pt x="318" y="0"/>
                  </a:lnTo>
                  <a:lnTo>
                    <a:pt x="324" y="6"/>
                  </a:lnTo>
                  <a:lnTo>
                    <a:pt x="330" y="12"/>
                  </a:lnTo>
                  <a:lnTo>
                    <a:pt x="332" y="20"/>
                  </a:lnTo>
                  <a:lnTo>
                    <a:pt x="332" y="20"/>
                  </a:lnTo>
                  <a:lnTo>
                    <a:pt x="330" y="30"/>
                  </a:lnTo>
                  <a:lnTo>
                    <a:pt x="324" y="36"/>
                  </a:lnTo>
                  <a:lnTo>
                    <a:pt x="318" y="42"/>
                  </a:lnTo>
                  <a:lnTo>
                    <a:pt x="310" y="42"/>
                  </a:lnTo>
                  <a:lnTo>
                    <a:pt x="22" y="4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1" name="Freeform 14">
              <a:extLst>
                <a:ext uri="{FF2B5EF4-FFF2-40B4-BE49-F238E27FC236}">
                  <a16:creationId xmlns:a16="http://schemas.microsoft.com/office/drawing/2014/main" id="{B3228923-35E9-48AA-8459-A5BB5F2B1E67}"/>
                </a:ext>
              </a:extLst>
            </p:cNvPr>
            <p:cNvSpPr>
              <a:spLocks noEditPoints="1"/>
            </p:cNvSpPr>
            <p:nvPr/>
          </p:nvSpPr>
          <p:spPr bwMode="auto">
            <a:xfrm>
              <a:off x="57121" y="4416425"/>
              <a:ext cx="1438275" cy="841375"/>
            </a:xfrm>
            <a:custGeom>
              <a:avLst/>
              <a:gdLst>
                <a:gd name="T0" fmla="*/ 298 w 906"/>
                <a:gd name="T1" fmla="*/ 530 h 530"/>
                <a:gd name="T2" fmla="*/ 282 w 906"/>
                <a:gd name="T3" fmla="*/ 524 h 530"/>
                <a:gd name="T4" fmla="*/ 276 w 906"/>
                <a:gd name="T5" fmla="*/ 508 h 530"/>
                <a:gd name="T6" fmla="*/ 176 w 906"/>
                <a:gd name="T7" fmla="*/ 408 h 530"/>
                <a:gd name="T8" fmla="*/ 168 w 906"/>
                <a:gd name="T9" fmla="*/ 408 h 530"/>
                <a:gd name="T10" fmla="*/ 156 w 906"/>
                <a:gd name="T11" fmla="*/ 396 h 530"/>
                <a:gd name="T12" fmla="*/ 154 w 906"/>
                <a:gd name="T13" fmla="*/ 250 h 530"/>
                <a:gd name="T14" fmla="*/ 22 w 906"/>
                <a:gd name="T15" fmla="*/ 250 h 530"/>
                <a:gd name="T16" fmla="*/ 8 w 906"/>
                <a:gd name="T17" fmla="*/ 242 h 530"/>
                <a:gd name="T18" fmla="*/ 0 w 906"/>
                <a:gd name="T19" fmla="*/ 228 h 530"/>
                <a:gd name="T20" fmla="*/ 0 w 906"/>
                <a:gd name="T21" fmla="*/ 20 h 530"/>
                <a:gd name="T22" fmla="*/ 8 w 906"/>
                <a:gd name="T23" fmla="*/ 6 h 530"/>
                <a:gd name="T24" fmla="*/ 22 w 906"/>
                <a:gd name="T25" fmla="*/ 0 h 530"/>
                <a:gd name="T26" fmla="*/ 32 w 906"/>
                <a:gd name="T27" fmla="*/ 0 h 530"/>
                <a:gd name="T28" fmla="*/ 42 w 906"/>
                <a:gd name="T29" fmla="*/ 12 h 530"/>
                <a:gd name="T30" fmla="*/ 44 w 906"/>
                <a:gd name="T31" fmla="*/ 206 h 530"/>
                <a:gd name="T32" fmla="*/ 862 w 906"/>
                <a:gd name="T33" fmla="*/ 34 h 530"/>
                <a:gd name="T34" fmla="*/ 864 w 906"/>
                <a:gd name="T35" fmla="*/ 26 h 530"/>
                <a:gd name="T36" fmla="*/ 876 w 906"/>
                <a:gd name="T37" fmla="*/ 14 h 530"/>
                <a:gd name="T38" fmla="*/ 884 w 906"/>
                <a:gd name="T39" fmla="*/ 12 h 530"/>
                <a:gd name="T40" fmla="*/ 900 w 906"/>
                <a:gd name="T41" fmla="*/ 18 h 530"/>
                <a:gd name="T42" fmla="*/ 906 w 906"/>
                <a:gd name="T43" fmla="*/ 34 h 530"/>
                <a:gd name="T44" fmla="*/ 906 w 906"/>
                <a:gd name="T45" fmla="*/ 228 h 530"/>
                <a:gd name="T46" fmla="*/ 900 w 906"/>
                <a:gd name="T47" fmla="*/ 242 h 530"/>
                <a:gd name="T48" fmla="*/ 884 w 906"/>
                <a:gd name="T49" fmla="*/ 250 h 530"/>
                <a:gd name="T50" fmla="*/ 758 w 906"/>
                <a:gd name="T51" fmla="*/ 386 h 530"/>
                <a:gd name="T52" fmla="*/ 756 w 906"/>
                <a:gd name="T53" fmla="*/ 396 h 530"/>
                <a:gd name="T54" fmla="*/ 744 w 906"/>
                <a:gd name="T55" fmla="*/ 408 h 530"/>
                <a:gd name="T56" fmla="*/ 636 w 906"/>
                <a:gd name="T57" fmla="*/ 408 h 530"/>
                <a:gd name="T58" fmla="*/ 636 w 906"/>
                <a:gd name="T59" fmla="*/ 508 h 530"/>
                <a:gd name="T60" fmla="*/ 630 w 906"/>
                <a:gd name="T61" fmla="*/ 524 h 530"/>
                <a:gd name="T62" fmla="*/ 614 w 906"/>
                <a:gd name="T63" fmla="*/ 530 h 530"/>
                <a:gd name="T64" fmla="*/ 592 w 906"/>
                <a:gd name="T65" fmla="*/ 486 h 530"/>
                <a:gd name="T66" fmla="*/ 592 w 906"/>
                <a:gd name="T67" fmla="*/ 386 h 530"/>
                <a:gd name="T68" fmla="*/ 600 w 906"/>
                <a:gd name="T69" fmla="*/ 372 h 530"/>
                <a:gd name="T70" fmla="*/ 614 w 906"/>
                <a:gd name="T71" fmla="*/ 366 h 530"/>
                <a:gd name="T72" fmla="*/ 714 w 906"/>
                <a:gd name="T73" fmla="*/ 250 h 530"/>
                <a:gd name="T74" fmla="*/ 198 w 906"/>
                <a:gd name="T75" fmla="*/ 366 h 530"/>
                <a:gd name="T76" fmla="*/ 298 w 906"/>
                <a:gd name="T77" fmla="*/ 366 h 530"/>
                <a:gd name="T78" fmla="*/ 312 w 906"/>
                <a:gd name="T79" fmla="*/ 372 h 530"/>
                <a:gd name="T80" fmla="*/ 320 w 906"/>
                <a:gd name="T81" fmla="*/ 386 h 530"/>
                <a:gd name="T82" fmla="*/ 592 w 906"/>
                <a:gd name="T83" fmla="*/ 48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06" h="530">
                  <a:moveTo>
                    <a:pt x="298" y="530"/>
                  </a:moveTo>
                  <a:lnTo>
                    <a:pt x="298" y="530"/>
                  </a:lnTo>
                  <a:lnTo>
                    <a:pt x="288" y="528"/>
                  </a:lnTo>
                  <a:lnTo>
                    <a:pt x="282" y="524"/>
                  </a:lnTo>
                  <a:lnTo>
                    <a:pt x="278" y="518"/>
                  </a:lnTo>
                  <a:lnTo>
                    <a:pt x="276" y="508"/>
                  </a:lnTo>
                  <a:lnTo>
                    <a:pt x="276" y="408"/>
                  </a:lnTo>
                  <a:lnTo>
                    <a:pt x="176" y="408"/>
                  </a:lnTo>
                  <a:lnTo>
                    <a:pt x="176" y="408"/>
                  </a:lnTo>
                  <a:lnTo>
                    <a:pt x="168" y="408"/>
                  </a:lnTo>
                  <a:lnTo>
                    <a:pt x="162" y="402"/>
                  </a:lnTo>
                  <a:lnTo>
                    <a:pt x="156" y="396"/>
                  </a:lnTo>
                  <a:lnTo>
                    <a:pt x="154" y="386"/>
                  </a:lnTo>
                  <a:lnTo>
                    <a:pt x="154" y="250"/>
                  </a:lnTo>
                  <a:lnTo>
                    <a:pt x="22" y="250"/>
                  </a:lnTo>
                  <a:lnTo>
                    <a:pt x="22" y="250"/>
                  </a:lnTo>
                  <a:lnTo>
                    <a:pt x="14" y="248"/>
                  </a:lnTo>
                  <a:lnTo>
                    <a:pt x="8" y="242"/>
                  </a:lnTo>
                  <a:lnTo>
                    <a:pt x="2" y="236"/>
                  </a:lnTo>
                  <a:lnTo>
                    <a:pt x="0" y="228"/>
                  </a:lnTo>
                  <a:lnTo>
                    <a:pt x="0" y="20"/>
                  </a:lnTo>
                  <a:lnTo>
                    <a:pt x="0" y="20"/>
                  </a:lnTo>
                  <a:lnTo>
                    <a:pt x="2" y="12"/>
                  </a:lnTo>
                  <a:lnTo>
                    <a:pt x="8" y="6"/>
                  </a:lnTo>
                  <a:lnTo>
                    <a:pt x="14" y="0"/>
                  </a:lnTo>
                  <a:lnTo>
                    <a:pt x="22" y="0"/>
                  </a:lnTo>
                  <a:lnTo>
                    <a:pt x="22" y="0"/>
                  </a:lnTo>
                  <a:lnTo>
                    <a:pt x="32" y="0"/>
                  </a:lnTo>
                  <a:lnTo>
                    <a:pt x="38" y="6"/>
                  </a:lnTo>
                  <a:lnTo>
                    <a:pt x="42" y="12"/>
                  </a:lnTo>
                  <a:lnTo>
                    <a:pt x="44" y="20"/>
                  </a:lnTo>
                  <a:lnTo>
                    <a:pt x="44" y="206"/>
                  </a:lnTo>
                  <a:lnTo>
                    <a:pt x="862" y="206"/>
                  </a:lnTo>
                  <a:lnTo>
                    <a:pt x="862" y="34"/>
                  </a:lnTo>
                  <a:lnTo>
                    <a:pt x="862" y="34"/>
                  </a:lnTo>
                  <a:lnTo>
                    <a:pt x="864" y="26"/>
                  </a:lnTo>
                  <a:lnTo>
                    <a:pt x="870" y="18"/>
                  </a:lnTo>
                  <a:lnTo>
                    <a:pt x="876" y="14"/>
                  </a:lnTo>
                  <a:lnTo>
                    <a:pt x="884" y="12"/>
                  </a:lnTo>
                  <a:lnTo>
                    <a:pt x="884" y="12"/>
                  </a:lnTo>
                  <a:lnTo>
                    <a:pt x="894" y="14"/>
                  </a:lnTo>
                  <a:lnTo>
                    <a:pt x="900" y="18"/>
                  </a:lnTo>
                  <a:lnTo>
                    <a:pt x="904" y="26"/>
                  </a:lnTo>
                  <a:lnTo>
                    <a:pt x="906" y="34"/>
                  </a:lnTo>
                  <a:lnTo>
                    <a:pt x="906" y="228"/>
                  </a:lnTo>
                  <a:lnTo>
                    <a:pt x="906" y="228"/>
                  </a:lnTo>
                  <a:lnTo>
                    <a:pt x="904" y="236"/>
                  </a:lnTo>
                  <a:lnTo>
                    <a:pt x="900" y="242"/>
                  </a:lnTo>
                  <a:lnTo>
                    <a:pt x="894" y="248"/>
                  </a:lnTo>
                  <a:lnTo>
                    <a:pt x="884" y="250"/>
                  </a:lnTo>
                  <a:lnTo>
                    <a:pt x="758" y="250"/>
                  </a:lnTo>
                  <a:lnTo>
                    <a:pt x="758" y="386"/>
                  </a:lnTo>
                  <a:lnTo>
                    <a:pt x="758" y="386"/>
                  </a:lnTo>
                  <a:lnTo>
                    <a:pt x="756" y="396"/>
                  </a:lnTo>
                  <a:lnTo>
                    <a:pt x="750" y="402"/>
                  </a:lnTo>
                  <a:lnTo>
                    <a:pt x="744" y="408"/>
                  </a:lnTo>
                  <a:lnTo>
                    <a:pt x="736" y="408"/>
                  </a:lnTo>
                  <a:lnTo>
                    <a:pt x="636" y="408"/>
                  </a:lnTo>
                  <a:lnTo>
                    <a:pt x="636" y="508"/>
                  </a:lnTo>
                  <a:lnTo>
                    <a:pt x="636" y="508"/>
                  </a:lnTo>
                  <a:lnTo>
                    <a:pt x="634" y="518"/>
                  </a:lnTo>
                  <a:lnTo>
                    <a:pt x="630" y="524"/>
                  </a:lnTo>
                  <a:lnTo>
                    <a:pt x="624" y="528"/>
                  </a:lnTo>
                  <a:lnTo>
                    <a:pt x="614" y="530"/>
                  </a:lnTo>
                  <a:lnTo>
                    <a:pt x="298" y="530"/>
                  </a:lnTo>
                  <a:close/>
                  <a:moveTo>
                    <a:pt x="592" y="486"/>
                  </a:moveTo>
                  <a:lnTo>
                    <a:pt x="592" y="386"/>
                  </a:lnTo>
                  <a:lnTo>
                    <a:pt x="592" y="386"/>
                  </a:lnTo>
                  <a:lnTo>
                    <a:pt x="594" y="378"/>
                  </a:lnTo>
                  <a:lnTo>
                    <a:pt x="600" y="372"/>
                  </a:lnTo>
                  <a:lnTo>
                    <a:pt x="606" y="366"/>
                  </a:lnTo>
                  <a:lnTo>
                    <a:pt x="614" y="366"/>
                  </a:lnTo>
                  <a:lnTo>
                    <a:pt x="714" y="366"/>
                  </a:lnTo>
                  <a:lnTo>
                    <a:pt x="714" y="250"/>
                  </a:lnTo>
                  <a:lnTo>
                    <a:pt x="198" y="250"/>
                  </a:lnTo>
                  <a:lnTo>
                    <a:pt x="198" y="366"/>
                  </a:lnTo>
                  <a:lnTo>
                    <a:pt x="298" y="366"/>
                  </a:lnTo>
                  <a:lnTo>
                    <a:pt x="298" y="366"/>
                  </a:lnTo>
                  <a:lnTo>
                    <a:pt x="306" y="366"/>
                  </a:lnTo>
                  <a:lnTo>
                    <a:pt x="312" y="372"/>
                  </a:lnTo>
                  <a:lnTo>
                    <a:pt x="318" y="378"/>
                  </a:lnTo>
                  <a:lnTo>
                    <a:pt x="320" y="386"/>
                  </a:lnTo>
                  <a:lnTo>
                    <a:pt x="320" y="486"/>
                  </a:lnTo>
                  <a:lnTo>
                    <a:pt x="592" y="48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2" name="Freeform 20">
              <a:extLst>
                <a:ext uri="{FF2B5EF4-FFF2-40B4-BE49-F238E27FC236}">
                  <a16:creationId xmlns:a16="http://schemas.microsoft.com/office/drawing/2014/main" id="{A4377308-6D0A-4426-A073-B10BB5F52E88}"/>
                </a:ext>
              </a:extLst>
            </p:cNvPr>
            <p:cNvSpPr>
              <a:spLocks noEditPoints="1"/>
            </p:cNvSpPr>
            <p:nvPr/>
          </p:nvSpPr>
          <p:spPr bwMode="auto">
            <a:xfrm>
              <a:off x="447646" y="4267200"/>
              <a:ext cx="307975" cy="307975"/>
            </a:xfrm>
            <a:custGeom>
              <a:avLst/>
              <a:gdLst>
                <a:gd name="T0" fmla="*/ 96 w 194"/>
                <a:gd name="T1" fmla="*/ 194 h 194"/>
                <a:gd name="T2" fmla="*/ 60 w 194"/>
                <a:gd name="T3" fmla="*/ 188 h 194"/>
                <a:gd name="T4" fmla="*/ 28 w 194"/>
                <a:gd name="T5" fmla="*/ 166 h 194"/>
                <a:gd name="T6" fmla="*/ 8 w 194"/>
                <a:gd name="T7" fmla="*/ 136 h 194"/>
                <a:gd name="T8" fmla="*/ 0 w 194"/>
                <a:gd name="T9" fmla="*/ 98 h 194"/>
                <a:gd name="T10" fmla="*/ 2 w 194"/>
                <a:gd name="T11" fmla="*/ 78 h 194"/>
                <a:gd name="T12" fmla="*/ 16 w 194"/>
                <a:gd name="T13" fmla="*/ 44 h 194"/>
                <a:gd name="T14" fmla="*/ 42 w 194"/>
                <a:gd name="T15" fmla="*/ 18 h 194"/>
                <a:gd name="T16" fmla="*/ 78 w 194"/>
                <a:gd name="T17" fmla="*/ 2 h 194"/>
                <a:gd name="T18" fmla="*/ 96 w 194"/>
                <a:gd name="T19" fmla="*/ 0 h 194"/>
                <a:gd name="T20" fmla="*/ 134 w 194"/>
                <a:gd name="T21" fmla="*/ 8 h 194"/>
                <a:gd name="T22" fmla="*/ 166 w 194"/>
                <a:gd name="T23" fmla="*/ 30 h 194"/>
                <a:gd name="T24" fmla="*/ 186 w 194"/>
                <a:gd name="T25" fmla="*/ 60 h 194"/>
                <a:gd name="T26" fmla="*/ 194 w 194"/>
                <a:gd name="T27" fmla="*/ 98 h 194"/>
                <a:gd name="T28" fmla="*/ 192 w 194"/>
                <a:gd name="T29" fmla="*/ 118 h 194"/>
                <a:gd name="T30" fmla="*/ 178 w 194"/>
                <a:gd name="T31" fmla="*/ 152 h 194"/>
                <a:gd name="T32" fmla="*/ 152 w 194"/>
                <a:gd name="T33" fmla="*/ 178 h 194"/>
                <a:gd name="T34" fmla="*/ 116 w 194"/>
                <a:gd name="T35" fmla="*/ 192 h 194"/>
                <a:gd name="T36" fmla="*/ 96 w 194"/>
                <a:gd name="T37" fmla="*/ 194 h 194"/>
                <a:gd name="T38" fmla="*/ 96 w 194"/>
                <a:gd name="T39" fmla="*/ 44 h 194"/>
                <a:gd name="T40" fmla="*/ 76 w 194"/>
                <a:gd name="T41" fmla="*/ 48 h 194"/>
                <a:gd name="T42" fmla="*/ 60 w 194"/>
                <a:gd name="T43" fmla="*/ 60 h 194"/>
                <a:gd name="T44" fmla="*/ 48 w 194"/>
                <a:gd name="T45" fmla="*/ 78 h 194"/>
                <a:gd name="T46" fmla="*/ 44 w 194"/>
                <a:gd name="T47" fmla="*/ 98 h 194"/>
                <a:gd name="T48" fmla="*/ 44 w 194"/>
                <a:gd name="T49" fmla="*/ 108 h 194"/>
                <a:gd name="T50" fmla="*/ 52 w 194"/>
                <a:gd name="T51" fmla="*/ 128 h 194"/>
                <a:gd name="T52" fmla="*/ 68 w 194"/>
                <a:gd name="T53" fmla="*/ 142 h 194"/>
                <a:gd name="T54" fmla="*/ 86 w 194"/>
                <a:gd name="T55" fmla="*/ 150 h 194"/>
                <a:gd name="T56" fmla="*/ 96 w 194"/>
                <a:gd name="T57" fmla="*/ 152 h 194"/>
                <a:gd name="T58" fmla="*/ 118 w 194"/>
                <a:gd name="T59" fmla="*/ 146 h 194"/>
                <a:gd name="T60" fmla="*/ 134 w 194"/>
                <a:gd name="T61" fmla="*/ 136 h 194"/>
                <a:gd name="T62" fmla="*/ 146 w 194"/>
                <a:gd name="T63" fmla="*/ 118 h 194"/>
                <a:gd name="T64" fmla="*/ 150 w 194"/>
                <a:gd name="T65" fmla="*/ 98 h 194"/>
                <a:gd name="T66" fmla="*/ 150 w 194"/>
                <a:gd name="T67" fmla="*/ 88 h 194"/>
                <a:gd name="T68" fmla="*/ 142 w 194"/>
                <a:gd name="T69" fmla="*/ 68 h 194"/>
                <a:gd name="T70" fmla="*/ 126 w 194"/>
                <a:gd name="T71" fmla="*/ 54 h 194"/>
                <a:gd name="T72" fmla="*/ 108 w 194"/>
                <a:gd name="T73" fmla="*/ 46 h 194"/>
                <a:gd name="T74" fmla="*/ 96 w 194"/>
                <a:gd name="T75" fmla="*/ 4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4" h="194">
                  <a:moveTo>
                    <a:pt x="96" y="194"/>
                  </a:moveTo>
                  <a:lnTo>
                    <a:pt x="96" y="194"/>
                  </a:lnTo>
                  <a:lnTo>
                    <a:pt x="78" y="192"/>
                  </a:lnTo>
                  <a:lnTo>
                    <a:pt x="60" y="188"/>
                  </a:lnTo>
                  <a:lnTo>
                    <a:pt x="42" y="178"/>
                  </a:lnTo>
                  <a:lnTo>
                    <a:pt x="28" y="166"/>
                  </a:lnTo>
                  <a:lnTo>
                    <a:pt x="16" y="152"/>
                  </a:lnTo>
                  <a:lnTo>
                    <a:pt x="8" y="136"/>
                  </a:lnTo>
                  <a:lnTo>
                    <a:pt x="2" y="118"/>
                  </a:lnTo>
                  <a:lnTo>
                    <a:pt x="0" y="98"/>
                  </a:lnTo>
                  <a:lnTo>
                    <a:pt x="0" y="98"/>
                  </a:lnTo>
                  <a:lnTo>
                    <a:pt x="2" y="78"/>
                  </a:lnTo>
                  <a:lnTo>
                    <a:pt x="8" y="60"/>
                  </a:lnTo>
                  <a:lnTo>
                    <a:pt x="16" y="44"/>
                  </a:lnTo>
                  <a:lnTo>
                    <a:pt x="28" y="30"/>
                  </a:lnTo>
                  <a:lnTo>
                    <a:pt x="42" y="18"/>
                  </a:lnTo>
                  <a:lnTo>
                    <a:pt x="60" y="8"/>
                  </a:lnTo>
                  <a:lnTo>
                    <a:pt x="78" y="2"/>
                  </a:lnTo>
                  <a:lnTo>
                    <a:pt x="96" y="0"/>
                  </a:lnTo>
                  <a:lnTo>
                    <a:pt x="96" y="0"/>
                  </a:lnTo>
                  <a:lnTo>
                    <a:pt x="116" y="2"/>
                  </a:lnTo>
                  <a:lnTo>
                    <a:pt x="134" y="8"/>
                  </a:lnTo>
                  <a:lnTo>
                    <a:pt x="152" y="18"/>
                  </a:lnTo>
                  <a:lnTo>
                    <a:pt x="166" y="30"/>
                  </a:lnTo>
                  <a:lnTo>
                    <a:pt x="178" y="44"/>
                  </a:lnTo>
                  <a:lnTo>
                    <a:pt x="186" y="60"/>
                  </a:lnTo>
                  <a:lnTo>
                    <a:pt x="192" y="78"/>
                  </a:lnTo>
                  <a:lnTo>
                    <a:pt x="194" y="98"/>
                  </a:lnTo>
                  <a:lnTo>
                    <a:pt x="194" y="98"/>
                  </a:lnTo>
                  <a:lnTo>
                    <a:pt x="192" y="118"/>
                  </a:lnTo>
                  <a:lnTo>
                    <a:pt x="186" y="136"/>
                  </a:lnTo>
                  <a:lnTo>
                    <a:pt x="178" y="152"/>
                  </a:lnTo>
                  <a:lnTo>
                    <a:pt x="166" y="166"/>
                  </a:lnTo>
                  <a:lnTo>
                    <a:pt x="152" y="178"/>
                  </a:lnTo>
                  <a:lnTo>
                    <a:pt x="134" y="188"/>
                  </a:lnTo>
                  <a:lnTo>
                    <a:pt x="116" y="192"/>
                  </a:lnTo>
                  <a:lnTo>
                    <a:pt x="96" y="194"/>
                  </a:lnTo>
                  <a:lnTo>
                    <a:pt x="96" y="194"/>
                  </a:lnTo>
                  <a:close/>
                  <a:moveTo>
                    <a:pt x="96" y="44"/>
                  </a:moveTo>
                  <a:lnTo>
                    <a:pt x="96" y="44"/>
                  </a:lnTo>
                  <a:lnTo>
                    <a:pt x="86" y="46"/>
                  </a:lnTo>
                  <a:lnTo>
                    <a:pt x="76" y="48"/>
                  </a:lnTo>
                  <a:lnTo>
                    <a:pt x="68" y="54"/>
                  </a:lnTo>
                  <a:lnTo>
                    <a:pt x="60" y="60"/>
                  </a:lnTo>
                  <a:lnTo>
                    <a:pt x="52" y="68"/>
                  </a:lnTo>
                  <a:lnTo>
                    <a:pt x="48" y="78"/>
                  </a:lnTo>
                  <a:lnTo>
                    <a:pt x="44" y="88"/>
                  </a:lnTo>
                  <a:lnTo>
                    <a:pt x="44" y="98"/>
                  </a:lnTo>
                  <a:lnTo>
                    <a:pt x="44" y="98"/>
                  </a:lnTo>
                  <a:lnTo>
                    <a:pt x="44" y="108"/>
                  </a:lnTo>
                  <a:lnTo>
                    <a:pt x="48" y="118"/>
                  </a:lnTo>
                  <a:lnTo>
                    <a:pt x="52" y="128"/>
                  </a:lnTo>
                  <a:lnTo>
                    <a:pt x="60" y="136"/>
                  </a:lnTo>
                  <a:lnTo>
                    <a:pt x="68" y="142"/>
                  </a:lnTo>
                  <a:lnTo>
                    <a:pt x="76" y="146"/>
                  </a:lnTo>
                  <a:lnTo>
                    <a:pt x="86" y="150"/>
                  </a:lnTo>
                  <a:lnTo>
                    <a:pt x="96" y="152"/>
                  </a:lnTo>
                  <a:lnTo>
                    <a:pt x="96" y="152"/>
                  </a:lnTo>
                  <a:lnTo>
                    <a:pt x="108" y="150"/>
                  </a:lnTo>
                  <a:lnTo>
                    <a:pt x="118" y="146"/>
                  </a:lnTo>
                  <a:lnTo>
                    <a:pt x="126" y="142"/>
                  </a:lnTo>
                  <a:lnTo>
                    <a:pt x="134" y="136"/>
                  </a:lnTo>
                  <a:lnTo>
                    <a:pt x="142" y="128"/>
                  </a:lnTo>
                  <a:lnTo>
                    <a:pt x="146" y="118"/>
                  </a:lnTo>
                  <a:lnTo>
                    <a:pt x="150" y="108"/>
                  </a:lnTo>
                  <a:lnTo>
                    <a:pt x="150" y="98"/>
                  </a:lnTo>
                  <a:lnTo>
                    <a:pt x="150" y="98"/>
                  </a:lnTo>
                  <a:lnTo>
                    <a:pt x="150" y="88"/>
                  </a:lnTo>
                  <a:lnTo>
                    <a:pt x="146" y="78"/>
                  </a:lnTo>
                  <a:lnTo>
                    <a:pt x="142" y="68"/>
                  </a:lnTo>
                  <a:lnTo>
                    <a:pt x="134" y="60"/>
                  </a:lnTo>
                  <a:lnTo>
                    <a:pt x="126" y="54"/>
                  </a:lnTo>
                  <a:lnTo>
                    <a:pt x="118" y="48"/>
                  </a:lnTo>
                  <a:lnTo>
                    <a:pt x="108" y="46"/>
                  </a:lnTo>
                  <a:lnTo>
                    <a:pt x="96" y="44"/>
                  </a:lnTo>
                  <a:lnTo>
                    <a:pt x="96" y="4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3" name="Freeform 26">
              <a:extLst>
                <a:ext uri="{FF2B5EF4-FFF2-40B4-BE49-F238E27FC236}">
                  <a16:creationId xmlns:a16="http://schemas.microsoft.com/office/drawing/2014/main" id="{18B2355A-AC27-4829-AF6D-487DE4EEB69D}"/>
                </a:ext>
              </a:extLst>
            </p:cNvPr>
            <p:cNvSpPr>
              <a:spLocks noEditPoints="1"/>
            </p:cNvSpPr>
            <p:nvPr/>
          </p:nvSpPr>
          <p:spPr bwMode="auto">
            <a:xfrm>
              <a:off x="793721" y="4267200"/>
              <a:ext cx="307975" cy="307975"/>
            </a:xfrm>
            <a:custGeom>
              <a:avLst/>
              <a:gdLst>
                <a:gd name="T0" fmla="*/ 98 w 194"/>
                <a:gd name="T1" fmla="*/ 194 h 194"/>
                <a:gd name="T2" fmla="*/ 60 w 194"/>
                <a:gd name="T3" fmla="*/ 188 h 194"/>
                <a:gd name="T4" fmla="*/ 28 w 194"/>
                <a:gd name="T5" fmla="*/ 166 h 194"/>
                <a:gd name="T6" fmla="*/ 8 w 194"/>
                <a:gd name="T7" fmla="*/ 136 h 194"/>
                <a:gd name="T8" fmla="*/ 0 w 194"/>
                <a:gd name="T9" fmla="*/ 98 h 194"/>
                <a:gd name="T10" fmla="*/ 2 w 194"/>
                <a:gd name="T11" fmla="*/ 78 h 194"/>
                <a:gd name="T12" fmla="*/ 16 w 194"/>
                <a:gd name="T13" fmla="*/ 44 h 194"/>
                <a:gd name="T14" fmla="*/ 44 w 194"/>
                <a:gd name="T15" fmla="*/ 18 h 194"/>
                <a:gd name="T16" fmla="*/ 78 w 194"/>
                <a:gd name="T17" fmla="*/ 2 h 194"/>
                <a:gd name="T18" fmla="*/ 98 w 194"/>
                <a:gd name="T19" fmla="*/ 0 h 194"/>
                <a:gd name="T20" fmla="*/ 136 w 194"/>
                <a:gd name="T21" fmla="*/ 8 h 194"/>
                <a:gd name="T22" fmla="*/ 166 w 194"/>
                <a:gd name="T23" fmla="*/ 30 h 194"/>
                <a:gd name="T24" fmla="*/ 186 w 194"/>
                <a:gd name="T25" fmla="*/ 60 h 194"/>
                <a:gd name="T26" fmla="*/ 194 w 194"/>
                <a:gd name="T27" fmla="*/ 98 h 194"/>
                <a:gd name="T28" fmla="*/ 192 w 194"/>
                <a:gd name="T29" fmla="*/ 118 h 194"/>
                <a:gd name="T30" fmla="*/ 178 w 194"/>
                <a:gd name="T31" fmla="*/ 152 h 194"/>
                <a:gd name="T32" fmla="*/ 152 w 194"/>
                <a:gd name="T33" fmla="*/ 178 h 194"/>
                <a:gd name="T34" fmla="*/ 116 w 194"/>
                <a:gd name="T35" fmla="*/ 192 h 194"/>
                <a:gd name="T36" fmla="*/ 98 w 194"/>
                <a:gd name="T37" fmla="*/ 194 h 194"/>
                <a:gd name="T38" fmla="*/ 98 w 194"/>
                <a:gd name="T39" fmla="*/ 44 h 194"/>
                <a:gd name="T40" fmla="*/ 76 w 194"/>
                <a:gd name="T41" fmla="*/ 48 h 194"/>
                <a:gd name="T42" fmla="*/ 60 w 194"/>
                <a:gd name="T43" fmla="*/ 60 h 194"/>
                <a:gd name="T44" fmla="*/ 48 w 194"/>
                <a:gd name="T45" fmla="*/ 78 h 194"/>
                <a:gd name="T46" fmla="*/ 44 w 194"/>
                <a:gd name="T47" fmla="*/ 98 h 194"/>
                <a:gd name="T48" fmla="*/ 46 w 194"/>
                <a:gd name="T49" fmla="*/ 108 h 194"/>
                <a:gd name="T50" fmla="*/ 54 w 194"/>
                <a:gd name="T51" fmla="*/ 128 h 194"/>
                <a:gd name="T52" fmla="*/ 68 w 194"/>
                <a:gd name="T53" fmla="*/ 142 h 194"/>
                <a:gd name="T54" fmla="*/ 86 w 194"/>
                <a:gd name="T55" fmla="*/ 150 h 194"/>
                <a:gd name="T56" fmla="*/ 98 w 194"/>
                <a:gd name="T57" fmla="*/ 152 h 194"/>
                <a:gd name="T58" fmla="*/ 118 w 194"/>
                <a:gd name="T59" fmla="*/ 146 h 194"/>
                <a:gd name="T60" fmla="*/ 136 w 194"/>
                <a:gd name="T61" fmla="*/ 136 h 194"/>
                <a:gd name="T62" fmla="*/ 146 w 194"/>
                <a:gd name="T63" fmla="*/ 118 h 194"/>
                <a:gd name="T64" fmla="*/ 150 w 194"/>
                <a:gd name="T65" fmla="*/ 98 h 194"/>
                <a:gd name="T66" fmla="*/ 150 w 194"/>
                <a:gd name="T67" fmla="*/ 88 h 194"/>
                <a:gd name="T68" fmla="*/ 142 w 194"/>
                <a:gd name="T69" fmla="*/ 68 h 194"/>
                <a:gd name="T70" fmla="*/ 128 w 194"/>
                <a:gd name="T71" fmla="*/ 54 h 194"/>
                <a:gd name="T72" fmla="*/ 108 w 194"/>
                <a:gd name="T73" fmla="*/ 46 h 194"/>
                <a:gd name="T74" fmla="*/ 98 w 194"/>
                <a:gd name="T75" fmla="*/ 4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4" h="194">
                  <a:moveTo>
                    <a:pt x="98" y="194"/>
                  </a:moveTo>
                  <a:lnTo>
                    <a:pt x="98" y="194"/>
                  </a:lnTo>
                  <a:lnTo>
                    <a:pt x="78" y="192"/>
                  </a:lnTo>
                  <a:lnTo>
                    <a:pt x="60" y="188"/>
                  </a:lnTo>
                  <a:lnTo>
                    <a:pt x="44" y="178"/>
                  </a:lnTo>
                  <a:lnTo>
                    <a:pt x="28" y="166"/>
                  </a:lnTo>
                  <a:lnTo>
                    <a:pt x="16" y="152"/>
                  </a:lnTo>
                  <a:lnTo>
                    <a:pt x="8" y="136"/>
                  </a:lnTo>
                  <a:lnTo>
                    <a:pt x="2" y="118"/>
                  </a:lnTo>
                  <a:lnTo>
                    <a:pt x="0" y="98"/>
                  </a:lnTo>
                  <a:lnTo>
                    <a:pt x="0" y="98"/>
                  </a:lnTo>
                  <a:lnTo>
                    <a:pt x="2" y="78"/>
                  </a:lnTo>
                  <a:lnTo>
                    <a:pt x="8" y="60"/>
                  </a:lnTo>
                  <a:lnTo>
                    <a:pt x="16" y="44"/>
                  </a:lnTo>
                  <a:lnTo>
                    <a:pt x="28" y="30"/>
                  </a:lnTo>
                  <a:lnTo>
                    <a:pt x="44" y="18"/>
                  </a:lnTo>
                  <a:lnTo>
                    <a:pt x="60" y="8"/>
                  </a:lnTo>
                  <a:lnTo>
                    <a:pt x="78" y="2"/>
                  </a:lnTo>
                  <a:lnTo>
                    <a:pt x="98" y="0"/>
                  </a:lnTo>
                  <a:lnTo>
                    <a:pt x="98" y="0"/>
                  </a:lnTo>
                  <a:lnTo>
                    <a:pt x="116" y="2"/>
                  </a:lnTo>
                  <a:lnTo>
                    <a:pt x="136" y="8"/>
                  </a:lnTo>
                  <a:lnTo>
                    <a:pt x="152" y="18"/>
                  </a:lnTo>
                  <a:lnTo>
                    <a:pt x="166" y="30"/>
                  </a:lnTo>
                  <a:lnTo>
                    <a:pt x="178" y="44"/>
                  </a:lnTo>
                  <a:lnTo>
                    <a:pt x="186" y="60"/>
                  </a:lnTo>
                  <a:lnTo>
                    <a:pt x="192" y="78"/>
                  </a:lnTo>
                  <a:lnTo>
                    <a:pt x="194" y="98"/>
                  </a:lnTo>
                  <a:lnTo>
                    <a:pt x="194" y="98"/>
                  </a:lnTo>
                  <a:lnTo>
                    <a:pt x="192" y="118"/>
                  </a:lnTo>
                  <a:lnTo>
                    <a:pt x="186" y="136"/>
                  </a:lnTo>
                  <a:lnTo>
                    <a:pt x="178" y="152"/>
                  </a:lnTo>
                  <a:lnTo>
                    <a:pt x="166" y="166"/>
                  </a:lnTo>
                  <a:lnTo>
                    <a:pt x="152" y="178"/>
                  </a:lnTo>
                  <a:lnTo>
                    <a:pt x="136" y="188"/>
                  </a:lnTo>
                  <a:lnTo>
                    <a:pt x="116" y="192"/>
                  </a:lnTo>
                  <a:lnTo>
                    <a:pt x="98" y="194"/>
                  </a:lnTo>
                  <a:lnTo>
                    <a:pt x="98" y="194"/>
                  </a:lnTo>
                  <a:close/>
                  <a:moveTo>
                    <a:pt x="98" y="44"/>
                  </a:moveTo>
                  <a:lnTo>
                    <a:pt x="98" y="44"/>
                  </a:lnTo>
                  <a:lnTo>
                    <a:pt x="86" y="46"/>
                  </a:lnTo>
                  <a:lnTo>
                    <a:pt x="76" y="48"/>
                  </a:lnTo>
                  <a:lnTo>
                    <a:pt x="68" y="54"/>
                  </a:lnTo>
                  <a:lnTo>
                    <a:pt x="60" y="60"/>
                  </a:lnTo>
                  <a:lnTo>
                    <a:pt x="54" y="68"/>
                  </a:lnTo>
                  <a:lnTo>
                    <a:pt x="48" y="78"/>
                  </a:lnTo>
                  <a:lnTo>
                    <a:pt x="46" y="88"/>
                  </a:lnTo>
                  <a:lnTo>
                    <a:pt x="44" y="98"/>
                  </a:lnTo>
                  <a:lnTo>
                    <a:pt x="44" y="98"/>
                  </a:lnTo>
                  <a:lnTo>
                    <a:pt x="46" y="108"/>
                  </a:lnTo>
                  <a:lnTo>
                    <a:pt x="48" y="118"/>
                  </a:lnTo>
                  <a:lnTo>
                    <a:pt x="54" y="128"/>
                  </a:lnTo>
                  <a:lnTo>
                    <a:pt x="60" y="136"/>
                  </a:lnTo>
                  <a:lnTo>
                    <a:pt x="68" y="142"/>
                  </a:lnTo>
                  <a:lnTo>
                    <a:pt x="76" y="146"/>
                  </a:lnTo>
                  <a:lnTo>
                    <a:pt x="86" y="150"/>
                  </a:lnTo>
                  <a:lnTo>
                    <a:pt x="98" y="152"/>
                  </a:lnTo>
                  <a:lnTo>
                    <a:pt x="98" y="152"/>
                  </a:lnTo>
                  <a:lnTo>
                    <a:pt x="108" y="150"/>
                  </a:lnTo>
                  <a:lnTo>
                    <a:pt x="118" y="146"/>
                  </a:lnTo>
                  <a:lnTo>
                    <a:pt x="128" y="142"/>
                  </a:lnTo>
                  <a:lnTo>
                    <a:pt x="136" y="136"/>
                  </a:lnTo>
                  <a:lnTo>
                    <a:pt x="142" y="128"/>
                  </a:lnTo>
                  <a:lnTo>
                    <a:pt x="146" y="118"/>
                  </a:lnTo>
                  <a:lnTo>
                    <a:pt x="150" y="108"/>
                  </a:lnTo>
                  <a:lnTo>
                    <a:pt x="150" y="98"/>
                  </a:lnTo>
                  <a:lnTo>
                    <a:pt x="150" y="98"/>
                  </a:lnTo>
                  <a:lnTo>
                    <a:pt x="150" y="88"/>
                  </a:lnTo>
                  <a:lnTo>
                    <a:pt x="146" y="78"/>
                  </a:lnTo>
                  <a:lnTo>
                    <a:pt x="142" y="68"/>
                  </a:lnTo>
                  <a:lnTo>
                    <a:pt x="136" y="60"/>
                  </a:lnTo>
                  <a:lnTo>
                    <a:pt x="128" y="54"/>
                  </a:lnTo>
                  <a:lnTo>
                    <a:pt x="118" y="48"/>
                  </a:lnTo>
                  <a:lnTo>
                    <a:pt x="108" y="46"/>
                  </a:lnTo>
                  <a:lnTo>
                    <a:pt x="98" y="44"/>
                  </a:lnTo>
                  <a:lnTo>
                    <a:pt x="98" y="4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4" name="Freeform 32">
              <a:extLst>
                <a:ext uri="{FF2B5EF4-FFF2-40B4-BE49-F238E27FC236}">
                  <a16:creationId xmlns:a16="http://schemas.microsoft.com/office/drawing/2014/main" id="{49C50E3A-7B5C-42A8-A0B2-869E61FA1A8E}"/>
                </a:ext>
              </a:extLst>
            </p:cNvPr>
            <p:cNvSpPr>
              <a:spLocks noEditPoints="1"/>
            </p:cNvSpPr>
            <p:nvPr/>
          </p:nvSpPr>
          <p:spPr bwMode="auto">
            <a:xfrm>
              <a:off x="253971" y="5108575"/>
              <a:ext cx="200025" cy="323850"/>
            </a:xfrm>
            <a:custGeom>
              <a:avLst/>
              <a:gdLst>
                <a:gd name="T0" fmla="*/ 22 w 126"/>
                <a:gd name="T1" fmla="*/ 204 h 204"/>
                <a:gd name="T2" fmla="*/ 22 w 126"/>
                <a:gd name="T3" fmla="*/ 204 h 204"/>
                <a:gd name="T4" fmla="*/ 14 w 126"/>
                <a:gd name="T5" fmla="*/ 202 h 204"/>
                <a:gd name="T6" fmla="*/ 6 w 126"/>
                <a:gd name="T7" fmla="*/ 198 h 204"/>
                <a:gd name="T8" fmla="*/ 2 w 126"/>
                <a:gd name="T9" fmla="*/ 190 h 204"/>
                <a:gd name="T10" fmla="*/ 0 w 126"/>
                <a:gd name="T11" fmla="*/ 182 h 204"/>
                <a:gd name="T12" fmla="*/ 0 w 126"/>
                <a:gd name="T13" fmla="*/ 22 h 204"/>
                <a:gd name="T14" fmla="*/ 0 w 126"/>
                <a:gd name="T15" fmla="*/ 22 h 204"/>
                <a:gd name="T16" fmla="*/ 2 w 126"/>
                <a:gd name="T17" fmla="*/ 14 h 204"/>
                <a:gd name="T18" fmla="*/ 6 w 126"/>
                <a:gd name="T19" fmla="*/ 6 h 204"/>
                <a:gd name="T20" fmla="*/ 14 w 126"/>
                <a:gd name="T21" fmla="*/ 2 h 204"/>
                <a:gd name="T22" fmla="*/ 22 w 126"/>
                <a:gd name="T23" fmla="*/ 0 h 204"/>
                <a:gd name="T24" fmla="*/ 104 w 126"/>
                <a:gd name="T25" fmla="*/ 0 h 204"/>
                <a:gd name="T26" fmla="*/ 104 w 126"/>
                <a:gd name="T27" fmla="*/ 0 h 204"/>
                <a:gd name="T28" fmla="*/ 114 w 126"/>
                <a:gd name="T29" fmla="*/ 2 h 204"/>
                <a:gd name="T30" fmla="*/ 120 w 126"/>
                <a:gd name="T31" fmla="*/ 6 h 204"/>
                <a:gd name="T32" fmla="*/ 124 w 126"/>
                <a:gd name="T33" fmla="*/ 14 h 204"/>
                <a:gd name="T34" fmla="*/ 126 w 126"/>
                <a:gd name="T35" fmla="*/ 22 h 204"/>
                <a:gd name="T36" fmla="*/ 126 w 126"/>
                <a:gd name="T37" fmla="*/ 182 h 204"/>
                <a:gd name="T38" fmla="*/ 126 w 126"/>
                <a:gd name="T39" fmla="*/ 182 h 204"/>
                <a:gd name="T40" fmla="*/ 124 w 126"/>
                <a:gd name="T41" fmla="*/ 190 h 204"/>
                <a:gd name="T42" fmla="*/ 120 w 126"/>
                <a:gd name="T43" fmla="*/ 198 h 204"/>
                <a:gd name="T44" fmla="*/ 114 w 126"/>
                <a:gd name="T45" fmla="*/ 202 h 204"/>
                <a:gd name="T46" fmla="*/ 104 w 126"/>
                <a:gd name="T47" fmla="*/ 204 h 204"/>
                <a:gd name="T48" fmla="*/ 22 w 126"/>
                <a:gd name="T49" fmla="*/ 204 h 204"/>
                <a:gd name="T50" fmla="*/ 82 w 126"/>
                <a:gd name="T51" fmla="*/ 160 h 204"/>
                <a:gd name="T52" fmla="*/ 82 w 126"/>
                <a:gd name="T53" fmla="*/ 44 h 204"/>
                <a:gd name="T54" fmla="*/ 44 w 126"/>
                <a:gd name="T55" fmla="*/ 44 h 204"/>
                <a:gd name="T56" fmla="*/ 44 w 126"/>
                <a:gd name="T57" fmla="*/ 160 h 204"/>
                <a:gd name="T58" fmla="*/ 82 w 126"/>
                <a:gd name="T59" fmla="*/ 16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6" h="204">
                  <a:moveTo>
                    <a:pt x="22" y="204"/>
                  </a:moveTo>
                  <a:lnTo>
                    <a:pt x="22" y="204"/>
                  </a:lnTo>
                  <a:lnTo>
                    <a:pt x="14" y="202"/>
                  </a:lnTo>
                  <a:lnTo>
                    <a:pt x="6" y="198"/>
                  </a:lnTo>
                  <a:lnTo>
                    <a:pt x="2" y="190"/>
                  </a:lnTo>
                  <a:lnTo>
                    <a:pt x="0" y="182"/>
                  </a:lnTo>
                  <a:lnTo>
                    <a:pt x="0" y="22"/>
                  </a:lnTo>
                  <a:lnTo>
                    <a:pt x="0" y="22"/>
                  </a:lnTo>
                  <a:lnTo>
                    <a:pt x="2" y="14"/>
                  </a:lnTo>
                  <a:lnTo>
                    <a:pt x="6" y="6"/>
                  </a:lnTo>
                  <a:lnTo>
                    <a:pt x="14" y="2"/>
                  </a:lnTo>
                  <a:lnTo>
                    <a:pt x="22" y="0"/>
                  </a:lnTo>
                  <a:lnTo>
                    <a:pt x="104" y="0"/>
                  </a:lnTo>
                  <a:lnTo>
                    <a:pt x="104" y="0"/>
                  </a:lnTo>
                  <a:lnTo>
                    <a:pt x="114" y="2"/>
                  </a:lnTo>
                  <a:lnTo>
                    <a:pt x="120" y="6"/>
                  </a:lnTo>
                  <a:lnTo>
                    <a:pt x="124" y="14"/>
                  </a:lnTo>
                  <a:lnTo>
                    <a:pt x="126" y="22"/>
                  </a:lnTo>
                  <a:lnTo>
                    <a:pt x="126" y="182"/>
                  </a:lnTo>
                  <a:lnTo>
                    <a:pt x="126" y="182"/>
                  </a:lnTo>
                  <a:lnTo>
                    <a:pt x="124" y="190"/>
                  </a:lnTo>
                  <a:lnTo>
                    <a:pt x="120" y="198"/>
                  </a:lnTo>
                  <a:lnTo>
                    <a:pt x="114" y="202"/>
                  </a:lnTo>
                  <a:lnTo>
                    <a:pt x="104" y="204"/>
                  </a:lnTo>
                  <a:lnTo>
                    <a:pt x="22" y="204"/>
                  </a:lnTo>
                  <a:close/>
                  <a:moveTo>
                    <a:pt x="82" y="160"/>
                  </a:moveTo>
                  <a:lnTo>
                    <a:pt x="82" y="44"/>
                  </a:lnTo>
                  <a:lnTo>
                    <a:pt x="44" y="44"/>
                  </a:lnTo>
                  <a:lnTo>
                    <a:pt x="44" y="160"/>
                  </a:lnTo>
                  <a:lnTo>
                    <a:pt x="82"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8">
              <a:extLst>
                <a:ext uri="{FF2B5EF4-FFF2-40B4-BE49-F238E27FC236}">
                  <a16:creationId xmlns:a16="http://schemas.microsoft.com/office/drawing/2014/main" id="{CE964345-AC90-45DC-8442-7076E60F1DB0}"/>
                </a:ext>
              </a:extLst>
            </p:cNvPr>
            <p:cNvSpPr>
              <a:spLocks/>
            </p:cNvSpPr>
            <p:nvPr/>
          </p:nvSpPr>
          <p:spPr bwMode="auto">
            <a:xfrm>
              <a:off x="301596" y="4064000"/>
              <a:ext cx="958850" cy="511175"/>
            </a:xfrm>
            <a:custGeom>
              <a:avLst/>
              <a:gdLst>
                <a:gd name="T0" fmla="*/ 582 w 604"/>
                <a:gd name="T1" fmla="*/ 322 h 322"/>
                <a:gd name="T2" fmla="*/ 566 w 604"/>
                <a:gd name="T3" fmla="*/ 316 h 322"/>
                <a:gd name="T4" fmla="*/ 560 w 604"/>
                <a:gd name="T5" fmla="*/ 300 h 322"/>
                <a:gd name="T6" fmla="*/ 558 w 604"/>
                <a:gd name="T7" fmla="*/ 274 h 322"/>
                <a:gd name="T8" fmla="*/ 548 w 604"/>
                <a:gd name="T9" fmla="*/ 224 h 322"/>
                <a:gd name="T10" fmla="*/ 528 w 604"/>
                <a:gd name="T11" fmla="*/ 178 h 322"/>
                <a:gd name="T12" fmla="*/ 500 w 604"/>
                <a:gd name="T13" fmla="*/ 138 h 322"/>
                <a:gd name="T14" fmla="*/ 466 w 604"/>
                <a:gd name="T15" fmla="*/ 102 h 322"/>
                <a:gd name="T16" fmla="*/ 424 w 604"/>
                <a:gd name="T17" fmla="*/ 74 h 322"/>
                <a:gd name="T18" fmla="*/ 378 w 604"/>
                <a:gd name="T19" fmla="*/ 56 h 322"/>
                <a:gd name="T20" fmla="*/ 328 w 604"/>
                <a:gd name="T21" fmla="*/ 44 h 322"/>
                <a:gd name="T22" fmla="*/ 302 w 604"/>
                <a:gd name="T23" fmla="*/ 44 h 322"/>
                <a:gd name="T24" fmla="*/ 250 w 604"/>
                <a:gd name="T25" fmla="*/ 48 h 322"/>
                <a:gd name="T26" fmla="*/ 202 w 604"/>
                <a:gd name="T27" fmla="*/ 64 h 322"/>
                <a:gd name="T28" fmla="*/ 158 w 604"/>
                <a:gd name="T29" fmla="*/ 88 h 322"/>
                <a:gd name="T30" fmla="*/ 120 w 604"/>
                <a:gd name="T31" fmla="*/ 120 h 322"/>
                <a:gd name="T32" fmla="*/ 88 w 604"/>
                <a:gd name="T33" fmla="*/ 158 h 322"/>
                <a:gd name="T34" fmla="*/ 64 w 604"/>
                <a:gd name="T35" fmla="*/ 200 h 322"/>
                <a:gd name="T36" fmla="*/ 50 w 604"/>
                <a:gd name="T37" fmla="*/ 250 h 322"/>
                <a:gd name="T38" fmla="*/ 44 w 604"/>
                <a:gd name="T39" fmla="*/ 300 h 322"/>
                <a:gd name="T40" fmla="*/ 42 w 604"/>
                <a:gd name="T41" fmla="*/ 310 h 322"/>
                <a:gd name="T42" fmla="*/ 32 w 604"/>
                <a:gd name="T43" fmla="*/ 322 h 322"/>
                <a:gd name="T44" fmla="*/ 22 w 604"/>
                <a:gd name="T45" fmla="*/ 322 h 322"/>
                <a:gd name="T46" fmla="*/ 8 w 604"/>
                <a:gd name="T47" fmla="*/ 316 h 322"/>
                <a:gd name="T48" fmla="*/ 0 w 604"/>
                <a:gd name="T49" fmla="*/ 300 h 322"/>
                <a:gd name="T50" fmla="*/ 2 w 604"/>
                <a:gd name="T51" fmla="*/ 270 h 322"/>
                <a:gd name="T52" fmla="*/ 14 w 604"/>
                <a:gd name="T53" fmla="*/ 212 h 322"/>
                <a:gd name="T54" fmla="*/ 38 w 604"/>
                <a:gd name="T55" fmla="*/ 158 h 322"/>
                <a:gd name="T56" fmla="*/ 70 w 604"/>
                <a:gd name="T57" fmla="*/ 110 h 322"/>
                <a:gd name="T58" fmla="*/ 110 w 604"/>
                <a:gd name="T59" fmla="*/ 68 h 322"/>
                <a:gd name="T60" fmla="*/ 158 w 604"/>
                <a:gd name="T61" fmla="*/ 36 h 322"/>
                <a:gd name="T62" fmla="*/ 212 w 604"/>
                <a:gd name="T63" fmla="*/ 14 h 322"/>
                <a:gd name="T64" fmla="*/ 272 w 604"/>
                <a:gd name="T65" fmla="*/ 2 h 322"/>
                <a:gd name="T66" fmla="*/ 302 w 604"/>
                <a:gd name="T67" fmla="*/ 0 h 322"/>
                <a:gd name="T68" fmla="*/ 362 w 604"/>
                <a:gd name="T69" fmla="*/ 6 h 322"/>
                <a:gd name="T70" fmla="*/ 420 w 604"/>
                <a:gd name="T71" fmla="*/ 24 h 322"/>
                <a:gd name="T72" fmla="*/ 470 w 604"/>
                <a:gd name="T73" fmla="*/ 52 h 322"/>
                <a:gd name="T74" fmla="*/ 514 w 604"/>
                <a:gd name="T75" fmla="*/ 88 h 322"/>
                <a:gd name="T76" fmla="*/ 552 w 604"/>
                <a:gd name="T77" fmla="*/ 132 h 322"/>
                <a:gd name="T78" fmla="*/ 580 w 604"/>
                <a:gd name="T79" fmla="*/ 184 h 322"/>
                <a:gd name="T80" fmla="*/ 598 w 604"/>
                <a:gd name="T81" fmla="*/ 240 h 322"/>
                <a:gd name="T82" fmla="*/ 604 w 604"/>
                <a:gd name="T83" fmla="*/ 300 h 322"/>
                <a:gd name="T84" fmla="*/ 602 w 604"/>
                <a:gd name="T85" fmla="*/ 310 h 322"/>
                <a:gd name="T86" fmla="*/ 590 w 604"/>
                <a:gd name="T87" fmla="*/ 322 h 322"/>
                <a:gd name="T88" fmla="*/ 582 w 604"/>
                <a:gd name="T89" fmla="*/ 32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4" h="322">
                  <a:moveTo>
                    <a:pt x="582" y="322"/>
                  </a:moveTo>
                  <a:lnTo>
                    <a:pt x="582" y="322"/>
                  </a:lnTo>
                  <a:lnTo>
                    <a:pt x="572" y="322"/>
                  </a:lnTo>
                  <a:lnTo>
                    <a:pt x="566" y="316"/>
                  </a:lnTo>
                  <a:lnTo>
                    <a:pt x="562" y="310"/>
                  </a:lnTo>
                  <a:lnTo>
                    <a:pt x="560" y="300"/>
                  </a:lnTo>
                  <a:lnTo>
                    <a:pt x="560" y="300"/>
                  </a:lnTo>
                  <a:lnTo>
                    <a:pt x="558" y="274"/>
                  </a:lnTo>
                  <a:lnTo>
                    <a:pt x="554" y="250"/>
                  </a:lnTo>
                  <a:lnTo>
                    <a:pt x="548" y="224"/>
                  </a:lnTo>
                  <a:lnTo>
                    <a:pt x="540" y="200"/>
                  </a:lnTo>
                  <a:lnTo>
                    <a:pt x="528" y="178"/>
                  </a:lnTo>
                  <a:lnTo>
                    <a:pt x="516" y="158"/>
                  </a:lnTo>
                  <a:lnTo>
                    <a:pt x="500" y="138"/>
                  </a:lnTo>
                  <a:lnTo>
                    <a:pt x="484" y="120"/>
                  </a:lnTo>
                  <a:lnTo>
                    <a:pt x="466" y="102"/>
                  </a:lnTo>
                  <a:lnTo>
                    <a:pt x="446" y="88"/>
                  </a:lnTo>
                  <a:lnTo>
                    <a:pt x="424" y="74"/>
                  </a:lnTo>
                  <a:lnTo>
                    <a:pt x="402" y="64"/>
                  </a:lnTo>
                  <a:lnTo>
                    <a:pt x="378" y="56"/>
                  </a:lnTo>
                  <a:lnTo>
                    <a:pt x="354" y="48"/>
                  </a:lnTo>
                  <a:lnTo>
                    <a:pt x="328" y="44"/>
                  </a:lnTo>
                  <a:lnTo>
                    <a:pt x="302" y="44"/>
                  </a:lnTo>
                  <a:lnTo>
                    <a:pt x="302" y="44"/>
                  </a:lnTo>
                  <a:lnTo>
                    <a:pt x="276" y="44"/>
                  </a:lnTo>
                  <a:lnTo>
                    <a:pt x="250" y="48"/>
                  </a:lnTo>
                  <a:lnTo>
                    <a:pt x="226" y="56"/>
                  </a:lnTo>
                  <a:lnTo>
                    <a:pt x="202" y="64"/>
                  </a:lnTo>
                  <a:lnTo>
                    <a:pt x="180" y="74"/>
                  </a:lnTo>
                  <a:lnTo>
                    <a:pt x="158" y="88"/>
                  </a:lnTo>
                  <a:lnTo>
                    <a:pt x="138" y="102"/>
                  </a:lnTo>
                  <a:lnTo>
                    <a:pt x="120" y="120"/>
                  </a:lnTo>
                  <a:lnTo>
                    <a:pt x="104" y="138"/>
                  </a:lnTo>
                  <a:lnTo>
                    <a:pt x="88" y="158"/>
                  </a:lnTo>
                  <a:lnTo>
                    <a:pt x="76" y="178"/>
                  </a:lnTo>
                  <a:lnTo>
                    <a:pt x="64" y="200"/>
                  </a:lnTo>
                  <a:lnTo>
                    <a:pt x="56" y="224"/>
                  </a:lnTo>
                  <a:lnTo>
                    <a:pt x="50" y="250"/>
                  </a:lnTo>
                  <a:lnTo>
                    <a:pt x="46" y="274"/>
                  </a:lnTo>
                  <a:lnTo>
                    <a:pt x="44" y="300"/>
                  </a:lnTo>
                  <a:lnTo>
                    <a:pt x="44" y="300"/>
                  </a:lnTo>
                  <a:lnTo>
                    <a:pt x="42" y="310"/>
                  </a:lnTo>
                  <a:lnTo>
                    <a:pt x="38" y="316"/>
                  </a:lnTo>
                  <a:lnTo>
                    <a:pt x="32" y="322"/>
                  </a:lnTo>
                  <a:lnTo>
                    <a:pt x="22" y="322"/>
                  </a:lnTo>
                  <a:lnTo>
                    <a:pt x="22" y="322"/>
                  </a:lnTo>
                  <a:lnTo>
                    <a:pt x="14" y="322"/>
                  </a:lnTo>
                  <a:lnTo>
                    <a:pt x="8" y="316"/>
                  </a:lnTo>
                  <a:lnTo>
                    <a:pt x="2" y="310"/>
                  </a:lnTo>
                  <a:lnTo>
                    <a:pt x="0" y="300"/>
                  </a:lnTo>
                  <a:lnTo>
                    <a:pt x="0" y="300"/>
                  </a:lnTo>
                  <a:lnTo>
                    <a:pt x="2" y="270"/>
                  </a:lnTo>
                  <a:lnTo>
                    <a:pt x="6" y="240"/>
                  </a:lnTo>
                  <a:lnTo>
                    <a:pt x="14" y="212"/>
                  </a:lnTo>
                  <a:lnTo>
                    <a:pt x="24" y="184"/>
                  </a:lnTo>
                  <a:lnTo>
                    <a:pt x="38" y="158"/>
                  </a:lnTo>
                  <a:lnTo>
                    <a:pt x="52" y="132"/>
                  </a:lnTo>
                  <a:lnTo>
                    <a:pt x="70" y="110"/>
                  </a:lnTo>
                  <a:lnTo>
                    <a:pt x="90" y="88"/>
                  </a:lnTo>
                  <a:lnTo>
                    <a:pt x="110" y="68"/>
                  </a:lnTo>
                  <a:lnTo>
                    <a:pt x="134" y="52"/>
                  </a:lnTo>
                  <a:lnTo>
                    <a:pt x="158" y="36"/>
                  </a:lnTo>
                  <a:lnTo>
                    <a:pt x="184" y="24"/>
                  </a:lnTo>
                  <a:lnTo>
                    <a:pt x="212" y="14"/>
                  </a:lnTo>
                  <a:lnTo>
                    <a:pt x="242" y="6"/>
                  </a:lnTo>
                  <a:lnTo>
                    <a:pt x="272" y="2"/>
                  </a:lnTo>
                  <a:lnTo>
                    <a:pt x="302" y="0"/>
                  </a:lnTo>
                  <a:lnTo>
                    <a:pt x="302" y="0"/>
                  </a:lnTo>
                  <a:lnTo>
                    <a:pt x="332" y="2"/>
                  </a:lnTo>
                  <a:lnTo>
                    <a:pt x="362" y="6"/>
                  </a:lnTo>
                  <a:lnTo>
                    <a:pt x="392" y="14"/>
                  </a:lnTo>
                  <a:lnTo>
                    <a:pt x="420" y="24"/>
                  </a:lnTo>
                  <a:lnTo>
                    <a:pt x="446" y="36"/>
                  </a:lnTo>
                  <a:lnTo>
                    <a:pt x="470" y="52"/>
                  </a:lnTo>
                  <a:lnTo>
                    <a:pt x="494" y="68"/>
                  </a:lnTo>
                  <a:lnTo>
                    <a:pt x="514" y="88"/>
                  </a:lnTo>
                  <a:lnTo>
                    <a:pt x="534" y="110"/>
                  </a:lnTo>
                  <a:lnTo>
                    <a:pt x="552" y="132"/>
                  </a:lnTo>
                  <a:lnTo>
                    <a:pt x="566" y="158"/>
                  </a:lnTo>
                  <a:lnTo>
                    <a:pt x="580" y="184"/>
                  </a:lnTo>
                  <a:lnTo>
                    <a:pt x="590" y="212"/>
                  </a:lnTo>
                  <a:lnTo>
                    <a:pt x="598" y="240"/>
                  </a:lnTo>
                  <a:lnTo>
                    <a:pt x="602" y="270"/>
                  </a:lnTo>
                  <a:lnTo>
                    <a:pt x="604" y="300"/>
                  </a:lnTo>
                  <a:lnTo>
                    <a:pt x="604" y="300"/>
                  </a:lnTo>
                  <a:lnTo>
                    <a:pt x="602" y="310"/>
                  </a:lnTo>
                  <a:lnTo>
                    <a:pt x="596" y="316"/>
                  </a:lnTo>
                  <a:lnTo>
                    <a:pt x="590" y="322"/>
                  </a:lnTo>
                  <a:lnTo>
                    <a:pt x="582" y="322"/>
                  </a:lnTo>
                  <a:lnTo>
                    <a:pt x="582" y="32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6" name="Freeform 42">
              <a:extLst>
                <a:ext uri="{FF2B5EF4-FFF2-40B4-BE49-F238E27FC236}">
                  <a16:creationId xmlns:a16="http://schemas.microsoft.com/office/drawing/2014/main" id="{CAB5F214-BA92-49BF-9EEB-8952C5D5134D}"/>
                </a:ext>
              </a:extLst>
            </p:cNvPr>
            <p:cNvSpPr>
              <a:spLocks/>
            </p:cNvSpPr>
            <p:nvPr/>
          </p:nvSpPr>
          <p:spPr bwMode="auto">
            <a:xfrm>
              <a:off x="301596" y="4619625"/>
              <a:ext cx="958850" cy="69850"/>
            </a:xfrm>
            <a:custGeom>
              <a:avLst/>
              <a:gdLst>
                <a:gd name="T0" fmla="*/ 22 w 604"/>
                <a:gd name="T1" fmla="*/ 44 h 44"/>
                <a:gd name="T2" fmla="*/ 22 w 604"/>
                <a:gd name="T3" fmla="*/ 44 h 44"/>
                <a:gd name="T4" fmla="*/ 14 w 604"/>
                <a:gd name="T5" fmla="*/ 42 h 44"/>
                <a:gd name="T6" fmla="*/ 8 w 604"/>
                <a:gd name="T7" fmla="*/ 38 h 44"/>
                <a:gd name="T8" fmla="*/ 2 w 604"/>
                <a:gd name="T9" fmla="*/ 32 h 44"/>
                <a:gd name="T10" fmla="*/ 0 w 604"/>
                <a:gd name="T11" fmla="*/ 22 h 44"/>
                <a:gd name="T12" fmla="*/ 0 w 604"/>
                <a:gd name="T13" fmla="*/ 22 h 44"/>
                <a:gd name="T14" fmla="*/ 2 w 604"/>
                <a:gd name="T15" fmla="*/ 14 h 44"/>
                <a:gd name="T16" fmla="*/ 8 w 604"/>
                <a:gd name="T17" fmla="*/ 8 h 44"/>
                <a:gd name="T18" fmla="*/ 14 w 604"/>
                <a:gd name="T19" fmla="*/ 2 h 44"/>
                <a:gd name="T20" fmla="*/ 22 w 604"/>
                <a:gd name="T21" fmla="*/ 0 h 44"/>
                <a:gd name="T22" fmla="*/ 582 w 604"/>
                <a:gd name="T23" fmla="*/ 0 h 44"/>
                <a:gd name="T24" fmla="*/ 582 w 604"/>
                <a:gd name="T25" fmla="*/ 0 h 44"/>
                <a:gd name="T26" fmla="*/ 590 w 604"/>
                <a:gd name="T27" fmla="*/ 2 h 44"/>
                <a:gd name="T28" fmla="*/ 596 w 604"/>
                <a:gd name="T29" fmla="*/ 8 h 44"/>
                <a:gd name="T30" fmla="*/ 602 w 604"/>
                <a:gd name="T31" fmla="*/ 14 h 44"/>
                <a:gd name="T32" fmla="*/ 604 w 604"/>
                <a:gd name="T33" fmla="*/ 22 h 44"/>
                <a:gd name="T34" fmla="*/ 604 w 604"/>
                <a:gd name="T35" fmla="*/ 22 h 44"/>
                <a:gd name="T36" fmla="*/ 602 w 604"/>
                <a:gd name="T37" fmla="*/ 32 h 44"/>
                <a:gd name="T38" fmla="*/ 596 w 604"/>
                <a:gd name="T39" fmla="*/ 38 h 44"/>
                <a:gd name="T40" fmla="*/ 590 w 604"/>
                <a:gd name="T41" fmla="*/ 42 h 44"/>
                <a:gd name="T42" fmla="*/ 582 w 604"/>
                <a:gd name="T43" fmla="*/ 44 h 44"/>
                <a:gd name="T44" fmla="*/ 22 w 604"/>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4" h="44">
                  <a:moveTo>
                    <a:pt x="22" y="44"/>
                  </a:moveTo>
                  <a:lnTo>
                    <a:pt x="22" y="44"/>
                  </a:lnTo>
                  <a:lnTo>
                    <a:pt x="14" y="42"/>
                  </a:lnTo>
                  <a:lnTo>
                    <a:pt x="8" y="38"/>
                  </a:lnTo>
                  <a:lnTo>
                    <a:pt x="2" y="32"/>
                  </a:lnTo>
                  <a:lnTo>
                    <a:pt x="0" y="22"/>
                  </a:lnTo>
                  <a:lnTo>
                    <a:pt x="0" y="22"/>
                  </a:lnTo>
                  <a:lnTo>
                    <a:pt x="2" y="14"/>
                  </a:lnTo>
                  <a:lnTo>
                    <a:pt x="8" y="8"/>
                  </a:lnTo>
                  <a:lnTo>
                    <a:pt x="14" y="2"/>
                  </a:lnTo>
                  <a:lnTo>
                    <a:pt x="22" y="0"/>
                  </a:lnTo>
                  <a:lnTo>
                    <a:pt x="582" y="0"/>
                  </a:lnTo>
                  <a:lnTo>
                    <a:pt x="582" y="0"/>
                  </a:lnTo>
                  <a:lnTo>
                    <a:pt x="590" y="2"/>
                  </a:lnTo>
                  <a:lnTo>
                    <a:pt x="596" y="8"/>
                  </a:lnTo>
                  <a:lnTo>
                    <a:pt x="602" y="14"/>
                  </a:lnTo>
                  <a:lnTo>
                    <a:pt x="604" y="22"/>
                  </a:lnTo>
                  <a:lnTo>
                    <a:pt x="604" y="22"/>
                  </a:lnTo>
                  <a:lnTo>
                    <a:pt x="602" y="32"/>
                  </a:lnTo>
                  <a:lnTo>
                    <a:pt x="596" y="38"/>
                  </a:lnTo>
                  <a:lnTo>
                    <a:pt x="590" y="42"/>
                  </a:lnTo>
                  <a:lnTo>
                    <a:pt x="582" y="44"/>
                  </a:lnTo>
                  <a:lnTo>
                    <a:pt x="22" y="4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7" name="Freeform 48">
              <a:extLst>
                <a:ext uri="{FF2B5EF4-FFF2-40B4-BE49-F238E27FC236}">
                  <a16:creationId xmlns:a16="http://schemas.microsoft.com/office/drawing/2014/main" id="{076D0AE0-AB85-49F0-9533-B9F2F414B9E7}"/>
                </a:ext>
              </a:extLst>
            </p:cNvPr>
            <p:cNvSpPr>
              <a:spLocks noEditPoints="1"/>
            </p:cNvSpPr>
            <p:nvPr/>
          </p:nvSpPr>
          <p:spPr bwMode="auto">
            <a:xfrm>
              <a:off x="1108046" y="5095875"/>
              <a:ext cx="200025" cy="323850"/>
            </a:xfrm>
            <a:custGeom>
              <a:avLst/>
              <a:gdLst>
                <a:gd name="T0" fmla="*/ 22 w 126"/>
                <a:gd name="T1" fmla="*/ 204 h 204"/>
                <a:gd name="T2" fmla="*/ 22 w 126"/>
                <a:gd name="T3" fmla="*/ 204 h 204"/>
                <a:gd name="T4" fmla="*/ 12 w 126"/>
                <a:gd name="T5" fmla="*/ 202 h 204"/>
                <a:gd name="T6" fmla="*/ 6 w 126"/>
                <a:gd name="T7" fmla="*/ 198 h 204"/>
                <a:gd name="T8" fmla="*/ 0 w 126"/>
                <a:gd name="T9" fmla="*/ 192 h 204"/>
                <a:gd name="T10" fmla="*/ 0 w 126"/>
                <a:gd name="T11" fmla="*/ 182 h 204"/>
                <a:gd name="T12" fmla="*/ 0 w 126"/>
                <a:gd name="T13" fmla="*/ 22 h 204"/>
                <a:gd name="T14" fmla="*/ 0 w 126"/>
                <a:gd name="T15" fmla="*/ 22 h 204"/>
                <a:gd name="T16" fmla="*/ 0 w 126"/>
                <a:gd name="T17" fmla="*/ 14 h 204"/>
                <a:gd name="T18" fmla="*/ 6 w 126"/>
                <a:gd name="T19" fmla="*/ 8 h 204"/>
                <a:gd name="T20" fmla="*/ 12 w 126"/>
                <a:gd name="T21" fmla="*/ 2 h 204"/>
                <a:gd name="T22" fmla="*/ 22 w 126"/>
                <a:gd name="T23" fmla="*/ 0 h 204"/>
                <a:gd name="T24" fmla="*/ 104 w 126"/>
                <a:gd name="T25" fmla="*/ 0 h 204"/>
                <a:gd name="T26" fmla="*/ 104 w 126"/>
                <a:gd name="T27" fmla="*/ 0 h 204"/>
                <a:gd name="T28" fmla="*/ 112 w 126"/>
                <a:gd name="T29" fmla="*/ 2 h 204"/>
                <a:gd name="T30" fmla="*/ 120 w 126"/>
                <a:gd name="T31" fmla="*/ 8 h 204"/>
                <a:gd name="T32" fmla="*/ 124 w 126"/>
                <a:gd name="T33" fmla="*/ 14 h 204"/>
                <a:gd name="T34" fmla="*/ 126 w 126"/>
                <a:gd name="T35" fmla="*/ 22 h 204"/>
                <a:gd name="T36" fmla="*/ 126 w 126"/>
                <a:gd name="T37" fmla="*/ 182 h 204"/>
                <a:gd name="T38" fmla="*/ 126 w 126"/>
                <a:gd name="T39" fmla="*/ 182 h 204"/>
                <a:gd name="T40" fmla="*/ 124 w 126"/>
                <a:gd name="T41" fmla="*/ 192 h 204"/>
                <a:gd name="T42" fmla="*/ 120 w 126"/>
                <a:gd name="T43" fmla="*/ 198 h 204"/>
                <a:gd name="T44" fmla="*/ 112 w 126"/>
                <a:gd name="T45" fmla="*/ 202 h 204"/>
                <a:gd name="T46" fmla="*/ 104 w 126"/>
                <a:gd name="T47" fmla="*/ 204 h 204"/>
                <a:gd name="T48" fmla="*/ 22 w 126"/>
                <a:gd name="T49" fmla="*/ 204 h 204"/>
                <a:gd name="T50" fmla="*/ 82 w 126"/>
                <a:gd name="T51" fmla="*/ 160 h 204"/>
                <a:gd name="T52" fmla="*/ 82 w 126"/>
                <a:gd name="T53" fmla="*/ 44 h 204"/>
                <a:gd name="T54" fmla="*/ 44 w 126"/>
                <a:gd name="T55" fmla="*/ 44 h 204"/>
                <a:gd name="T56" fmla="*/ 44 w 126"/>
                <a:gd name="T57" fmla="*/ 160 h 204"/>
                <a:gd name="T58" fmla="*/ 82 w 126"/>
                <a:gd name="T59" fmla="*/ 16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6" h="204">
                  <a:moveTo>
                    <a:pt x="22" y="204"/>
                  </a:moveTo>
                  <a:lnTo>
                    <a:pt x="22" y="204"/>
                  </a:lnTo>
                  <a:lnTo>
                    <a:pt x="12" y="202"/>
                  </a:lnTo>
                  <a:lnTo>
                    <a:pt x="6" y="198"/>
                  </a:lnTo>
                  <a:lnTo>
                    <a:pt x="0" y="192"/>
                  </a:lnTo>
                  <a:lnTo>
                    <a:pt x="0" y="182"/>
                  </a:lnTo>
                  <a:lnTo>
                    <a:pt x="0" y="22"/>
                  </a:lnTo>
                  <a:lnTo>
                    <a:pt x="0" y="22"/>
                  </a:lnTo>
                  <a:lnTo>
                    <a:pt x="0" y="14"/>
                  </a:lnTo>
                  <a:lnTo>
                    <a:pt x="6" y="8"/>
                  </a:lnTo>
                  <a:lnTo>
                    <a:pt x="12" y="2"/>
                  </a:lnTo>
                  <a:lnTo>
                    <a:pt x="22" y="0"/>
                  </a:lnTo>
                  <a:lnTo>
                    <a:pt x="104" y="0"/>
                  </a:lnTo>
                  <a:lnTo>
                    <a:pt x="104" y="0"/>
                  </a:lnTo>
                  <a:lnTo>
                    <a:pt x="112" y="2"/>
                  </a:lnTo>
                  <a:lnTo>
                    <a:pt x="120" y="8"/>
                  </a:lnTo>
                  <a:lnTo>
                    <a:pt x="124" y="14"/>
                  </a:lnTo>
                  <a:lnTo>
                    <a:pt x="126" y="22"/>
                  </a:lnTo>
                  <a:lnTo>
                    <a:pt x="126" y="182"/>
                  </a:lnTo>
                  <a:lnTo>
                    <a:pt x="126" y="182"/>
                  </a:lnTo>
                  <a:lnTo>
                    <a:pt x="124" y="192"/>
                  </a:lnTo>
                  <a:lnTo>
                    <a:pt x="120" y="198"/>
                  </a:lnTo>
                  <a:lnTo>
                    <a:pt x="112" y="202"/>
                  </a:lnTo>
                  <a:lnTo>
                    <a:pt x="104" y="204"/>
                  </a:lnTo>
                  <a:lnTo>
                    <a:pt x="22" y="204"/>
                  </a:lnTo>
                  <a:close/>
                  <a:moveTo>
                    <a:pt x="82" y="160"/>
                  </a:moveTo>
                  <a:lnTo>
                    <a:pt x="82" y="44"/>
                  </a:lnTo>
                  <a:lnTo>
                    <a:pt x="44" y="44"/>
                  </a:lnTo>
                  <a:lnTo>
                    <a:pt x="44" y="160"/>
                  </a:lnTo>
                  <a:lnTo>
                    <a:pt x="82"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8" name="Group 187">
            <a:extLst>
              <a:ext uri="{FF2B5EF4-FFF2-40B4-BE49-F238E27FC236}">
                <a16:creationId xmlns:a16="http://schemas.microsoft.com/office/drawing/2014/main" id="{AD642B8D-CE4A-4711-B68E-1C3B5793224C}"/>
              </a:ext>
            </a:extLst>
          </p:cNvPr>
          <p:cNvGrpSpPr/>
          <p:nvPr/>
        </p:nvGrpSpPr>
        <p:grpSpPr>
          <a:xfrm>
            <a:off x="2239115" y="2523403"/>
            <a:ext cx="362314" cy="362314"/>
            <a:chOff x="4797425" y="3717925"/>
            <a:chExt cx="2009775" cy="2009775"/>
          </a:xfrm>
          <a:solidFill>
            <a:schemeClr val="bg2"/>
          </a:solidFill>
        </p:grpSpPr>
        <p:sp>
          <p:nvSpPr>
            <p:cNvPr id="189" name="Freeform 54">
              <a:extLst>
                <a:ext uri="{FF2B5EF4-FFF2-40B4-BE49-F238E27FC236}">
                  <a16:creationId xmlns:a16="http://schemas.microsoft.com/office/drawing/2014/main" id="{285F4039-6EAB-4E82-994C-C30A2C69B47A}"/>
                </a:ext>
              </a:extLst>
            </p:cNvPr>
            <p:cNvSpPr>
              <a:spLocks/>
            </p:cNvSpPr>
            <p:nvPr/>
          </p:nvSpPr>
          <p:spPr bwMode="auto">
            <a:xfrm>
              <a:off x="5553075" y="4292600"/>
              <a:ext cx="146050" cy="146050"/>
            </a:xfrm>
            <a:custGeom>
              <a:avLst/>
              <a:gdLst>
                <a:gd name="T0" fmla="*/ 0 w 92"/>
                <a:gd name="T1" fmla="*/ 46 h 92"/>
                <a:gd name="T2" fmla="*/ 0 w 92"/>
                <a:gd name="T3" fmla="*/ 46 h 92"/>
                <a:gd name="T4" fmla="*/ 2 w 92"/>
                <a:gd name="T5" fmla="*/ 56 h 92"/>
                <a:gd name="T6" fmla="*/ 4 w 92"/>
                <a:gd name="T7" fmla="*/ 64 h 92"/>
                <a:gd name="T8" fmla="*/ 8 w 92"/>
                <a:gd name="T9" fmla="*/ 72 h 92"/>
                <a:gd name="T10" fmla="*/ 14 w 92"/>
                <a:gd name="T11" fmla="*/ 78 h 92"/>
                <a:gd name="T12" fmla="*/ 20 w 92"/>
                <a:gd name="T13" fmla="*/ 84 h 92"/>
                <a:gd name="T14" fmla="*/ 28 w 92"/>
                <a:gd name="T15" fmla="*/ 88 h 92"/>
                <a:gd name="T16" fmla="*/ 36 w 92"/>
                <a:gd name="T17" fmla="*/ 90 h 92"/>
                <a:gd name="T18" fmla="*/ 46 w 92"/>
                <a:gd name="T19" fmla="*/ 92 h 92"/>
                <a:gd name="T20" fmla="*/ 46 w 92"/>
                <a:gd name="T21" fmla="*/ 92 h 92"/>
                <a:gd name="T22" fmla="*/ 56 w 92"/>
                <a:gd name="T23" fmla="*/ 90 h 92"/>
                <a:gd name="T24" fmla="*/ 64 w 92"/>
                <a:gd name="T25" fmla="*/ 88 h 92"/>
                <a:gd name="T26" fmla="*/ 72 w 92"/>
                <a:gd name="T27" fmla="*/ 84 h 92"/>
                <a:gd name="T28" fmla="*/ 78 w 92"/>
                <a:gd name="T29" fmla="*/ 78 h 92"/>
                <a:gd name="T30" fmla="*/ 84 w 92"/>
                <a:gd name="T31" fmla="*/ 72 h 92"/>
                <a:gd name="T32" fmla="*/ 88 w 92"/>
                <a:gd name="T33" fmla="*/ 64 h 92"/>
                <a:gd name="T34" fmla="*/ 92 w 92"/>
                <a:gd name="T35" fmla="*/ 56 h 92"/>
                <a:gd name="T36" fmla="*/ 92 w 92"/>
                <a:gd name="T37" fmla="*/ 46 h 92"/>
                <a:gd name="T38" fmla="*/ 92 w 92"/>
                <a:gd name="T39" fmla="*/ 46 h 92"/>
                <a:gd name="T40" fmla="*/ 92 w 92"/>
                <a:gd name="T41" fmla="*/ 36 h 92"/>
                <a:gd name="T42" fmla="*/ 88 w 92"/>
                <a:gd name="T43" fmla="*/ 28 h 92"/>
                <a:gd name="T44" fmla="*/ 84 w 92"/>
                <a:gd name="T45" fmla="*/ 20 h 92"/>
                <a:gd name="T46" fmla="*/ 78 w 92"/>
                <a:gd name="T47" fmla="*/ 14 h 92"/>
                <a:gd name="T48" fmla="*/ 72 w 92"/>
                <a:gd name="T49" fmla="*/ 8 h 92"/>
                <a:gd name="T50" fmla="*/ 64 w 92"/>
                <a:gd name="T51" fmla="*/ 4 h 92"/>
                <a:gd name="T52" fmla="*/ 56 w 92"/>
                <a:gd name="T53" fmla="*/ 0 h 92"/>
                <a:gd name="T54" fmla="*/ 46 w 92"/>
                <a:gd name="T55" fmla="*/ 0 h 92"/>
                <a:gd name="T56" fmla="*/ 46 w 92"/>
                <a:gd name="T57" fmla="*/ 0 h 92"/>
                <a:gd name="T58" fmla="*/ 36 w 92"/>
                <a:gd name="T59" fmla="*/ 0 h 92"/>
                <a:gd name="T60" fmla="*/ 28 w 92"/>
                <a:gd name="T61" fmla="*/ 4 h 92"/>
                <a:gd name="T62" fmla="*/ 20 w 92"/>
                <a:gd name="T63" fmla="*/ 8 h 92"/>
                <a:gd name="T64" fmla="*/ 14 w 92"/>
                <a:gd name="T65" fmla="*/ 14 h 92"/>
                <a:gd name="T66" fmla="*/ 8 w 92"/>
                <a:gd name="T67" fmla="*/ 20 h 92"/>
                <a:gd name="T68" fmla="*/ 4 w 92"/>
                <a:gd name="T69" fmla="*/ 28 h 92"/>
                <a:gd name="T70" fmla="*/ 2 w 92"/>
                <a:gd name="T71" fmla="*/ 36 h 92"/>
                <a:gd name="T72" fmla="*/ 0 w 92"/>
                <a:gd name="T73" fmla="*/ 46 h 92"/>
                <a:gd name="T74" fmla="*/ 0 w 92"/>
                <a:gd name="T7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92">
                  <a:moveTo>
                    <a:pt x="0" y="46"/>
                  </a:moveTo>
                  <a:lnTo>
                    <a:pt x="0" y="46"/>
                  </a:lnTo>
                  <a:lnTo>
                    <a:pt x="2" y="56"/>
                  </a:lnTo>
                  <a:lnTo>
                    <a:pt x="4" y="64"/>
                  </a:lnTo>
                  <a:lnTo>
                    <a:pt x="8" y="72"/>
                  </a:lnTo>
                  <a:lnTo>
                    <a:pt x="14" y="78"/>
                  </a:lnTo>
                  <a:lnTo>
                    <a:pt x="20" y="84"/>
                  </a:lnTo>
                  <a:lnTo>
                    <a:pt x="28" y="88"/>
                  </a:lnTo>
                  <a:lnTo>
                    <a:pt x="36" y="90"/>
                  </a:lnTo>
                  <a:lnTo>
                    <a:pt x="46" y="92"/>
                  </a:lnTo>
                  <a:lnTo>
                    <a:pt x="46" y="92"/>
                  </a:lnTo>
                  <a:lnTo>
                    <a:pt x="56" y="90"/>
                  </a:lnTo>
                  <a:lnTo>
                    <a:pt x="64" y="88"/>
                  </a:lnTo>
                  <a:lnTo>
                    <a:pt x="72" y="84"/>
                  </a:lnTo>
                  <a:lnTo>
                    <a:pt x="78" y="78"/>
                  </a:lnTo>
                  <a:lnTo>
                    <a:pt x="84" y="72"/>
                  </a:lnTo>
                  <a:lnTo>
                    <a:pt x="88" y="64"/>
                  </a:lnTo>
                  <a:lnTo>
                    <a:pt x="92" y="56"/>
                  </a:lnTo>
                  <a:lnTo>
                    <a:pt x="92" y="46"/>
                  </a:lnTo>
                  <a:lnTo>
                    <a:pt x="92" y="46"/>
                  </a:lnTo>
                  <a:lnTo>
                    <a:pt x="92" y="36"/>
                  </a:lnTo>
                  <a:lnTo>
                    <a:pt x="88" y="28"/>
                  </a:lnTo>
                  <a:lnTo>
                    <a:pt x="84" y="20"/>
                  </a:lnTo>
                  <a:lnTo>
                    <a:pt x="78" y="14"/>
                  </a:lnTo>
                  <a:lnTo>
                    <a:pt x="72" y="8"/>
                  </a:lnTo>
                  <a:lnTo>
                    <a:pt x="64" y="4"/>
                  </a:lnTo>
                  <a:lnTo>
                    <a:pt x="56" y="0"/>
                  </a:lnTo>
                  <a:lnTo>
                    <a:pt x="46" y="0"/>
                  </a:lnTo>
                  <a:lnTo>
                    <a:pt x="46" y="0"/>
                  </a:lnTo>
                  <a:lnTo>
                    <a:pt x="36" y="0"/>
                  </a:lnTo>
                  <a:lnTo>
                    <a:pt x="28" y="4"/>
                  </a:lnTo>
                  <a:lnTo>
                    <a:pt x="20" y="8"/>
                  </a:lnTo>
                  <a:lnTo>
                    <a:pt x="14" y="14"/>
                  </a:lnTo>
                  <a:lnTo>
                    <a:pt x="8" y="20"/>
                  </a:lnTo>
                  <a:lnTo>
                    <a:pt x="4" y="28"/>
                  </a:lnTo>
                  <a:lnTo>
                    <a:pt x="2" y="36"/>
                  </a:lnTo>
                  <a:lnTo>
                    <a:pt x="0" y="46"/>
                  </a:lnTo>
                  <a:lnTo>
                    <a:pt x="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Rectangle 55">
              <a:extLst>
                <a:ext uri="{FF2B5EF4-FFF2-40B4-BE49-F238E27FC236}">
                  <a16:creationId xmlns:a16="http://schemas.microsoft.com/office/drawing/2014/main" id="{2D95A0E0-01F3-4BC8-8F41-3A8151E05F43}"/>
                </a:ext>
              </a:extLst>
            </p:cNvPr>
            <p:cNvSpPr>
              <a:spLocks noChangeArrowheads="1"/>
            </p:cNvSpPr>
            <p:nvPr/>
          </p:nvSpPr>
          <p:spPr bwMode="auto">
            <a:xfrm>
              <a:off x="5362575" y="5133975"/>
              <a:ext cx="34925"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Rectangle 56">
              <a:extLst>
                <a:ext uri="{FF2B5EF4-FFF2-40B4-BE49-F238E27FC236}">
                  <a16:creationId xmlns:a16="http://schemas.microsoft.com/office/drawing/2014/main" id="{BF089C14-83CC-4CFA-9DF3-BC6B1BA31A21}"/>
                </a:ext>
              </a:extLst>
            </p:cNvPr>
            <p:cNvSpPr>
              <a:spLocks noChangeArrowheads="1"/>
            </p:cNvSpPr>
            <p:nvPr/>
          </p:nvSpPr>
          <p:spPr bwMode="auto">
            <a:xfrm>
              <a:off x="6213475" y="5121275"/>
              <a:ext cx="38100" cy="161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a:extLst>
                <a:ext uri="{FF2B5EF4-FFF2-40B4-BE49-F238E27FC236}">
                  <a16:creationId xmlns:a16="http://schemas.microsoft.com/office/drawing/2014/main" id="{997FA330-1159-41CC-ABE4-17F85DB1DD52}"/>
                </a:ext>
              </a:extLst>
            </p:cNvPr>
            <p:cNvSpPr>
              <a:spLocks/>
            </p:cNvSpPr>
            <p:nvPr/>
          </p:nvSpPr>
          <p:spPr bwMode="auto">
            <a:xfrm>
              <a:off x="5899150" y="4292600"/>
              <a:ext cx="146050" cy="146050"/>
            </a:xfrm>
            <a:custGeom>
              <a:avLst/>
              <a:gdLst>
                <a:gd name="T0" fmla="*/ 0 w 92"/>
                <a:gd name="T1" fmla="*/ 46 h 92"/>
                <a:gd name="T2" fmla="*/ 0 w 92"/>
                <a:gd name="T3" fmla="*/ 46 h 92"/>
                <a:gd name="T4" fmla="*/ 2 w 92"/>
                <a:gd name="T5" fmla="*/ 56 h 92"/>
                <a:gd name="T6" fmla="*/ 4 w 92"/>
                <a:gd name="T7" fmla="*/ 64 h 92"/>
                <a:gd name="T8" fmla="*/ 8 w 92"/>
                <a:gd name="T9" fmla="*/ 72 h 92"/>
                <a:gd name="T10" fmla="*/ 14 w 92"/>
                <a:gd name="T11" fmla="*/ 78 h 92"/>
                <a:gd name="T12" fmla="*/ 22 w 92"/>
                <a:gd name="T13" fmla="*/ 84 h 92"/>
                <a:gd name="T14" fmla="*/ 28 w 92"/>
                <a:gd name="T15" fmla="*/ 88 h 92"/>
                <a:gd name="T16" fmla="*/ 38 w 92"/>
                <a:gd name="T17" fmla="*/ 90 h 92"/>
                <a:gd name="T18" fmla="*/ 46 w 92"/>
                <a:gd name="T19" fmla="*/ 92 h 92"/>
                <a:gd name="T20" fmla="*/ 46 w 92"/>
                <a:gd name="T21" fmla="*/ 92 h 92"/>
                <a:gd name="T22" fmla="*/ 56 w 92"/>
                <a:gd name="T23" fmla="*/ 90 h 92"/>
                <a:gd name="T24" fmla="*/ 64 w 92"/>
                <a:gd name="T25" fmla="*/ 88 h 92"/>
                <a:gd name="T26" fmla="*/ 72 w 92"/>
                <a:gd name="T27" fmla="*/ 84 h 92"/>
                <a:gd name="T28" fmla="*/ 80 w 92"/>
                <a:gd name="T29" fmla="*/ 78 h 92"/>
                <a:gd name="T30" fmla="*/ 84 w 92"/>
                <a:gd name="T31" fmla="*/ 72 h 92"/>
                <a:gd name="T32" fmla="*/ 88 w 92"/>
                <a:gd name="T33" fmla="*/ 64 h 92"/>
                <a:gd name="T34" fmla="*/ 92 w 92"/>
                <a:gd name="T35" fmla="*/ 56 h 92"/>
                <a:gd name="T36" fmla="*/ 92 w 92"/>
                <a:gd name="T37" fmla="*/ 46 h 92"/>
                <a:gd name="T38" fmla="*/ 92 w 92"/>
                <a:gd name="T39" fmla="*/ 46 h 92"/>
                <a:gd name="T40" fmla="*/ 92 w 92"/>
                <a:gd name="T41" fmla="*/ 36 h 92"/>
                <a:gd name="T42" fmla="*/ 88 w 92"/>
                <a:gd name="T43" fmla="*/ 28 h 92"/>
                <a:gd name="T44" fmla="*/ 84 w 92"/>
                <a:gd name="T45" fmla="*/ 20 h 92"/>
                <a:gd name="T46" fmla="*/ 80 w 92"/>
                <a:gd name="T47" fmla="*/ 14 h 92"/>
                <a:gd name="T48" fmla="*/ 72 w 92"/>
                <a:gd name="T49" fmla="*/ 8 h 92"/>
                <a:gd name="T50" fmla="*/ 64 w 92"/>
                <a:gd name="T51" fmla="*/ 4 h 92"/>
                <a:gd name="T52" fmla="*/ 56 w 92"/>
                <a:gd name="T53" fmla="*/ 0 h 92"/>
                <a:gd name="T54" fmla="*/ 46 w 92"/>
                <a:gd name="T55" fmla="*/ 0 h 92"/>
                <a:gd name="T56" fmla="*/ 46 w 92"/>
                <a:gd name="T57" fmla="*/ 0 h 92"/>
                <a:gd name="T58" fmla="*/ 38 w 92"/>
                <a:gd name="T59" fmla="*/ 0 h 92"/>
                <a:gd name="T60" fmla="*/ 28 w 92"/>
                <a:gd name="T61" fmla="*/ 4 h 92"/>
                <a:gd name="T62" fmla="*/ 22 w 92"/>
                <a:gd name="T63" fmla="*/ 8 h 92"/>
                <a:gd name="T64" fmla="*/ 14 w 92"/>
                <a:gd name="T65" fmla="*/ 14 h 92"/>
                <a:gd name="T66" fmla="*/ 8 w 92"/>
                <a:gd name="T67" fmla="*/ 20 h 92"/>
                <a:gd name="T68" fmla="*/ 4 w 92"/>
                <a:gd name="T69" fmla="*/ 28 h 92"/>
                <a:gd name="T70" fmla="*/ 2 w 92"/>
                <a:gd name="T71" fmla="*/ 36 h 92"/>
                <a:gd name="T72" fmla="*/ 0 w 92"/>
                <a:gd name="T73" fmla="*/ 46 h 92"/>
                <a:gd name="T74" fmla="*/ 0 w 92"/>
                <a:gd name="T75" fmla="*/ 4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92">
                  <a:moveTo>
                    <a:pt x="0" y="46"/>
                  </a:moveTo>
                  <a:lnTo>
                    <a:pt x="0" y="46"/>
                  </a:lnTo>
                  <a:lnTo>
                    <a:pt x="2" y="56"/>
                  </a:lnTo>
                  <a:lnTo>
                    <a:pt x="4" y="64"/>
                  </a:lnTo>
                  <a:lnTo>
                    <a:pt x="8" y="72"/>
                  </a:lnTo>
                  <a:lnTo>
                    <a:pt x="14" y="78"/>
                  </a:lnTo>
                  <a:lnTo>
                    <a:pt x="22" y="84"/>
                  </a:lnTo>
                  <a:lnTo>
                    <a:pt x="28" y="88"/>
                  </a:lnTo>
                  <a:lnTo>
                    <a:pt x="38" y="90"/>
                  </a:lnTo>
                  <a:lnTo>
                    <a:pt x="46" y="92"/>
                  </a:lnTo>
                  <a:lnTo>
                    <a:pt x="46" y="92"/>
                  </a:lnTo>
                  <a:lnTo>
                    <a:pt x="56" y="90"/>
                  </a:lnTo>
                  <a:lnTo>
                    <a:pt x="64" y="88"/>
                  </a:lnTo>
                  <a:lnTo>
                    <a:pt x="72" y="84"/>
                  </a:lnTo>
                  <a:lnTo>
                    <a:pt x="80" y="78"/>
                  </a:lnTo>
                  <a:lnTo>
                    <a:pt x="84" y="72"/>
                  </a:lnTo>
                  <a:lnTo>
                    <a:pt x="88" y="64"/>
                  </a:lnTo>
                  <a:lnTo>
                    <a:pt x="92" y="56"/>
                  </a:lnTo>
                  <a:lnTo>
                    <a:pt x="92" y="46"/>
                  </a:lnTo>
                  <a:lnTo>
                    <a:pt x="92" y="46"/>
                  </a:lnTo>
                  <a:lnTo>
                    <a:pt x="92" y="36"/>
                  </a:lnTo>
                  <a:lnTo>
                    <a:pt x="88" y="28"/>
                  </a:lnTo>
                  <a:lnTo>
                    <a:pt x="84" y="20"/>
                  </a:lnTo>
                  <a:lnTo>
                    <a:pt x="80" y="14"/>
                  </a:lnTo>
                  <a:lnTo>
                    <a:pt x="72" y="8"/>
                  </a:lnTo>
                  <a:lnTo>
                    <a:pt x="64" y="4"/>
                  </a:lnTo>
                  <a:lnTo>
                    <a:pt x="56" y="0"/>
                  </a:lnTo>
                  <a:lnTo>
                    <a:pt x="46" y="0"/>
                  </a:lnTo>
                  <a:lnTo>
                    <a:pt x="46" y="0"/>
                  </a:lnTo>
                  <a:lnTo>
                    <a:pt x="38" y="0"/>
                  </a:lnTo>
                  <a:lnTo>
                    <a:pt x="28" y="4"/>
                  </a:lnTo>
                  <a:lnTo>
                    <a:pt x="22" y="8"/>
                  </a:lnTo>
                  <a:lnTo>
                    <a:pt x="14" y="14"/>
                  </a:lnTo>
                  <a:lnTo>
                    <a:pt x="8" y="20"/>
                  </a:lnTo>
                  <a:lnTo>
                    <a:pt x="4" y="28"/>
                  </a:lnTo>
                  <a:lnTo>
                    <a:pt x="2" y="36"/>
                  </a:lnTo>
                  <a:lnTo>
                    <a:pt x="0" y="46"/>
                  </a:lnTo>
                  <a:lnTo>
                    <a:pt x="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a:extLst>
                <a:ext uri="{FF2B5EF4-FFF2-40B4-BE49-F238E27FC236}">
                  <a16:creationId xmlns:a16="http://schemas.microsoft.com/office/drawing/2014/main" id="{5EA1876D-A325-4223-B030-33E395A82F24}"/>
                </a:ext>
              </a:extLst>
            </p:cNvPr>
            <p:cNvSpPr>
              <a:spLocks noEditPoints="1"/>
            </p:cNvSpPr>
            <p:nvPr/>
          </p:nvSpPr>
          <p:spPr bwMode="auto">
            <a:xfrm>
              <a:off x="4797425" y="3717925"/>
              <a:ext cx="2009775" cy="2009775"/>
            </a:xfrm>
            <a:custGeom>
              <a:avLst/>
              <a:gdLst>
                <a:gd name="T0" fmla="*/ 444 w 1266"/>
                <a:gd name="T1" fmla="*/ 28 h 1266"/>
                <a:gd name="T2" fmla="*/ 230 w 1266"/>
                <a:gd name="T3" fmla="*/ 144 h 1266"/>
                <a:gd name="T4" fmla="*/ 76 w 1266"/>
                <a:gd name="T5" fmla="*/ 330 h 1266"/>
                <a:gd name="T6" fmla="*/ 2 w 1266"/>
                <a:gd name="T7" fmla="*/ 568 h 1266"/>
                <a:gd name="T8" fmla="*/ 20 w 1266"/>
                <a:gd name="T9" fmla="*/ 792 h 1266"/>
                <a:gd name="T10" fmla="*/ 126 w 1266"/>
                <a:gd name="T11" fmla="*/ 1012 h 1266"/>
                <a:gd name="T12" fmla="*/ 304 w 1266"/>
                <a:gd name="T13" fmla="*/ 1174 h 1266"/>
                <a:gd name="T14" fmla="*/ 536 w 1266"/>
                <a:gd name="T15" fmla="*/ 1260 h 1266"/>
                <a:gd name="T16" fmla="*/ 760 w 1266"/>
                <a:gd name="T17" fmla="*/ 1254 h 1266"/>
                <a:gd name="T18" fmla="*/ 988 w 1266"/>
                <a:gd name="T19" fmla="*/ 1158 h 1266"/>
                <a:gd name="T20" fmla="*/ 1158 w 1266"/>
                <a:gd name="T21" fmla="*/ 988 h 1266"/>
                <a:gd name="T22" fmla="*/ 1254 w 1266"/>
                <a:gd name="T23" fmla="*/ 760 h 1266"/>
                <a:gd name="T24" fmla="*/ 1260 w 1266"/>
                <a:gd name="T25" fmla="*/ 536 h 1266"/>
                <a:gd name="T26" fmla="*/ 1174 w 1266"/>
                <a:gd name="T27" fmla="*/ 304 h 1266"/>
                <a:gd name="T28" fmla="*/ 1012 w 1266"/>
                <a:gd name="T29" fmla="*/ 126 h 1266"/>
                <a:gd name="T30" fmla="*/ 792 w 1266"/>
                <a:gd name="T31" fmla="*/ 20 h 1266"/>
                <a:gd name="T32" fmla="*/ 636 w 1266"/>
                <a:gd name="T33" fmla="*/ 174 h 1266"/>
                <a:gd name="T34" fmla="*/ 854 w 1266"/>
                <a:gd name="T35" fmla="*/ 264 h 1266"/>
                <a:gd name="T36" fmla="*/ 944 w 1266"/>
                <a:gd name="T37" fmla="*/ 482 h 1266"/>
                <a:gd name="T38" fmla="*/ 914 w 1266"/>
                <a:gd name="T39" fmla="*/ 512 h 1266"/>
                <a:gd name="T40" fmla="*/ 884 w 1266"/>
                <a:gd name="T41" fmla="*/ 458 h 1266"/>
                <a:gd name="T42" fmla="*/ 794 w 1266"/>
                <a:gd name="T43" fmla="*/ 290 h 1266"/>
                <a:gd name="T44" fmla="*/ 636 w 1266"/>
                <a:gd name="T45" fmla="*/ 234 h 1266"/>
                <a:gd name="T46" fmla="*/ 458 w 1266"/>
                <a:gd name="T47" fmla="*/ 306 h 1266"/>
                <a:gd name="T48" fmla="*/ 386 w 1266"/>
                <a:gd name="T49" fmla="*/ 482 h 1266"/>
                <a:gd name="T50" fmla="*/ 356 w 1266"/>
                <a:gd name="T51" fmla="*/ 512 h 1266"/>
                <a:gd name="T52" fmla="*/ 328 w 1266"/>
                <a:gd name="T53" fmla="*/ 452 h 1266"/>
                <a:gd name="T54" fmla="*/ 438 w 1266"/>
                <a:gd name="T55" fmla="*/ 244 h 1266"/>
                <a:gd name="T56" fmla="*/ 636 w 1266"/>
                <a:gd name="T57" fmla="*/ 174 h 1266"/>
                <a:gd name="T58" fmla="*/ 782 w 1266"/>
                <a:gd name="T59" fmla="*/ 504 h 1266"/>
                <a:gd name="T60" fmla="*/ 654 w 1266"/>
                <a:gd name="T61" fmla="*/ 466 h 1266"/>
                <a:gd name="T62" fmla="*/ 666 w 1266"/>
                <a:gd name="T63" fmla="*/ 334 h 1266"/>
                <a:gd name="T64" fmla="*/ 800 w 1266"/>
                <a:gd name="T65" fmla="*/ 322 h 1266"/>
                <a:gd name="T66" fmla="*/ 626 w 1266"/>
                <a:gd name="T67" fmla="*/ 408 h 1266"/>
                <a:gd name="T68" fmla="*/ 522 w 1266"/>
                <a:gd name="T69" fmla="*/ 512 h 1266"/>
                <a:gd name="T70" fmla="*/ 420 w 1266"/>
                <a:gd name="T71" fmla="*/ 428 h 1266"/>
                <a:gd name="T72" fmla="*/ 482 w 1266"/>
                <a:gd name="T73" fmla="*/ 312 h 1266"/>
                <a:gd name="T74" fmla="*/ 608 w 1266"/>
                <a:gd name="T75" fmla="*/ 350 h 1266"/>
                <a:gd name="T76" fmla="*/ 920 w 1266"/>
                <a:gd name="T77" fmla="*/ 526 h 1266"/>
                <a:gd name="T78" fmla="*/ 942 w 1266"/>
                <a:gd name="T79" fmla="*/ 566 h 1266"/>
                <a:gd name="T80" fmla="*/ 344 w 1266"/>
                <a:gd name="T81" fmla="*/ 582 h 1266"/>
                <a:gd name="T82" fmla="*/ 336 w 1266"/>
                <a:gd name="T83" fmla="*/ 534 h 1266"/>
                <a:gd name="T84" fmla="*/ 436 w 1266"/>
                <a:gd name="T85" fmla="*/ 1034 h 1266"/>
                <a:gd name="T86" fmla="*/ 314 w 1266"/>
                <a:gd name="T87" fmla="*/ 1050 h 1266"/>
                <a:gd name="T88" fmla="*/ 298 w 1266"/>
                <a:gd name="T89" fmla="*/ 850 h 1266"/>
                <a:gd name="T90" fmla="*/ 420 w 1266"/>
                <a:gd name="T91" fmla="*/ 836 h 1266"/>
                <a:gd name="T92" fmla="*/ 974 w 1266"/>
                <a:gd name="T93" fmla="*/ 1020 h 1266"/>
                <a:gd name="T94" fmla="*/ 856 w 1266"/>
                <a:gd name="T95" fmla="*/ 1044 h 1266"/>
                <a:gd name="T96" fmla="*/ 834 w 1266"/>
                <a:gd name="T97" fmla="*/ 848 h 1266"/>
                <a:gd name="T98" fmla="*/ 950 w 1266"/>
                <a:gd name="T99" fmla="*/ 826 h 1266"/>
                <a:gd name="T100" fmla="*/ 944 w 1266"/>
                <a:gd name="T101" fmla="*/ 660 h 1266"/>
                <a:gd name="T102" fmla="*/ 914 w 1266"/>
                <a:gd name="T103" fmla="*/ 820 h 1266"/>
                <a:gd name="T104" fmla="*/ 800 w 1266"/>
                <a:gd name="T105" fmla="*/ 942 h 1266"/>
                <a:gd name="T106" fmla="*/ 448 w 1266"/>
                <a:gd name="T107" fmla="*/ 918 h 1266"/>
                <a:gd name="T108" fmla="*/ 328 w 1266"/>
                <a:gd name="T109" fmla="*/ 802 h 1266"/>
                <a:gd name="T110" fmla="*/ 182 w 1266"/>
                <a:gd name="T111" fmla="*/ 652 h 1266"/>
                <a:gd name="T112" fmla="*/ 182 w 1266"/>
                <a:gd name="T113" fmla="*/ 404 h 1266"/>
                <a:gd name="T114" fmla="*/ 228 w 1266"/>
                <a:gd name="T115" fmla="*/ 414 h 1266"/>
                <a:gd name="T116" fmla="*/ 1036 w 1266"/>
                <a:gd name="T117" fmla="*/ 426 h 1266"/>
                <a:gd name="T118" fmla="*/ 1084 w 1266"/>
                <a:gd name="T119" fmla="*/ 418 h 1266"/>
                <a:gd name="T120" fmla="*/ 1084 w 1266"/>
                <a:gd name="T121" fmla="*/ 652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6" h="1266">
                  <a:moveTo>
                    <a:pt x="632" y="0"/>
                  </a:moveTo>
                  <a:lnTo>
                    <a:pt x="632" y="0"/>
                  </a:lnTo>
                  <a:lnTo>
                    <a:pt x="600" y="0"/>
                  </a:lnTo>
                  <a:lnTo>
                    <a:pt x="568" y="2"/>
                  </a:lnTo>
                  <a:lnTo>
                    <a:pt x="536" y="6"/>
                  </a:lnTo>
                  <a:lnTo>
                    <a:pt x="506" y="12"/>
                  </a:lnTo>
                  <a:lnTo>
                    <a:pt x="474" y="20"/>
                  </a:lnTo>
                  <a:lnTo>
                    <a:pt x="444" y="28"/>
                  </a:lnTo>
                  <a:lnTo>
                    <a:pt x="414" y="38"/>
                  </a:lnTo>
                  <a:lnTo>
                    <a:pt x="386" y="50"/>
                  </a:lnTo>
                  <a:lnTo>
                    <a:pt x="358" y="62"/>
                  </a:lnTo>
                  <a:lnTo>
                    <a:pt x="330" y="76"/>
                  </a:lnTo>
                  <a:lnTo>
                    <a:pt x="304" y="92"/>
                  </a:lnTo>
                  <a:lnTo>
                    <a:pt x="278" y="108"/>
                  </a:lnTo>
                  <a:lnTo>
                    <a:pt x="254" y="126"/>
                  </a:lnTo>
                  <a:lnTo>
                    <a:pt x="230" y="144"/>
                  </a:lnTo>
                  <a:lnTo>
                    <a:pt x="206" y="164"/>
                  </a:lnTo>
                  <a:lnTo>
                    <a:pt x="184" y="184"/>
                  </a:lnTo>
                  <a:lnTo>
                    <a:pt x="164" y="206"/>
                  </a:lnTo>
                  <a:lnTo>
                    <a:pt x="144" y="230"/>
                  </a:lnTo>
                  <a:lnTo>
                    <a:pt x="126" y="254"/>
                  </a:lnTo>
                  <a:lnTo>
                    <a:pt x="108" y="278"/>
                  </a:lnTo>
                  <a:lnTo>
                    <a:pt x="90" y="304"/>
                  </a:lnTo>
                  <a:lnTo>
                    <a:pt x="76" y="330"/>
                  </a:lnTo>
                  <a:lnTo>
                    <a:pt x="62" y="358"/>
                  </a:lnTo>
                  <a:lnTo>
                    <a:pt x="48" y="386"/>
                  </a:lnTo>
                  <a:lnTo>
                    <a:pt x="38" y="416"/>
                  </a:lnTo>
                  <a:lnTo>
                    <a:pt x="28" y="444"/>
                  </a:lnTo>
                  <a:lnTo>
                    <a:pt x="20" y="474"/>
                  </a:lnTo>
                  <a:lnTo>
                    <a:pt x="12" y="506"/>
                  </a:lnTo>
                  <a:lnTo>
                    <a:pt x="6" y="536"/>
                  </a:lnTo>
                  <a:lnTo>
                    <a:pt x="2" y="568"/>
                  </a:lnTo>
                  <a:lnTo>
                    <a:pt x="0" y="600"/>
                  </a:lnTo>
                  <a:lnTo>
                    <a:pt x="0" y="632"/>
                  </a:lnTo>
                  <a:lnTo>
                    <a:pt x="0" y="632"/>
                  </a:lnTo>
                  <a:lnTo>
                    <a:pt x="0" y="666"/>
                  </a:lnTo>
                  <a:lnTo>
                    <a:pt x="2" y="698"/>
                  </a:lnTo>
                  <a:lnTo>
                    <a:pt x="6" y="730"/>
                  </a:lnTo>
                  <a:lnTo>
                    <a:pt x="12" y="760"/>
                  </a:lnTo>
                  <a:lnTo>
                    <a:pt x="20" y="792"/>
                  </a:lnTo>
                  <a:lnTo>
                    <a:pt x="28" y="822"/>
                  </a:lnTo>
                  <a:lnTo>
                    <a:pt x="38" y="850"/>
                  </a:lnTo>
                  <a:lnTo>
                    <a:pt x="48" y="880"/>
                  </a:lnTo>
                  <a:lnTo>
                    <a:pt x="62" y="908"/>
                  </a:lnTo>
                  <a:lnTo>
                    <a:pt x="76" y="934"/>
                  </a:lnTo>
                  <a:lnTo>
                    <a:pt x="90" y="962"/>
                  </a:lnTo>
                  <a:lnTo>
                    <a:pt x="108" y="988"/>
                  </a:lnTo>
                  <a:lnTo>
                    <a:pt x="126" y="1012"/>
                  </a:lnTo>
                  <a:lnTo>
                    <a:pt x="144" y="1036"/>
                  </a:lnTo>
                  <a:lnTo>
                    <a:pt x="164" y="1058"/>
                  </a:lnTo>
                  <a:lnTo>
                    <a:pt x="184" y="1080"/>
                  </a:lnTo>
                  <a:lnTo>
                    <a:pt x="206" y="1102"/>
                  </a:lnTo>
                  <a:lnTo>
                    <a:pt x="230" y="1122"/>
                  </a:lnTo>
                  <a:lnTo>
                    <a:pt x="254" y="1140"/>
                  </a:lnTo>
                  <a:lnTo>
                    <a:pt x="278" y="1158"/>
                  </a:lnTo>
                  <a:lnTo>
                    <a:pt x="304" y="1174"/>
                  </a:lnTo>
                  <a:lnTo>
                    <a:pt x="330" y="1190"/>
                  </a:lnTo>
                  <a:lnTo>
                    <a:pt x="358" y="1204"/>
                  </a:lnTo>
                  <a:lnTo>
                    <a:pt x="386" y="1216"/>
                  </a:lnTo>
                  <a:lnTo>
                    <a:pt x="414" y="1228"/>
                  </a:lnTo>
                  <a:lnTo>
                    <a:pt x="444" y="1238"/>
                  </a:lnTo>
                  <a:lnTo>
                    <a:pt x="474" y="1246"/>
                  </a:lnTo>
                  <a:lnTo>
                    <a:pt x="506" y="1254"/>
                  </a:lnTo>
                  <a:lnTo>
                    <a:pt x="536" y="1260"/>
                  </a:lnTo>
                  <a:lnTo>
                    <a:pt x="568" y="1264"/>
                  </a:lnTo>
                  <a:lnTo>
                    <a:pt x="600" y="1266"/>
                  </a:lnTo>
                  <a:lnTo>
                    <a:pt x="632" y="1266"/>
                  </a:lnTo>
                  <a:lnTo>
                    <a:pt x="632" y="1266"/>
                  </a:lnTo>
                  <a:lnTo>
                    <a:pt x="666" y="1266"/>
                  </a:lnTo>
                  <a:lnTo>
                    <a:pt x="698" y="1264"/>
                  </a:lnTo>
                  <a:lnTo>
                    <a:pt x="730" y="1260"/>
                  </a:lnTo>
                  <a:lnTo>
                    <a:pt x="760" y="1254"/>
                  </a:lnTo>
                  <a:lnTo>
                    <a:pt x="792" y="1246"/>
                  </a:lnTo>
                  <a:lnTo>
                    <a:pt x="822" y="1238"/>
                  </a:lnTo>
                  <a:lnTo>
                    <a:pt x="850" y="1228"/>
                  </a:lnTo>
                  <a:lnTo>
                    <a:pt x="880" y="1216"/>
                  </a:lnTo>
                  <a:lnTo>
                    <a:pt x="908" y="1204"/>
                  </a:lnTo>
                  <a:lnTo>
                    <a:pt x="934" y="1190"/>
                  </a:lnTo>
                  <a:lnTo>
                    <a:pt x="962" y="1174"/>
                  </a:lnTo>
                  <a:lnTo>
                    <a:pt x="988" y="1158"/>
                  </a:lnTo>
                  <a:lnTo>
                    <a:pt x="1012" y="1140"/>
                  </a:lnTo>
                  <a:lnTo>
                    <a:pt x="1036" y="1122"/>
                  </a:lnTo>
                  <a:lnTo>
                    <a:pt x="1058" y="1102"/>
                  </a:lnTo>
                  <a:lnTo>
                    <a:pt x="1080" y="1080"/>
                  </a:lnTo>
                  <a:lnTo>
                    <a:pt x="1102" y="1058"/>
                  </a:lnTo>
                  <a:lnTo>
                    <a:pt x="1122" y="1036"/>
                  </a:lnTo>
                  <a:lnTo>
                    <a:pt x="1140" y="1012"/>
                  </a:lnTo>
                  <a:lnTo>
                    <a:pt x="1158" y="988"/>
                  </a:lnTo>
                  <a:lnTo>
                    <a:pt x="1174" y="962"/>
                  </a:lnTo>
                  <a:lnTo>
                    <a:pt x="1190" y="934"/>
                  </a:lnTo>
                  <a:lnTo>
                    <a:pt x="1204" y="908"/>
                  </a:lnTo>
                  <a:lnTo>
                    <a:pt x="1216" y="880"/>
                  </a:lnTo>
                  <a:lnTo>
                    <a:pt x="1228" y="850"/>
                  </a:lnTo>
                  <a:lnTo>
                    <a:pt x="1238" y="822"/>
                  </a:lnTo>
                  <a:lnTo>
                    <a:pt x="1246" y="792"/>
                  </a:lnTo>
                  <a:lnTo>
                    <a:pt x="1254" y="760"/>
                  </a:lnTo>
                  <a:lnTo>
                    <a:pt x="1260" y="730"/>
                  </a:lnTo>
                  <a:lnTo>
                    <a:pt x="1264" y="698"/>
                  </a:lnTo>
                  <a:lnTo>
                    <a:pt x="1266" y="666"/>
                  </a:lnTo>
                  <a:lnTo>
                    <a:pt x="1266" y="632"/>
                  </a:lnTo>
                  <a:lnTo>
                    <a:pt x="1266" y="632"/>
                  </a:lnTo>
                  <a:lnTo>
                    <a:pt x="1266" y="600"/>
                  </a:lnTo>
                  <a:lnTo>
                    <a:pt x="1264" y="568"/>
                  </a:lnTo>
                  <a:lnTo>
                    <a:pt x="1260" y="536"/>
                  </a:lnTo>
                  <a:lnTo>
                    <a:pt x="1254" y="506"/>
                  </a:lnTo>
                  <a:lnTo>
                    <a:pt x="1246" y="474"/>
                  </a:lnTo>
                  <a:lnTo>
                    <a:pt x="1238" y="444"/>
                  </a:lnTo>
                  <a:lnTo>
                    <a:pt x="1228" y="416"/>
                  </a:lnTo>
                  <a:lnTo>
                    <a:pt x="1216" y="386"/>
                  </a:lnTo>
                  <a:lnTo>
                    <a:pt x="1204" y="358"/>
                  </a:lnTo>
                  <a:lnTo>
                    <a:pt x="1190" y="330"/>
                  </a:lnTo>
                  <a:lnTo>
                    <a:pt x="1174" y="304"/>
                  </a:lnTo>
                  <a:lnTo>
                    <a:pt x="1158" y="278"/>
                  </a:lnTo>
                  <a:lnTo>
                    <a:pt x="1140" y="254"/>
                  </a:lnTo>
                  <a:lnTo>
                    <a:pt x="1122" y="230"/>
                  </a:lnTo>
                  <a:lnTo>
                    <a:pt x="1102" y="206"/>
                  </a:lnTo>
                  <a:lnTo>
                    <a:pt x="1080" y="184"/>
                  </a:lnTo>
                  <a:lnTo>
                    <a:pt x="1058" y="164"/>
                  </a:lnTo>
                  <a:lnTo>
                    <a:pt x="1036" y="144"/>
                  </a:lnTo>
                  <a:lnTo>
                    <a:pt x="1012" y="126"/>
                  </a:lnTo>
                  <a:lnTo>
                    <a:pt x="988" y="108"/>
                  </a:lnTo>
                  <a:lnTo>
                    <a:pt x="962" y="92"/>
                  </a:lnTo>
                  <a:lnTo>
                    <a:pt x="934" y="76"/>
                  </a:lnTo>
                  <a:lnTo>
                    <a:pt x="908" y="62"/>
                  </a:lnTo>
                  <a:lnTo>
                    <a:pt x="880" y="50"/>
                  </a:lnTo>
                  <a:lnTo>
                    <a:pt x="850" y="38"/>
                  </a:lnTo>
                  <a:lnTo>
                    <a:pt x="822" y="28"/>
                  </a:lnTo>
                  <a:lnTo>
                    <a:pt x="792" y="20"/>
                  </a:lnTo>
                  <a:lnTo>
                    <a:pt x="760" y="12"/>
                  </a:lnTo>
                  <a:lnTo>
                    <a:pt x="730" y="6"/>
                  </a:lnTo>
                  <a:lnTo>
                    <a:pt x="698" y="2"/>
                  </a:lnTo>
                  <a:lnTo>
                    <a:pt x="666" y="0"/>
                  </a:lnTo>
                  <a:lnTo>
                    <a:pt x="632" y="0"/>
                  </a:lnTo>
                  <a:lnTo>
                    <a:pt x="632" y="0"/>
                  </a:lnTo>
                  <a:close/>
                  <a:moveTo>
                    <a:pt x="636" y="174"/>
                  </a:moveTo>
                  <a:lnTo>
                    <a:pt x="636" y="174"/>
                  </a:lnTo>
                  <a:lnTo>
                    <a:pt x="666" y="176"/>
                  </a:lnTo>
                  <a:lnTo>
                    <a:pt x="698" y="180"/>
                  </a:lnTo>
                  <a:lnTo>
                    <a:pt x="726" y="188"/>
                  </a:lnTo>
                  <a:lnTo>
                    <a:pt x="756" y="198"/>
                  </a:lnTo>
                  <a:lnTo>
                    <a:pt x="782" y="212"/>
                  </a:lnTo>
                  <a:lnTo>
                    <a:pt x="808" y="228"/>
                  </a:lnTo>
                  <a:lnTo>
                    <a:pt x="832" y="244"/>
                  </a:lnTo>
                  <a:lnTo>
                    <a:pt x="854" y="264"/>
                  </a:lnTo>
                  <a:lnTo>
                    <a:pt x="874" y="286"/>
                  </a:lnTo>
                  <a:lnTo>
                    <a:pt x="892" y="310"/>
                  </a:lnTo>
                  <a:lnTo>
                    <a:pt x="906" y="336"/>
                  </a:lnTo>
                  <a:lnTo>
                    <a:pt x="920" y="362"/>
                  </a:lnTo>
                  <a:lnTo>
                    <a:pt x="930" y="392"/>
                  </a:lnTo>
                  <a:lnTo>
                    <a:pt x="938" y="420"/>
                  </a:lnTo>
                  <a:lnTo>
                    <a:pt x="942" y="452"/>
                  </a:lnTo>
                  <a:lnTo>
                    <a:pt x="944" y="482"/>
                  </a:lnTo>
                  <a:lnTo>
                    <a:pt x="944" y="482"/>
                  </a:lnTo>
                  <a:lnTo>
                    <a:pt x="944" y="488"/>
                  </a:lnTo>
                  <a:lnTo>
                    <a:pt x="942" y="494"/>
                  </a:lnTo>
                  <a:lnTo>
                    <a:pt x="936" y="504"/>
                  </a:lnTo>
                  <a:lnTo>
                    <a:pt x="926" y="510"/>
                  </a:lnTo>
                  <a:lnTo>
                    <a:pt x="920" y="512"/>
                  </a:lnTo>
                  <a:lnTo>
                    <a:pt x="914" y="512"/>
                  </a:lnTo>
                  <a:lnTo>
                    <a:pt x="914" y="512"/>
                  </a:lnTo>
                  <a:lnTo>
                    <a:pt x="908" y="512"/>
                  </a:lnTo>
                  <a:lnTo>
                    <a:pt x="904" y="510"/>
                  </a:lnTo>
                  <a:lnTo>
                    <a:pt x="894" y="504"/>
                  </a:lnTo>
                  <a:lnTo>
                    <a:pt x="888" y="494"/>
                  </a:lnTo>
                  <a:lnTo>
                    <a:pt x="886" y="488"/>
                  </a:lnTo>
                  <a:lnTo>
                    <a:pt x="886" y="482"/>
                  </a:lnTo>
                  <a:lnTo>
                    <a:pt x="886" y="482"/>
                  </a:lnTo>
                  <a:lnTo>
                    <a:pt x="884" y="458"/>
                  </a:lnTo>
                  <a:lnTo>
                    <a:pt x="880" y="432"/>
                  </a:lnTo>
                  <a:lnTo>
                    <a:pt x="874" y="408"/>
                  </a:lnTo>
                  <a:lnTo>
                    <a:pt x="866" y="386"/>
                  </a:lnTo>
                  <a:lnTo>
                    <a:pt x="854" y="364"/>
                  </a:lnTo>
                  <a:lnTo>
                    <a:pt x="842" y="344"/>
                  </a:lnTo>
                  <a:lnTo>
                    <a:pt x="828" y="324"/>
                  </a:lnTo>
                  <a:lnTo>
                    <a:pt x="812" y="306"/>
                  </a:lnTo>
                  <a:lnTo>
                    <a:pt x="794" y="290"/>
                  </a:lnTo>
                  <a:lnTo>
                    <a:pt x="774" y="276"/>
                  </a:lnTo>
                  <a:lnTo>
                    <a:pt x="754" y="264"/>
                  </a:lnTo>
                  <a:lnTo>
                    <a:pt x="732" y="252"/>
                  </a:lnTo>
                  <a:lnTo>
                    <a:pt x="710" y="244"/>
                  </a:lnTo>
                  <a:lnTo>
                    <a:pt x="686" y="238"/>
                  </a:lnTo>
                  <a:lnTo>
                    <a:pt x="660" y="234"/>
                  </a:lnTo>
                  <a:lnTo>
                    <a:pt x="636" y="234"/>
                  </a:lnTo>
                  <a:lnTo>
                    <a:pt x="636" y="234"/>
                  </a:lnTo>
                  <a:lnTo>
                    <a:pt x="610" y="234"/>
                  </a:lnTo>
                  <a:lnTo>
                    <a:pt x="584" y="238"/>
                  </a:lnTo>
                  <a:lnTo>
                    <a:pt x="560" y="244"/>
                  </a:lnTo>
                  <a:lnTo>
                    <a:pt x="538" y="252"/>
                  </a:lnTo>
                  <a:lnTo>
                    <a:pt x="516" y="264"/>
                  </a:lnTo>
                  <a:lnTo>
                    <a:pt x="496" y="276"/>
                  </a:lnTo>
                  <a:lnTo>
                    <a:pt x="476" y="290"/>
                  </a:lnTo>
                  <a:lnTo>
                    <a:pt x="458" y="306"/>
                  </a:lnTo>
                  <a:lnTo>
                    <a:pt x="442" y="324"/>
                  </a:lnTo>
                  <a:lnTo>
                    <a:pt x="428" y="344"/>
                  </a:lnTo>
                  <a:lnTo>
                    <a:pt x="416" y="364"/>
                  </a:lnTo>
                  <a:lnTo>
                    <a:pt x="404" y="386"/>
                  </a:lnTo>
                  <a:lnTo>
                    <a:pt x="396" y="408"/>
                  </a:lnTo>
                  <a:lnTo>
                    <a:pt x="390" y="432"/>
                  </a:lnTo>
                  <a:lnTo>
                    <a:pt x="386" y="458"/>
                  </a:lnTo>
                  <a:lnTo>
                    <a:pt x="386" y="482"/>
                  </a:lnTo>
                  <a:lnTo>
                    <a:pt x="386" y="482"/>
                  </a:lnTo>
                  <a:lnTo>
                    <a:pt x="384" y="488"/>
                  </a:lnTo>
                  <a:lnTo>
                    <a:pt x="382" y="494"/>
                  </a:lnTo>
                  <a:lnTo>
                    <a:pt x="376" y="504"/>
                  </a:lnTo>
                  <a:lnTo>
                    <a:pt x="368" y="510"/>
                  </a:lnTo>
                  <a:lnTo>
                    <a:pt x="362" y="512"/>
                  </a:lnTo>
                  <a:lnTo>
                    <a:pt x="356" y="512"/>
                  </a:lnTo>
                  <a:lnTo>
                    <a:pt x="356" y="512"/>
                  </a:lnTo>
                  <a:lnTo>
                    <a:pt x="350" y="512"/>
                  </a:lnTo>
                  <a:lnTo>
                    <a:pt x="344" y="510"/>
                  </a:lnTo>
                  <a:lnTo>
                    <a:pt x="336" y="504"/>
                  </a:lnTo>
                  <a:lnTo>
                    <a:pt x="328" y="494"/>
                  </a:lnTo>
                  <a:lnTo>
                    <a:pt x="328" y="488"/>
                  </a:lnTo>
                  <a:lnTo>
                    <a:pt x="326" y="482"/>
                  </a:lnTo>
                  <a:lnTo>
                    <a:pt x="326" y="482"/>
                  </a:lnTo>
                  <a:lnTo>
                    <a:pt x="328" y="452"/>
                  </a:lnTo>
                  <a:lnTo>
                    <a:pt x="332" y="420"/>
                  </a:lnTo>
                  <a:lnTo>
                    <a:pt x="340" y="392"/>
                  </a:lnTo>
                  <a:lnTo>
                    <a:pt x="350" y="362"/>
                  </a:lnTo>
                  <a:lnTo>
                    <a:pt x="364" y="336"/>
                  </a:lnTo>
                  <a:lnTo>
                    <a:pt x="380" y="310"/>
                  </a:lnTo>
                  <a:lnTo>
                    <a:pt x="396" y="286"/>
                  </a:lnTo>
                  <a:lnTo>
                    <a:pt x="416" y="264"/>
                  </a:lnTo>
                  <a:lnTo>
                    <a:pt x="438" y="244"/>
                  </a:lnTo>
                  <a:lnTo>
                    <a:pt x="462" y="228"/>
                  </a:lnTo>
                  <a:lnTo>
                    <a:pt x="488" y="212"/>
                  </a:lnTo>
                  <a:lnTo>
                    <a:pt x="516" y="198"/>
                  </a:lnTo>
                  <a:lnTo>
                    <a:pt x="544" y="188"/>
                  </a:lnTo>
                  <a:lnTo>
                    <a:pt x="572" y="180"/>
                  </a:lnTo>
                  <a:lnTo>
                    <a:pt x="604" y="176"/>
                  </a:lnTo>
                  <a:lnTo>
                    <a:pt x="636" y="174"/>
                  </a:lnTo>
                  <a:lnTo>
                    <a:pt x="636" y="174"/>
                  </a:lnTo>
                  <a:close/>
                  <a:moveTo>
                    <a:pt x="846" y="408"/>
                  </a:moveTo>
                  <a:lnTo>
                    <a:pt x="846" y="408"/>
                  </a:lnTo>
                  <a:lnTo>
                    <a:pt x="844" y="428"/>
                  </a:lnTo>
                  <a:lnTo>
                    <a:pt x="838" y="448"/>
                  </a:lnTo>
                  <a:lnTo>
                    <a:pt x="828" y="466"/>
                  </a:lnTo>
                  <a:lnTo>
                    <a:pt x="814" y="482"/>
                  </a:lnTo>
                  <a:lnTo>
                    <a:pt x="800" y="494"/>
                  </a:lnTo>
                  <a:lnTo>
                    <a:pt x="782" y="504"/>
                  </a:lnTo>
                  <a:lnTo>
                    <a:pt x="762" y="510"/>
                  </a:lnTo>
                  <a:lnTo>
                    <a:pt x="740" y="512"/>
                  </a:lnTo>
                  <a:lnTo>
                    <a:pt x="740" y="512"/>
                  </a:lnTo>
                  <a:lnTo>
                    <a:pt x="720" y="510"/>
                  </a:lnTo>
                  <a:lnTo>
                    <a:pt x="700" y="504"/>
                  </a:lnTo>
                  <a:lnTo>
                    <a:pt x="682" y="494"/>
                  </a:lnTo>
                  <a:lnTo>
                    <a:pt x="666" y="482"/>
                  </a:lnTo>
                  <a:lnTo>
                    <a:pt x="654" y="466"/>
                  </a:lnTo>
                  <a:lnTo>
                    <a:pt x="644" y="448"/>
                  </a:lnTo>
                  <a:lnTo>
                    <a:pt x="638" y="428"/>
                  </a:lnTo>
                  <a:lnTo>
                    <a:pt x="636" y="408"/>
                  </a:lnTo>
                  <a:lnTo>
                    <a:pt x="636" y="408"/>
                  </a:lnTo>
                  <a:lnTo>
                    <a:pt x="638" y="386"/>
                  </a:lnTo>
                  <a:lnTo>
                    <a:pt x="644" y="368"/>
                  </a:lnTo>
                  <a:lnTo>
                    <a:pt x="654" y="350"/>
                  </a:lnTo>
                  <a:lnTo>
                    <a:pt x="666" y="334"/>
                  </a:lnTo>
                  <a:lnTo>
                    <a:pt x="682" y="322"/>
                  </a:lnTo>
                  <a:lnTo>
                    <a:pt x="700" y="312"/>
                  </a:lnTo>
                  <a:lnTo>
                    <a:pt x="720" y="306"/>
                  </a:lnTo>
                  <a:lnTo>
                    <a:pt x="740" y="304"/>
                  </a:lnTo>
                  <a:lnTo>
                    <a:pt x="740" y="304"/>
                  </a:lnTo>
                  <a:lnTo>
                    <a:pt x="762" y="306"/>
                  </a:lnTo>
                  <a:lnTo>
                    <a:pt x="782" y="312"/>
                  </a:lnTo>
                  <a:lnTo>
                    <a:pt x="800" y="322"/>
                  </a:lnTo>
                  <a:lnTo>
                    <a:pt x="814" y="334"/>
                  </a:lnTo>
                  <a:lnTo>
                    <a:pt x="828" y="350"/>
                  </a:lnTo>
                  <a:lnTo>
                    <a:pt x="838" y="368"/>
                  </a:lnTo>
                  <a:lnTo>
                    <a:pt x="844" y="386"/>
                  </a:lnTo>
                  <a:lnTo>
                    <a:pt x="846" y="408"/>
                  </a:lnTo>
                  <a:lnTo>
                    <a:pt x="846" y="408"/>
                  </a:lnTo>
                  <a:close/>
                  <a:moveTo>
                    <a:pt x="626" y="408"/>
                  </a:moveTo>
                  <a:lnTo>
                    <a:pt x="626" y="408"/>
                  </a:lnTo>
                  <a:lnTo>
                    <a:pt x="624" y="428"/>
                  </a:lnTo>
                  <a:lnTo>
                    <a:pt x="618" y="448"/>
                  </a:lnTo>
                  <a:lnTo>
                    <a:pt x="608" y="466"/>
                  </a:lnTo>
                  <a:lnTo>
                    <a:pt x="596" y="482"/>
                  </a:lnTo>
                  <a:lnTo>
                    <a:pt x="580" y="494"/>
                  </a:lnTo>
                  <a:lnTo>
                    <a:pt x="562" y="504"/>
                  </a:lnTo>
                  <a:lnTo>
                    <a:pt x="544" y="510"/>
                  </a:lnTo>
                  <a:lnTo>
                    <a:pt x="522" y="512"/>
                  </a:lnTo>
                  <a:lnTo>
                    <a:pt x="522" y="512"/>
                  </a:lnTo>
                  <a:lnTo>
                    <a:pt x="502" y="510"/>
                  </a:lnTo>
                  <a:lnTo>
                    <a:pt x="482" y="504"/>
                  </a:lnTo>
                  <a:lnTo>
                    <a:pt x="464" y="494"/>
                  </a:lnTo>
                  <a:lnTo>
                    <a:pt x="448" y="482"/>
                  </a:lnTo>
                  <a:lnTo>
                    <a:pt x="436" y="466"/>
                  </a:lnTo>
                  <a:lnTo>
                    <a:pt x="426" y="448"/>
                  </a:lnTo>
                  <a:lnTo>
                    <a:pt x="420" y="428"/>
                  </a:lnTo>
                  <a:lnTo>
                    <a:pt x="418" y="408"/>
                  </a:lnTo>
                  <a:lnTo>
                    <a:pt x="418" y="408"/>
                  </a:lnTo>
                  <a:lnTo>
                    <a:pt x="420" y="386"/>
                  </a:lnTo>
                  <a:lnTo>
                    <a:pt x="426" y="368"/>
                  </a:lnTo>
                  <a:lnTo>
                    <a:pt x="436" y="350"/>
                  </a:lnTo>
                  <a:lnTo>
                    <a:pt x="448" y="334"/>
                  </a:lnTo>
                  <a:lnTo>
                    <a:pt x="464" y="322"/>
                  </a:lnTo>
                  <a:lnTo>
                    <a:pt x="482" y="312"/>
                  </a:lnTo>
                  <a:lnTo>
                    <a:pt x="502" y="306"/>
                  </a:lnTo>
                  <a:lnTo>
                    <a:pt x="522" y="304"/>
                  </a:lnTo>
                  <a:lnTo>
                    <a:pt x="522" y="304"/>
                  </a:lnTo>
                  <a:lnTo>
                    <a:pt x="544" y="306"/>
                  </a:lnTo>
                  <a:lnTo>
                    <a:pt x="562" y="312"/>
                  </a:lnTo>
                  <a:lnTo>
                    <a:pt x="580" y="322"/>
                  </a:lnTo>
                  <a:lnTo>
                    <a:pt x="596" y="334"/>
                  </a:lnTo>
                  <a:lnTo>
                    <a:pt x="608" y="350"/>
                  </a:lnTo>
                  <a:lnTo>
                    <a:pt x="618" y="368"/>
                  </a:lnTo>
                  <a:lnTo>
                    <a:pt x="624" y="386"/>
                  </a:lnTo>
                  <a:lnTo>
                    <a:pt x="626" y="408"/>
                  </a:lnTo>
                  <a:lnTo>
                    <a:pt x="626" y="408"/>
                  </a:lnTo>
                  <a:close/>
                  <a:moveTo>
                    <a:pt x="356" y="526"/>
                  </a:moveTo>
                  <a:lnTo>
                    <a:pt x="914" y="526"/>
                  </a:lnTo>
                  <a:lnTo>
                    <a:pt x="914" y="526"/>
                  </a:lnTo>
                  <a:lnTo>
                    <a:pt x="920" y="526"/>
                  </a:lnTo>
                  <a:lnTo>
                    <a:pt x="926" y="528"/>
                  </a:lnTo>
                  <a:lnTo>
                    <a:pt x="936" y="534"/>
                  </a:lnTo>
                  <a:lnTo>
                    <a:pt x="942" y="544"/>
                  </a:lnTo>
                  <a:lnTo>
                    <a:pt x="944" y="548"/>
                  </a:lnTo>
                  <a:lnTo>
                    <a:pt x="944" y="554"/>
                  </a:lnTo>
                  <a:lnTo>
                    <a:pt x="944" y="554"/>
                  </a:lnTo>
                  <a:lnTo>
                    <a:pt x="944" y="560"/>
                  </a:lnTo>
                  <a:lnTo>
                    <a:pt x="942" y="566"/>
                  </a:lnTo>
                  <a:lnTo>
                    <a:pt x="936" y="576"/>
                  </a:lnTo>
                  <a:lnTo>
                    <a:pt x="926" y="582"/>
                  </a:lnTo>
                  <a:lnTo>
                    <a:pt x="920" y="584"/>
                  </a:lnTo>
                  <a:lnTo>
                    <a:pt x="914" y="584"/>
                  </a:lnTo>
                  <a:lnTo>
                    <a:pt x="356" y="584"/>
                  </a:lnTo>
                  <a:lnTo>
                    <a:pt x="356" y="584"/>
                  </a:lnTo>
                  <a:lnTo>
                    <a:pt x="350" y="584"/>
                  </a:lnTo>
                  <a:lnTo>
                    <a:pt x="344" y="582"/>
                  </a:lnTo>
                  <a:lnTo>
                    <a:pt x="336" y="576"/>
                  </a:lnTo>
                  <a:lnTo>
                    <a:pt x="328" y="566"/>
                  </a:lnTo>
                  <a:lnTo>
                    <a:pt x="328" y="560"/>
                  </a:lnTo>
                  <a:lnTo>
                    <a:pt x="326" y="554"/>
                  </a:lnTo>
                  <a:lnTo>
                    <a:pt x="326" y="554"/>
                  </a:lnTo>
                  <a:lnTo>
                    <a:pt x="328" y="548"/>
                  </a:lnTo>
                  <a:lnTo>
                    <a:pt x="328" y="544"/>
                  </a:lnTo>
                  <a:lnTo>
                    <a:pt x="336" y="534"/>
                  </a:lnTo>
                  <a:lnTo>
                    <a:pt x="344" y="528"/>
                  </a:lnTo>
                  <a:lnTo>
                    <a:pt x="350" y="526"/>
                  </a:lnTo>
                  <a:lnTo>
                    <a:pt x="356" y="526"/>
                  </a:lnTo>
                  <a:lnTo>
                    <a:pt x="356" y="526"/>
                  </a:lnTo>
                  <a:close/>
                  <a:moveTo>
                    <a:pt x="438" y="1022"/>
                  </a:moveTo>
                  <a:lnTo>
                    <a:pt x="438" y="1022"/>
                  </a:lnTo>
                  <a:lnTo>
                    <a:pt x="436" y="1028"/>
                  </a:lnTo>
                  <a:lnTo>
                    <a:pt x="436" y="1034"/>
                  </a:lnTo>
                  <a:lnTo>
                    <a:pt x="428" y="1042"/>
                  </a:lnTo>
                  <a:lnTo>
                    <a:pt x="420" y="1050"/>
                  </a:lnTo>
                  <a:lnTo>
                    <a:pt x="414" y="1050"/>
                  </a:lnTo>
                  <a:lnTo>
                    <a:pt x="408" y="1052"/>
                  </a:lnTo>
                  <a:lnTo>
                    <a:pt x="326" y="1052"/>
                  </a:lnTo>
                  <a:lnTo>
                    <a:pt x="326" y="1052"/>
                  </a:lnTo>
                  <a:lnTo>
                    <a:pt x="320" y="1050"/>
                  </a:lnTo>
                  <a:lnTo>
                    <a:pt x="314" y="1050"/>
                  </a:lnTo>
                  <a:lnTo>
                    <a:pt x="304" y="1042"/>
                  </a:lnTo>
                  <a:lnTo>
                    <a:pt x="298" y="1034"/>
                  </a:lnTo>
                  <a:lnTo>
                    <a:pt x="296" y="1028"/>
                  </a:lnTo>
                  <a:lnTo>
                    <a:pt x="296" y="1022"/>
                  </a:lnTo>
                  <a:lnTo>
                    <a:pt x="296" y="862"/>
                  </a:lnTo>
                  <a:lnTo>
                    <a:pt x="296" y="862"/>
                  </a:lnTo>
                  <a:lnTo>
                    <a:pt x="296" y="856"/>
                  </a:lnTo>
                  <a:lnTo>
                    <a:pt x="298" y="850"/>
                  </a:lnTo>
                  <a:lnTo>
                    <a:pt x="304" y="842"/>
                  </a:lnTo>
                  <a:lnTo>
                    <a:pt x="314" y="836"/>
                  </a:lnTo>
                  <a:lnTo>
                    <a:pt x="320" y="834"/>
                  </a:lnTo>
                  <a:lnTo>
                    <a:pt x="326" y="832"/>
                  </a:lnTo>
                  <a:lnTo>
                    <a:pt x="408" y="832"/>
                  </a:lnTo>
                  <a:lnTo>
                    <a:pt x="408" y="832"/>
                  </a:lnTo>
                  <a:lnTo>
                    <a:pt x="414" y="834"/>
                  </a:lnTo>
                  <a:lnTo>
                    <a:pt x="420" y="836"/>
                  </a:lnTo>
                  <a:lnTo>
                    <a:pt x="428" y="842"/>
                  </a:lnTo>
                  <a:lnTo>
                    <a:pt x="436" y="850"/>
                  </a:lnTo>
                  <a:lnTo>
                    <a:pt x="436" y="856"/>
                  </a:lnTo>
                  <a:lnTo>
                    <a:pt x="438" y="862"/>
                  </a:lnTo>
                  <a:lnTo>
                    <a:pt x="438" y="1022"/>
                  </a:lnTo>
                  <a:close/>
                  <a:moveTo>
                    <a:pt x="974" y="1014"/>
                  </a:moveTo>
                  <a:lnTo>
                    <a:pt x="974" y="1014"/>
                  </a:lnTo>
                  <a:lnTo>
                    <a:pt x="974" y="1020"/>
                  </a:lnTo>
                  <a:lnTo>
                    <a:pt x="972" y="1026"/>
                  </a:lnTo>
                  <a:lnTo>
                    <a:pt x="966" y="1036"/>
                  </a:lnTo>
                  <a:lnTo>
                    <a:pt x="956" y="1042"/>
                  </a:lnTo>
                  <a:lnTo>
                    <a:pt x="950" y="1044"/>
                  </a:lnTo>
                  <a:lnTo>
                    <a:pt x="944" y="1044"/>
                  </a:lnTo>
                  <a:lnTo>
                    <a:pt x="862" y="1044"/>
                  </a:lnTo>
                  <a:lnTo>
                    <a:pt x="862" y="1044"/>
                  </a:lnTo>
                  <a:lnTo>
                    <a:pt x="856" y="1044"/>
                  </a:lnTo>
                  <a:lnTo>
                    <a:pt x="850" y="1042"/>
                  </a:lnTo>
                  <a:lnTo>
                    <a:pt x="842" y="1036"/>
                  </a:lnTo>
                  <a:lnTo>
                    <a:pt x="836" y="1026"/>
                  </a:lnTo>
                  <a:lnTo>
                    <a:pt x="834" y="1020"/>
                  </a:lnTo>
                  <a:lnTo>
                    <a:pt x="832" y="1014"/>
                  </a:lnTo>
                  <a:lnTo>
                    <a:pt x="832" y="854"/>
                  </a:lnTo>
                  <a:lnTo>
                    <a:pt x="832" y="854"/>
                  </a:lnTo>
                  <a:lnTo>
                    <a:pt x="834" y="848"/>
                  </a:lnTo>
                  <a:lnTo>
                    <a:pt x="836" y="844"/>
                  </a:lnTo>
                  <a:lnTo>
                    <a:pt x="842" y="834"/>
                  </a:lnTo>
                  <a:lnTo>
                    <a:pt x="850" y="828"/>
                  </a:lnTo>
                  <a:lnTo>
                    <a:pt x="856" y="826"/>
                  </a:lnTo>
                  <a:lnTo>
                    <a:pt x="862" y="826"/>
                  </a:lnTo>
                  <a:lnTo>
                    <a:pt x="944" y="826"/>
                  </a:lnTo>
                  <a:lnTo>
                    <a:pt x="944" y="826"/>
                  </a:lnTo>
                  <a:lnTo>
                    <a:pt x="950" y="826"/>
                  </a:lnTo>
                  <a:lnTo>
                    <a:pt x="956" y="828"/>
                  </a:lnTo>
                  <a:lnTo>
                    <a:pt x="966" y="834"/>
                  </a:lnTo>
                  <a:lnTo>
                    <a:pt x="972" y="844"/>
                  </a:lnTo>
                  <a:lnTo>
                    <a:pt x="974" y="848"/>
                  </a:lnTo>
                  <a:lnTo>
                    <a:pt x="974" y="854"/>
                  </a:lnTo>
                  <a:lnTo>
                    <a:pt x="974" y="1014"/>
                  </a:lnTo>
                  <a:close/>
                  <a:moveTo>
                    <a:pt x="1064" y="660"/>
                  </a:moveTo>
                  <a:lnTo>
                    <a:pt x="944" y="660"/>
                  </a:lnTo>
                  <a:lnTo>
                    <a:pt x="944" y="790"/>
                  </a:lnTo>
                  <a:lnTo>
                    <a:pt x="944" y="790"/>
                  </a:lnTo>
                  <a:lnTo>
                    <a:pt x="944" y="796"/>
                  </a:lnTo>
                  <a:lnTo>
                    <a:pt x="942" y="802"/>
                  </a:lnTo>
                  <a:lnTo>
                    <a:pt x="936" y="812"/>
                  </a:lnTo>
                  <a:lnTo>
                    <a:pt x="926" y="818"/>
                  </a:lnTo>
                  <a:lnTo>
                    <a:pt x="920" y="820"/>
                  </a:lnTo>
                  <a:lnTo>
                    <a:pt x="914" y="820"/>
                  </a:lnTo>
                  <a:lnTo>
                    <a:pt x="824" y="820"/>
                  </a:lnTo>
                  <a:lnTo>
                    <a:pt x="824" y="912"/>
                  </a:lnTo>
                  <a:lnTo>
                    <a:pt x="824" y="912"/>
                  </a:lnTo>
                  <a:lnTo>
                    <a:pt x="822" y="918"/>
                  </a:lnTo>
                  <a:lnTo>
                    <a:pt x="822" y="924"/>
                  </a:lnTo>
                  <a:lnTo>
                    <a:pt x="814" y="934"/>
                  </a:lnTo>
                  <a:lnTo>
                    <a:pt x="806" y="940"/>
                  </a:lnTo>
                  <a:lnTo>
                    <a:pt x="800" y="942"/>
                  </a:lnTo>
                  <a:lnTo>
                    <a:pt x="794" y="942"/>
                  </a:lnTo>
                  <a:lnTo>
                    <a:pt x="476" y="942"/>
                  </a:lnTo>
                  <a:lnTo>
                    <a:pt x="476" y="942"/>
                  </a:lnTo>
                  <a:lnTo>
                    <a:pt x="470" y="942"/>
                  </a:lnTo>
                  <a:lnTo>
                    <a:pt x="464" y="940"/>
                  </a:lnTo>
                  <a:lnTo>
                    <a:pt x="456" y="934"/>
                  </a:lnTo>
                  <a:lnTo>
                    <a:pt x="450" y="924"/>
                  </a:lnTo>
                  <a:lnTo>
                    <a:pt x="448" y="918"/>
                  </a:lnTo>
                  <a:lnTo>
                    <a:pt x="446" y="912"/>
                  </a:lnTo>
                  <a:lnTo>
                    <a:pt x="446" y="820"/>
                  </a:lnTo>
                  <a:lnTo>
                    <a:pt x="356" y="820"/>
                  </a:lnTo>
                  <a:lnTo>
                    <a:pt x="356" y="820"/>
                  </a:lnTo>
                  <a:lnTo>
                    <a:pt x="350" y="820"/>
                  </a:lnTo>
                  <a:lnTo>
                    <a:pt x="344" y="818"/>
                  </a:lnTo>
                  <a:lnTo>
                    <a:pt x="336" y="812"/>
                  </a:lnTo>
                  <a:lnTo>
                    <a:pt x="328" y="802"/>
                  </a:lnTo>
                  <a:lnTo>
                    <a:pt x="328" y="796"/>
                  </a:lnTo>
                  <a:lnTo>
                    <a:pt x="326" y="790"/>
                  </a:lnTo>
                  <a:lnTo>
                    <a:pt x="326" y="660"/>
                  </a:lnTo>
                  <a:lnTo>
                    <a:pt x="202" y="660"/>
                  </a:lnTo>
                  <a:lnTo>
                    <a:pt x="202" y="660"/>
                  </a:lnTo>
                  <a:lnTo>
                    <a:pt x="196" y="660"/>
                  </a:lnTo>
                  <a:lnTo>
                    <a:pt x="190" y="658"/>
                  </a:lnTo>
                  <a:lnTo>
                    <a:pt x="182" y="652"/>
                  </a:lnTo>
                  <a:lnTo>
                    <a:pt x="174" y="642"/>
                  </a:lnTo>
                  <a:lnTo>
                    <a:pt x="172" y="638"/>
                  </a:lnTo>
                  <a:lnTo>
                    <a:pt x="172" y="632"/>
                  </a:lnTo>
                  <a:lnTo>
                    <a:pt x="172" y="424"/>
                  </a:lnTo>
                  <a:lnTo>
                    <a:pt x="172" y="424"/>
                  </a:lnTo>
                  <a:lnTo>
                    <a:pt x="172" y="418"/>
                  </a:lnTo>
                  <a:lnTo>
                    <a:pt x="174" y="414"/>
                  </a:lnTo>
                  <a:lnTo>
                    <a:pt x="182" y="404"/>
                  </a:lnTo>
                  <a:lnTo>
                    <a:pt x="190" y="398"/>
                  </a:lnTo>
                  <a:lnTo>
                    <a:pt x="196" y="396"/>
                  </a:lnTo>
                  <a:lnTo>
                    <a:pt x="202" y="396"/>
                  </a:lnTo>
                  <a:lnTo>
                    <a:pt x="202" y="396"/>
                  </a:lnTo>
                  <a:lnTo>
                    <a:pt x="208" y="396"/>
                  </a:lnTo>
                  <a:lnTo>
                    <a:pt x="214" y="398"/>
                  </a:lnTo>
                  <a:lnTo>
                    <a:pt x="222" y="404"/>
                  </a:lnTo>
                  <a:lnTo>
                    <a:pt x="228" y="414"/>
                  </a:lnTo>
                  <a:lnTo>
                    <a:pt x="230" y="418"/>
                  </a:lnTo>
                  <a:lnTo>
                    <a:pt x="232" y="424"/>
                  </a:lnTo>
                  <a:lnTo>
                    <a:pt x="232" y="602"/>
                  </a:lnTo>
                  <a:lnTo>
                    <a:pt x="1034" y="602"/>
                  </a:lnTo>
                  <a:lnTo>
                    <a:pt x="1034" y="438"/>
                  </a:lnTo>
                  <a:lnTo>
                    <a:pt x="1034" y="438"/>
                  </a:lnTo>
                  <a:lnTo>
                    <a:pt x="1034" y="432"/>
                  </a:lnTo>
                  <a:lnTo>
                    <a:pt x="1036" y="426"/>
                  </a:lnTo>
                  <a:lnTo>
                    <a:pt x="1042" y="418"/>
                  </a:lnTo>
                  <a:lnTo>
                    <a:pt x="1052" y="410"/>
                  </a:lnTo>
                  <a:lnTo>
                    <a:pt x="1058" y="410"/>
                  </a:lnTo>
                  <a:lnTo>
                    <a:pt x="1064" y="408"/>
                  </a:lnTo>
                  <a:lnTo>
                    <a:pt x="1064" y="408"/>
                  </a:lnTo>
                  <a:lnTo>
                    <a:pt x="1070" y="410"/>
                  </a:lnTo>
                  <a:lnTo>
                    <a:pt x="1076" y="410"/>
                  </a:lnTo>
                  <a:lnTo>
                    <a:pt x="1084" y="418"/>
                  </a:lnTo>
                  <a:lnTo>
                    <a:pt x="1090" y="426"/>
                  </a:lnTo>
                  <a:lnTo>
                    <a:pt x="1092" y="432"/>
                  </a:lnTo>
                  <a:lnTo>
                    <a:pt x="1094" y="438"/>
                  </a:lnTo>
                  <a:lnTo>
                    <a:pt x="1094" y="632"/>
                  </a:lnTo>
                  <a:lnTo>
                    <a:pt x="1094" y="632"/>
                  </a:lnTo>
                  <a:lnTo>
                    <a:pt x="1092" y="638"/>
                  </a:lnTo>
                  <a:lnTo>
                    <a:pt x="1090" y="642"/>
                  </a:lnTo>
                  <a:lnTo>
                    <a:pt x="1084" y="652"/>
                  </a:lnTo>
                  <a:lnTo>
                    <a:pt x="1076" y="658"/>
                  </a:lnTo>
                  <a:lnTo>
                    <a:pt x="1070" y="660"/>
                  </a:lnTo>
                  <a:lnTo>
                    <a:pt x="1064" y="660"/>
                  </a:lnTo>
                  <a:lnTo>
                    <a:pt x="1064" y="66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94" name="Freeform 59">
              <a:extLst>
                <a:ext uri="{FF2B5EF4-FFF2-40B4-BE49-F238E27FC236}">
                  <a16:creationId xmlns:a16="http://schemas.microsoft.com/office/drawing/2014/main" id="{E23FB878-E63D-4792-B0F3-D38A6C39449A}"/>
                </a:ext>
              </a:extLst>
            </p:cNvPr>
            <p:cNvSpPr>
              <a:spLocks noEditPoints="1"/>
            </p:cNvSpPr>
            <p:nvPr/>
          </p:nvSpPr>
          <p:spPr bwMode="auto">
            <a:xfrm>
              <a:off x="5410200" y="4765675"/>
              <a:ext cx="793750" cy="355600"/>
            </a:xfrm>
            <a:custGeom>
              <a:avLst/>
              <a:gdLst>
                <a:gd name="T0" fmla="*/ 0 w 500"/>
                <a:gd name="T1" fmla="*/ 102 h 224"/>
                <a:gd name="T2" fmla="*/ 90 w 500"/>
                <a:gd name="T3" fmla="*/ 102 h 224"/>
                <a:gd name="T4" fmla="*/ 90 w 500"/>
                <a:gd name="T5" fmla="*/ 102 h 224"/>
                <a:gd name="T6" fmla="*/ 96 w 500"/>
                <a:gd name="T7" fmla="*/ 102 h 224"/>
                <a:gd name="T8" fmla="*/ 102 w 500"/>
                <a:gd name="T9" fmla="*/ 104 h 224"/>
                <a:gd name="T10" fmla="*/ 112 w 500"/>
                <a:gd name="T11" fmla="*/ 110 h 224"/>
                <a:gd name="T12" fmla="*/ 118 w 500"/>
                <a:gd name="T13" fmla="*/ 120 h 224"/>
                <a:gd name="T14" fmla="*/ 120 w 500"/>
                <a:gd name="T15" fmla="*/ 126 h 224"/>
                <a:gd name="T16" fmla="*/ 120 w 500"/>
                <a:gd name="T17" fmla="*/ 130 h 224"/>
                <a:gd name="T18" fmla="*/ 120 w 500"/>
                <a:gd name="T19" fmla="*/ 224 h 224"/>
                <a:gd name="T20" fmla="*/ 378 w 500"/>
                <a:gd name="T21" fmla="*/ 224 h 224"/>
                <a:gd name="T22" fmla="*/ 378 w 500"/>
                <a:gd name="T23" fmla="*/ 130 h 224"/>
                <a:gd name="T24" fmla="*/ 378 w 500"/>
                <a:gd name="T25" fmla="*/ 130 h 224"/>
                <a:gd name="T26" fmla="*/ 380 w 500"/>
                <a:gd name="T27" fmla="*/ 126 h 224"/>
                <a:gd name="T28" fmla="*/ 380 w 500"/>
                <a:gd name="T29" fmla="*/ 120 h 224"/>
                <a:gd name="T30" fmla="*/ 388 w 500"/>
                <a:gd name="T31" fmla="*/ 110 h 224"/>
                <a:gd name="T32" fmla="*/ 396 w 500"/>
                <a:gd name="T33" fmla="*/ 104 h 224"/>
                <a:gd name="T34" fmla="*/ 402 w 500"/>
                <a:gd name="T35" fmla="*/ 102 h 224"/>
                <a:gd name="T36" fmla="*/ 408 w 500"/>
                <a:gd name="T37" fmla="*/ 102 h 224"/>
                <a:gd name="T38" fmla="*/ 500 w 500"/>
                <a:gd name="T39" fmla="*/ 102 h 224"/>
                <a:gd name="T40" fmla="*/ 500 w 500"/>
                <a:gd name="T41" fmla="*/ 0 h 224"/>
                <a:gd name="T42" fmla="*/ 0 w 500"/>
                <a:gd name="T43" fmla="*/ 0 h 224"/>
                <a:gd name="T44" fmla="*/ 0 w 500"/>
                <a:gd name="T45" fmla="*/ 102 h 224"/>
                <a:gd name="T46" fmla="*/ 106 w 500"/>
                <a:gd name="T47" fmla="*/ 24 h 224"/>
                <a:gd name="T48" fmla="*/ 392 w 500"/>
                <a:gd name="T49" fmla="*/ 24 h 224"/>
                <a:gd name="T50" fmla="*/ 392 w 500"/>
                <a:gd name="T51" fmla="*/ 24 h 224"/>
                <a:gd name="T52" fmla="*/ 398 w 500"/>
                <a:gd name="T53" fmla="*/ 24 h 224"/>
                <a:gd name="T54" fmla="*/ 404 w 500"/>
                <a:gd name="T55" fmla="*/ 26 h 224"/>
                <a:gd name="T56" fmla="*/ 414 w 500"/>
                <a:gd name="T57" fmla="*/ 32 h 224"/>
                <a:gd name="T58" fmla="*/ 420 w 500"/>
                <a:gd name="T59" fmla="*/ 42 h 224"/>
                <a:gd name="T60" fmla="*/ 422 w 500"/>
                <a:gd name="T61" fmla="*/ 48 h 224"/>
                <a:gd name="T62" fmla="*/ 422 w 500"/>
                <a:gd name="T63" fmla="*/ 52 h 224"/>
                <a:gd name="T64" fmla="*/ 422 w 500"/>
                <a:gd name="T65" fmla="*/ 52 h 224"/>
                <a:gd name="T66" fmla="*/ 422 w 500"/>
                <a:gd name="T67" fmla="*/ 58 h 224"/>
                <a:gd name="T68" fmla="*/ 420 w 500"/>
                <a:gd name="T69" fmla="*/ 64 h 224"/>
                <a:gd name="T70" fmla="*/ 414 w 500"/>
                <a:gd name="T71" fmla="*/ 74 h 224"/>
                <a:gd name="T72" fmla="*/ 404 w 500"/>
                <a:gd name="T73" fmla="*/ 80 h 224"/>
                <a:gd name="T74" fmla="*/ 398 w 500"/>
                <a:gd name="T75" fmla="*/ 82 h 224"/>
                <a:gd name="T76" fmla="*/ 392 w 500"/>
                <a:gd name="T77" fmla="*/ 82 h 224"/>
                <a:gd name="T78" fmla="*/ 106 w 500"/>
                <a:gd name="T79" fmla="*/ 82 h 224"/>
                <a:gd name="T80" fmla="*/ 106 w 500"/>
                <a:gd name="T81" fmla="*/ 82 h 224"/>
                <a:gd name="T82" fmla="*/ 100 w 500"/>
                <a:gd name="T83" fmla="*/ 82 h 224"/>
                <a:gd name="T84" fmla="*/ 94 w 500"/>
                <a:gd name="T85" fmla="*/ 80 h 224"/>
                <a:gd name="T86" fmla="*/ 86 w 500"/>
                <a:gd name="T87" fmla="*/ 74 h 224"/>
                <a:gd name="T88" fmla="*/ 78 w 500"/>
                <a:gd name="T89" fmla="*/ 64 h 224"/>
                <a:gd name="T90" fmla="*/ 78 w 500"/>
                <a:gd name="T91" fmla="*/ 58 h 224"/>
                <a:gd name="T92" fmla="*/ 76 w 500"/>
                <a:gd name="T93" fmla="*/ 52 h 224"/>
                <a:gd name="T94" fmla="*/ 76 w 500"/>
                <a:gd name="T95" fmla="*/ 52 h 224"/>
                <a:gd name="T96" fmla="*/ 78 w 500"/>
                <a:gd name="T97" fmla="*/ 48 h 224"/>
                <a:gd name="T98" fmla="*/ 78 w 500"/>
                <a:gd name="T99" fmla="*/ 42 h 224"/>
                <a:gd name="T100" fmla="*/ 86 w 500"/>
                <a:gd name="T101" fmla="*/ 32 h 224"/>
                <a:gd name="T102" fmla="*/ 94 w 500"/>
                <a:gd name="T103" fmla="*/ 26 h 224"/>
                <a:gd name="T104" fmla="*/ 100 w 500"/>
                <a:gd name="T105" fmla="*/ 24 h 224"/>
                <a:gd name="T106" fmla="*/ 106 w 500"/>
                <a:gd name="T107" fmla="*/ 24 h 224"/>
                <a:gd name="T108" fmla="*/ 106 w 500"/>
                <a:gd name="T109" fmla="*/ 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0" h="224">
                  <a:moveTo>
                    <a:pt x="0" y="102"/>
                  </a:moveTo>
                  <a:lnTo>
                    <a:pt x="90" y="102"/>
                  </a:lnTo>
                  <a:lnTo>
                    <a:pt x="90" y="102"/>
                  </a:lnTo>
                  <a:lnTo>
                    <a:pt x="96" y="102"/>
                  </a:lnTo>
                  <a:lnTo>
                    <a:pt x="102" y="104"/>
                  </a:lnTo>
                  <a:lnTo>
                    <a:pt x="112" y="110"/>
                  </a:lnTo>
                  <a:lnTo>
                    <a:pt x="118" y="120"/>
                  </a:lnTo>
                  <a:lnTo>
                    <a:pt x="120" y="126"/>
                  </a:lnTo>
                  <a:lnTo>
                    <a:pt x="120" y="130"/>
                  </a:lnTo>
                  <a:lnTo>
                    <a:pt x="120" y="224"/>
                  </a:lnTo>
                  <a:lnTo>
                    <a:pt x="378" y="224"/>
                  </a:lnTo>
                  <a:lnTo>
                    <a:pt x="378" y="130"/>
                  </a:lnTo>
                  <a:lnTo>
                    <a:pt x="378" y="130"/>
                  </a:lnTo>
                  <a:lnTo>
                    <a:pt x="380" y="126"/>
                  </a:lnTo>
                  <a:lnTo>
                    <a:pt x="380" y="120"/>
                  </a:lnTo>
                  <a:lnTo>
                    <a:pt x="388" y="110"/>
                  </a:lnTo>
                  <a:lnTo>
                    <a:pt x="396" y="104"/>
                  </a:lnTo>
                  <a:lnTo>
                    <a:pt x="402" y="102"/>
                  </a:lnTo>
                  <a:lnTo>
                    <a:pt x="408" y="102"/>
                  </a:lnTo>
                  <a:lnTo>
                    <a:pt x="500" y="102"/>
                  </a:lnTo>
                  <a:lnTo>
                    <a:pt x="500" y="0"/>
                  </a:lnTo>
                  <a:lnTo>
                    <a:pt x="0" y="0"/>
                  </a:lnTo>
                  <a:lnTo>
                    <a:pt x="0" y="102"/>
                  </a:lnTo>
                  <a:close/>
                  <a:moveTo>
                    <a:pt x="106" y="24"/>
                  </a:moveTo>
                  <a:lnTo>
                    <a:pt x="392" y="24"/>
                  </a:lnTo>
                  <a:lnTo>
                    <a:pt x="392" y="24"/>
                  </a:lnTo>
                  <a:lnTo>
                    <a:pt x="398" y="24"/>
                  </a:lnTo>
                  <a:lnTo>
                    <a:pt x="404" y="26"/>
                  </a:lnTo>
                  <a:lnTo>
                    <a:pt x="414" y="32"/>
                  </a:lnTo>
                  <a:lnTo>
                    <a:pt x="420" y="42"/>
                  </a:lnTo>
                  <a:lnTo>
                    <a:pt x="422" y="48"/>
                  </a:lnTo>
                  <a:lnTo>
                    <a:pt x="422" y="52"/>
                  </a:lnTo>
                  <a:lnTo>
                    <a:pt x="422" y="52"/>
                  </a:lnTo>
                  <a:lnTo>
                    <a:pt x="422" y="58"/>
                  </a:lnTo>
                  <a:lnTo>
                    <a:pt x="420" y="64"/>
                  </a:lnTo>
                  <a:lnTo>
                    <a:pt x="414" y="74"/>
                  </a:lnTo>
                  <a:lnTo>
                    <a:pt x="404" y="80"/>
                  </a:lnTo>
                  <a:lnTo>
                    <a:pt x="398" y="82"/>
                  </a:lnTo>
                  <a:lnTo>
                    <a:pt x="392" y="82"/>
                  </a:lnTo>
                  <a:lnTo>
                    <a:pt x="106" y="82"/>
                  </a:lnTo>
                  <a:lnTo>
                    <a:pt x="106" y="82"/>
                  </a:lnTo>
                  <a:lnTo>
                    <a:pt x="100" y="82"/>
                  </a:lnTo>
                  <a:lnTo>
                    <a:pt x="94" y="80"/>
                  </a:lnTo>
                  <a:lnTo>
                    <a:pt x="86" y="74"/>
                  </a:lnTo>
                  <a:lnTo>
                    <a:pt x="78" y="64"/>
                  </a:lnTo>
                  <a:lnTo>
                    <a:pt x="78" y="58"/>
                  </a:lnTo>
                  <a:lnTo>
                    <a:pt x="76" y="52"/>
                  </a:lnTo>
                  <a:lnTo>
                    <a:pt x="76" y="52"/>
                  </a:lnTo>
                  <a:lnTo>
                    <a:pt x="78" y="48"/>
                  </a:lnTo>
                  <a:lnTo>
                    <a:pt x="78" y="42"/>
                  </a:lnTo>
                  <a:lnTo>
                    <a:pt x="86" y="32"/>
                  </a:lnTo>
                  <a:lnTo>
                    <a:pt x="94" y="26"/>
                  </a:lnTo>
                  <a:lnTo>
                    <a:pt x="100" y="24"/>
                  </a:lnTo>
                  <a:lnTo>
                    <a:pt x="106" y="24"/>
                  </a:lnTo>
                  <a:lnTo>
                    <a:pt x="10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5" name="TextBox 194">
            <a:extLst>
              <a:ext uri="{FF2B5EF4-FFF2-40B4-BE49-F238E27FC236}">
                <a16:creationId xmlns:a16="http://schemas.microsoft.com/office/drawing/2014/main" id="{97607345-FF9C-41E5-8529-B06C2B59EFD1}"/>
              </a:ext>
            </a:extLst>
          </p:cNvPr>
          <p:cNvSpPr txBox="1"/>
          <p:nvPr/>
        </p:nvSpPr>
        <p:spPr>
          <a:xfrm>
            <a:off x="2176316" y="2949491"/>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obotics</a:t>
            </a:r>
          </a:p>
        </p:txBody>
      </p:sp>
      <p:grpSp>
        <p:nvGrpSpPr>
          <p:cNvPr id="196" name="Group 195">
            <a:extLst>
              <a:ext uri="{FF2B5EF4-FFF2-40B4-BE49-F238E27FC236}">
                <a16:creationId xmlns:a16="http://schemas.microsoft.com/office/drawing/2014/main" id="{495DA49A-1550-465A-9826-23F611C81744}"/>
              </a:ext>
            </a:extLst>
          </p:cNvPr>
          <p:cNvGrpSpPr/>
          <p:nvPr/>
        </p:nvGrpSpPr>
        <p:grpSpPr>
          <a:xfrm>
            <a:off x="3537799" y="2520959"/>
            <a:ext cx="368217" cy="365760"/>
            <a:chOff x="5332413" y="1820863"/>
            <a:chExt cx="717550" cy="728663"/>
          </a:xfrm>
          <a:solidFill>
            <a:schemeClr val="bg2"/>
          </a:solidFill>
        </p:grpSpPr>
        <p:sp>
          <p:nvSpPr>
            <p:cNvPr id="197" name="Freeform 5">
              <a:extLst>
                <a:ext uri="{FF2B5EF4-FFF2-40B4-BE49-F238E27FC236}">
                  <a16:creationId xmlns:a16="http://schemas.microsoft.com/office/drawing/2014/main" id="{327988FC-10B6-4089-8529-11D7C34E25D4}"/>
                </a:ext>
              </a:extLst>
            </p:cNvPr>
            <p:cNvSpPr>
              <a:spLocks noEditPoints="1"/>
            </p:cNvSpPr>
            <p:nvPr/>
          </p:nvSpPr>
          <p:spPr bwMode="auto">
            <a:xfrm>
              <a:off x="5332413" y="1820863"/>
              <a:ext cx="717550" cy="728663"/>
            </a:xfrm>
            <a:custGeom>
              <a:avLst/>
              <a:gdLst>
                <a:gd name="T0" fmla="*/ 376 w 752"/>
                <a:gd name="T1" fmla="*/ 0 h 750"/>
                <a:gd name="T2" fmla="*/ 376 w 752"/>
                <a:gd name="T3" fmla="*/ 0 h 750"/>
                <a:gd name="T4" fmla="*/ 0 w 752"/>
                <a:gd name="T5" fmla="*/ 375 h 750"/>
                <a:gd name="T6" fmla="*/ 376 w 752"/>
                <a:gd name="T7" fmla="*/ 750 h 750"/>
                <a:gd name="T8" fmla="*/ 752 w 752"/>
                <a:gd name="T9" fmla="*/ 375 h 750"/>
                <a:gd name="T10" fmla="*/ 376 w 752"/>
                <a:gd name="T11" fmla="*/ 0 h 750"/>
                <a:gd name="T12" fmla="*/ 376 w 752"/>
                <a:gd name="T13" fmla="*/ 31 h 750"/>
                <a:gd name="T14" fmla="*/ 376 w 752"/>
                <a:gd name="T15" fmla="*/ 31 h 750"/>
                <a:gd name="T16" fmla="*/ 720 w 752"/>
                <a:gd name="T17" fmla="*/ 375 h 750"/>
                <a:gd name="T18" fmla="*/ 376 w 752"/>
                <a:gd name="T19" fmla="*/ 718 h 750"/>
                <a:gd name="T20" fmla="*/ 30 w 752"/>
                <a:gd name="T21" fmla="*/ 375 h 750"/>
                <a:gd name="T22" fmla="*/ 376 w 752"/>
                <a:gd name="T23" fmla="*/ 3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2" h="750">
                  <a:moveTo>
                    <a:pt x="376" y="0"/>
                  </a:moveTo>
                  <a:lnTo>
                    <a:pt x="376" y="0"/>
                  </a:lnTo>
                  <a:cubicBezTo>
                    <a:pt x="167" y="0"/>
                    <a:pt x="0" y="167"/>
                    <a:pt x="0" y="375"/>
                  </a:cubicBezTo>
                  <a:cubicBezTo>
                    <a:pt x="0" y="581"/>
                    <a:pt x="167" y="750"/>
                    <a:pt x="376" y="750"/>
                  </a:cubicBezTo>
                  <a:cubicBezTo>
                    <a:pt x="583" y="750"/>
                    <a:pt x="752" y="581"/>
                    <a:pt x="752" y="375"/>
                  </a:cubicBezTo>
                  <a:cubicBezTo>
                    <a:pt x="752" y="167"/>
                    <a:pt x="583" y="0"/>
                    <a:pt x="376" y="0"/>
                  </a:cubicBezTo>
                  <a:close/>
                  <a:moveTo>
                    <a:pt x="376" y="31"/>
                  </a:moveTo>
                  <a:lnTo>
                    <a:pt x="376" y="31"/>
                  </a:lnTo>
                  <a:cubicBezTo>
                    <a:pt x="566" y="31"/>
                    <a:pt x="720" y="185"/>
                    <a:pt x="720" y="375"/>
                  </a:cubicBezTo>
                  <a:cubicBezTo>
                    <a:pt x="720" y="564"/>
                    <a:pt x="566" y="718"/>
                    <a:pt x="376" y="718"/>
                  </a:cubicBezTo>
                  <a:cubicBezTo>
                    <a:pt x="185" y="718"/>
                    <a:pt x="30" y="564"/>
                    <a:pt x="30" y="375"/>
                  </a:cubicBezTo>
                  <a:cubicBezTo>
                    <a:pt x="30" y="185"/>
                    <a:pt x="185" y="31"/>
                    <a:pt x="376"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
              <a:extLst>
                <a:ext uri="{FF2B5EF4-FFF2-40B4-BE49-F238E27FC236}">
                  <a16:creationId xmlns:a16="http://schemas.microsoft.com/office/drawing/2014/main" id="{645CA5CB-697C-4473-AC60-335F39D1155D}"/>
                </a:ext>
              </a:extLst>
            </p:cNvPr>
            <p:cNvSpPr>
              <a:spLocks noEditPoints="1"/>
            </p:cNvSpPr>
            <p:nvPr/>
          </p:nvSpPr>
          <p:spPr bwMode="auto">
            <a:xfrm>
              <a:off x="5448300" y="1987550"/>
              <a:ext cx="501650" cy="409575"/>
            </a:xfrm>
            <a:custGeom>
              <a:avLst/>
              <a:gdLst>
                <a:gd name="T0" fmla="*/ 361 w 525"/>
                <a:gd name="T1" fmla="*/ 0 h 421"/>
                <a:gd name="T2" fmla="*/ 124 w 525"/>
                <a:gd name="T3" fmla="*/ 272 h 421"/>
                <a:gd name="T4" fmla="*/ 486 w 525"/>
                <a:gd name="T5" fmla="*/ 415 h 421"/>
                <a:gd name="T6" fmla="*/ 276 w 525"/>
                <a:gd name="T7" fmla="*/ 263 h 421"/>
                <a:gd name="T8" fmla="*/ 275 w 525"/>
                <a:gd name="T9" fmla="*/ 275 h 421"/>
                <a:gd name="T10" fmla="*/ 199 w 525"/>
                <a:gd name="T11" fmla="*/ 248 h 421"/>
                <a:gd name="T12" fmla="*/ 25 w 525"/>
                <a:gd name="T13" fmla="*/ 222 h 421"/>
                <a:gd name="T14" fmla="*/ 402 w 525"/>
                <a:gd name="T15" fmla="*/ 258 h 421"/>
                <a:gd name="T16" fmla="*/ 380 w 525"/>
                <a:gd name="T17" fmla="*/ 269 h 421"/>
                <a:gd name="T18" fmla="*/ 282 w 525"/>
                <a:gd name="T19" fmla="*/ 278 h 421"/>
                <a:gd name="T20" fmla="*/ 264 w 525"/>
                <a:gd name="T21" fmla="*/ 261 h 421"/>
                <a:gd name="T22" fmla="*/ 264 w 525"/>
                <a:gd name="T23" fmla="*/ 214 h 421"/>
                <a:gd name="T24" fmla="*/ 266 w 525"/>
                <a:gd name="T25" fmla="*/ 175 h 421"/>
                <a:gd name="T26" fmla="*/ 402 w 525"/>
                <a:gd name="T27" fmla="*/ 177 h 421"/>
                <a:gd name="T28" fmla="*/ 260 w 525"/>
                <a:gd name="T29" fmla="*/ 217 h 421"/>
                <a:gd name="T30" fmla="*/ 397 w 525"/>
                <a:gd name="T31" fmla="*/ 231 h 421"/>
                <a:gd name="T32" fmla="*/ 397 w 525"/>
                <a:gd name="T33" fmla="*/ 214 h 421"/>
                <a:gd name="T34" fmla="*/ 404 w 525"/>
                <a:gd name="T35" fmla="*/ 217 h 421"/>
                <a:gd name="T36" fmla="*/ 384 w 525"/>
                <a:gd name="T37" fmla="*/ 233 h 421"/>
                <a:gd name="T38" fmla="*/ 384 w 525"/>
                <a:gd name="T39" fmla="*/ 218 h 421"/>
                <a:gd name="T40" fmla="*/ 390 w 525"/>
                <a:gd name="T41" fmla="*/ 164 h 421"/>
                <a:gd name="T42" fmla="*/ 384 w 525"/>
                <a:gd name="T43" fmla="*/ 186 h 421"/>
                <a:gd name="T44" fmla="*/ 361 w 525"/>
                <a:gd name="T45" fmla="*/ 261 h 421"/>
                <a:gd name="T46" fmla="*/ 368 w 525"/>
                <a:gd name="T47" fmla="*/ 275 h 421"/>
                <a:gd name="T48" fmla="*/ 369 w 525"/>
                <a:gd name="T49" fmla="*/ 270 h 421"/>
                <a:gd name="T50" fmla="*/ 359 w 525"/>
                <a:gd name="T51" fmla="*/ 222 h 421"/>
                <a:gd name="T52" fmla="*/ 366 w 525"/>
                <a:gd name="T53" fmla="*/ 229 h 421"/>
                <a:gd name="T54" fmla="*/ 366 w 525"/>
                <a:gd name="T55" fmla="*/ 186 h 421"/>
                <a:gd name="T56" fmla="*/ 364 w 525"/>
                <a:gd name="T57" fmla="*/ 172 h 421"/>
                <a:gd name="T58" fmla="*/ 356 w 525"/>
                <a:gd name="T59" fmla="*/ 222 h 421"/>
                <a:gd name="T60" fmla="*/ 354 w 525"/>
                <a:gd name="T61" fmla="*/ 231 h 421"/>
                <a:gd name="T62" fmla="*/ 347 w 525"/>
                <a:gd name="T63" fmla="*/ 217 h 421"/>
                <a:gd name="T64" fmla="*/ 354 w 525"/>
                <a:gd name="T65" fmla="*/ 167 h 421"/>
                <a:gd name="T66" fmla="*/ 350 w 525"/>
                <a:gd name="T67" fmla="*/ 175 h 421"/>
                <a:gd name="T68" fmla="*/ 348 w 525"/>
                <a:gd name="T69" fmla="*/ 169 h 421"/>
                <a:gd name="T70" fmla="*/ 330 w 525"/>
                <a:gd name="T71" fmla="*/ 164 h 421"/>
                <a:gd name="T72" fmla="*/ 332 w 525"/>
                <a:gd name="T73" fmla="*/ 175 h 421"/>
                <a:gd name="T74" fmla="*/ 332 w 525"/>
                <a:gd name="T75" fmla="*/ 170 h 421"/>
                <a:gd name="T76" fmla="*/ 306 w 525"/>
                <a:gd name="T77" fmla="*/ 214 h 421"/>
                <a:gd name="T78" fmla="*/ 314 w 525"/>
                <a:gd name="T79" fmla="*/ 227 h 421"/>
                <a:gd name="T80" fmla="*/ 314 w 525"/>
                <a:gd name="T81" fmla="*/ 222 h 421"/>
                <a:gd name="T82" fmla="*/ 308 w 525"/>
                <a:gd name="T83" fmla="*/ 174 h 421"/>
                <a:gd name="T84" fmla="*/ 300 w 525"/>
                <a:gd name="T85" fmla="*/ 278 h 421"/>
                <a:gd name="T86" fmla="*/ 294 w 525"/>
                <a:gd name="T87" fmla="*/ 281 h 421"/>
                <a:gd name="T88" fmla="*/ 292 w 525"/>
                <a:gd name="T89" fmla="*/ 270 h 421"/>
                <a:gd name="T90" fmla="*/ 293 w 525"/>
                <a:gd name="T91" fmla="*/ 218 h 421"/>
                <a:gd name="T92" fmla="*/ 290 w 525"/>
                <a:gd name="T93" fmla="*/ 221 h 421"/>
                <a:gd name="T94" fmla="*/ 294 w 525"/>
                <a:gd name="T95" fmla="*/ 164 h 421"/>
                <a:gd name="T96" fmla="*/ 296 w 525"/>
                <a:gd name="T97" fmla="*/ 175 h 421"/>
                <a:gd name="T98" fmla="*/ 296 w 525"/>
                <a:gd name="T99" fmla="*/ 170 h 421"/>
                <a:gd name="T100" fmla="*/ 312 w 525"/>
                <a:gd name="T101" fmla="*/ 265 h 421"/>
                <a:gd name="T102" fmla="*/ 330 w 525"/>
                <a:gd name="T103" fmla="*/ 211 h 421"/>
                <a:gd name="T104" fmla="*/ 329 w 525"/>
                <a:gd name="T105" fmla="*/ 233 h 421"/>
                <a:gd name="T106" fmla="*/ 323 w 525"/>
                <a:gd name="T107" fmla="*/ 265 h 421"/>
                <a:gd name="T108" fmla="*/ 336 w 525"/>
                <a:gd name="T109" fmla="*/ 259 h 421"/>
                <a:gd name="T110" fmla="*/ 346 w 525"/>
                <a:gd name="T111" fmla="*/ 267 h 421"/>
                <a:gd name="T112" fmla="*/ 348 w 525"/>
                <a:gd name="T113" fmla="*/ 259 h 421"/>
                <a:gd name="T114" fmla="*/ 268 w 525"/>
                <a:gd name="T115" fmla="*/ 222 h 421"/>
                <a:gd name="T116" fmla="*/ 276 w 525"/>
                <a:gd name="T117" fmla="*/ 229 h 421"/>
                <a:gd name="T118" fmla="*/ 275 w 525"/>
                <a:gd name="T119" fmla="*/ 186 h 421"/>
                <a:gd name="T120" fmla="*/ 274 w 525"/>
                <a:gd name="T121" fmla="*/ 17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5" h="421">
                  <a:moveTo>
                    <a:pt x="517" y="385"/>
                  </a:moveTo>
                  <a:lnTo>
                    <a:pt x="517" y="385"/>
                  </a:lnTo>
                  <a:lnTo>
                    <a:pt x="418" y="286"/>
                  </a:lnTo>
                  <a:cubicBezTo>
                    <a:pt x="433" y="267"/>
                    <a:pt x="442" y="244"/>
                    <a:pt x="442" y="218"/>
                  </a:cubicBezTo>
                  <a:cubicBezTo>
                    <a:pt x="442" y="172"/>
                    <a:pt x="413" y="133"/>
                    <a:pt x="374" y="117"/>
                  </a:cubicBezTo>
                  <a:lnTo>
                    <a:pt x="374" y="13"/>
                  </a:lnTo>
                  <a:cubicBezTo>
                    <a:pt x="374" y="6"/>
                    <a:pt x="368" y="0"/>
                    <a:pt x="361" y="0"/>
                  </a:cubicBezTo>
                  <a:lnTo>
                    <a:pt x="12" y="0"/>
                  </a:lnTo>
                  <a:cubicBezTo>
                    <a:pt x="5" y="0"/>
                    <a:pt x="0" y="6"/>
                    <a:pt x="0" y="13"/>
                  </a:cubicBezTo>
                  <a:lnTo>
                    <a:pt x="0" y="235"/>
                  </a:lnTo>
                  <a:cubicBezTo>
                    <a:pt x="0" y="242"/>
                    <a:pt x="5" y="248"/>
                    <a:pt x="12" y="248"/>
                  </a:cubicBezTo>
                  <a:lnTo>
                    <a:pt x="174" y="248"/>
                  </a:lnTo>
                  <a:lnTo>
                    <a:pt x="174" y="272"/>
                  </a:lnTo>
                  <a:lnTo>
                    <a:pt x="124" y="272"/>
                  </a:lnTo>
                  <a:cubicBezTo>
                    <a:pt x="117" y="272"/>
                    <a:pt x="112" y="278"/>
                    <a:pt x="112" y="285"/>
                  </a:cubicBezTo>
                  <a:cubicBezTo>
                    <a:pt x="112" y="292"/>
                    <a:pt x="117" y="297"/>
                    <a:pt x="124" y="297"/>
                  </a:cubicBezTo>
                  <a:lnTo>
                    <a:pt x="249" y="297"/>
                  </a:lnTo>
                  <a:cubicBezTo>
                    <a:pt x="251" y="297"/>
                    <a:pt x="253" y="296"/>
                    <a:pt x="254" y="295"/>
                  </a:cubicBezTo>
                  <a:cubicBezTo>
                    <a:pt x="274" y="315"/>
                    <a:pt x="302" y="328"/>
                    <a:pt x="332" y="328"/>
                  </a:cubicBezTo>
                  <a:cubicBezTo>
                    <a:pt x="351" y="328"/>
                    <a:pt x="369" y="323"/>
                    <a:pt x="385" y="314"/>
                  </a:cubicBezTo>
                  <a:lnTo>
                    <a:pt x="486" y="415"/>
                  </a:lnTo>
                  <a:cubicBezTo>
                    <a:pt x="490" y="419"/>
                    <a:pt x="496" y="421"/>
                    <a:pt x="501" y="421"/>
                  </a:cubicBezTo>
                  <a:cubicBezTo>
                    <a:pt x="507" y="421"/>
                    <a:pt x="512" y="419"/>
                    <a:pt x="517" y="415"/>
                  </a:cubicBezTo>
                  <a:cubicBezTo>
                    <a:pt x="525" y="407"/>
                    <a:pt x="525" y="393"/>
                    <a:pt x="517" y="385"/>
                  </a:cubicBezTo>
                  <a:close/>
                  <a:moveTo>
                    <a:pt x="274" y="270"/>
                  </a:moveTo>
                  <a:lnTo>
                    <a:pt x="274" y="270"/>
                  </a:lnTo>
                  <a:cubicBezTo>
                    <a:pt x="274" y="267"/>
                    <a:pt x="274" y="265"/>
                    <a:pt x="275" y="265"/>
                  </a:cubicBezTo>
                  <a:cubicBezTo>
                    <a:pt x="275" y="264"/>
                    <a:pt x="275" y="263"/>
                    <a:pt x="276" y="263"/>
                  </a:cubicBezTo>
                  <a:cubicBezTo>
                    <a:pt x="277" y="263"/>
                    <a:pt x="277" y="264"/>
                    <a:pt x="278" y="265"/>
                  </a:cubicBezTo>
                  <a:cubicBezTo>
                    <a:pt x="278" y="266"/>
                    <a:pt x="278" y="267"/>
                    <a:pt x="278" y="270"/>
                  </a:cubicBezTo>
                  <a:cubicBezTo>
                    <a:pt x="278" y="272"/>
                    <a:pt x="278" y="274"/>
                    <a:pt x="278" y="275"/>
                  </a:cubicBezTo>
                  <a:cubicBezTo>
                    <a:pt x="277" y="276"/>
                    <a:pt x="277" y="276"/>
                    <a:pt x="276" y="276"/>
                  </a:cubicBezTo>
                  <a:cubicBezTo>
                    <a:pt x="276" y="276"/>
                    <a:pt x="276" y="276"/>
                    <a:pt x="276" y="276"/>
                  </a:cubicBezTo>
                  <a:cubicBezTo>
                    <a:pt x="275" y="276"/>
                    <a:pt x="275" y="276"/>
                    <a:pt x="275" y="275"/>
                  </a:cubicBezTo>
                  <a:cubicBezTo>
                    <a:pt x="275" y="275"/>
                    <a:pt x="275" y="275"/>
                    <a:pt x="275" y="275"/>
                  </a:cubicBezTo>
                  <a:cubicBezTo>
                    <a:pt x="274" y="274"/>
                    <a:pt x="274" y="272"/>
                    <a:pt x="274" y="270"/>
                  </a:cubicBezTo>
                  <a:close/>
                  <a:moveTo>
                    <a:pt x="199" y="248"/>
                  </a:moveTo>
                  <a:lnTo>
                    <a:pt x="199" y="248"/>
                  </a:lnTo>
                  <a:lnTo>
                    <a:pt x="227" y="248"/>
                  </a:lnTo>
                  <a:cubicBezTo>
                    <a:pt x="230" y="257"/>
                    <a:pt x="233" y="265"/>
                    <a:pt x="237" y="272"/>
                  </a:cubicBezTo>
                  <a:lnTo>
                    <a:pt x="199" y="272"/>
                  </a:lnTo>
                  <a:lnTo>
                    <a:pt x="199" y="248"/>
                  </a:lnTo>
                  <a:lnTo>
                    <a:pt x="199" y="248"/>
                  </a:lnTo>
                  <a:close/>
                  <a:moveTo>
                    <a:pt x="348" y="110"/>
                  </a:moveTo>
                  <a:lnTo>
                    <a:pt x="348" y="110"/>
                  </a:lnTo>
                  <a:cubicBezTo>
                    <a:pt x="343" y="109"/>
                    <a:pt x="337" y="108"/>
                    <a:pt x="332" y="108"/>
                  </a:cubicBezTo>
                  <a:cubicBezTo>
                    <a:pt x="272" y="108"/>
                    <a:pt x="222" y="157"/>
                    <a:pt x="222" y="218"/>
                  </a:cubicBezTo>
                  <a:cubicBezTo>
                    <a:pt x="222" y="219"/>
                    <a:pt x="223" y="221"/>
                    <a:pt x="223" y="222"/>
                  </a:cubicBezTo>
                  <a:lnTo>
                    <a:pt x="25" y="222"/>
                  </a:lnTo>
                  <a:lnTo>
                    <a:pt x="25" y="26"/>
                  </a:lnTo>
                  <a:lnTo>
                    <a:pt x="348" y="26"/>
                  </a:lnTo>
                  <a:lnTo>
                    <a:pt x="348" y="110"/>
                  </a:lnTo>
                  <a:lnTo>
                    <a:pt x="348" y="110"/>
                  </a:lnTo>
                  <a:close/>
                  <a:moveTo>
                    <a:pt x="413" y="218"/>
                  </a:moveTo>
                  <a:lnTo>
                    <a:pt x="413" y="218"/>
                  </a:lnTo>
                  <a:cubicBezTo>
                    <a:pt x="413" y="233"/>
                    <a:pt x="409" y="246"/>
                    <a:pt x="402" y="258"/>
                  </a:cubicBezTo>
                  <a:cubicBezTo>
                    <a:pt x="400" y="258"/>
                    <a:pt x="398" y="259"/>
                    <a:pt x="397" y="261"/>
                  </a:cubicBezTo>
                  <a:cubicBezTo>
                    <a:pt x="395" y="263"/>
                    <a:pt x="395" y="266"/>
                    <a:pt x="395" y="269"/>
                  </a:cubicBezTo>
                  <a:cubicBezTo>
                    <a:pt x="393" y="271"/>
                    <a:pt x="391" y="273"/>
                    <a:pt x="390" y="275"/>
                  </a:cubicBezTo>
                  <a:lnTo>
                    <a:pt x="390" y="259"/>
                  </a:lnTo>
                  <a:lnTo>
                    <a:pt x="384" y="259"/>
                  </a:lnTo>
                  <a:lnTo>
                    <a:pt x="377" y="265"/>
                  </a:lnTo>
                  <a:lnTo>
                    <a:pt x="380" y="269"/>
                  </a:lnTo>
                  <a:lnTo>
                    <a:pt x="382" y="267"/>
                  </a:lnTo>
                  <a:cubicBezTo>
                    <a:pt x="383" y="266"/>
                    <a:pt x="383" y="266"/>
                    <a:pt x="384" y="265"/>
                  </a:cubicBezTo>
                  <a:cubicBezTo>
                    <a:pt x="384" y="266"/>
                    <a:pt x="384" y="268"/>
                    <a:pt x="384" y="269"/>
                  </a:cubicBezTo>
                  <a:lnTo>
                    <a:pt x="384" y="280"/>
                  </a:lnTo>
                  <a:cubicBezTo>
                    <a:pt x="370" y="292"/>
                    <a:pt x="352" y="299"/>
                    <a:pt x="332" y="299"/>
                  </a:cubicBezTo>
                  <a:cubicBezTo>
                    <a:pt x="312" y="299"/>
                    <a:pt x="294" y="292"/>
                    <a:pt x="280" y="280"/>
                  </a:cubicBezTo>
                  <a:cubicBezTo>
                    <a:pt x="281" y="280"/>
                    <a:pt x="282" y="279"/>
                    <a:pt x="282" y="278"/>
                  </a:cubicBezTo>
                  <a:cubicBezTo>
                    <a:pt x="283" y="276"/>
                    <a:pt x="284" y="274"/>
                    <a:pt x="284" y="270"/>
                  </a:cubicBezTo>
                  <a:cubicBezTo>
                    <a:pt x="284" y="266"/>
                    <a:pt x="283" y="263"/>
                    <a:pt x="282" y="261"/>
                  </a:cubicBezTo>
                  <a:cubicBezTo>
                    <a:pt x="281" y="259"/>
                    <a:pt x="279" y="258"/>
                    <a:pt x="276" y="258"/>
                  </a:cubicBezTo>
                  <a:cubicBezTo>
                    <a:pt x="274" y="258"/>
                    <a:pt x="272" y="259"/>
                    <a:pt x="270" y="261"/>
                  </a:cubicBezTo>
                  <a:cubicBezTo>
                    <a:pt x="269" y="263"/>
                    <a:pt x="268" y="265"/>
                    <a:pt x="268" y="268"/>
                  </a:cubicBezTo>
                  <a:cubicBezTo>
                    <a:pt x="267" y="267"/>
                    <a:pt x="266" y="265"/>
                    <a:pt x="265" y="264"/>
                  </a:cubicBezTo>
                  <a:cubicBezTo>
                    <a:pt x="265" y="263"/>
                    <a:pt x="265" y="262"/>
                    <a:pt x="264" y="261"/>
                  </a:cubicBezTo>
                  <a:cubicBezTo>
                    <a:pt x="264" y="261"/>
                    <a:pt x="263" y="260"/>
                    <a:pt x="263" y="260"/>
                  </a:cubicBezTo>
                  <a:cubicBezTo>
                    <a:pt x="257" y="251"/>
                    <a:pt x="254" y="241"/>
                    <a:pt x="252" y="230"/>
                  </a:cubicBezTo>
                  <a:cubicBezTo>
                    <a:pt x="252" y="231"/>
                    <a:pt x="252" y="231"/>
                    <a:pt x="252" y="231"/>
                  </a:cubicBezTo>
                  <a:cubicBezTo>
                    <a:pt x="254" y="233"/>
                    <a:pt x="256" y="234"/>
                    <a:pt x="258" y="234"/>
                  </a:cubicBezTo>
                  <a:cubicBezTo>
                    <a:pt x="261" y="234"/>
                    <a:pt x="263" y="233"/>
                    <a:pt x="264" y="231"/>
                  </a:cubicBezTo>
                  <a:cubicBezTo>
                    <a:pt x="265" y="229"/>
                    <a:pt x="266" y="226"/>
                    <a:pt x="266" y="222"/>
                  </a:cubicBezTo>
                  <a:cubicBezTo>
                    <a:pt x="266" y="219"/>
                    <a:pt x="265" y="216"/>
                    <a:pt x="264" y="214"/>
                  </a:cubicBezTo>
                  <a:cubicBezTo>
                    <a:pt x="263" y="212"/>
                    <a:pt x="261" y="211"/>
                    <a:pt x="258" y="211"/>
                  </a:cubicBezTo>
                  <a:cubicBezTo>
                    <a:pt x="255" y="211"/>
                    <a:pt x="253" y="212"/>
                    <a:pt x="252" y="214"/>
                  </a:cubicBezTo>
                  <a:cubicBezTo>
                    <a:pt x="252" y="214"/>
                    <a:pt x="251" y="215"/>
                    <a:pt x="251" y="216"/>
                  </a:cubicBezTo>
                  <a:cubicBezTo>
                    <a:pt x="251" y="206"/>
                    <a:pt x="253" y="196"/>
                    <a:pt x="257" y="186"/>
                  </a:cubicBezTo>
                  <a:cubicBezTo>
                    <a:pt x="258" y="186"/>
                    <a:pt x="258" y="186"/>
                    <a:pt x="258" y="186"/>
                  </a:cubicBezTo>
                  <a:cubicBezTo>
                    <a:pt x="261" y="186"/>
                    <a:pt x="263" y="185"/>
                    <a:pt x="264" y="184"/>
                  </a:cubicBezTo>
                  <a:cubicBezTo>
                    <a:pt x="265" y="182"/>
                    <a:pt x="266" y="179"/>
                    <a:pt x="266" y="175"/>
                  </a:cubicBezTo>
                  <a:cubicBezTo>
                    <a:pt x="266" y="174"/>
                    <a:pt x="266" y="172"/>
                    <a:pt x="266" y="171"/>
                  </a:cubicBezTo>
                  <a:cubicBezTo>
                    <a:pt x="280" y="150"/>
                    <a:pt x="305" y="137"/>
                    <a:pt x="332" y="137"/>
                  </a:cubicBezTo>
                  <a:cubicBezTo>
                    <a:pt x="358" y="137"/>
                    <a:pt x="382" y="149"/>
                    <a:pt x="396" y="169"/>
                  </a:cubicBezTo>
                  <a:lnTo>
                    <a:pt x="395" y="170"/>
                  </a:lnTo>
                  <a:lnTo>
                    <a:pt x="398" y="174"/>
                  </a:lnTo>
                  <a:lnTo>
                    <a:pt x="399" y="173"/>
                  </a:lnTo>
                  <a:cubicBezTo>
                    <a:pt x="400" y="174"/>
                    <a:pt x="401" y="175"/>
                    <a:pt x="402" y="177"/>
                  </a:cubicBezTo>
                  <a:lnTo>
                    <a:pt x="402" y="186"/>
                  </a:lnTo>
                  <a:lnTo>
                    <a:pt x="407" y="186"/>
                  </a:lnTo>
                  <a:cubicBezTo>
                    <a:pt x="411" y="196"/>
                    <a:pt x="413" y="207"/>
                    <a:pt x="413" y="218"/>
                  </a:cubicBezTo>
                  <a:close/>
                  <a:moveTo>
                    <a:pt x="257" y="217"/>
                  </a:moveTo>
                  <a:lnTo>
                    <a:pt x="257" y="217"/>
                  </a:lnTo>
                  <a:cubicBezTo>
                    <a:pt x="257" y="216"/>
                    <a:pt x="257" y="216"/>
                    <a:pt x="258" y="216"/>
                  </a:cubicBezTo>
                  <a:cubicBezTo>
                    <a:pt x="259" y="216"/>
                    <a:pt x="259" y="216"/>
                    <a:pt x="260" y="217"/>
                  </a:cubicBezTo>
                  <a:cubicBezTo>
                    <a:pt x="260" y="218"/>
                    <a:pt x="260" y="220"/>
                    <a:pt x="260" y="222"/>
                  </a:cubicBezTo>
                  <a:cubicBezTo>
                    <a:pt x="260" y="225"/>
                    <a:pt x="260" y="227"/>
                    <a:pt x="260" y="227"/>
                  </a:cubicBezTo>
                  <a:cubicBezTo>
                    <a:pt x="259" y="228"/>
                    <a:pt x="259" y="229"/>
                    <a:pt x="258" y="229"/>
                  </a:cubicBezTo>
                  <a:cubicBezTo>
                    <a:pt x="257" y="229"/>
                    <a:pt x="257" y="228"/>
                    <a:pt x="257" y="228"/>
                  </a:cubicBezTo>
                  <a:cubicBezTo>
                    <a:pt x="256" y="227"/>
                    <a:pt x="256" y="225"/>
                    <a:pt x="256" y="222"/>
                  </a:cubicBezTo>
                  <a:cubicBezTo>
                    <a:pt x="256" y="220"/>
                    <a:pt x="256" y="218"/>
                    <a:pt x="257" y="217"/>
                  </a:cubicBezTo>
                  <a:close/>
                  <a:moveTo>
                    <a:pt x="397" y="231"/>
                  </a:moveTo>
                  <a:lnTo>
                    <a:pt x="397" y="231"/>
                  </a:lnTo>
                  <a:cubicBezTo>
                    <a:pt x="398" y="233"/>
                    <a:pt x="400" y="234"/>
                    <a:pt x="403" y="234"/>
                  </a:cubicBezTo>
                  <a:cubicBezTo>
                    <a:pt x="405" y="234"/>
                    <a:pt x="407" y="233"/>
                    <a:pt x="409" y="231"/>
                  </a:cubicBezTo>
                  <a:cubicBezTo>
                    <a:pt x="410" y="229"/>
                    <a:pt x="411" y="226"/>
                    <a:pt x="411" y="222"/>
                  </a:cubicBezTo>
                  <a:cubicBezTo>
                    <a:pt x="411" y="219"/>
                    <a:pt x="410" y="216"/>
                    <a:pt x="409" y="214"/>
                  </a:cubicBezTo>
                  <a:cubicBezTo>
                    <a:pt x="407" y="212"/>
                    <a:pt x="405" y="211"/>
                    <a:pt x="403" y="211"/>
                  </a:cubicBezTo>
                  <a:cubicBezTo>
                    <a:pt x="400" y="211"/>
                    <a:pt x="398" y="212"/>
                    <a:pt x="397" y="214"/>
                  </a:cubicBezTo>
                  <a:cubicBezTo>
                    <a:pt x="395" y="216"/>
                    <a:pt x="395" y="218"/>
                    <a:pt x="395" y="222"/>
                  </a:cubicBezTo>
                  <a:cubicBezTo>
                    <a:pt x="395" y="226"/>
                    <a:pt x="395" y="229"/>
                    <a:pt x="397" y="231"/>
                  </a:cubicBezTo>
                  <a:close/>
                  <a:moveTo>
                    <a:pt x="401" y="222"/>
                  </a:moveTo>
                  <a:lnTo>
                    <a:pt x="401" y="222"/>
                  </a:lnTo>
                  <a:cubicBezTo>
                    <a:pt x="401" y="220"/>
                    <a:pt x="401" y="218"/>
                    <a:pt x="401" y="217"/>
                  </a:cubicBezTo>
                  <a:cubicBezTo>
                    <a:pt x="401" y="216"/>
                    <a:pt x="402" y="216"/>
                    <a:pt x="403" y="216"/>
                  </a:cubicBezTo>
                  <a:cubicBezTo>
                    <a:pt x="403" y="216"/>
                    <a:pt x="404" y="216"/>
                    <a:pt x="404" y="217"/>
                  </a:cubicBezTo>
                  <a:cubicBezTo>
                    <a:pt x="405" y="218"/>
                    <a:pt x="405" y="220"/>
                    <a:pt x="405" y="222"/>
                  </a:cubicBezTo>
                  <a:cubicBezTo>
                    <a:pt x="405" y="225"/>
                    <a:pt x="405" y="227"/>
                    <a:pt x="404" y="227"/>
                  </a:cubicBezTo>
                  <a:cubicBezTo>
                    <a:pt x="404" y="228"/>
                    <a:pt x="403" y="229"/>
                    <a:pt x="403" y="229"/>
                  </a:cubicBezTo>
                  <a:cubicBezTo>
                    <a:pt x="402" y="229"/>
                    <a:pt x="401" y="228"/>
                    <a:pt x="401" y="228"/>
                  </a:cubicBezTo>
                  <a:cubicBezTo>
                    <a:pt x="401" y="227"/>
                    <a:pt x="401" y="225"/>
                    <a:pt x="401" y="222"/>
                  </a:cubicBezTo>
                  <a:close/>
                  <a:moveTo>
                    <a:pt x="384" y="233"/>
                  </a:moveTo>
                  <a:lnTo>
                    <a:pt x="384" y="233"/>
                  </a:lnTo>
                  <a:lnTo>
                    <a:pt x="390" y="233"/>
                  </a:lnTo>
                  <a:lnTo>
                    <a:pt x="390" y="211"/>
                  </a:lnTo>
                  <a:lnTo>
                    <a:pt x="384" y="211"/>
                  </a:lnTo>
                  <a:lnTo>
                    <a:pt x="377" y="218"/>
                  </a:lnTo>
                  <a:lnTo>
                    <a:pt x="380" y="221"/>
                  </a:lnTo>
                  <a:lnTo>
                    <a:pt x="382" y="219"/>
                  </a:lnTo>
                  <a:cubicBezTo>
                    <a:pt x="383" y="219"/>
                    <a:pt x="383" y="218"/>
                    <a:pt x="384" y="218"/>
                  </a:cubicBezTo>
                  <a:cubicBezTo>
                    <a:pt x="384" y="219"/>
                    <a:pt x="384" y="220"/>
                    <a:pt x="384" y="222"/>
                  </a:cubicBezTo>
                  <a:lnTo>
                    <a:pt x="384" y="233"/>
                  </a:lnTo>
                  <a:lnTo>
                    <a:pt x="384" y="233"/>
                  </a:lnTo>
                  <a:close/>
                  <a:moveTo>
                    <a:pt x="384" y="186"/>
                  </a:moveTo>
                  <a:lnTo>
                    <a:pt x="384" y="186"/>
                  </a:lnTo>
                  <a:lnTo>
                    <a:pt x="390" y="186"/>
                  </a:lnTo>
                  <a:lnTo>
                    <a:pt x="390" y="164"/>
                  </a:lnTo>
                  <a:lnTo>
                    <a:pt x="384" y="164"/>
                  </a:lnTo>
                  <a:lnTo>
                    <a:pt x="377" y="170"/>
                  </a:lnTo>
                  <a:lnTo>
                    <a:pt x="380" y="174"/>
                  </a:lnTo>
                  <a:lnTo>
                    <a:pt x="382" y="172"/>
                  </a:lnTo>
                  <a:cubicBezTo>
                    <a:pt x="383" y="171"/>
                    <a:pt x="383" y="171"/>
                    <a:pt x="384" y="171"/>
                  </a:cubicBezTo>
                  <a:cubicBezTo>
                    <a:pt x="384" y="172"/>
                    <a:pt x="384" y="173"/>
                    <a:pt x="384" y="174"/>
                  </a:cubicBezTo>
                  <a:lnTo>
                    <a:pt x="384" y="186"/>
                  </a:lnTo>
                  <a:lnTo>
                    <a:pt x="384" y="186"/>
                  </a:lnTo>
                  <a:close/>
                  <a:moveTo>
                    <a:pt x="372" y="278"/>
                  </a:moveTo>
                  <a:lnTo>
                    <a:pt x="372" y="278"/>
                  </a:lnTo>
                  <a:cubicBezTo>
                    <a:pt x="374" y="276"/>
                    <a:pt x="374" y="274"/>
                    <a:pt x="374" y="270"/>
                  </a:cubicBezTo>
                  <a:cubicBezTo>
                    <a:pt x="374" y="266"/>
                    <a:pt x="374" y="263"/>
                    <a:pt x="372" y="261"/>
                  </a:cubicBezTo>
                  <a:cubicBezTo>
                    <a:pt x="371" y="259"/>
                    <a:pt x="369" y="258"/>
                    <a:pt x="366" y="258"/>
                  </a:cubicBezTo>
                  <a:cubicBezTo>
                    <a:pt x="364" y="258"/>
                    <a:pt x="362" y="259"/>
                    <a:pt x="361" y="261"/>
                  </a:cubicBezTo>
                  <a:cubicBezTo>
                    <a:pt x="359" y="263"/>
                    <a:pt x="359" y="266"/>
                    <a:pt x="359" y="270"/>
                  </a:cubicBezTo>
                  <a:cubicBezTo>
                    <a:pt x="359" y="273"/>
                    <a:pt x="359" y="276"/>
                    <a:pt x="361" y="278"/>
                  </a:cubicBezTo>
                  <a:cubicBezTo>
                    <a:pt x="362" y="280"/>
                    <a:pt x="364" y="281"/>
                    <a:pt x="366" y="281"/>
                  </a:cubicBezTo>
                  <a:cubicBezTo>
                    <a:pt x="369" y="281"/>
                    <a:pt x="371" y="280"/>
                    <a:pt x="372" y="278"/>
                  </a:cubicBezTo>
                  <a:close/>
                  <a:moveTo>
                    <a:pt x="369" y="270"/>
                  </a:moveTo>
                  <a:lnTo>
                    <a:pt x="369" y="270"/>
                  </a:lnTo>
                  <a:cubicBezTo>
                    <a:pt x="369" y="272"/>
                    <a:pt x="368" y="274"/>
                    <a:pt x="368" y="275"/>
                  </a:cubicBezTo>
                  <a:cubicBezTo>
                    <a:pt x="368" y="276"/>
                    <a:pt x="367" y="276"/>
                    <a:pt x="366" y="276"/>
                  </a:cubicBezTo>
                  <a:cubicBezTo>
                    <a:pt x="366" y="276"/>
                    <a:pt x="365" y="276"/>
                    <a:pt x="365" y="275"/>
                  </a:cubicBezTo>
                  <a:cubicBezTo>
                    <a:pt x="365" y="274"/>
                    <a:pt x="364" y="272"/>
                    <a:pt x="364" y="270"/>
                  </a:cubicBezTo>
                  <a:cubicBezTo>
                    <a:pt x="364" y="267"/>
                    <a:pt x="365" y="265"/>
                    <a:pt x="365" y="265"/>
                  </a:cubicBezTo>
                  <a:cubicBezTo>
                    <a:pt x="365" y="264"/>
                    <a:pt x="366" y="263"/>
                    <a:pt x="366" y="263"/>
                  </a:cubicBezTo>
                  <a:cubicBezTo>
                    <a:pt x="367" y="263"/>
                    <a:pt x="368" y="264"/>
                    <a:pt x="368" y="265"/>
                  </a:cubicBezTo>
                  <a:cubicBezTo>
                    <a:pt x="368" y="266"/>
                    <a:pt x="369" y="267"/>
                    <a:pt x="369" y="270"/>
                  </a:cubicBezTo>
                  <a:close/>
                  <a:moveTo>
                    <a:pt x="372" y="231"/>
                  </a:moveTo>
                  <a:lnTo>
                    <a:pt x="372" y="231"/>
                  </a:lnTo>
                  <a:cubicBezTo>
                    <a:pt x="374" y="229"/>
                    <a:pt x="374" y="226"/>
                    <a:pt x="374" y="222"/>
                  </a:cubicBezTo>
                  <a:cubicBezTo>
                    <a:pt x="374" y="219"/>
                    <a:pt x="374" y="216"/>
                    <a:pt x="372" y="214"/>
                  </a:cubicBezTo>
                  <a:cubicBezTo>
                    <a:pt x="371" y="212"/>
                    <a:pt x="369" y="211"/>
                    <a:pt x="366" y="211"/>
                  </a:cubicBezTo>
                  <a:cubicBezTo>
                    <a:pt x="364" y="211"/>
                    <a:pt x="362" y="212"/>
                    <a:pt x="361" y="214"/>
                  </a:cubicBezTo>
                  <a:cubicBezTo>
                    <a:pt x="359" y="216"/>
                    <a:pt x="359" y="218"/>
                    <a:pt x="359" y="222"/>
                  </a:cubicBezTo>
                  <a:cubicBezTo>
                    <a:pt x="359" y="226"/>
                    <a:pt x="359" y="229"/>
                    <a:pt x="361" y="231"/>
                  </a:cubicBezTo>
                  <a:cubicBezTo>
                    <a:pt x="362" y="233"/>
                    <a:pt x="364" y="234"/>
                    <a:pt x="366" y="234"/>
                  </a:cubicBezTo>
                  <a:cubicBezTo>
                    <a:pt x="369" y="234"/>
                    <a:pt x="371" y="233"/>
                    <a:pt x="372" y="231"/>
                  </a:cubicBezTo>
                  <a:close/>
                  <a:moveTo>
                    <a:pt x="369" y="222"/>
                  </a:moveTo>
                  <a:lnTo>
                    <a:pt x="369" y="222"/>
                  </a:lnTo>
                  <a:cubicBezTo>
                    <a:pt x="369" y="225"/>
                    <a:pt x="368" y="227"/>
                    <a:pt x="368" y="227"/>
                  </a:cubicBezTo>
                  <a:cubicBezTo>
                    <a:pt x="368" y="228"/>
                    <a:pt x="367" y="229"/>
                    <a:pt x="366" y="229"/>
                  </a:cubicBezTo>
                  <a:cubicBezTo>
                    <a:pt x="366" y="229"/>
                    <a:pt x="365" y="228"/>
                    <a:pt x="365" y="228"/>
                  </a:cubicBezTo>
                  <a:cubicBezTo>
                    <a:pt x="365" y="227"/>
                    <a:pt x="364" y="225"/>
                    <a:pt x="364" y="222"/>
                  </a:cubicBezTo>
                  <a:cubicBezTo>
                    <a:pt x="364" y="220"/>
                    <a:pt x="365" y="218"/>
                    <a:pt x="365" y="217"/>
                  </a:cubicBezTo>
                  <a:cubicBezTo>
                    <a:pt x="365" y="216"/>
                    <a:pt x="366" y="216"/>
                    <a:pt x="366" y="216"/>
                  </a:cubicBezTo>
                  <a:cubicBezTo>
                    <a:pt x="367" y="216"/>
                    <a:pt x="368" y="216"/>
                    <a:pt x="368" y="217"/>
                  </a:cubicBezTo>
                  <a:cubicBezTo>
                    <a:pt x="368" y="218"/>
                    <a:pt x="369" y="220"/>
                    <a:pt x="369" y="222"/>
                  </a:cubicBezTo>
                  <a:close/>
                  <a:moveTo>
                    <a:pt x="366" y="186"/>
                  </a:moveTo>
                  <a:lnTo>
                    <a:pt x="366" y="186"/>
                  </a:lnTo>
                  <a:lnTo>
                    <a:pt x="372" y="186"/>
                  </a:lnTo>
                  <a:lnTo>
                    <a:pt x="372" y="164"/>
                  </a:lnTo>
                  <a:lnTo>
                    <a:pt x="366" y="164"/>
                  </a:lnTo>
                  <a:lnTo>
                    <a:pt x="359" y="170"/>
                  </a:lnTo>
                  <a:lnTo>
                    <a:pt x="362" y="174"/>
                  </a:lnTo>
                  <a:lnTo>
                    <a:pt x="364" y="172"/>
                  </a:lnTo>
                  <a:cubicBezTo>
                    <a:pt x="365" y="171"/>
                    <a:pt x="365" y="171"/>
                    <a:pt x="366" y="171"/>
                  </a:cubicBezTo>
                  <a:cubicBezTo>
                    <a:pt x="366" y="172"/>
                    <a:pt x="366" y="173"/>
                    <a:pt x="366" y="174"/>
                  </a:cubicBezTo>
                  <a:lnTo>
                    <a:pt x="366" y="186"/>
                  </a:lnTo>
                  <a:lnTo>
                    <a:pt x="366" y="186"/>
                  </a:lnTo>
                  <a:close/>
                  <a:moveTo>
                    <a:pt x="354" y="231"/>
                  </a:moveTo>
                  <a:lnTo>
                    <a:pt x="354" y="231"/>
                  </a:lnTo>
                  <a:cubicBezTo>
                    <a:pt x="356" y="229"/>
                    <a:pt x="356" y="226"/>
                    <a:pt x="356" y="222"/>
                  </a:cubicBezTo>
                  <a:cubicBezTo>
                    <a:pt x="356" y="219"/>
                    <a:pt x="356" y="216"/>
                    <a:pt x="354" y="214"/>
                  </a:cubicBezTo>
                  <a:cubicBezTo>
                    <a:pt x="353" y="212"/>
                    <a:pt x="351" y="211"/>
                    <a:pt x="348" y="211"/>
                  </a:cubicBezTo>
                  <a:cubicBezTo>
                    <a:pt x="346" y="211"/>
                    <a:pt x="344" y="212"/>
                    <a:pt x="342" y="214"/>
                  </a:cubicBezTo>
                  <a:cubicBezTo>
                    <a:pt x="341" y="216"/>
                    <a:pt x="340" y="218"/>
                    <a:pt x="340" y="222"/>
                  </a:cubicBezTo>
                  <a:cubicBezTo>
                    <a:pt x="340" y="226"/>
                    <a:pt x="341" y="229"/>
                    <a:pt x="342" y="231"/>
                  </a:cubicBezTo>
                  <a:cubicBezTo>
                    <a:pt x="344" y="233"/>
                    <a:pt x="346" y="234"/>
                    <a:pt x="348" y="234"/>
                  </a:cubicBezTo>
                  <a:cubicBezTo>
                    <a:pt x="351" y="234"/>
                    <a:pt x="353" y="233"/>
                    <a:pt x="354" y="231"/>
                  </a:cubicBezTo>
                  <a:close/>
                  <a:moveTo>
                    <a:pt x="350" y="222"/>
                  </a:moveTo>
                  <a:lnTo>
                    <a:pt x="350" y="222"/>
                  </a:lnTo>
                  <a:cubicBezTo>
                    <a:pt x="350" y="225"/>
                    <a:pt x="350" y="227"/>
                    <a:pt x="350" y="227"/>
                  </a:cubicBezTo>
                  <a:cubicBezTo>
                    <a:pt x="350" y="228"/>
                    <a:pt x="349" y="229"/>
                    <a:pt x="348" y="229"/>
                  </a:cubicBezTo>
                  <a:cubicBezTo>
                    <a:pt x="348" y="229"/>
                    <a:pt x="347" y="228"/>
                    <a:pt x="347" y="228"/>
                  </a:cubicBezTo>
                  <a:cubicBezTo>
                    <a:pt x="347" y="227"/>
                    <a:pt x="346" y="225"/>
                    <a:pt x="346" y="222"/>
                  </a:cubicBezTo>
                  <a:cubicBezTo>
                    <a:pt x="346" y="220"/>
                    <a:pt x="347" y="218"/>
                    <a:pt x="347" y="217"/>
                  </a:cubicBezTo>
                  <a:cubicBezTo>
                    <a:pt x="347" y="216"/>
                    <a:pt x="348" y="216"/>
                    <a:pt x="348" y="216"/>
                  </a:cubicBezTo>
                  <a:cubicBezTo>
                    <a:pt x="349" y="216"/>
                    <a:pt x="350" y="216"/>
                    <a:pt x="350" y="217"/>
                  </a:cubicBezTo>
                  <a:cubicBezTo>
                    <a:pt x="350" y="218"/>
                    <a:pt x="350" y="220"/>
                    <a:pt x="350" y="222"/>
                  </a:cubicBezTo>
                  <a:close/>
                  <a:moveTo>
                    <a:pt x="354" y="184"/>
                  </a:moveTo>
                  <a:lnTo>
                    <a:pt x="354" y="184"/>
                  </a:lnTo>
                  <a:cubicBezTo>
                    <a:pt x="356" y="182"/>
                    <a:pt x="356" y="179"/>
                    <a:pt x="356" y="175"/>
                  </a:cubicBezTo>
                  <a:cubicBezTo>
                    <a:pt x="356" y="171"/>
                    <a:pt x="356" y="169"/>
                    <a:pt x="354" y="167"/>
                  </a:cubicBezTo>
                  <a:cubicBezTo>
                    <a:pt x="353" y="165"/>
                    <a:pt x="351" y="164"/>
                    <a:pt x="348" y="164"/>
                  </a:cubicBezTo>
                  <a:cubicBezTo>
                    <a:pt x="346" y="164"/>
                    <a:pt x="344" y="165"/>
                    <a:pt x="342" y="166"/>
                  </a:cubicBezTo>
                  <a:cubicBezTo>
                    <a:pt x="341" y="168"/>
                    <a:pt x="340" y="171"/>
                    <a:pt x="340" y="175"/>
                  </a:cubicBezTo>
                  <a:cubicBezTo>
                    <a:pt x="340" y="179"/>
                    <a:pt x="341" y="182"/>
                    <a:pt x="342" y="184"/>
                  </a:cubicBezTo>
                  <a:cubicBezTo>
                    <a:pt x="344" y="185"/>
                    <a:pt x="346" y="186"/>
                    <a:pt x="348" y="186"/>
                  </a:cubicBezTo>
                  <a:cubicBezTo>
                    <a:pt x="351" y="186"/>
                    <a:pt x="353" y="185"/>
                    <a:pt x="354" y="184"/>
                  </a:cubicBezTo>
                  <a:close/>
                  <a:moveTo>
                    <a:pt x="350" y="175"/>
                  </a:moveTo>
                  <a:lnTo>
                    <a:pt x="350" y="175"/>
                  </a:lnTo>
                  <a:cubicBezTo>
                    <a:pt x="350" y="178"/>
                    <a:pt x="350" y="179"/>
                    <a:pt x="350" y="180"/>
                  </a:cubicBezTo>
                  <a:cubicBezTo>
                    <a:pt x="350" y="181"/>
                    <a:pt x="349" y="182"/>
                    <a:pt x="348" y="182"/>
                  </a:cubicBezTo>
                  <a:cubicBezTo>
                    <a:pt x="348" y="182"/>
                    <a:pt x="347" y="181"/>
                    <a:pt x="347" y="180"/>
                  </a:cubicBezTo>
                  <a:cubicBezTo>
                    <a:pt x="347" y="179"/>
                    <a:pt x="346" y="178"/>
                    <a:pt x="346" y="175"/>
                  </a:cubicBezTo>
                  <a:cubicBezTo>
                    <a:pt x="346" y="173"/>
                    <a:pt x="347" y="171"/>
                    <a:pt x="347" y="170"/>
                  </a:cubicBezTo>
                  <a:cubicBezTo>
                    <a:pt x="347" y="169"/>
                    <a:pt x="348" y="169"/>
                    <a:pt x="348" y="169"/>
                  </a:cubicBezTo>
                  <a:cubicBezTo>
                    <a:pt x="349" y="169"/>
                    <a:pt x="350" y="169"/>
                    <a:pt x="350" y="170"/>
                  </a:cubicBezTo>
                  <a:cubicBezTo>
                    <a:pt x="350" y="171"/>
                    <a:pt x="350" y="173"/>
                    <a:pt x="350" y="175"/>
                  </a:cubicBezTo>
                  <a:close/>
                  <a:moveTo>
                    <a:pt x="336" y="184"/>
                  </a:moveTo>
                  <a:lnTo>
                    <a:pt x="336" y="184"/>
                  </a:lnTo>
                  <a:cubicBezTo>
                    <a:pt x="338" y="182"/>
                    <a:pt x="338" y="179"/>
                    <a:pt x="338" y="175"/>
                  </a:cubicBezTo>
                  <a:cubicBezTo>
                    <a:pt x="338" y="171"/>
                    <a:pt x="338" y="169"/>
                    <a:pt x="336" y="167"/>
                  </a:cubicBezTo>
                  <a:cubicBezTo>
                    <a:pt x="335" y="165"/>
                    <a:pt x="333" y="164"/>
                    <a:pt x="330" y="164"/>
                  </a:cubicBezTo>
                  <a:cubicBezTo>
                    <a:pt x="328" y="164"/>
                    <a:pt x="326" y="165"/>
                    <a:pt x="324" y="166"/>
                  </a:cubicBezTo>
                  <a:cubicBezTo>
                    <a:pt x="323" y="168"/>
                    <a:pt x="322" y="171"/>
                    <a:pt x="322" y="175"/>
                  </a:cubicBezTo>
                  <a:cubicBezTo>
                    <a:pt x="322" y="179"/>
                    <a:pt x="323" y="182"/>
                    <a:pt x="324" y="184"/>
                  </a:cubicBezTo>
                  <a:cubicBezTo>
                    <a:pt x="326" y="185"/>
                    <a:pt x="328" y="186"/>
                    <a:pt x="330" y="186"/>
                  </a:cubicBezTo>
                  <a:cubicBezTo>
                    <a:pt x="333" y="186"/>
                    <a:pt x="335" y="185"/>
                    <a:pt x="336" y="184"/>
                  </a:cubicBezTo>
                  <a:close/>
                  <a:moveTo>
                    <a:pt x="332" y="175"/>
                  </a:moveTo>
                  <a:lnTo>
                    <a:pt x="332" y="175"/>
                  </a:lnTo>
                  <a:cubicBezTo>
                    <a:pt x="332" y="178"/>
                    <a:pt x="332" y="179"/>
                    <a:pt x="332" y="180"/>
                  </a:cubicBezTo>
                  <a:cubicBezTo>
                    <a:pt x="332" y="181"/>
                    <a:pt x="331" y="182"/>
                    <a:pt x="330" y="182"/>
                  </a:cubicBezTo>
                  <a:cubicBezTo>
                    <a:pt x="330" y="182"/>
                    <a:pt x="329" y="181"/>
                    <a:pt x="329" y="180"/>
                  </a:cubicBezTo>
                  <a:cubicBezTo>
                    <a:pt x="328" y="179"/>
                    <a:pt x="328" y="178"/>
                    <a:pt x="328" y="175"/>
                  </a:cubicBezTo>
                  <a:cubicBezTo>
                    <a:pt x="328" y="173"/>
                    <a:pt x="328" y="171"/>
                    <a:pt x="329" y="170"/>
                  </a:cubicBezTo>
                  <a:cubicBezTo>
                    <a:pt x="329" y="169"/>
                    <a:pt x="330" y="169"/>
                    <a:pt x="330" y="169"/>
                  </a:cubicBezTo>
                  <a:cubicBezTo>
                    <a:pt x="331" y="169"/>
                    <a:pt x="332" y="169"/>
                    <a:pt x="332" y="170"/>
                  </a:cubicBezTo>
                  <a:cubicBezTo>
                    <a:pt x="332" y="171"/>
                    <a:pt x="332" y="173"/>
                    <a:pt x="332" y="175"/>
                  </a:cubicBezTo>
                  <a:close/>
                  <a:moveTo>
                    <a:pt x="318" y="231"/>
                  </a:moveTo>
                  <a:lnTo>
                    <a:pt x="318" y="231"/>
                  </a:lnTo>
                  <a:cubicBezTo>
                    <a:pt x="320" y="229"/>
                    <a:pt x="320" y="226"/>
                    <a:pt x="320" y="222"/>
                  </a:cubicBezTo>
                  <a:cubicBezTo>
                    <a:pt x="320" y="219"/>
                    <a:pt x="320" y="216"/>
                    <a:pt x="318" y="214"/>
                  </a:cubicBezTo>
                  <a:cubicBezTo>
                    <a:pt x="317" y="212"/>
                    <a:pt x="315" y="211"/>
                    <a:pt x="312" y="211"/>
                  </a:cubicBezTo>
                  <a:cubicBezTo>
                    <a:pt x="310" y="211"/>
                    <a:pt x="308" y="212"/>
                    <a:pt x="306" y="214"/>
                  </a:cubicBezTo>
                  <a:cubicBezTo>
                    <a:pt x="305" y="216"/>
                    <a:pt x="304" y="218"/>
                    <a:pt x="304" y="222"/>
                  </a:cubicBezTo>
                  <a:cubicBezTo>
                    <a:pt x="304" y="226"/>
                    <a:pt x="305" y="229"/>
                    <a:pt x="306" y="231"/>
                  </a:cubicBezTo>
                  <a:cubicBezTo>
                    <a:pt x="308" y="233"/>
                    <a:pt x="310" y="234"/>
                    <a:pt x="312" y="234"/>
                  </a:cubicBezTo>
                  <a:cubicBezTo>
                    <a:pt x="315" y="234"/>
                    <a:pt x="317" y="233"/>
                    <a:pt x="318" y="231"/>
                  </a:cubicBezTo>
                  <a:close/>
                  <a:moveTo>
                    <a:pt x="314" y="222"/>
                  </a:moveTo>
                  <a:lnTo>
                    <a:pt x="314" y="222"/>
                  </a:lnTo>
                  <a:cubicBezTo>
                    <a:pt x="314" y="225"/>
                    <a:pt x="314" y="227"/>
                    <a:pt x="314" y="227"/>
                  </a:cubicBezTo>
                  <a:cubicBezTo>
                    <a:pt x="314" y="228"/>
                    <a:pt x="313" y="229"/>
                    <a:pt x="312" y="229"/>
                  </a:cubicBezTo>
                  <a:cubicBezTo>
                    <a:pt x="312" y="229"/>
                    <a:pt x="311" y="228"/>
                    <a:pt x="311" y="228"/>
                  </a:cubicBezTo>
                  <a:cubicBezTo>
                    <a:pt x="310" y="227"/>
                    <a:pt x="310" y="225"/>
                    <a:pt x="310" y="222"/>
                  </a:cubicBezTo>
                  <a:cubicBezTo>
                    <a:pt x="310" y="220"/>
                    <a:pt x="310" y="218"/>
                    <a:pt x="311" y="217"/>
                  </a:cubicBezTo>
                  <a:cubicBezTo>
                    <a:pt x="311" y="216"/>
                    <a:pt x="312" y="216"/>
                    <a:pt x="312" y="216"/>
                  </a:cubicBezTo>
                  <a:cubicBezTo>
                    <a:pt x="313" y="216"/>
                    <a:pt x="314" y="216"/>
                    <a:pt x="314" y="217"/>
                  </a:cubicBezTo>
                  <a:cubicBezTo>
                    <a:pt x="314" y="218"/>
                    <a:pt x="314" y="220"/>
                    <a:pt x="314" y="222"/>
                  </a:cubicBezTo>
                  <a:close/>
                  <a:moveTo>
                    <a:pt x="311" y="186"/>
                  </a:moveTo>
                  <a:lnTo>
                    <a:pt x="311" y="186"/>
                  </a:lnTo>
                  <a:lnTo>
                    <a:pt x="317" y="186"/>
                  </a:lnTo>
                  <a:lnTo>
                    <a:pt x="317" y="164"/>
                  </a:lnTo>
                  <a:lnTo>
                    <a:pt x="312" y="164"/>
                  </a:lnTo>
                  <a:lnTo>
                    <a:pt x="305" y="170"/>
                  </a:lnTo>
                  <a:lnTo>
                    <a:pt x="308" y="174"/>
                  </a:lnTo>
                  <a:lnTo>
                    <a:pt x="310" y="172"/>
                  </a:lnTo>
                  <a:cubicBezTo>
                    <a:pt x="311" y="171"/>
                    <a:pt x="311" y="171"/>
                    <a:pt x="312" y="171"/>
                  </a:cubicBezTo>
                  <a:cubicBezTo>
                    <a:pt x="311" y="172"/>
                    <a:pt x="311" y="173"/>
                    <a:pt x="311" y="174"/>
                  </a:cubicBezTo>
                  <a:lnTo>
                    <a:pt x="311" y="186"/>
                  </a:lnTo>
                  <a:lnTo>
                    <a:pt x="311" y="186"/>
                  </a:lnTo>
                  <a:close/>
                  <a:moveTo>
                    <a:pt x="300" y="278"/>
                  </a:moveTo>
                  <a:lnTo>
                    <a:pt x="300" y="278"/>
                  </a:lnTo>
                  <a:cubicBezTo>
                    <a:pt x="302" y="276"/>
                    <a:pt x="302" y="274"/>
                    <a:pt x="302" y="270"/>
                  </a:cubicBezTo>
                  <a:cubicBezTo>
                    <a:pt x="302" y="266"/>
                    <a:pt x="302" y="263"/>
                    <a:pt x="300" y="261"/>
                  </a:cubicBezTo>
                  <a:cubicBezTo>
                    <a:pt x="299" y="259"/>
                    <a:pt x="297" y="258"/>
                    <a:pt x="294" y="258"/>
                  </a:cubicBezTo>
                  <a:cubicBezTo>
                    <a:pt x="292" y="258"/>
                    <a:pt x="290" y="259"/>
                    <a:pt x="288" y="261"/>
                  </a:cubicBezTo>
                  <a:cubicBezTo>
                    <a:pt x="287" y="263"/>
                    <a:pt x="286" y="266"/>
                    <a:pt x="286" y="270"/>
                  </a:cubicBezTo>
                  <a:cubicBezTo>
                    <a:pt x="286" y="273"/>
                    <a:pt x="287" y="276"/>
                    <a:pt x="288" y="278"/>
                  </a:cubicBezTo>
                  <a:cubicBezTo>
                    <a:pt x="290" y="280"/>
                    <a:pt x="292" y="281"/>
                    <a:pt x="294" y="281"/>
                  </a:cubicBezTo>
                  <a:cubicBezTo>
                    <a:pt x="297" y="281"/>
                    <a:pt x="299" y="280"/>
                    <a:pt x="300" y="278"/>
                  </a:cubicBezTo>
                  <a:close/>
                  <a:moveTo>
                    <a:pt x="296" y="270"/>
                  </a:moveTo>
                  <a:lnTo>
                    <a:pt x="296" y="270"/>
                  </a:lnTo>
                  <a:cubicBezTo>
                    <a:pt x="296" y="272"/>
                    <a:pt x="296" y="274"/>
                    <a:pt x="296" y="275"/>
                  </a:cubicBezTo>
                  <a:cubicBezTo>
                    <a:pt x="296" y="276"/>
                    <a:pt x="295" y="276"/>
                    <a:pt x="294" y="276"/>
                  </a:cubicBezTo>
                  <a:cubicBezTo>
                    <a:pt x="294" y="276"/>
                    <a:pt x="293" y="276"/>
                    <a:pt x="293" y="275"/>
                  </a:cubicBezTo>
                  <a:cubicBezTo>
                    <a:pt x="292" y="274"/>
                    <a:pt x="292" y="272"/>
                    <a:pt x="292" y="270"/>
                  </a:cubicBezTo>
                  <a:cubicBezTo>
                    <a:pt x="292" y="267"/>
                    <a:pt x="292" y="265"/>
                    <a:pt x="293" y="265"/>
                  </a:cubicBezTo>
                  <a:cubicBezTo>
                    <a:pt x="293" y="264"/>
                    <a:pt x="294" y="263"/>
                    <a:pt x="294" y="263"/>
                  </a:cubicBezTo>
                  <a:cubicBezTo>
                    <a:pt x="295" y="263"/>
                    <a:pt x="296" y="264"/>
                    <a:pt x="296" y="265"/>
                  </a:cubicBezTo>
                  <a:cubicBezTo>
                    <a:pt x="296" y="266"/>
                    <a:pt x="296" y="267"/>
                    <a:pt x="296" y="270"/>
                  </a:cubicBezTo>
                  <a:close/>
                  <a:moveTo>
                    <a:pt x="292" y="219"/>
                  </a:moveTo>
                  <a:lnTo>
                    <a:pt x="292" y="219"/>
                  </a:lnTo>
                  <a:cubicBezTo>
                    <a:pt x="293" y="219"/>
                    <a:pt x="293" y="218"/>
                    <a:pt x="293" y="218"/>
                  </a:cubicBezTo>
                  <a:cubicBezTo>
                    <a:pt x="293" y="219"/>
                    <a:pt x="293" y="220"/>
                    <a:pt x="293" y="222"/>
                  </a:cubicBezTo>
                  <a:lnTo>
                    <a:pt x="293" y="233"/>
                  </a:lnTo>
                  <a:lnTo>
                    <a:pt x="299" y="233"/>
                  </a:lnTo>
                  <a:lnTo>
                    <a:pt x="299" y="211"/>
                  </a:lnTo>
                  <a:lnTo>
                    <a:pt x="294" y="211"/>
                  </a:lnTo>
                  <a:lnTo>
                    <a:pt x="286" y="218"/>
                  </a:lnTo>
                  <a:lnTo>
                    <a:pt x="290" y="221"/>
                  </a:lnTo>
                  <a:lnTo>
                    <a:pt x="292" y="219"/>
                  </a:lnTo>
                  <a:lnTo>
                    <a:pt x="292" y="219"/>
                  </a:lnTo>
                  <a:close/>
                  <a:moveTo>
                    <a:pt x="300" y="184"/>
                  </a:moveTo>
                  <a:lnTo>
                    <a:pt x="300" y="184"/>
                  </a:lnTo>
                  <a:cubicBezTo>
                    <a:pt x="302" y="182"/>
                    <a:pt x="302" y="179"/>
                    <a:pt x="302" y="175"/>
                  </a:cubicBezTo>
                  <a:cubicBezTo>
                    <a:pt x="302" y="171"/>
                    <a:pt x="302" y="169"/>
                    <a:pt x="300" y="167"/>
                  </a:cubicBezTo>
                  <a:cubicBezTo>
                    <a:pt x="299" y="165"/>
                    <a:pt x="297" y="164"/>
                    <a:pt x="294" y="164"/>
                  </a:cubicBezTo>
                  <a:cubicBezTo>
                    <a:pt x="292" y="164"/>
                    <a:pt x="290" y="165"/>
                    <a:pt x="288" y="166"/>
                  </a:cubicBezTo>
                  <a:cubicBezTo>
                    <a:pt x="287" y="168"/>
                    <a:pt x="286" y="171"/>
                    <a:pt x="286" y="175"/>
                  </a:cubicBezTo>
                  <a:cubicBezTo>
                    <a:pt x="286" y="179"/>
                    <a:pt x="287" y="182"/>
                    <a:pt x="288" y="184"/>
                  </a:cubicBezTo>
                  <a:cubicBezTo>
                    <a:pt x="290" y="185"/>
                    <a:pt x="292" y="186"/>
                    <a:pt x="294" y="186"/>
                  </a:cubicBezTo>
                  <a:cubicBezTo>
                    <a:pt x="297" y="186"/>
                    <a:pt x="299" y="185"/>
                    <a:pt x="300" y="184"/>
                  </a:cubicBezTo>
                  <a:close/>
                  <a:moveTo>
                    <a:pt x="296" y="175"/>
                  </a:moveTo>
                  <a:lnTo>
                    <a:pt x="296" y="175"/>
                  </a:lnTo>
                  <a:cubicBezTo>
                    <a:pt x="296" y="178"/>
                    <a:pt x="296" y="179"/>
                    <a:pt x="296" y="180"/>
                  </a:cubicBezTo>
                  <a:cubicBezTo>
                    <a:pt x="296" y="181"/>
                    <a:pt x="295" y="182"/>
                    <a:pt x="294" y="182"/>
                  </a:cubicBezTo>
                  <a:cubicBezTo>
                    <a:pt x="294" y="182"/>
                    <a:pt x="293" y="181"/>
                    <a:pt x="293" y="180"/>
                  </a:cubicBezTo>
                  <a:cubicBezTo>
                    <a:pt x="292" y="179"/>
                    <a:pt x="292" y="178"/>
                    <a:pt x="292" y="175"/>
                  </a:cubicBezTo>
                  <a:cubicBezTo>
                    <a:pt x="292" y="173"/>
                    <a:pt x="292" y="171"/>
                    <a:pt x="293" y="170"/>
                  </a:cubicBezTo>
                  <a:cubicBezTo>
                    <a:pt x="293" y="169"/>
                    <a:pt x="294" y="169"/>
                    <a:pt x="294" y="169"/>
                  </a:cubicBezTo>
                  <a:cubicBezTo>
                    <a:pt x="295" y="169"/>
                    <a:pt x="296" y="169"/>
                    <a:pt x="296" y="170"/>
                  </a:cubicBezTo>
                  <a:cubicBezTo>
                    <a:pt x="296" y="171"/>
                    <a:pt x="296" y="173"/>
                    <a:pt x="296" y="175"/>
                  </a:cubicBezTo>
                  <a:close/>
                  <a:moveTo>
                    <a:pt x="312" y="259"/>
                  </a:moveTo>
                  <a:lnTo>
                    <a:pt x="312" y="259"/>
                  </a:lnTo>
                  <a:lnTo>
                    <a:pt x="305" y="265"/>
                  </a:lnTo>
                  <a:lnTo>
                    <a:pt x="308" y="269"/>
                  </a:lnTo>
                  <a:lnTo>
                    <a:pt x="310" y="267"/>
                  </a:lnTo>
                  <a:cubicBezTo>
                    <a:pt x="311" y="266"/>
                    <a:pt x="311" y="266"/>
                    <a:pt x="312" y="265"/>
                  </a:cubicBezTo>
                  <a:cubicBezTo>
                    <a:pt x="311" y="266"/>
                    <a:pt x="311" y="268"/>
                    <a:pt x="311" y="269"/>
                  </a:cubicBezTo>
                  <a:lnTo>
                    <a:pt x="311" y="281"/>
                  </a:lnTo>
                  <a:lnTo>
                    <a:pt x="317" y="281"/>
                  </a:lnTo>
                  <a:lnTo>
                    <a:pt x="317" y="259"/>
                  </a:lnTo>
                  <a:lnTo>
                    <a:pt x="312" y="259"/>
                  </a:lnTo>
                  <a:lnTo>
                    <a:pt x="312" y="259"/>
                  </a:lnTo>
                  <a:close/>
                  <a:moveTo>
                    <a:pt x="330" y="211"/>
                  </a:moveTo>
                  <a:lnTo>
                    <a:pt x="330" y="211"/>
                  </a:lnTo>
                  <a:lnTo>
                    <a:pt x="323" y="218"/>
                  </a:lnTo>
                  <a:lnTo>
                    <a:pt x="326" y="221"/>
                  </a:lnTo>
                  <a:lnTo>
                    <a:pt x="328" y="219"/>
                  </a:lnTo>
                  <a:cubicBezTo>
                    <a:pt x="329" y="219"/>
                    <a:pt x="329" y="218"/>
                    <a:pt x="330" y="218"/>
                  </a:cubicBezTo>
                  <a:cubicBezTo>
                    <a:pt x="330" y="219"/>
                    <a:pt x="329" y="220"/>
                    <a:pt x="329" y="222"/>
                  </a:cubicBezTo>
                  <a:lnTo>
                    <a:pt x="329" y="233"/>
                  </a:lnTo>
                  <a:lnTo>
                    <a:pt x="336" y="233"/>
                  </a:lnTo>
                  <a:lnTo>
                    <a:pt x="336" y="211"/>
                  </a:lnTo>
                  <a:lnTo>
                    <a:pt x="330" y="211"/>
                  </a:lnTo>
                  <a:lnTo>
                    <a:pt x="330" y="211"/>
                  </a:lnTo>
                  <a:close/>
                  <a:moveTo>
                    <a:pt x="330" y="259"/>
                  </a:moveTo>
                  <a:lnTo>
                    <a:pt x="330" y="259"/>
                  </a:lnTo>
                  <a:lnTo>
                    <a:pt x="323" y="265"/>
                  </a:lnTo>
                  <a:lnTo>
                    <a:pt x="326" y="269"/>
                  </a:lnTo>
                  <a:lnTo>
                    <a:pt x="328" y="267"/>
                  </a:lnTo>
                  <a:cubicBezTo>
                    <a:pt x="329" y="266"/>
                    <a:pt x="329" y="266"/>
                    <a:pt x="330" y="265"/>
                  </a:cubicBezTo>
                  <a:cubicBezTo>
                    <a:pt x="330" y="266"/>
                    <a:pt x="329" y="268"/>
                    <a:pt x="329" y="269"/>
                  </a:cubicBezTo>
                  <a:lnTo>
                    <a:pt x="329" y="281"/>
                  </a:lnTo>
                  <a:lnTo>
                    <a:pt x="336" y="281"/>
                  </a:lnTo>
                  <a:lnTo>
                    <a:pt x="336" y="259"/>
                  </a:lnTo>
                  <a:lnTo>
                    <a:pt x="330" y="259"/>
                  </a:lnTo>
                  <a:lnTo>
                    <a:pt x="330" y="259"/>
                  </a:lnTo>
                  <a:close/>
                  <a:moveTo>
                    <a:pt x="348" y="259"/>
                  </a:moveTo>
                  <a:lnTo>
                    <a:pt x="348" y="259"/>
                  </a:lnTo>
                  <a:lnTo>
                    <a:pt x="341" y="265"/>
                  </a:lnTo>
                  <a:lnTo>
                    <a:pt x="344" y="269"/>
                  </a:lnTo>
                  <a:lnTo>
                    <a:pt x="346" y="267"/>
                  </a:lnTo>
                  <a:cubicBezTo>
                    <a:pt x="347" y="266"/>
                    <a:pt x="347" y="266"/>
                    <a:pt x="348" y="265"/>
                  </a:cubicBezTo>
                  <a:cubicBezTo>
                    <a:pt x="348" y="266"/>
                    <a:pt x="348" y="268"/>
                    <a:pt x="348" y="269"/>
                  </a:cubicBezTo>
                  <a:lnTo>
                    <a:pt x="348" y="281"/>
                  </a:lnTo>
                  <a:lnTo>
                    <a:pt x="354" y="281"/>
                  </a:lnTo>
                  <a:lnTo>
                    <a:pt x="354" y="259"/>
                  </a:lnTo>
                  <a:lnTo>
                    <a:pt x="348" y="259"/>
                  </a:lnTo>
                  <a:lnTo>
                    <a:pt x="348" y="259"/>
                  </a:lnTo>
                  <a:close/>
                  <a:moveTo>
                    <a:pt x="282" y="231"/>
                  </a:moveTo>
                  <a:lnTo>
                    <a:pt x="282" y="231"/>
                  </a:lnTo>
                  <a:cubicBezTo>
                    <a:pt x="283" y="229"/>
                    <a:pt x="284" y="226"/>
                    <a:pt x="284" y="222"/>
                  </a:cubicBezTo>
                  <a:cubicBezTo>
                    <a:pt x="284" y="219"/>
                    <a:pt x="283" y="216"/>
                    <a:pt x="282" y="214"/>
                  </a:cubicBezTo>
                  <a:cubicBezTo>
                    <a:pt x="281" y="212"/>
                    <a:pt x="279" y="211"/>
                    <a:pt x="276" y="211"/>
                  </a:cubicBezTo>
                  <a:cubicBezTo>
                    <a:pt x="274" y="211"/>
                    <a:pt x="272" y="212"/>
                    <a:pt x="270" y="214"/>
                  </a:cubicBezTo>
                  <a:cubicBezTo>
                    <a:pt x="269" y="216"/>
                    <a:pt x="268" y="218"/>
                    <a:pt x="268" y="222"/>
                  </a:cubicBezTo>
                  <a:cubicBezTo>
                    <a:pt x="268" y="226"/>
                    <a:pt x="269" y="229"/>
                    <a:pt x="270" y="231"/>
                  </a:cubicBezTo>
                  <a:cubicBezTo>
                    <a:pt x="272" y="233"/>
                    <a:pt x="274" y="234"/>
                    <a:pt x="276" y="234"/>
                  </a:cubicBezTo>
                  <a:cubicBezTo>
                    <a:pt x="279" y="234"/>
                    <a:pt x="281" y="233"/>
                    <a:pt x="282" y="231"/>
                  </a:cubicBezTo>
                  <a:close/>
                  <a:moveTo>
                    <a:pt x="278" y="222"/>
                  </a:moveTo>
                  <a:lnTo>
                    <a:pt x="278" y="222"/>
                  </a:lnTo>
                  <a:cubicBezTo>
                    <a:pt x="278" y="225"/>
                    <a:pt x="278" y="227"/>
                    <a:pt x="278" y="227"/>
                  </a:cubicBezTo>
                  <a:cubicBezTo>
                    <a:pt x="277" y="228"/>
                    <a:pt x="277" y="229"/>
                    <a:pt x="276" y="229"/>
                  </a:cubicBezTo>
                  <a:cubicBezTo>
                    <a:pt x="275" y="229"/>
                    <a:pt x="275" y="228"/>
                    <a:pt x="275" y="228"/>
                  </a:cubicBezTo>
                  <a:cubicBezTo>
                    <a:pt x="274" y="227"/>
                    <a:pt x="274" y="225"/>
                    <a:pt x="274" y="222"/>
                  </a:cubicBezTo>
                  <a:cubicBezTo>
                    <a:pt x="274" y="220"/>
                    <a:pt x="274" y="218"/>
                    <a:pt x="275" y="217"/>
                  </a:cubicBezTo>
                  <a:cubicBezTo>
                    <a:pt x="275" y="216"/>
                    <a:pt x="275" y="216"/>
                    <a:pt x="276" y="216"/>
                  </a:cubicBezTo>
                  <a:cubicBezTo>
                    <a:pt x="277" y="216"/>
                    <a:pt x="277" y="216"/>
                    <a:pt x="278" y="217"/>
                  </a:cubicBezTo>
                  <a:cubicBezTo>
                    <a:pt x="278" y="218"/>
                    <a:pt x="278" y="220"/>
                    <a:pt x="278" y="222"/>
                  </a:cubicBezTo>
                  <a:close/>
                  <a:moveTo>
                    <a:pt x="275" y="186"/>
                  </a:moveTo>
                  <a:lnTo>
                    <a:pt x="275" y="186"/>
                  </a:lnTo>
                  <a:lnTo>
                    <a:pt x="281" y="186"/>
                  </a:lnTo>
                  <a:lnTo>
                    <a:pt x="281" y="164"/>
                  </a:lnTo>
                  <a:lnTo>
                    <a:pt x="276" y="164"/>
                  </a:lnTo>
                  <a:lnTo>
                    <a:pt x="268" y="170"/>
                  </a:lnTo>
                  <a:lnTo>
                    <a:pt x="272" y="174"/>
                  </a:lnTo>
                  <a:lnTo>
                    <a:pt x="274" y="172"/>
                  </a:lnTo>
                  <a:cubicBezTo>
                    <a:pt x="275" y="171"/>
                    <a:pt x="275" y="171"/>
                    <a:pt x="275" y="171"/>
                  </a:cubicBezTo>
                  <a:cubicBezTo>
                    <a:pt x="275" y="172"/>
                    <a:pt x="275" y="173"/>
                    <a:pt x="275" y="174"/>
                  </a:cubicBezTo>
                  <a:lnTo>
                    <a:pt x="275" y="1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99" name="Freeform 7">
            <a:extLst>
              <a:ext uri="{FF2B5EF4-FFF2-40B4-BE49-F238E27FC236}">
                <a16:creationId xmlns:a16="http://schemas.microsoft.com/office/drawing/2014/main" id="{AFBDCF34-259E-4B08-9BB7-70CC0CE1D38A}"/>
              </a:ext>
            </a:extLst>
          </p:cNvPr>
          <p:cNvSpPr>
            <a:spLocks noEditPoints="1"/>
          </p:cNvSpPr>
          <p:nvPr/>
        </p:nvSpPr>
        <p:spPr bwMode="auto">
          <a:xfrm>
            <a:off x="3124744" y="2523403"/>
            <a:ext cx="369032" cy="365760"/>
          </a:xfrm>
          <a:custGeom>
            <a:avLst/>
            <a:gdLst>
              <a:gd name="T0" fmla="*/ 642 w 753"/>
              <a:gd name="T1" fmla="*/ 581 h 754"/>
              <a:gd name="T2" fmla="*/ 374 w 753"/>
              <a:gd name="T3" fmla="*/ 463 h 754"/>
              <a:gd name="T4" fmla="*/ 126 w 753"/>
              <a:gd name="T5" fmla="*/ 401 h 754"/>
              <a:gd name="T6" fmla="*/ 543 w 753"/>
              <a:gd name="T7" fmla="*/ 452 h 754"/>
              <a:gd name="T8" fmla="*/ 382 w 753"/>
              <a:gd name="T9" fmla="*/ 394 h 754"/>
              <a:gd name="T10" fmla="*/ 527 w 753"/>
              <a:gd name="T11" fmla="*/ 424 h 754"/>
              <a:gd name="T12" fmla="*/ 520 w 753"/>
              <a:gd name="T13" fmla="*/ 336 h 754"/>
              <a:gd name="T14" fmla="*/ 383 w 753"/>
              <a:gd name="T15" fmla="*/ 352 h 754"/>
              <a:gd name="T16" fmla="*/ 383 w 753"/>
              <a:gd name="T17" fmla="*/ 400 h 754"/>
              <a:gd name="T18" fmla="*/ 395 w 753"/>
              <a:gd name="T19" fmla="*/ 427 h 754"/>
              <a:gd name="T20" fmla="*/ 509 w 753"/>
              <a:gd name="T21" fmla="*/ 446 h 754"/>
              <a:gd name="T22" fmla="*/ 515 w 753"/>
              <a:gd name="T23" fmla="*/ 425 h 754"/>
              <a:gd name="T24" fmla="*/ 401 w 753"/>
              <a:gd name="T25" fmla="*/ 352 h 754"/>
              <a:gd name="T26" fmla="*/ 407 w 753"/>
              <a:gd name="T27" fmla="*/ 330 h 754"/>
              <a:gd name="T28" fmla="*/ 395 w 753"/>
              <a:gd name="T29" fmla="*/ 397 h 754"/>
              <a:gd name="T30" fmla="*/ 466 w 753"/>
              <a:gd name="T31" fmla="*/ 431 h 754"/>
              <a:gd name="T32" fmla="*/ 471 w 753"/>
              <a:gd name="T33" fmla="*/ 433 h 754"/>
              <a:gd name="T34" fmla="*/ 461 w 753"/>
              <a:gd name="T35" fmla="*/ 425 h 754"/>
              <a:gd name="T36" fmla="*/ 448 w 753"/>
              <a:gd name="T37" fmla="*/ 431 h 754"/>
              <a:gd name="T38" fmla="*/ 455 w 753"/>
              <a:gd name="T39" fmla="*/ 399 h 754"/>
              <a:gd name="T40" fmla="*/ 430 w 753"/>
              <a:gd name="T41" fmla="*/ 431 h 754"/>
              <a:gd name="T42" fmla="*/ 437 w 753"/>
              <a:gd name="T43" fmla="*/ 431 h 754"/>
              <a:gd name="T44" fmla="*/ 425 w 753"/>
              <a:gd name="T45" fmla="*/ 350 h 754"/>
              <a:gd name="T46" fmla="*/ 427 w 753"/>
              <a:gd name="T47" fmla="*/ 341 h 754"/>
              <a:gd name="T48" fmla="*/ 425 w 753"/>
              <a:gd name="T49" fmla="*/ 377 h 754"/>
              <a:gd name="T50" fmla="*/ 425 w 753"/>
              <a:gd name="T51" fmla="*/ 444 h 754"/>
              <a:gd name="T52" fmla="*/ 427 w 753"/>
              <a:gd name="T53" fmla="*/ 436 h 754"/>
              <a:gd name="T54" fmla="*/ 433 w 753"/>
              <a:gd name="T55" fmla="*/ 340 h 754"/>
              <a:gd name="T56" fmla="*/ 445 w 753"/>
              <a:gd name="T57" fmla="*/ 388 h 754"/>
              <a:gd name="T58" fmla="*/ 443 w 753"/>
              <a:gd name="T59" fmla="*/ 380 h 754"/>
              <a:gd name="T60" fmla="*/ 448 w 753"/>
              <a:gd name="T61" fmla="*/ 341 h 754"/>
              <a:gd name="T62" fmla="*/ 480 w 753"/>
              <a:gd name="T63" fmla="*/ 350 h 754"/>
              <a:gd name="T64" fmla="*/ 482 w 753"/>
              <a:gd name="T65" fmla="*/ 341 h 754"/>
              <a:gd name="T66" fmla="*/ 468 w 753"/>
              <a:gd name="T67" fmla="*/ 380 h 754"/>
              <a:gd name="T68" fmla="*/ 491 w 753"/>
              <a:gd name="T69" fmla="*/ 340 h 754"/>
              <a:gd name="T70" fmla="*/ 497 w 753"/>
              <a:gd name="T71" fmla="*/ 352 h 754"/>
              <a:gd name="T72" fmla="*/ 484 w 753"/>
              <a:gd name="T73" fmla="*/ 388 h 754"/>
              <a:gd name="T74" fmla="*/ 498 w 753"/>
              <a:gd name="T75" fmla="*/ 444 h 754"/>
              <a:gd name="T76" fmla="*/ 500 w 753"/>
              <a:gd name="T77" fmla="*/ 436 h 754"/>
              <a:gd name="T78" fmla="*/ 505 w 753"/>
              <a:gd name="T79" fmla="*/ 340 h 754"/>
              <a:gd name="T80" fmla="*/ 515 w 753"/>
              <a:gd name="T81" fmla="*/ 399 h 754"/>
              <a:gd name="T82" fmla="*/ 510 w 753"/>
              <a:gd name="T83" fmla="*/ 377 h 754"/>
              <a:gd name="T84" fmla="*/ 520 w 753"/>
              <a:gd name="T85" fmla="*/ 388 h 754"/>
              <a:gd name="T86" fmla="*/ 526 w 753"/>
              <a:gd name="T87" fmla="*/ 383 h 754"/>
              <a:gd name="T88" fmla="*/ 529 w 753"/>
              <a:gd name="T89" fmla="*/ 383 h 754"/>
              <a:gd name="T90" fmla="*/ 492 w 753"/>
              <a:gd name="T91" fmla="*/ 429 h 754"/>
              <a:gd name="T92" fmla="*/ 493 w 753"/>
              <a:gd name="T93" fmla="*/ 393 h 754"/>
              <a:gd name="T94" fmla="*/ 492 w 753"/>
              <a:gd name="T95" fmla="*/ 395 h 754"/>
              <a:gd name="T96" fmla="*/ 472 w 753"/>
              <a:gd name="T97" fmla="*/ 383 h 754"/>
              <a:gd name="T98" fmla="*/ 476 w 753"/>
              <a:gd name="T99" fmla="*/ 341 h 754"/>
              <a:gd name="T100" fmla="*/ 475 w 753"/>
              <a:gd name="T101" fmla="*/ 346 h 754"/>
              <a:gd name="T102" fmla="*/ 454 w 753"/>
              <a:gd name="T103" fmla="*/ 341 h 754"/>
              <a:gd name="T104" fmla="*/ 439 w 753"/>
              <a:gd name="T105" fmla="*/ 383 h 754"/>
              <a:gd name="T106" fmla="*/ 421 w 753"/>
              <a:gd name="T107" fmla="*/ 441 h 754"/>
              <a:gd name="T108" fmla="*/ 418 w 753"/>
              <a:gd name="T109" fmla="*/ 441 h 754"/>
              <a:gd name="T110" fmla="*/ 419 w 753"/>
              <a:gd name="T111" fmla="*/ 335 h 754"/>
              <a:gd name="T112" fmla="*/ 403 w 753"/>
              <a:gd name="T113" fmla="*/ 393 h 754"/>
              <a:gd name="T114" fmla="*/ 401 w 753"/>
              <a:gd name="T115" fmla="*/ 395 h 754"/>
              <a:gd name="T116" fmla="*/ 150 w 753"/>
              <a:gd name="T117" fmla="*/ 388 h 754"/>
              <a:gd name="T118" fmla="*/ 324 w 753"/>
              <a:gd name="T119" fmla="*/ 438 h 754"/>
              <a:gd name="T120" fmla="*/ 400 w 753"/>
              <a:gd name="T121" fmla="*/ 441 h 754"/>
              <a:gd name="T122" fmla="*/ 400 w 753"/>
              <a:gd name="T123" fmla="*/ 431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3" h="754">
                <a:moveTo>
                  <a:pt x="753" y="377"/>
                </a:moveTo>
                <a:lnTo>
                  <a:pt x="753" y="377"/>
                </a:lnTo>
                <a:cubicBezTo>
                  <a:pt x="753" y="169"/>
                  <a:pt x="584" y="0"/>
                  <a:pt x="376" y="0"/>
                </a:cubicBezTo>
                <a:cubicBezTo>
                  <a:pt x="168" y="0"/>
                  <a:pt x="0" y="169"/>
                  <a:pt x="0" y="377"/>
                </a:cubicBezTo>
                <a:cubicBezTo>
                  <a:pt x="0" y="585"/>
                  <a:pt x="168" y="754"/>
                  <a:pt x="376" y="754"/>
                </a:cubicBezTo>
                <a:cubicBezTo>
                  <a:pt x="584" y="754"/>
                  <a:pt x="753" y="585"/>
                  <a:pt x="753" y="377"/>
                </a:cubicBezTo>
                <a:close/>
                <a:moveTo>
                  <a:pt x="642" y="581"/>
                </a:moveTo>
                <a:lnTo>
                  <a:pt x="642" y="581"/>
                </a:lnTo>
                <a:cubicBezTo>
                  <a:pt x="638" y="585"/>
                  <a:pt x="632" y="587"/>
                  <a:pt x="627" y="587"/>
                </a:cubicBezTo>
                <a:cubicBezTo>
                  <a:pt x="621" y="587"/>
                  <a:pt x="616" y="585"/>
                  <a:pt x="611" y="581"/>
                </a:cubicBezTo>
                <a:lnTo>
                  <a:pt x="510" y="480"/>
                </a:lnTo>
                <a:cubicBezTo>
                  <a:pt x="494" y="489"/>
                  <a:pt x="476" y="494"/>
                  <a:pt x="457" y="494"/>
                </a:cubicBezTo>
                <a:cubicBezTo>
                  <a:pt x="427" y="494"/>
                  <a:pt x="399" y="481"/>
                  <a:pt x="380" y="461"/>
                </a:cubicBezTo>
                <a:cubicBezTo>
                  <a:pt x="378" y="462"/>
                  <a:pt x="376" y="463"/>
                  <a:pt x="374" y="463"/>
                </a:cubicBezTo>
                <a:lnTo>
                  <a:pt x="249" y="463"/>
                </a:lnTo>
                <a:cubicBezTo>
                  <a:pt x="242" y="463"/>
                  <a:pt x="238" y="458"/>
                  <a:pt x="238" y="451"/>
                </a:cubicBezTo>
                <a:cubicBezTo>
                  <a:pt x="238" y="444"/>
                  <a:pt x="242" y="438"/>
                  <a:pt x="249" y="438"/>
                </a:cubicBezTo>
                <a:lnTo>
                  <a:pt x="299" y="438"/>
                </a:lnTo>
                <a:lnTo>
                  <a:pt x="299" y="414"/>
                </a:lnTo>
                <a:lnTo>
                  <a:pt x="137" y="414"/>
                </a:lnTo>
                <a:cubicBezTo>
                  <a:pt x="130" y="414"/>
                  <a:pt x="126" y="408"/>
                  <a:pt x="126" y="401"/>
                </a:cubicBezTo>
                <a:lnTo>
                  <a:pt x="126" y="179"/>
                </a:lnTo>
                <a:cubicBezTo>
                  <a:pt x="126" y="172"/>
                  <a:pt x="130" y="166"/>
                  <a:pt x="137" y="166"/>
                </a:cubicBezTo>
                <a:lnTo>
                  <a:pt x="486" y="166"/>
                </a:lnTo>
                <a:cubicBezTo>
                  <a:pt x="493" y="166"/>
                  <a:pt x="499" y="172"/>
                  <a:pt x="499" y="179"/>
                </a:cubicBezTo>
                <a:lnTo>
                  <a:pt x="499" y="283"/>
                </a:lnTo>
                <a:cubicBezTo>
                  <a:pt x="539" y="299"/>
                  <a:pt x="567" y="338"/>
                  <a:pt x="567" y="384"/>
                </a:cubicBezTo>
                <a:cubicBezTo>
                  <a:pt x="567" y="410"/>
                  <a:pt x="558" y="433"/>
                  <a:pt x="543" y="452"/>
                </a:cubicBezTo>
                <a:lnTo>
                  <a:pt x="642" y="551"/>
                </a:lnTo>
                <a:cubicBezTo>
                  <a:pt x="650" y="559"/>
                  <a:pt x="650" y="573"/>
                  <a:pt x="642" y="581"/>
                </a:cubicBezTo>
                <a:close/>
                <a:moveTo>
                  <a:pt x="383" y="382"/>
                </a:moveTo>
                <a:lnTo>
                  <a:pt x="383" y="382"/>
                </a:lnTo>
                <a:cubicBezTo>
                  <a:pt x="383" y="382"/>
                  <a:pt x="382" y="382"/>
                  <a:pt x="382" y="383"/>
                </a:cubicBezTo>
                <a:cubicBezTo>
                  <a:pt x="381" y="384"/>
                  <a:pt x="381" y="386"/>
                  <a:pt x="381" y="388"/>
                </a:cubicBezTo>
                <a:cubicBezTo>
                  <a:pt x="381" y="391"/>
                  <a:pt x="381" y="393"/>
                  <a:pt x="382" y="394"/>
                </a:cubicBezTo>
                <a:cubicBezTo>
                  <a:pt x="382" y="394"/>
                  <a:pt x="383" y="395"/>
                  <a:pt x="383" y="395"/>
                </a:cubicBezTo>
                <a:cubicBezTo>
                  <a:pt x="384" y="395"/>
                  <a:pt x="385" y="394"/>
                  <a:pt x="385" y="393"/>
                </a:cubicBezTo>
                <a:cubicBezTo>
                  <a:pt x="385" y="393"/>
                  <a:pt x="385" y="391"/>
                  <a:pt x="385" y="388"/>
                </a:cubicBezTo>
                <a:cubicBezTo>
                  <a:pt x="385" y="386"/>
                  <a:pt x="385" y="384"/>
                  <a:pt x="385" y="383"/>
                </a:cubicBezTo>
                <a:cubicBezTo>
                  <a:pt x="385" y="382"/>
                  <a:pt x="384" y="382"/>
                  <a:pt x="383" y="382"/>
                </a:cubicBezTo>
                <a:close/>
                <a:moveTo>
                  <a:pt x="527" y="424"/>
                </a:moveTo>
                <a:lnTo>
                  <a:pt x="527" y="424"/>
                </a:lnTo>
                <a:cubicBezTo>
                  <a:pt x="534" y="412"/>
                  <a:pt x="538" y="399"/>
                  <a:pt x="538" y="384"/>
                </a:cubicBezTo>
                <a:cubicBezTo>
                  <a:pt x="538" y="373"/>
                  <a:pt x="536" y="362"/>
                  <a:pt x="532" y="352"/>
                </a:cubicBezTo>
                <a:lnTo>
                  <a:pt x="527" y="352"/>
                </a:lnTo>
                <a:lnTo>
                  <a:pt x="527" y="343"/>
                </a:lnTo>
                <a:cubicBezTo>
                  <a:pt x="526" y="341"/>
                  <a:pt x="525" y="340"/>
                  <a:pt x="525" y="339"/>
                </a:cubicBezTo>
                <a:lnTo>
                  <a:pt x="523" y="340"/>
                </a:lnTo>
                <a:lnTo>
                  <a:pt x="520" y="336"/>
                </a:lnTo>
                <a:lnTo>
                  <a:pt x="522" y="335"/>
                </a:lnTo>
                <a:cubicBezTo>
                  <a:pt x="507" y="315"/>
                  <a:pt x="483" y="303"/>
                  <a:pt x="457" y="303"/>
                </a:cubicBezTo>
                <a:cubicBezTo>
                  <a:pt x="430" y="303"/>
                  <a:pt x="406" y="316"/>
                  <a:pt x="391" y="337"/>
                </a:cubicBezTo>
                <a:cubicBezTo>
                  <a:pt x="391" y="338"/>
                  <a:pt x="391" y="340"/>
                  <a:pt x="391" y="341"/>
                </a:cubicBezTo>
                <a:cubicBezTo>
                  <a:pt x="391" y="345"/>
                  <a:pt x="391" y="348"/>
                  <a:pt x="389" y="350"/>
                </a:cubicBezTo>
                <a:cubicBezTo>
                  <a:pt x="388" y="351"/>
                  <a:pt x="386" y="352"/>
                  <a:pt x="383" y="352"/>
                </a:cubicBezTo>
                <a:cubicBezTo>
                  <a:pt x="383" y="352"/>
                  <a:pt x="383" y="352"/>
                  <a:pt x="383" y="352"/>
                </a:cubicBezTo>
                <a:cubicBezTo>
                  <a:pt x="379" y="362"/>
                  <a:pt x="376" y="372"/>
                  <a:pt x="376" y="382"/>
                </a:cubicBezTo>
                <a:cubicBezTo>
                  <a:pt x="376" y="381"/>
                  <a:pt x="377" y="380"/>
                  <a:pt x="377" y="380"/>
                </a:cubicBezTo>
                <a:cubicBezTo>
                  <a:pt x="379" y="378"/>
                  <a:pt x="381" y="377"/>
                  <a:pt x="383" y="377"/>
                </a:cubicBezTo>
                <a:cubicBezTo>
                  <a:pt x="386" y="377"/>
                  <a:pt x="388" y="378"/>
                  <a:pt x="389" y="380"/>
                </a:cubicBezTo>
                <a:cubicBezTo>
                  <a:pt x="391" y="382"/>
                  <a:pt x="391" y="385"/>
                  <a:pt x="391" y="388"/>
                </a:cubicBezTo>
                <a:cubicBezTo>
                  <a:pt x="391" y="392"/>
                  <a:pt x="391" y="395"/>
                  <a:pt x="389" y="397"/>
                </a:cubicBezTo>
                <a:cubicBezTo>
                  <a:pt x="388" y="399"/>
                  <a:pt x="386" y="400"/>
                  <a:pt x="383" y="400"/>
                </a:cubicBezTo>
                <a:cubicBezTo>
                  <a:pt x="381" y="400"/>
                  <a:pt x="379" y="399"/>
                  <a:pt x="377" y="397"/>
                </a:cubicBezTo>
                <a:cubicBezTo>
                  <a:pt x="377" y="397"/>
                  <a:pt x="377" y="397"/>
                  <a:pt x="377" y="396"/>
                </a:cubicBezTo>
                <a:cubicBezTo>
                  <a:pt x="379" y="407"/>
                  <a:pt x="382" y="417"/>
                  <a:pt x="388" y="426"/>
                </a:cubicBezTo>
                <a:cubicBezTo>
                  <a:pt x="388" y="426"/>
                  <a:pt x="389" y="427"/>
                  <a:pt x="389" y="427"/>
                </a:cubicBezTo>
                <a:cubicBezTo>
                  <a:pt x="390" y="428"/>
                  <a:pt x="390" y="429"/>
                  <a:pt x="391" y="430"/>
                </a:cubicBezTo>
                <a:cubicBezTo>
                  <a:pt x="392" y="431"/>
                  <a:pt x="392" y="433"/>
                  <a:pt x="394" y="434"/>
                </a:cubicBezTo>
                <a:cubicBezTo>
                  <a:pt x="394" y="431"/>
                  <a:pt x="394" y="429"/>
                  <a:pt x="395" y="427"/>
                </a:cubicBezTo>
                <a:cubicBezTo>
                  <a:pt x="397" y="425"/>
                  <a:pt x="399" y="424"/>
                  <a:pt x="401" y="424"/>
                </a:cubicBezTo>
                <a:cubicBezTo>
                  <a:pt x="404" y="424"/>
                  <a:pt x="406" y="425"/>
                  <a:pt x="407" y="427"/>
                </a:cubicBezTo>
                <a:cubicBezTo>
                  <a:pt x="409" y="429"/>
                  <a:pt x="409" y="432"/>
                  <a:pt x="409" y="436"/>
                </a:cubicBezTo>
                <a:cubicBezTo>
                  <a:pt x="409" y="440"/>
                  <a:pt x="409" y="442"/>
                  <a:pt x="407" y="444"/>
                </a:cubicBezTo>
                <a:cubicBezTo>
                  <a:pt x="407" y="445"/>
                  <a:pt x="406" y="446"/>
                  <a:pt x="405" y="446"/>
                </a:cubicBezTo>
                <a:cubicBezTo>
                  <a:pt x="419" y="458"/>
                  <a:pt x="437" y="465"/>
                  <a:pt x="457" y="465"/>
                </a:cubicBezTo>
                <a:cubicBezTo>
                  <a:pt x="477" y="465"/>
                  <a:pt x="495" y="458"/>
                  <a:pt x="509" y="446"/>
                </a:cubicBezTo>
                <a:lnTo>
                  <a:pt x="509" y="435"/>
                </a:lnTo>
                <a:cubicBezTo>
                  <a:pt x="509" y="434"/>
                  <a:pt x="509" y="432"/>
                  <a:pt x="509" y="431"/>
                </a:cubicBezTo>
                <a:cubicBezTo>
                  <a:pt x="509" y="432"/>
                  <a:pt x="508" y="432"/>
                  <a:pt x="508" y="433"/>
                </a:cubicBezTo>
                <a:lnTo>
                  <a:pt x="505" y="435"/>
                </a:lnTo>
                <a:lnTo>
                  <a:pt x="502" y="431"/>
                </a:lnTo>
                <a:lnTo>
                  <a:pt x="510" y="425"/>
                </a:lnTo>
                <a:lnTo>
                  <a:pt x="515" y="425"/>
                </a:lnTo>
                <a:lnTo>
                  <a:pt x="515" y="441"/>
                </a:lnTo>
                <a:cubicBezTo>
                  <a:pt x="517" y="439"/>
                  <a:pt x="518" y="437"/>
                  <a:pt x="520" y="435"/>
                </a:cubicBezTo>
                <a:cubicBezTo>
                  <a:pt x="520" y="432"/>
                  <a:pt x="521" y="429"/>
                  <a:pt x="522" y="427"/>
                </a:cubicBezTo>
                <a:cubicBezTo>
                  <a:pt x="523" y="425"/>
                  <a:pt x="525" y="424"/>
                  <a:pt x="527" y="424"/>
                </a:cubicBezTo>
                <a:close/>
                <a:moveTo>
                  <a:pt x="407" y="352"/>
                </a:moveTo>
                <a:lnTo>
                  <a:pt x="407" y="352"/>
                </a:lnTo>
                <a:lnTo>
                  <a:pt x="401" y="352"/>
                </a:lnTo>
                <a:lnTo>
                  <a:pt x="401" y="340"/>
                </a:lnTo>
                <a:cubicBezTo>
                  <a:pt x="401" y="339"/>
                  <a:pt x="401" y="338"/>
                  <a:pt x="401" y="337"/>
                </a:cubicBezTo>
                <a:cubicBezTo>
                  <a:pt x="400" y="337"/>
                  <a:pt x="400" y="337"/>
                  <a:pt x="399" y="338"/>
                </a:cubicBezTo>
                <a:lnTo>
                  <a:pt x="397" y="340"/>
                </a:lnTo>
                <a:lnTo>
                  <a:pt x="394" y="336"/>
                </a:lnTo>
                <a:lnTo>
                  <a:pt x="401" y="330"/>
                </a:lnTo>
                <a:lnTo>
                  <a:pt x="407" y="330"/>
                </a:lnTo>
                <a:lnTo>
                  <a:pt x="407" y="352"/>
                </a:lnTo>
                <a:lnTo>
                  <a:pt x="407" y="352"/>
                </a:lnTo>
                <a:close/>
                <a:moveTo>
                  <a:pt x="409" y="388"/>
                </a:moveTo>
                <a:lnTo>
                  <a:pt x="409" y="388"/>
                </a:lnTo>
                <a:cubicBezTo>
                  <a:pt x="409" y="392"/>
                  <a:pt x="409" y="395"/>
                  <a:pt x="407" y="397"/>
                </a:cubicBezTo>
                <a:cubicBezTo>
                  <a:pt x="406" y="399"/>
                  <a:pt x="404" y="400"/>
                  <a:pt x="401" y="400"/>
                </a:cubicBezTo>
                <a:cubicBezTo>
                  <a:pt x="399" y="400"/>
                  <a:pt x="397" y="399"/>
                  <a:pt x="395" y="397"/>
                </a:cubicBezTo>
                <a:cubicBezTo>
                  <a:pt x="394" y="395"/>
                  <a:pt x="393" y="392"/>
                  <a:pt x="393" y="388"/>
                </a:cubicBezTo>
                <a:cubicBezTo>
                  <a:pt x="393" y="384"/>
                  <a:pt x="394" y="382"/>
                  <a:pt x="395" y="380"/>
                </a:cubicBezTo>
                <a:cubicBezTo>
                  <a:pt x="397" y="378"/>
                  <a:pt x="399" y="377"/>
                  <a:pt x="401" y="377"/>
                </a:cubicBezTo>
                <a:cubicBezTo>
                  <a:pt x="404" y="377"/>
                  <a:pt x="406" y="378"/>
                  <a:pt x="407" y="380"/>
                </a:cubicBezTo>
                <a:cubicBezTo>
                  <a:pt x="409" y="382"/>
                  <a:pt x="409" y="385"/>
                  <a:pt x="409" y="388"/>
                </a:cubicBezTo>
                <a:close/>
                <a:moveTo>
                  <a:pt x="466" y="431"/>
                </a:moveTo>
                <a:lnTo>
                  <a:pt x="466" y="431"/>
                </a:lnTo>
                <a:lnTo>
                  <a:pt x="473" y="425"/>
                </a:lnTo>
                <a:lnTo>
                  <a:pt x="479" y="425"/>
                </a:lnTo>
                <a:lnTo>
                  <a:pt x="479" y="447"/>
                </a:lnTo>
                <a:lnTo>
                  <a:pt x="473" y="447"/>
                </a:lnTo>
                <a:lnTo>
                  <a:pt x="473" y="435"/>
                </a:lnTo>
                <a:cubicBezTo>
                  <a:pt x="473" y="434"/>
                  <a:pt x="473" y="432"/>
                  <a:pt x="473" y="431"/>
                </a:cubicBezTo>
                <a:cubicBezTo>
                  <a:pt x="472" y="432"/>
                  <a:pt x="472" y="432"/>
                  <a:pt x="471" y="433"/>
                </a:cubicBezTo>
                <a:lnTo>
                  <a:pt x="469" y="435"/>
                </a:lnTo>
                <a:lnTo>
                  <a:pt x="466" y="431"/>
                </a:lnTo>
                <a:lnTo>
                  <a:pt x="466" y="431"/>
                </a:lnTo>
                <a:close/>
                <a:moveTo>
                  <a:pt x="448" y="431"/>
                </a:moveTo>
                <a:lnTo>
                  <a:pt x="448" y="431"/>
                </a:lnTo>
                <a:lnTo>
                  <a:pt x="455" y="425"/>
                </a:lnTo>
                <a:lnTo>
                  <a:pt x="461" y="425"/>
                </a:lnTo>
                <a:lnTo>
                  <a:pt x="461" y="447"/>
                </a:lnTo>
                <a:lnTo>
                  <a:pt x="455" y="447"/>
                </a:lnTo>
                <a:lnTo>
                  <a:pt x="455" y="435"/>
                </a:lnTo>
                <a:cubicBezTo>
                  <a:pt x="455" y="434"/>
                  <a:pt x="455" y="432"/>
                  <a:pt x="455" y="431"/>
                </a:cubicBezTo>
                <a:cubicBezTo>
                  <a:pt x="454" y="432"/>
                  <a:pt x="454" y="432"/>
                  <a:pt x="453" y="433"/>
                </a:cubicBezTo>
                <a:lnTo>
                  <a:pt x="451" y="435"/>
                </a:lnTo>
                <a:lnTo>
                  <a:pt x="448" y="431"/>
                </a:lnTo>
                <a:lnTo>
                  <a:pt x="448" y="431"/>
                </a:lnTo>
                <a:close/>
                <a:moveTo>
                  <a:pt x="448" y="384"/>
                </a:moveTo>
                <a:lnTo>
                  <a:pt x="448" y="384"/>
                </a:lnTo>
                <a:lnTo>
                  <a:pt x="455" y="377"/>
                </a:lnTo>
                <a:lnTo>
                  <a:pt x="461" y="377"/>
                </a:lnTo>
                <a:lnTo>
                  <a:pt x="461" y="399"/>
                </a:lnTo>
                <a:lnTo>
                  <a:pt x="455" y="399"/>
                </a:lnTo>
                <a:lnTo>
                  <a:pt x="455" y="388"/>
                </a:lnTo>
                <a:cubicBezTo>
                  <a:pt x="455" y="386"/>
                  <a:pt x="455" y="385"/>
                  <a:pt x="455" y="384"/>
                </a:cubicBezTo>
                <a:cubicBezTo>
                  <a:pt x="454" y="384"/>
                  <a:pt x="454" y="385"/>
                  <a:pt x="453" y="385"/>
                </a:cubicBezTo>
                <a:lnTo>
                  <a:pt x="451" y="387"/>
                </a:lnTo>
                <a:lnTo>
                  <a:pt x="448" y="384"/>
                </a:lnTo>
                <a:lnTo>
                  <a:pt x="448" y="384"/>
                </a:lnTo>
                <a:close/>
                <a:moveTo>
                  <a:pt x="430" y="431"/>
                </a:moveTo>
                <a:lnTo>
                  <a:pt x="430" y="431"/>
                </a:lnTo>
                <a:lnTo>
                  <a:pt x="437" y="425"/>
                </a:lnTo>
                <a:lnTo>
                  <a:pt x="443" y="425"/>
                </a:lnTo>
                <a:lnTo>
                  <a:pt x="443" y="447"/>
                </a:lnTo>
                <a:lnTo>
                  <a:pt x="437" y="447"/>
                </a:lnTo>
                <a:lnTo>
                  <a:pt x="437" y="435"/>
                </a:lnTo>
                <a:cubicBezTo>
                  <a:pt x="437" y="434"/>
                  <a:pt x="437" y="432"/>
                  <a:pt x="437" y="431"/>
                </a:cubicBezTo>
                <a:cubicBezTo>
                  <a:pt x="436" y="432"/>
                  <a:pt x="436" y="432"/>
                  <a:pt x="435" y="433"/>
                </a:cubicBezTo>
                <a:lnTo>
                  <a:pt x="433" y="435"/>
                </a:lnTo>
                <a:lnTo>
                  <a:pt x="430" y="431"/>
                </a:lnTo>
                <a:lnTo>
                  <a:pt x="430" y="431"/>
                </a:lnTo>
                <a:close/>
                <a:moveTo>
                  <a:pt x="427" y="341"/>
                </a:moveTo>
                <a:lnTo>
                  <a:pt x="427" y="341"/>
                </a:lnTo>
                <a:cubicBezTo>
                  <a:pt x="427" y="345"/>
                  <a:pt x="427" y="348"/>
                  <a:pt x="425" y="350"/>
                </a:cubicBezTo>
                <a:cubicBezTo>
                  <a:pt x="424" y="351"/>
                  <a:pt x="422" y="352"/>
                  <a:pt x="419" y="352"/>
                </a:cubicBezTo>
                <a:cubicBezTo>
                  <a:pt x="417" y="352"/>
                  <a:pt x="415" y="351"/>
                  <a:pt x="414" y="350"/>
                </a:cubicBezTo>
                <a:cubicBezTo>
                  <a:pt x="412" y="348"/>
                  <a:pt x="412" y="345"/>
                  <a:pt x="412" y="341"/>
                </a:cubicBezTo>
                <a:cubicBezTo>
                  <a:pt x="412" y="337"/>
                  <a:pt x="412" y="334"/>
                  <a:pt x="413" y="332"/>
                </a:cubicBezTo>
                <a:cubicBezTo>
                  <a:pt x="415" y="331"/>
                  <a:pt x="417" y="330"/>
                  <a:pt x="419" y="330"/>
                </a:cubicBezTo>
                <a:cubicBezTo>
                  <a:pt x="422" y="330"/>
                  <a:pt x="424" y="331"/>
                  <a:pt x="425" y="333"/>
                </a:cubicBezTo>
                <a:cubicBezTo>
                  <a:pt x="427" y="335"/>
                  <a:pt x="427" y="337"/>
                  <a:pt x="427" y="341"/>
                </a:cubicBezTo>
                <a:close/>
                <a:moveTo>
                  <a:pt x="419" y="384"/>
                </a:moveTo>
                <a:lnTo>
                  <a:pt x="419" y="384"/>
                </a:lnTo>
                <a:cubicBezTo>
                  <a:pt x="418" y="384"/>
                  <a:pt x="418" y="385"/>
                  <a:pt x="417" y="385"/>
                </a:cubicBezTo>
                <a:lnTo>
                  <a:pt x="415" y="387"/>
                </a:lnTo>
                <a:lnTo>
                  <a:pt x="412" y="384"/>
                </a:lnTo>
                <a:lnTo>
                  <a:pt x="419" y="377"/>
                </a:lnTo>
                <a:lnTo>
                  <a:pt x="425" y="377"/>
                </a:lnTo>
                <a:lnTo>
                  <a:pt x="425" y="399"/>
                </a:lnTo>
                <a:lnTo>
                  <a:pt x="419" y="399"/>
                </a:lnTo>
                <a:lnTo>
                  <a:pt x="419" y="388"/>
                </a:lnTo>
                <a:cubicBezTo>
                  <a:pt x="419" y="386"/>
                  <a:pt x="419" y="385"/>
                  <a:pt x="419" y="384"/>
                </a:cubicBezTo>
                <a:close/>
                <a:moveTo>
                  <a:pt x="427" y="436"/>
                </a:moveTo>
                <a:lnTo>
                  <a:pt x="427" y="436"/>
                </a:lnTo>
                <a:cubicBezTo>
                  <a:pt x="427" y="440"/>
                  <a:pt x="427" y="442"/>
                  <a:pt x="425" y="444"/>
                </a:cubicBezTo>
                <a:cubicBezTo>
                  <a:pt x="424" y="446"/>
                  <a:pt x="422" y="447"/>
                  <a:pt x="419" y="447"/>
                </a:cubicBezTo>
                <a:cubicBezTo>
                  <a:pt x="417" y="447"/>
                  <a:pt x="415" y="446"/>
                  <a:pt x="414" y="444"/>
                </a:cubicBezTo>
                <a:cubicBezTo>
                  <a:pt x="412" y="442"/>
                  <a:pt x="412" y="439"/>
                  <a:pt x="412" y="436"/>
                </a:cubicBezTo>
                <a:cubicBezTo>
                  <a:pt x="412" y="432"/>
                  <a:pt x="412" y="429"/>
                  <a:pt x="413" y="427"/>
                </a:cubicBezTo>
                <a:cubicBezTo>
                  <a:pt x="415" y="425"/>
                  <a:pt x="417" y="424"/>
                  <a:pt x="419" y="424"/>
                </a:cubicBezTo>
                <a:cubicBezTo>
                  <a:pt x="422" y="424"/>
                  <a:pt x="424" y="425"/>
                  <a:pt x="425" y="427"/>
                </a:cubicBezTo>
                <a:cubicBezTo>
                  <a:pt x="427" y="429"/>
                  <a:pt x="427" y="432"/>
                  <a:pt x="427" y="436"/>
                </a:cubicBezTo>
                <a:close/>
                <a:moveTo>
                  <a:pt x="443" y="352"/>
                </a:moveTo>
                <a:lnTo>
                  <a:pt x="443" y="352"/>
                </a:lnTo>
                <a:lnTo>
                  <a:pt x="437" y="352"/>
                </a:lnTo>
                <a:lnTo>
                  <a:pt x="437" y="340"/>
                </a:lnTo>
                <a:cubicBezTo>
                  <a:pt x="437" y="339"/>
                  <a:pt x="437" y="338"/>
                  <a:pt x="437" y="337"/>
                </a:cubicBezTo>
                <a:cubicBezTo>
                  <a:pt x="436" y="337"/>
                  <a:pt x="436" y="337"/>
                  <a:pt x="435" y="338"/>
                </a:cubicBezTo>
                <a:lnTo>
                  <a:pt x="433" y="340"/>
                </a:lnTo>
                <a:lnTo>
                  <a:pt x="430" y="336"/>
                </a:lnTo>
                <a:lnTo>
                  <a:pt x="437" y="330"/>
                </a:lnTo>
                <a:lnTo>
                  <a:pt x="443" y="330"/>
                </a:lnTo>
                <a:lnTo>
                  <a:pt x="443" y="352"/>
                </a:lnTo>
                <a:lnTo>
                  <a:pt x="443" y="352"/>
                </a:lnTo>
                <a:close/>
                <a:moveTo>
                  <a:pt x="445" y="388"/>
                </a:moveTo>
                <a:lnTo>
                  <a:pt x="445" y="388"/>
                </a:lnTo>
                <a:cubicBezTo>
                  <a:pt x="445" y="392"/>
                  <a:pt x="445" y="395"/>
                  <a:pt x="444" y="397"/>
                </a:cubicBezTo>
                <a:cubicBezTo>
                  <a:pt x="442" y="399"/>
                  <a:pt x="440" y="400"/>
                  <a:pt x="438" y="400"/>
                </a:cubicBezTo>
                <a:cubicBezTo>
                  <a:pt x="435" y="400"/>
                  <a:pt x="433" y="399"/>
                  <a:pt x="432" y="397"/>
                </a:cubicBezTo>
                <a:cubicBezTo>
                  <a:pt x="430" y="395"/>
                  <a:pt x="430" y="392"/>
                  <a:pt x="430" y="388"/>
                </a:cubicBezTo>
                <a:cubicBezTo>
                  <a:pt x="430" y="384"/>
                  <a:pt x="430" y="382"/>
                  <a:pt x="432" y="380"/>
                </a:cubicBezTo>
                <a:cubicBezTo>
                  <a:pt x="433" y="378"/>
                  <a:pt x="435" y="377"/>
                  <a:pt x="438" y="377"/>
                </a:cubicBezTo>
                <a:cubicBezTo>
                  <a:pt x="440" y="377"/>
                  <a:pt x="442" y="378"/>
                  <a:pt x="443" y="380"/>
                </a:cubicBezTo>
                <a:cubicBezTo>
                  <a:pt x="445" y="382"/>
                  <a:pt x="445" y="385"/>
                  <a:pt x="445" y="388"/>
                </a:cubicBezTo>
                <a:close/>
                <a:moveTo>
                  <a:pt x="464" y="341"/>
                </a:moveTo>
                <a:lnTo>
                  <a:pt x="464" y="341"/>
                </a:lnTo>
                <a:cubicBezTo>
                  <a:pt x="464" y="345"/>
                  <a:pt x="463" y="348"/>
                  <a:pt x="462" y="350"/>
                </a:cubicBezTo>
                <a:cubicBezTo>
                  <a:pt x="460" y="351"/>
                  <a:pt x="458" y="352"/>
                  <a:pt x="456" y="352"/>
                </a:cubicBezTo>
                <a:cubicBezTo>
                  <a:pt x="453" y="352"/>
                  <a:pt x="451" y="351"/>
                  <a:pt x="450" y="350"/>
                </a:cubicBezTo>
                <a:cubicBezTo>
                  <a:pt x="448" y="348"/>
                  <a:pt x="448" y="345"/>
                  <a:pt x="448" y="341"/>
                </a:cubicBezTo>
                <a:cubicBezTo>
                  <a:pt x="448" y="337"/>
                  <a:pt x="448" y="334"/>
                  <a:pt x="450" y="332"/>
                </a:cubicBezTo>
                <a:cubicBezTo>
                  <a:pt x="451" y="331"/>
                  <a:pt x="453" y="330"/>
                  <a:pt x="456" y="330"/>
                </a:cubicBezTo>
                <a:cubicBezTo>
                  <a:pt x="458" y="330"/>
                  <a:pt x="460" y="331"/>
                  <a:pt x="462" y="333"/>
                </a:cubicBezTo>
                <a:cubicBezTo>
                  <a:pt x="463" y="335"/>
                  <a:pt x="464" y="337"/>
                  <a:pt x="464" y="341"/>
                </a:cubicBezTo>
                <a:close/>
                <a:moveTo>
                  <a:pt x="482" y="341"/>
                </a:moveTo>
                <a:lnTo>
                  <a:pt x="482" y="341"/>
                </a:lnTo>
                <a:cubicBezTo>
                  <a:pt x="482" y="345"/>
                  <a:pt x="481" y="348"/>
                  <a:pt x="480" y="350"/>
                </a:cubicBezTo>
                <a:cubicBezTo>
                  <a:pt x="478" y="351"/>
                  <a:pt x="476" y="352"/>
                  <a:pt x="474" y="352"/>
                </a:cubicBezTo>
                <a:cubicBezTo>
                  <a:pt x="471" y="352"/>
                  <a:pt x="469" y="351"/>
                  <a:pt x="468" y="350"/>
                </a:cubicBezTo>
                <a:cubicBezTo>
                  <a:pt x="466" y="348"/>
                  <a:pt x="466" y="345"/>
                  <a:pt x="466" y="341"/>
                </a:cubicBezTo>
                <a:cubicBezTo>
                  <a:pt x="466" y="337"/>
                  <a:pt x="466" y="334"/>
                  <a:pt x="468" y="332"/>
                </a:cubicBezTo>
                <a:cubicBezTo>
                  <a:pt x="469" y="331"/>
                  <a:pt x="471" y="330"/>
                  <a:pt x="474" y="330"/>
                </a:cubicBezTo>
                <a:cubicBezTo>
                  <a:pt x="476" y="330"/>
                  <a:pt x="478" y="331"/>
                  <a:pt x="480" y="333"/>
                </a:cubicBezTo>
                <a:cubicBezTo>
                  <a:pt x="481" y="335"/>
                  <a:pt x="482" y="337"/>
                  <a:pt x="482" y="341"/>
                </a:cubicBezTo>
                <a:close/>
                <a:moveTo>
                  <a:pt x="482" y="388"/>
                </a:moveTo>
                <a:lnTo>
                  <a:pt x="482" y="388"/>
                </a:lnTo>
                <a:cubicBezTo>
                  <a:pt x="482" y="392"/>
                  <a:pt x="481" y="395"/>
                  <a:pt x="480" y="397"/>
                </a:cubicBezTo>
                <a:cubicBezTo>
                  <a:pt x="478" y="399"/>
                  <a:pt x="476" y="400"/>
                  <a:pt x="474" y="400"/>
                </a:cubicBezTo>
                <a:cubicBezTo>
                  <a:pt x="471" y="400"/>
                  <a:pt x="469" y="399"/>
                  <a:pt x="468" y="397"/>
                </a:cubicBezTo>
                <a:cubicBezTo>
                  <a:pt x="466" y="395"/>
                  <a:pt x="466" y="392"/>
                  <a:pt x="466" y="388"/>
                </a:cubicBezTo>
                <a:cubicBezTo>
                  <a:pt x="466" y="384"/>
                  <a:pt x="466" y="382"/>
                  <a:pt x="468" y="380"/>
                </a:cubicBezTo>
                <a:cubicBezTo>
                  <a:pt x="469" y="378"/>
                  <a:pt x="471" y="377"/>
                  <a:pt x="474" y="377"/>
                </a:cubicBezTo>
                <a:cubicBezTo>
                  <a:pt x="476" y="377"/>
                  <a:pt x="478" y="378"/>
                  <a:pt x="480" y="380"/>
                </a:cubicBezTo>
                <a:cubicBezTo>
                  <a:pt x="481" y="382"/>
                  <a:pt x="482" y="385"/>
                  <a:pt x="482" y="388"/>
                </a:cubicBezTo>
                <a:close/>
                <a:moveTo>
                  <a:pt x="497" y="352"/>
                </a:moveTo>
                <a:lnTo>
                  <a:pt x="497" y="352"/>
                </a:lnTo>
                <a:lnTo>
                  <a:pt x="491" y="352"/>
                </a:lnTo>
                <a:lnTo>
                  <a:pt x="491" y="340"/>
                </a:lnTo>
                <a:cubicBezTo>
                  <a:pt x="491" y="339"/>
                  <a:pt x="491" y="338"/>
                  <a:pt x="491" y="337"/>
                </a:cubicBezTo>
                <a:cubicBezTo>
                  <a:pt x="491" y="337"/>
                  <a:pt x="490" y="337"/>
                  <a:pt x="490" y="338"/>
                </a:cubicBezTo>
                <a:lnTo>
                  <a:pt x="487" y="340"/>
                </a:lnTo>
                <a:lnTo>
                  <a:pt x="484" y="336"/>
                </a:lnTo>
                <a:lnTo>
                  <a:pt x="492" y="330"/>
                </a:lnTo>
                <a:lnTo>
                  <a:pt x="497" y="330"/>
                </a:lnTo>
                <a:lnTo>
                  <a:pt x="497" y="352"/>
                </a:lnTo>
                <a:lnTo>
                  <a:pt x="497" y="352"/>
                </a:lnTo>
                <a:close/>
                <a:moveTo>
                  <a:pt x="500" y="388"/>
                </a:moveTo>
                <a:lnTo>
                  <a:pt x="500" y="388"/>
                </a:lnTo>
                <a:cubicBezTo>
                  <a:pt x="500" y="392"/>
                  <a:pt x="499" y="395"/>
                  <a:pt x="498" y="397"/>
                </a:cubicBezTo>
                <a:cubicBezTo>
                  <a:pt x="496" y="399"/>
                  <a:pt x="494" y="400"/>
                  <a:pt x="492" y="400"/>
                </a:cubicBezTo>
                <a:cubicBezTo>
                  <a:pt x="489" y="400"/>
                  <a:pt x="487" y="399"/>
                  <a:pt x="486" y="397"/>
                </a:cubicBezTo>
                <a:cubicBezTo>
                  <a:pt x="484" y="395"/>
                  <a:pt x="484" y="392"/>
                  <a:pt x="484" y="388"/>
                </a:cubicBezTo>
                <a:cubicBezTo>
                  <a:pt x="484" y="384"/>
                  <a:pt x="484" y="382"/>
                  <a:pt x="486" y="380"/>
                </a:cubicBezTo>
                <a:cubicBezTo>
                  <a:pt x="487" y="378"/>
                  <a:pt x="489" y="377"/>
                  <a:pt x="492" y="377"/>
                </a:cubicBezTo>
                <a:cubicBezTo>
                  <a:pt x="494" y="377"/>
                  <a:pt x="496" y="378"/>
                  <a:pt x="498" y="380"/>
                </a:cubicBezTo>
                <a:cubicBezTo>
                  <a:pt x="499" y="382"/>
                  <a:pt x="500" y="385"/>
                  <a:pt x="500" y="388"/>
                </a:cubicBezTo>
                <a:close/>
                <a:moveTo>
                  <a:pt x="500" y="436"/>
                </a:moveTo>
                <a:lnTo>
                  <a:pt x="500" y="436"/>
                </a:lnTo>
                <a:cubicBezTo>
                  <a:pt x="500" y="440"/>
                  <a:pt x="499" y="442"/>
                  <a:pt x="498" y="444"/>
                </a:cubicBezTo>
                <a:cubicBezTo>
                  <a:pt x="496" y="446"/>
                  <a:pt x="494" y="447"/>
                  <a:pt x="492" y="447"/>
                </a:cubicBezTo>
                <a:cubicBezTo>
                  <a:pt x="489" y="447"/>
                  <a:pt x="487" y="446"/>
                  <a:pt x="486" y="444"/>
                </a:cubicBezTo>
                <a:cubicBezTo>
                  <a:pt x="484" y="442"/>
                  <a:pt x="484" y="439"/>
                  <a:pt x="484" y="436"/>
                </a:cubicBezTo>
                <a:cubicBezTo>
                  <a:pt x="484" y="432"/>
                  <a:pt x="484" y="429"/>
                  <a:pt x="486" y="427"/>
                </a:cubicBezTo>
                <a:cubicBezTo>
                  <a:pt x="487" y="425"/>
                  <a:pt x="489" y="424"/>
                  <a:pt x="492" y="424"/>
                </a:cubicBezTo>
                <a:cubicBezTo>
                  <a:pt x="494" y="424"/>
                  <a:pt x="496" y="425"/>
                  <a:pt x="498" y="427"/>
                </a:cubicBezTo>
                <a:cubicBezTo>
                  <a:pt x="499" y="429"/>
                  <a:pt x="500" y="432"/>
                  <a:pt x="500" y="436"/>
                </a:cubicBezTo>
                <a:close/>
                <a:moveTo>
                  <a:pt x="515" y="352"/>
                </a:moveTo>
                <a:lnTo>
                  <a:pt x="515" y="352"/>
                </a:lnTo>
                <a:lnTo>
                  <a:pt x="509" y="352"/>
                </a:lnTo>
                <a:lnTo>
                  <a:pt x="509" y="340"/>
                </a:lnTo>
                <a:cubicBezTo>
                  <a:pt x="509" y="339"/>
                  <a:pt x="509" y="338"/>
                  <a:pt x="509" y="337"/>
                </a:cubicBezTo>
                <a:cubicBezTo>
                  <a:pt x="509" y="337"/>
                  <a:pt x="508" y="337"/>
                  <a:pt x="508" y="338"/>
                </a:cubicBezTo>
                <a:lnTo>
                  <a:pt x="505" y="340"/>
                </a:lnTo>
                <a:lnTo>
                  <a:pt x="502" y="336"/>
                </a:lnTo>
                <a:lnTo>
                  <a:pt x="510" y="330"/>
                </a:lnTo>
                <a:lnTo>
                  <a:pt x="515" y="330"/>
                </a:lnTo>
                <a:lnTo>
                  <a:pt x="515" y="352"/>
                </a:lnTo>
                <a:lnTo>
                  <a:pt x="515" y="352"/>
                </a:lnTo>
                <a:close/>
                <a:moveTo>
                  <a:pt x="515" y="399"/>
                </a:moveTo>
                <a:lnTo>
                  <a:pt x="515" y="399"/>
                </a:lnTo>
                <a:lnTo>
                  <a:pt x="509" y="399"/>
                </a:lnTo>
                <a:lnTo>
                  <a:pt x="509" y="388"/>
                </a:lnTo>
                <a:cubicBezTo>
                  <a:pt x="509" y="386"/>
                  <a:pt x="509" y="385"/>
                  <a:pt x="509" y="384"/>
                </a:cubicBezTo>
                <a:cubicBezTo>
                  <a:pt x="509" y="384"/>
                  <a:pt x="508" y="385"/>
                  <a:pt x="508" y="385"/>
                </a:cubicBezTo>
                <a:lnTo>
                  <a:pt x="505" y="387"/>
                </a:lnTo>
                <a:lnTo>
                  <a:pt x="502" y="384"/>
                </a:lnTo>
                <a:lnTo>
                  <a:pt x="510" y="377"/>
                </a:lnTo>
                <a:lnTo>
                  <a:pt x="515" y="377"/>
                </a:lnTo>
                <a:lnTo>
                  <a:pt x="515" y="399"/>
                </a:lnTo>
                <a:lnTo>
                  <a:pt x="515" y="399"/>
                </a:lnTo>
                <a:close/>
                <a:moveTo>
                  <a:pt x="528" y="400"/>
                </a:moveTo>
                <a:lnTo>
                  <a:pt x="528" y="400"/>
                </a:lnTo>
                <a:cubicBezTo>
                  <a:pt x="525" y="400"/>
                  <a:pt x="523" y="399"/>
                  <a:pt x="522" y="397"/>
                </a:cubicBezTo>
                <a:cubicBezTo>
                  <a:pt x="521" y="395"/>
                  <a:pt x="520" y="392"/>
                  <a:pt x="520" y="388"/>
                </a:cubicBezTo>
                <a:cubicBezTo>
                  <a:pt x="520" y="384"/>
                  <a:pt x="521" y="382"/>
                  <a:pt x="522" y="380"/>
                </a:cubicBezTo>
                <a:cubicBezTo>
                  <a:pt x="523" y="378"/>
                  <a:pt x="525" y="377"/>
                  <a:pt x="528" y="377"/>
                </a:cubicBezTo>
                <a:cubicBezTo>
                  <a:pt x="530" y="377"/>
                  <a:pt x="532" y="378"/>
                  <a:pt x="534" y="380"/>
                </a:cubicBezTo>
                <a:cubicBezTo>
                  <a:pt x="535" y="382"/>
                  <a:pt x="536" y="385"/>
                  <a:pt x="536" y="388"/>
                </a:cubicBezTo>
                <a:cubicBezTo>
                  <a:pt x="536" y="392"/>
                  <a:pt x="535" y="395"/>
                  <a:pt x="534" y="397"/>
                </a:cubicBezTo>
                <a:cubicBezTo>
                  <a:pt x="533" y="399"/>
                  <a:pt x="531" y="400"/>
                  <a:pt x="528" y="400"/>
                </a:cubicBezTo>
                <a:close/>
                <a:moveTo>
                  <a:pt x="526" y="383"/>
                </a:moveTo>
                <a:lnTo>
                  <a:pt x="526" y="383"/>
                </a:lnTo>
                <a:cubicBezTo>
                  <a:pt x="526" y="384"/>
                  <a:pt x="526" y="386"/>
                  <a:pt x="526" y="388"/>
                </a:cubicBezTo>
                <a:cubicBezTo>
                  <a:pt x="526" y="391"/>
                  <a:pt x="526" y="393"/>
                  <a:pt x="526" y="394"/>
                </a:cubicBezTo>
                <a:cubicBezTo>
                  <a:pt x="527" y="394"/>
                  <a:pt x="527" y="395"/>
                  <a:pt x="528" y="395"/>
                </a:cubicBezTo>
                <a:cubicBezTo>
                  <a:pt x="529" y="395"/>
                  <a:pt x="529" y="394"/>
                  <a:pt x="529" y="393"/>
                </a:cubicBezTo>
                <a:cubicBezTo>
                  <a:pt x="530" y="393"/>
                  <a:pt x="530" y="391"/>
                  <a:pt x="530" y="388"/>
                </a:cubicBezTo>
                <a:cubicBezTo>
                  <a:pt x="530" y="386"/>
                  <a:pt x="530" y="384"/>
                  <a:pt x="529" y="383"/>
                </a:cubicBezTo>
                <a:cubicBezTo>
                  <a:pt x="529" y="382"/>
                  <a:pt x="529" y="382"/>
                  <a:pt x="528" y="382"/>
                </a:cubicBezTo>
                <a:cubicBezTo>
                  <a:pt x="527" y="382"/>
                  <a:pt x="527" y="382"/>
                  <a:pt x="526" y="383"/>
                </a:cubicBezTo>
                <a:close/>
                <a:moveTo>
                  <a:pt x="493" y="441"/>
                </a:moveTo>
                <a:lnTo>
                  <a:pt x="493" y="441"/>
                </a:lnTo>
                <a:cubicBezTo>
                  <a:pt x="494" y="440"/>
                  <a:pt x="494" y="438"/>
                  <a:pt x="494" y="436"/>
                </a:cubicBezTo>
                <a:cubicBezTo>
                  <a:pt x="494" y="433"/>
                  <a:pt x="494" y="432"/>
                  <a:pt x="493" y="431"/>
                </a:cubicBezTo>
                <a:cubicBezTo>
                  <a:pt x="493" y="430"/>
                  <a:pt x="492" y="429"/>
                  <a:pt x="492" y="429"/>
                </a:cubicBezTo>
                <a:cubicBezTo>
                  <a:pt x="491" y="429"/>
                  <a:pt x="490" y="430"/>
                  <a:pt x="490" y="431"/>
                </a:cubicBezTo>
                <a:cubicBezTo>
                  <a:pt x="490" y="431"/>
                  <a:pt x="490" y="433"/>
                  <a:pt x="490" y="436"/>
                </a:cubicBezTo>
                <a:cubicBezTo>
                  <a:pt x="490" y="438"/>
                  <a:pt x="490" y="440"/>
                  <a:pt x="490" y="441"/>
                </a:cubicBezTo>
                <a:cubicBezTo>
                  <a:pt x="490" y="442"/>
                  <a:pt x="491" y="442"/>
                  <a:pt x="492" y="442"/>
                </a:cubicBezTo>
                <a:cubicBezTo>
                  <a:pt x="492" y="442"/>
                  <a:pt x="493" y="442"/>
                  <a:pt x="493" y="441"/>
                </a:cubicBezTo>
                <a:close/>
                <a:moveTo>
                  <a:pt x="493" y="393"/>
                </a:moveTo>
                <a:lnTo>
                  <a:pt x="493" y="393"/>
                </a:lnTo>
                <a:cubicBezTo>
                  <a:pt x="494" y="393"/>
                  <a:pt x="494" y="391"/>
                  <a:pt x="494" y="388"/>
                </a:cubicBezTo>
                <a:cubicBezTo>
                  <a:pt x="494" y="386"/>
                  <a:pt x="494" y="384"/>
                  <a:pt x="493" y="383"/>
                </a:cubicBezTo>
                <a:cubicBezTo>
                  <a:pt x="493" y="382"/>
                  <a:pt x="492" y="382"/>
                  <a:pt x="492" y="382"/>
                </a:cubicBezTo>
                <a:cubicBezTo>
                  <a:pt x="491" y="382"/>
                  <a:pt x="490" y="382"/>
                  <a:pt x="490" y="383"/>
                </a:cubicBezTo>
                <a:cubicBezTo>
                  <a:pt x="490" y="384"/>
                  <a:pt x="490" y="386"/>
                  <a:pt x="490" y="388"/>
                </a:cubicBezTo>
                <a:cubicBezTo>
                  <a:pt x="490" y="391"/>
                  <a:pt x="490" y="393"/>
                  <a:pt x="490" y="394"/>
                </a:cubicBezTo>
                <a:cubicBezTo>
                  <a:pt x="490" y="394"/>
                  <a:pt x="491" y="395"/>
                  <a:pt x="492" y="395"/>
                </a:cubicBezTo>
                <a:cubicBezTo>
                  <a:pt x="492" y="395"/>
                  <a:pt x="493" y="394"/>
                  <a:pt x="493" y="393"/>
                </a:cubicBezTo>
                <a:close/>
                <a:moveTo>
                  <a:pt x="475" y="393"/>
                </a:moveTo>
                <a:lnTo>
                  <a:pt x="475" y="393"/>
                </a:lnTo>
                <a:cubicBezTo>
                  <a:pt x="476" y="393"/>
                  <a:pt x="476" y="391"/>
                  <a:pt x="476" y="388"/>
                </a:cubicBezTo>
                <a:cubicBezTo>
                  <a:pt x="476" y="386"/>
                  <a:pt x="476" y="384"/>
                  <a:pt x="475" y="383"/>
                </a:cubicBezTo>
                <a:cubicBezTo>
                  <a:pt x="475" y="382"/>
                  <a:pt x="474" y="382"/>
                  <a:pt x="474" y="382"/>
                </a:cubicBezTo>
                <a:cubicBezTo>
                  <a:pt x="473" y="382"/>
                  <a:pt x="472" y="382"/>
                  <a:pt x="472" y="383"/>
                </a:cubicBezTo>
                <a:cubicBezTo>
                  <a:pt x="472" y="384"/>
                  <a:pt x="472" y="386"/>
                  <a:pt x="472" y="388"/>
                </a:cubicBezTo>
                <a:cubicBezTo>
                  <a:pt x="472" y="391"/>
                  <a:pt x="472" y="393"/>
                  <a:pt x="472" y="394"/>
                </a:cubicBezTo>
                <a:cubicBezTo>
                  <a:pt x="472" y="394"/>
                  <a:pt x="473" y="395"/>
                  <a:pt x="474" y="395"/>
                </a:cubicBezTo>
                <a:cubicBezTo>
                  <a:pt x="474" y="395"/>
                  <a:pt x="475" y="394"/>
                  <a:pt x="475" y="393"/>
                </a:cubicBezTo>
                <a:close/>
                <a:moveTo>
                  <a:pt x="475" y="346"/>
                </a:moveTo>
                <a:lnTo>
                  <a:pt x="475" y="346"/>
                </a:lnTo>
                <a:cubicBezTo>
                  <a:pt x="476" y="345"/>
                  <a:pt x="476" y="344"/>
                  <a:pt x="476" y="341"/>
                </a:cubicBezTo>
                <a:cubicBezTo>
                  <a:pt x="476" y="339"/>
                  <a:pt x="476" y="337"/>
                  <a:pt x="475" y="336"/>
                </a:cubicBezTo>
                <a:cubicBezTo>
                  <a:pt x="475" y="335"/>
                  <a:pt x="474" y="335"/>
                  <a:pt x="474" y="335"/>
                </a:cubicBezTo>
                <a:cubicBezTo>
                  <a:pt x="473" y="335"/>
                  <a:pt x="472" y="335"/>
                  <a:pt x="472" y="336"/>
                </a:cubicBezTo>
                <a:cubicBezTo>
                  <a:pt x="472" y="337"/>
                  <a:pt x="472" y="339"/>
                  <a:pt x="472" y="341"/>
                </a:cubicBezTo>
                <a:cubicBezTo>
                  <a:pt x="472" y="344"/>
                  <a:pt x="472" y="345"/>
                  <a:pt x="472" y="346"/>
                </a:cubicBezTo>
                <a:cubicBezTo>
                  <a:pt x="472" y="347"/>
                  <a:pt x="473" y="348"/>
                  <a:pt x="474" y="348"/>
                </a:cubicBezTo>
                <a:cubicBezTo>
                  <a:pt x="474" y="348"/>
                  <a:pt x="475" y="347"/>
                  <a:pt x="475" y="346"/>
                </a:cubicBezTo>
                <a:close/>
                <a:moveTo>
                  <a:pt x="457" y="346"/>
                </a:moveTo>
                <a:lnTo>
                  <a:pt x="457" y="346"/>
                </a:lnTo>
                <a:cubicBezTo>
                  <a:pt x="457" y="345"/>
                  <a:pt x="458" y="344"/>
                  <a:pt x="458" y="341"/>
                </a:cubicBezTo>
                <a:cubicBezTo>
                  <a:pt x="458" y="339"/>
                  <a:pt x="457" y="337"/>
                  <a:pt x="457" y="336"/>
                </a:cubicBezTo>
                <a:cubicBezTo>
                  <a:pt x="457" y="335"/>
                  <a:pt x="456" y="335"/>
                  <a:pt x="456" y="335"/>
                </a:cubicBezTo>
                <a:cubicBezTo>
                  <a:pt x="455" y="335"/>
                  <a:pt x="454" y="335"/>
                  <a:pt x="454" y="336"/>
                </a:cubicBezTo>
                <a:cubicBezTo>
                  <a:pt x="454" y="337"/>
                  <a:pt x="454" y="339"/>
                  <a:pt x="454" y="341"/>
                </a:cubicBezTo>
                <a:cubicBezTo>
                  <a:pt x="454" y="344"/>
                  <a:pt x="454" y="345"/>
                  <a:pt x="454" y="346"/>
                </a:cubicBezTo>
                <a:cubicBezTo>
                  <a:pt x="454" y="347"/>
                  <a:pt x="455" y="348"/>
                  <a:pt x="456" y="348"/>
                </a:cubicBezTo>
                <a:cubicBezTo>
                  <a:pt x="456" y="348"/>
                  <a:pt x="457" y="347"/>
                  <a:pt x="457" y="346"/>
                </a:cubicBezTo>
                <a:close/>
                <a:moveTo>
                  <a:pt x="439" y="393"/>
                </a:moveTo>
                <a:lnTo>
                  <a:pt x="439" y="393"/>
                </a:lnTo>
                <a:cubicBezTo>
                  <a:pt x="439" y="393"/>
                  <a:pt x="440" y="391"/>
                  <a:pt x="440" y="388"/>
                </a:cubicBezTo>
                <a:cubicBezTo>
                  <a:pt x="440" y="386"/>
                  <a:pt x="439" y="384"/>
                  <a:pt x="439" y="383"/>
                </a:cubicBezTo>
                <a:cubicBezTo>
                  <a:pt x="439" y="382"/>
                  <a:pt x="438" y="382"/>
                  <a:pt x="438" y="382"/>
                </a:cubicBezTo>
                <a:cubicBezTo>
                  <a:pt x="437" y="382"/>
                  <a:pt x="436" y="382"/>
                  <a:pt x="436" y="383"/>
                </a:cubicBezTo>
                <a:cubicBezTo>
                  <a:pt x="436" y="384"/>
                  <a:pt x="436" y="386"/>
                  <a:pt x="436" y="388"/>
                </a:cubicBezTo>
                <a:cubicBezTo>
                  <a:pt x="436" y="391"/>
                  <a:pt x="436" y="393"/>
                  <a:pt x="436" y="394"/>
                </a:cubicBezTo>
                <a:cubicBezTo>
                  <a:pt x="436" y="394"/>
                  <a:pt x="437" y="395"/>
                  <a:pt x="438" y="395"/>
                </a:cubicBezTo>
                <a:cubicBezTo>
                  <a:pt x="438" y="395"/>
                  <a:pt x="439" y="394"/>
                  <a:pt x="439" y="393"/>
                </a:cubicBezTo>
                <a:close/>
                <a:moveTo>
                  <a:pt x="421" y="441"/>
                </a:moveTo>
                <a:lnTo>
                  <a:pt x="421" y="441"/>
                </a:lnTo>
                <a:cubicBezTo>
                  <a:pt x="421" y="440"/>
                  <a:pt x="421" y="438"/>
                  <a:pt x="422" y="436"/>
                </a:cubicBezTo>
                <a:cubicBezTo>
                  <a:pt x="422" y="433"/>
                  <a:pt x="421" y="432"/>
                  <a:pt x="421" y="431"/>
                </a:cubicBezTo>
                <a:cubicBezTo>
                  <a:pt x="421" y="430"/>
                  <a:pt x="420" y="429"/>
                  <a:pt x="419" y="429"/>
                </a:cubicBezTo>
                <a:cubicBezTo>
                  <a:pt x="419" y="429"/>
                  <a:pt x="418" y="430"/>
                  <a:pt x="418" y="431"/>
                </a:cubicBezTo>
                <a:cubicBezTo>
                  <a:pt x="418" y="431"/>
                  <a:pt x="417" y="433"/>
                  <a:pt x="417" y="436"/>
                </a:cubicBezTo>
                <a:cubicBezTo>
                  <a:pt x="417" y="438"/>
                  <a:pt x="418" y="440"/>
                  <a:pt x="418" y="441"/>
                </a:cubicBezTo>
                <a:cubicBezTo>
                  <a:pt x="418" y="442"/>
                  <a:pt x="419" y="442"/>
                  <a:pt x="419" y="442"/>
                </a:cubicBezTo>
                <a:cubicBezTo>
                  <a:pt x="420" y="442"/>
                  <a:pt x="421" y="442"/>
                  <a:pt x="421" y="441"/>
                </a:cubicBezTo>
                <a:close/>
                <a:moveTo>
                  <a:pt x="421" y="346"/>
                </a:moveTo>
                <a:lnTo>
                  <a:pt x="421" y="346"/>
                </a:lnTo>
                <a:cubicBezTo>
                  <a:pt x="421" y="345"/>
                  <a:pt x="421" y="344"/>
                  <a:pt x="422" y="341"/>
                </a:cubicBezTo>
                <a:cubicBezTo>
                  <a:pt x="422" y="339"/>
                  <a:pt x="421" y="337"/>
                  <a:pt x="421" y="336"/>
                </a:cubicBezTo>
                <a:cubicBezTo>
                  <a:pt x="421" y="335"/>
                  <a:pt x="420" y="335"/>
                  <a:pt x="419" y="335"/>
                </a:cubicBezTo>
                <a:cubicBezTo>
                  <a:pt x="419" y="335"/>
                  <a:pt x="418" y="335"/>
                  <a:pt x="418" y="336"/>
                </a:cubicBezTo>
                <a:cubicBezTo>
                  <a:pt x="418" y="337"/>
                  <a:pt x="417" y="339"/>
                  <a:pt x="417" y="341"/>
                </a:cubicBezTo>
                <a:cubicBezTo>
                  <a:pt x="417" y="344"/>
                  <a:pt x="418" y="345"/>
                  <a:pt x="418" y="346"/>
                </a:cubicBezTo>
                <a:cubicBezTo>
                  <a:pt x="418" y="347"/>
                  <a:pt x="419" y="348"/>
                  <a:pt x="419" y="348"/>
                </a:cubicBezTo>
                <a:cubicBezTo>
                  <a:pt x="420" y="348"/>
                  <a:pt x="421" y="347"/>
                  <a:pt x="421" y="346"/>
                </a:cubicBezTo>
                <a:close/>
                <a:moveTo>
                  <a:pt x="403" y="393"/>
                </a:moveTo>
                <a:lnTo>
                  <a:pt x="403" y="393"/>
                </a:lnTo>
                <a:cubicBezTo>
                  <a:pt x="403" y="393"/>
                  <a:pt x="403" y="391"/>
                  <a:pt x="403" y="388"/>
                </a:cubicBezTo>
                <a:cubicBezTo>
                  <a:pt x="403" y="386"/>
                  <a:pt x="403" y="384"/>
                  <a:pt x="403" y="383"/>
                </a:cubicBezTo>
                <a:cubicBezTo>
                  <a:pt x="403" y="382"/>
                  <a:pt x="402" y="382"/>
                  <a:pt x="401" y="382"/>
                </a:cubicBezTo>
                <a:cubicBezTo>
                  <a:pt x="401" y="382"/>
                  <a:pt x="400" y="382"/>
                  <a:pt x="400" y="383"/>
                </a:cubicBezTo>
                <a:cubicBezTo>
                  <a:pt x="400" y="384"/>
                  <a:pt x="399" y="386"/>
                  <a:pt x="399" y="388"/>
                </a:cubicBezTo>
                <a:cubicBezTo>
                  <a:pt x="399" y="391"/>
                  <a:pt x="400" y="393"/>
                  <a:pt x="400" y="394"/>
                </a:cubicBezTo>
                <a:cubicBezTo>
                  <a:pt x="400" y="394"/>
                  <a:pt x="401" y="395"/>
                  <a:pt x="401" y="395"/>
                </a:cubicBezTo>
                <a:cubicBezTo>
                  <a:pt x="402" y="395"/>
                  <a:pt x="403" y="394"/>
                  <a:pt x="403" y="393"/>
                </a:cubicBezTo>
                <a:close/>
                <a:moveTo>
                  <a:pt x="457" y="274"/>
                </a:moveTo>
                <a:lnTo>
                  <a:pt x="457" y="274"/>
                </a:lnTo>
                <a:cubicBezTo>
                  <a:pt x="463" y="274"/>
                  <a:pt x="468" y="275"/>
                  <a:pt x="473" y="276"/>
                </a:cubicBezTo>
                <a:lnTo>
                  <a:pt x="473" y="192"/>
                </a:lnTo>
                <a:lnTo>
                  <a:pt x="150" y="192"/>
                </a:lnTo>
                <a:lnTo>
                  <a:pt x="150" y="388"/>
                </a:lnTo>
                <a:lnTo>
                  <a:pt x="348" y="388"/>
                </a:lnTo>
                <a:cubicBezTo>
                  <a:pt x="348" y="387"/>
                  <a:pt x="348" y="385"/>
                  <a:pt x="348" y="384"/>
                </a:cubicBezTo>
                <a:cubicBezTo>
                  <a:pt x="348" y="323"/>
                  <a:pt x="397" y="274"/>
                  <a:pt x="457" y="274"/>
                </a:cubicBezTo>
                <a:close/>
                <a:moveTo>
                  <a:pt x="352" y="414"/>
                </a:moveTo>
                <a:lnTo>
                  <a:pt x="352" y="414"/>
                </a:lnTo>
                <a:lnTo>
                  <a:pt x="324" y="414"/>
                </a:lnTo>
                <a:lnTo>
                  <a:pt x="324" y="438"/>
                </a:lnTo>
                <a:lnTo>
                  <a:pt x="363" y="438"/>
                </a:lnTo>
                <a:cubicBezTo>
                  <a:pt x="358" y="431"/>
                  <a:pt x="355" y="423"/>
                  <a:pt x="352" y="414"/>
                </a:cubicBezTo>
                <a:close/>
                <a:moveTo>
                  <a:pt x="400" y="431"/>
                </a:moveTo>
                <a:lnTo>
                  <a:pt x="400" y="431"/>
                </a:lnTo>
                <a:cubicBezTo>
                  <a:pt x="400" y="431"/>
                  <a:pt x="399" y="433"/>
                  <a:pt x="399" y="436"/>
                </a:cubicBezTo>
                <a:cubicBezTo>
                  <a:pt x="399" y="438"/>
                  <a:pt x="400" y="440"/>
                  <a:pt x="400" y="441"/>
                </a:cubicBezTo>
                <a:cubicBezTo>
                  <a:pt x="400" y="441"/>
                  <a:pt x="400" y="441"/>
                  <a:pt x="400" y="441"/>
                </a:cubicBezTo>
                <a:cubicBezTo>
                  <a:pt x="400" y="442"/>
                  <a:pt x="401" y="442"/>
                  <a:pt x="401" y="442"/>
                </a:cubicBezTo>
                <a:cubicBezTo>
                  <a:pt x="401" y="442"/>
                  <a:pt x="401" y="442"/>
                  <a:pt x="401" y="442"/>
                </a:cubicBezTo>
                <a:cubicBezTo>
                  <a:pt x="402" y="442"/>
                  <a:pt x="403" y="442"/>
                  <a:pt x="403" y="441"/>
                </a:cubicBezTo>
                <a:cubicBezTo>
                  <a:pt x="403" y="440"/>
                  <a:pt x="403" y="438"/>
                  <a:pt x="403" y="436"/>
                </a:cubicBezTo>
                <a:cubicBezTo>
                  <a:pt x="403" y="433"/>
                  <a:pt x="403" y="432"/>
                  <a:pt x="403" y="431"/>
                </a:cubicBezTo>
                <a:cubicBezTo>
                  <a:pt x="403" y="430"/>
                  <a:pt x="402" y="429"/>
                  <a:pt x="401" y="429"/>
                </a:cubicBezTo>
                <a:cubicBezTo>
                  <a:pt x="401" y="429"/>
                  <a:pt x="400" y="430"/>
                  <a:pt x="400" y="431"/>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00" name="Group 199">
            <a:extLst>
              <a:ext uri="{FF2B5EF4-FFF2-40B4-BE49-F238E27FC236}">
                <a16:creationId xmlns:a16="http://schemas.microsoft.com/office/drawing/2014/main" id="{CE4D0F50-A8DB-474E-A344-39D10E353276}"/>
              </a:ext>
            </a:extLst>
          </p:cNvPr>
          <p:cNvGrpSpPr/>
          <p:nvPr/>
        </p:nvGrpSpPr>
        <p:grpSpPr>
          <a:xfrm>
            <a:off x="4440059" y="2516886"/>
            <a:ext cx="369032" cy="365760"/>
            <a:chOff x="6921500" y="1812925"/>
            <a:chExt cx="719138" cy="727075"/>
          </a:xfrm>
          <a:solidFill>
            <a:schemeClr val="bg2"/>
          </a:solidFill>
        </p:grpSpPr>
        <p:sp>
          <p:nvSpPr>
            <p:cNvPr id="201" name="Freeform 8">
              <a:extLst>
                <a:ext uri="{FF2B5EF4-FFF2-40B4-BE49-F238E27FC236}">
                  <a16:creationId xmlns:a16="http://schemas.microsoft.com/office/drawing/2014/main" id="{37FCFCB3-28B1-4F52-9E70-F15BC24CF656}"/>
                </a:ext>
              </a:extLst>
            </p:cNvPr>
            <p:cNvSpPr>
              <a:spLocks noEditPoints="1"/>
            </p:cNvSpPr>
            <p:nvPr/>
          </p:nvSpPr>
          <p:spPr bwMode="auto">
            <a:xfrm>
              <a:off x="6921500" y="1812925"/>
              <a:ext cx="719138" cy="727075"/>
            </a:xfrm>
            <a:custGeom>
              <a:avLst/>
              <a:gdLst>
                <a:gd name="T0" fmla="*/ 377 w 753"/>
                <a:gd name="T1" fmla="*/ 0 h 748"/>
                <a:gd name="T2" fmla="*/ 377 w 753"/>
                <a:gd name="T3" fmla="*/ 0 h 748"/>
                <a:gd name="T4" fmla="*/ 0 w 753"/>
                <a:gd name="T5" fmla="*/ 373 h 748"/>
                <a:gd name="T6" fmla="*/ 377 w 753"/>
                <a:gd name="T7" fmla="*/ 748 h 748"/>
                <a:gd name="T8" fmla="*/ 753 w 753"/>
                <a:gd name="T9" fmla="*/ 373 h 748"/>
                <a:gd name="T10" fmla="*/ 377 w 753"/>
                <a:gd name="T11" fmla="*/ 0 h 748"/>
                <a:gd name="T12" fmla="*/ 377 w 753"/>
                <a:gd name="T13" fmla="*/ 29 h 748"/>
                <a:gd name="T14" fmla="*/ 377 w 753"/>
                <a:gd name="T15" fmla="*/ 29 h 748"/>
                <a:gd name="T16" fmla="*/ 721 w 753"/>
                <a:gd name="T17" fmla="*/ 373 h 748"/>
                <a:gd name="T18" fmla="*/ 377 w 753"/>
                <a:gd name="T19" fmla="*/ 716 h 748"/>
                <a:gd name="T20" fmla="*/ 31 w 753"/>
                <a:gd name="T21" fmla="*/ 373 h 748"/>
                <a:gd name="T22" fmla="*/ 377 w 753"/>
                <a:gd name="T23" fmla="*/ 2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3" h="748">
                  <a:moveTo>
                    <a:pt x="377" y="0"/>
                  </a:moveTo>
                  <a:lnTo>
                    <a:pt x="377" y="0"/>
                  </a:lnTo>
                  <a:cubicBezTo>
                    <a:pt x="168" y="0"/>
                    <a:pt x="0" y="165"/>
                    <a:pt x="0" y="373"/>
                  </a:cubicBezTo>
                  <a:cubicBezTo>
                    <a:pt x="0" y="580"/>
                    <a:pt x="168" y="748"/>
                    <a:pt x="377" y="748"/>
                  </a:cubicBezTo>
                  <a:cubicBezTo>
                    <a:pt x="584" y="748"/>
                    <a:pt x="753" y="580"/>
                    <a:pt x="753" y="373"/>
                  </a:cubicBezTo>
                  <a:cubicBezTo>
                    <a:pt x="753" y="165"/>
                    <a:pt x="584" y="0"/>
                    <a:pt x="377" y="0"/>
                  </a:cubicBezTo>
                  <a:close/>
                  <a:moveTo>
                    <a:pt x="377" y="29"/>
                  </a:moveTo>
                  <a:lnTo>
                    <a:pt x="377" y="29"/>
                  </a:lnTo>
                  <a:cubicBezTo>
                    <a:pt x="567" y="29"/>
                    <a:pt x="721" y="183"/>
                    <a:pt x="721" y="373"/>
                  </a:cubicBezTo>
                  <a:cubicBezTo>
                    <a:pt x="721" y="562"/>
                    <a:pt x="567" y="716"/>
                    <a:pt x="377" y="716"/>
                  </a:cubicBezTo>
                  <a:cubicBezTo>
                    <a:pt x="186" y="716"/>
                    <a:pt x="31" y="562"/>
                    <a:pt x="31" y="373"/>
                  </a:cubicBezTo>
                  <a:cubicBezTo>
                    <a:pt x="31" y="183"/>
                    <a:pt x="186" y="29"/>
                    <a:pt x="377" y="2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9">
              <a:extLst>
                <a:ext uri="{FF2B5EF4-FFF2-40B4-BE49-F238E27FC236}">
                  <a16:creationId xmlns:a16="http://schemas.microsoft.com/office/drawing/2014/main" id="{0AF7817B-86FB-4B90-811E-4892CCF889D8}"/>
                </a:ext>
              </a:extLst>
            </p:cNvPr>
            <p:cNvSpPr>
              <a:spLocks noEditPoints="1"/>
            </p:cNvSpPr>
            <p:nvPr/>
          </p:nvSpPr>
          <p:spPr bwMode="auto">
            <a:xfrm>
              <a:off x="7032625" y="1995488"/>
              <a:ext cx="500063" cy="361950"/>
            </a:xfrm>
            <a:custGeom>
              <a:avLst/>
              <a:gdLst>
                <a:gd name="T0" fmla="*/ 0 w 524"/>
                <a:gd name="T1" fmla="*/ 16 h 371"/>
                <a:gd name="T2" fmla="*/ 154 w 524"/>
                <a:gd name="T3" fmla="*/ 371 h 371"/>
                <a:gd name="T4" fmla="*/ 485 w 524"/>
                <a:gd name="T5" fmla="*/ 361 h 371"/>
                <a:gd name="T6" fmla="*/ 399 w 524"/>
                <a:gd name="T7" fmla="*/ 119 h 371"/>
                <a:gd name="T8" fmla="*/ 394 w 524"/>
                <a:gd name="T9" fmla="*/ 215 h 371"/>
                <a:gd name="T10" fmla="*/ 383 w 524"/>
                <a:gd name="T11" fmla="*/ 211 h 371"/>
                <a:gd name="T12" fmla="*/ 281 w 524"/>
                <a:gd name="T13" fmla="*/ 207 h 371"/>
                <a:gd name="T14" fmla="*/ 251 w 524"/>
                <a:gd name="T15" fmla="*/ 177 h 371"/>
                <a:gd name="T16" fmla="*/ 251 w 524"/>
                <a:gd name="T17" fmla="*/ 160 h 371"/>
                <a:gd name="T18" fmla="*/ 331 w 524"/>
                <a:gd name="T19" fmla="*/ 83 h 371"/>
                <a:gd name="T20" fmla="*/ 259 w 524"/>
                <a:gd name="T21" fmla="*/ 164 h 371"/>
                <a:gd name="T22" fmla="*/ 274 w 524"/>
                <a:gd name="T23" fmla="*/ 211 h 371"/>
                <a:gd name="T24" fmla="*/ 275 w 524"/>
                <a:gd name="T25" fmla="*/ 222 h 371"/>
                <a:gd name="T26" fmla="*/ 435 w 524"/>
                <a:gd name="T27" fmla="*/ 130 h 371"/>
                <a:gd name="T28" fmla="*/ 30 w 524"/>
                <a:gd name="T29" fmla="*/ 32 h 371"/>
                <a:gd name="T30" fmla="*/ 435 w 524"/>
                <a:gd name="T31" fmla="*/ 250 h 371"/>
                <a:gd name="T32" fmla="*/ 402 w 524"/>
                <a:gd name="T33" fmla="*/ 180 h 371"/>
                <a:gd name="T34" fmla="*/ 402 w 524"/>
                <a:gd name="T35" fmla="*/ 162 h 371"/>
                <a:gd name="T36" fmla="*/ 400 w 524"/>
                <a:gd name="T37" fmla="*/ 163 h 371"/>
                <a:gd name="T38" fmla="*/ 379 w 524"/>
                <a:gd name="T39" fmla="*/ 168 h 371"/>
                <a:gd name="T40" fmla="*/ 383 w 524"/>
                <a:gd name="T41" fmla="*/ 132 h 371"/>
                <a:gd name="T42" fmla="*/ 383 w 524"/>
                <a:gd name="T43" fmla="*/ 117 h 371"/>
                <a:gd name="T44" fmla="*/ 372 w 524"/>
                <a:gd name="T45" fmla="*/ 207 h 371"/>
                <a:gd name="T46" fmla="*/ 368 w 524"/>
                <a:gd name="T47" fmla="*/ 216 h 371"/>
                <a:gd name="T48" fmla="*/ 366 w 524"/>
                <a:gd name="T49" fmla="*/ 209 h 371"/>
                <a:gd name="T50" fmla="*/ 366 w 524"/>
                <a:gd name="T51" fmla="*/ 157 h 371"/>
                <a:gd name="T52" fmla="*/ 368 w 524"/>
                <a:gd name="T53" fmla="*/ 169 h 371"/>
                <a:gd name="T54" fmla="*/ 367 w 524"/>
                <a:gd name="T55" fmla="*/ 164 h 371"/>
                <a:gd name="T56" fmla="*/ 358 w 524"/>
                <a:gd name="T57" fmla="*/ 116 h 371"/>
                <a:gd name="T58" fmla="*/ 354 w 524"/>
                <a:gd name="T59" fmla="*/ 177 h 371"/>
                <a:gd name="T60" fmla="*/ 342 w 524"/>
                <a:gd name="T61" fmla="*/ 177 h 371"/>
                <a:gd name="T62" fmla="*/ 346 w 524"/>
                <a:gd name="T63" fmla="*/ 174 h 371"/>
                <a:gd name="T64" fmla="*/ 354 w 524"/>
                <a:gd name="T65" fmla="*/ 130 h 371"/>
                <a:gd name="T66" fmla="*/ 348 w 524"/>
                <a:gd name="T67" fmla="*/ 133 h 371"/>
                <a:gd name="T68" fmla="*/ 346 w 524"/>
                <a:gd name="T69" fmla="*/ 121 h 371"/>
                <a:gd name="T70" fmla="*/ 338 w 524"/>
                <a:gd name="T71" fmla="*/ 121 h 371"/>
                <a:gd name="T72" fmla="*/ 336 w 524"/>
                <a:gd name="T73" fmla="*/ 130 h 371"/>
                <a:gd name="T74" fmla="*/ 328 w 524"/>
                <a:gd name="T75" fmla="*/ 116 h 371"/>
                <a:gd name="T76" fmla="*/ 318 w 524"/>
                <a:gd name="T77" fmla="*/ 160 h 371"/>
                <a:gd name="T78" fmla="*/ 314 w 524"/>
                <a:gd name="T79" fmla="*/ 169 h 371"/>
                <a:gd name="T80" fmla="*/ 312 w 524"/>
                <a:gd name="T81" fmla="*/ 162 h 371"/>
                <a:gd name="T82" fmla="*/ 311 w 524"/>
                <a:gd name="T83" fmla="*/ 110 h 371"/>
                <a:gd name="T84" fmla="*/ 311 w 524"/>
                <a:gd name="T85" fmla="*/ 132 h 371"/>
                <a:gd name="T86" fmla="*/ 286 w 524"/>
                <a:gd name="T87" fmla="*/ 216 h 371"/>
                <a:gd name="T88" fmla="*/ 294 w 524"/>
                <a:gd name="T89" fmla="*/ 222 h 371"/>
                <a:gd name="T90" fmla="*/ 291 w 524"/>
                <a:gd name="T91" fmla="*/ 165 h 371"/>
                <a:gd name="T92" fmla="*/ 293 w 524"/>
                <a:gd name="T93" fmla="*/ 158 h 371"/>
                <a:gd name="T94" fmla="*/ 301 w 524"/>
                <a:gd name="T95" fmla="*/ 121 h 371"/>
                <a:gd name="T96" fmla="*/ 300 w 524"/>
                <a:gd name="T97" fmla="*/ 130 h 371"/>
                <a:gd name="T98" fmla="*/ 292 w 524"/>
                <a:gd name="T99" fmla="*/ 116 h 371"/>
                <a:gd name="T100" fmla="*/ 307 w 524"/>
                <a:gd name="T101" fmla="*/ 215 h 371"/>
                <a:gd name="T102" fmla="*/ 311 w 524"/>
                <a:gd name="T103" fmla="*/ 205 h 371"/>
                <a:gd name="T104" fmla="*/ 329 w 524"/>
                <a:gd name="T105" fmla="*/ 164 h 371"/>
                <a:gd name="T106" fmla="*/ 329 w 524"/>
                <a:gd name="T107" fmla="*/ 205 h 371"/>
                <a:gd name="T108" fmla="*/ 329 w 524"/>
                <a:gd name="T109" fmla="*/ 227 h 371"/>
                <a:gd name="T110" fmla="*/ 340 w 524"/>
                <a:gd name="T111" fmla="*/ 211 h 371"/>
                <a:gd name="T112" fmla="*/ 353 w 524"/>
                <a:gd name="T113" fmla="*/ 205 h 371"/>
                <a:gd name="T114" fmla="*/ 275 w 524"/>
                <a:gd name="T115" fmla="*/ 157 h 371"/>
                <a:gd name="T116" fmla="*/ 278 w 524"/>
                <a:gd name="T117" fmla="*/ 169 h 371"/>
                <a:gd name="T118" fmla="*/ 277 w 524"/>
                <a:gd name="T119" fmla="*/ 164 h 371"/>
                <a:gd name="T120" fmla="*/ 268 w 524"/>
                <a:gd name="T121" fmla="*/ 116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4" h="371">
                  <a:moveTo>
                    <a:pt x="516" y="331"/>
                  </a:moveTo>
                  <a:lnTo>
                    <a:pt x="516" y="331"/>
                  </a:lnTo>
                  <a:lnTo>
                    <a:pt x="467" y="282"/>
                  </a:lnTo>
                  <a:lnTo>
                    <a:pt x="467" y="16"/>
                  </a:lnTo>
                  <a:cubicBezTo>
                    <a:pt x="467" y="7"/>
                    <a:pt x="460" y="0"/>
                    <a:pt x="451" y="0"/>
                  </a:cubicBezTo>
                  <a:lnTo>
                    <a:pt x="14" y="0"/>
                  </a:lnTo>
                  <a:cubicBezTo>
                    <a:pt x="6" y="0"/>
                    <a:pt x="0" y="7"/>
                    <a:pt x="0" y="16"/>
                  </a:cubicBezTo>
                  <a:lnTo>
                    <a:pt x="0" y="294"/>
                  </a:lnTo>
                  <a:cubicBezTo>
                    <a:pt x="0" y="303"/>
                    <a:pt x="6" y="310"/>
                    <a:pt x="14" y="310"/>
                  </a:cubicBezTo>
                  <a:lnTo>
                    <a:pt x="217" y="310"/>
                  </a:lnTo>
                  <a:lnTo>
                    <a:pt x="217" y="341"/>
                  </a:lnTo>
                  <a:lnTo>
                    <a:pt x="154" y="341"/>
                  </a:lnTo>
                  <a:cubicBezTo>
                    <a:pt x="146" y="341"/>
                    <a:pt x="140" y="348"/>
                    <a:pt x="140" y="357"/>
                  </a:cubicBezTo>
                  <a:cubicBezTo>
                    <a:pt x="140" y="365"/>
                    <a:pt x="146" y="371"/>
                    <a:pt x="154" y="371"/>
                  </a:cubicBezTo>
                  <a:lnTo>
                    <a:pt x="311" y="371"/>
                  </a:lnTo>
                  <a:cubicBezTo>
                    <a:pt x="320" y="371"/>
                    <a:pt x="327" y="365"/>
                    <a:pt x="327" y="357"/>
                  </a:cubicBezTo>
                  <a:cubicBezTo>
                    <a:pt x="327" y="348"/>
                    <a:pt x="320" y="341"/>
                    <a:pt x="311" y="341"/>
                  </a:cubicBezTo>
                  <a:lnTo>
                    <a:pt x="248" y="341"/>
                  </a:lnTo>
                  <a:lnTo>
                    <a:pt x="248" y="310"/>
                  </a:lnTo>
                  <a:lnTo>
                    <a:pt x="434" y="310"/>
                  </a:lnTo>
                  <a:lnTo>
                    <a:pt x="485" y="361"/>
                  </a:lnTo>
                  <a:cubicBezTo>
                    <a:pt x="490" y="365"/>
                    <a:pt x="495" y="368"/>
                    <a:pt x="501" y="368"/>
                  </a:cubicBezTo>
                  <a:cubicBezTo>
                    <a:pt x="506" y="368"/>
                    <a:pt x="512" y="365"/>
                    <a:pt x="516" y="361"/>
                  </a:cubicBezTo>
                  <a:cubicBezTo>
                    <a:pt x="524" y="353"/>
                    <a:pt x="524" y="339"/>
                    <a:pt x="516" y="331"/>
                  </a:cubicBezTo>
                  <a:close/>
                  <a:moveTo>
                    <a:pt x="394" y="116"/>
                  </a:moveTo>
                  <a:lnTo>
                    <a:pt x="394" y="116"/>
                  </a:lnTo>
                  <a:lnTo>
                    <a:pt x="397" y="120"/>
                  </a:lnTo>
                  <a:lnTo>
                    <a:pt x="399" y="119"/>
                  </a:lnTo>
                  <a:cubicBezTo>
                    <a:pt x="399" y="120"/>
                    <a:pt x="400" y="122"/>
                    <a:pt x="401" y="123"/>
                  </a:cubicBezTo>
                  <a:lnTo>
                    <a:pt x="401" y="132"/>
                  </a:lnTo>
                  <a:lnTo>
                    <a:pt x="406" y="132"/>
                  </a:lnTo>
                  <a:cubicBezTo>
                    <a:pt x="410" y="142"/>
                    <a:pt x="412" y="153"/>
                    <a:pt x="412" y="164"/>
                  </a:cubicBezTo>
                  <a:cubicBezTo>
                    <a:pt x="412" y="179"/>
                    <a:pt x="408" y="193"/>
                    <a:pt x="401" y="205"/>
                  </a:cubicBezTo>
                  <a:cubicBezTo>
                    <a:pt x="399" y="205"/>
                    <a:pt x="397" y="206"/>
                    <a:pt x="396" y="207"/>
                  </a:cubicBezTo>
                  <a:cubicBezTo>
                    <a:pt x="395" y="209"/>
                    <a:pt x="394" y="212"/>
                    <a:pt x="394" y="215"/>
                  </a:cubicBezTo>
                  <a:cubicBezTo>
                    <a:pt x="392" y="217"/>
                    <a:pt x="391" y="219"/>
                    <a:pt x="389" y="221"/>
                  </a:cubicBezTo>
                  <a:lnTo>
                    <a:pt x="389" y="205"/>
                  </a:lnTo>
                  <a:lnTo>
                    <a:pt x="384" y="205"/>
                  </a:lnTo>
                  <a:lnTo>
                    <a:pt x="376" y="211"/>
                  </a:lnTo>
                  <a:lnTo>
                    <a:pt x="379" y="215"/>
                  </a:lnTo>
                  <a:lnTo>
                    <a:pt x="382" y="213"/>
                  </a:lnTo>
                  <a:cubicBezTo>
                    <a:pt x="382" y="212"/>
                    <a:pt x="383" y="212"/>
                    <a:pt x="383" y="211"/>
                  </a:cubicBezTo>
                  <a:cubicBezTo>
                    <a:pt x="383" y="213"/>
                    <a:pt x="383" y="214"/>
                    <a:pt x="383" y="215"/>
                  </a:cubicBezTo>
                  <a:lnTo>
                    <a:pt x="383" y="226"/>
                  </a:lnTo>
                  <a:cubicBezTo>
                    <a:pt x="369" y="238"/>
                    <a:pt x="351" y="245"/>
                    <a:pt x="331" y="245"/>
                  </a:cubicBezTo>
                  <a:cubicBezTo>
                    <a:pt x="312" y="245"/>
                    <a:pt x="293" y="238"/>
                    <a:pt x="279" y="226"/>
                  </a:cubicBezTo>
                  <a:cubicBezTo>
                    <a:pt x="280" y="226"/>
                    <a:pt x="281" y="225"/>
                    <a:pt x="281" y="224"/>
                  </a:cubicBezTo>
                  <a:cubicBezTo>
                    <a:pt x="283" y="223"/>
                    <a:pt x="283" y="220"/>
                    <a:pt x="283" y="216"/>
                  </a:cubicBezTo>
                  <a:cubicBezTo>
                    <a:pt x="283" y="212"/>
                    <a:pt x="283" y="209"/>
                    <a:pt x="281" y="207"/>
                  </a:cubicBezTo>
                  <a:cubicBezTo>
                    <a:pt x="280" y="206"/>
                    <a:pt x="278" y="205"/>
                    <a:pt x="275" y="205"/>
                  </a:cubicBezTo>
                  <a:cubicBezTo>
                    <a:pt x="273" y="205"/>
                    <a:pt x="271" y="205"/>
                    <a:pt x="269" y="207"/>
                  </a:cubicBezTo>
                  <a:cubicBezTo>
                    <a:pt x="268" y="209"/>
                    <a:pt x="268" y="211"/>
                    <a:pt x="268" y="214"/>
                  </a:cubicBezTo>
                  <a:cubicBezTo>
                    <a:pt x="267" y="213"/>
                    <a:pt x="266" y="212"/>
                    <a:pt x="265" y="210"/>
                  </a:cubicBezTo>
                  <a:cubicBezTo>
                    <a:pt x="264" y="209"/>
                    <a:pt x="264" y="208"/>
                    <a:pt x="263" y="207"/>
                  </a:cubicBezTo>
                  <a:cubicBezTo>
                    <a:pt x="263" y="207"/>
                    <a:pt x="262" y="206"/>
                    <a:pt x="262" y="206"/>
                  </a:cubicBezTo>
                  <a:cubicBezTo>
                    <a:pt x="257" y="197"/>
                    <a:pt x="253" y="187"/>
                    <a:pt x="251" y="177"/>
                  </a:cubicBezTo>
                  <a:cubicBezTo>
                    <a:pt x="251" y="177"/>
                    <a:pt x="251" y="177"/>
                    <a:pt x="251" y="177"/>
                  </a:cubicBezTo>
                  <a:cubicBezTo>
                    <a:pt x="253" y="179"/>
                    <a:pt x="255" y="180"/>
                    <a:pt x="257" y="180"/>
                  </a:cubicBezTo>
                  <a:cubicBezTo>
                    <a:pt x="260" y="180"/>
                    <a:pt x="262" y="179"/>
                    <a:pt x="263" y="177"/>
                  </a:cubicBezTo>
                  <a:cubicBezTo>
                    <a:pt x="265" y="175"/>
                    <a:pt x="265" y="173"/>
                    <a:pt x="265" y="169"/>
                  </a:cubicBezTo>
                  <a:cubicBezTo>
                    <a:pt x="265" y="165"/>
                    <a:pt x="265" y="162"/>
                    <a:pt x="263" y="160"/>
                  </a:cubicBezTo>
                  <a:cubicBezTo>
                    <a:pt x="262" y="158"/>
                    <a:pt x="260" y="157"/>
                    <a:pt x="257" y="157"/>
                  </a:cubicBezTo>
                  <a:cubicBezTo>
                    <a:pt x="255" y="157"/>
                    <a:pt x="253" y="158"/>
                    <a:pt x="251" y="160"/>
                  </a:cubicBezTo>
                  <a:cubicBezTo>
                    <a:pt x="251" y="161"/>
                    <a:pt x="251" y="162"/>
                    <a:pt x="250" y="162"/>
                  </a:cubicBezTo>
                  <a:cubicBezTo>
                    <a:pt x="250" y="152"/>
                    <a:pt x="253" y="142"/>
                    <a:pt x="257" y="133"/>
                  </a:cubicBezTo>
                  <a:cubicBezTo>
                    <a:pt x="257" y="133"/>
                    <a:pt x="257" y="133"/>
                    <a:pt x="257" y="133"/>
                  </a:cubicBezTo>
                  <a:cubicBezTo>
                    <a:pt x="260" y="133"/>
                    <a:pt x="262" y="132"/>
                    <a:pt x="263" y="130"/>
                  </a:cubicBezTo>
                  <a:cubicBezTo>
                    <a:pt x="265" y="128"/>
                    <a:pt x="265" y="125"/>
                    <a:pt x="265" y="121"/>
                  </a:cubicBezTo>
                  <a:cubicBezTo>
                    <a:pt x="265" y="120"/>
                    <a:pt x="265" y="119"/>
                    <a:pt x="265" y="117"/>
                  </a:cubicBezTo>
                  <a:cubicBezTo>
                    <a:pt x="280" y="97"/>
                    <a:pt x="304" y="83"/>
                    <a:pt x="331" y="83"/>
                  </a:cubicBezTo>
                  <a:cubicBezTo>
                    <a:pt x="358" y="83"/>
                    <a:pt x="381" y="96"/>
                    <a:pt x="396" y="115"/>
                  </a:cubicBezTo>
                  <a:lnTo>
                    <a:pt x="394" y="116"/>
                  </a:lnTo>
                  <a:lnTo>
                    <a:pt x="394" y="116"/>
                  </a:lnTo>
                  <a:close/>
                  <a:moveTo>
                    <a:pt x="256" y="163"/>
                  </a:moveTo>
                  <a:lnTo>
                    <a:pt x="256" y="163"/>
                  </a:lnTo>
                  <a:cubicBezTo>
                    <a:pt x="256" y="163"/>
                    <a:pt x="257" y="162"/>
                    <a:pt x="257" y="162"/>
                  </a:cubicBezTo>
                  <a:cubicBezTo>
                    <a:pt x="258" y="162"/>
                    <a:pt x="259" y="163"/>
                    <a:pt x="259" y="164"/>
                  </a:cubicBezTo>
                  <a:cubicBezTo>
                    <a:pt x="259" y="164"/>
                    <a:pt x="259" y="166"/>
                    <a:pt x="259" y="169"/>
                  </a:cubicBezTo>
                  <a:cubicBezTo>
                    <a:pt x="259" y="171"/>
                    <a:pt x="259" y="173"/>
                    <a:pt x="259" y="174"/>
                  </a:cubicBezTo>
                  <a:cubicBezTo>
                    <a:pt x="259" y="175"/>
                    <a:pt x="258" y="175"/>
                    <a:pt x="257" y="175"/>
                  </a:cubicBezTo>
                  <a:cubicBezTo>
                    <a:pt x="257" y="175"/>
                    <a:pt x="256" y="175"/>
                    <a:pt x="256" y="174"/>
                  </a:cubicBezTo>
                  <a:cubicBezTo>
                    <a:pt x="256" y="173"/>
                    <a:pt x="255" y="171"/>
                    <a:pt x="255" y="169"/>
                  </a:cubicBezTo>
                  <a:cubicBezTo>
                    <a:pt x="255" y="166"/>
                    <a:pt x="256" y="164"/>
                    <a:pt x="256" y="163"/>
                  </a:cubicBezTo>
                  <a:close/>
                  <a:moveTo>
                    <a:pt x="274" y="211"/>
                  </a:moveTo>
                  <a:lnTo>
                    <a:pt x="274" y="211"/>
                  </a:lnTo>
                  <a:cubicBezTo>
                    <a:pt x="274" y="210"/>
                    <a:pt x="275" y="209"/>
                    <a:pt x="275" y="209"/>
                  </a:cubicBezTo>
                  <a:cubicBezTo>
                    <a:pt x="276" y="209"/>
                    <a:pt x="277" y="210"/>
                    <a:pt x="277" y="211"/>
                  </a:cubicBezTo>
                  <a:cubicBezTo>
                    <a:pt x="277" y="212"/>
                    <a:pt x="278" y="213"/>
                    <a:pt x="278" y="216"/>
                  </a:cubicBezTo>
                  <a:cubicBezTo>
                    <a:pt x="278" y="218"/>
                    <a:pt x="277" y="220"/>
                    <a:pt x="277" y="221"/>
                  </a:cubicBezTo>
                  <a:cubicBezTo>
                    <a:pt x="277" y="222"/>
                    <a:pt x="276" y="222"/>
                    <a:pt x="275" y="222"/>
                  </a:cubicBezTo>
                  <a:cubicBezTo>
                    <a:pt x="275" y="222"/>
                    <a:pt x="275" y="222"/>
                    <a:pt x="275" y="222"/>
                  </a:cubicBezTo>
                  <a:cubicBezTo>
                    <a:pt x="275" y="222"/>
                    <a:pt x="274" y="222"/>
                    <a:pt x="274" y="222"/>
                  </a:cubicBezTo>
                  <a:cubicBezTo>
                    <a:pt x="274" y="221"/>
                    <a:pt x="274" y="221"/>
                    <a:pt x="274" y="221"/>
                  </a:cubicBezTo>
                  <a:cubicBezTo>
                    <a:pt x="274" y="220"/>
                    <a:pt x="273" y="218"/>
                    <a:pt x="273" y="216"/>
                  </a:cubicBezTo>
                  <a:cubicBezTo>
                    <a:pt x="273" y="213"/>
                    <a:pt x="274" y="212"/>
                    <a:pt x="274" y="211"/>
                  </a:cubicBezTo>
                  <a:close/>
                  <a:moveTo>
                    <a:pt x="435" y="32"/>
                  </a:moveTo>
                  <a:lnTo>
                    <a:pt x="435" y="32"/>
                  </a:lnTo>
                  <a:lnTo>
                    <a:pt x="435" y="130"/>
                  </a:lnTo>
                  <a:cubicBezTo>
                    <a:pt x="420" y="86"/>
                    <a:pt x="380" y="54"/>
                    <a:pt x="331" y="54"/>
                  </a:cubicBezTo>
                  <a:cubicBezTo>
                    <a:pt x="271" y="54"/>
                    <a:pt x="222" y="104"/>
                    <a:pt x="222" y="164"/>
                  </a:cubicBezTo>
                  <a:cubicBezTo>
                    <a:pt x="222" y="225"/>
                    <a:pt x="271" y="274"/>
                    <a:pt x="331" y="274"/>
                  </a:cubicBezTo>
                  <a:cubicBezTo>
                    <a:pt x="350" y="274"/>
                    <a:pt x="369" y="269"/>
                    <a:pt x="384" y="260"/>
                  </a:cubicBezTo>
                  <a:lnTo>
                    <a:pt x="402" y="278"/>
                  </a:lnTo>
                  <a:lnTo>
                    <a:pt x="30" y="278"/>
                  </a:lnTo>
                  <a:lnTo>
                    <a:pt x="30" y="32"/>
                  </a:lnTo>
                  <a:lnTo>
                    <a:pt x="435" y="32"/>
                  </a:lnTo>
                  <a:lnTo>
                    <a:pt x="435" y="32"/>
                  </a:lnTo>
                  <a:close/>
                  <a:moveTo>
                    <a:pt x="435" y="250"/>
                  </a:moveTo>
                  <a:lnTo>
                    <a:pt x="435" y="250"/>
                  </a:lnTo>
                  <a:lnTo>
                    <a:pt x="417" y="232"/>
                  </a:lnTo>
                  <a:cubicBezTo>
                    <a:pt x="425" y="223"/>
                    <a:pt x="431" y="211"/>
                    <a:pt x="435" y="199"/>
                  </a:cubicBezTo>
                  <a:lnTo>
                    <a:pt x="435" y="250"/>
                  </a:lnTo>
                  <a:lnTo>
                    <a:pt x="435" y="250"/>
                  </a:lnTo>
                  <a:close/>
                  <a:moveTo>
                    <a:pt x="402" y="157"/>
                  </a:moveTo>
                  <a:lnTo>
                    <a:pt x="402" y="157"/>
                  </a:lnTo>
                  <a:cubicBezTo>
                    <a:pt x="399" y="157"/>
                    <a:pt x="397" y="158"/>
                    <a:pt x="396" y="160"/>
                  </a:cubicBezTo>
                  <a:cubicBezTo>
                    <a:pt x="395" y="162"/>
                    <a:pt x="394" y="165"/>
                    <a:pt x="394" y="169"/>
                  </a:cubicBezTo>
                  <a:cubicBezTo>
                    <a:pt x="394" y="172"/>
                    <a:pt x="395" y="175"/>
                    <a:pt x="396" y="177"/>
                  </a:cubicBezTo>
                  <a:cubicBezTo>
                    <a:pt x="397" y="179"/>
                    <a:pt x="399" y="180"/>
                    <a:pt x="402" y="180"/>
                  </a:cubicBezTo>
                  <a:cubicBezTo>
                    <a:pt x="405" y="180"/>
                    <a:pt x="407" y="179"/>
                    <a:pt x="408" y="177"/>
                  </a:cubicBezTo>
                  <a:cubicBezTo>
                    <a:pt x="409" y="175"/>
                    <a:pt x="410" y="173"/>
                    <a:pt x="410" y="169"/>
                  </a:cubicBezTo>
                  <a:cubicBezTo>
                    <a:pt x="410" y="165"/>
                    <a:pt x="409" y="162"/>
                    <a:pt x="408" y="160"/>
                  </a:cubicBezTo>
                  <a:cubicBezTo>
                    <a:pt x="407" y="158"/>
                    <a:pt x="405" y="157"/>
                    <a:pt x="402" y="157"/>
                  </a:cubicBezTo>
                  <a:close/>
                  <a:moveTo>
                    <a:pt x="400" y="163"/>
                  </a:moveTo>
                  <a:lnTo>
                    <a:pt x="400" y="163"/>
                  </a:lnTo>
                  <a:cubicBezTo>
                    <a:pt x="401" y="163"/>
                    <a:pt x="401" y="162"/>
                    <a:pt x="402" y="162"/>
                  </a:cubicBezTo>
                  <a:cubicBezTo>
                    <a:pt x="403" y="162"/>
                    <a:pt x="403" y="163"/>
                    <a:pt x="403" y="164"/>
                  </a:cubicBezTo>
                  <a:cubicBezTo>
                    <a:pt x="404" y="164"/>
                    <a:pt x="404" y="166"/>
                    <a:pt x="404" y="169"/>
                  </a:cubicBezTo>
                  <a:cubicBezTo>
                    <a:pt x="404" y="171"/>
                    <a:pt x="404" y="173"/>
                    <a:pt x="403" y="174"/>
                  </a:cubicBezTo>
                  <a:cubicBezTo>
                    <a:pt x="403" y="175"/>
                    <a:pt x="403" y="175"/>
                    <a:pt x="402" y="175"/>
                  </a:cubicBezTo>
                  <a:cubicBezTo>
                    <a:pt x="401" y="175"/>
                    <a:pt x="401" y="175"/>
                    <a:pt x="400" y="174"/>
                  </a:cubicBezTo>
                  <a:cubicBezTo>
                    <a:pt x="400" y="173"/>
                    <a:pt x="400" y="171"/>
                    <a:pt x="400" y="169"/>
                  </a:cubicBezTo>
                  <a:cubicBezTo>
                    <a:pt x="400" y="166"/>
                    <a:pt x="400" y="164"/>
                    <a:pt x="400" y="163"/>
                  </a:cubicBezTo>
                  <a:close/>
                  <a:moveTo>
                    <a:pt x="383" y="180"/>
                  </a:moveTo>
                  <a:lnTo>
                    <a:pt x="383" y="180"/>
                  </a:lnTo>
                  <a:lnTo>
                    <a:pt x="389" y="180"/>
                  </a:lnTo>
                  <a:lnTo>
                    <a:pt x="389" y="158"/>
                  </a:lnTo>
                  <a:lnTo>
                    <a:pt x="384" y="158"/>
                  </a:lnTo>
                  <a:lnTo>
                    <a:pt x="376" y="164"/>
                  </a:lnTo>
                  <a:lnTo>
                    <a:pt x="379" y="168"/>
                  </a:lnTo>
                  <a:lnTo>
                    <a:pt x="382" y="165"/>
                  </a:lnTo>
                  <a:cubicBezTo>
                    <a:pt x="382" y="165"/>
                    <a:pt x="383" y="165"/>
                    <a:pt x="383" y="164"/>
                  </a:cubicBezTo>
                  <a:cubicBezTo>
                    <a:pt x="383" y="165"/>
                    <a:pt x="383" y="167"/>
                    <a:pt x="383" y="168"/>
                  </a:cubicBezTo>
                  <a:lnTo>
                    <a:pt x="383" y="180"/>
                  </a:lnTo>
                  <a:lnTo>
                    <a:pt x="383" y="180"/>
                  </a:lnTo>
                  <a:close/>
                  <a:moveTo>
                    <a:pt x="383" y="132"/>
                  </a:moveTo>
                  <a:lnTo>
                    <a:pt x="383" y="132"/>
                  </a:lnTo>
                  <a:lnTo>
                    <a:pt x="389" y="132"/>
                  </a:lnTo>
                  <a:lnTo>
                    <a:pt x="389" y="110"/>
                  </a:lnTo>
                  <a:lnTo>
                    <a:pt x="384" y="110"/>
                  </a:lnTo>
                  <a:lnTo>
                    <a:pt x="376" y="116"/>
                  </a:lnTo>
                  <a:lnTo>
                    <a:pt x="379" y="120"/>
                  </a:lnTo>
                  <a:lnTo>
                    <a:pt x="382" y="118"/>
                  </a:lnTo>
                  <a:cubicBezTo>
                    <a:pt x="382" y="118"/>
                    <a:pt x="383" y="117"/>
                    <a:pt x="383" y="117"/>
                  </a:cubicBezTo>
                  <a:cubicBezTo>
                    <a:pt x="383" y="118"/>
                    <a:pt x="383" y="119"/>
                    <a:pt x="383" y="121"/>
                  </a:cubicBezTo>
                  <a:lnTo>
                    <a:pt x="383" y="132"/>
                  </a:lnTo>
                  <a:lnTo>
                    <a:pt x="383" y="132"/>
                  </a:lnTo>
                  <a:close/>
                  <a:moveTo>
                    <a:pt x="372" y="224"/>
                  </a:moveTo>
                  <a:lnTo>
                    <a:pt x="372" y="224"/>
                  </a:lnTo>
                  <a:cubicBezTo>
                    <a:pt x="373" y="223"/>
                    <a:pt x="374" y="220"/>
                    <a:pt x="374" y="216"/>
                  </a:cubicBezTo>
                  <a:cubicBezTo>
                    <a:pt x="374" y="212"/>
                    <a:pt x="373" y="209"/>
                    <a:pt x="372" y="207"/>
                  </a:cubicBezTo>
                  <a:cubicBezTo>
                    <a:pt x="370" y="206"/>
                    <a:pt x="368" y="205"/>
                    <a:pt x="366" y="205"/>
                  </a:cubicBezTo>
                  <a:cubicBezTo>
                    <a:pt x="363" y="205"/>
                    <a:pt x="361" y="206"/>
                    <a:pt x="360" y="207"/>
                  </a:cubicBezTo>
                  <a:cubicBezTo>
                    <a:pt x="358" y="209"/>
                    <a:pt x="358" y="212"/>
                    <a:pt x="358" y="216"/>
                  </a:cubicBezTo>
                  <a:cubicBezTo>
                    <a:pt x="358" y="220"/>
                    <a:pt x="359" y="222"/>
                    <a:pt x="360" y="224"/>
                  </a:cubicBezTo>
                  <a:cubicBezTo>
                    <a:pt x="361" y="226"/>
                    <a:pt x="363" y="227"/>
                    <a:pt x="366" y="227"/>
                  </a:cubicBezTo>
                  <a:cubicBezTo>
                    <a:pt x="368" y="227"/>
                    <a:pt x="370" y="226"/>
                    <a:pt x="372" y="224"/>
                  </a:cubicBezTo>
                  <a:close/>
                  <a:moveTo>
                    <a:pt x="368" y="216"/>
                  </a:moveTo>
                  <a:lnTo>
                    <a:pt x="368" y="216"/>
                  </a:lnTo>
                  <a:cubicBezTo>
                    <a:pt x="368" y="218"/>
                    <a:pt x="368" y="220"/>
                    <a:pt x="367" y="221"/>
                  </a:cubicBezTo>
                  <a:cubicBezTo>
                    <a:pt x="367" y="222"/>
                    <a:pt x="367" y="222"/>
                    <a:pt x="366" y="222"/>
                  </a:cubicBezTo>
                  <a:cubicBezTo>
                    <a:pt x="365" y="222"/>
                    <a:pt x="365" y="222"/>
                    <a:pt x="364" y="221"/>
                  </a:cubicBezTo>
                  <a:cubicBezTo>
                    <a:pt x="364" y="220"/>
                    <a:pt x="364" y="218"/>
                    <a:pt x="364" y="216"/>
                  </a:cubicBezTo>
                  <a:cubicBezTo>
                    <a:pt x="364" y="213"/>
                    <a:pt x="364" y="212"/>
                    <a:pt x="364" y="211"/>
                  </a:cubicBezTo>
                  <a:cubicBezTo>
                    <a:pt x="365" y="210"/>
                    <a:pt x="365" y="209"/>
                    <a:pt x="366" y="209"/>
                  </a:cubicBezTo>
                  <a:cubicBezTo>
                    <a:pt x="367" y="209"/>
                    <a:pt x="367" y="210"/>
                    <a:pt x="367" y="211"/>
                  </a:cubicBezTo>
                  <a:cubicBezTo>
                    <a:pt x="368" y="212"/>
                    <a:pt x="368" y="213"/>
                    <a:pt x="368" y="216"/>
                  </a:cubicBezTo>
                  <a:close/>
                  <a:moveTo>
                    <a:pt x="372" y="177"/>
                  </a:moveTo>
                  <a:lnTo>
                    <a:pt x="372" y="177"/>
                  </a:lnTo>
                  <a:cubicBezTo>
                    <a:pt x="373" y="175"/>
                    <a:pt x="374" y="173"/>
                    <a:pt x="374" y="169"/>
                  </a:cubicBezTo>
                  <a:cubicBezTo>
                    <a:pt x="374" y="165"/>
                    <a:pt x="373" y="162"/>
                    <a:pt x="372" y="160"/>
                  </a:cubicBezTo>
                  <a:cubicBezTo>
                    <a:pt x="370" y="158"/>
                    <a:pt x="368" y="157"/>
                    <a:pt x="366" y="157"/>
                  </a:cubicBezTo>
                  <a:cubicBezTo>
                    <a:pt x="363" y="157"/>
                    <a:pt x="361" y="158"/>
                    <a:pt x="360" y="160"/>
                  </a:cubicBezTo>
                  <a:cubicBezTo>
                    <a:pt x="358" y="162"/>
                    <a:pt x="358" y="165"/>
                    <a:pt x="358" y="169"/>
                  </a:cubicBezTo>
                  <a:cubicBezTo>
                    <a:pt x="358" y="172"/>
                    <a:pt x="359" y="175"/>
                    <a:pt x="360" y="177"/>
                  </a:cubicBezTo>
                  <a:cubicBezTo>
                    <a:pt x="361" y="179"/>
                    <a:pt x="363" y="180"/>
                    <a:pt x="366" y="180"/>
                  </a:cubicBezTo>
                  <a:cubicBezTo>
                    <a:pt x="368" y="180"/>
                    <a:pt x="370" y="179"/>
                    <a:pt x="372" y="177"/>
                  </a:cubicBezTo>
                  <a:close/>
                  <a:moveTo>
                    <a:pt x="368" y="169"/>
                  </a:moveTo>
                  <a:lnTo>
                    <a:pt x="368" y="169"/>
                  </a:lnTo>
                  <a:cubicBezTo>
                    <a:pt x="368" y="171"/>
                    <a:pt x="368" y="173"/>
                    <a:pt x="367" y="174"/>
                  </a:cubicBezTo>
                  <a:cubicBezTo>
                    <a:pt x="367" y="175"/>
                    <a:pt x="367" y="175"/>
                    <a:pt x="366" y="175"/>
                  </a:cubicBezTo>
                  <a:cubicBezTo>
                    <a:pt x="365" y="175"/>
                    <a:pt x="365" y="175"/>
                    <a:pt x="364" y="174"/>
                  </a:cubicBezTo>
                  <a:cubicBezTo>
                    <a:pt x="364" y="173"/>
                    <a:pt x="364" y="171"/>
                    <a:pt x="364" y="169"/>
                  </a:cubicBezTo>
                  <a:cubicBezTo>
                    <a:pt x="364" y="166"/>
                    <a:pt x="364" y="164"/>
                    <a:pt x="364" y="163"/>
                  </a:cubicBezTo>
                  <a:cubicBezTo>
                    <a:pt x="365" y="163"/>
                    <a:pt x="365" y="162"/>
                    <a:pt x="366" y="162"/>
                  </a:cubicBezTo>
                  <a:cubicBezTo>
                    <a:pt x="367" y="162"/>
                    <a:pt x="367" y="163"/>
                    <a:pt x="367" y="164"/>
                  </a:cubicBezTo>
                  <a:cubicBezTo>
                    <a:pt x="368" y="164"/>
                    <a:pt x="368" y="166"/>
                    <a:pt x="368" y="169"/>
                  </a:cubicBezTo>
                  <a:close/>
                  <a:moveTo>
                    <a:pt x="365" y="132"/>
                  </a:moveTo>
                  <a:lnTo>
                    <a:pt x="365" y="132"/>
                  </a:lnTo>
                  <a:lnTo>
                    <a:pt x="371" y="132"/>
                  </a:lnTo>
                  <a:lnTo>
                    <a:pt x="371" y="110"/>
                  </a:lnTo>
                  <a:lnTo>
                    <a:pt x="366" y="110"/>
                  </a:lnTo>
                  <a:lnTo>
                    <a:pt x="358" y="116"/>
                  </a:lnTo>
                  <a:lnTo>
                    <a:pt x="361" y="120"/>
                  </a:lnTo>
                  <a:lnTo>
                    <a:pt x="364" y="118"/>
                  </a:lnTo>
                  <a:cubicBezTo>
                    <a:pt x="364" y="118"/>
                    <a:pt x="365" y="117"/>
                    <a:pt x="365" y="117"/>
                  </a:cubicBezTo>
                  <a:cubicBezTo>
                    <a:pt x="365" y="118"/>
                    <a:pt x="365" y="119"/>
                    <a:pt x="365" y="121"/>
                  </a:cubicBezTo>
                  <a:lnTo>
                    <a:pt x="365" y="132"/>
                  </a:lnTo>
                  <a:lnTo>
                    <a:pt x="365" y="132"/>
                  </a:lnTo>
                  <a:close/>
                  <a:moveTo>
                    <a:pt x="354" y="177"/>
                  </a:moveTo>
                  <a:lnTo>
                    <a:pt x="354" y="177"/>
                  </a:lnTo>
                  <a:cubicBezTo>
                    <a:pt x="355" y="175"/>
                    <a:pt x="356" y="173"/>
                    <a:pt x="356" y="169"/>
                  </a:cubicBezTo>
                  <a:cubicBezTo>
                    <a:pt x="356" y="165"/>
                    <a:pt x="355" y="162"/>
                    <a:pt x="354" y="160"/>
                  </a:cubicBezTo>
                  <a:cubicBezTo>
                    <a:pt x="352" y="158"/>
                    <a:pt x="350" y="157"/>
                    <a:pt x="348" y="157"/>
                  </a:cubicBezTo>
                  <a:cubicBezTo>
                    <a:pt x="345" y="157"/>
                    <a:pt x="343" y="158"/>
                    <a:pt x="342" y="160"/>
                  </a:cubicBezTo>
                  <a:cubicBezTo>
                    <a:pt x="340" y="162"/>
                    <a:pt x="340" y="165"/>
                    <a:pt x="340" y="169"/>
                  </a:cubicBezTo>
                  <a:cubicBezTo>
                    <a:pt x="340" y="172"/>
                    <a:pt x="340" y="175"/>
                    <a:pt x="342" y="177"/>
                  </a:cubicBezTo>
                  <a:cubicBezTo>
                    <a:pt x="343" y="179"/>
                    <a:pt x="345" y="180"/>
                    <a:pt x="348" y="180"/>
                  </a:cubicBezTo>
                  <a:cubicBezTo>
                    <a:pt x="350" y="180"/>
                    <a:pt x="352" y="179"/>
                    <a:pt x="354" y="177"/>
                  </a:cubicBezTo>
                  <a:close/>
                  <a:moveTo>
                    <a:pt x="350" y="169"/>
                  </a:moveTo>
                  <a:lnTo>
                    <a:pt x="350" y="169"/>
                  </a:lnTo>
                  <a:cubicBezTo>
                    <a:pt x="350" y="171"/>
                    <a:pt x="350" y="173"/>
                    <a:pt x="349" y="174"/>
                  </a:cubicBezTo>
                  <a:cubicBezTo>
                    <a:pt x="349" y="175"/>
                    <a:pt x="348" y="175"/>
                    <a:pt x="348" y="175"/>
                  </a:cubicBezTo>
                  <a:cubicBezTo>
                    <a:pt x="347" y="175"/>
                    <a:pt x="346" y="175"/>
                    <a:pt x="346" y="174"/>
                  </a:cubicBezTo>
                  <a:cubicBezTo>
                    <a:pt x="346" y="173"/>
                    <a:pt x="346" y="171"/>
                    <a:pt x="346" y="169"/>
                  </a:cubicBezTo>
                  <a:cubicBezTo>
                    <a:pt x="346" y="166"/>
                    <a:pt x="346" y="164"/>
                    <a:pt x="346" y="163"/>
                  </a:cubicBezTo>
                  <a:cubicBezTo>
                    <a:pt x="346" y="163"/>
                    <a:pt x="347" y="162"/>
                    <a:pt x="348" y="162"/>
                  </a:cubicBezTo>
                  <a:cubicBezTo>
                    <a:pt x="348" y="162"/>
                    <a:pt x="349" y="163"/>
                    <a:pt x="349" y="164"/>
                  </a:cubicBezTo>
                  <a:cubicBezTo>
                    <a:pt x="350" y="164"/>
                    <a:pt x="350" y="166"/>
                    <a:pt x="350" y="169"/>
                  </a:cubicBezTo>
                  <a:close/>
                  <a:moveTo>
                    <a:pt x="354" y="130"/>
                  </a:moveTo>
                  <a:lnTo>
                    <a:pt x="354" y="130"/>
                  </a:lnTo>
                  <a:cubicBezTo>
                    <a:pt x="355" y="128"/>
                    <a:pt x="356" y="125"/>
                    <a:pt x="356" y="121"/>
                  </a:cubicBezTo>
                  <a:cubicBezTo>
                    <a:pt x="356" y="118"/>
                    <a:pt x="355" y="115"/>
                    <a:pt x="354" y="113"/>
                  </a:cubicBezTo>
                  <a:cubicBezTo>
                    <a:pt x="352" y="111"/>
                    <a:pt x="350" y="110"/>
                    <a:pt x="348" y="110"/>
                  </a:cubicBezTo>
                  <a:cubicBezTo>
                    <a:pt x="345" y="110"/>
                    <a:pt x="343" y="111"/>
                    <a:pt x="342" y="113"/>
                  </a:cubicBezTo>
                  <a:cubicBezTo>
                    <a:pt x="340" y="115"/>
                    <a:pt x="340" y="117"/>
                    <a:pt x="340" y="121"/>
                  </a:cubicBezTo>
                  <a:cubicBezTo>
                    <a:pt x="340" y="125"/>
                    <a:pt x="340" y="128"/>
                    <a:pt x="342" y="130"/>
                  </a:cubicBezTo>
                  <a:cubicBezTo>
                    <a:pt x="343" y="132"/>
                    <a:pt x="345" y="133"/>
                    <a:pt x="348" y="133"/>
                  </a:cubicBezTo>
                  <a:cubicBezTo>
                    <a:pt x="350" y="133"/>
                    <a:pt x="352" y="132"/>
                    <a:pt x="354" y="130"/>
                  </a:cubicBezTo>
                  <a:close/>
                  <a:moveTo>
                    <a:pt x="350" y="121"/>
                  </a:moveTo>
                  <a:lnTo>
                    <a:pt x="350" y="121"/>
                  </a:lnTo>
                  <a:cubicBezTo>
                    <a:pt x="350" y="124"/>
                    <a:pt x="350" y="125"/>
                    <a:pt x="349" y="126"/>
                  </a:cubicBezTo>
                  <a:cubicBezTo>
                    <a:pt x="349" y="127"/>
                    <a:pt x="348" y="128"/>
                    <a:pt x="348" y="128"/>
                  </a:cubicBezTo>
                  <a:cubicBezTo>
                    <a:pt x="347" y="128"/>
                    <a:pt x="346" y="127"/>
                    <a:pt x="346" y="126"/>
                  </a:cubicBezTo>
                  <a:cubicBezTo>
                    <a:pt x="346" y="126"/>
                    <a:pt x="346" y="124"/>
                    <a:pt x="346" y="121"/>
                  </a:cubicBezTo>
                  <a:cubicBezTo>
                    <a:pt x="346" y="119"/>
                    <a:pt x="346" y="117"/>
                    <a:pt x="346" y="116"/>
                  </a:cubicBezTo>
                  <a:cubicBezTo>
                    <a:pt x="346" y="115"/>
                    <a:pt x="347" y="115"/>
                    <a:pt x="348" y="115"/>
                  </a:cubicBezTo>
                  <a:cubicBezTo>
                    <a:pt x="348" y="115"/>
                    <a:pt x="349" y="115"/>
                    <a:pt x="349" y="116"/>
                  </a:cubicBezTo>
                  <a:cubicBezTo>
                    <a:pt x="350" y="117"/>
                    <a:pt x="350" y="119"/>
                    <a:pt x="350" y="121"/>
                  </a:cubicBezTo>
                  <a:close/>
                  <a:moveTo>
                    <a:pt x="336" y="130"/>
                  </a:moveTo>
                  <a:lnTo>
                    <a:pt x="336" y="130"/>
                  </a:lnTo>
                  <a:cubicBezTo>
                    <a:pt x="337" y="128"/>
                    <a:pt x="338" y="125"/>
                    <a:pt x="338" y="121"/>
                  </a:cubicBezTo>
                  <a:cubicBezTo>
                    <a:pt x="338" y="118"/>
                    <a:pt x="337" y="115"/>
                    <a:pt x="336" y="113"/>
                  </a:cubicBezTo>
                  <a:cubicBezTo>
                    <a:pt x="334" y="111"/>
                    <a:pt x="332" y="110"/>
                    <a:pt x="330" y="110"/>
                  </a:cubicBezTo>
                  <a:cubicBezTo>
                    <a:pt x="327" y="110"/>
                    <a:pt x="325" y="111"/>
                    <a:pt x="324" y="113"/>
                  </a:cubicBezTo>
                  <a:cubicBezTo>
                    <a:pt x="322" y="115"/>
                    <a:pt x="322" y="117"/>
                    <a:pt x="322" y="121"/>
                  </a:cubicBezTo>
                  <a:cubicBezTo>
                    <a:pt x="322" y="125"/>
                    <a:pt x="322" y="128"/>
                    <a:pt x="324" y="130"/>
                  </a:cubicBezTo>
                  <a:cubicBezTo>
                    <a:pt x="325" y="132"/>
                    <a:pt x="327" y="133"/>
                    <a:pt x="330" y="133"/>
                  </a:cubicBezTo>
                  <a:cubicBezTo>
                    <a:pt x="332" y="133"/>
                    <a:pt x="334" y="132"/>
                    <a:pt x="336" y="130"/>
                  </a:cubicBezTo>
                  <a:close/>
                  <a:moveTo>
                    <a:pt x="332" y="121"/>
                  </a:moveTo>
                  <a:lnTo>
                    <a:pt x="332" y="121"/>
                  </a:lnTo>
                  <a:cubicBezTo>
                    <a:pt x="332" y="124"/>
                    <a:pt x="332" y="125"/>
                    <a:pt x="331" y="126"/>
                  </a:cubicBezTo>
                  <a:cubicBezTo>
                    <a:pt x="331" y="127"/>
                    <a:pt x="330" y="128"/>
                    <a:pt x="330" y="128"/>
                  </a:cubicBezTo>
                  <a:cubicBezTo>
                    <a:pt x="329" y="128"/>
                    <a:pt x="328" y="127"/>
                    <a:pt x="328" y="126"/>
                  </a:cubicBezTo>
                  <a:cubicBezTo>
                    <a:pt x="328" y="126"/>
                    <a:pt x="328" y="124"/>
                    <a:pt x="328" y="121"/>
                  </a:cubicBezTo>
                  <a:cubicBezTo>
                    <a:pt x="328" y="119"/>
                    <a:pt x="328" y="117"/>
                    <a:pt x="328" y="116"/>
                  </a:cubicBezTo>
                  <a:cubicBezTo>
                    <a:pt x="328" y="115"/>
                    <a:pt x="329" y="115"/>
                    <a:pt x="330" y="115"/>
                  </a:cubicBezTo>
                  <a:cubicBezTo>
                    <a:pt x="330" y="115"/>
                    <a:pt x="331" y="115"/>
                    <a:pt x="331" y="116"/>
                  </a:cubicBezTo>
                  <a:cubicBezTo>
                    <a:pt x="332" y="117"/>
                    <a:pt x="332" y="119"/>
                    <a:pt x="332" y="121"/>
                  </a:cubicBezTo>
                  <a:close/>
                  <a:moveTo>
                    <a:pt x="318" y="177"/>
                  </a:moveTo>
                  <a:lnTo>
                    <a:pt x="318" y="177"/>
                  </a:lnTo>
                  <a:cubicBezTo>
                    <a:pt x="319" y="175"/>
                    <a:pt x="320" y="173"/>
                    <a:pt x="320" y="169"/>
                  </a:cubicBezTo>
                  <a:cubicBezTo>
                    <a:pt x="320" y="165"/>
                    <a:pt x="319" y="162"/>
                    <a:pt x="318" y="160"/>
                  </a:cubicBezTo>
                  <a:cubicBezTo>
                    <a:pt x="316" y="158"/>
                    <a:pt x="314" y="157"/>
                    <a:pt x="312" y="157"/>
                  </a:cubicBezTo>
                  <a:cubicBezTo>
                    <a:pt x="309" y="157"/>
                    <a:pt x="307" y="158"/>
                    <a:pt x="306" y="160"/>
                  </a:cubicBezTo>
                  <a:cubicBezTo>
                    <a:pt x="304" y="162"/>
                    <a:pt x="304" y="165"/>
                    <a:pt x="304" y="169"/>
                  </a:cubicBezTo>
                  <a:cubicBezTo>
                    <a:pt x="304" y="172"/>
                    <a:pt x="304" y="175"/>
                    <a:pt x="306" y="177"/>
                  </a:cubicBezTo>
                  <a:cubicBezTo>
                    <a:pt x="307" y="179"/>
                    <a:pt x="309" y="180"/>
                    <a:pt x="312" y="180"/>
                  </a:cubicBezTo>
                  <a:cubicBezTo>
                    <a:pt x="314" y="180"/>
                    <a:pt x="316" y="179"/>
                    <a:pt x="318" y="177"/>
                  </a:cubicBezTo>
                  <a:close/>
                  <a:moveTo>
                    <a:pt x="314" y="169"/>
                  </a:moveTo>
                  <a:lnTo>
                    <a:pt x="314" y="169"/>
                  </a:lnTo>
                  <a:cubicBezTo>
                    <a:pt x="314" y="171"/>
                    <a:pt x="313" y="173"/>
                    <a:pt x="313" y="174"/>
                  </a:cubicBezTo>
                  <a:cubicBezTo>
                    <a:pt x="313" y="175"/>
                    <a:pt x="312" y="175"/>
                    <a:pt x="312" y="175"/>
                  </a:cubicBezTo>
                  <a:cubicBezTo>
                    <a:pt x="311" y="175"/>
                    <a:pt x="310" y="175"/>
                    <a:pt x="310" y="174"/>
                  </a:cubicBezTo>
                  <a:cubicBezTo>
                    <a:pt x="310" y="173"/>
                    <a:pt x="310" y="171"/>
                    <a:pt x="310" y="169"/>
                  </a:cubicBezTo>
                  <a:cubicBezTo>
                    <a:pt x="310" y="166"/>
                    <a:pt x="310" y="164"/>
                    <a:pt x="310" y="163"/>
                  </a:cubicBezTo>
                  <a:cubicBezTo>
                    <a:pt x="310" y="163"/>
                    <a:pt x="311" y="162"/>
                    <a:pt x="312" y="162"/>
                  </a:cubicBezTo>
                  <a:cubicBezTo>
                    <a:pt x="312" y="162"/>
                    <a:pt x="313" y="163"/>
                    <a:pt x="313" y="164"/>
                  </a:cubicBezTo>
                  <a:cubicBezTo>
                    <a:pt x="313" y="164"/>
                    <a:pt x="314" y="166"/>
                    <a:pt x="314" y="169"/>
                  </a:cubicBezTo>
                  <a:close/>
                  <a:moveTo>
                    <a:pt x="311" y="132"/>
                  </a:moveTo>
                  <a:lnTo>
                    <a:pt x="311" y="132"/>
                  </a:lnTo>
                  <a:lnTo>
                    <a:pt x="317" y="132"/>
                  </a:lnTo>
                  <a:lnTo>
                    <a:pt x="317" y="110"/>
                  </a:lnTo>
                  <a:lnTo>
                    <a:pt x="311" y="110"/>
                  </a:lnTo>
                  <a:lnTo>
                    <a:pt x="304" y="116"/>
                  </a:lnTo>
                  <a:lnTo>
                    <a:pt x="307" y="120"/>
                  </a:lnTo>
                  <a:lnTo>
                    <a:pt x="309" y="118"/>
                  </a:lnTo>
                  <a:cubicBezTo>
                    <a:pt x="310" y="118"/>
                    <a:pt x="310" y="117"/>
                    <a:pt x="311" y="117"/>
                  </a:cubicBezTo>
                  <a:cubicBezTo>
                    <a:pt x="311" y="118"/>
                    <a:pt x="311" y="119"/>
                    <a:pt x="311" y="121"/>
                  </a:cubicBezTo>
                  <a:lnTo>
                    <a:pt x="311" y="132"/>
                  </a:lnTo>
                  <a:lnTo>
                    <a:pt x="311" y="132"/>
                  </a:lnTo>
                  <a:close/>
                  <a:moveTo>
                    <a:pt x="300" y="224"/>
                  </a:moveTo>
                  <a:lnTo>
                    <a:pt x="300" y="224"/>
                  </a:lnTo>
                  <a:cubicBezTo>
                    <a:pt x="301" y="223"/>
                    <a:pt x="301" y="220"/>
                    <a:pt x="301" y="216"/>
                  </a:cubicBezTo>
                  <a:cubicBezTo>
                    <a:pt x="301" y="212"/>
                    <a:pt x="301" y="209"/>
                    <a:pt x="299" y="207"/>
                  </a:cubicBezTo>
                  <a:cubicBezTo>
                    <a:pt x="298" y="206"/>
                    <a:pt x="296" y="205"/>
                    <a:pt x="294" y="205"/>
                  </a:cubicBezTo>
                  <a:cubicBezTo>
                    <a:pt x="291" y="205"/>
                    <a:pt x="289" y="206"/>
                    <a:pt x="288" y="207"/>
                  </a:cubicBezTo>
                  <a:cubicBezTo>
                    <a:pt x="286" y="209"/>
                    <a:pt x="286" y="212"/>
                    <a:pt x="286" y="216"/>
                  </a:cubicBezTo>
                  <a:cubicBezTo>
                    <a:pt x="286" y="220"/>
                    <a:pt x="286" y="222"/>
                    <a:pt x="288" y="224"/>
                  </a:cubicBezTo>
                  <a:cubicBezTo>
                    <a:pt x="289" y="226"/>
                    <a:pt x="291" y="227"/>
                    <a:pt x="294" y="227"/>
                  </a:cubicBezTo>
                  <a:cubicBezTo>
                    <a:pt x="296" y="227"/>
                    <a:pt x="298" y="226"/>
                    <a:pt x="300" y="224"/>
                  </a:cubicBezTo>
                  <a:close/>
                  <a:moveTo>
                    <a:pt x="296" y="216"/>
                  </a:moveTo>
                  <a:lnTo>
                    <a:pt x="296" y="216"/>
                  </a:lnTo>
                  <a:cubicBezTo>
                    <a:pt x="296" y="218"/>
                    <a:pt x="295" y="220"/>
                    <a:pt x="295" y="221"/>
                  </a:cubicBezTo>
                  <a:cubicBezTo>
                    <a:pt x="295" y="222"/>
                    <a:pt x="294" y="222"/>
                    <a:pt x="294" y="222"/>
                  </a:cubicBezTo>
                  <a:cubicBezTo>
                    <a:pt x="293" y="222"/>
                    <a:pt x="292" y="222"/>
                    <a:pt x="292" y="221"/>
                  </a:cubicBezTo>
                  <a:cubicBezTo>
                    <a:pt x="292" y="220"/>
                    <a:pt x="292" y="218"/>
                    <a:pt x="292" y="216"/>
                  </a:cubicBezTo>
                  <a:cubicBezTo>
                    <a:pt x="292" y="213"/>
                    <a:pt x="292" y="212"/>
                    <a:pt x="292" y="211"/>
                  </a:cubicBezTo>
                  <a:cubicBezTo>
                    <a:pt x="292" y="210"/>
                    <a:pt x="293" y="209"/>
                    <a:pt x="294" y="209"/>
                  </a:cubicBezTo>
                  <a:cubicBezTo>
                    <a:pt x="294" y="209"/>
                    <a:pt x="295" y="210"/>
                    <a:pt x="295" y="211"/>
                  </a:cubicBezTo>
                  <a:cubicBezTo>
                    <a:pt x="295" y="212"/>
                    <a:pt x="296" y="213"/>
                    <a:pt x="296" y="216"/>
                  </a:cubicBezTo>
                  <a:close/>
                  <a:moveTo>
                    <a:pt x="291" y="165"/>
                  </a:moveTo>
                  <a:lnTo>
                    <a:pt x="291" y="165"/>
                  </a:lnTo>
                  <a:cubicBezTo>
                    <a:pt x="292" y="165"/>
                    <a:pt x="292" y="165"/>
                    <a:pt x="293" y="164"/>
                  </a:cubicBezTo>
                  <a:cubicBezTo>
                    <a:pt x="293" y="165"/>
                    <a:pt x="293" y="167"/>
                    <a:pt x="293" y="168"/>
                  </a:cubicBezTo>
                  <a:lnTo>
                    <a:pt x="293" y="180"/>
                  </a:lnTo>
                  <a:lnTo>
                    <a:pt x="299" y="180"/>
                  </a:lnTo>
                  <a:lnTo>
                    <a:pt x="299" y="158"/>
                  </a:lnTo>
                  <a:lnTo>
                    <a:pt x="293" y="158"/>
                  </a:lnTo>
                  <a:lnTo>
                    <a:pt x="286" y="164"/>
                  </a:lnTo>
                  <a:lnTo>
                    <a:pt x="289" y="168"/>
                  </a:lnTo>
                  <a:lnTo>
                    <a:pt x="291" y="165"/>
                  </a:lnTo>
                  <a:lnTo>
                    <a:pt x="291" y="165"/>
                  </a:lnTo>
                  <a:close/>
                  <a:moveTo>
                    <a:pt x="300" y="130"/>
                  </a:moveTo>
                  <a:lnTo>
                    <a:pt x="300" y="130"/>
                  </a:lnTo>
                  <a:cubicBezTo>
                    <a:pt x="301" y="128"/>
                    <a:pt x="301" y="125"/>
                    <a:pt x="301" y="121"/>
                  </a:cubicBezTo>
                  <a:cubicBezTo>
                    <a:pt x="301" y="118"/>
                    <a:pt x="301" y="115"/>
                    <a:pt x="299" y="113"/>
                  </a:cubicBezTo>
                  <a:cubicBezTo>
                    <a:pt x="298" y="111"/>
                    <a:pt x="296" y="110"/>
                    <a:pt x="294" y="110"/>
                  </a:cubicBezTo>
                  <a:cubicBezTo>
                    <a:pt x="291" y="110"/>
                    <a:pt x="289" y="111"/>
                    <a:pt x="288" y="113"/>
                  </a:cubicBezTo>
                  <a:cubicBezTo>
                    <a:pt x="286" y="115"/>
                    <a:pt x="286" y="117"/>
                    <a:pt x="286" y="121"/>
                  </a:cubicBezTo>
                  <a:cubicBezTo>
                    <a:pt x="286" y="125"/>
                    <a:pt x="286" y="128"/>
                    <a:pt x="288" y="130"/>
                  </a:cubicBezTo>
                  <a:cubicBezTo>
                    <a:pt x="289" y="132"/>
                    <a:pt x="291" y="133"/>
                    <a:pt x="294" y="133"/>
                  </a:cubicBezTo>
                  <a:cubicBezTo>
                    <a:pt x="296" y="133"/>
                    <a:pt x="298" y="132"/>
                    <a:pt x="300" y="130"/>
                  </a:cubicBezTo>
                  <a:close/>
                  <a:moveTo>
                    <a:pt x="296" y="121"/>
                  </a:moveTo>
                  <a:lnTo>
                    <a:pt x="296" y="121"/>
                  </a:lnTo>
                  <a:cubicBezTo>
                    <a:pt x="296" y="124"/>
                    <a:pt x="295" y="125"/>
                    <a:pt x="295" y="126"/>
                  </a:cubicBezTo>
                  <a:cubicBezTo>
                    <a:pt x="295" y="127"/>
                    <a:pt x="294" y="128"/>
                    <a:pt x="294" y="128"/>
                  </a:cubicBezTo>
                  <a:cubicBezTo>
                    <a:pt x="293" y="128"/>
                    <a:pt x="292" y="127"/>
                    <a:pt x="292" y="126"/>
                  </a:cubicBezTo>
                  <a:cubicBezTo>
                    <a:pt x="292" y="126"/>
                    <a:pt x="292" y="124"/>
                    <a:pt x="292" y="121"/>
                  </a:cubicBezTo>
                  <a:cubicBezTo>
                    <a:pt x="292" y="119"/>
                    <a:pt x="292" y="117"/>
                    <a:pt x="292" y="116"/>
                  </a:cubicBezTo>
                  <a:cubicBezTo>
                    <a:pt x="292" y="115"/>
                    <a:pt x="293" y="115"/>
                    <a:pt x="294" y="115"/>
                  </a:cubicBezTo>
                  <a:cubicBezTo>
                    <a:pt x="294" y="115"/>
                    <a:pt x="295" y="115"/>
                    <a:pt x="295" y="116"/>
                  </a:cubicBezTo>
                  <a:cubicBezTo>
                    <a:pt x="295" y="117"/>
                    <a:pt x="296" y="119"/>
                    <a:pt x="296" y="121"/>
                  </a:cubicBezTo>
                  <a:close/>
                  <a:moveTo>
                    <a:pt x="311" y="205"/>
                  </a:moveTo>
                  <a:lnTo>
                    <a:pt x="311" y="205"/>
                  </a:lnTo>
                  <a:lnTo>
                    <a:pt x="304" y="211"/>
                  </a:lnTo>
                  <a:lnTo>
                    <a:pt x="307" y="215"/>
                  </a:lnTo>
                  <a:lnTo>
                    <a:pt x="309" y="213"/>
                  </a:lnTo>
                  <a:cubicBezTo>
                    <a:pt x="310" y="212"/>
                    <a:pt x="310" y="212"/>
                    <a:pt x="311" y="211"/>
                  </a:cubicBezTo>
                  <a:cubicBezTo>
                    <a:pt x="311" y="213"/>
                    <a:pt x="311" y="214"/>
                    <a:pt x="311" y="215"/>
                  </a:cubicBezTo>
                  <a:lnTo>
                    <a:pt x="311" y="227"/>
                  </a:lnTo>
                  <a:lnTo>
                    <a:pt x="317" y="227"/>
                  </a:lnTo>
                  <a:lnTo>
                    <a:pt x="317" y="205"/>
                  </a:lnTo>
                  <a:lnTo>
                    <a:pt x="311" y="205"/>
                  </a:lnTo>
                  <a:lnTo>
                    <a:pt x="311" y="205"/>
                  </a:lnTo>
                  <a:close/>
                  <a:moveTo>
                    <a:pt x="329" y="158"/>
                  </a:moveTo>
                  <a:lnTo>
                    <a:pt x="329" y="158"/>
                  </a:lnTo>
                  <a:lnTo>
                    <a:pt x="322" y="164"/>
                  </a:lnTo>
                  <a:lnTo>
                    <a:pt x="325" y="168"/>
                  </a:lnTo>
                  <a:lnTo>
                    <a:pt x="327" y="165"/>
                  </a:lnTo>
                  <a:cubicBezTo>
                    <a:pt x="328" y="165"/>
                    <a:pt x="328" y="165"/>
                    <a:pt x="329" y="164"/>
                  </a:cubicBezTo>
                  <a:cubicBezTo>
                    <a:pt x="329" y="165"/>
                    <a:pt x="329" y="167"/>
                    <a:pt x="329" y="168"/>
                  </a:cubicBezTo>
                  <a:lnTo>
                    <a:pt x="329" y="180"/>
                  </a:lnTo>
                  <a:lnTo>
                    <a:pt x="335" y="180"/>
                  </a:lnTo>
                  <a:lnTo>
                    <a:pt x="335" y="158"/>
                  </a:lnTo>
                  <a:lnTo>
                    <a:pt x="329" y="158"/>
                  </a:lnTo>
                  <a:lnTo>
                    <a:pt x="329" y="158"/>
                  </a:lnTo>
                  <a:close/>
                  <a:moveTo>
                    <a:pt x="329" y="205"/>
                  </a:moveTo>
                  <a:lnTo>
                    <a:pt x="329" y="205"/>
                  </a:lnTo>
                  <a:lnTo>
                    <a:pt x="322" y="211"/>
                  </a:lnTo>
                  <a:lnTo>
                    <a:pt x="325" y="215"/>
                  </a:lnTo>
                  <a:lnTo>
                    <a:pt x="327" y="213"/>
                  </a:lnTo>
                  <a:cubicBezTo>
                    <a:pt x="328" y="212"/>
                    <a:pt x="328" y="212"/>
                    <a:pt x="329" y="211"/>
                  </a:cubicBezTo>
                  <a:cubicBezTo>
                    <a:pt x="329" y="213"/>
                    <a:pt x="329" y="214"/>
                    <a:pt x="329" y="215"/>
                  </a:cubicBezTo>
                  <a:lnTo>
                    <a:pt x="329" y="227"/>
                  </a:lnTo>
                  <a:lnTo>
                    <a:pt x="335" y="227"/>
                  </a:lnTo>
                  <a:lnTo>
                    <a:pt x="335" y="205"/>
                  </a:lnTo>
                  <a:lnTo>
                    <a:pt x="329" y="205"/>
                  </a:lnTo>
                  <a:lnTo>
                    <a:pt x="329" y="205"/>
                  </a:lnTo>
                  <a:close/>
                  <a:moveTo>
                    <a:pt x="348" y="205"/>
                  </a:moveTo>
                  <a:lnTo>
                    <a:pt x="348" y="205"/>
                  </a:lnTo>
                  <a:lnTo>
                    <a:pt x="340" y="211"/>
                  </a:lnTo>
                  <a:lnTo>
                    <a:pt x="343" y="215"/>
                  </a:lnTo>
                  <a:lnTo>
                    <a:pt x="346" y="213"/>
                  </a:lnTo>
                  <a:cubicBezTo>
                    <a:pt x="346" y="212"/>
                    <a:pt x="347" y="212"/>
                    <a:pt x="347" y="211"/>
                  </a:cubicBezTo>
                  <a:cubicBezTo>
                    <a:pt x="347" y="213"/>
                    <a:pt x="347" y="214"/>
                    <a:pt x="347" y="215"/>
                  </a:cubicBezTo>
                  <a:lnTo>
                    <a:pt x="347" y="227"/>
                  </a:lnTo>
                  <a:lnTo>
                    <a:pt x="353" y="227"/>
                  </a:lnTo>
                  <a:lnTo>
                    <a:pt x="353" y="205"/>
                  </a:lnTo>
                  <a:lnTo>
                    <a:pt x="348" y="205"/>
                  </a:lnTo>
                  <a:lnTo>
                    <a:pt x="348" y="205"/>
                  </a:lnTo>
                  <a:close/>
                  <a:moveTo>
                    <a:pt x="281" y="177"/>
                  </a:moveTo>
                  <a:lnTo>
                    <a:pt x="281" y="177"/>
                  </a:lnTo>
                  <a:cubicBezTo>
                    <a:pt x="283" y="175"/>
                    <a:pt x="283" y="173"/>
                    <a:pt x="283" y="169"/>
                  </a:cubicBezTo>
                  <a:cubicBezTo>
                    <a:pt x="283" y="165"/>
                    <a:pt x="283" y="162"/>
                    <a:pt x="281" y="160"/>
                  </a:cubicBezTo>
                  <a:cubicBezTo>
                    <a:pt x="280" y="158"/>
                    <a:pt x="278" y="157"/>
                    <a:pt x="275" y="157"/>
                  </a:cubicBezTo>
                  <a:cubicBezTo>
                    <a:pt x="273" y="157"/>
                    <a:pt x="271" y="158"/>
                    <a:pt x="269" y="160"/>
                  </a:cubicBezTo>
                  <a:cubicBezTo>
                    <a:pt x="268" y="162"/>
                    <a:pt x="268" y="165"/>
                    <a:pt x="268" y="169"/>
                  </a:cubicBezTo>
                  <a:cubicBezTo>
                    <a:pt x="268" y="172"/>
                    <a:pt x="268" y="175"/>
                    <a:pt x="270" y="177"/>
                  </a:cubicBezTo>
                  <a:cubicBezTo>
                    <a:pt x="271" y="179"/>
                    <a:pt x="273" y="180"/>
                    <a:pt x="275" y="180"/>
                  </a:cubicBezTo>
                  <a:cubicBezTo>
                    <a:pt x="278" y="180"/>
                    <a:pt x="280" y="179"/>
                    <a:pt x="281" y="177"/>
                  </a:cubicBezTo>
                  <a:close/>
                  <a:moveTo>
                    <a:pt x="278" y="169"/>
                  </a:moveTo>
                  <a:lnTo>
                    <a:pt x="278" y="169"/>
                  </a:lnTo>
                  <a:cubicBezTo>
                    <a:pt x="278" y="171"/>
                    <a:pt x="277" y="173"/>
                    <a:pt x="277" y="174"/>
                  </a:cubicBezTo>
                  <a:cubicBezTo>
                    <a:pt x="277" y="175"/>
                    <a:pt x="276" y="175"/>
                    <a:pt x="275" y="175"/>
                  </a:cubicBezTo>
                  <a:cubicBezTo>
                    <a:pt x="275" y="175"/>
                    <a:pt x="274" y="175"/>
                    <a:pt x="274" y="174"/>
                  </a:cubicBezTo>
                  <a:cubicBezTo>
                    <a:pt x="274" y="173"/>
                    <a:pt x="273" y="171"/>
                    <a:pt x="273" y="169"/>
                  </a:cubicBezTo>
                  <a:cubicBezTo>
                    <a:pt x="273" y="166"/>
                    <a:pt x="274" y="164"/>
                    <a:pt x="274" y="163"/>
                  </a:cubicBezTo>
                  <a:cubicBezTo>
                    <a:pt x="274" y="163"/>
                    <a:pt x="275" y="162"/>
                    <a:pt x="275" y="162"/>
                  </a:cubicBezTo>
                  <a:cubicBezTo>
                    <a:pt x="276" y="162"/>
                    <a:pt x="277" y="163"/>
                    <a:pt x="277" y="164"/>
                  </a:cubicBezTo>
                  <a:cubicBezTo>
                    <a:pt x="277" y="164"/>
                    <a:pt x="278" y="166"/>
                    <a:pt x="278" y="169"/>
                  </a:cubicBezTo>
                  <a:close/>
                  <a:moveTo>
                    <a:pt x="275" y="132"/>
                  </a:moveTo>
                  <a:lnTo>
                    <a:pt x="275" y="132"/>
                  </a:lnTo>
                  <a:lnTo>
                    <a:pt x="281" y="132"/>
                  </a:lnTo>
                  <a:lnTo>
                    <a:pt x="281" y="110"/>
                  </a:lnTo>
                  <a:lnTo>
                    <a:pt x="275" y="110"/>
                  </a:lnTo>
                  <a:lnTo>
                    <a:pt x="268" y="116"/>
                  </a:lnTo>
                  <a:lnTo>
                    <a:pt x="271" y="120"/>
                  </a:lnTo>
                  <a:lnTo>
                    <a:pt x="273" y="118"/>
                  </a:lnTo>
                  <a:cubicBezTo>
                    <a:pt x="274" y="118"/>
                    <a:pt x="274" y="117"/>
                    <a:pt x="275" y="117"/>
                  </a:cubicBezTo>
                  <a:cubicBezTo>
                    <a:pt x="275" y="118"/>
                    <a:pt x="275" y="119"/>
                    <a:pt x="275" y="121"/>
                  </a:cubicBezTo>
                  <a:lnTo>
                    <a:pt x="275" y="13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03" name="Freeform 10">
            <a:extLst>
              <a:ext uri="{FF2B5EF4-FFF2-40B4-BE49-F238E27FC236}">
                <a16:creationId xmlns:a16="http://schemas.microsoft.com/office/drawing/2014/main" id="{8860B89D-3FB3-4506-BA8D-BD608D1C0C7D}"/>
              </a:ext>
            </a:extLst>
          </p:cNvPr>
          <p:cNvSpPr>
            <a:spLocks noEditPoints="1"/>
          </p:cNvSpPr>
          <p:nvPr/>
        </p:nvSpPr>
        <p:spPr bwMode="auto">
          <a:xfrm>
            <a:off x="4019403" y="2523403"/>
            <a:ext cx="369846" cy="365760"/>
          </a:xfrm>
          <a:custGeom>
            <a:avLst/>
            <a:gdLst>
              <a:gd name="T0" fmla="*/ 632 w 754"/>
              <a:gd name="T1" fmla="*/ 553 h 754"/>
              <a:gd name="T2" fmla="*/ 427 w 754"/>
              <a:gd name="T3" fmla="*/ 532 h 754"/>
              <a:gd name="T4" fmla="*/ 334 w 754"/>
              <a:gd name="T5" fmla="*/ 502 h 754"/>
              <a:gd name="T6" fmla="*/ 583 w 754"/>
              <a:gd name="T7" fmla="*/ 474 h 754"/>
              <a:gd name="T8" fmla="*/ 533 w 754"/>
              <a:gd name="T9" fmla="*/ 424 h 754"/>
              <a:gd name="T10" fmla="*/ 501 w 754"/>
              <a:gd name="T11" fmla="*/ 451 h 754"/>
              <a:gd name="T12" fmla="*/ 390 w 754"/>
              <a:gd name="T13" fmla="*/ 402 h 754"/>
              <a:gd name="T14" fmla="*/ 394 w 754"/>
              <a:gd name="T15" fmla="*/ 407 h 754"/>
              <a:gd name="T16" fmla="*/ 372 w 754"/>
              <a:gd name="T17" fmla="*/ 365 h 754"/>
              <a:gd name="T18" fmla="*/ 513 w 754"/>
              <a:gd name="T19" fmla="*/ 312 h 754"/>
              <a:gd name="T20" fmla="*/ 374 w 754"/>
              <a:gd name="T21" fmla="*/ 324 h 754"/>
              <a:gd name="T22" fmla="*/ 380 w 754"/>
              <a:gd name="T23" fmla="*/ 369 h 754"/>
              <a:gd name="T24" fmla="*/ 384 w 754"/>
              <a:gd name="T25" fmla="*/ 406 h 754"/>
              <a:gd name="T26" fmla="*/ 447 w 754"/>
              <a:gd name="T27" fmla="*/ 437 h 754"/>
              <a:gd name="T28" fmla="*/ 500 w 754"/>
              <a:gd name="T29" fmla="*/ 396 h 754"/>
              <a:gd name="T30" fmla="*/ 522 w 754"/>
              <a:gd name="T31" fmla="*/ 324 h 754"/>
              <a:gd name="T32" fmla="*/ 397 w 754"/>
              <a:gd name="T33" fmla="*/ 324 h 754"/>
              <a:gd name="T34" fmla="*/ 391 w 754"/>
              <a:gd name="T35" fmla="*/ 302 h 754"/>
              <a:gd name="T36" fmla="*/ 392 w 754"/>
              <a:gd name="T37" fmla="*/ 371 h 754"/>
              <a:gd name="T38" fmla="*/ 456 w 754"/>
              <a:gd name="T39" fmla="*/ 402 h 754"/>
              <a:gd name="T40" fmla="*/ 463 w 754"/>
              <a:gd name="T41" fmla="*/ 403 h 754"/>
              <a:gd name="T42" fmla="*/ 446 w 754"/>
              <a:gd name="T43" fmla="*/ 396 h 754"/>
              <a:gd name="T44" fmla="*/ 441 w 754"/>
              <a:gd name="T45" fmla="*/ 406 h 754"/>
              <a:gd name="T46" fmla="*/ 451 w 754"/>
              <a:gd name="T47" fmla="*/ 371 h 754"/>
              <a:gd name="T48" fmla="*/ 438 w 754"/>
              <a:gd name="T49" fmla="*/ 355 h 754"/>
              <a:gd name="T50" fmla="*/ 427 w 754"/>
              <a:gd name="T51" fmla="*/ 407 h 754"/>
              <a:gd name="T52" fmla="*/ 418 w 754"/>
              <a:gd name="T53" fmla="*/ 313 h 754"/>
              <a:gd name="T54" fmla="*/ 416 w 754"/>
              <a:gd name="T55" fmla="*/ 304 h 754"/>
              <a:gd name="T56" fmla="*/ 410 w 754"/>
              <a:gd name="T57" fmla="*/ 349 h 754"/>
              <a:gd name="T58" fmla="*/ 418 w 754"/>
              <a:gd name="T59" fmla="*/ 407 h 754"/>
              <a:gd name="T60" fmla="*/ 416 w 754"/>
              <a:gd name="T61" fmla="*/ 399 h 754"/>
              <a:gd name="T62" fmla="*/ 426 w 754"/>
              <a:gd name="T63" fmla="*/ 310 h 754"/>
              <a:gd name="T64" fmla="*/ 436 w 754"/>
              <a:gd name="T65" fmla="*/ 360 h 754"/>
              <a:gd name="T66" fmla="*/ 428 w 754"/>
              <a:gd name="T67" fmla="*/ 349 h 754"/>
              <a:gd name="T68" fmla="*/ 440 w 754"/>
              <a:gd name="T69" fmla="*/ 321 h 754"/>
              <a:gd name="T70" fmla="*/ 472 w 754"/>
              <a:gd name="T71" fmla="*/ 313 h 754"/>
              <a:gd name="T72" fmla="*/ 470 w 754"/>
              <a:gd name="T73" fmla="*/ 304 h 754"/>
              <a:gd name="T74" fmla="*/ 456 w 754"/>
              <a:gd name="T75" fmla="*/ 360 h 754"/>
              <a:gd name="T76" fmla="*/ 481 w 754"/>
              <a:gd name="T77" fmla="*/ 324 h 754"/>
              <a:gd name="T78" fmla="*/ 487 w 754"/>
              <a:gd name="T79" fmla="*/ 302 h 754"/>
              <a:gd name="T80" fmla="*/ 476 w 754"/>
              <a:gd name="T81" fmla="*/ 368 h 754"/>
              <a:gd name="T82" fmla="*/ 490 w 754"/>
              <a:gd name="T83" fmla="*/ 407 h 754"/>
              <a:gd name="T84" fmla="*/ 488 w 754"/>
              <a:gd name="T85" fmla="*/ 399 h 754"/>
              <a:gd name="T86" fmla="*/ 498 w 754"/>
              <a:gd name="T87" fmla="*/ 310 h 754"/>
              <a:gd name="T88" fmla="*/ 505 w 754"/>
              <a:gd name="T89" fmla="*/ 371 h 754"/>
              <a:gd name="T90" fmla="*/ 492 w 754"/>
              <a:gd name="T91" fmla="*/ 355 h 754"/>
              <a:gd name="T92" fmla="*/ 518 w 754"/>
              <a:gd name="T93" fmla="*/ 349 h 754"/>
              <a:gd name="T94" fmla="*/ 512 w 754"/>
              <a:gd name="T95" fmla="*/ 351 h 754"/>
              <a:gd name="T96" fmla="*/ 520 w 754"/>
              <a:gd name="T97" fmla="*/ 365 h 754"/>
              <a:gd name="T98" fmla="*/ 484 w 754"/>
              <a:gd name="T99" fmla="*/ 402 h 754"/>
              <a:gd name="T100" fmla="*/ 484 w 754"/>
              <a:gd name="T101" fmla="*/ 365 h 754"/>
              <a:gd name="T102" fmla="*/ 480 w 754"/>
              <a:gd name="T103" fmla="*/ 365 h 754"/>
              <a:gd name="T104" fmla="*/ 464 w 754"/>
              <a:gd name="T105" fmla="*/ 353 h 754"/>
              <a:gd name="T106" fmla="*/ 466 w 754"/>
              <a:gd name="T107" fmla="*/ 318 h 754"/>
              <a:gd name="T108" fmla="*/ 464 w 754"/>
              <a:gd name="T109" fmla="*/ 319 h 754"/>
              <a:gd name="T110" fmla="*/ 444 w 754"/>
              <a:gd name="T111" fmla="*/ 308 h 754"/>
              <a:gd name="T112" fmla="*/ 430 w 754"/>
              <a:gd name="T113" fmla="*/ 360 h 754"/>
              <a:gd name="T114" fmla="*/ 429 w 754"/>
              <a:gd name="T115" fmla="*/ 365 h 754"/>
              <a:gd name="T116" fmla="*/ 408 w 754"/>
              <a:gd name="T117" fmla="*/ 407 h 754"/>
              <a:gd name="T118" fmla="*/ 411 w 754"/>
              <a:gd name="T119" fmla="*/ 308 h 754"/>
              <a:gd name="T120" fmla="*/ 393 w 754"/>
              <a:gd name="T121" fmla="*/ 365 h 754"/>
              <a:gd name="T122" fmla="*/ 390 w 754"/>
              <a:gd name="T123" fmla="*/ 365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4" h="754">
                <a:moveTo>
                  <a:pt x="754" y="377"/>
                </a:moveTo>
                <a:lnTo>
                  <a:pt x="754" y="377"/>
                </a:lnTo>
                <a:cubicBezTo>
                  <a:pt x="754" y="169"/>
                  <a:pt x="585" y="0"/>
                  <a:pt x="377" y="0"/>
                </a:cubicBezTo>
                <a:cubicBezTo>
                  <a:pt x="169" y="0"/>
                  <a:pt x="0" y="169"/>
                  <a:pt x="0" y="377"/>
                </a:cubicBezTo>
                <a:cubicBezTo>
                  <a:pt x="0" y="585"/>
                  <a:pt x="169" y="754"/>
                  <a:pt x="377" y="754"/>
                </a:cubicBezTo>
                <a:cubicBezTo>
                  <a:pt x="585" y="754"/>
                  <a:pt x="754" y="585"/>
                  <a:pt x="754" y="377"/>
                </a:cubicBezTo>
                <a:close/>
                <a:moveTo>
                  <a:pt x="632" y="553"/>
                </a:moveTo>
                <a:lnTo>
                  <a:pt x="632" y="553"/>
                </a:lnTo>
                <a:cubicBezTo>
                  <a:pt x="628" y="557"/>
                  <a:pt x="622" y="559"/>
                  <a:pt x="617" y="559"/>
                </a:cubicBezTo>
                <a:cubicBezTo>
                  <a:pt x="611" y="559"/>
                  <a:pt x="606" y="557"/>
                  <a:pt x="602" y="553"/>
                </a:cubicBezTo>
                <a:lnTo>
                  <a:pt x="551" y="502"/>
                </a:lnTo>
                <a:lnTo>
                  <a:pt x="364" y="502"/>
                </a:lnTo>
                <a:lnTo>
                  <a:pt x="364" y="532"/>
                </a:lnTo>
                <a:lnTo>
                  <a:pt x="427" y="532"/>
                </a:lnTo>
                <a:cubicBezTo>
                  <a:pt x="436" y="532"/>
                  <a:pt x="443" y="539"/>
                  <a:pt x="443" y="548"/>
                </a:cubicBezTo>
                <a:cubicBezTo>
                  <a:pt x="443" y="557"/>
                  <a:pt x="436" y="562"/>
                  <a:pt x="427" y="562"/>
                </a:cubicBezTo>
                <a:lnTo>
                  <a:pt x="271" y="562"/>
                </a:lnTo>
                <a:cubicBezTo>
                  <a:pt x="262" y="562"/>
                  <a:pt x="256" y="557"/>
                  <a:pt x="256" y="548"/>
                </a:cubicBezTo>
                <a:cubicBezTo>
                  <a:pt x="256" y="539"/>
                  <a:pt x="262" y="532"/>
                  <a:pt x="271" y="532"/>
                </a:cubicBezTo>
                <a:lnTo>
                  <a:pt x="334" y="532"/>
                </a:lnTo>
                <a:lnTo>
                  <a:pt x="334" y="502"/>
                </a:lnTo>
                <a:lnTo>
                  <a:pt x="131" y="502"/>
                </a:lnTo>
                <a:cubicBezTo>
                  <a:pt x="122" y="502"/>
                  <a:pt x="116" y="494"/>
                  <a:pt x="116" y="486"/>
                </a:cubicBezTo>
                <a:lnTo>
                  <a:pt x="116" y="207"/>
                </a:lnTo>
                <a:cubicBezTo>
                  <a:pt x="116" y="198"/>
                  <a:pt x="122" y="191"/>
                  <a:pt x="131" y="191"/>
                </a:cubicBezTo>
                <a:lnTo>
                  <a:pt x="567" y="191"/>
                </a:lnTo>
                <a:cubicBezTo>
                  <a:pt x="576" y="191"/>
                  <a:pt x="583" y="198"/>
                  <a:pt x="583" y="207"/>
                </a:cubicBezTo>
                <a:lnTo>
                  <a:pt x="583" y="474"/>
                </a:lnTo>
                <a:lnTo>
                  <a:pt x="632" y="522"/>
                </a:lnTo>
                <a:cubicBezTo>
                  <a:pt x="640" y="531"/>
                  <a:pt x="640" y="544"/>
                  <a:pt x="632" y="553"/>
                </a:cubicBezTo>
                <a:close/>
                <a:moveTo>
                  <a:pt x="533" y="424"/>
                </a:moveTo>
                <a:lnTo>
                  <a:pt x="533" y="424"/>
                </a:lnTo>
                <a:lnTo>
                  <a:pt x="551" y="441"/>
                </a:lnTo>
                <a:lnTo>
                  <a:pt x="551" y="391"/>
                </a:lnTo>
                <a:cubicBezTo>
                  <a:pt x="547" y="403"/>
                  <a:pt x="541" y="414"/>
                  <a:pt x="533" y="424"/>
                </a:cubicBezTo>
                <a:close/>
                <a:moveTo>
                  <a:pt x="551" y="321"/>
                </a:moveTo>
                <a:lnTo>
                  <a:pt x="551" y="321"/>
                </a:lnTo>
                <a:lnTo>
                  <a:pt x="551" y="223"/>
                </a:lnTo>
                <a:lnTo>
                  <a:pt x="147" y="223"/>
                </a:lnTo>
                <a:lnTo>
                  <a:pt x="147" y="470"/>
                </a:lnTo>
                <a:lnTo>
                  <a:pt x="519" y="470"/>
                </a:lnTo>
                <a:lnTo>
                  <a:pt x="501" y="451"/>
                </a:lnTo>
                <a:cubicBezTo>
                  <a:pt x="485" y="460"/>
                  <a:pt x="467" y="465"/>
                  <a:pt x="447" y="465"/>
                </a:cubicBezTo>
                <a:cubicBezTo>
                  <a:pt x="387" y="465"/>
                  <a:pt x="338" y="416"/>
                  <a:pt x="338" y="355"/>
                </a:cubicBezTo>
                <a:cubicBezTo>
                  <a:pt x="338" y="295"/>
                  <a:pt x="387" y="246"/>
                  <a:pt x="447" y="246"/>
                </a:cubicBezTo>
                <a:cubicBezTo>
                  <a:pt x="496" y="246"/>
                  <a:pt x="537" y="278"/>
                  <a:pt x="551" y="321"/>
                </a:cubicBezTo>
                <a:close/>
                <a:moveTo>
                  <a:pt x="392" y="401"/>
                </a:moveTo>
                <a:lnTo>
                  <a:pt x="392" y="401"/>
                </a:lnTo>
                <a:cubicBezTo>
                  <a:pt x="391" y="401"/>
                  <a:pt x="390" y="401"/>
                  <a:pt x="390" y="402"/>
                </a:cubicBezTo>
                <a:cubicBezTo>
                  <a:pt x="390" y="403"/>
                  <a:pt x="390" y="405"/>
                  <a:pt x="390" y="407"/>
                </a:cubicBezTo>
                <a:cubicBezTo>
                  <a:pt x="390" y="410"/>
                  <a:pt x="390" y="412"/>
                  <a:pt x="390" y="412"/>
                </a:cubicBezTo>
                <a:cubicBezTo>
                  <a:pt x="390" y="413"/>
                  <a:pt x="390" y="413"/>
                  <a:pt x="390" y="413"/>
                </a:cubicBezTo>
                <a:cubicBezTo>
                  <a:pt x="391" y="413"/>
                  <a:pt x="391" y="413"/>
                  <a:pt x="391" y="414"/>
                </a:cubicBezTo>
                <a:cubicBezTo>
                  <a:pt x="391" y="414"/>
                  <a:pt x="392" y="414"/>
                  <a:pt x="392" y="414"/>
                </a:cubicBezTo>
                <a:cubicBezTo>
                  <a:pt x="392" y="414"/>
                  <a:pt x="393" y="413"/>
                  <a:pt x="393" y="412"/>
                </a:cubicBezTo>
                <a:cubicBezTo>
                  <a:pt x="394" y="411"/>
                  <a:pt x="394" y="410"/>
                  <a:pt x="394" y="407"/>
                </a:cubicBezTo>
                <a:cubicBezTo>
                  <a:pt x="394" y="405"/>
                  <a:pt x="394" y="403"/>
                  <a:pt x="393" y="402"/>
                </a:cubicBezTo>
                <a:cubicBezTo>
                  <a:pt x="393" y="401"/>
                  <a:pt x="392" y="401"/>
                  <a:pt x="392" y="401"/>
                </a:cubicBezTo>
                <a:close/>
                <a:moveTo>
                  <a:pt x="374" y="353"/>
                </a:moveTo>
                <a:lnTo>
                  <a:pt x="374" y="353"/>
                </a:lnTo>
                <a:cubicBezTo>
                  <a:pt x="373" y="353"/>
                  <a:pt x="372" y="354"/>
                  <a:pt x="372" y="355"/>
                </a:cubicBezTo>
                <a:cubicBezTo>
                  <a:pt x="372" y="356"/>
                  <a:pt x="372" y="358"/>
                  <a:pt x="372" y="360"/>
                </a:cubicBezTo>
                <a:cubicBezTo>
                  <a:pt x="372" y="363"/>
                  <a:pt x="372" y="364"/>
                  <a:pt x="372" y="365"/>
                </a:cubicBezTo>
                <a:cubicBezTo>
                  <a:pt x="372" y="366"/>
                  <a:pt x="373" y="367"/>
                  <a:pt x="374" y="367"/>
                </a:cubicBezTo>
                <a:cubicBezTo>
                  <a:pt x="374" y="367"/>
                  <a:pt x="375" y="366"/>
                  <a:pt x="375" y="365"/>
                </a:cubicBezTo>
                <a:cubicBezTo>
                  <a:pt x="376" y="364"/>
                  <a:pt x="376" y="362"/>
                  <a:pt x="376" y="360"/>
                </a:cubicBezTo>
                <a:cubicBezTo>
                  <a:pt x="376" y="358"/>
                  <a:pt x="376" y="356"/>
                  <a:pt x="375" y="355"/>
                </a:cubicBezTo>
                <a:cubicBezTo>
                  <a:pt x="375" y="354"/>
                  <a:pt x="374" y="353"/>
                  <a:pt x="374" y="353"/>
                </a:cubicBezTo>
                <a:close/>
                <a:moveTo>
                  <a:pt x="513" y="312"/>
                </a:moveTo>
                <a:lnTo>
                  <a:pt x="513" y="312"/>
                </a:lnTo>
                <a:lnTo>
                  <a:pt x="510" y="308"/>
                </a:lnTo>
                <a:lnTo>
                  <a:pt x="512" y="307"/>
                </a:lnTo>
                <a:cubicBezTo>
                  <a:pt x="497" y="287"/>
                  <a:pt x="474" y="274"/>
                  <a:pt x="447" y="274"/>
                </a:cubicBezTo>
                <a:cubicBezTo>
                  <a:pt x="420" y="274"/>
                  <a:pt x="396" y="288"/>
                  <a:pt x="381" y="309"/>
                </a:cubicBezTo>
                <a:cubicBezTo>
                  <a:pt x="381" y="310"/>
                  <a:pt x="382" y="311"/>
                  <a:pt x="382" y="313"/>
                </a:cubicBezTo>
                <a:cubicBezTo>
                  <a:pt x="382" y="317"/>
                  <a:pt x="381" y="319"/>
                  <a:pt x="380" y="321"/>
                </a:cubicBezTo>
                <a:cubicBezTo>
                  <a:pt x="378" y="323"/>
                  <a:pt x="376" y="324"/>
                  <a:pt x="374" y="324"/>
                </a:cubicBezTo>
                <a:cubicBezTo>
                  <a:pt x="373" y="324"/>
                  <a:pt x="373" y="324"/>
                  <a:pt x="373" y="324"/>
                </a:cubicBezTo>
                <a:cubicBezTo>
                  <a:pt x="369" y="333"/>
                  <a:pt x="367" y="343"/>
                  <a:pt x="366" y="354"/>
                </a:cubicBezTo>
                <a:cubicBezTo>
                  <a:pt x="367" y="353"/>
                  <a:pt x="367" y="352"/>
                  <a:pt x="368" y="351"/>
                </a:cubicBezTo>
                <a:cubicBezTo>
                  <a:pt x="369" y="350"/>
                  <a:pt x="371" y="349"/>
                  <a:pt x="374" y="349"/>
                </a:cubicBezTo>
                <a:cubicBezTo>
                  <a:pt x="376" y="349"/>
                  <a:pt x="378" y="350"/>
                  <a:pt x="380" y="352"/>
                </a:cubicBezTo>
                <a:cubicBezTo>
                  <a:pt x="381" y="353"/>
                  <a:pt x="382" y="356"/>
                  <a:pt x="382" y="360"/>
                </a:cubicBezTo>
                <a:cubicBezTo>
                  <a:pt x="382" y="364"/>
                  <a:pt x="381" y="367"/>
                  <a:pt x="380" y="369"/>
                </a:cubicBezTo>
                <a:cubicBezTo>
                  <a:pt x="378" y="370"/>
                  <a:pt x="376" y="371"/>
                  <a:pt x="374" y="371"/>
                </a:cubicBezTo>
                <a:cubicBezTo>
                  <a:pt x="371" y="371"/>
                  <a:pt x="369" y="370"/>
                  <a:pt x="368" y="368"/>
                </a:cubicBezTo>
                <a:cubicBezTo>
                  <a:pt x="368" y="368"/>
                  <a:pt x="367" y="368"/>
                  <a:pt x="367" y="368"/>
                </a:cubicBezTo>
                <a:cubicBezTo>
                  <a:pt x="369" y="379"/>
                  <a:pt x="373" y="388"/>
                  <a:pt x="378" y="397"/>
                </a:cubicBezTo>
                <a:cubicBezTo>
                  <a:pt x="379" y="398"/>
                  <a:pt x="379" y="398"/>
                  <a:pt x="380" y="399"/>
                </a:cubicBezTo>
                <a:cubicBezTo>
                  <a:pt x="380" y="400"/>
                  <a:pt x="381" y="401"/>
                  <a:pt x="381" y="402"/>
                </a:cubicBezTo>
                <a:cubicBezTo>
                  <a:pt x="382" y="403"/>
                  <a:pt x="383" y="404"/>
                  <a:pt x="384" y="406"/>
                </a:cubicBezTo>
                <a:cubicBezTo>
                  <a:pt x="384" y="403"/>
                  <a:pt x="385" y="400"/>
                  <a:pt x="386" y="399"/>
                </a:cubicBezTo>
                <a:cubicBezTo>
                  <a:pt x="387" y="397"/>
                  <a:pt x="389" y="396"/>
                  <a:pt x="392" y="396"/>
                </a:cubicBezTo>
                <a:cubicBezTo>
                  <a:pt x="394" y="396"/>
                  <a:pt x="396" y="397"/>
                  <a:pt x="398" y="399"/>
                </a:cubicBezTo>
                <a:cubicBezTo>
                  <a:pt x="399" y="401"/>
                  <a:pt x="400" y="404"/>
                  <a:pt x="400" y="407"/>
                </a:cubicBezTo>
                <a:cubicBezTo>
                  <a:pt x="400" y="411"/>
                  <a:pt x="399" y="414"/>
                  <a:pt x="398" y="416"/>
                </a:cubicBezTo>
                <a:cubicBezTo>
                  <a:pt x="397" y="417"/>
                  <a:pt x="396" y="417"/>
                  <a:pt x="396" y="418"/>
                </a:cubicBezTo>
                <a:cubicBezTo>
                  <a:pt x="410" y="429"/>
                  <a:pt x="428" y="437"/>
                  <a:pt x="447" y="437"/>
                </a:cubicBezTo>
                <a:cubicBezTo>
                  <a:pt x="467" y="437"/>
                  <a:pt x="485" y="430"/>
                  <a:pt x="499" y="418"/>
                </a:cubicBezTo>
                <a:lnTo>
                  <a:pt x="499" y="407"/>
                </a:lnTo>
                <a:cubicBezTo>
                  <a:pt x="499" y="405"/>
                  <a:pt x="499" y="404"/>
                  <a:pt x="499" y="403"/>
                </a:cubicBezTo>
                <a:cubicBezTo>
                  <a:pt x="499" y="403"/>
                  <a:pt x="498" y="404"/>
                  <a:pt x="498" y="404"/>
                </a:cubicBezTo>
                <a:lnTo>
                  <a:pt x="495" y="406"/>
                </a:lnTo>
                <a:lnTo>
                  <a:pt x="492" y="402"/>
                </a:lnTo>
                <a:lnTo>
                  <a:pt x="500" y="396"/>
                </a:lnTo>
                <a:lnTo>
                  <a:pt x="505" y="396"/>
                </a:lnTo>
                <a:lnTo>
                  <a:pt x="505" y="412"/>
                </a:lnTo>
                <a:cubicBezTo>
                  <a:pt x="507" y="411"/>
                  <a:pt x="509" y="409"/>
                  <a:pt x="510" y="407"/>
                </a:cubicBezTo>
                <a:cubicBezTo>
                  <a:pt x="510" y="403"/>
                  <a:pt x="511" y="400"/>
                  <a:pt x="512" y="399"/>
                </a:cubicBezTo>
                <a:cubicBezTo>
                  <a:pt x="513" y="397"/>
                  <a:pt x="515" y="396"/>
                  <a:pt x="518" y="396"/>
                </a:cubicBezTo>
                <a:cubicBezTo>
                  <a:pt x="525" y="384"/>
                  <a:pt x="529" y="370"/>
                  <a:pt x="529" y="355"/>
                </a:cubicBezTo>
                <a:cubicBezTo>
                  <a:pt x="529" y="344"/>
                  <a:pt x="526" y="333"/>
                  <a:pt x="522" y="324"/>
                </a:cubicBezTo>
                <a:lnTo>
                  <a:pt x="517" y="324"/>
                </a:lnTo>
                <a:lnTo>
                  <a:pt x="517" y="314"/>
                </a:lnTo>
                <a:cubicBezTo>
                  <a:pt x="516" y="313"/>
                  <a:pt x="516" y="312"/>
                  <a:pt x="515" y="310"/>
                </a:cubicBezTo>
                <a:lnTo>
                  <a:pt x="513" y="312"/>
                </a:lnTo>
                <a:lnTo>
                  <a:pt x="513" y="312"/>
                </a:lnTo>
                <a:close/>
                <a:moveTo>
                  <a:pt x="397" y="324"/>
                </a:moveTo>
                <a:lnTo>
                  <a:pt x="397" y="324"/>
                </a:lnTo>
                <a:lnTo>
                  <a:pt x="391" y="324"/>
                </a:lnTo>
                <a:lnTo>
                  <a:pt x="391" y="312"/>
                </a:lnTo>
                <a:cubicBezTo>
                  <a:pt x="391" y="311"/>
                  <a:pt x="391" y="309"/>
                  <a:pt x="391" y="308"/>
                </a:cubicBezTo>
                <a:cubicBezTo>
                  <a:pt x="391" y="309"/>
                  <a:pt x="390" y="309"/>
                  <a:pt x="390" y="310"/>
                </a:cubicBezTo>
                <a:lnTo>
                  <a:pt x="387" y="312"/>
                </a:lnTo>
                <a:lnTo>
                  <a:pt x="384" y="308"/>
                </a:lnTo>
                <a:lnTo>
                  <a:pt x="391" y="302"/>
                </a:lnTo>
                <a:lnTo>
                  <a:pt x="397" y="302"/>
                </a:lnTo>
                <a:lnTo>
                  <a:pt x="397" y="324"/>
                </a:lnTo>
                <a:lnTo>
                  <a:pt x="397" y="324"/>
                </a:lnTo>
                <a:close/>
                <a:moveTo>
                  <a:pt x="400" y="360"/>
                </a:moveTo>
                <a:lnTo>
                  <a:pt x="400" y="360"/>
                </a:lnTo>
                <a:cubicBezTo>
                  <a:pt x="400" y="364"/>
                  <a:pt x="399" y="367"/>
                  <a:pt x="398" y="369"/>
                </a:cubicBezTo>
                <a:cubicBezTo>
                  <a:pt x="396" y="370"/>
                  <a:pt x="394" y="371"/>
                  <a:pt x="392" y="371"/>
                </a:cubicBezTo>
                <a:cubicBezTo>
                  <a:pt x="389" y="371"/>
                  <a:pt x="387" y="370"/>
                  <a:pt x="386" y="368"/>
                </a:cubicBezTo>
                <a:cubicBezTo>
                  <a:pt x="384" y="367"/>
                  <a:pt x="384" y="364"/>
                  <a:pt x="384" y="360"/>
                </a:cubicBezTo>
                <a:cubicBezTo>
                  <a:pt x="384" y="356"/>
                  <a:pt x="384" y="353"/>
                  <a:pt x="386" y="351"/>
                </a:cubicBezTo>
                <a:cubicBezTo>
                  <a:pt x="387" y="350"/>
                  <a:pt x="389" y="349"/>
                  <a:pt x="392" y="349"/>
                </a:cubicBezTo>
                <a:cubicBezTo>
                  <a:pt x="394" y="349"/>
                  <a:pt x="396" y="350"/>
                  <a:pt x="398" y="352"/>
                </a:cubicBezTo>
                <a:cubicBezTo>
                  <a:pt x="399" y="353"/>
                  <a:pt x="400" y="356"/>
                  <a:pt x="400" y="360"/>
                </a:cubicBezTo>
                <a:close/>
                <a:moveTo>
                  <a:pt x="456" y="402"/>
                </a:moveTo>
                <a:lnTo>
                  <a:pt x="456" y="402"/>
                </a:lnTo>
                <a:lnTo>
                  <a:pt x="464" y="396"/>
                </a:lnTo>
                <a:lnTo>
                  <a:pt x="469" y="396"/>
                </a:lnTo>
                <a:lnTo>
                  <a:pt x="469" y="418"/>
                </a:lnTo>
                <a:lnTo>
                  <a:pt x="463" y="418"/>
                </a:lnTo>
                <a:lnTo>
                  <a:pt x="463" y="407"/>
                </a:lnTo>
                <a:cubicBezTo>
                  <a:pt x="463" y="405"/>
                  <a:pt x="463" y="404"/>
                  <a:pt x="463" y="403"/>
                </a:cubicBezTo>
                <a:cubicBezTo>
                  <a:pt x="463" y="403"/>
                  <a:pt x="462" y="404"/>
                  <a:pt x="462" y="404"/>
                </a:cubicBezTo>
                <a:lnTo>
                  <a:pt x="459" y="406"/>
                </a:lnTo>
                <a:lnTo>
                  <a:pt x="456" y="402"/>
                </a:lnTo>
                <a:lnTo>
                  <a:pt x="456" y="402"/>
                </a:lnTo>
                <a:close/>
                <a:moveTo>
                  <a:pt x="438" y="402"/>
                </a:moveTo>
                <a:lnTo>
                  <a:pt x="438" y="402"/>
                </a:lnTo>
                <a:lnTo>
                  <a:pt x="446" y="396"/>
                </a:lnTo>
                <a:lnTo>
                  <a:pt x="451" y="396"/>
                </a:lnTo>
                <a:lnTo>
                  <a:pt x="451" y="418"/>
                </a:lnTo>
                <a:lnTo>
                  <a:pt x="445" y="418"/>
                </a:lnTo>
                <a:lnTo>
                  <a:pt x="445" y="407"/>
                </a:lnTo>
                <a:cubicBezTo>
                  <a:pt x="445" y="405"/>
                  <a:pt x="445" y="404"/>
                  <a:pt x="445" y="403"/>
                </a:cubicBezTo>
                <a:cubicBezTo>
                  <a:pt x="445" y="403"/>
                  <a:pt x="444" y="404"/>
                  <a:pt x="444" y="404"/>
                </a:cubicBezTo>
                <a:lnTo>
                  <a:pt x="441" y="406"/>
                </a:lnTo>
                <a:lnTo>
                  <a:pt x="438" y="402"/>
                </a:lnTo>
                <a:lnTo>
                  <a:pt x="438" y="402"/>
                </a:lnTo>
                <a:close/>
                <a:moveTo>
                  <a:pt x="438" y="355"/>
                </a:moveTo>
                <a:lnTo>
                  <a:pt x="438" y="355"/>
                </a:lnTo>
                <a:lnTo>
                  <a:pt x="446" y="349"/>
                </a:lnTo>
                <a:lnTo>
                  <a:pt x="451" y="349"/>
                </a:lnTo>
                <a:lnTo>
                  <a:pt x="451" y="371"/>
                </a:lnTo>
                <a:lnTo>
                  <a:pt x="445" y="371"/>
                </a:lnTo>
                <a:lnTo>
                  <a:pt x="445" y="359"/>
                </a:lnTo>
                <a:cubicBezTo>
                  <a:pt x="445" y="358"/>
                  <a:pt x="445" y="357"/>
                  <a:pt x="445" y="355"/>
                </a:cubicBezTo>
                <a:cubicBezTo>
                  <a:pt x="445" y="356"/>
                  <a:pt x="444" y="356"/>
                  <a:pt x="444" y="357"/>
                </a:cubicBezTo>
                <a:lnTo>
                  <a:pt x="441" y="359"/>
                </a:lnTo>
                <a:lnTo>
                  <a:pt x="438" y="355"/>
                </a:lnTo>
                <a:lnTo>
                  <a:pt x="438" y="355"/>
                </a:lnTo>
                <a:close/>
                <a:moveTo>
                  <a:pt x="420" y="402"/>
                </a:moveTo>
                <a:lnTo>
                  <a:pt x="420" y="402"/>
                </a:lnTo>
                <a:lnTo>
                  <a:pt x="428" y="396"/>
                </a:lnTo>
                <a:lnTo>
                  <a:pt x="433" y="396"/>
                </a:lnTo>
                <a:lnTo>
                  <a:pt x="433" y="418"/>
                </a:lnTo>
                <a:lnTo>
                  <a:pt x="427" y="418"/>
                </a:lnTo>
                <a:lnTo>
                  <a:pt x="427" y="407"/>
                </a:lnTo>
                <a:cubicBezTo>
                  <a:pt x="427" y="405"/>
                  <a:pt x="427" y="404"/>
                  <a:pt x="427" y="403"/>
                </a:cubicBezTo>
                <a:cubicBezTo>
                  <a:pt x="427" y="403"/>
                  <a:pt x="426" y="404"/>
                  <a:pt x="426" y="404"/>
                </a:cubicBezTo>
                <a:lnTo>
                  <a:pt x="423" y="406"/>
                </a:lnTo>
                <a:lnTo>
                  <a:pt x="420" y="402"/>
                </a:lnTo>
                <a:lnTo>
                  <a:pt x="420" y="402"/>
                </a:lnTo>
                <a:close/>
                <a:moveTo>
                  <a:pt x="418" y="313"/>
                </a:moveTo>
                <a:lnTo>
                  <a:pt x="418" y="313"/>
                </a:lnTo>
                <a:cubicBezTo>
                  <a:pt x="418" y="317"/>
                  <a:pt x="417" y="319"/>
                  <a:pt x="416" y="321"/>
                </a:cubicBezTo>
                <a:cubicBezTo>
                  <a:pt x="414" y="323"/>
                  <a:pt x="412" y="324"/>
                  <a:pt x="410" y="324"/>
                </a:cubicBezTo>
                <a:cubicBezTo>
                  <a:pt x="407" y="324"/>
                  <a:pt x="405" y="323"/>
                  <a:pt x="404" y="321"/>
                </a:cubicBezTo>
                <a:cubicBezTo>
                  <a:pt x="402" y="319"/>
                  <a:pt x="402" y="316"/>
                  <a:pt x="402" y="313"/>
                </a:cubicBezTo>
                <a:cubicBezTo>
                  <a:pt x="402" y="309"/>
                  <a:pt x="402" y="306"/>
                  <a:pt x="404" y="304"/>
                </a:cubicBezTo>
                <a:cubicBezTo>
                  <a:pt x="405" y="302"/>
                  <a:pt x="407" y="301"/>
                  <a:pt x="410" y="301"/>
                </a:cubicBezTo>
                <a:cubicBezTo>
                  <a:pt x="412" y="301"/>
                  <a:pt x="414" y="302"/>
                  <a:pt x="416" y="304"/>
                </a:cubicBezTo>
                <a:cubicBezTo>
                  <a:pt x="417" y="306"/>
                  <a:pt x="418" y="309"/>
                  <a:pt x="418" y="313"/>
                </a:cubicBezTo>
                <a:close/>
                <a:moveTo>
                  <a:pt x="409" y="355"/>
                </a:moveTo>
                <a:lnTo>
                  <a:pt x="409" y="355"/>
                </a:lnTo>
                <a:cubicBezTo>
                  <a:pt x="409" y="356"/>
                  <a:pt x="408" y="356"/>
                  <a:pt x="408" y="357"/>
                </a:cubicBezTo>
                <a:lnTo>
                  <a:pt x="405" y="359"/>
                </a:lnTo>
                <a:lnTo>
                  <a:pt x="402" y="355"/>
                </a:lnTo>
                <a:lnTo>
                  <a:pt x="410" y="349"/>
                </a:lnTo>
                <a:lnTo>
                  <a:pt x="415" y="349"/>
                </a:lnTo>
                <a:lnTo>
                  <a:pt x="415" y="371"/>
                </a:lnTo>
                <a:lnTo>
                  <a:pt x="409" y="371"/>
                </a:lnTo>
                <a:lnTo>
                  <a:pt x="409" y="359"/>
                </a:lnTo>
                <a:cubicBezTo>
                  <a:pt x="409" y="358"/>
                  <a:pt x="409" y="357"/>
                  <a:pt x="409" y="355"/>
                </a:cubicBezTo>
                <a:close/>
                <a:moveTo>
                  <a:pt x="418" y="407"/>
                </a:moveTo>
                <a:lnTo>
                  <a:pt x="418" y="407"/>
                </a:lnTo>
                <a:cubicBezTo>
                  <a:pt x="418" y="411"/>
                  <a:pt x="417" y="414"/>
                  <a:pt x="416" y="416"/>
                </a:cubicBezTo>
                <a:cubicBezTo>
                  <a:pt x="414" y="418"/>
                  <a:pt x="412" y="419"/>
                  <a:pt x="410" y="419"/>
                </a:cubicBezTo>
                <a:cubicBezTo>
                  <a:pt x="407" y="419"/>
                  <a:pt x="405" y="418"/>
                  <a:pt x="404" y="416"/>
                </a:cubicBezTo>
                <a:cubicBezTo>
                  <a:pt x="402" y="414"/>
                  <a:pt x="402" y="411"/>
                  <a:pt x="402" y="407"/>
                </a:cubicBezTo>
                <a:cubicBezTo>
                  <a:pt x="402" y="403"/>
                  <a:pt x="402" y="401"/>
                  <a:pt x="404" y="399"/>
                </a:cubicBezTo>
                <a:cubicBezTo>
                  <a:pt x="405" y="397"/>
                  <a:pt x="407" y="396"/>
                  <a:pt x="410" y="396"/>
                </a:cubicBezTo>
                <a:cubicBezTo>
                  <a:pt x="412" y="396"/>
                  <a:pt x="414" y="397"/>
                  <a:pt x="416" y="399"/>
                </a:cubicBezTo>
                <a:cubicBezTo>
                  <a:pt x="417" y="401"/>
                  <a:pt x="418" y="404"/>
                  <a:pt x="418" y="407"/>
                </a:cubicBezTo>
                <a:close/>
                <a:moveTo>
                  <a:pt x="433" y="324"/>
                </a:moveTo>
                <a:lnTo>
                  <a:pt x="433" y="324"/>
                </a:lnTo>
                <a:lnTo>
                  <a:pt x="427" y="324"/>
                </a:lnTo>
                <a:lnTo>
                  <a:pt x="427" y="312"/>
                </a:lnTo>
                <a:cubicBezTo>
                  <a:pt x="427" y="311"/>
                  <a:pt x="427" y="309"/>
                  <a:pt x="427" y="308"/>
                </a:cubicBezTo>
                <a:cubicBezTo>
                  <a:pt x="427" y="309"/>
                  <a:pt x="426" y="309"/>
                  <a:pt x="426" y="310"/>
                </a:cubicBezTo>
                <a:lnTo>
                  <a:pt x="423" y="312"/>
                </a:lnTo>
                <a:lnTo>
                  <a:pt x="420" y="308"/>
                </a:lnTo>
                <a:lnTo>
                  <a:pt x="428" y="302"/>
                </a:lnTo>
                <a:lnTo>
                  <a:pt x="433" y="302"/>
                </a:lnTo>
                <a:lnTo>
                  <a:pt x="433" y="324"/>
                </a:lnTo>
                <a:lnTo>
                  <a:pt x="433" y="324"/>
                </a:lnTo>
                <a:close/>
                <a:moveTo>
                  <a:pt x="436" y="360"/>
                </a:moveTo>
                <a:lnTo>
                  <a:pt x="436" y="360"/>
                </a:lnTo>
                <a:cubicBezTo>
                  <a:pt x="436" y="364"/>
                  <a:pt x="435" y="367"/>
                  <a:pt x="434" y="369"/>
                </a:cubicBezTo>
                <a:cubicBezTo>
                  <a:pt x="432" y="370"/>
                  <a:pt x="431" y="371"/>
                  <a:pt x="428" y="371"/>
                </a:cubicBezTo>
                <a:cubicBezTo>
                  <a:pt x="425" y="371"/>
                  <a:pt x="423" y="370"/>
                  <a:pt x="422" y="368"/>
                </a:cubicBezTo>
                <a:cubicBezTo>
                  <a:pt x="421" y="367"/>
                  <a:pt x="420" y="364"/>
                  <a:pt x="420" y="360"/>
                </a:cubicBezTo>
                <a:cubicBezTo>
                  <a:pt x="420" y="356"/>
                  <a:pt x="421" y="353"/>
                  <a:pt x="422" y="351"/>
                </a:cubicBezTo>
                <a:cubicBezTo>
                  <a:pt x="423" y="350"/>
                  <a:pt x="425" y="349"/>
                  <a:pt x="428" y="349"/>
                </a:cubicBezTo>
                <a:cubicBezTo>
                  <a:pt x="430" y="349"/>
                  <a:pt x="432" y="350"/>
                  <a:pt x="434" y="352"/>
                </a:cubicBezTo>
                <a:cubicBezTo>
                  <a:pt x="435" y="353"/>
                  <a:pt x="436" y="356"/>
                  <a:pt x="436" y="360"/>
                </a:cubicBezTo>
                <a:close/>
                <a:moveTo>
                  <a:pt x="454" y="313"/>
                </a:moveTo>
                <a:lnTo>
                  <a:pt x="454" y="313"/>
                </a:lnTo>
                <a:cubicBezTo>
                  <a:pt x="454" y="317"/>
                  <a:pt x="453" y="319"/>
                  <a:pt x="452" y="321"/>
                </a:cubicBezTo>
                <a:cubicBezTo>
                  <a:pt x="451" y="323"/>
                  <a:pt x="449" y="324"/>
                  <a:pt x="446" y="324"/>
                </a:cubicBezTo>
                <a:cubicBezTo>
                  <a:pt x="443" y="324"/>
                  <a:pt x="441" y="323"/>
                  <a:pt x="440" y="321"/>
                </a:cubicBezTo>
                <a:cubicBezTo>
                  <a:pt x="439" y="319"/>
                  <a:pt x="438" y="316"/>
                  <a:pt x="438" y="313"/>
                </a:cubicBezTo>
                <a:cubicBezTo>
                  <a:pt x="438" y="309"/>
                  <a:pt x="439" y="306"/>
                  <a:pt x="440" y="304"/>
                </a:cubicBezTo>
                <a:cubicBezTo>
                  <a:pt x="441" y="302"/>
                  <a:pt x="443" y="301"/>
                  <a:pt x="446" y="301"/>
                </a:cubicBezTo>
                <a:cubicBezTo>
                  <a:pt x="448" y="301"/>
                  <a:pt x="450" y="302"/>
                  <a:pt x="452" y="304"/>
                </a:cubicBezTo>
                <a:cubicBezTo>
                  <a:pt x="453" y="306"/>
                  <a:pt x="454" y="309"/>
                  <a:pt x="454" y="313"/>
                </a:cubicBezTo>
                <a:close/>
                <a:moveTo>
                  <a:pt x="472" y="313"/>
                </a:moveTo>
                <a:lnTo>
                  <a:pt x="472" y="313"/>
                </a:lnTo>
                <a:cubicBezTo>
                  <a:pt x="472" y="317"/>
                  <a:pt x="471" y="319"/>
                  <a:pt x="470" y="321"/>
                </a:cubicBezTo>
                <a:cubicBezTo>
                  <a:pt x="469" y="323"/>
                  <a:pt x="467" y="324"/>
                  <a:pt x="464" y="324"/>
                </a:cubicBezTo>
                <a:cubicBezTo>
                  <a:pt x="461" y="324"/>
                  <a:pt x="459" y="323"/>
                  <a:pt x="458" y="321"/>
                </a:cubicBezTo>
                <a:cubicBezTo>
                  <a:pt x="457" y="319"/>
                  <a:pt x="456" y="316"/>
                  <a:pt x="456" y="313"/>
                </a:cubicBezTo>
                <a:cubicBezTo>
                  <a:pt x="456" y="309"/>
                  <a:pt x="457" y="306"/>
                  <a:pt x="458" y="304"/>
                </a:cubicBezTo>
                <a:cubicBezTo>
                  <a:pt x="459" y="302"/>
                  <a:pt x="461" y="301"/>
                  <a:pt x="464" y="301"/>
                </a:cubicBezTo>
                <a:cubicBezTo>
                  <a:pt x="467" y="301"/>
                  <a:pt x="469" y="302"/>
                  <a:pt x="470" y="304"/>
                </a:cubicBezTo>
                <a:cubicBezTo>
                  <a:pt x="471" y="306"/>
                  <a:pt x="472" y="309"/>
                  <a:pt x="472" y="313"/>
                </a:cubicBezTo>
                <a:close/>
                <a:moveTo>
                  <a:pt x="472" y="360"/>
                </a:moveTo>
                <a:lnTo>
                  <a:pt x="472" y="360"/>
                </a:lnTo>
                <a:cubicBezTo>
                  <a:pt x="472" y="364"/>
                  <a:pt x="471" y="367"/>
                  <a:pt x="470" y="369"/>
                </a:cubicBezTo>
                <a:cubicBezTo>
                  <a:pt x="469" y="370"/>
                  <a:pt x="467" y="371"/>
                  <a:pt x="464" y="371"/>
                </a:cubicBezTo>
                <a:cubicBezTo>
                  <a:pt x="461" y="371"/>
                  <a:pt x="459" y="370"/>
                  <a:pt x="458" y="368"/>
                </a:cubicBezTo>
                <a:cubicBezTo>
                  <a:pt x="457" y="367"/>
                  <a:pt x="456" y="364"/>
                  <a:pt x="456" y="360"/>
                </a:cubicBezTo>
                <a:cubicBezTo>
                  <a:pt x="456" y="356"/>
                  <a:pt x="457" y="353"/>
                  <a:pt x="458" y="351"/>
                </a:cubicBezTo>
                <a:cubicBezTo>
                  <a:pt x="459" y="350"/>
                  <a:pt x="461" y="349"/>
                  <a:pt x="464" y="349"/>
                </a:cubicBezTo>
                <a:cubicBezTo>
                  <a:pt x="467" y="349"/>
                  <a:pt x="469" y="350"/>
                  <a:pt x="470" y="352"/>
                </a:cubicBezTo>
                <a:cubicBezTo>
                  <a:pt x="471" y="353"/>
                  <a:pt x="472" y="356"/>
                  <a:pt x="472" y="360"/>
                </a:cubicBezTo>
                <a:close/>
                <a:moveTo>
                  <a:pt x="487" y="324"/>
                </a:moveTo>
                <a:lnTo>
                  <a:pt x="487" y="324"/>
                </a:lnTo>
                <a:lnTo>
                  <a:pt x="481" y="324"/>
                </a:lnTo>
                <a:lnTo>
                  <a:pt x="481" y="312"/>
                </a:lnTo>
                <a:cubicBezTo>
                  <a:pt x="481" y="311"/>
                  <a:pt x="481" y="309"/>
                  <a:pt x="481" y="308"/>
                </a:cubicBezTo>
                <a:cubicBezTo>
                  <a:pt x="481" y="309"/>
                  <a:pt x="480" y="309"/>
                  <a:pt x="480" y="310"/>
                </a:cubicBezTo>
                <a:lnTo>
                  <a:pt x="477" y="312"/>
                </a:lnTo>
                <a:lnTo>
                  <a:pt x="474" y="308"/>
                </a:lnTo>
                <a:lnTo>
                  <a:pt x="482" y="302"/>
                </a:lnTo>
                <a:lnTo>
                  <a:pt x="487" y="302"/>
                </a:lnTo>
                <a:lnTo>
                  <a:pt x="487" y="324"/>
                </a:lnTo>
                <a:lnTo>
                  <a:pt x="487" y="324"/>
                </a:lnTo>
                <a:close/>
                <a:moveTo>
                  <a:pt x="490" y="360"/>
                </a:moveTo>
                <a:lnTo>
                  <a:pt x="490" y="360"/>
                </a:lnTo>
                <a:cubicBezTo>
                  <a:pt x="490" y="364"/>
                  <a:pt x="489" y="367"/>
                  <a:pt x="488" y="369"/>
                </a:cubicBezTo>
                <a:cubicBezTo>
                  <a:pt x="487" y="370"/>
                  <a:pt x="485" y="371"/>
                  <a:pt x="482" y="371"/>
                </a:cubicBezTo>
                <a:cubicBezTo>
                  <a:pt x="479" y="371"/>
                  <a:pt x="477" y="370"/>
                  <a:pt x="476" y="368"/>
                </a:cubicBezTo>
                <a:cubicBezTo>
                  <a:pt x="475" y="367"/>
                  <a:pt x="474" y="364"/>
                  <a:pt x="474" y="360"/>
                </a:cubicBezTo>
                <a:cubicBezTo>
                  <a:pt x="474" y="356"/>
                  <a:pt x="475" y="353"/>
                  <a:pt x="476" y="351"/>
                </a:cubicBezTo>
                <a:cubicBezTo>
                  <a:pt x="477" y="350"/>
                  <a:pt x="479" y="349"/>
                  <a:pt x="482" y="349"/>
                </a:cubicBezTo>
                <a:cubicBezTo>
                  <a:pt x="485" y="349"/>
                  <a:pt x="487" y="350"/>
                  <a:pt x="488" y="352"/>
                </a:cubicBezTo>
                <a:cubicBezTo>
                  <a:pt x="489" y="353"/>
                  <a:pt x="490" y="356"/>
                  <a:pt x="490" y="360"/>
                </a:cubicBezTo>
                <a:close/>
                <a:moveTo>
                  <a:pt x="490" y="407"/>
                </a:moveTo>
                <a:lnTo>
                  <a:pt x="490" y="407"/>
                </a:lnTo>
                <a:cubicBezTo>
                  <a:pt x="490" y="411"/>
                  <a:pt x="489" y="414"/>
                  <a:pt x="488" y="416"/>
                </a:cubicBezTo>
                <a:cubicBezTo>
                  <a:pt x="487" y="418"/>
                  <a:pt x="485" y="419"/>
                  <a:pt x="482" y="419"/>
                </a:cubicBezTo>
                <a:cubicBezTo>
                  <a:pt x="479" y="419"/>
                  <a:pt x="477" y="418"/>
                  <a:pt x="476" y="416"/>
                </a:cubicBezTo>
                <a:cubicBezTo>
                  <a:pt x="475" y="414"/>
                  <a:pt x="474" y="411"/>
                  <a:pt x="474" y="407"/>
                </a:cubicBezTo>
                <a:cubicBezTo>
                  <a:pt x="474" y="403"/>
                  <a:pt x="475" y="401"/>
                  <a:pt x="476" y="399"/>
                </a:cubicBezTo>
                <a:cubicBezTo>
                  <a:pt x="477" y="397"/>
                  <a:pt x="479" y="396"/>
                  <a:pt x="482" y="396"/>
                </a:cubicBezTo>
                <a:cubicBezTo>
                  <a:pt x="485" y="396"/>
                  <a:pt x="487" y="397"/>
                  <a:pt x="488" y="399"/>
                </a:cubicBezTo>
                <a:cubicBezTo>
                  <a:pt x="489" y="401"/>
                  <a:pt x="490" y="404"/>
                  <a:pt x="490" y="407"/>
                </a:cubicBezTo>
                <a:close/>
                <a:moveTo>
                  <a:pt x="505" y="324"/>
                </a:moveTo>
                <a:lnTo>
                  <a:pt x="505" y="324"/>
                </a:lnTo>
                <a:lnTo>
                  <a:pt x="499" y="324"/>
                </a:lnTo>
                <a:lnTo>
                  <a:pt x="499" y="312"/>
                </a:lnTo>
                <a:cubicBezTo>
                  <a:pt x="499" y="311"/>
                  <a:pt x="499" y="309"/>
                  <a:pt x="499" y="308"/>
                </a:cubicBezTo>
                <a:cubicBezTo>
                  <a:pt x="499" y="309"/>
                  <a:pt x="498" y="309"/>
                  <a:pt x="498" y="310"/>
                </a:cubicBezTo>
                <a:lnTo>
                  <a:pt x="495" y="312"/>
                </a:lnTo>
                <a:lnTo>
                  <a:pt x="492" y="308"/>
                </a:lnTo>
                <a:lnTo>
                  <a:pt x="500" y="302"/>
                </a:lnTo>
                <a:lnTo>
                  <a:pt x="505" y="302"/>
                </a:lnTo>
                <a:lnTo>
                  <a:pt x="505" y="324"/>
                </a:lnTo>
                <a:lnTo>
                  <a:pt x="505" y="324"/>
                </a:lnTo>
                <a:close/>
                <a:moveTo>
                  <a:pt x="505" y="371"/>
                </a:moveTo>
                <a:lnTo>
                  <a:pt x="505" y="371"/>
                </a:lnTo>
                <a:lnTo>
                  <a:pt x="499" y="371"/>
                </a:lnTo>
                <a:lnTo>
                  <a:pt x="499" y="359"/>
                </a:lnTo>
                <a:cubicBezTo>
                  <a:pt x="499" y="358"/>
                  <a:pt x="499" y="357"/>
                  <a:pt x="499" y="355"/>
                </a:cubicBezTo>
                <a:cubicBezTo>
                  <a:pt x="499" y="356"/>
                  <a:pt x="498" y="356"/>
                  <a:pt x="498" y="357"/>
                </a:cubicBezTo>
                <a:lnTo>
                  <a:pt x="495" y="359"/>
                </a:lnTo>
                <a:lnTo>
                  <a:pt x="492" y="355"/>
                </a:lnTo>
                <a:lnTo>
                  <a:pt x="500" y="349"/>
                </a:lnTo>
                <a:lnTo>
                  <a:pt x="505" y="349"/>
                </a:lnTo>
                <a:lnTo>
                  <a:pt x="505" y="371"/>
                </a:lnTo>
                <a:lnTo>
                  <a:pt x="505" y="371"/>
                </a:lnTo>
                <a:close/>
                <a:moveTo>
                  <a:pt x="512" y="351"/>
                </a:moveTo>
                <a:lnTo>
                  <a:pt x="512" y="351"/>
                </a:lnTo>
                <a:cubicBezTo>
                  <a:pt x="513" y="350"/>
                  <a:pt x="515" y="349"/>
                  <a:pt x="518" y="349"/>
                </a:cubicBezTo>
                <a:cubicBezTo>
                  <a:pt x="521" y="349"/>
                  <a:pt x="523" y="350"/>
                  <a:pt x="524" y="352"/>
                </a:cubicBezTo>
                <a:cubicBezTo>
                  <a:pt x="525" y="353"/>
                  <a:pt x="526" y="356"/>
                  <a:pt x="526" y="360"/>
                </a:cubicBezTo>
                <a:cubicBezTo>
                  <a:pt x="526" y="364"/>
                  <a:pt x="525" y="367"/>
                  <a:pt x="524" y="369"/>
                </a:cubicBezTo>
                <a:cubicBezTo>
                  <a:pt x="523" y="370"/>
                  <a:pt x="521" y="371"/>
                  <a:pt x="518" y="371"/>
                </a:cubicBezTo>
                <a:cubicBezTo>
                  <a:pt x="515" y="371"/>
                  <a:pt x="514" y="370"/>
                  <a:pt x="512" y="368"/>
                </a:cubicBezTo>
                <a:cubicBezTo>
                  <a:pt x="511" y="367"/>
                  <a:pt x="510" y="364"/>
                  <a:pt x="510" y="360"/>
                </a:cubicBezTo>
                <a:cubicBezTo>
                  <a:pt x="510" y="356"/>
                  <a:pt x="511" y="353"/>
                  <a:pt x="512" y="351"/>
                </a:cubicBezTo>
                <a:close/>
                <a:moveTo>
                  <a:pt x="518" y="353"/>
                </a:moveTo>
                <a:lnTo>
                  <a:pt x="518" y="353"/>
                </a:lnTo>
                <a:cubicBezTo>
                  <a:pt x="517" y="353"/>
                  <a:pt x="517" y="354"/>
                  <a:pt x="517" y="355"/>
                </a:cubicBezTo>
                <a:cubicBezTo>
                  <a:pt x="516" y="356"/>
                  <a:pt x="516" y="358"/>
                  <a:pt x="516" y="360"/>
                </a:cubicBezTo>
                <a:cubicBezTo>
                  <a:pt x="516" y="363"/>
                  <a:pt x="516" y="364"/>
                  <a:pt x="517" y="365"/>
                </a:cubicBezTo>
                <a:cubicBezTo>
                  <a:pt x="517" y="366"/>
                  <a:pt x="517" y="367"/>
                  <a:pt x="518" y="367"/>
                </a:cubicBezTo>
                <a:cubicBezTo>
                  <a:pt x="519" y="367"/>
                  <a:pt x="519" y="366"/>
                  <a:pt x="520" y="365"/>
                </a:cubicBezTo>
                <a:cubicBezTo>
                  <a:pt x="520" y="364"/>
                  <a:pt x="520" y="362"/>
                  <a:pt x="520" y="360"/>
                </a:cubicBezTo>
                <a:cubicBezTo>
                  <a:pt x="520" y="358"/>
                  <a:pt x="520" y="356"/>
                  <a:pt x="520" y="355"/>
                </a:cubicBezTo>
                <a:cubicBezTo>
                  <a:pt x="519" y="354"/>
                  <a:pt x="519" y="353"/>
                  <a:pt x="518" y="353"/>
                </a:cubicBezTo>
                <a:close/>
                <a:moveTo>
                  <a:pt x="484" y="412"/>
                </a:moveTo>
                <a:lnTo>
                  <a:pt x="484" y="412"/>
                </a:lnTo>
                <a:cubicBezTo>
                  <a:pt x="484" y="411"/>
                  <a:pt x="484" y="410"/>
                  <a:pt x="484" y="407"/>
                </a:cubicBezTo>
                <a:cubicBezTo>
                  <a:pt x="484" y="405"/>
                  <a:pt x="484" y="403"/>
                  <a:pt x="484" y="402"/>
                </a:cubicBezTo>
                <a:cubicBezTo>
                  <a:pt x="483" y="401"/>
                  <a:pt x="483" y="401"/>
                  <a:pt x="482" y="401"/>
                </a:cubicBezTo>
                <a:cubicBezTo>
                  <a:pt x="481" y="401"/>
                  <a:pt x="481" y="401"/>
                  <a:pt x="480" y="402"/>
                </a:cubicBezTo>
                <a:cubicBezTo>
                  <a:pt x="480" y="403"/>
                  <a:pt x="480" y="405"/>
                  <a:pt x="480" y="407"/>
                </a:cubicBezTo>
                <a:cubicBezTo>
                  <a:pt x="480" y="410"/>
                  <a:pt x="480" y="412"/>
                  <a:pt x="480" y="412"/>
                </a:cubicBezTo>
                <a:cubicBezTo>
                  <a:pt x="481" y="413"/>
                  <a:pt x="481" y="414"/>
                  <a:pt x="482" y="414"/>
                </a:cubicBezTo>
                <a:cubicBezTo>
                  <a:pt x="483" y="414"/>
                  <a:pt x="483" y="413"/>
                  <a:pt x="484" y="412"/>
                </a:cubicBezTo>
                <a:close/>
                <a:moveTo>
                  <a:pt x="484" y="365"/>
                </a:moveTo>
                <a:lnTo>
                  <a:pt x="484" y="365"/>
                </a:lnTo>
                <a:cubicBezTo>
                  <a:pt x="484" y="364"/>
                  <a:pt x="484" y="362"/>
                  <a:pt x="484" y="360"/>
                </a:cubicBezTo>
                <a:cubicBezTo>
                  <a:pt x="484" y="358"/>
                  <a:pt x="484" y="356"/>
                  <a:pt x="484" y="355"/>
                </a:cubicBezTo>
                <a:cubicBezTo>
                  <a:pt x="483" y="354"/>
                  <a:pt x="483" y="353"/>
                  <a:pt x="482" y="353"/>
                </a:cubicBezTo>
                <a:cubicBezTo>
                  <a:pt x="481" y="353"/>
                  <a:pt x="481" y="354"/>
                  <a:pt x="480" y="355"/>
                </a:cubicBezTo>
                <a:cubicBezTo>
                  <a:pt x="480" y="356"/>
                  <a:pt x="480" y="358"/>
                  <a:pt x="480" y="360"/>
                </a:cubicBezTo>
                <a:cubicBezTo>
                  <a:pt x="480" y="363"/>
                  <a:pt x="480" y="364"/>
                  <a:pt x="480" y="365"/>
                </a:cubicBezTo>
                <a:cubicBezTo>
                  <a:pt x="481" y="366"/>
                  <a:pt x="481" y="367"/>
                  <a:pt x="482" y="367"/>
                </a:cubicBezTo>
                <a:cubicBezTo>
                  <a:pt x="483" y="367"/>
                  <a:pt x="483" y="366"/>
                  <a:pt x="484" y="365"/>
                </a:cubicBezTo>
                <a:close/>
                <a:moveTo>
                  <a:pt x="466" y="365"/>
                </a:moveTo>
                <a:lnTo>
                  <a:pt x="466" y="365"/>
                </a:lnTo>
                <a:cubicBezTo>
                  <a:pt x="466" y="364"/>
                  <a:pt x="466" y="362"/>
                  <a:pt x="466" y="360"/>
                </a:cubicBezTo>
                <a:cubicBezTo>
                  <a:pt x="466" y="358"/>
                  <a:pt x="466" y="356"/>
                  <a:pt x="466" y="355"/>
                </a:cubicBezTo>
                <a:cubicBezTo>
                  <a:pt x="465" y="354"/>
                  <a:pt x="465" y="353"/>
                  <a:pt x="464" y="353"/>
                </a:cubicBezTo>
                <a:cubicBezTo>
                  <a:pt x="463" y="353"/>
                  <a:pt x="463" y="354"/>
                  <a:pt x="462" y="355"/>
                </a:cubicBezTo>
                <a:cubicBezTo>
                  <a:pt x="462" y="356"/>
                  <a:pt x="462" y="358"/>
                  <a:pt x="462" y="360"/>
                </a:cubicBezTo>
                <a:cubicBezTo>
                  <a:pt x="462" y="363"/>
                  <a:pt x="462" y="364"/>
                  <a:pt x="462" y="365"/>
                </a:cubicBezTo>
                <a:cubicBezTo>
                  <a:pt x="463" y="366"/>
                  <a:pt x="463" y="367"/>
                  <a:pt x="464" y="367"/>
                </a:cubicBezTo>
                <a:cubicBezTo>
                  <a:pt x="465" y="367"/>
                  <a:pt x="465" y="366"/>
                  <a:pt x="466" y="365"/>
                </a:cubicBezTo>
                <a:close/>
                <a:moveTo>
                  <a:pt x="466" y="318"/>
                </a:moveTo>
                <a:lnTo>
                  <a:pt x="466" y="318"/>
                </a:lnTo>
                <a:cubicBezTo>
                  <a:pt x="466" y="317"/>
                  <a:pt x="466" y="315"/>
                  <a:pt x="466" y="313"/>
                </a:cubicBezTo>
                <a:cubicBezTo>
                  <a:pt x="466" y="310"/>
                  <a:pt x="466" y="309"/>
                  <a:pt x="466" y="308"/>
                </a:cubicBezTo>
                <a:cubicBezTo>
                  <a:pt x="465" y="307"/>
                  <a:pt x="465" y="306"/>
                  <a:pt x="464" y="306"/>
                </a:cubicBezTo>
                <a:cubicBezTo>
                  <a:pt x="463" y="306"/>
                  <a:pt x="463" y="307"/>
                  <a:pt x="462" y="308"/>
                </a:cubicBezTo>
                <a:cubicBezTo>
                  <a:pt x="462" y="308"/>
                  <a:pt x="462" y="310"/>
                  <a:pt x="462" y="313"/>
                </a:cubicBezTo>
                <a:cubicBezTo>
                  <a:pt x="462" y="315"/>
                  <a:pt x="462" y="317"/>
                  <a:pt x="462" y="318"/>
                </a:cubicBezTo>
                <a:cubicBezTo>
                  <a:pt x="463" y="319"/>
                  <a:pt x="463" y="319"/>
                  <a:pt x="464" y="319"/>
                </a:cubicBezTo>
                <a:cubicBezTo>
                  <a:pt x="465" y="319"/>
                  <a:pt x="465" y="319"/>
                  <a:pt x="466" y="318"/>
                </a:cubicBezTo>
                <a:close/>
                <a:moveTo>
                  <a:pt x="447" y="318"/>
                </a:moveTo>
                <a:lnTo>
                  <a:pt x="447" y="318"/>
                </a:lnTo>
                <a:cubicBezTo>
                  <a:pt x="448" y="317"/>
                  <a:pt x="448" y="315"/>
                  <a:pt x="448" y="313"/>
                </a:cubicBezTo>
                <a:cubicBezTo>
                  <a:pt x="448" y="310"/>
                  <a:pt x="448" y="309"/>
                  <a:pt x="447" y="308"/>
                </a:cubicBezTo>
                <a:cubicBezTo>
                  <a:pt x="447" y="307"/>
                  <a:pt x="447" y="306"/>
                  <a:pt x="446" y="306"/>
                </a:cubicBezTo>
                <a:cubicBezTo>
                  <a:pt x="445" y="306"/>
                  <a:pt x="445" y="307"/>
                  <a:pt x="444" y="308"/>
                </a:cubicBezTo>
                <a:cubicBezTo>
                  <a:pt x="444" y="308"/>
                  <a:pt x="444" y="310"/>
                  <a:pt x="444" y="313"/>
                </a:cubicBezTo>
                <a:cubicBezTo>
                  <a:pt x="444" y="315"/>
                  <a:pt x="444" y="317"/>
                  <a:pt x="444" y="318"/>
                </a:cubicBezTo>
                <a:cubicBezTo>
                  <a:pt x="445" y="319"/>
                  <a:pt x="445" y="319"/>
                  <a:pt x="446" y="319"/>
                </a:cubicBezTo>
                <a:cubicBezTo>
                  <a:pt x="447" y="319"/>
                  <a:pt x="447" y="319"/>
                  <a:pt x="447" y="318"/>
                </a:cubicBezTo>
                <a:close/>
                <a:moveTo>
                  <a:pt x="429" y="365"/>
                </a:moveTo>
                <a:lnTo>
                  <a:pt x="429" y="365"/>
                </a:lnTo>
                <a:cubicBezTo>
                  <a:pt x="430" y="364"/>
                  <a:pt x="430" y="362"/>
                  <a:pt x="430" y="360"/>
                </a:cubicBezTo>
                <a:cubicBezTo>
                  <a:pt x="430" y="358"/>
                  <a:pt x="430" y="356"/>
                  <a:pt x="429" y="355"/>
                </a:cubicBezTo>
                <a:cubicBezTo>
                  <a:pt x="429" y="354"/>
                  <a:pt x="429" y="353"/>
                  <a:pt x="428" y="353"/>
                </a:cubicBezTo>
                <a:cubicBezTo>
                  <a:pt x="427" y="353"/>
                  <a:pt x="427" y="354"/>
                  <a:pt x="426" y="355"/>
                </a:cubicBezTo>
                <a:cubicBezTo>
                  <a:pt x="426" y="356"/>
                  <a:pt x="426" y="358"/>
                  <a:pt x="426" y="360"/>
                </a:cubicBezTo>
                <a:cubicBezTo>
                  <a:pt x="426" y="363"/>
                  <a:pt x="426" y="364"/>
                  <a:pt x="426" y="365"/>
                </a:cubicBezTo>
                <a:cubicBezTo>
                  <a:pt x="427" y="366"/>
                  <a:pt x="427" y="367"/>
                  <a:pt x="428" y="367"/>
                </a:cubicBezTo>
                <a:cubicBezTo>
                  <a:pt x="429" y="367"/>
                  <a:pt x="429" y="366"/>
                  <a:pt x="429" y="365"/>
                </a:cubicBezTo>
                <a:close/>
                <a:moveTo>
                  <a:pt x="411" y="412"/>
                </a:moveTo>
                <a:lnTo>
                  <a:pt x="411" y="412"/>
                </a:lnTo>
                <a:cubicBezTo>
                  <a:pt x="412" y="411"/>
                  <a:pt x="412" y="410"/>
                  <a:pt x="412" y="407"/>
                </a:cubicBezTo>
                <a:cubicBezTo>
                  <a:pt x="412" y="405"/>
                  <a:pt x="412" y="403"/>
                  <a:pt x="411" y="402"/>
                </a:cubicBezTo>
                <a:cubicBezTo>
                  <a:pt x="411" y="401"/>
                  <a:pt x="410" y="401"/>
                  <a:pt x="410" y="401"/>
                </a:cubicBezTo>
                <a:cubicBezTo>
                  <a:pt x="409" y="401"/>
                  <a:pt x="409" y="401"/>
                  <a:pt x="408" y="402"/>
                </a:cubicBezTo>
                <a:cubicBezTo>
                  <a:pt x="408" y="403"/>
                  <a:pt x="408" y="405"/>
                  <a:pt x="408" y="407"/>
                </a:cubicBezTo>
                <a:cubicBezTo>
                  <a:pt x="408" y="410"/>
                  <a:pt x="408" y="412"/>
                  <a:pt x="408" y="412"/>
                </a:cubicBezTo>
                <a:cubicBezTo>
                  <a:pt x="409" y="413"/>
                  <a:pt x="409" y="414"/>
                  <a:pt x="410" y="414"/>
                </a:cubicBezTo>
                <a:cubicBezTo>
                  <a:pt x="410" y="414"/>
                  <a:pt x="411" y="413"/>
                  <a:pt x="411" y="412"/>
                </a:cubicBezTo>
                <a:close/>
                <a:moveTo>
                  <a:pt x="411" y="318"/>
                </a:moveTo>
                <a:lnTo>
                  <a:pt x="411" y="318"/>
                </a:lnTo>
                <a:cubicBezTo>
                  <a:pt x="412" y="317"/>
                  <a:pt x="412" y="315"/>
                  <a:pt x="412" y="313"/>
                </a:cubicBezTo>
                <a:cubicBezTo>
                  <a:pt x="412" y="310"/>
                  <a:pt x="412" y="309"/>
                  <a:pt x="411" y="308"/>
                </a:cubicBezTo>
                <a:cubicBezTo>
                  <a:pt x="411" y="307"/>
                  <a:pt x="410" y="306"/>
                  <a:pt x="410" y="306"/>
                </a:cubicBezTo>
                <a:cubicBezTo>
                  <a:pt x="409" y="306"/>
                  <a:pt x="409" y="307"/>
                  <a:pt x="408" y="308"/>
                </a:cubicBezTo>
                <a:cubicBezTo>
                  <a:pt x="408" y="308"/>
                  <a:pt x="408" y="310"/>
                  <a:pt x="408" y="313"/>
                </a:cubicBezTo>
                <a:cubicBezTo>
                  <a:pt x="408" y="315"/>
                  <a:pt x="408" y="317"/>
                  <a:pt x="408" y="318"/>
                </a:cubicBezTo>
                <a:cubicBezTo>
                  <a:pt x="409" y="319"/>
                  <a:pt x="409" y="319"/>
                  <a:pt x="410" y="319"/>
                </a:cubicBezTo>
                <a:cubicBezTo>
                  <a:pt x="410" y="319"/>
                  <a:pt x="411" y="319"/>
                  <a:pt x="411" y="318"/>
                </a:cubicBezTo>
                <a:close/>
                <a:moveTo>
                  <a:pt x="393" y="365"/>
                </a:moveTo>
                <a:lnTo>
                  <a:pt x="393" y="365"/>
                </a:lnTo>
                <a:cubicBezTo>
                  <a:pt x="394" y="364"/>
                  <a:pt x="394" y="362"/>
                  <a:pt x="394" y="360"/>
                </a:cubicBezTo>
                <a:cubicBezTo>
                  <a:pt x="394" y="358"/>
                  <a:pt x="394" y="356"/>
                  <a:pt x="393" y="355"/>
                </a:cubicBezTo>
                <a:cubicBezTo>
                  <a:pt x="393" y="354"/>
                  <a:pt x="392" y="353"/>
                  <a:pt x="392" y="353"/>
                </a:cubicBezTo>
                <a:cubicBezTo>
                  <a:pt x="391" y="353"/>
                  <a:pt x="390" y="354"/>
                  <a:pt x="390" y="355"/>
                </a:cubicBezTo>
                <a:cubicBezTo>
                  <a:pt x="390" y="356"/>
                  <a:pt x="390" y="358"/>
                  <a:pt x="390" y="360"/>
                </a:cubicBezTo>
                <a:cubicBezTo>
                  <a:pt x="390" y="363"/>
                  <a:pt x="390" y="364"/>
                  <a:pt x="390" y="365"/>
                </a:cubicBezTo>
                <a:cubicBezTo>
                  <a:pt x="390" y="366"/>
                  <a:pt x="391" y="367"/>
                  <a:pt x="392" y="367"/>
                </a:cubicBezTo>
                <a:cubicBezTo>
                  <a:pt x="392" y="367"/>
                  <a:pt x="393" y="366"/>
                  <a:pt x="393" y="365"/>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04" name="Group 203">
            <a:extLst>
              <a:ext uri="{FF2B5EF4-FFF2-40B4-BE49-F238E27FC236}">
                <a16:creationId xmlns:a16="http://schemas.microsoft.com/office/drawing/2014/main" id="{107EDB56-1198-43F7-B691-29D3786EC698}"/>
              </a:ext>
            </a:extLst>
          </p:cNvPr>
          <p:cNvGrpSpPr/>
          <p:nvPr/>
        </p:nvGrpSpPr>
        <p:grpSpPr>
          <a:xfrm>
            <a:off x="5867816" y="2519189"/>
            <a:ext cx="365760" cy="365760"/>
            <a:chOff x="5346700" y="3068638"/>
            <a:chExt cx="723900" cy="731838"/>
          </a:xfrm>
          <a:solidFill>
            <a:schemeClr val="bg2"/>
          </a:solidFill>
        </p:grpSpPr>
        <p:sp>
          <p:nvSpPr>
            <p:cNvPr id="205" name="Freeform 14">
              <a:extLst>
                <a:ext uri="{FF2B5EF4-FFF2-40B4-BE49-F238E27FC236}">
                  <a16:creationId xmlns:a16="http://schemas.microsoft.com/office/drawing/2014/main" id="{3A65B935-D571-4609-9324-DB39A6B93C1F}"/>
                </a:ext>
              </a:extLst>
            </p:cNvPr>
            <p:cNvSpPr>
              <a:spLocks/>
            </p:cNvSpPr>
            <p:nvPr/>
          </p:nvSpPr>
          <p:spPr bwMode="auto">
            <a:xfrm>
              <a:off x="5518150" y="3200400"/>
              <a:ext cx="182563" cy="468313"/>
            </a:xfrm>
            <a:custGeom>
              <a:avLst/>
              <a:gdLst>
                <a:gd name="T0" fmla="*/ 107 w 190"/>
                <a:gd name="T1" fmla="*/ 44 h 483"/>
                <a:gd name="T2" fmla="*/ 148 w 190"/>
                <a:gd name="T3" fmla="*/ 105 h 483"/>
                <a:gd name="T4" fmla="*/ 75 w 190"/>
                <a:gd name="T5" fmla="*/ 64 h 483"/>
                <a:gd name="T6" fmla="*/ 11 w 190"/>
                <a:gd name="T7" fmla="*/ 237 h 483"/>
                <a:gd name="T8" fmla="*/ 58 w 190"/>
                <a:gd name="T9" fmla="*/ 181 h 483"/>
                <a:gd name="T10" fmla="*/ 14 w 190"/>
                <a:gd name="T11" fmla="*/ 120 h 483"/>
                <a:gd name="T12" fmla="*/ 41 w 190"/>
                <a:gd name="T13" fmla="*/ 122 h 483"/>
                <a:gd name="T14" fmla="*/ 64 w 190"/>
                <a:gd name="T15" fmla="*/ 155 h 483"/>
                <a:gd name="T16" fmla="*/ 82 w 190"/>
                <a:gd name="T17" fmla="*/ 146 h 483"/>
                <a:gd name="T18" fmla="*/ 89 w 190"/>
                <a:gd name="T19" fmla="*/ 204 h 483"/>
                <a:gd name="T20" fmla="*/ 109 w 190"/>
                <a:gd name="T21" fmla="*/ 249 h 483"/>
                <a:gd name="T22" fmla="*/ 90 w 190"/>
                <a:gd name="T23" fmla="*/ 251 h 483"/>
                <a:gd name="T24" fmla="*/ 22 w 190"/>
                <a:gd name="T25" fmla="*/ 303 h 483"/>
                <a:gd name="T26" fmla="*/ 56 w 190"/>
                <a:gd name="T27" fmla="*/ 309 h 483"/>
                <a:gd name="T28" fmla="*/ 98 w 190"/>
                <a:gd name="T29" fmla="*/ 284 h 483"/>
                <a:gd name="T30" fmla="*/ 68 w 190"/>
                <a:gd name="T31" fmla="*/ 334 h 483"/>
                <a:gd name="T32" fmla="*/ 28 w 190"/>
                <a:gd name="T33" fmla="*/ 341 h 483"/>
                <a:gd name="T34" fmla="*/ 102 w 190"/>
                <a:gd name="T35" fmla="*/ 378 h 483"/>
                <a:gd name="T36" fmla="*/ 88 w 190"/>
                <a:gd name="T37" fmla="*/ 341 h 483"/>
                <a:gd name="T38" fmla="*/ 128 w 190"/>
                <a:gd name="T39" fmla="*/ 360 h 483"/>
                <a:gd name="T40" fmla="*/ 164 w 190"/>
                <a:gd name="T41" fmla="*/ 373 h 483"/>
                <a:gd name="T42" fmla="*/ 141 w 190"/>
                <a:gd name="T43" fmla="*/ 390 h 483"/>
                <a:gd name="T44" fmla="*/ 122 w 190"/>
                <a:gd name="T45" fmla="*/ 414 h 483"/>
                <a:gd name="T46" fmla="*/ 134 w 190"/>
                <a:gd name="T47" fmla="*/ 427 h 483"/>
                <a:gd name="T48" fmla="*/ 179 w 190"/>
                <a:gd name="T49" fmla="*/ 432 h 483"/>
                <a:gd name="T50" fmla="*/ 152 w 190"/>
                <a:gd name="T51" fmla="*/ 448 h 483"/>
                <a:gd name="T52" fmla="*/ 190 w 190"/>
                <a:gd name="T53" fmla="*/ 483 h 483"/>
                <a:gd name="T54" fmla="*/ 171 w 190"/>
                <a:gd name="T55" fmla="*/ 302 h 483"/>
                <a:gd name="T56" fmla="*/ 130 w 190"/>
                <a:gd name="T57" fmla="*/ 337 h 483"/>
                <a:gd name="T58" fmla="*/ 118 w 190"/>
                <a:gd name="T59" fmla="*/ 317 h 483"/>
                <a:gd name="T60" fmla="*/ 154 w 190"/>
                <a:gd name="T61" fmla="*/ 256 h 483"/>
                <a:gd name="T62" fmla="*/ 121 w 190"/>
                <a:gd name="T63" fmla="*/ 197 h 483"/>
                <a:gd name="T64" fmla="*/ 181 w 190"/>
                <a:gd name="T65" fmla="*/ 250 h 483"/>
                <a:gd name="T66" fmla="*/ 190 w 190"/>
                <a:gd name="T67" fmla="*/ 269 h 483"/>
                <a:gd name="T68" fmla="*/ 170 w 190"/>
                <a:gd name="T69" fmla="*/ 141 h 483"/>
                <a:gd name="T70" fmla="*/ 123 w 190"/>
                <a:gd name="T71" fmla="*/ 152 h 483"/>
                <a:gd name="T72" fmla="*/ 125 w 190"/>
                <a:gd name="T73" fmla="*/ 124 h 483"/>
                <a:gd name="T74" fmla="*/ 167 w 190"/>
                <a:gd name="T75" fmla="*/ 106 h 483"/>
                <a:gd name="T76" fmla="*/ 190 w 190"/>
                <a:gd name="T77" fmla="*/ 103 h 483"/>
                <a:gd name="T78" fmla="*/ 168 w 190"/>
                <a:gd name="T79" fmla="*/ 62 h 483"/>
                <a:gd name="T80" fmla="*/ 145 w 190"/>
                <a:gd name="T81" fmla="*/ 12 h 483"/>
                <a:gd name="T82" fmla="*/ 181 w 190"/>
                <a:gd name="T83" fmla="*/ 38 h 483"/>
                <a:gd name="T84" fmla="*/ 190 w 190"/>
                <a:gd name="T85"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0" h="483">
                  <a:moveTo>
                    <a:pt x="107" y="44"/>
                  </a:moveTo>
                  <a:lnTo>
                    <a:pt x="107" y="44"/>
                  </a:lnTo>
                  <a:cubicBezTo>
                    <a:pt x="125" y="52"/>
                    <a:pt x="140" y="66"/>
                    <a:pt x="153" y="86"/>
                  </a:cubicBezTo>
                  <a:cubicBezTo>
                    <a:pt x="157" y="92"/>
                    <a:pt x="155" y="101"/>
                    <a:pt x="148" y="105"/>
                  </a:cubicBezTo>
                  <a:cubicBezTo>
                    <a:pt x="142" y="109"/>
                    <a:pt x="133" y="107"/>
                    <a:pt x="129" y="100"/>
                  </a:cubicBezTo>
                  <a:cubicBezTo>
                    <a:pt x="115" y="77"/>
                    <a:pt x="95" y="64"/>
                    <a:pt x="75" y="64"/>
                  </a:cubicBezTo>
                  <a:cubicBezTo>
                    <a:pt x="33" y="64"/>
                    <a:pt x="0" y="115"/>
                    <a:pt x="0" y="177"/>
                  </a:cubicBezTo>
                  <a:cubicBezTo>
                    <a:pt x="0" y="199"/>
                    <a:pt x="4" y="219"/>
                    <a:pt x="11" y="237"/>
                  </a:cubicBezTo>
                  <a:cubicBezTo>
                    <a:pt x="22" y="216"/>
                    <a:pt x="39" y="200"/>
                    <a:pt x="58" y="190"/>
                  </a:cubicBezTo>
                  <a:cubicBezTo>
                    <a:pt x="58" y="187"/>
                    <a:pt x="58" y="184"/>
                    <a:pt x="58" y="181"/>
                  </a:cubicBezTo>
                  <a:cubicBezTo>
                    <a:pt x="44" y="178"/>
                    <a:pt x="31" y="169"/>
                    <a:pt x="23" y="157"/>
                  </a:cubicBezTo>
                  <a:cubicBezTo>
                    <a:pt x="16" y="146"/>
                    <a:pt x="13" y="133"/>
                    <a:pt x="14" y="120"/>
                  </a:cubicBezTo>
                  <a:cubicBezTo>
                    <a:pt x="15" y="112"/>
                    <a:pt x="21" y="106"/>
                    <a:pt x="29" y="107"/>
                  </a:cubicBezTo>
                  <a:cubicBezTo>
                    <a:pt x="36" y="108"/>
                    <a:pt x="42" y="114"/>
                    <a:pt x="41" y="122"/>
                  </a:cubicBezTo>
                  <a:cubicBezTo>
                    <a:pt x="41" y="129"/>
                    <a:pt x="42" y="136"/>
                    <a:pt x="46" y="142"/>
                  </a:cubicBezTo>
                  <a:cubicBezTo>
                    <a:pt x="50" y="148"/>
                    <a:pt x="56" y="152"/>
                    <a:pt x="64" y="155"/>
                  </a:cubicBezTo>
                  <a:cubicBezTo>
                    <a:pt x="64" y="154"/>
                    <a:pt x="64" y="153"/>
                    <a:pt x="64" y="153"/>
                  </a:cubicBezTo>
                  <a:cubicBezTo>
                    <a:pt x="67" y="146"/>
                    <a:pt x="75" y="143"/>
                    <a:pt x="82" y="146"/>
                  </a:cubicBezTo>
                  <a:cubicBezTo>
                    <a:pt x="89" y="149"/>
                    <a:pt x="92" y="157"/>
                    <a:pt x="89" y="164"/>
                  </a:cubicBezTo>
                  <a:cubicBezTo>
                    <a:pt x="84" y="176"/>
                    <a:pt x="84" y="191"/>
                    <a:pt x="89" y="204"/>
                  </a:cubicBezTo>
                  <a:cubicBezTo>
                    <a:pt x="93" y="215"/>
                    <a:pt x="99" y="223"/>
                    <a:pt x="107" y="230"/>
                  </a:cubicBezTo>
                  <a:cubicBezTo>
                    <a:pt x="113" y="235"/>
                    <a:pt x="114" y="243"/>
                    <a:pt x="109" y="249"/>
                  </a:cubicBezTo>
                  <a:cubicBezTo>
                    <a:pt x="106" y="252"/>
                    <a:pt x="102" y="254"/>
                    <a:pt x="98" y="254"/>
                  </a:cubicBezTo>
                  <a:cubicBezTo>
                    <a:pt x="95" y="254"/>
                    <a:pt x="92" y="253"/>
                    <a:pt x="90" y="251"/>
                  </a:cubicBezTo>
                  <a:cubicBezTo>
                    <a:pt x="79" y="242"/>
                    <a:pt x="71" y="230"/>
                    <a:pt x="65" y="217"/>
                  </a:cubicBezTo>
                  <a:cubicBezTo>
                    <a:pt x="39" y="234"/>
                    <a:pt x="22" y="266"/>
                    <a:pt x="22" y="303"/>
                  </a:cubicBezTo>
                  <a:cubicBezTo>
                    <a:pt x="22" y="306"/>
                    <a:pt x="22" y="309"/>
                    <a:pt x="23" y="312"/>
                  </a:cubicBezTo>
                  <a:cubicBezTo>
                    <a:pt x="33" y="316"/>
                    <a:pt x="45" y="315"/>
                    <a:pt x="56" y="309"/>
                  </a:cubicBezTo>
                  <a:cubicBezTo>
                    <a:pt x="65" y="305"/>
                    <a:pt x="73" y="297"/>
                    <a:pt x="79" y="288"/>
                  </a:cubicBezTo>
                  <a:cubicBezTo>
                    <a:pt x="83" y="282"/>
                    <a:pt x="91" y="280"/>
                    <a:pt x="98" y="284"/>
                  </a:cubicBezTo>
                  <a:cubicBezTo>
                    <a:pt x="104" y="288"/>
                    <a:pt x="106" y="296"/>
                    <a:pt x="102" y="302"/>
                  </a:cubicBezTo>
                  <a:cubicBezTo>
                    <a:pt x="94" y="316"/>
                    <a:pt x="82" y="327"/>
                    <a:pt x="68" y="334"/>
                  </a:cubicBezTo>
                  <a:cubicBezTo>
                    <a:pt x="58" y="339"/>
                    <a:pt x="46" y="342"/>
                    <a:pt x="35" y="342"/>
                  </a:cubicBezTo>
                  <a:cubicBezTo>
                    <a:pt x="33" y="342"/>
                    <a:pt x="31" y="341"/>
                    <a:pt x="28" y="341"/>
                  </a:cubicBezTo>
                  <a:cubicBezTo>
                    <a:pt x="39" y="375"/>
                    <a:pt x="64" y="402"/>
                    <a:pt x="95" y="410"/>
                  </a:cubicBezTo>
                  <a:cubicBezTo>
                    <a:pt x="95" y="399"/>
                    <a:pt x="98" y="388"/>
                    <a:pt x="102" y="378"/>
                  </a:cubicBezTo>
                  <a:cubicBezTo>
                    <a:pt x="95" y="373"/>
                    <a:pt x="88" y="367"/>
                    <a:pt x="84" y="359"/>
                  </a:cubicBezTo>
                  <a:cubicBezTo>
                    <a:pt x="80" y="353"/>
                    <a:pt x="82" y="344"/>
                    <a:pt x="88" y="341"/>
                  </a:cubicBezTo>
                  <a:cubicBezTo>
                    <a:pt x="95" y="337"/>
                    <a:pt x="103" y="339"/>
                    <a:pt x="107" y="345"/>
                  </a:cubicBezTo>
                  <a:cubicBezTo>
                    <a:pt x="111" y="352"/>
                    <a:pt x="119" y="358"/>
                    <a:pt x="128" y="360"/>
                  </a:cubicBezTo>
                  <a:cubicBezTo>
                    <a:pt x="135" y="363"/>
                    <a:pt x="142" y="363"/>
                    <a:pt x="148" y="362"/>
                  </a:cubicBezTo>
                  <a:cubicBezTo>
                    <a:pt x="155" y="361"/>
                    <a:pt x="162" y="365"/>
                    <a:pt x="164" y="373"/>
                  </a:cubicBezTo>
                  <a:cubicBezTo>
                    <a:pt x="165" y="380"/>
                    <a:pt x="160" y="387"/>
                    <a:pt x="153" y="389"/>
                  </a:cubicBezTo>
                  <a:cubicBezTo>
                    <a:pt x="149" y="389"/>
                    <a:pt x="145" y="390"/>
                    <a:pt x="141" y="390"/>
                  </a:cubicBezTo>
                  <a:cubicBezTo>
                    <a:pt x="136" y="390"/>
                    <a:pt x="132" y="389"/>
                    <a:pt x="127" y="388"/>
                  </a:cubicBezTo>
                  <a:cubicBezTo>
                    <a:pt x="124" y="396"/>
                    <a:pt x="122" y="405"/>
                    <a:pt x="122" y="414"/>
                  </a:cubicBezTo>
                  <a:cubicBezTo>
                    <a:pt x="122" y="422"/>
                    <a:pt x="123" y="429"/>
                    <a:pt x="126" y="436"/>
                  </a:cubicBezTo>
                  <a:cubicBezTo>
                    <a:pt x="129" y="433"/>
                    <a:pt x="131" y="430"/>
                    <a:pt x="134" y="427"/>
                  </a:cubicBezTo>
                  <a:cubicBezTo>
                    <a:pt x="143" y="420"/>
                    <a:pt x="154" y="416"/>
                    <a:pt x="166" y="417"/>
                  </a:cubicBezTo>
                  <a:cubicBezTo>
                    <a:pt x="174" y="418"/>
                    <a:pt x="180" y="424"/>
                    <a:pt x="179" y="432"/>
                  </a:cubicBezTo>
                  <a:cubicBezTo>
                    <a:pt x="179" y="439"/>
                    <a:pt x="172" y="445"/>
                    <a:pt x="164" y="445"/>
                  </a:cubicBezTo>
                  <a:cubicBezTo>
                    <a:pt x="161" y="444"/>
                    <a:pt x="156" y="445"/>
                    <a:pt x="152" y="448"/>
                  </a:cubicBezTo>
                  <a:cubicBezTo>
                    <a:pt x="147" y="452"/>
                    <a:pt x="147" y="460"/>
                    <a:pt x="148" y="464"/>
                  </a:cubicBezTo>
                  <a:cubicBezTo>
                    <a:pt x="159" y="473"/>
                    <a:pt x="174" y="480"/>
                    <a:pt x="190" y="483"/>
                  </a:cubicBezTo>
                  <a:lnTo>
                    <a:pt x="190" y="296"/>
                  </a:lnTo>
                  <a:cubicBezTo>
                    <a:pt x="184" y="297"/>
                    <a:pt x="177" y="299"/>
                    <a:pt x="171" y="302"/>
                  </a:cubicBezTo>
                  <a:cubicBezTo>
                    <a:pt x="159" y="308"/>
                    <a:pt x="148" y="318"/>
                    <a:pt x="143" y="330"/>
                  </a:cubicBezTo>
                  <a:cubicBezTo>
                    <a:pt x="140" y="334"/>
                    <a:pt x="135" y="337"/>
                    <a:pt x="130" y="337"/>
                  </a:cubicBezTo>
                  <a:cubicBezTo>
                    <a:pt x="128" y="337"/>
                    <a:pt x="126" y="337"/>
                    <a:pt x="124" y="335"/>
                  </a:cubicBezTo>
                  <a:cubicBezTo>
                    <a:pt x="118" y="332"/>
                    <a:pt x="115" y="324"/>
                    <a:pt x="118" y="317"/>
                  </a:cubicBezTo>
                  <a:cubicBezTo>
                    <a:pt x="126" y="303"/>
                    <a:pt x="138" y="290"/>
                    <a:pt x="152" y="281"/>
                  </a:cubicBezTo>
                  <a:cubicBezTo>
                    <a:pt x="156" y="274"/>
                    <a:pt x="156" y="265"/>
                    <a:pt x="154" y="256"/>
                  </a:cubicBezTo>
                  <a:cubicBezTo>
                    <a:pt x="151" y="241"/>
                    <a:pt x="140" y="227"/>
                    <a:pt x="125" y="216"/>
                  </a:cubicBezTo>
                  <a:cubicBezTo>
                    <a:pt x="118" y="212"/>
                    <a:pt x="117" y="203"/>
                    <a:pt x="121" y="197"/>
                  </a:cubicBezTo>
                  <a:cubicBezTo>
                    <a:pt x="126" y="191"/>
                    <a:pt x="134" y="190"/>
                    <a:pt x="140" y="194"/>
                  </a:cubicBezTo>
                  <a:cubicBezTo>
                    <a:pt x="161" y="209"/>
                    <a:pt x="175" y="228"/>
                    <a:pt x="181" y="250"/>
                  </a:cubicBezTo>
                  <a:cubicBezTo>
                    <a:pt x="182" y="256"/>
                    <a:pt x="183" y="263"/>
                    <a:pt x="182" y="270"/>
                  </a:cubicBezTo>
                  <a:cubicBezTo>
                    <a:pt x="185" y="269"/>
                    <a:pt x="188" y="269"/>
                    <a:pt x="190" y="269"/>
                  </a:cubicBezTo>
                  <a:lnTo>
                    <a:pt x="190" y="121"/>
                  </a:lnTo>
                  <a:cubicBezTo>
                    <a:pt x="186" y="129"/>
                    <a:pt x="179" y="136"/>
                    <a:pt x="170" y="141"/>
                  </a:cubicBezTo>
                  <a:cubicBezTo>
                    <a:pt x="158" y="148"/>
                    <a:pt x="144" y="152"/>
                    <a:pt x="129" y="152"/>
                  </a:cubicBezTo>
                  <a:cubicBezTo>
                    <a:pt x="127" y="152"/>
                    <a:pt x="125" y="152"/>
                    <a:pt x="123" y="152"/>
                  </a:cubicBezTo>
                  <a:cubicBezTo>
                    <a:pt x="116" y="151"/>
                    <a:pt x="110" y="145"/>
                    <a:pt x="111" y="137"/>
                  </a:cubicBezTo>
                  <a:cubicBezTo>
                    <a:pt x="111" y="130"/>
                    <a:pt x="117" y="124"/>
                    <a:pt x="125" y="124"/>
                  </a:cubicBezTo>
                  <a:cubicBezTo>
                    <a:pt x="136" y="125"/>
                    <a:pt x="147" y="123"/>
                    <a:pt x="156" y="118"/>
                  </a:cubicBezTo>
                  <a:cubicBezTo>
                    <a:pt x="161" y="114"/>
                    <a:pt x="165" y="111"/>
                    <a:pt x="167" y="106"/>
                  </a:cubicBezTo>
                  <a:cubicBezTo>
                    <a:pt x="170" y="99"/>
                    <a:pt x="178" y="96"/>
                    <a:pt x="185" y="100"/>
                  </a:cubicBezTo>
                  <a:cubicBezTo>
                    <a:pt x="187" y="100"/>
                    <a:pt x="189" y="102"/>
                    <a:pt x="190" y="103"/>
                  </a:cubicBezTo>
                  <a:lnTo>
                    <a:pt x="190" y="68"/>
                  </a:lnTo>
                  <a:cubicBezTo>
                    <a:pt x="183" y="68"/>
                    <a:pt x="175" y="66"/>
                    <a:pt x="168" y="62"/>
                  </a:cubicBezTo>
                  <a:cubicBezTo>
                    <a:pt x="155" y="55"/>
                    <a:pt x="144" y="44"/>
                    <a:pt x="138" y="31"/>
                  </a:cubicBezTo>
                  <a:cubicBezTo>
                    <a:pt x="135" y="24"/>
                    <a:pt x="138" y="16"/>
                    <a:pt x="145" y="12"/>
                  </a:cubicBezTo>
                  <a:cubicBezTo>
                    <a:pt x="152" y="9"/>
                    <a:pt x="160" y="12"/>
                    <a:pt x="163" y="19"/>
                  </a:cubicBezTo>
                  <a:cubicBezTo>
                    <a:pt x="167" y="27"/>
                    <a:pt x="173" y="34"/>
                    <a:pt x="181" y="38"/>
                  </a:cubicBezTo>
                  <a:cubicBezTo>
                    <a:pt x="184" y="39"/>
                    <a:pt x="187" y="40"/>
                    <a:pt x="190" y="41"/>
                  </a:cubicBezTo>
                  <a:lnTo>
                    <a:pt x="190" y="0"/>
                  </a:lnTo>
                  <a:cubicBezTo>
                    <a:pt x="153" y="4"/>
                    <a:pt x="119" y="21"/>
                    <a:pt x="107" y="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5">
              <a:extLst>
                <a:ext uri="{FF2B5EF4-FFF2-40B4-BE49-F238E27FC236}">
                  <a16:creationId xmlns:a16="http://schemas.microsoft.com/office/drawing/2014/main" id="{5D22BA0E-931B-4E5C-831A-57BFF9EE9FBE}"/>
                </a:ext>
              </a:extLst>
            </p:cNvPr>
            <p:cNvSpPr>
              <a:spLocks/>
            </p:cNvSpPr>
            <p:nvPr/>
          </p:nvSpPr>
          <p:spPr bwMode="auto">
            <a:xfrm>
              <a:off x="5726113" y="3200400"/>
              <a:ext cx="182563" cy="468313"/>
            </a:xfrm>
            <a:custGeom>
              <a:avLst/>
              <a:gdLst>
                <a:gd name="T0" fmla="*/ 116 w 191"/>
                <a:gd name="T1" fmla="*/ 64 h 483"/>
                <a:gd name="T2" fmla="*/ 62 w 191"/>
                <a:gd name="T3" fmla="*/ 74 h 483"/>
                <a:gd name="T4" fmla="*/ 83 w 191"/>
                <a:gd name="T5" fmla="*/ 44 h 483"/>
                <a:gd name="T6" fmla="*/ 0 w 191"/>
                <a:gd name="T7" fmla="*/ 146 h 483"/>
                <a:gd name="T8" fmla="*/ 59 w 191"/>
                <a:gd name="T9" fmla="*/ 128 h 483"/>
                <a:gd name="T10" fmla="*/ 80 w 191"/>
                <a:gd name="T11" fmla="*/ 92 h 483"/>
                <a:gd name="T12" fmla="*/ 80 w 191"/>
                <a:gd name="T13" fmla="*/ 141 h 483"/>
                <a:gd name="T14" fmla="*/ 55 w 191"/>
                <a:gd name="T15" fmla="*/ 163 h 483"/>
                <a:gd name="T16" fmla="*/ 0 w 191"/>
                <a:gd name="T17" fmla="*/ 166 h 483"/>
                <a:gd name="T18" fmla="*/ 72 w 191"/>
                <a:gd name="T19" fmla="*/ 191 h 483"/>
                <a:gd name="T20" fmla="*/ 96 w 191"/>
                <a:gd name="T21" fmla="*/ 152 h 483"/>
                <a:gd name="T22" fmla="*/ 145 w 191"/>
                <a:gd name="T23" fmla="*/ 152 h 483"/>
                <a:gd name="T24" fmla="*/ 113 w 191"/>
                <a:gd name="T25" fmla="*/ 175 h 483"/>
                <a:gd name="T26" fmla="*/ 76 w 191"/>
                <a:gd name="T27" fmla="*/ 211 h 483"/>
                <a:gd name="T28" fmla="*/ 0 w 191"/>
                <a:gd name="T29" fmla="*/ 232 h 483"/>
                <a:gd name="T30" fmla="*/ 108 w 191"/>
                <a:gd name="T31" fmla="*/ 217 h 483"/>
                <a:gd name="T32" fmla="*/ 108 w 191"/>
                <a:gd name="T33" fmla="*/ 266 h 483"/>
                <a:gd name="T34" fmla="*/ 60 w 191"/>
                <a:gd name="T35" fmla="*/ 252 h 483"/>
                <a:gd name="T36" fmla="*/ 94 w 191"/>
                <a:gd name="T37" fmla="*/ 295 h 483"/>
                <a:gd name="T38" fmla="*/ 140 w 191"/>
                <a:gd name="T39" fmla="*/ 305 h 483"/>
                <a:gd name="T40" fmla="*/ 93 w 191"/>
                <a:gd name="T41" fmla="*/ 314 h 483"/>
                <a:gd name="T42" fmla="*/ 63 w 191"/>
                <a:gd name="T43" fmla="*/ 309 h 483"/>
                <a:gd name="T44" fmla="*/ 44 w 191"/>
                <a:gd name="T45" fmla="*/ 293 h 483"/>
                <a:gd name="T46" fmla="*/ 58 w 191"/>
                <a:gd name="T47" fmla="*/ 350 h 483"/>
                <a:gd name="T48" fmla="*/ 9 w 191"/>
                <a:gd name="T49" fmla="*/ 350 h 483"/>
                <a:gd name="T50" fmla="*/ 24 w 191"/>
                <a:gd name="T51" fmla="*/ 283 h 483"/>
                <a:gd name="T52" fmla="*/ 48 w 191"/>
                <a:gd name="T53" fmla="*/ 273 h 483"/>
                <a:gd name="T54" fmla="*/ 0 w 191"/>
                <a:gd name="T55" fmla="*/ 252 h 483"/>
                <a:gd name="T56" fmla="*/ 69 w 191"/>
                <a:gd name="T57" fmla="*/ 414 h 483"/>
                <a:gd name="T58" fmla="*/ 65 w 191"/>
                <a:gd name="T59" fmla="*/ 363 h 483"/>
                <a:gd name="T60" fmla="*/ 96 w 191"/>
                <a:gd name="T61" fmla="*/ 410 h 483"/>
                <a:gd name="T62" fmla="*/ 147 w 191"/>
                <a:gd name="T63" fmla="*/ 236 h 483"/>
                <a:gd name="T64" fmla="*/ 168 w 191"/>
                <a:gd name="T65" fmla="*/ 220 h 483"/>
                <a:gd name="T66" fmla="*/ 191 w 191"/>
                <a:gd name="T67" fmla="*/ 177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1" h="483">
                  <a:moveTo>
                    <a:pt x="116" y="64"/>
                  </a:moveTo>
                  <a:lnTo>
                    <a:pt x="116" y="64"/>
                  </a:lnTo>
                  <a:cubicBezTo>
                    <a:pt x="104" y="64"/>
                    <a:pt x="92" y="68"/>
                    <a:pt x="82" y="77"/>
                  </a:cubicBezTo>
                  <a:cubicBezTo>
                    <a:pt x="76" y="81"/>
                    <a:pt x="67" y="80"/>
                    <a:pt x="62" y="74"/>
                  </a:cubicBezTo>
                  <a:cubicBezTo>
                    <a:pt x="58" y="69"/>
                    <a:pt x="59" y="60"/>
                    <a:pt x="65" y="55"/>
                  </a:cubicBezTo>
                  <a:cubicBezTo>
                    <a:pt x="71" y="51"/>
                    <a:pt x="77" y="47"/>
                    <a:pt x="83" y="44"/>
                  </a:cubicBezTo>
                  <a:cubicBezTo>
                    <a:pt x="72" y="21"/>
                    <a:pt x="38" y="4"/>
                    <a:pt x="0" y="0"/>
                  </a:cubicBezTo>
                  <a:lnTo>
                    <a:pt x="0" y="146"/>
                  </a:lnTo>
                  <a:lnTo>
                    <a:pt x="43" y="146"/>
                  </a:lnTo>
                  <a:lnTo>
                    <a:pt x="59" y="128"/>
                  </a:lnTo>
                  <a:cubicBezTo>
                    <a:pt x="57" y="125"/>
                    <a:pt x="56" y="121"/>
                    <a:pt x="56" y="116"/>
                  </a:cubicBezTo>
                  <a:cubicBezTo>
                    <a:pt x="56" y="103"/>
                    <a:pt x="67" y="92"/>
                    <a:pt x="80" y="92"/>
                  </a:cubicBezTo>
                  <a:cubicBezTo>
                    <a:pt x="94" y="92"/>
                    <a:pt x="105" y="103"/>
                    <a:pt x="105" y="116"/>
                  </a:cubicBezTo>
                  <a:cubicBezTo>
                    <a:pt x="105" y="130"/>
                    <a:pt x="94" y="141"/>
                    <a:pt x="80" y="141"/>
                  </a:cubicBezTo>
                  <a:cubicBezTo>
                    <a:pt x="79" y="141"/>
                    <a:pt x="77" y="141"/>
                    <a:pt x="75" y="140"/>
                  </a:cubicBezTo>
                  <a:lnTo>
                    <a:pt x="55" y="163"/>
                  </a:lnTo>
                  <a:cubicBezTo>
                    <a:pt x="54" y="165"/>
                    <a:pt x="51" y="166"/>
                    <a:pt x="48" y="166"/>
                  </a:cubicBezTo>
                  <a:lnTo>
                    <a:pt x="0" y="166"/>
                  </a:lnTo>
                  <a:lnTo>
                    <a:pt x="0" y="191"/>
                  </a:lnTo>
                  <a:lnTo>
                    <a:pt x="72" y="191"/>
                  </a:lnTo>
                  <a:lnTo>
                    <a:pt x="98" y="162"/>
                  </a:lnTo>
                  <a:cubicBezTo>
                    <a:pt x="97" y="159"/>
                    <a:pt x="96" y="156"/>
                    <a:pt x="96" y="152"/>
                  </a:cubicBezTo>
                  <a:cubicBezTo>
                    <a:pt x="96" y="139"/>
                    <a:pt x="107" y="128"/>
                    <a:pt x="121" y="128"/>
                  </a:cubicBezTo>
                  <a:cubicBezTo>
                    <a:pt x="134" y="128"/>
                    <a:pt x="145" y="139"/>
                    <a:pt x="145" y="152"/>
                  </a:cubicBezTo>
                  <a:cubicBezTo>
                    <a:pt x="145" y="166"/>
                    <a:pt x="134" y="177"/>
                    <a:pt x="121" y="177"/>
                  </a:cubicBezTo>
                  <a:cubicBezTo>
                    <a:pt x="118" y="177"/>
                    <a:pt x="116" y="176"/>
                    <a:pt x="113" y="175"/>
                  </a:cubicBezTo>
                  <a:lnTo>
                    <a:pt x="84" y="207"/>
                  </a:lnTo>
                  <a:cubicBezTo>
                    <a:pt x="82" y="209"/>
                    <a:pt x="79" y="211"/>
                    <a:pt x="76" y="211"/>
                  </a:cubicBezTo>
                  <a:lnTo>
                    <a:pt x="0" y="211"/>
                  </a:lnTo>
                  <a:lnTo>
                    <a:pt x="0" y="232"/>
                  </a:lnTo>
                  <a:lnTo>
                    <a:pt x="85" y="232"/>
                  </a:lnTo>
                  <a:cubicBezTo>
                    <a:pt x="89" y="223"/>
                    <a:pt x="98" y="217"/>
                    <a:pt x="108" y="217"/>
                  </a:cubicBezTo>
                  <a:cubicBezTo>
                    <a:pt x="121" y="217"/>
                    <a:pt x="132" y="228"/>
                    <a:pt x="132" y="242"/>
                  </a:cubicBezTo>
                  <a:cubicBezTo>
                    <a:pt x="132" y="255"/>
                    <a:pt x="121" y="266"/>
                    <a:pt x="108" y="266"/>
                  </a:cubicBezTo>
                  <a:cubicBezTo>
                    <a:pt x="98" y="266"/>
                    <a:pt x="89" y="260"/>
                    <a:pt x="85" y="252"/>
                  </a:cubicBezTo>
                  <a:lnTo>
                    <a:pt x="60" y="252"/>
                  </a:lnTo>
                  <a:lnTo>
                    <a:pt x="79" y="295"/>
                  </a:lnTo>
                  <a:lnTo>
                    <a:pt x="94" y="295"/>
                  </a:lnTo>
                  <a:cubicBezTo>
                    <a:pt x="98" y="286"/>
                    <a:pt x="106" y="281"/>
                    <a:pt x="116" y="281"/>
                  </a:cubicBezTo>
                  <a:cubicBezTo>
                    <a:pt x="129" y="281"/>
                    <a:pt x="140" y="292"/>
                    <a:pt x="140" y="305"/>
                  </a:cubicBezTo>
                  <a:cubicBezTo>
                    <a:pt x="140" y="319"/>
                    <a:pt x="129" y="330"/>
                    <a:pt x="116" y="330"/>
                  </a:cubicBezTo>
                  <a:cubicBezTo>
                    <a:pt x="105" y="330"/>
                    <a:pt x="97" y="323"/>
                    <a:pt x="93" y="314"/>
                  </a:cubicBezTo>
                  <a:lnTo>
                    <a:pt x="72" y="314"/>
                  </a:lnTo>
                  <a:cubicBezTo>
                    <a:pt x="68" y="314"/>
                    <a:pt x="64" y="312"/>
                    <a:pt x="63" y="309"/>
                  </a:cubicBezTo>
                  <a:lnTo>
                    <a:pt x="56" y="293"/>
                  </a:lnTo>
                  <a:lnTo>
                    <a:pt x="44" y="293"/>
                  </a:lnTo>
                  <a:lnTo>
                    <a:pt x="44" y="328"/>
                  </a:lnTo>
                  <a:cubicBezTo>
                    <a:pt x="52" y="332"/>
                    <a:pt x="58" y="340"/>
                    <a:pt x="58" y="350"/>
                  </a:cubicBezTo>
                  <a:cubicBezTo>
                    <a:pt x="58" y="363"/>
                    <a:pt x="47" y="374"/>
                    <a:pt x="33" y="374"/>
                  </a:cubicBezTo>
                  <a:cubicBezTo>
                    <a:pt x="20" y="374"/>
                    <a:pt x="9" y="363"/>
                    <a:pt x="9" y="350"/>
                  </a:cubicBezTo>
                  <a:cubicBezTo>
                    <a:pt x="9" y="339"/>
                    <a:pt x="15" y="331"/>
                    <a:pt x="24" y="327"/>
                  </a:cubicBezTo>
                  <a:lnTo>
                    <a:pt x="24" y="283"/>
                  </a:lnTo>
                  <a:cubicBezTo>
                    <a:pt x="24" y="278"/>
                    <a:pt x="29" y="273"/>
                    <a:pt x="34" y="273"/>
                  </a:cubicBezTo>
                  <a:lnTo>
                    <a:pt x="48" y="273"/>
                  </a:lnTo>
                  <a:lnTo>
                    <a:pt x="38" y="252"/>
                  </a:lnTo>
                  <a:lnTo>
                    <a:pt x="0" y="252"/>
                  </a:lnTo>
                  <a:lnTo>
                    <a:pt x="0" y="483"/>
                  </a:lnTo>
                  <a:cubicBezTo>
                    <a:pt x="38" y="477"/>
                    <a:pt x="69" y="447"/>
                    <a:pt x="69" y="414"/>
                  </a:cubicBezTo>
                  <a:cubicBezTo>
                    <a:pt x="69" y="403"/>
                    <a:pt x="66" y="391"/>
                    <a:pt x="60" y="382"/>
                  </a:cubicBezTo>
                  <a:cubicBezTo>
                    <a:pt x="56" y="375"/>
                    <a:pt x="58" y="367"/>
                    <a:pt x="65" y="363"/>
                  </a:cubicBezTo>
                  <a:cubicBezTo>
                    <a:pt x="71" y="359"/>
                    <a:pt x="79" y="361"/>
                    <a:pt x="83" y="368"/>
                  </a:cubicBezTo>
                  <a:cubicBezTo>
                    <a:pt x="91" y="381"/>
                    <a:pt x="95" y="395"/>
                    <a:pt x="96" y="410"/>
                  </a:cubicBezTo>
                  <a:cubicBezTo>
                    <a:pt x="137" y="399"/>
                    <a:pt x="168" y="354"/>
                    <a:pt x="168" y="303"/>
                  </a:cubicBezTo>
                  <a:cubicBezTo>
                    <a:pt x="168" y="278"/>
                    <a:pt x="161" y="254"/>
                    <a:pt x="147" y="236"/>
                  </a:cubicBezTo>
                  <a:cubicBezTo>
                    <a:pt x="142" y="230"/>
                    <a:pt x="143" y="222"/>
                    <a:pt x="149" y="217"/>
                  </a:cubicBezTo>
                  <a:cubicBezTo>
                    <a:pt x="155" y="213"/>
                    <a:pt x="164" y="214"/>
                    <a:pt x="168" y="220"/>
                  </a:cubicBezTo>
                  <a:cubicBezTo>
                    <a:pt x="172" y="225"/>
                    <a:pt x="176" y="231"/>
                    <a:pt x="179" y="237"/>
                  </a:cubicBezTo>
                  <a:cubicBezTo>
                    <a:pt x="187" y="219"/>
                    <a:pt x="191" y="199"/>
                    <a:pt x="191" y="177"/>
                  </a:cubicBezTo>
                  <a:cubicBezTo>
                    <a:pt x="191" y="115"/>
                    <a:pt x="157" y="64"/>
                    <a:pt x="116" y="6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6">
              <a:extLst>
                <a:ext uri="{FF2B5EF4-FFF2-40B4-BE49-F238E27FC236}">
                  <a16:creationId xmlns:a16="http://schemas.microsoft.com/office/drawing/2014/main" id="{18F517BB-D3A0-4314-910C-A5CB40AEEF20}"/>
                </a:ext>
              </a:extLst>
            </p:cNvPr>
            <p:cNvSpPr>
              <a:spLocks noEditPoints="1"/>
            </p:cNvSpPr>
            <p:nvPr/>
          </p:nvSpPr>
          <p:spPr bwMode="auto">
            <a:xfrm>
              <a:off x="5346700" y="3068638"/>
              <a:ext cx="723900" cy="731838"/>
            </a:xfrm>
            <a:custGeom>
              <a:avLst/>
              <a:gdLst>
                <a:gd name="T0" fmla="*/ 377 w 755"/>
                <a:gd name="T1" fmla="*/ 0 h 756"/>
                <a:gd name="T2" fmla="*/ 377 w 755"/>
                <a:gd name="T3" fmla="*/ 0 h 756"/>
                <a:gd name="T4" fmla="*/ 0 w 755"/>
                <a:gd name="T5" fmla="*/ 378 h 756"/>
                <a:gd name="T6" fmla="*/ 377 w 755"/>
                <a:gd name="T7" fmla="*/ 756 h 756"/>
                <a:gd name="T8" fmla="*/ 755 w 755"/>
                <a:gd name="T9" fmla="*/ 378 h 756"/>
                <a:gd name="T10" fmla="*/ 377 w 755"/>
                <a:gd name="T11" fmla="*/ 0 h 756"/>
                <a:gd name="T12" fmla="*/ 592 w 755"/>
                <a:gd name="T13" fmla="*/ 439 h 756"/>
                <a:gd name="T14" fmla="*/ 592 w 755"/>
                <a:gd name="T15" fmla="*/ 439 h 756"/>
                <a:gd name="T16" fmla="*/ 488 w 755"/>
                <a:gd name="T17" fmla="*/ 575 h 756"/>
                <a:gd name="T18" fmla="*/ 383 w 755"/>
                <a:gd name="T19" fmla="*/ 647 h 756"/>
                <a:gd name="T20" fmla="*/ 277 w 755"/>
                <a:gd name="T21" fmla="*/ 575 h 756"/>
                <a:gd name="T22" fmla="*/ 174 w 755"/>
                <a:gd name="T23" fmla="*/ 439 h 756"/>
                <a:gd name="T24" fmla="*/ 178 w 755"/>
                <a:gd name="T25" fmla="*/ 407 h 756"/>
                <a:gd name="T26" fmla="*/ 152 w 755"/>
                <a:gd name="T27" fmla="*/ 313 h 756"/>
                <a:gd name="T28" fmla="*/ 254 w 755"/>
                <a:gd name="T29" fmla="*/ 173 h 756"/>
                <a:gd name="T30" fmla="*/ 259 w 755"/>
                <a:gd name="T31" fmla="*/ 173 h 756"/>
                <a:gd name="T32" fmla="*/ 383 w 755"/>
                <a:gd name="T33" fmla="*/ 108 h 756"/>
                <a:gd name="T34" fmla="*/ 506 w 755"/>
                <a:gd name="T35" fmla="*/ 173 h 756"/>
                <a:gd name="T36" fmla="*/ 512 w 755"/>
                <a:gd name="T37" fmla="*/ 173 h 756"/>
                <a:gd name="T38" fmla="*/ 614 w 755"/>
                <a:gd name="T39" fmla="*/ 313 h 756"/>
                <a:gd name="T40" fmla="*/ 588 w 755"/>
                <a:gd name="T41" fmla="*/ 407 h 756"/>
                <a:gd name="T42" fmla="*/ 592 w 755"/>
                <a:gd name="T43" fmla="*/ 439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5" h="756">
                  <a:moveTo>
                    <a:pt x="377" y="0"/>
                  </a:moveTo>
                  <a:lnTo>
                    <a:pt x="377" y="0"/>
                  </a:lnTo>
                  <a:cubicBezTo>
                    <a:pt x="169" y="0"/>
                    <a:pt x="0" y="169"/>
                    <a:pt x="0" y="378"/>
                  </a:cubicBezTo>
                  <a:cubicBezTo>
                    <a:pt x="0" y="586"/>
                    <a:pt x="169" y="756"/>
                    <a:pt x="377" y="756"/>
                  </a:cubicBezTo>
                  <a:cubicBezTo>
                    <a:pt x="586" y="756"/>
                    <a:pt x="755" y="586"/>
                    <a:pt x="755" y="378"/>
                  </a:cubicBezTo>
                  <a:cubicBezTo>
                    <a:pt x="755" y="169"/>
                    <a:pt x="586" y="0"/>
                    <a:pt x="377" y="0"/>
                  </a:cubicBezTo>
                  <a:close/>
                  <a:moveTo>
                    <a:pt x="592" y="439"/>
                  </a:moveTo>
                  <a:lnTo>
                    <a:pt x="592" y="439"/>
                  </a:lnTo>
                  <a:cubicBezTo>
                    <a:pt x="592" y="507"/>
                    <a:pt x="546" y="566"/>
                    <a:pt x="488" y="575"/>
                  </a:cubicBezTo>
                  <a:cubicBezTo>
                    <a:pt x="475" y="616"/>
                    <a:pt x="432" y="647"/>
                    <a:pt x="383" y="647"/>
                  </a:cubicBezTo>
                  <a:cubicBezTo>
                    <a:pt x="333" y="647"/>
                    <a:pt x="290" y="616"/>
                    <a:pt x="277" y="575"/>
                  </a:cubicBezTo>
                  <a:cubicBezTo>
                    <a:pt x="220" y="566"/>
                    <a:pt x="174" y="507"/>
                    <a:pt x="174" y="439"/>
                  </a:cubicBezTo>
                  <a:cubicBezTo>
                    <a:pt x="174" y="428"/>
                    <a:pt x="175" y="417"/>
                    <a:pt x="178" y="407"/>
                  </a:cubicBezTo>
                  <a:cubicBezTo>
                    <a:pt x="161" y="381"/>
                    <a:pt x="152" y="348"/>
                    <a:pt x="152" y="313"/>
                  </a:cubicBezTo>
                  <a:cubicBezTo>
                    <a:pt x="152" y="236"/>
                    <a:pt x="197" y="173"/>
                    <a:pt x="254" y="173"/>
                  </a:cubicBezTo>
                  <a:cubicBezTo>
                    <a:pt x="256" y="173"/>
                    <a:pt x="257" y="173"/>
                    <a:pt x="259" y="173"/>
                  </a:cubicBezTo>
                  <a:cubicBezTo>
                    <a:pt x="275" y="135"/>
                    <a:pt x="326" y="108"/>
                    <a:pt x="383" y="108"/>
                  </a:cubicBezTo>
                  <a:cubicBezTo>
                    <a:pt x="439" y="108"/>
                    <a:pt x="491" y="135"/>
                    <a:pt x="506" y="173"/>
                  </a:cubicBezTo>
                  <a:cubicBezTo>
                    <a:pt x="508" y="173"/>
                    <a:pt x="510" y="173"/>
                    <a:pt x="512" y="173"/>
                  </a:cubicBezTo>
                  <a:cubicBezTo>
                    <a:pt x="568" y="173"/>
                    <a:pt x="614" y="236"/>
                    <a:pt x="614" y="313"/>
                  </a:cubicBezTo>
                  <a:cubicBezTo>
                    <a:pt x="614" y="348"/>
                    <a:pt x="605" y="381"/>
                    <a:pt x="588" y="407"/>
                  </a:cubicBezTo>
                  <a:cubicBezTo>
                    <a:pt x="590" y="417"/>
                    <a:pt x="592" y="428"/>
                    <a:pt x="592" y="43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8" name="Group 207">
            <a:extLst>
              <a:ext uri="{FF2B5EF4-FFF2-40B4-BE49-F238E27FC236}">
                <a16:creationId xmlns:a16="http://schemas.microsoft.com/office/drawing/2014/main" id="{031EF87C-0EFD-4C79-B74D-23DABCD750F6}"/>
              </a:ext>
            </a:extLst>
          </p:cNvPr>
          <p:cNvGrpSpPr/>
          <p:nvPr/>
        </p:nvGrpSpPr>
        <p:grpSpPr>
          <a:xfrm>
            <a:off x="6266175" y="2519189"/>
            <a:ext cx="365760" cy="365760"/>
            <a:chOff x="6122988" y="3068638"/>
            <a:chExt cx="723900" cy="730250"/>
          </a:xfrm>
          <a:solidFill>
            <a:schemeClr val="bg2"/>
          </a:solidFill>
        </p:grpSpPr>
        <p:sp>
          <p:nvSpPr>
            <p:cNvPr id="209" name="Freeform 17">
              <a:extLst>
                <a:ext uri="{FF2B5EF4-FFF2-40B4-BE49-F238E27FC236}">
                  <a16:creationId xmlns:a16="http://schemas.microsoft.com/office/drawing/2014/main" id="{1C291A9D-18FA-469A-9906-FB76F0243584}"/>
                </a:ext>
              </a:extLst>
            </p:cNvPr>
            <p:cNvSpPr>
              <a:spLocks noEditPoints="1"/>
            </p:cNvSpPr>
            <p:nvPr/>
          </p:nvSpPr>
          <p:spPr bwMode="auto">
            <a:xfrm>
              <a:off x="6122988" y="3068638"/>
              <a:ext cx="723900" cy="730250"/>
            </a:xfrm>
            <a:custGeom>
              <a:avLst/>
              <a:gdLst>
                <a:gd name="T0" fmla="*/ 377 w 755"/>
                <a:gd name="T1" fmla="*/ 30 h 755"/>
                <a:gd name="T2" fmla="*/ 377 w 755"/>
                <a:gd name="T3" fmla="*/ 30 h 755"/>
                <a:gd name="T4" fmla="*/ 725 w 755"/>
                <a:gd name="T5" fmla="*/ 378 h 755"/>
                <a:gd name="T6" fmla="*/ 377 w 755"/>
                <a:gd name="T7" fmla="*/ 726 h 755"/>
                <a:gd name="T8" fmla="*/ 29 w 755"/>
                <a:gd name="T9" fmla="*/ 378 h 755"/>
                <a:gd name="T10" fmla="*/ 377 w 755"/>
                <a:gd name="T11" fmla="*/ 30 h 755"/>
                <a:gd name="T12" fmla="*/ 377 w 755"/>
                <a:gd name="T13" fmla="*/ 0 h 755"/>
                <a:gd name="T14" fmla="*/ 377 w 755"/>
                <a:gd name="T15" fmla="*/ 0 h 755"/>
                <a:gd name="T16" fmla="*/ 0 w 755"/>
                <a:gd name="T17" fmla="*/ 378 h 755"/>
                <a:gd name="T18" fmla="*/ 377 w 755"/>
                <a:gd name="T19" fmla="*/ 755 h 755"/>
                <a:gd name="T20" fmla="*/ 755 w 755"/>
                <a:gd name="T21" fmla="*/ 378 h 755"/>
                <a:gd name="T22" fmla="*/ 377 w 755"/>
                <a:gd name="T23"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5" h="755">
                  <a:moveTo>
                    <a:pt x="377" y="30"/>
                  </a:moveTo>
                  <a:lnTo>
                    <a:pt x="377" y="30"/>
                  </a:lnTo>
                  <a:cubicBezTo>
                    <a:pt x="569" y="30"/>
                    <a:pt x="725" y="186"/>
                    <a:pt x="725" y="378"/>
                  </a:cubicBezTo>
                  <a:cubicBezTo>
                    <a:pt x="725" y="570"/>
                    <a:pt x="569" y="726"/>
                    <a:pt x="377" y="726"/>
                  </a:cubicBezTo>
                  <a:cubicBezTo>
                    <a:pt x="185" y="726"/>
                    <a:pt x="29" y="570"/>
                    <a:pt x="29" y="378"/>
                  </a:cubicBezTo>
                  <a:cubicBezTo>
                    <a:pt x="29" y="186"/>
                    <a:pt x="185" y="30"/>
                    <a:pt x="377" y="30"/>
                  </a:cubicBezTo>
                  <a:close/>
                  <a:moveTo>
                    <a:pt x="377" y="0"/>
                  </a:moveTo>
                  <a:lnTo>
                    <a:pt x="377" y="0"/>
                  </a:lnTo>
                  <a:cubicBezTo>
                    <a:pt x="169" y="0"/>
                    <a:pt x="0" y="169"/>
                    <a:pt x="0" y="378"/>
                  </a:cubicBezTo>
                  <a:cubicBezTo>
                    <a:pt x="0" y="586"/>
                    <a:pt x="169" y="755"/>
                    <a:pt x="377" y="755"/>
                  </a:cubicBezTo>
                  <a:cubicBezTo>
                    <a:pt x="586" y="755"/>
                    <a:pt x="755" y="586"/>
                    <a:pt x="755" y="378"/>
                  </a:cubicBezTo>
                  <a:cubicBezTo>
                    <a:pt x="755" y="169"/>
                    <a:pt x="586" y="0"/>
                    <a:pt x="3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18">
              <a:extLst>
                <a:ext uri="{FF2B5EF4-FFF2-40B4-BE49-F238E27FC236}">
                  <a16:creationId xmlns:a16="http://schemas.microsoft.com/office/drawing/2014/main" id="{35E979DE-FE0C-4AAF-AAB9-508A498D1103}"/>
                </a:ext>
              </a:extLst>
            </p:cNvPr>
            <p:cNvSpPr>
              <a:spLocks noEditPoints="1"/>
            </p:cNvSpPr>
            <p:nvPr/>
          </p:nvSpPr>
          <p:spPr bwMode="auto">
            <a:xfrm>
              <a:off x="6269038" y="3173413"/>
              <a:ext cx="442913" cy="522288"/>
            </a:xfrm>
            <a:custGeom>
              <a:avLst/>
              <a:gdLst>
                <a:gd name="T0" fmla="*/ 360 w 462"/>
                <a:gd name="T1" fmla="*/ 65 h 539"/>
                <a:gd name="T2" fmla="*/ 107 w 462"/>
                <a:gd name="T3" fmla="*/ 65 h 539"/>
                <a:gd name="T4" fmla="*/ 26 w 462"/>
                <a:gd name="T5" fmla="*/ 299 h 539"/>
                <a:gd name="T6" fmla="*/ 231 w 462"/>
                <a:gd name="T7" fmla="*/ 539 h 539"/>
                <a:gd name="T8" fmla="*/ 436 w 462"/>
                <a:gd name="T9" fmla="*/ 299 h 539"/>
                <a:gd name="T10" fmla="*/ 55 w 462"/>
                <a:gd name="T11" fmla="*/ 369 h 539"/>
                <a:gd name="T12" fmla="*/ 129 w 462"/>
                <a:gd name="T13" fmla="*/ 330 h 539"/>
                <a:gd name="T14" fmla="*/ 83 w 462"/>
                <a:gd name="T15" fmla="*/ 337 h 539"/>
                <a:gd name="T16" fmla="*/ 92 w 462"/>
                <a:gd name="T17" fmla="*/ 245 h 539"/>
                <a:gd name="T18" fmla="*/ 136 w 462"/>
                <a:gd name="T19" fmla="*/ 277 h 539"/>
                <a:gd name="T20" fmla="*/ 117 w 462"/>
                <a:gd name="T21" fmla="*/ 192 h 539"/>
                <a:gd name="T22" fmla="*/ 91 w 462"/>
                <a:gd name="T23" fmla="*/ 183 h 539"/>
                <a:gd name="T24" fmla="*/ 56 w 462"/>
                <a:gd name="T25" fmla="*/ 135 h 539"/>
                <a:gd name="T26" fmla="*/ 85 w 462"/>
                <a:gd name="T27" fmla="*/ 209 h 539"/>
                <a:gd name="T28" fmla="*/ 27 w 462"/>
                <a:gd name="T29" fmla="*/ 205 h 539"/>
                <a:gd name="T30" fmla="*/ 175 w 462"/>
                <a:gd name="T31" fmla="*/ 133 h 539"/>
                <a:gd name="T32" fmla="*/ 217 w 462"/>
                <a:gd name="T33" fmla="*/ 28 h 539"/>
                <a:gd name="T34" fmla="*/ 190 w 462"/>
                <a:gd name="T35" fmla="*/ 47 h 539"/>
                <a:gd name="T36" fmla="*/ 195 w 462"/>
                <a:gd name="T37" fmla="*/ 90 h 539"/>
                <a:gd name="T38" fmla="*/ 212 w 462"/>
                <a:gd name="T39" fmla="*/ 128 h 539"/>
                <a:gd name="T40" fmla="*/ 152 w 462"/>
                <a:gd name="T41" fmla="*/ 152 h 539"/>
                <a:gd name="T42" fmla="*/ 156 w 462"/>
                <a:gd name="T43" fmla="*/ 180 h 539"/>
                <a:gd name="T44" fmla="*/ 217 w 462"/>
                <a:gd name="T45" fmla="*/ 297 h 539"/>
                <a:gd name="T46" fmla="*/ 167 w 462"/>
                <a:gd name="T47" fmla="*/ 222 h 539"/>
                <a:gd name="T48" fmla="*/ 181 w 462"/>
                <a:gd name="T49" fmla="*/ 284 h 539"/>
                <a:gd name="T50" fmla="*/ 151 w 462"/>
                <a:gd name="T51" fmla="*/ 363 h 539"/>
                <a:gd name="T52" fmla="*/ 198 w 462"/>
                <a:gd name="T53" fmla="*/ 330 h 539"/>
                <a:gd name="T54" fmla="*/ 175 w 462"/>
                <a:gd name="T55" fmla="*/ 492 h 539"/>
                <a:gd name="T56" fmla="*/ 206 w 462"/>
                <a:gd name="T57" fmla="*/ 460 h 539"/>
                <a:gd name="T58" fmla="*/ 154 w 462"/>
                <a:gd name="T59" fmla="*/ 464 h 539"/>
                <a:gd name="T60" fmla="*/ 168 w 462"/>
                <a:gd name="T61" fmla="*/ 418 h 539"/>
                <a:gd name="T62" fmla="*/ 175 w 462"/>
                <a:gd name="T63" fmla="*/ 390 h 539"/>
                <a:gd name="T64" fmla="*/ 116 w 462"/>
                <a:gd name="T65" fmla="*/ 369 h 539"/>
                <a:gd name="T66" fmla="*/ 122 w 462"/>
                <a:gd name="T67" fmla="*/ 438 h 539"/>
                <a:gd name="T68" fmla="*/ 340 w 462"/>
                <a:gd name="T69" fmla="*/ 438 h 539"/>
                <a:gd name="T70" fmla="*/ 304 w 462"/>
                <a:gd name="T71" fmla="*/ 410 h 539"/>
                <a:gd name="T72" fmla="*/ 245 w 462"/>
                <a:gd name="T73" fmla="*/ 280 h 539"/>
                <a:gd name="T74" fmla="*/ 278 w 462"/>
                <a:gd name="T75" fmla="*/ 301 h 539"/>
                <a:gd name="T76" fmla="*/ 253 w 462"/>
                <a:gd name="T77" fmla="*/ 378 h 539"/>
                <a:gd name="T78" fmla="*/ 288 w 462"/>
                <a:gd name="T79" fmla="*/ 356 h 539"/>
                <a:gd name="T80" fmla="*/ 307 w 462"/>
                <a:gd name="T81" fmla="*/ 337 h 539"/>
                <a:gd name="T82" fmla="*/ 360 w 462"/>
                <a:gd name="T83" fmla="*/ 358 h 539"/>
                <a:gd name="T84" fmla="*/ 338 w 462"/>
                <a:gd name="T85" fmla="*/ 323 h 539"/>
                <a:gd name="T86" fmla="*/ 330 w 462"/>
                <a:gd name="T87" fmla="*/ 280 h 539"/>
                <a:gd name="T88" fmla="*/ 352 w 462"/>
                <a:gd name="T89" fmla="*/ 245 h 539"/>
                <a:gd name="T90" fmla="*/ 245 w 462"/>
                <a:gd name="T91" fmla="*/ 239 h 539"/>
                <a:gd name="T92" fmla="*/ 357 w 462"/>
                <a:gd name="T93" fmla="*/ 203 h 539"/>
                <a:gd name="T94" fmla="*/ 365 w 462"/>
                <a:gd name="T95" fmla="*/ 156 h 539"/>
                <a:gd name="T96" fmla="*/ 316 w 462"/>
                <a:gd name="T97" fmla="*/ 219 h 539"/>
                <a:gd name="T98" fmla="*/ 292 w 462"/>
                <a:gd name="T99" fmla="*/ 194 h 539"/>
                <a:gd name="T100" fmla="*/ 324 w 462"/>
                <a:gd name="T101" fmla="*/ 169 h 539"/>
                <a:gd name="T102" fmla="*/ 300 w 462"/>
                <a:gd name="T103" fmla="*/ 144 h 539"/>
                <a:gd name="T104" fmla="*/ 245 w 462"/>
                <a:gd name="T105" fmla="*/ 174 h 539"/>
                <a:gd name="T106" fmla="*/ 309 w 462"/>
                <a:gd name="T107" fmla="*/ 83 h 539"/>
                <a:gd name="T108" fmla="*/ 360 w 462"/>
                <a:gd name="T109" fmla="*/ 92 h 539"/>
                <a:gd name="T110" fmla="*/ 412 w 462"/>
                <a:gd name="T111" fmla="*/ 248 h 539"/>
                <a:gd name="T112" fmla="*/ 412 w 462"/>
                <a:gd name="T113" fmla="*/ 33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2" h="539">
                  <a:moveTo>
                    <a:pt x="462" y="205"/>
                  </a:moveTo>
                  <a:lnTo>
                    <a:pt x="462" y="205"/>
                  </a:lnTo>
                  <a:cubicBezTo>
                    <a:pt x="462" y="128"/>
                    <a:pt x="416" y="65"/>
                    <a:pt x="360" y="65"/>
                  </a:cubicBezTo>
                  <a:cubicBezTo>
                    <a:pt x="358" y="65"/>
                    <a:pt x="356" y="65"/>
                    <a:pt x="354" y="65"/>
                  </a:cubicBezTo>
                  <a:cubicBezTo>
                    <a:pt x="339" y="27"/>
                    <a:pt x="287" y="0"/>
                    <a:pt x="231" y="0"/>
                  </a:cubicBezTo>
                  <a:cubicBezTo>
                    <a:pt x="174" y="0"/>
                    <a:pt x="123" y="27"/>
                    <a:pt x="107" y="65"/>
                  </a:cubicBezTo>
                  <a:cubicBezTo>
                    <a:pt x="105" y="65"/>
                    <a:pt x="104" y="65"/>
                    <a:pt x="102" y="65"/>
                  </a:cubicBezTo>
                  <a:cubicBezTo>
                    <a:pt x="45" y="65"/>
                    <a:pt x="0" y="128"/>
                    <a:pt x="0" y="205"/>
                  </a:cubicBezTo>
                  <a:cubicBezTo>
                    <a:pt x="0" y="240"/>
                    <a:pt x="9" y="273"/>
                    <a:pt x="26" y="299"/>
                  </a:cubicBezTo>
                  <a:cubicBezTo>
                    <a:pt x="23" y="309"/>
                    <a:pt x="22" y="320"/>
                    <a:pt x="22" y="331"/>
                  </a:cubicBezTo>
                  <a:cubicBezTo>
                    <a:pt x="22" y="399"/>
                    <a:pt x="68" y="458"/>
                    <a:pt x="125" y="467"/>
                  </a:cubicBezTo>
                  <a:cubicBezTo>
                    <a:pt x="138" y="508"/>
                    <a:pt x="181" y="539"/>
                    <a:pt x="231" y="539"/>
                  </a:cubicBezTo>
                  <a:cubicBezTo>
                    <a:pt x="280" y="539"/>
                    <a:pt x="323" y="508"/>
                    <a:pt x="336" y="467"/>
                  </a:cubicBezTo>
                  <a:cubicBezTo>
                    <a:pt x="394" y="458"/>
                    <a:pt x="440" y="399"/>
                    <a:pt x="440" y="331"/>
                  </a:cubicBezTo>
                  <a:cubicBezTo>
                    <a:pt x="440" y="320"/>
                    <a:pt x="438" y="309"/>
                    <a:pt x="436" y="299"/>
                  </a:cubicBezTo>
                  <a:cubicBezTo>
                    <a:pt x="453" y="273"/>
                    <a:pt x="462" y="240"/>
                    <a:pt x="462" y="205"/>
                  </a:cubicBezTo>
                  <a:close/>
                  <a:moveTo>
                    <a:pt x="55" y="369"/>
                  </a:moveTo>
                  <a:lnTo>
                    <a:pt x="55" y="369"/>
                  </a:lnTo>
                  <a:cubicBezTo>
                    <a:pt x="58" y="369"/>
                    <a:pt x="60" y="370"/>
                    <a:pt x="62" y="370"/>
                  </a:cubicBezTo>
                  <a:cubicBezTo>
                    <a:pt x="73" y="370"/>
                    <a:pt x="85" y="367"/>
                    <a:pt x="95" y="362"/>
                  </a:cubicBezTo>
                  <a:cubicBezTo>
                    <a:pt x="109" y="355"/>
                    <a:pt x="121" y="344"/>
                    <a:pt x="129" y="330"/>
                  </a:cubicBezTo>
                  <a:cubicBezTo>
                    <a:pt x="133" y="324"/>
                    <a:pt x="131" y="316"/>
                    <a:pt x="125" y="312"/>
                  </a:cubicBezTo>
                  <a:cubicBezTo>
                    <a:pt x="118" y="308"/>
                    <a:pt x="110" y="310"/>
                    <a:pt x="106" y="316"/>
                  </a:cubicBezTo>
                  <a:cubicBezTo>
                    <a:pt x="100" y="325"/>
                    <a:pt x="92" y="333"/>
                    <a:pt x="83" y="337"/>
                  </a:cubicBezTo>
                  <a:cubicBezTo>
                    <a:pt x="72" y="343"/>
                    <a:pt x="60" y="344"/>
                    <a:pt x="50" y="340"/>
                  </a:cubicBezTo>
                  <a:cubicBezTo>
                    <a:pt x="49" y="337"/>
                    <a:pt x="49" y="334"/>
                    <a:pt x="49" y="331"/>
                  </a:cubicBezTo>
                  <a:cubicBezTo>
                    <a:pt x="49" y="294"/>
                    <a:pt x="66" y="262"/>
                    <a:pt x="92" y="245"/>
                  </a:cubicBezTo>
                  <a:cubicBezTo>
                    <a:pt x="98" y="258"/>
                    <a:pt x="106" y="270"/>
                    <a:pt x="117" y="279"/>
                  </a:cubicBezTo>
                  <a:cubicBezTo>
                    <a:pt x="119" y="281"/>
                    <a:pt x="122" y="282"/>
                    <a:pt x="125" y="282"/>
                  </a:cubicBezTo>
                  <a:cubicBezTo>
                    <a:pt x="129" y="282"/>
                    <a:pt x="133" y="280"/>
                    <a:pt x="136" y="277"/>
                  </a:cubicBezTo>
                  <a:cubicBezTo>
                    <a:pt x="141" y="271"/>
                    <a:pt x="140" y="263"/>
                    <a:pt x="134" y="258"/>
                  </a:cubicBezTo>
                  <a:cubicBezTo>
                    <a:pt x="126" y="251"/>
                    <a:pt x="120" y="243"/>
                    <a:pt x="116" y="232"/>
                  </a:cubicBezTo>
                  <a:cubicBezTo>
                    <a:pt x="111" y="219"/>
                    <a:pt x="111" y="204"/>
                    <a:pt x="117" y="192"/>
                  </a:cubicBezTo>
                  <a:cubicBezTo>
                    <a:pt x="120" y="185"/>
                    <a:pt x="116" y="177"/>
                    <a:pt x="109" y="174"/>
                  </a:cubicBezTo>
                  <a:cubicBezTo>
                    <a:pt x="103" y="171"/>
                    <a:pt x="95" y="174"/>
                    <a:pt x="91" y="181"/>
                  </a:cubicBezTo>
                  <a:cubicBezTo>
                    <a:pt x="91" y="181"/>
                    <a:pt x="91" y="182"/>
                    <a:pt x="91" y="183"/>
                  </a:cubicBezTo>
                  <a:cubicBezTo>
                    <a:pt x="83" y="180"/>
                    <a:pt x="77" y="176"/>
                    <a:pt x="73" y="170"/>
                  </a:cubicBezTo>
                  <a:cubicBezTo>
                    <a:pt x="70" y="164"/>
                    <a:pt x="68" y="157"/>
                    <a:pt x="68" y="150"/>
                  </a:cubicBezTo>
                  <a:cubicBezTo>
                    <a:pt x="69" y="142"/>
                    <a:pt x="63" y="136"/>
                    <a:pt x="56" y="135"/>
                  </a:cubicBezTo>
                  <a:cubicBezTo>
                    <a:pt x="48" y="134"/>
                    <a:pt x="42" y="140"/>
                    <a:pt x="41" y="148"/>
                  </a:cubicBezTo>
                  <a:cubicBezTo>
                    <a:pt x="40" y="161"/>
                    <a:pt x="43" y="174"/>
                    <a:pt x="50" y="185"/>
                  </a:cubicBezTo>
                  <a:cubicBezTo>
                    <a:pt x="58" y="197"/>
                    <a:pt x="71" y="206"/>
                    <a:pt x="85" y="209"/>
                  </a:cubicBezTo>
                  <a:cubicBezTo>
                    <a:pt x="85" y="212"/>
                    <a:pt x="85" y="215"/>
                    <a:pt x="85" y="218"/>
                  </a:cubicBezTo>
                  <a:cubicBezTo>
                    <a:pt x="66" y="228"/>
                    <a:pt x="49" y="244"/>
                    <a:pt x="38" y="265"/>
                  </a:cubicBezTo>
                  <a:cubicBezTo>
                    <a:pt x="31" y="247"/>
                    <a:pt x="27" y="227"/>
                    <a:pt x="27" y="205"/>
                  </a:cubicBezTo>
                  <a:cubicBezTo>
                    <a:pt x="27" y="143"/>
                    <a:pt x="61" y="92"/>
                    <a:pt x="102" y="92"/>
                  </a:cubicBezTo>
                  <a:cubicBezTo>
                    <a:pt x="122" y="92"/>
                    <a:pt x="142" y="105"/>
                    <a:pt x="157" y="128"/>
                  </a:cubicBezTo>
                  <a:cubicBezTo>
                    <a:pt x="160" y="135"/>
                    <a:pt x="169" y="137"/>
                    <a:pt x="175" y="133"/>
                  </a:cubicBezTo>
                  <a:cubicBezTo>
                    <a:pt x="182" y="129"/>
                    <a:pt x="184" y="120"/>
                    <a:pt x="180" y="114"/>
                  </a:cubicBezTo>
                  <a:cubicBezTo>
                    <a:pt x="168" y="94"/>
                    <a:pt x="152" y="80"/>
                    <a:pt x="134" y="72"/>
                  </a:cubicBezTo>
                  <a:cubicBezTo>
                    <a:pt x="146" y="49"/>
                    <a:pt x="180" y="32"/>
                    <a:pt x="217" y="28"/>
                  </a:cubicBezTo>
                  <a:lnTo>
                    <a:pt x="217" y="69"/>
                  </a:lnTo>
                  <a:cubicBezTo>
                    <a:pt x="214" y="68"/>
                    <a:pt x="211" y="67"/>
                    <a:pt x="208" y="66"/>
                  </a:cubicBezTo>
                  <a:cubicBezTo>
                    <a:pt x="200" y="62"/>
                    <a:pt x="194" y="55"/>
                    <a:pt x="190" y="47"/>
                  </a:cubicBezTo>
                  <a:cubicBezTo>
                    <a:pt x="187" y="40"/>
                    <a:pt x="179" y="37"/>
                    <a:pt x="172" y="40"/>
                  </a:cubicBezTo>
                  <a:cubicBezTo>
                    <a:pt x="165" y="44"/>
                    <a:pt x="162" y="52"/>
                    <a:pt x="165" y="59"/>
                  </a:cubicBezTo>
                  <a:cubicBezTo>
                    <a:pt x="171" y="72"/>
                    <a:pt x="182" y="83"/>
                    <a:pt x="195" y="90"/>
                  </a:cubicBezTo>
                  <a:cubicBezTo>
                    <a:pt x="202" y="94"/>
                    <a:pt x="210" y="96"/>
                    <a:pt x="217" y="96"/>
                  </a:cubicBezTo>
                  <a:lnTo>
                    <a:pt x="217" y="131"/>
                  </a:lnTo>
                  <a:cubicBezTo>
                    <a:pt x="216" y="130"/>
                    <a:pt x="214" y="128"/>
                    <a:pt x="212" y="128"/>
                  </a:cubicBezTo>
                  <a:cubicBezTo>
                    <a:pt x="206" y="124"/>
                    <a:pt x="197" y="128"/>
                    <a:pt x="194" y="134"/>
                  </a:cubicBezTo>
                  <a:cubicBezTo>
                    <a:pt x="192" y="139"/>
                    <a:pt x="189" y="142"/>
                    <a:pt x="183" y="146"/>
                  </a:cubicBezTo>
                  <a:cubicBezTo>
                    <a:pt x="175" y="151"/>
                    <a:pt x="163" y="153"/>
                    <a:pt x="152" y="152"/>
                  </a:cubicBezTo>
                  <a:cubicBezTo>
                    <a:pt x="145" y="152"/>
                    <a:pt x="138" y="158"/>
                    <a:pt x="138" y="165"/>
                  </a:cubicBezTo>
                  <a:cubicBezTo>
                    <a:pt x="137" y="173"/>
                    <a:pt x="143" y="179"/>
                    <a:pt x="150" y="180"/>
                  </a:cubicBezTo>
                  <a:cubicBezTo>
                    <a:pt x="152" y="180"/>
                    <a:pt x="154" y="180"/>
                    <a:pt x="156" y="180"/>
                  </a:cubicBezTo>
                  <a:cubicBezTo>
                    <a:pt x="171" y="180"/>
                    <a:pt x="185" y="176"/>
                    <a:pt x="197" y="169"/>
                  </a:cubicBezTo>
                  <a:cubicBezTo>
                    <a:pt x="206" y="164"/>
                    <a:pt x="213" y="157"/>
                    <a:pt x="217" y="149"/>
                  </a:cubicBezTo>
                  <a:lnTo>
                    <a:pt x="217" y="297"/>
                  </a:lnTo>
                  <a:cubicBezTo>
                    <a:pt x="215" y="297"/>
                    <a:pt x="212" y="297"/>
                    <a:pt x="210" y="298"/>
                  </a:cubicBezTo>
                  <a:cubicBezTo>
                    <a:pt x="210" y="291"/>
                    <a:pt x="209" y="284"/>
                    <a:pt x="208" y="278"/>
                  </a:cubicBezTo>
                  <a:cubicBezTo>
                    <a:pt x="202" y="256"/>
                    <a:pt x="188" y="237"/>
                    <a:pt x="167" y="222"/>
                  </a:cubicBezTo>
                  <a:cubicBezTo>
                    <a:pt x="161" y="218"/>
                    <a:pt x="153" y="219"/>
                    <a:pt x="148" y="225"/>
                  </a:cubicBezTo>
                  <a:cubicBezTo>
                    <a:pt x="144" y="231"/>
                    <a:pt x="146" y="240"/>
                    <a:pt x="152" y="244"/>
                  </a:cubicBezTo>
                  <a:cubicBezTo>
                    <a:pt x="167" y="255"/>
                    <a:pt x="178" y="269"/>
                    <a:pt x="181" y="284"/>
                  </a:cubicBezTo>
                  <a:cubicBezTo>
                    <a:pt x="184" y="293"/>
                    <a:pt x="183" y="302"/>
                    <a:pt x="179" y="309"/>
                  </a:cubicBezTo>
                  <a:cubicBezTo>
                    <a:pt x="165" y="318"/>
                    <a:pt x="153" y="331"/>
                    <a:pt x="145" y="345"/>
                  </a:cubicBezTo>
                  <a:cubicBezTo>
                    <a:pt x="142" y="352"/>
                    <a:pt x="145" y="360"/>
                    <a:pt x="151" y="363"/>
                  </a:cubicBezTo>
                  <a:cubicBezTo>
                    <a:pt x="153" y="365"/>
                    <a:pt x="155" y="365"/>
                    <a:pt x="158" y="365"/>
                  </a:cubicBezTo>
                  <a:cubicBezTo>
                    <a:pt x="162" y="365"/>
                    <a:pt x="167" y="362"/>
                    <a:pt x="170" y="358"/>
                  </a:cubicBezTo>
                  <a:cubicBezTo>
                    <a:pt x="176" y="346"/>
                    <a:pt x="186" y="336"/>
                    <a:pt x="198" y="330"/>
                  </a:cubicBezTo>
                  <a:cubicBezTo>
                    <a:pt x="204" y="327"/>
                    <a:pt x="211" y="325"/>
                    <a:pt x="217" y="324"/>
                  </a:cubicBezTo>
                  <a:lnTo>
                    <a:pt x="217" y="511"/>
                  </a:lnTo>
                  <a:cubicBezTo>
                    <a:pt x="201" y="508"/>
                    <a:pt x="187" y="501"/>
                    <a:pt x="175" y="492"/>
                  </a:cubicBezTo>
                  <a:cubicBezTo>
                    <a:pt x="174" y="488"/>
                    <a:pt x="174" y="480"/>
                    <a:pt x="179" y="476"/>
                  </a:cubicBezTo>
                  <a:cubicBezTo>
                    <a:pt x="183" y="473"/>
                    <a:pt x="188" y="472"/>
                    <a:pt x="192" y="473"/>
                  </a:cubicBezTo>
                  <a:cubicBezTo>
                    <a:pt x="199" y="473"/>
                    <a:pt x="206" y="467"/>
                    <a:pt x="206" y="460"/>
                  </a:cubicBezTo>
                  <a:cubicBezTo>
                    <a:pt x="207" y="452"/>
                    <a:pt x="201" y="446"/>
                    <a:pt x="193" y="445"/>
                  </a:cubicBezTo>
                  <a:cubicBezTo>
                    <a:pt x="181" y="444"/>
                    <a:pt x="170" y="448"/>
                    <a:pt x="161" y="455"/>
                  </a:cubicBezTo>
                  <a:cubicBezTo>
                    <a:pt x="158" y="458"/>
                    <a:pt x="156" y="461"/>
                    <a:pt x="154" y="464"/>
                  </a:cubicBezTo>
                  <a:cubicBezTo>
                    <a:pt x="151" y="457"/>
                    <a:pt x="149" y="450"/>
                    <a:pt x="149" y="442"/>
                  </a:cubicBezTo>
                  <a:cubicBezTo>
                    <a:pt x="149" y="433"/>
                    <a:pt x="151" y="424"/>
                    <a:pt x="154" y="416"/>
                  </a:cubicBezTo>
                  <a:cubicBezTo>
                    <a:pt x="159" y="417"/>
                    <a:pt x="164" y="418"/>
                    <a:pt x="168" y="418"/>
                  </a:cubicBezTo>
                  <a:cubicBezTo>
                    <a:pt x="172" y="418"/>
                    <a:pt x="176" y="417"/>
                    <a:pt x="180" y="417"/>
                  </a:cubicBezTo>
                  <a:cubicBezTo>
                    <a:pt x="187" y="415"/>
                    <a:pt x="192" y="408"/>
                    <a:pt x="191" y="401"/>
                  </a:cubicBezTo>
                  <a:cubicBezTo>
                    <a:pt x="190" y="393"/>
                    <a:pt x="182" y="389"/>
                    <a:pt x="175" y="390"/>
                  </a:cubicBezTo>
                  <a:cubicBezTo>
                    <a:pt x="169" y="391"/>
                    <a:pt x="162" y="391"/>
                    <a:pt x="155" y="388"/>
                  </a:cubicBezTo>
                  <a:cubicBezTo>
                    <a:pt x="146" y="386"/>
                    <a:pt x="138" y="380"/>
                    <a:pt x="134" y="373"/>
                  </a:cubicBezTo>
                  <a:cubicBezTo>
                    <a:pt x="130" y="367"/>
                    <a:pt x="122" y="365"/>
                    <a:pt x="116" y="369"/>
                  </a:cubicBezTo>
                  <a:cubicBezTo>
                    <a:pt x="109" y="372"/>
                    <a:pt x="107" y="381"/>
                    <a:pt x="111" y="387"/>
                  </a:cubicBezTo>
                  <a:cubicBezTo>
                    <a:pt x="115" y="395"/>
                    <a:pt x="122" y="401"/>
                    <a:pt x="129" y="406"/>
                  </a:cubicBezTo>
                  <a:cubicBezTo>
                    <a:pt x="125" y="416"/>
                    <a:pt x="122" y="427"/>
                    <a:pt x="122" y="438"/>
                  </a:cubicBezTo>
                  <a:cubicBezTo>
                    <a:pt x="91" y="430"/>
                    <a:pt x="66" y="403"/>
                    <a:pt x="55" y="369"/>
                  </a:cubicBezTo>
                  <a:close/>
                  <a:moveTo>
                    <a:pt x="340" y="438"/>
                  </a:moveTo>
                  <a:lnTo>
                    <a:pt x="340" y="438"/>
                  </a:lnTo>
                  <a:cubicBezTo>
                    <a:pt x="339" y="423"/>
                    <a:pt x="335" y="409"/>
                    <a:pt x="327" y="396"/>
                  </a:cubicBezTo>
                  <a:cubicBezTo>
                    <a:pt x="323" y="389"/>
                    <a:pt x="315" y="387"/>
                    <a:pt x="309" y="391"/>
                  </a:cubicBezTo>
                  <a:cubicBezTo>
                    <a:pt x="302" y="395"/>
                    <a:pt x="300" y="403"/>
                    <a:pt x="304" y="410"/>
                  </a:cubicBezTo>
                  <a:cubicBezTo>
                    <a:pt x="310" y="419"/>
                    <a:pt x="313" y="431"/>
                    <a:pt x="313" y="442"/>
                  </a:cubicBezTo>
                  <a:cubicBezTo>
                    <a:pt x="313" y="475"/>
                    <a:pt x="282" y="505"/>
                    <a:pt x="245" y="511"/>
                  </a:cubicBezTo>
                  <a:lnTo>
                    <a:pt x="245" y="280"/>
                  </a:lnTo>
                  <a:lnTo>
                    <a:pt x="282" y="280"/>
                  </a:lnTo>
                  <a:lnTo>
                    <a:pt x="292" y="301"/>
                  </a:lnTo>
                  <a:lnTo>
                    <a:pt x="278" y="301"/>
                  </a:lnTo>
                  <a:cubicBezTo>
                    <a:pt x="273" y="301"/>
                    <a:pt x="268" y="306"/>
                    <a:pt x="268" y="311"/>
                  </a:cubicBezTo>
                  <a:lnTo>
                    <a:pt x="268" y="355"/>
                  </a:lnTo>
                  <a:cubicBezTo>
                    <a:pt x="259" y="359"/>
                    <a:pt x="253" y="367"/>
                    <a:pt x="253" y="378"/>
                  </a:cubicBezTo>
                  <a:cubicBezTo>
                    <a:pt x="253" y="391"/>
                    <a:pt x="264" y="402"/>
                    <a:pt x="277" y="402"/>
                  </a:cubicBezTo>
                  <a:cubicBezTo>
                    <a:pt x="291" y="402"/>
                    <a:pt x="302" y="391"/>
                    <a:pt x="302" y="378"/>
                  </a:cubicBezTo>
                  <a:cubicBezTo>
                    <a:pt x="302" y="368"/>
                    <a:pt x="296" y="360"/>
                    <a:pt x="288" y="356"/>
                  </a:cubicBezTo>
                  <a:lnTo>
                    <a:pt x="288" y="321"/>
                  </a:lnTo>
                  <a:lnTo>
                    <a:pt x="300" y="321"/>
                  </a:lnTo>
                  <a:lnTo>
                    <a:pt x="307" y="337"/>
                  </a:lnTo>
                  <a:cubicBezTo>
                    <a:pt x="309" y="340"/>
                    <a:pt x="312" y="342"/>
                    <a:pt x="316" y="342"/>
                  </a:cubicBezTo>
                  <a:lnTo>
                    <a:pt x="337" y="342"/>
                  </a:lnTo>
                  <a:cubicBezTo>
                    <a:pt x="341" y="351"/>
                    <a:pt x="350" y="358"/>
                    <a:pt x="360" y="358"/>
                  </a:cubicBezTo>
                  <a:cubicBezTo>
                    <a:pt x="373" y="358"/>
                    <a:pt x="384" y="347"/>
                    <a:pt x="384" y="333"/>
                  </a:cubicBezTo>
                  <a:cubicBezTo>
                    <a:pt x="384" y="320"/>
                    <a:pt x="373" y="309"/>
                    <a:pt x="360" y="309"/>
                  </a:cubicBezTo>
                  <a:cubicBezTo>
                    <a:pt x="350" y="309"/>
                    <a:pt x="342" y="314"/>
                    <a:pt x="338" y="323"/>
                  </a:cubicBezTo>
                  <a:lnTo>
                    <a:pt x="323" y="323"/>
                  </a:lnTo>
                  <a:lnTo>
                    <a:pt x="304" y="280"/>
                  </a:lnTo>
                  <a:lnTo>
                    <a:pt x="330" y="280"/>
                  </a:lnTo>
                  <a:cubicBezTo>
                    <a:pt x="333" y="288"/>
                    <a:pt x="342" y="294"/>
                    <a:pt x="352" y="294"/>
                  </a:cubicBezTo>
                  <a:cubicBezTo>
                    <a:pt x="365" y="294"/>
                    <a:pt x="376" y="283"/>
                    <a:pt x="376" y="270"/>
                  </a:cubicBezTo>
                  <a:cubicBezTo>
                    <a:pt x="376" y="256"/>
                    <a:pt x="365" y="245"/>
                    <a:pt x="352" y="245"/>
                  </a:cubicBezTo>
                  <a:cubicBezTo>
                    <a:pt x="342" y="245"/>
                    <a:pt x="333" y="251"/>
                    <a:pt x="330" y="260"/>
                  </a:cubicBezTo>
                  <a:lnTo>
                    <a:pt x="245" y="260"/>
                  </a:lnTo>
                  <a:lnTo>
                    <a:pt x="245" y="239"/>
                  </a:lnTo>
                  <a:lnTo>
                    <a:pt x="320" y="239"/>
                  </a:lnTo>
                  <a:cubicBezTo>
                    <a:pt x="323" y="239"/>
                    <a:pt x="326" y="237"/>
                    <a:pt x="328" y="235"/>
                  </a:cubicBezTo>
                  <a:lnTo>
                    <a:pt x="357" y="203"/>
                  </a:lnTo>
                  <a:cubicBezTo>
                    <a:pt x="360" y="204"/>
                    <a:pt x="362" y="205"/>
                    <a:pt x="365" y="205"/>
                  </a:cubicBezTo>
                  <a:cubicBezTo>
                    <a:pt x="378" y="205"/>
                    <a:pt x="389" y="194"/>
                    <a:pt x="389" y="180"/>
                  </a:cubicBezTo>
                  <a:cubicBezTo>
                    <a:pt x="389" y="167"/>
                    <a:pt x="378" y="156"/>
                    <a:pt x="365" y="156"/>
                  </a:cubicBezTo>
                  <a:cubicBezTo>
                    <a:pt x="351" y="156"/>
                    <a:pt x="340" y="167"/>
                    <a:pt x="340" y="180"/>
                  </a:cubicBezTo>
                  <a:cubicBezTo>
                    <a:pt x="340" y="184"/>
                    <a:pt x="341" y="187"/>
                    <a:pt x="343" y="190"/>
                  </a:cubicBezTo>
                  <a:lnTo>
                    <a:pt x="316" y="219"/>
                  </a:lnTo>
                  <a:lnTo>
                    <a:pt x="245" y="219"/>
                  </a:lnTo>
                  <a:lnTo>
                    <a:pt x="245" y="194"/>
                  </a:lnTo>
                  <a:lnTo>
                    <a:pt x="292" y="194"/>
                  </a:lnTo>
                  <a:cubicBezTo>
                    <a:pt x="295" y="194"/>
                    <a:pt x="298" y="193"/>
                    <a:pt x="300" y="191"/>
                  </a:cubicBezTo>
                  <a:lnTo>
                    <a:pt x="319" y="168"/>
                  </a:lnTo>
                  <a:cubicBezTo>
                    <a:pt x="321" y="169"/>
                    <a:pt x="323" y="169"/>
                    <a:pt x="324" y="169"/>
                  </a:cubicBezTo>
                  <a:cubicBezTo>
                    <a:pt x="338" y="169"/>
                    <a:pt x="349" y="158"/>
                    <a:pt x="349" y="144"/>
                  </a:cubicBezTo>
                  <a:cubicBezTo>
                    <a:pt x="349" y="131"/>
                    <a:pt x="338" y="120"/>
                    <a:pt x="324" y="120"/>
                  </a:cubicBezTo>
                  <a:cubicBezTo>
                    <a:pt x="311" y="120"/>
                    <a:pt x="300" y="131"/>
                    <a:pt x="300" y="144"/>
                  </a:cubicBezTo>
                  <a:cubicBezTo>
                    <a:pt x="300" y="149"/>
                    <a:pt x="301" y="153"/>
                    <a:pt x="303" y="156"/>
                  </a:cubicBezTo>
                  <a:lnTo>
                    <a:pt x="287" y="174"/>
                  </a:lnTo>
                  <a:lnTo>
                    <a:pt x="245" y="174"/>
                  </a:lnTo>
                  <a:lnTo>
                    <a:pt x="245" y="28"/>
                  </a:lnTo>
                  <a:cubicBezTo>
                    <a:pt x="282" y="32"/>
                    <a:pt x="316" y="49"/>
                    <a:pt x="328" y="72"/>
                  </a:cubicBezTo>
                  <a:cubicBezTo>
                    <a:pt x="321" y="75"/>
                    <a:pt x="315" y="79"/>
                    <a:pt x="309" y="83"/>
                  </a:cubicBezTo>
                  <a:cubicBezTo>
                    <a:pt x="303" y="88"/>
                    <a:pt x="302" y="97"/>
                    <a:pt x="306" y="102"/>
                  </a:cubicBezTo>
                  <a:cubicBezTo>
                    <a:pt x="311" y="108"/>
                    <a:pt x="320" y="109"/>
                    <a:pt x="326" y="105"/>
                  </a:cubicBezTo>
                  <a:cubicBezTo>
                    <a:pt x="336" y="96"/>
                    <a:pt x="348" y="92"/>
                    <a:pt x="360" y="92"/>
                  </a:cubicBezTo>
                  <a:cubicBezTo>
                    <a:pt x="401" y="92"/>
                    <a:pt x="435" y="143"/>
                    <a:pt x="435" y="205"/>
                  </a:cubicBezTo>
                  <a:cubicBezTo>
                    <a:pt x="435" y="227"/>
                    <a:pt x="431" y="247"/>
                    <a:pt x="423" y="265"/>
                  </a:cubicBezTo>
                  <a:cubicBezTo>
                    <a:pt x="420" y="259"/>
                    <a:pt x="417" y="253"/>
                    <a:pt x="412" y="248"/>
                  </a:cubicBezTo>
                  <a:cubicBezTo>
                    <a:pt x="408" y="242"/>
                    <a:pt x="399" y="241"/>
                    <a:pt x="393" y="245"/>
                  </a:cubicBezTo>
                  <a:cubicBezTo>
                    <a:pt x="387" y="250"/>
                    <a:pt x="386" y="258"/>
                    <a:pt x="391" y="264"/>
                  </a:cubicBezTo>
                  <a:cubicBezTo>
                    <a:pt x="405" y="282"/>
                    <a:pt x="412" y="306"/>
                    <a:pt x="412" y="331"/>
                  </a:cubicBezTo>
                  <a:cubicBezTo>
                    <a:pt x="412" y="382"/>
                    <a:pt x="381" y="427"/>
                    <a:pt x="340" y="43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1" name="Group 210">
            <a:extLst>
              <a:ext uri="{FF2B5EF4-FFF2-40B4-BE49-F238E27FC236}">
                <a16:creationId xmlns:a16="http://schemas.microsoft.com/office/drawing/2014/main" id="{54D879F8-7675-4552-A011-5933C4F7458B}"/>
              </a:ext>
            </a:extLst>
          </p:cNvPr>
          <p:cNvGrpSpPr/>
          <p:nvPr/>
        </p:nvGrpSpPr>
        <p:grpSpPr>
          <a:xfrm>
            <a:off x="5345164" y="2516324"/>
            <a:ext cx="365760" cy="365760"/>
            <a:chOff x="6119813" y="4164013"/>
            <a:chExt cx="727075" cy="731838"/>
          </a:xfrm>
          <a:solidFill>
            <a:schemeClr val="bg2"/>
          </a:solidFill>
        </p:grpSpPr>
        <p:sp>
          <p:nvSpPr>
            <p:cNvPr id="212" name="Freeform 22">
              <a:extLst>
                <a:ext uri="{FF2B5EF4-FFF2-40B4-BE49-F238E27FC236}">
                  <a16:creationId xmlns:a16="http://schemas.microsoft.com/office/drawing/2014/main" id="{F07471EE-6DBC-43CD-AF60-71E9C696EE4E}"/>
                </a:ext>
              </a:extLst>
            </p:cNvPr>
            <p:cNvSpPr>
              <a:spLocks/>
            </p:cNvSpPr>
            <p:nvPr/>
          </p:nvSpPr>
          <p:spPr bwMode="auto">
            <a:xfrm>
              <a:off x="6292851" y="4264025"/>
              <a:ext cx="330200" cy="190500"/>
            </a:xfrm>
            <a:custGeom>
              <a:avLst/>
              <a:gdLst>
                <a:gd name="T0" fmla="*/ 9 w 343"/>
                <a:gd name="T1" fmla="*/ 142 h 197"/>
                <a:gd name="T2" fmla="*/ 9 w 343"/>
                <a:gd name="T3" fmla="*/ 142 h 197"/>
                <a:gd name="T4" fmla="*/ 25 w 343"/>
                <a:gd name="T5" fmla="*/ 135 h 197"/>
                <a:gd name="T6" fmla="*/ 41 w 343"/>
                <a:gd name="T7" fmla="*/ 119 h 197"/>
                <a:gd name="T8" fmla="*/ 43 w 343"/>
                <a:gd name="T9" fmla="*/ 116 h 197"/>
                <a:gd name="T10" fmla="*/ 186 w 343"/>
                <a:gd name="T11" fmla="*/ 25 h 197"/>
                <a:gd name="T12" fmla="*/ 308 w 343"/>
                <a:gd name="T13" fmla="*/ 155 h 197"/>
                <a:gd name="T14" fmla="*/ 310 w 343"/>
                <a:gd name="T15" fmla="*/ 160 h 197"/>
                <a:gd name="T16" fmla="*/ 325 w 343"/>
                <a:gd name="T17" fmla="*/ 195 h 197"/>
                <a:gd name="T18" fmla="*/ 331 w 343"/>
                <a:gd name="T19" fmla="*/ 197 h 197"/>
                <a:gd name="T20" fmla="*/ 340 w 343"/>
                <a:gd name="T21" fmla="*/ 193 h 197"/>
                <a:gd name="T22" fmla="*/ 338 w 343"/>
                <a:gd name="T23" fmla="*/ 179 h 197"/>
                <a:gd name="T24" fmla="*/ 330 w 343"/>
                <a:gd name="T25" fmla="*/ 155 h 197"/>
                <a:gd name="T26" fmla="*/ 329 w 343"/>
                <a:gd name="T27" fmla="*/ 153 h 197"/>
                <a:gd name="T28" fmla="*/ 328 w 343"/>
                <a:gd name="T29" fmla="*/ 150 h 197"/>
                <a:gd name="T30" fmla="*/ 296 w 343"/>
                <a:gd name="T31" fmla="*/ 71 h 197"/>
                <a:gd name="T32" fmla="*/ 188 w 343"/>
                <a:gd name="T33" fmla="*/ 4 h 197"/>
                <a:gd name="T34" fmla="*/ 188 w 343"/>
                <a:gd name="T35" fmla="*/ 4 h 197"/>
                <a:gd name="T36" fmla="*/ 27 w 343"/>
                <a:gd name="T37" fmla="*/ 103 h 197"/>
                <a:gd name="T38" fmla="*/ 24 w 343"/>
                <a:gd name="T39" fmla="*/ 107 h 197"/>
                <a:gd name="T40" fmla="*/ 8 w 343"/>
                <a:gd name="T41" fmla="*/ 122 h 197"/>
                <a:gd name="T42" fmla="*/ 5 w 343"/>
                <a:gd name="T43" fmla="*/ 123 h 197"/>
                <a:gd name="T44" fmla="*/ 1 w 343"/>
                <a:gd name="T45" fmla="*/ 134 h 197"/>
                <a:gd name="T46" fmla="*/ 9 w 343"/>
                <a:gd name="T47" fmla="*/ 14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3" h="197">
                  <a:moveTo>
                    <a:pt x="9" y="142"/>
                  </a:moveTo>
                  <a:lnTo>
                    <a:pt x="9" y="142"/>
                  </a:lnTo>
                  <a:cubicBezTo>
                    <a:pt x="13" y="143"/>
                    <a:pt x="16" y="143"/>
                    <a:pt x="25" y="135"/>
                  </a:cubicBezTo>
                  <a:cubicBezTo>
                    <a:pt x="29" y="132"/>
                    <a:pt x="35" y="127"/>
                    <a:pt x="41" y="119"/>
                  </a:cubicBezTo>
                  <a:lnTo>
                    <a:pt x="43" y="116"/>
                  </a:lnTo>
                  <a:cubicBezTo>
                    <a:pt x="65" y="88"/>
                    <a:pt x="114" y="21"/>
                    <a:pt x="186" y="25"/>
                  </a:cubicBezTo>
                  <a:cubicBezTo>
                    <a:pt x="246" y="29"/>
                    <a:pt x="288" y="74"/>
                    <a:pt x="308" y="155"/>
                  </a:cubicBezTo>
                  <a:cubicBezTo>
                    <a:pt x="309" y="157"/>
                    <a:pt x="309" y="159"/>
                    <a:pt x="310" y="160"/>
                  </a:cubicBezTo>
                  <a:cubicBezTo>
                    <a:pt x="313" y="174"/>
                    <a:pt x="318" y="190"/>
                    <a:pt x="325" y="195"/>
                  </a:cubicBezTo>
                  <a:cubicBezTo>
                    <a:pt x="327" y="197"/>
                    <a:pt x="329" y="197"/>
                    <a:pt x="331" y="197"/>
                  </a:cubicBezTo>
                  <a:cubicBezTo>
                    <a:pt x="335" y="197"/>
                    <a:pt x="338" y="196"/>
                    <a:pt x="340" y="193"/>
                  </a:cubicBezTo>
                  <a:cubicBezTo>
                    <a:pt x="343" y="188"/>
                    <a:pt x="342" y="182"/>
                    <a:pt x="338" y="179"/>
                  </a:cubicBezTo>
                  <a:cubicBezTo>
                    <a:pt x="336" y="176"/>
                    <a:pt x="332" y="165"/>
                    <a:pt x="330" y="155"/>
                  </a:cubicBezTo>
                  <a:cubicBezTo>
                    <a:pt x="330" y="154"/>
                    <a:pt x="329" y="154"/>
                    <a:pt x="329" y="153"/>
                  </a:cubicBezTo>
                  <a:cubicBezTo>
                    <a:pt x="329" y="152"/>
                    <a:pt x="329" y="151"/>
                    <a:pt x="328" y="150"/>
                  </a:cubicBezTo>
                  <a:cubicBezTo>
                    <a:pt x="325" y="137"/>
                    <a:pt x="317" y="103"/>
                    <a:pt x="296" y="71"/>
                  </a:cubicBezTo>
                  <a:cubicBezTo>
                    <a:pt x="269" y="30"/>
                    <a:pt x="233" y="7"/>
                    <a:pt x="188" y="4"/>
                  </a:cubicBezTo>
                  <a:cubicBezTo>
                    <a:pt x="188" y="4"/>
                    <a:pt x="188" y="4"/>
                    <a:pt x="188" y="4"/>
                  </a:cubicBezTo>
                  <a:cubicBezTo>
                    <a:pt x="104" y="0"/>
                    <a:pt x="50" y="72"/>
                    <a:pt x="27" y="103"/>
                  </a:cubicBezTo>
                  <a:lnTo>
                    <a:pt x="24" y="107"/>
                  </a:lnTo>
                  <a:cubicBezTo>
                    <a:pt x="18" y="115"/>
                    <a:pt x="10" y="120"/>
                    <a:pt x="8" y="122"/>
                  </a:cubicBezTo>
                  <a:cubicBezTo>
                    <a:pt x="7" y="122"/>
                    <a:pt x="6" y="123"/>
                    <a:pt x="5" y="123"/>
                  </a:cubicBezTo>
                  <a:cubicBezTo>
                    <a:pt x="2" y="126"/>
                    <a:pt x="0" y="130"/>
                    <a:pt x="1" y="134"/>
                  </a:cubicBezTo>
                  <a:cubicBezTo>
                    <a:pt x="2" y="138"/>
                    <a:pt x="5" y="141"/>
                    <a:pt x="9" y="14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3">
              <a:extLst>
                <a:ext uri="{FF2B5EF4-FFF2-40B4-BE49-F238E27FC236}">
                  <a16:creationId xmlns:a16="http://schemas.microsoft.com/office/drawing/2014/main" id="{DEE090AC-5DBD-4E09-BB2D-F8157F24F2D6}"/>
                </a:ext>
              </a:extLst>
            </p:cNvPr>
            <p:cNvSpPr>
              <a:spLocks/>
            </p:cNvSpPr>
            <p:nvPr/>
          </p:nvSpPr>
          <p:spPr bwMode="auto">
            <a:xfrm>
              <a:off x="6291263" y="4349750"/>
              <a:ext cx="271463" cy="157163"/>
            </a:xfrm>
            <a:custGeom>
              <a:avLst/>
              <a:gdLst>
                <a:gd name="T0" fmla="*/ 15 w 281"/>
                <a:gd name="T1" fmla="*/ 160 h 162"/>
                <a:gd name="T2" fmla="*/ 15 w 281"/>
                <a:gd name="T3" fmla="*/ 160 h 162"/>
                <a:gd name="T4" fmla="*/ 83 w 281"/>
                <a:gd name="T5" fmla="*/ 131 h 162"/>
                <a:gd name="T6" fmla="*/ 169 w 281"/>
                <a:gd name="T7" fmla="*/ 60 h 162"/>
                <a:gd name="T8" fmla="*/ 230 w 281"/>
                <a:gd name="T9" fmla="*/ 28 h 162"/>
                <a:gd name="T10" fmla="*/ 254 w 281"/>
                <a:gd name="T11" fmla="*/ 46 h 162"/>
                <a:gd name="T12" fmla="*/ 253 w 281"/>
                <a:gd name="T13" fmla="*/ 85 h 162"/>
                <a:gd name="T14" fmla="*/ 251 w 281"/>
                <a:gd name="T15" fmla="*/ 90 h 162"/>
                <a:gd name="T16" fmla="*/ 273 w 281"/>
                <a:gd name="T17" fmla="*/ 93 h 162"/>
                <a:gd name="T18" fmla="*/ 273 w 281"/>
                <a:gd name="T19" fmla="*/ 37 h 162"/>
                <a:gd name="T20" fmla="*/ 237 w 281"/>
                <a:gd name="T21" fmla="*/ 8 h 162"/>
                <a:gd name="T22" fmla="*/ 153 w 281"/>
                <a:gd name="T23" fmla="*/ 46 h 162"/>
                <a:gd name="T24" fmla="*/ 72 w 281"/>
                <a:gd name="T25" fmla="*/ 113 h 162"/>
                <a:gd name="T26" fmla="*/ 9 w 281"/>
                <a:gd name="T27" fmla="*/ 140 h 162"/>
                <a:gd name="T28" fmla="*/ 2 w 281"/>
                <a:gd name="T29" fmla="*/ 153 h 162"/>
                <a:gd name="T30" fmla="*/ 15 w 281"/>
                <a:gd name="T3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1" h="162">
                  <a:moveTo>
                    <a:pt x="15" y="160"/>
                  </a:moveTo>
                  <a:lnTo>
                    <a:pt x="15" y="160"/>
                  </a:lnTo>
                  <a:cubicBezTo>
                    <a:pt x="49" y="151"/>
                    <a:pt x="81" y="132"/>
                    <a:pt x="83" y="131"/>
                  </a:cubicBezTo>
                  <a:cubicBezTo>
                    <a:pt x="128" y="103"/>
                    <a:pt x="169" y="60"/>
                    <a:pt x="169" y="60"/>
                  </a:cubicBezTo>
                  <a:cubicBezTo>
                    <a:pt x="186" y="40"/>
                    <a:pt x="211" y="22"/>
                    <a:pt x="230" y="28"/>
                  </a:cubicBezTo>
                  <a:cubicBezTo>
                    <a:pt x="242" y="31"/>
                    <a:pt x="250" y="37"/>
                    <a:pt x="254" y="46"/>
                  </a:cubicBezTo>
                  <a:cubicBezTo>
                    <a:pt x="259" y="57"/>
                    <a:pt x="259" y="71"/>
                    <a:pt x="253" y="85"/>
                  </a:cubicBezTo>
                  <a:cubicBezTo>
                    <a:pt x="252" y="87"/>
                    <a:pt x="252" y="88"/>
                    <a:pt x="251" y="90"/>
                  </a:cubicBezTo>
                  <a:cubicBezTo>
                    <a:pt x="258" y="90"/>
                    <a:pt x="266" y="91"/>
                    <a:pt x="273" y="93"/>
                  </a:cubicBezTo>
                  <a:cubicBezTo>
                    <a:pt x="280" y="73"/>
                    <a:pt x="281" y="53"/>
                    <a:pt x="273" y="37"/>
                  </a:cubicBezTo>
                  <a:cubicBezTo>
                    <a:pt x="266" y="23"/>
                    <a:pt x="254" y="13"/>
                    <a:pt x="237" y="8"/>
                  </a:cubicBezTo>
                  <a:cubicBezTo>
                    <a:pt x="212" y="0"/>
                    <a:pt x="181" y="14"/>
                    <a:pt x="153" y="46"/>
                  </a:cubicBezTo>
                  <a:cubicBezTo>
                    <a:pt x="153" y="46"/>
                    <a:pt x="113" y="88"/>
                    <a:pt x="72" y="113"/>
                  </a:cubicBezTo>
                  <a:cubicBezTo>
                    <a:pt x="72" y="113"/>
                    <a:pt x="41" y="132"/>
                    <a:pt x="9" y="140"/>
                  </a:cubicBezTo>
                  <a:cubicBezTo>
                    <a:pt x="4" y="142"/>
                    <a:pt x="0" y="148"/>
                    <a:pt x="2" y="153"/>
                  </a:cubicBezTo>
                  <a:cubicBezTo>
                    <a:pt x="4" y="159"/>
                    <a:pt x="9" y="162"/>
                    <a:pt x="15"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24">
              <a:extLst>
                <a:ext uri="{FF2B5EF4-FFF2-40B4-BE49-F238E27FC236}">
                  <a16:creationId xmlns:a16="http://schemas.microsoft.com/office/drawing/2014/main" id="{959AA2BA-0BFC-45FB-808E-62A45B6D9B80}"/>
                </a:ext>
              </a:extLst>
            </p:cNvPr>
            <p:cNvSpPr>
              <a:spLocks/>
            </p:cNvSpPr>
            <p:nvPr/>
          </p:nvSpPr>
          <p:spPr bwMode="auto">
            <a:xfrm>
              <a:off x="6311901" y="4540250"/>
              <a:ext cx="100013" cy="71438"/>
            </a:xfrm>
            <a:custGeom>
              <a:avLst/>
              <a:gdLst>
                <a:gd name="T0" fmla="*/ 105 w 105"/>
                <a:gd name="T1" fmla="*/ 13 h 73"/>
                <a:gd name="T2" fmla="*/ 105 w 105"/>
                <a:gd name="T3" fmla="*/ 13 h 73"/>
                <a:gd name="T4" fmla="*/ 105 w 105"/>
                <a:gd name="T5" fmla="*/ 0 h 73"/>
                <a:gd name="T6" fmla="*/ 8 w 105"/>
                <a:gd name="T7" fmla="*/ 53 h 73"/>
                <a:gd name="T8" fmla="*/ 2 w 105"/>
                <a:gd name="T9" fmla="*/ 67 h 73"/>
                <a:gd name="T10" fmla="*/ 12 w 105"/>
                <a:gd name="T11" fmla="*/ 73 h 73"/>
                <a:gd name="T12" fmla="*/ 16 w 105"/>
                <a:gd name="T13" fmla="*/ 72 h 73"/>
                <a:gd name="T14" fmla="*/ 105 w 105"/>
                <a:gd name="T15" fmla="*/ 25 h 73"/>
                <a:gd name="T16" fmla="*/ 105 w 105"/>
                <a:gd name="T17" fmla="*/ 1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73">
                  <a:moveTo>
                    <a:pt x="105" y="13"/>
                  </a:moveTo>
                  <a:lnTo>
                    <a:pt x="105" y="13"/>
                  </a:lnTo>
                  <a:cubicBezTo>
                    <a:pt x="105" y="9"/>
                    <a:pt x="105" y="4"/>
                    <a:pt x="105" y="0"/>
                  </a:cubicBezTo>
                  <a:cubicBezTo>
                    <a:pt x="76" y="18"/>
                    <a:pt x="38" y="40"/>
                    <a:pt x="8" y="53"/>
                  </a:cubicBezTo>
                  <a:cubicBezTo>
                    <a:pt x="2" y="55"/>
                    <a:pt x="0" y="61"/>
                    <a:pt x="2" y="67"/>
                  </a:cubicBezTo>
                  <a:cubicBezTo>
                    <a:pt x="4" y="71"/>
                    <a:pt x="8" y="73"/>
                    <a:pt x="12" y="73"/>
                  </a:cubicBezTo>
                  <a:cubicBezTo>
                    <a:pt x="13" y="73"/>
                    <a:pt x="14" y="73"/>
                    <a:pt x="16" y="72"/>
                  </a:cubicBezTo>
                  <a:cubicBezTo>
                    <a:pt x="43" y="61"/>
                    <a:pt x="77" y="42"/>
                    <a:pt x="105" y="25"/>
                  </a:cubicBezTo>
                  <a:cubicBezTo>
                    <a:pt x="105" y="21"/>
                    <a:pt x="105" y="17"/>
                    <a:pt x="105" y="1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5">
              <a:extLst>
                <a:ext uri="{FF2B5EF4-FFF2-40B4-BE49-F238E27FC236}">
                  <a16:creationId xmlns:a16="http://schemas.microsoft.com/office/drawing/2014/main" id="{4E26EFB0-2FD5-427D-9EA3-904FD1C725BB}"/>
                </a:ext>
              </a:extLst>
            </p:cNvPr>
            <p:cNvSpPr>
              <a:spLocks/>
            </p:cNvSpPr>
            <p:nvPr/>
          </p:nvSpPr>
          <p:spPr bwMode="auto">
            <a:xfrm>
              <a:off x="6296026" y="4310063"/>
              <a:ext cx="198438" cy="142875"/>
            </a:xfrm>
            <a:custGeom>
              <a:avLst/>
              <a:gdLst>
                <a:gd name="T0" fmla="*/ 195 w 206"/>
                <a:gd name="T1" fmla="*/ 1 h 148"/>
                <a:gd name="T2" fmla="*/ 195 w 206"/>
                <a:gd name="T3" fmla="*/ 1 h 148"/>
                <a:gd name="T4" fmla="*/ 100 w 206"/>
                <a:gd name="T5" fmla="*/ 56 h 148"/>
                <a:gd name="T6" fmla="*/ 86 w 206"/>
                <a:gd name="T7" fmla="*/ 72 h 148"/>
                <a:gd name="T8" fmla="*/ 67 w 206"/>
                <a:gd name="T9" fmla="*/ 92 h 148"/>
                <a:gd name="T10" fmla="*/ 46 w 206"/>
                <a:gd name="T11" fmla="*/ 108 h 148"/>
                <a:gd name="T12" fmla="*/ 19 w 206"/>
                <a:gd name="T13" fmla="*/ 122 h 148"/>
                <a:gd name="T14" fmla="*/ 9 w 206"/>
                <a:gd name="T15" fmla="*/ 126 h 148"/>
                <a:gd name="T16" fmla="*/ 2 w 206"/>
                <a:gd name="T17" fmla="*/ 139 h 148"/>
                <a:gd name="T18" fmla="*/ 15 w 206"/>
                <a:gd name="T19" fmla="*/ 146 h 148"/>
                <a:gd name="T20" fmla="*/ 45 w 206"/>
                <a:gd name="T21" fmla="*/ 132 h 148"/>
                <a:gd name="T22" fmla="*/ 69 w 206"/>
                <a:gd name="T23" fmla="*/ 117 h 148"/>
                <a:gd name="T24" fmla="*/ 108 w 206"/>
                <a:gd name="T25" fmla="*/ 79 h 148"/>
                <a:gd name="T26" fmla="*/ 122 w 206"/>
                <a:gd name="T27" fmla="*/ 63 h 148"/>
                <a:gd name="T28" fmla="*/ 131 w 206"/>
                <a:gd name="T29" fmla="*/ 54 h 148"/>
                <a:gd name="T30" fmla="*/ 136 w 206"/>
                <a:gd name="T31" fmla="*/ 50 h 148"/>
                <a:gd name="T32" fmla="*/ 139 w 206"/>
                <a:gd name="T33" fmla="*/ 48 h 148"/>
                <a:gd name="T34" fmla="*/ 141 w 206"/>
                <a:gd name="T35" fmla="*/ 46 h 148"/>
                <a:gd name="T36" fmla="*/ 164 w 206"/>
                <a:gd name="T37" fmla="*/ 31 h 148"/>
                <a:gd name="T38" fmla="*/ 189 w 206"/>
                <a:gd name="T39" fmla="*/ 23 h 148"/>
                <a:gd name="T40" fmla="*/ 195 w 206"/>
                <a:gd name="T41" fmla="*/ 22 h 148"/>
                <a:gd name="T42" fmla="*/ 206 w 206"/>
                <a:gd name="T43" fmla="*/ 11 h 148"/>
                <a:gd name="T44" fmla="*/ 195 w 206"/>
                <a:gd name="T45" fmla="*/ 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6" h="148">
                  <a:moveTo>
                    <a:pt x="195" y="1"/>
                  </a:moveTo>
                  <a:lnTo>
                    <a:pt x="195" y="1"/>
                  </a:lnTo>
                  <a:cubicBezTo>
                    <a:pt x="157" y="5"/>
                    <a:pt x="125" y="28"/>
                    <a:pt x="100" y="56"/>
                  </a:cubicBezTo>
                  <a:cubicBezTo>
                    <a:pt x="95" y="61"/>
                    <a:pt x="91" y="67"/>
                    <a:pt x="86" y="72"/>
                  </a:cubicBezTo>
                  <a:cubicBezTo>
                    <a:pt x="80" y="79"/>
                    <a:pt x="74" y="86"/>
                    <a:pt x="67" y="92"/>
                  </a:cubicBezTo>
                  <a:cubicBezTo>
                    <a:pt x="60" y="98"/>
                    <a:pt x="54" y="103"/>
                    <a:pt x="46" y="108"/>
                  </a:cubicBezTo>
                  <a:cubicBezTo>
                    <a:pt x="37" y="113"/>
                    <a:pt x="28" y="118"/>
                    <a:pt x="19" y="122"/>
                  </a:cubicBezTo>
                  <a:cubicBezTo>
                    <a:pt x="16" y="124"/>
                    <a:pt x="13" y="125"/>
                    <a:pt x="9" y="126"/>
                  </a:cubicBezTo>
                  <a:cubicBezTo>
                    <a:pt x="4" y="128"/>
                    <a:pt x="0" y="133"/>
                    <a:pt x="2" y="139"/>
                  </a:cubicBezTo>
                  <a:cubicBezTo>
                    <a:pt x="3" y="144"/>
                    <a:pt x="9" y="148"/>
                    <a:pt x="15" y="146"/>
                  </a:cubicBezTo>
                  <a:cubicBezTo>
                    <a:pt x="26" y="143"/>
                    <a:pt x="35" y="137"/>
                    <a:pt x="45" y="132"/>
                  </a:cubicBezTo>
                  <a:cubicBezTo>
                    <a:pt x="53" y="127"/>
                    <a:pt x="61" y="123"/>
                    <a:pt x="69" y="117"/>
                  </a:cubicBezTo>
                  <a:cubicBezTo>
                    <a:pt x="83" y="106"/>
                    <a:pt x="96" y="93"/>
                    <a:pt x="108" y="79"/>
                  </a:cubicBezTo>
                  <a:cubicBezTo>
                    <a:pt x="112" y="73"/>
                    <a:pt x="117" y="68"/>
                    <a:pt x="122" y="63"/>
                  </a:cubicBezTo>
                  <a:cubicBezTo>
                    <a:pt x="125" y="60"/>
                    <a:pt x="128" y="57"/>
                    <a:pt x="131" y="54"/>
                  </a:cubicBezTo>
                  <a:cubicBezTo>
                    <a:pt x="133" y="53"/>
                    <a:pt x="134" y="51"/>
                    <a:pt x="136" y="50"/>
                  </a:cubicBezTo>
                  <a:cubicBezTo>
                    <a:pt x="137" y="49"/>
                    <a:pt x="138" y="49"/>
                    <a:pt x="139" y="48"/>
                  </a:cubicBezTo>
                  <a:cubicBezTo>
                    <a:pt x="139" y="48"/>
                    <a:pt x="140" y="47"/>
                    <a:pt x="141" y="46"/>
                  </a:cubicBezTo>
                  <a:cubicBezTo>
                    <a:pt x="148" y="41"/>
                    <a:pt x="156" y="36"/>
                    <a:pt x="164" y="31"/>
                  </a:cubicBezTo>
                  <a:cubicBezTo>
                    <a:pt x="172" y="27"/>
                    <a:pt x="179" y="25"/>
                    <a:pt x="189" y="23"/>
                  </a:cubicBezTo>
                  <a:cubicBezTo>
                    <a:pt x="192" y="22"/>
                    <a:pt x="193" y="22"/>
                    <a:pt x="195" y="22"/>
                  </a:cubicBezTo>
                  <a:cubicBezTo>
                    <a:pt x="201" y="21"/>
                    <a:pt x="206" y="17"/>
                    <a:pt x="206" y="11"/>
                  </a:cubicBezTo>
                  <a:cubicBezTo>
                    <a:pt x="206" y="6"/>
                    <a:pt x="201" y="0"/>
                    <a:pt x="195"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26">
              <a:extLst>
                <a:ext uri="{FF2B5EF4-FFF2-40B4-BE49-F238E27FC236}">
                  <a16:creationId xmlns:a16="http://schemas.microsoft.com/office/drawing/2014/main" id="{75DD6734-A5F6-42C7-8538-8E0ABAEA5CD8}"/>
                </a:ext>
              </a:extLst>
            </p:cNvPr>
            <p:cNvSpPr>
              <a:spLocks/>
            </p:cNvSpPr>
            <p:nvPr/>
          </p:nvSpPr>
          <p:spPr bwMode="auto">
            <a:xfrm>
              <a:off x="6299201" y="4402138"/>
              <a:ext cx="214313" cy="157163"/>
            </a:xfrm>
            <a:custGeom>
              <a:avLst/>
              <a:gdLst>
                <a:gd name="T0" fmla="*/ 15 w 224"/>
                <a:gd name="T1" fmla="*/ 161 h 162"/>
                <a:gd name="T2" fmla="*/ 15 w 224"/>
                <a:gd name="T3" fmla="*/ 161 h 162"/>
                <a:gd name="T4" fmla="*/ 129 w 224"/>
                <a:gd name="T5" fmla="*/ 104 h 162"/>
                <a:gd name="T6" fmla="*/ 202 w 224"/>
                <a:gd name="T7" fmla="*/ 41 h 162"/>
                <a:gd name="T8" fmla="*/ 220 w 224"/>
                <a:gd name="T9" fmla="*/ 18 h 162"/>
                <a:gd name="T10" fmla="*/ 218 w 224"/>
                <a:gd name="T11" fmla="*/ 4 h 162"/>
                <a:gd name="T12" fmla="*/ 203 w 224"/>
                <a:gd name="T13" fmla="*/ 6 h 162"/>
                <a:gd name="T14" fmla="*/ 9 w 224"/>
                <a:gd name="T15" fmla="*/ 142 h 162"/>
                <a:gd name="T16" fmla="*/ 8 w 224"/>
                <a:gd name="T17" fmla="*/ 142 h 162"/>
                <a:gd name="T18" fmla="*/ 2 w 224"/>
                <a:gd name="T19" fmla="*/ 155 h 162"/>
                <a:gd name="T20" fmla="*/ 11 w 224"/>
                <a:gd name="T21" fmla="*/ 162 h 162"/>
                <a:gd name="T22" fmla="*/ 15 w 224"/>
                <a:gd name="T23" fmla="*/ 162 h 162"/>
                <a:gd name="T24" fmla="*/ 15 w 224"/>
                <a:gd name="T25" fmla="*/ 16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62">
                  <a:moveTo>
                    <a:pt x="15" y="161"/>
                  </a:moveTo>
                  <a:lnTo>
                    <a:pt x="15" y="161"/>
                  </a:lnTo>
                  <a:cubicBezTo>
                    <a:pt x="29" y="157"/>
                    <a:pt x="78" y="139"/>
                    <a:pt x="129" y="104"/>
                  </a:cubicBezTo>
                  <a:cubicBezTo>
                    <a:pt x="144" y="74"/>
                    <a:pt x="170" y="51"/>
                    <a:pt x="202" y="41"/>
                  </a:cubicBezTo>
                  <a:cubicBezTo>
                    <a:pt x="209" y="34"/>
                    <a:pt x="215" y="26"/>
                    <a:pt x="220" y="18"/>
                  </a:cubicBezTo>
                  <a:cubicBezTo>
                    <a:pt x="224" y="14"/>
                    <a:pt x="223" y="7"/>
                    <a:pt x="218" y="4"/>
                  </a:cubicBezTo>
                  <a:cubicBezTo>
                    <a:pt x="213" y="0"/>
                    <a:pt x="207" y="1"/>
                    <a:pt x="203" y="6"/>
                  </a:cubicBezTo>
                  <a:cubicBezTo>
                    <a:pt x="142" y="93"/>
                    <a:pt x="30" y="134"/>
                    <a:pt x="9" y="142"/>
                  </a:cubicBezTo>
                  <a:cubicBezTo>
                    <a:pt x="8" y="142"/>
                    <a:pt x="8" y="142"/>
                    <a:pt x="8" y="142"/>
                  </a:cubicBezTo>
                  <a:cubicBezTo>
                    <a:pt x="2" y="144"/>
                    <a:pt x="0" y="150"/>
                    <a:pt x="2" y="155"/>
                  </a:cubicBezTo>
                  <a:cubicBezTo>
                    <a:pt x="3" y="160"/>
                    <a:pt x="7" y="162"/>
                    <a:pt x="11" y="162"/>
                  </a:cubicBezTo>
                  <a:cubicBezTo>
                    <a:pt x="13" y="162"/>
                    <a:pt x="14" y="162"/>
                    <a:pt x="15" y="162"/>
                  </a:cubicBezTo>
                  <a:lnTo>
                    <a:pt x="15" y="1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27">
              <a:extLst>
                <a:ext uri="{FF2B5EF4-FFF2-40B4-BE49-F238E27FC236}">
                  <a16:creationId xmlns:a16="http://schemas.microsoft.com/office/drawing/2014/main" id="{E746470C-BAEF-4FE1-9F83-13F459C6FFE4}"/>
                </a:ext>
              </a:extLst>
            </p:cNvPr>
            <p:cNvSpPr>
              <a:spLocks/>
            </p:cNvSpPr>
            <p:nvPr/>
          </p:nvSpPr>
          <p:spPr bwMode="auto">
            <a:xfrm>
              <a:off x="6334126" y="4594225"/>
              <a:ext cx="93663" cy="65088"/>
            </a:xfrm>
            <a:custGeom>
              <a:avLst/>
              <a:gdLst>
                <a:gd name="T0" fmla="*/ 97 w 97"/>
                <a:gd name="T1" fmla="*/ 19 h 68"/>
                <a:gd name="T2" fmla="*/ 97 w 97"/>
                <a:gd name="T3" fmla="*/ 19 h 68"/>
                <a:gd name="T4" fmla="*/ 88 w 97"/>
                <a:gd name="T5" fmla="*/ 0 h 68"/>
                <a:gd name="T6" fmla="*/ 78 w 97"/>
                <a:gd name="T7" fmla="*/ 7 h 68"/>
                <a:gd name="T8" fmla="*/ 9 w 97"/>
                <a:gd name="T9" fmla="*/ 47 h 68"/>
                <a:gd name="T10" fmla="*/ 2 w 97"/>
                <a:gd name="T11" fmla="*/ 60 h 68"/>
                <a:gd name="T12" fmla="*/ 12 w 97"/>
                <a:gd name="T13" fmla="*/ 68 h 68"/>
                <a:gd name="T14" fmla="*/ 14 w 97"/>
                <a:gd name="T15" fmla="*/ 67 h 68"/>
                <a:gd name="T16" fmla="*/ 89 w 97"/>
                <a:gd name="T17" fmla="*/ 24 h 68"/>
                <a:gd name="T18" fmla="*/ 97 w 97"/>
                <a:gd name="T19"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68">
                  <a:moveTo>
                    <a:pt x="97" y="19"/>
                  </a:moveTo>
                  <a:lnTo>
                    <a:pt x="97" y="19"/>
                  </a:lnTo>
                  <a:cubicBezTo>
                    <a:pt x="94" y="13"/>
                    <a:pt x="91" y="7"/>
                    <a:pt x="88" y="0"/>
                  </a:cubicBezTo>
                  <a:cubicBezTo>
                    <a:pt x="85" y="2"/>
                    <a:pt x="81" y="4"/>
                    <a:pt x="78" y="7"/>
                  </a:cubicBezTo>
                  <a:cubicBezTo>
                    <a:pt x="51" y="24"/>
                    <a:pt x="22" y="44"/>
                    <a:pt x="9" y="47"/>
                  </a:cubicBezTo>
                  <a:cubicBezTo>
                    <a:pt x="3" y="49"/>
                    <a:pt x="0" y="54"/>
                    <a:pt x="2" y="60"/>
                  </a:cubicBezTo>
                  <a:cubicBezTo>
                    <a:pt x="3" y="65"/>
                    <a:pt x="7" y="68"/>
                    <a:pt x="12" y="68"/>
                  </a:cubicBezTo>
                  <a:cubicBezTo>
                    <a:pt x="13" y="68"/>
                    <a:pt x="13" y="68"/>
                    <a:pt x="14" y="67"/>
                  </a:cubicBezTo>
                  <a:cubicBezTo>
                    <a:pt x="31" y="63"/>
                    <a:pt x="59" y="44"/>
                    <a:pt x="89" y="24"/>
                  </a:cubicBezTo>
                  <a:cubicBezTo>
                    <a:pt x="92" y="23"/>
                    <a:pt x="95" y="21"/>
                    <a:pt x="97" y="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28">
              <a:extLst>
                <a:ext uri="{FF2B5EF4-FFF2-40B4-BE49-F238E27FC236}">
                  <a16:creationId xmlns:a16="http://schemas.microsoft.com/office/drawing/2014/main" id="{3D200527-0B96-42E0-9826-6742969C4D36}"/>
                </a:ext>
              </a:extLst>
            </p:cNvPr>
            <p:cNvSpPr>
              <a:spLocks/>
            </p:cNvSpPr>
            <p:nvPr/>
          </p:nvSpPr>
          <p:spPr bwMode="auto">
            <a:xfrm>
              <a:off x="6519863" y="4665663"/>
              <a:ext cx="49213" cy="23813"/>
            </a:xfrm>
            <a:custGeom>
              <a:avLst/>
              <a:gdLst>
                <a:gd name="T0" fmla="*/ 43 w 51"/>
                <a:gd name="T1" fmla="*/ 3 h 25"/>
                <a:gd name="T2" fmla="*/ 43 w 51"/>
                <a:gd name="T3" fmla="*/ 3 h 25"/>
                <a:gd name="T4" fmla="*/ 36 w 51"/>
                <a:gd name="T5" fmla="*/ 0 h 25"/>
                <a:gd name="T6" fmla="*/ 7 w 51"/>
                <a:gd name="T7" fmla="*/ 4 h 25"/>
                <a:gd name="T8" fmla="*/ 0 w 51"/>
                <a:gd name="T9" fmla="*/ 3 h 25"/>
                <a:gd name="T10" fmla="*/ 36 w 51"/>
                <a:gd name="T11" fmla="*/ 23 h 25"/>
                <a:gd name="T12" fmla="*/ 49 w 51"/>
                <a:gd name="T13" fmla="*/ 17 h 25"/>
                <a:gd name="T14" fmla="*/ 43 w 51"/>
                <a:gd name="T15" fmla="*/ 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5">
                  <a:moveTo>
                    <a:pt x="43" y="3"/>
                  </a:moveTo>
                  <a:lnTo>
                    <a:pt x="43" y="3"/>
                  </a:lnTo>
                  <a:cubicBezTo>
                    <a:pt x="41" y="2"/>
                    <a:pt x="39" y="1"/>
                    <a:pt x="36" y="0"/>
                  </a:cubicBezTo>
                  <a:cubicBezTo>
                    <a:pt x="26" y="2"/>
                    <a:pt x="16" y="4"/>
                    <a:pt x="7" y="4"/>
                  </a:cubicBezTo>
                  <a:cubicBezTo>
                    <a:pt x="4" y="4"/>
                    <a:pt x="2" y="4"/>
                    <a:pt x="0" y="3"/>
                  </a:cubicBezTo>
                  <a:cubicBezTo>
                    <a:pt x="14" y="12"/>
                    <a:pt x="26" y="19"/>
                    <a:pt x="36" y="23"/>
                  </a:cubicBezTo>
                  <a:cubicBezTo>
                    <a:pt x="41" y="25"/>
                    <a:pt x="47" y="22"/>
                    <a:pt x="49" y="17"/>
                  </a:cubicBezTo>
                  <a:cubicBezTo>
                    <a:pt x="51" y="11"/>
                    <a:pt x="49" y="5"/>
                    <a:pt x="43" y="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29">
              <a:extLst>
                <a:ext uri="{FF2B5EF4-FFF2-40B4-BE49-F238E27FC236}">
                  <a16:creationId xmlns:a16="http://schemas.microsoft.com/office/drawing/2014/main" id="{FA73392C-A55A-494E-AA7A-A89FD32D2827}"/>
                </a:ext>
              </a:extLst>
            </p:cNvPr>
            <p:cNvSpPr>
              <a:spLocks/>
            </p:cNvSpPr>
            <p:nvPr/>
          </p:nvSpPr>
          <p:spPr bwMode="auto">
            <a:xfrm>
              <a:off x="6370638" y="4637088"/>
              <a:ext cx="93663" cy="68263"/>
            </a:xfrm>
            <a:custGeom>
              <a:avLst/>
              <a:gdLst>
                <a:gd name="T0" fmla="*/ 79 w 97"/>
                <a:gd name="T1" fmla="*/ 0 h 71"/>
                <a:gd name="T2" fmla="*/ 79 w 97"/>
                <a:gd name="T3" fmla="*/ 0 h 71"/>
                <a:gd name="T4" fmla="*/ 19 w 97"/>
                <a:gd name="T5" fmla="*/ 42 h 71"/>
                <a:gd name="T6" fmla="*/ 5 w 97"/>
                <a:gd name="T7" fmla="*/ 52 h 71"/>
                <a:gd name="T8" fmla="*/ 3 w 97"/>
                <a:gd name="T9" fmla="*/ 66 h 71"/>
                <a:gd name="T10" fmla="*/ 12 w 97"/>
                <a:gd name="T11" fmla="*/ 71 h 71"/>
                <a:gd name="T12" fmla="*/ 18 w 97"/>
                <a:gd name="T13" fmla="*/ 69 h 71"/>
                <a:gd name="T14" fmla="*/ 32 w 97"/>
                <a:gd name="T15" fmla="*/ 59 h 71"/>
                <a:gd name="T16" fmla="*/ 97 w 97"/>
                <a:gd name="T17" fmla="*/ 14 h 71"/>
                <a:gd name="T18" fmla="*/ 79 w 97"/>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71">
                  <a:moveTo>
                    <a:pt x="79" y="0"/>
                  </a:moveTo>
                  <a:lnTo>
                    <a:pt x="79" y="0"/>
                  </a:lnTo>
                  <a:cubicBezTo>
                    <a:pt x="65" y="9"/>
                    <a:pt x="45" y="23"/>
                    <a:pt x="19" y="42"/>
                  </a:cubicBezTo>
                  <a:cubicBezTo>
                    <a:pt x="14" y="46"/>
                    <a:pt x="9" y="49"/>
                    <a:pt x="5" y="52"/>
                  </a:cubicBezTo>
                  <a:cubicBezTo>
                    <a:pt x="1" y="55"/>
                    <a:pt x="0" y="62"/>
                    <a:pt x="3" y="66"/>
                  </a:cubicBezTo>
                  <a:cubicBezTo>
                    <a:pt x="5" y="69"/>
                    <a:pt x="8" y="71"/>
                    <a:pt x="12" y="71"/>
                  </a:cubicBezTo>
                  <a:cubicBezTo>
                    <a:pt x="14" y="71"/>
                    <a:pt x="16" y="70"/>
                    <a:pt x="18" y="69"/>
                  </a:cubicBezTo>
                  <a:cubicBezTo>
                    <a:pt x="21" y="66"/>
                    <a:pt x="26" y="63"/>
                    <a:pt x="32" y="59"/>
                  </a:cubicBezTo>
                  <a:cubicBezTo>
                    <a:pt x="46" y="48"/>
                    <a:pt x="78" y="25"/>
                    <a:pt x="97" y="14"/>
                  </a:cubicBezTo>
                  <a:cubicBezTo>
                    <a:pt x="91" y="10"/>
                    <a:pt x="85" y="5"/>
                    <a:pt x="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30">
              <a:extLst>
                <a:ext uri="{FF2B5EF4-FFF2-40B4-BE49-F238E27FC236}">
                  <a16:creationId xmlns:a16="http://schemas.microsoft.com/office/drawing/2014/main" id="{AF99BEB3-9D1D-4C03-B8C2-D5F68FFBC896}"/>
                </a:ext>
              </a:extLst>
            </p:cNvPr>
            <p:cNvSpPr>
              <a:spLocks/>
            </p:cNvSpPr>
            <p:nvPr/>
          </p:nvSpPr>
          <p:spPr bwMode="auto">
            <a:xfrm>
              <a:off x="6410326" y="4686300"/>
              <a:ext cx="123825" cy="57150"/>
            </a:xfrm>
            <a:custGeom>
              <a:avLst/>
              <a:gdLst>
                <a:gd name="T0" fmla="*/ 122 w 128"/>
                <a:gd name="T1" fmla="*/ 34 h 59"/>
                <a:gd name="T2" fmla="*/ 122 w 128"/>
                <a:gd name="T3" fmla="*/ 34 h 59"/>
                <a:gd name="T4" fmla="*/ 105 w 128"/>
                <a:gd name="T5" fmla="*/ 23 h 59"/>
                <a:gd name="T6" fmla="*/ 57 w 128"/>
                <a:gd name="T7" fmla="*/ 3 h 59"/>
                <a:gd name="T8" fmla="*/ 4 w 128"/>
                <a:gd name="T9" fmla="*/ 41 h 59"/>
                <a:gd name="T10" fmla="*/ 4 w 128"/>
                <a:gd name="T11" fmla="*/ 56 h 59"/>
                <a:gd name="T12" fmla="*/ 11 w 128"/>
                <a:gd name="T13" fmla="*/ 59 h 59"/>
                <a:gd name="T14" fmla="*/ 19 w 128"/>
                <a:gd name="T15" fmla="*/ 56 h 59"/>
                <a:gd name="T16" fmla="*/ 60 w 128"/>
                <a:gd name="T17" fmla="*/ 23 h 59"/>
                <a:gd name="T18" fmla="*/ 93 w 128"/>
                <a:gd name="T19" fmla="*/ 40 h 59"/>
                <a:gd name="T20" fmla="*/ 110 w 128"/>
                <a:gd name="T21" fmla="*/ 52 h 59"/>
                <a:gd name="T22" fmla="*/ 125 w 128"/>
                <a:gd name="T23" fmla="*/ 49 h 59"/>
                <a:gd name="T24" fmla="*/ 122 w 128"/>
                <a:gd name="T25" fmla="*/ 3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8" h="59">
                  <a:moveTo>
                    <a:pt x="122" y="34"/>
                  </a:moveTo>
                  <a:lnTo>
                    <a:pt x="122" y="34"/>
                  </a:lnTo>
                  <a:cubicBezTo>
                    <a:pt x="116" y="30"/>
                    <a:pt x="110" y="26"/>
                    <a:pt x="105" y="23"/>
                  </a:cubicBezTo>
                  <a:cubicBezTo>
                    <a:pt x="88" y="10"/>
                    <a:pt x="73" y="0"/>
                    <a:pt x="57" y="3"/>
                  </a:cubicBezTo>
                  <a:cubicBezTo>
                    <a:pt x="39" y="6"/>
                    <a:pt x="9" y="35"/>
                    <a:pt x="4" y="41"/>
                  </a:cubicBezTo>
                  <a:cubicBezTo>
                    <a:pt x="0" y="45"/>
                    <a:pt x="0" y="52"/>
                    <a:pt x="4" y="56"/>
                  </a:cubicBezTo>
                  <a:cubicBezTo>
                    <a:pt x="6" y="58"/>
                    <a:pt x="9" y="59"/>
                    <a:pt x="11" y="59"/>
                  </a:cubicBezTo>
                  <a:cubicBezTo>
                    <a:pt x="14" y="59"/>
                    <a:pt x="17" y="58"/>
                    <a:pt x="19" y="56"/>
                  </a:cubicBezTo>
                  <a:cubicBezTo>
                    <a:pt x="33" y="41"/>
                    <a:pt x="53" y="25"/>
                    <a:pt x="60" y="23"/>
                  </a:cubicBezTo>
                  <a:cubicBezTo>
                    <a:pt x="68" y="22"/>
                    <a:pt x="80" y="30"/>
                    <a:pt x="93" y="40"/>
                  </a:cubicBezTo>
                  <a:cubicBezTo>
                    <a:pt x="98" y="43"/>
                    <a:pt x="104" y="48"/>
                    <a:pt x="110" y="52"/>
                  </a:cubicBezTo>
                  <a:cubicBezTo>
                    <a:pt x="115" y="55"/>
                    <a:pt x="122" y="54"/>
                    <a:pt x="125" y="49"/>
                  </a:cubicBezTo>
                  <a:cubicBezTo>
                    <a:pt x="128" y="44"/>
                    <a:pt x="127" y="37"/>
                    <a:pt x="122"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31">
              <a:extLst>
                <a:ext uri="{FF2B5EF4-FFF2-40B4-BE49-F238E27FC236}">
                  <a16:creationId xmlns:a16="http://schemas.microsoft.com/office/drawing/2014/main" id="{DBA18BB9-6828-4EB5-8741-E804061EF2C7}"/>
                </a:ext>
              </a:extLst>
            </p:cNvPr>
            <p:cNvSpPr>
              <a:spLocks noEditPoints="1"/>
            </p:cNvSpPr>
            <p:nvPr/>
          </p:nvSpPr>
          <p:spPr bwMode="auto">
            <a:xfrm>
              <a:off x="6430963" y="4449763"/>
              <a:ext cx="277813" cy="288925"/>
            </a:xfrm>
            <a:custGeom>
              <a:avLst/>
              <a:gdLst>
                <a:gd name="T0" fmla="*/ 280 w 288"/>
                <a:gd name="T1" fmla="*/ 263 h 298"/>
                <a:gd name="T2" fmla="*/ 209 w 288"/>
                <a:gd name="T3" fmla="*/ 104 h 298"/>
                <a:gd name="T4" fmla="*/ 0 w 288"/>
                <a:gd name="T5" fmla="*/ 104 h 298"/>
                <a:gd name="T6" fmla="*/ 155 w 288"/>
                <a:gd name="T7" fmla="*/ 196 h 298"/>
                <a:gd name="T8" fmla="*/ 266 w 288"/>
                <a:gd name="T9" fmla="*/ 298 h 298"/>
                <a:gd name="T10" fmla="*/ 280 w 288"/>
                <a:gd name="T11" fmla="*/ 263 h 298"/>
                <a:gd name="T12" fmla="*/ 53 w 288"/>
                <a:gd name="T13" fmla="*/ 158 h 298"/>
                <a:gd name="T14" fmla="*/ 51 w 288"/>
                <a:gd name="T15" fmla="*/ 160 h 298"/>
                <a:gd name="T16" fmla="*/ 50 w 288"/>
                <a:gd name="T17" fmla="*/ 158 h 298"/>
                <a:gd name="T18" fmla="*/ 50 w 288"/>
                <a:gd name="T19" fmla="*/ 149 h 298"/>
                <a:gd name="T20" fmla="*/ 53 w 288"/>
                <a:gd name="T21" fmla="*/ 149 h 298"/>
                <a:gd name="T22" fmla="*/ 53 w 288"/>
                <a:gd name="T23" fmla="*/ 158 h 298"/>
                <a:gd name="T24" fmla="*/ 171 w 288"/>
                <a:gd name="T25" fmla="*/ 143 h 298"/>
                <a:gd name="T26" fmla="*/ 164 w 288"/>
                <a:gd name="T27" fmla="*/ 153 h 298"/>
                <a:gd name="T28" fmla="*/ 159 w 288"/>
                <a:gd name="T29" fmla="*/ 143 h 298"/>
                <a:gd name="T30" fmla="*/ 147 w 288"/>
                <a:gd name="T31" fmla="*/ 149 h 298"/>
                <a:gd name="T32" fmla="*/ 152 w 288"/>
                <a:gd name="T33" fmla="*/ 151 h 298"/>
                <a:gd name="T34" fmla="*/ 154 w 288"/>
                <a:gd name="T35" fmla="*/ 153 h 298"/>
                <a:gd name="T36" fmla="*/ 104 w 288"/>
                <a:gd name="T37" fmla="*/ 181 h 298"/>
                <a:gd name="T38" fmla="*/ 57 w 288"/>
                <a:gd name="T39" fmla="*/ 162 h 298"/>
                <a:gd name="T40" fmla="*/ 57 w 288"/>
                <a:gd name="T41" fmla="*/ 146 h 298"/>
                <a:gd name="T42" fmla="*/ 46 w 288"/>
                <a:gd name="T43" fmla="*/ 145 h 298"/>
                <a:gd name="T44" fmla="*/ 41 w 288"/>
                <a:gd name="T45" fmla="*/ 148 h 298"/>
                <a:gd name="T46" fmla="*/ 38 w 288"/>
                <a:gd name="T47" fmla="*/ 144 h 298"/>
                <a:gd name="T48" fmla="*/ 28 w 288"/>
                <a:gd name="T49" fmla="*/ 117 h 298"/>
                <a:gd name="T50" fmla="*/ 40 w 288"/>
                <a:gd name="T51" fmla="*/ 117 h 298"/>
                <a:gd name="T52" fmla="*/ 40 w 288"/>
                <a:gd name="T53" fmla="*/ 100 h 298"/>
                <a:gd name="T54" fmla="*/ 28 w 288"/>
                <a:gd name="T55" fmla="*/ 100 h 298"/>
                <a:gd name="T56" fmla="*/ 33 w 288"/>
                <a:gd name="T57" fmla="*/ 74 h 298"/>
                <a:gd name="T58" fmla="*/ 40 w 288"/>
                <a:gd name="T59" fmla="*/ 72 h 298"/>
                <a:gd name="T60" fmla="*/ 41 w 288"/>
                <a:gd name="T61" fmla="*/ 60 h 298"/>
                <a:gd name="T62" fmla="*/ 166 w 288"/>
                <a:gd name="T63" fmla="*/ 58 h 298"/>
                <a:gd name="T64" fmla="*/ 167 w 288"/>
                <a:gd name="T65" fmla="*/ 62 h 298"/>
                <a:gd name="T66" fmla="*/ 171 w 288"/>
                <a:gd name="T67" fmla="*/ 65 h 298"/>
                <a:gd name="T68" fmla="*/ 175 w 288"/>
                <a:gd name="T69" fmla="*/ 74 h 298"/>
                <a:gd name="T70" fmla="*/ 171 w 288"/>
                <a:gd name="T71" fmla="*/ 143 h 298"/>
                <a:gd name="T72" fmla="*/ 32 w 288"/>
                <a:gd name="T73" fmla="*/ 109 h 298"/>
                <a:gd name="T74" fmla="*/ 34 w 288"/>
                <a:gd name="T75" fmla="*/ 102 h 298"/>
                <a:gd name="T76" fmla="*/ 36 w 288"/>
                <a:gd name="T77" fmla="*/ 109 h 298"/>
                <a:gd name="T78" fmla="*/ 34 w 288"/>
                <a:gd name="T79" fmla="*/ 115 h 298"/>
                <a:gd name="T80" fmla="*/ 32 w 288"/>
                <a:gd name="T81"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8" h="298">
                  <a:moveTo>
                    <a:pt x="280" y="263"/>
                  </a:moveTo>
                  <a:lnTo>
                    <a:pt x="280" y="263"/>
                  </a:lnTo>
                  <a:lnTo>
                    <a:pt x="186" y="169"/>
                  </a:lnTo>
                  <a:cubicBezTo>
                    <a:pt x="200" y="151"/>
                    <a:pt x="209" y="129"/>
                    <a:pt x="209" y="104"/>
                  </a:cubicBezTo>
                  <a:cubicBezTo>
                    <a:pt x="209" y="47"/>
                    <a:pt x="162" y="0"/>
                    <a:pt x="104" y="0"/>
                  </a:cubicBezTo>
                  <a:cubicBezTo>
                    <a:pt x="47" y="0"/>
                    <a:pt x="0" y="47"/>
                    <a:pt x="0" y="104"/>
                  </a:cubicBezTo>
                  <a:cubicBezTo>
                    <a:pt x="0" y="162"/>
                    <a:pt x="47" y="209"/>
                    <a:pt x="104" y="209"/>
                  </a:cubicBezTo>
                  <a:cubicBezTo>
                    <a:pt x="123" y="209"/>
                    <a:pt x="140" y="204"/>
                    <a:pt x="155" y="196"/>
                  </a:cubicBezTo>
                  <a:lnTo>
                    <a:pt x="251" y="292"/>
                  </a:lnTo>
                  <a:cubicBezTo>
                    <a:pt x="255" y="296"/>
                    <a:pt x="260" y="298"/>
                    <a:pt x="266" y="298"/>
                  </a:cubicBezTo>
                  <a:cubicBezTo>
                    <a:pt x="271" y="298"/>
                    <a:pt x="276" y="296"/>
                    <a:pt x="280" y="292"/>
                  </a:cubicBezTo>
                  <a:cubicBezTo>
                    <a:pt x="288" y="284"/>
                    <a:pt x="288" y="271"/>
                    <a:pt x="280" y="263"/>
                  </a:cubicBezTo>
                  <a:close/>
                  <a:moveTo>
                    <a:pt x="53" y="158"/>
                  </a:moveTo>
                  <a:lnTo>
                    <a:pt x="53" y="158"/>
                  </a:lnTo>
                  <a:cubicBezTo>
                    <a:pt x="52" y="159"/>
                    <a:pt x="52" y="160"/>
                    <a:pt x="51" y="160"/>
                  </a:cubicBezTo>
                  <a:cubicBezTo>
                    <a:pt x="51" y="160"/>
                    <a:pt x="51" y="160"/>
                    <a:pt x="51" y="160"/>
                  </a:cubicBezTo>
                  <a:cubicBezTo>
                    <a:pt x="51" y="159"/>
                    <a:pt x="50" y="159"/>
                    <a:pt x="50" y="159"/>
                  </a:cubicBezTo>
                  <a:cubicBezTo>
                    <a:pt x="50" y="159"/>
                    <a:pt x="50" y="159"/>
                    <a:pt x="50" y="158"/>
                  </a:cubicBezTo>
                  <a:cubicBezTo>
                    <a:pt x="49" y="158"/>
                    <a:pt x="49" y="156"/>
                    <a:pt x="49" y="154"/>
                  </a:cubicBezTo>
                  <a:cubicBezTo>
                    <a:pt x="49" y="151"/>
                    <a:pt x="49" y="150"/>
                    <a:pt x="50" y="149"/>
                  </a:cubicBezTo>
                  <a:cubicBezTo>
                    <a:pt x="50" y="148"/>
                    <a:pt x="51" y="147"/>
                    <a:pt x="51" y="147"/>
                  </a:cubicBezTo>
                  <a:cubicBezTo>
                    <a:pt x="52" y="147"/>
                    <a:pt x="52" y="148"/>
                    <a:pt x="53" y="149"/>
                  </a:cubicBezTo>
                  <a:cubicBezTo>
                    <a:pt x="53" y="150"/>
                    <a:pt x="53" y="151"/>
                    <a:pt x="53" y="154"/>
                  </a:cubicBezTo>
                  <a:cubicBezTo>
                    <a:pt x="53" y="156"/>
                    <a:pt x="53" y="158"/>
                    <a:pt x="53" y="158"/>
                  </a:cubicBezTo>
                  <a:close/>
                  <a:moveTo>
                    <a:pt x="171" y="143"/>
                  </a:moveTo>
                  <a:lnTo>
                    <a:pt x="171" y="143"/>
                  </a:lnTo>
                  <a:cubicBezTo>
                    <a:pt x="169" y="143"/>
                    <a:pt x="167" y="144"/>
                    <a:pt x="166" y="145"/>
                  </a:cubicBezTo>
                  <a:cubicBezTo>
                    <a:pt x="165" y="147"/>
                    <a:pt x="164" y="150"/>
                    <a:pt x="164" y="153"/>
                  </a:cubicBezTo>
                  <a:cubicBezTo>
                    <a:pt x="163" y="155"/>
                    <a:pt x="161" y="157"/>
                    <a:pt x="159" y="158"/>
                  </a:cubicBezTo>
                  <a:lnTo>
                    <a:pt x="159" y="143"/>
                  </a:lnTo>
                  <a:lnTo>
                    <a:pt x="154" y="143"/>
                  </a:lnTo>
                  <a:lnTo>
                    <a:pt x="147" y="149"/>
                  </a:lnTo>
                  <a:lnTo>
                    <a:pt x="150" y="153"/>
                  </a:lnTo>
                  <a:lnTo>
                    <a:pt x="152" y="151"/>
                  </a:lnTo>
                  <a:cubicBezTo>
                    <a:pt x="153" y="150"/>
                    <a:pt x="153" y="150"/>
                    <a:pt x="154" y="149"/>
                  </a:cubicBezTo>
                  <a:cubicBezTo>
                    <a:pt x="154" y="150"/>
                    <a:pt x="154" y="152"/>
                    <a:pt x="154" y="153"/>
                  </a:cubicBezTo>
                  <a:lnTo>
                    <a:pt x="154" y="164"/>
                  </a:lnTo>
                  <a:cubicBezTo>
                    <a:pt x="140" y="175"/>
                    <a:pt x="123" y="181"/>
                    <a:pt x="104" y="181"/>
                  </a:cubicBezTo>
                  <a:cubicBezTo>
                    <a:pt x="86" y="181"/>
                    <a:pt x="68" y="175"/>
                    <a:pt x="55" y="163"/>
                  </a:cubicBezTo>
                  <a:cubicBezTo>
                    <a:pt x="56" y="163"/>
                    <a:pt x="56" y="163"/>
                    <a:pt x="57" y="162"/>
                  </a:cubicBezTo>
                  <a:cubicBezTo>
                    <a:pt x="58" y="160"/>
                    <a:pt x="59" y="157"/>
                    <a:pt x="59" y="154"/>
                  </a:cubicBezTo>
                  <a:cubicBezTo>
                    <a:pt x="59" y="150"/>
                    <a:pt x="58" y="147"/>
                    <a:pt x="57" y="146"/>
                  </a:cubicBezTo>
                  <a:cubicBezTo>
                    <a:pt x="56" y="144"/>
                    <a:pt x="54" y="143"/>
                    <a:pt x="51" y="143"/>
                  </a:cubicBezTo>
                  <a:cubicBezTo>
                    <a:pt x="49" y="143"/>
                    <a:pt x="47" y="144"/>
                    <a:pt x="46" y="145"/>
                  </a:cubicBezTo>
                  <a:cubicBezTo>
                    <a:pt x="44" y="147"/>
                    <a:pt x="44" y="149"/>
                    <a:pt x="44" y="152"/>
                  </a:cubicBezTo>
                  <a:cubicBezTo>
                    <a:pt x="43" y="151"/>
                    <a:pt x="42" y="149"/>
                    <a:pt x="41" y="148"/>
                  </a:cubicBezTo>
                  <a:cubicBezTo>
                    <a:pt x="41" y="147"/>
                    <a:pt x="40" y="146"/>
                    <a:pt x="40" y="146"/>
                  </a:cubicBezTo>
                  <a:cubicBezTo>
                    <a:pt x="39" y="145"/>
                    <a:pt x="39" y="144"/>
                    <a:pt x="38" y="144"/>
                  </a:cubicBezTo>
                  <a:cubicBezTo>
                    <a:pt x="33" y="136"/>
                    <a:pt x="30" y="126"/>
                    <a:pt x="28" y="116"/>
                  </a:cubicBezTo>
                  <a:cubicBezTo>
                    <a:pt x="28" y="116"/>
                    <a:pt x="28" y="116"/>
                    <a:pt x="28" y="117"/>
                  </a:cubicBezTo>
                  <a:cubicBezTo>
                    <a:pt x="30" y="118"/>
                    <a:pt x="32" y="119"/>
                    <a:pt x="34" y="119"/>
                  </a:cubicBezTo>
                  <a:cubicBezTo>
                    <a:pt x="37" y="119"/>
                    <a:pt x="38" y="118"/>
                    <a:pt x="40" y="117"/>
                  </a:cubicBezTo>
                  <a:cubicBezTo>
                    <a:pt x="41" y="115"/>
                    <a:pt x="42" y="112"/>
                    <a:pt x="42" y="109"/>
                  </a:cubicBezTo>
                  <a:cubicBezTo>
                    <a:pt x="42" y="105"/>
                    <a:pt x="41" y="102"/>
                    <a:pt x="40" y="100"/>
                  </a:cubicBezTo>
                  <a:cubicBezTo>
                    <a:pt x="38" y="99"/>
                    <a:pt x="37" y="98"/>
                    <a:pt x="34" y="98"/>
                  </a:cubicBezTo>
                  <a:cubicBezTo>
                    <a:pt x="31" y="98"/>
                    <a:pt x="30" y="99"/>
                    <a:pt x="28" y="100"/>
                  </a:cubicBezTo>
                  <a:cubicBezTo>
                    <a:pt x="28" y="101"/>
                    <a:pt x="27" y="102"/>
                    <a:pt x="27" y="103"/>
                  </a:cubicBezTo>
                  <a:cubicBezTo>
                    <a:pt x="27" y="93"/>
                    <a:pt x="30" y="83"/>
                    <a:pt x="33" y="74"/>
                  </a:cubicBezTo>
                  <a:cubicBezTo>
                    <a:pt x="33" y="74"/>
                    <a:pt x="34" y="74"/>
                    <a:pt x="34" y="74"/>
                  </a:cubicBezTo>
                  <a:cubicBezTo>
                    <a:pt x="37" y="74"/>
                    <a:pt x="38" y="73"/>
                    <a:pt x="40" y="72"/>
                  </a:cubicBezTo>
                  <a:cubicBezTo>
                    <a:pt x="41" y="70"/>
                    <a:pt x="42" y="67"/>
                    <a:pt x="42" y="64"/>
                  </a:cubicBezTo>
                  <a:cubicBezTo>
                    <a:pt x="42" y="62"/>
                    <a:pt x="41" y="61"/>
                    <a:pt x="41" y="60"/>
                  </a:cubicBezTo>
                  <a:cubicBezTo>
                    <a:pt x="55" y="40"/>
                    <a:pt x="78" y="27"/>
                    <a:pt x="104" y="27"/>
                  </a:cubicBezTo>
                  <a:cubicBezTo>
                    <a:pt x="129" y="27"/>
                    <a:pt x="152" y="39"/>
                    <a:pt x="166" y="58"/>
                  </a:cubicBezTo>
                  <a:lnTo>
                    <a:pt x="164" y="59"/>
                  </a:lnTo>
                  <a:lnTo>
                    <a:pt x="167" y="62"/>
                  </a:lnTo>
                  <a:lnTo>
                    <a:pt x="169" y="61"/>
                  </a:lnTo>
                  <a:cubicBezTo>
                    <a:pt x="169" y="63"/>
                    <a:pt x="170" y="64"/>
                    <a:pt x="171" y="65"/>
                  </a:cubicBezTo>
                  <a:lnTo>
                    <a:pt x="171" y="74"/>
                  </a:lnTo>
                  <a:lnTo>
                    <a:pt x="175" y="74"/>
                  </a:lnTo>
                  <a:cubicBezTo>
                    <a:pt x="179" y="83"/>
                    <a:pt x="182" y="93"/>
                    <a:pt x="182" y="104"/>
                  </a:cubicBezTo>
                  <a:cubicBezTo>
                    <a:pt x="182" y="118"/>
                    <a:pt x="178" y="131"/>
                    <a:pt x="171" y="143"/>
                  </a:cubicBezTo>
                  <a:close/>
                  <a:moveTo>
                    <a:pt x="32" y="109"/>
                  </a:moveTo>
                  <a:lnTo>
                    <a:pt x="32" y="109"/>
                  </a:lnTo>
                  <a:cubicBezTo>
                    <a:pt x="32" y="106"/>
                    <a:pt x="32" y="105"/>
                    <a:pt x="33" y="104"/>
                  </a:cubicBezTo>
                  <a:cubicBezTo>
                    <a:pt x="33" y="103"/>
                    <a:pt x="33" y="102"/>
                    <a:pt x="34" y="102"/>
                  </a:cubicBezTo>
                  <a:cubicBezTo>
                    <a:pt x="35" y="102"/>
                    <a:pt x="35" y="103"/>
                    <a:pt x="36" y="104"/>
                  </a:cubicBezTo>
                  <a:cubicBezTo>
                    <a:pt x="36" y="105"/>
                    <a:pt x="36" y="106"/>
                    <a:pt x="36" y="109"/>
                  </a:cubicBezTo>
                  <a:cubicBezTo>
                    <a:pt x="36" y="111"/>
                    <a:pt x="36" y="112"/>
                    <a:pt x="36" y="113"/>
                  </a:cubicBezTo>
                  <a:cubicBezTo>
                    <a:pt x="35" y="114"/>
                    <a:pt x="35" y="115"/>
                    <a:pt x="34" y="115"/>
                  </a:cubicBezTo>
                  <a:cubicBezTo>
                    <a:pt x="33" y="115"/>
                    <a:pt x="33" y="114"/>
                    <a:pt x="33" y="113"/>
                  </a:cubicBezTo>
                  <a:cubicBezTo>
                    <a:pt x="32" y="113"/>
                    <a:pt x="32" y="111"/>
                    <a:pt x="32" y="10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32">
              <a:extLst>
                <a:ext uri="{FF2B5EF4-FFF2-40B4-BE49-F238E27FC236}">
                  <a16:creationId xmlns:a16="http://schemas.microsoft.com/office/drawing/2014/main" id="{E986B6EC-8DF8-48C2-AC3C-F9BFDF3152D9}"/>
                </a:ext>
              </a:extLst>
            </p:cNvPr>
            <p:cNvSpPr>
              <a:spLocks/>
            </p:cNvSpPr>
            <p:nvPr/>
          </p:nvSpPr>
          <p:spPr bwMode="auto">
            <a:xfrm>
              <a:off x="6473826" y="4500563"/>
              <a:ext cx="11113" cy="20638"/>
            </a:xfrm>
            <a:custGeom>
              <a:avLst/>
              <a:gdLst>
                <a:gd name="T0" fmla="*/ 5 w 12"/>
                <a:gd name="T1" fmla="*/ 8 h 21"/>
                <a:gd name="T2" fmla="*/ 5 w 12"/>
                <a:gd name="T3" fmla="*/ 8 h 21"/>
                <a:gd name="T4" fmla="*/ 6 w 12"/>
                <a:gd name="T5" fmla="*/ 6 h 21"/>
                <a:gd name="T6" fmla="*/ 6 w 12"/>
                <a:gd name="T7" fmla="*/ 10 h 21"/>
                <a:gd name="T8" fmla="*/ 6 w 12"/>
                <a:gd name="T9" fmla="*/ 21 h 21"/>
                <a:gd name="T10" fmla="*/ 12 w 12"/>
                <a:gd name="T11" fmla="*/ 21 h 21"/>
                <a:gd name="T12" fmla="*/ 12 w 12"/>
                <a:gd name="T13" fmla="*/ 0 h 21"/>
                <a:gd name="T14" fmla="*/ 7 w 12"/>
                <a:gd name="T15" fmla="*/ 0 h 21"/>
                <a:gd name="T16" fmla="*/ 0 w 12"/>
                <a:gd name="T17" fmla="*/ 6 h 21"/>
                <a:gd name="T18" fmla="*/ 3 w 12"/>
                <a:gd name="T19" fmla="*/ 9 h 21"/>
                <a:gd name="T20" fmla="*/ 5 w 12"/>
                <a:gd name="T21"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5" y="8"/>
                  </a:moveTo>
                  <a:lnTo>
                    <a:pt x="5" y="8"/>
                  </a:lnTo>
                  <a:cubicBezTo>
                    <a:pt x="6" y="7"/>
                    <a:pt x="6" y="7"/>
                    <a:pt x="6" y="6"/>
                  </a:cubicBezTo>
                  <a:cubicBezTo>
                    <a:pt x="6" y="7"/>
                    <a:pt x="6" y="9"/>
                    <a:pt x="6" y="10"/>
                  </a:cubicBezTo>
                  <a:lnTo>
                    <a:pt x="6" y="21"/>
                  </a:lnTo>
                  <a:lnTo>
                    <a:pt x="12" y="21"/>
                  </a:lnTo>
                  <a:lnTo>
                    <a:pt x="12" y="0"/>
                  </a:lnTo>
                  <a:lnTo>
                    <a:pt x="7" y="0"/>
                  </a:lnTo>
                  <a:lnTo>
                    <a:pt x="0" y="6"/>
                  </a:lnTo>
                  <a:lnTo>
                    <a:pt x="3" y="9"/>
                  </a:lnTo>
                  <a:lnTo>
                    <a:pt x="5" y="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33">
              <a:extLst>
                <a:ext uri="{FF2B5EF4-FFF2-40B4-BE49-F238E27FC236}">
                  <a16:creationId xmlns:a16="http://schemas.microsoft.com/office/drawing/2014/main" id="{09A525C7-62F3-43B1-837F-E431207FF303}"/>
                </a:ext>
              </a:extLst>
            </p:cNvPr>
            <p:cNvSpPr>
              <a:spLocks noEditPoints="1"/>
            </p:cNvSpPr>
            <p:nvPr/>
          </p:nvSpPr>
          <p:spPr bwMode="auto">
            <a:xfrm>
              <a:off x="6489701" y="4500563"/>
              <a:ext cx="14288" cy="20638"/>
            </a:xfrm>
            <a:custGeom>
              <a:avLst/>
              <a:gdLst>
                <a:gd name="T0" fmla="*/ 7 w 15"/>
                <a:gd name="T1" fmla="*/ 0 h 21"/>
                <a:gd name="T2" fmla="*/ 7 w 15"/>
                <a:gd name="T3" fmla="*/ 0 h 21"/>
                <a:gd name="T4" fmla="*/ 2 w 15"/>
                <a:gd name="T5" fmla="*/ 2 h 21"/>
                <a:gd name="T6" fmla="*/ 0 w 15"/>
                <a:gd name="T7" fmla="*/ 11 h 21"/>
                <a:gd name="T8" fmla="*/ 2 w 15"/>
                <a:gd name="T9" fmla="*/ 19 h 21"/>
                <a:gd name="T10" fmla="*/ 7 w 15"/>
                <a:gd name="T11" fmla="*/ 21 h 21"/>
                <a:gd name="T12" fmla="*/ 13 w 15"/>
                <a:gd name="T13" fmla="*/ 19 h 21"/>
                <a:gd name="T14" fmla="*/ 15 w 15"/>
                <a:gd name="T15" fmla="*/ 11 h 21"/>
                <a:gd name="T16" fmla="*/ 13 w 15"/>
                <a:gd name="T17" fmla="*/ 2 h 21"/>
                <a:gd name="T18" fmla="*/ 7 w 15"/>
                <a:gd name="T19" fmla="*/ 0 h 21"/>
                <a:gd name="T20" fmla="*/ 9 w 15"/>
                <a:gd name="T21" fmla="*/ 15 h 21"/>
                <a:gd name="T22" fmla="*/ 9 w 15"/>
                <a:gd name="T23" fmla="*/ 15 h 21"/>
                <a:gd name="T24" fmla="*/ 7 w 15"/>
                <a:gd name="T25" fmla="*/ 17 h 21"/>
                <a:gd name="T26" fmla="*/ 6 w 15"/>
                <a:gd name="T27" fmla="*/ 15 h 21"/>
                <a:gd name="T28" fmla="*/ 5 w 15"/>
                <a:gd name="T29" fmla="*/ 11 h 21"/>
                <a:gd name="T30" fmla="*/ 6 w 15"/>
                <a:gd name="T31" fmla="*/ 6 h 21"/>
                <a:gd name="T32" fmla="*/ 7 w 15"/>
                <a:gd name="T33" fmla="*/ 4 h 21"/>
                <a:gd name="T34" fmla="*/ 9 w 15"/>
                <a:gd name="T35" fmla="*/ 6 h 21"/>
                <a:gd name="T36" fmla="*/ 9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7" y="0"/>
                  </a:moveTo>
                  <a:lnTo>
                    <a:pt x="7" y="0"/>
                  </a:lnTo>
                  <a:cubicBezTo>
                    <a:pt x="5" y="0"/>
                    <a:pt x="3" y="1"/>
                    <a:pt x="2" y="2"/>
                  </a:cubicBezTo>
                  <a:cubicBezTo>
                    <a:pt x="0" y="4"/>
                    <a:pt x="0" y="7"/>
                    <a:pt x="0" y="11"/>
                  </a:cubicBezTo>
                  <a:cubicBezTo>
                    <a:pt x="0" y="14"/>
                    <a:pt x="0" y="17"/>
                    <a:pt x="2" y="19"/>
                  </a:cubicBezTo>
                  <a:cubicBezTo>
                    <a:pt x="3" y="20"/>
                    <a:pt x="5" y="21"/>
                    <a:pt x="7" y="21"/>
                  </a:cubicBezTo>
                  <a:cubicBezTo>
                    <a:pt x="10" y="21"/>
                    <a:pt x="12" y="20"/>
                    <a:pt x="13" y="19"/>
                  </a:cubicBezTo>
                  <a:cubicBezTo>
                    <a:pt x="14" y="17"/>
                    <a:pt x="15" y="14"/>
                    <a:pt x="15" y="11"/>
                  </a:cubicBezTo>
                  <a:cubicBezTo>
                    <a:pt x="15" y="7"/>
                    <a:pt x="14" y="4"/>
                    <a:pt x="13" y="2"/>
                  </a:cubicBezTo>
                  <a:cubicBezTo>
                    <a:pt x="12" y="1"/>
                    <a:pt x="10" y="0"/>
                    <a:pt x="7" y="0"/>
                  </a:cubicBezTo>
                  <a:close/>
                  <a:moveTo>
                    <a:pt x="9" y="15"/>
                  </a:moveTo>
                  <a:lnTo>
                    <a:pt x="9" y="15"/>
                  </a:lnTo>
                  <a:cubicBezTo>
                    <a:pt x="9" y="16"/>
                    <a:pt x="8" y="17"/>
                    <a:pt x="7" y="17"/>
                  </a:cubicBezTo>
                  <a:cubicBezTo>
                    <a:pt x="7" y="17"/>
                    <a:pt x="6" y="16"/>
                    <a:pt x="6" y="15"/>
                  </a:cubicBezTo>
                  <a:cubicBezTo>
                    <a:pt x="6" y="15"/>
                    <a:pt x="5" y="13"/>
                    <a:pt x="5" y="11"/>
                  </a:cubicBezTo>
                  <a:cubicBezTo>
                    <a:pt x="5" y="8"/>
                    <a:pt x="6" y="6"/>
                    <a:pt x="6" y="6"/>
                  </a:cubicBezTo>
                  <a:cubicBezTo>
                    <a:pt x="6" y="5"/>
                    <a:pt x="7" y="4"/>
                    <a:pt x="7" y="4"/>
                  </a:cubicBezTo>
                  <a:cubicBezTo>
                    <a:pt x="8" y="4"/>
                    <a:pt x="9" y="5"/>
                    <a:pt x="9" y="6"/>
                  </a:cubicBezTo>
                  <a:cubicBezTo>
                    <a:pt x="9" y="7"/>
                    <a:pt x="9" y="8"/>
                    <a:pt x="9" y="11"/>
                  </a:cubicBezTo>
                  <a:cubicBezTo>
                    <a:pt x="9" y="13"/>
                    <a:pt x="9"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34">
              <a:extLst>
                <a:ext uri="{FF2B5EF4-FFF2-40B4-BE49-F238E27FC236}">
                  <a16:creationId xmlns:a16="http://schemas.microsoft.com/office/drawing/2014/main" id="{258D6A32-3123-483D-B2BC-EABC05F5A14A}"/>
                </a:ext>
              </a:extLst>
            </p:cNvPr>
            <p:cNvSpPr>
              <a:spLocks/>
            </p:cNvSpPr>
            <p:nvPr/>
          </p:nvSpPr>
          <p:spPr bwMode="auto">
            <a:xfrm>
              <a:off x="6505576" y="4500563"/>
              <a:ext cx="12700" cy="20638"/>
            </a:xfrm>
            <a:custGeom>
              <a:avLst/>
              <a:gdLst>
                <a:gd name="T0" fmla="*/ 6 w 13"/>
                <a:gd name="T1" fmla="*/ 8 h 21"/>
                <a:gd name="T2" fmla="*/ 6 w 13"/>
                <a:gd name="T3" fmla="*/ 8 h 21"/>
                <a:gd name="T4" fmla="*/ 7 w 13"/>
                <a:gd name="T5" fmla="*/ 6 h 21"/>
                <a:gd name="T6" fmla="*/ 7 w 13"/>
                <a:gd name="T7" fmla="*/ 10 h 21"/>
                <a:gd name="T8" fmla="*/ 7 w 13"/>
                <a:gd name="T9" fmla="*/ 21 h 21"/>
                <a:gd name="T10" fmla="*/ 13 w 13"/>
                <a:gd name="T11" fmla="*/ 21 h 21"/>
                <a:gd name="T12" fmla="*/ 13 w 13"/>
                <a:gd name="T13" fmla="*/ 0 h 21"/>
                <a:gd name="T14" fmla="*/ 7 w 13"/>
                <a:gd name="T15" fmla="*/ 0 h 21"/>
                <a:gd name="T16" fmla="*/ 0 w 13"/>
                <a:gd name="T17" fmla="*/ 6 h 21"/>
                <a:gd name="T18" fmla="*/ 3 w 13"/>
                <a:gd name="T19" fmla="*/ 9 h 21"/>
                <a:gd name="T20" fmla="*/ 6 w 13"/>
                <a:gd name="T21"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1">
                  <a:moveTo>
                    <a:pt x="6" y="8"/>
                  </a:moveTo>
                  <a:lnTo>
                    <a:pt x="6" y="8"/>
                  </a:lnTo>
                  <a:cubicBezTo>
                    <a:pt x="6" y="7"/>
                    <a:pt x="7" y="7"/>
                    <a:pt x="7" y="6"/>
                  </a:cubicBezTo>
                  <a:cubicBezTo>
                    <a:pt x="7" y="7"/>
                    <a:pt x="7" y="9"/>
                    <a:pt x="7" y="10"/>
                  </a:cubicBezTo>
                  <a:lnTo>
                    <a:pt x="7" y="21"/>
                  </a:lnTo>
                  <a:lnTo>
                    <a:pt x="13" y="21"/>
                  </a:lnTo>
                  <a:lnTo>
                    <a:pt x="13" y="0"/>
                  </a:lnTo>
                  <a:lnTo>
                    <a:pt x="7" y="0"/>
                  </a:lnTo>
                  <a:lnTo>
                    <a:pt x="0" y="6"/>
                  </a:lnTo>
                  <a:lnTo>
                    <a:pt x="3" y="9"/>
                  </a:lnTo>
                  <a:lnTo>
                    <a:pt x="6" y="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35">
              <a:extLst>
                <a:ext uri="{FF2B5EF4-FFF2-40B4-BE49-F238E27FC236}">
                  <a16:creationId xmlns:a16="http://schemas.microsoft.com/office/drawing/2014/main" id="{B2B5F18A-B997-4B65-94B7-3223B4124F01}"/>
                </a:ext>
              </a:extLst>
            </p:cNvPr>
            <p:cNvSpPr>
              <a:spLocks noEditPoints="1"/>
            </p:cNvSpPr>
            <p:nvPr/>
          </p:nvSpPr>
          <p:spPr bwMode="auto">
            <a:xfrm>
              <a:off x="6523038" y="4500563"/>
              <a:ext cx="14288" cy="20638"/>
            </a:xfrm>
            <a:custGeom>
              <a:avLst/>
              <a:gdLst>
                <a:gd name="T0" fmla="*/ 8 w 15"/>
                <a:gd name="T1" fmla="*/ 0 h 21"/>
                <a:gd name="T2" fmla="*/ 8 w 15"/>
                <a:gd name="T3" fmla="*/ 0 h 21"/>
                <a:gd name="T4" fmla="*/ 2 w 15"/>
                <a:gd name="T5" fmla="*/ 2 h 21"/>
                <a:gd name="T6" fmla="*/ 0 w 15"/>
                <a:gd name="T7" fmla="*/ 11 h 21"/>
                <a:gd name="T8" fmla="*/ 2 w 15"/>
                <a:gd name="T9" fmla="*/ 19 h 21"/>
                <a:gd name="T10" fmla="*/ 8 w 15"/>
                <a:gd name="T11" fmla="*/ 21 h 21"/>
                <a:gd name="T12" fmla="*/ 14 w 15"/>
                <a:gd name="T13" fmla="*/ 19 h 21"/>
                <a:gd name="T14" fmla="*/ 15 w 15"/>
                <a:gd name="T15" fmla="*/ 11 h 21"/>
                <a:gd name="T16" fmla="*/ 13 w 15"/>
                <a:gd name="T17" fmla="*/ 2 h 21"/>
                <a:gd name="T18" fmla="*/ 8 w 15"/>
                <a:gd name="T19" fmla="*/ 0 h 21"/>
                <a:gd name="T20" fmla="*/ 9 w 15"/>
                <a:gd name="T21" fmla="*/ 15 h 21"/>
                <a:gd name="T22" fmla="*/ 9 w 15"/>
                <a:gd name="T23" fmla="*/ 15 h 21"/>
                <a:gd name="T24" fmla="*/ 8 w 15"/>
                <a:gd name="T25" fmla="*/ 17 h 21"/>
                <a:gd name="T26" fmla="*/ 6 w 15"/>
                <a:gd name="T27" fmla="*/ 15 h 21"/>
                <a:gd name="T28" fmla="*/ 6 w 15"/>
                <a:gd name="T29" fmla="*/ 11 h 21"/>
                <a:gd name="T30" fmla="*/ 6 w 15"/>
                <a:gd name="T31" fmla="*/ 6 h 21"/>
                <a:gd name="T32" fmla="*/ 8 w 15"/>
                <a:gd name="T33" fmla="*/ 4 h 21"/>
                <a:gd name="T34" fmla="*/ 9 w 15"/>
                <a:gd name="T35" fmla="*/ 6 h 21"/>
                <a:gd name="T36" fmla="*/ 10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8" y="0"/>
                  </a:moveTo>
                  <a:lnTo>
                    <a:pt x="8" y="0"/>
                  </a:lnTo>
                  <a:cubicBezTo>
                    <a:pt x="5" y="0"/>
                    <a:pt x="3" y="1"/>
                    <a:pt x="2" y="2"/>
                  </a:cubicBezTo>
                  <a:cubicBezTo>
                    <a:pt x="1" y="4"/>
                    <a:pt x="0" y="7"/>
                    <a:pt x="0" y="11"/>
                  </a:cubicBezTo>
                  <a:cubicBezTo>
                    <a:pt x="0" y="14"/>
                    <a:pt x="1" y="17"/>
                    <a:pt x="2" y="19"/>
                  </a:cubicBezTo>
                  <a:cubicBezTo>
                    <a:pt x="3" y="20"/>
                    <a:pt x="5" y="21"/>
                    <a:pt x="8" y="21"/>
                  </a:cubicBezTo>
                  <a:cubicBezTo>
                    <a:pt x="10" y="21"/>
                    <a:pt x="12" y="20"/>
                    <a:pt x="14" y="19"/>
                  </a:cubicBezTo>
                  <a:cubicBezTo>
                    <a:pt x="15" y="17"/>
                    <a:pt x="15" y="14"/>
                    <a:pt x="15" y="11"/>
                  </a:cubicBezTo>
                  <a:cubicBezTo>
                    <a:pt x="15" y="7"/>
                    <a:pt x="15" y="4"/>
                    <a:pt x="13" y="2"/>
                  </a:cubicBezTo>
                  <a:cubicBezTo>
                    <a:pt x="12" y="1"/>
                    <a:pt x="10" y="0"/>
                    <a:pt x="8" y="0"/>
                  </a:cubicBezTo>
                  <a:close/>
                  <a:moveTo>
                    <a:pt x="9" y="15"/>
                  </a:moveTo>
                  <a:lnTo>
                    <a:pt x="9" y="15"/>
                  </a:lnTo>
                  <a:cubicBezTo>
                    <a:pt x="9" y="16"/>
                    <a:pt x="9" y="17"/>
                    <a:pt x="8" y="17"/>
                  </a:cubicBezTo>
                  <a:cubicBezTo>
                    <a:pt x="7" y="17"/>
                    <a:pt x="7" y="16"/>
                    <a:pt x="6" y="15"/>
                  </a:cubicBezTo>
                  <a:cubicBezTo>
                    <a:pt x="6" y="15"/>
                    <a:pt x="6" y="13"/>
                    <a:pt x="6" y="11"/>
                  </a:cubicBezTo>
                  <a:cubicBezTo>
                    <a:pt x="6" y="8"/>
                    <a:pt x="6" y="6"/>
                    <a:pt x="6" y="6"/>
                  </a:cubicBezTo>
                  <a:cubicBezTo>
                    <a:pt x="7" y="5"/>
                    <a:pt x="7" y="4"/>
                    <a:pt x="8" y="4"/>
                  </a:cubicBezTo>
                  <a:cubicBezTo>
                    <a:pt x="9" y="4"/>
                    <a:pt x="9" y="5"/>
                    <a:pt x="9" y="6"/>
                  </a:cubicBezTo>
                  <a:cubicBezTo>
                    <a:pt x="10" y="7"/>
                    <a:pt x="10" y="8"/>
                    <a:pt x="10" y="11"/>
                  </a:cubicBezTo>
                  <a:cubicBezTo>
                    <a:pt x="10" y="13"/>
                    <a:pt x="10"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36">
              <a:extLst>
                <a:ext uri="{FF2B5EF4-FFF2-40B4-BE49-F238E27FC236}">
                  <a16:creationId xmlns:a16="http://schemas.microsoft.com/office/drawing/2014/main" id="{50DDAA21-F06E-418C-A9A2-D200DD614148}"/>
                </a:ext>
              </a:extLst>
            </p:cNvPr>
            <p:cNvSpPr>
              <a:spLocks noEditPoints="1"/>
            </p:cNvSpPr>
            <p:nvPr/>
          </p:nvSpPr>
          <p:spPr bwMode="auto">
            <a:xfrm>
              <a:off x="6538913" y="4500563"/>
              <a:ext cx="15875" cy="20638"/>
            </a:xfrm>
            <a:custGeom>
              <a:avLst/>
              <a:gdLst>
                <a:gd name="T0" fmla="*/ 8 w 16"/>
                <a:gd name="T1" fmla="*/ 0 h 21"/>
                <a:gd name="T2" fmla="*/ 8 w 16"/>
                <a:gd name="T3" fmla="*/ 0 h 21"/>
                <a:gd name="T4" fmla="*/ 2 w 16"/>
                <a:gd name="T5" fmla="*/ 2 h 21"/>
                <a:gd name="T6" fmla="*/ 0 w 16"/>
                <a:gd name="T7" fmla="*/ 11 h 21"/>
                <a:gd name="T8" fmla="*/ 2 w 16"/>
                <a:gd name="T9" fmla="*/ 19 h 21"/>
                <a:gd name="T10" fmla="*/ 8 w 16"/>
                <a:gd name="T11" fmla="*/ 21 h 21"/>
                <a:gd name="T12" fmla="*/ 14 w 16"/>
                <a:gd name="T13" fmla="*/ 19 h 21"/>
                <a:gd name="T14" fmla="*/ 16 w 16"/>
                <a:gd name="T15" fmla="*/ 11 h 21"/>
                <a:gd name="T16" fmla="*/ 14 w 16"/>
                <a:gd name="T17" fmla="*/ 2 h 21"/>
                <a:gd name="T18" fmla="*/ 8 w 16"/>
                <a:gd name="T19" fmla="*/ 0 h 21"/>
                <a:gd name="T20" fmla="*/ 10 w 16"/>
                <a:gd name="T21" fmla="*/ 15 h 21"/>
                <a:gd name="T22" fmla="*/ 10 w 16"/>
                <a:gd name="T23" fmla="*/ 15 h 21"/>
                <a:gd name="T24" fmla="*/ 8 w 16"/>
                <a:gd name="T25" fmla="*/ 17 h 21"/>
                <a:gd name="T26" fmla="*/ 7 w 16"/>
                <a:gd name="T27" fmla="*/ 15 h 21"/>
                <a:gd name="T28" fmla="*/ 6 w 16"/>
                <a:gd name="T29" fmla="*/ 11 h 21"/>
                <a:gd name="T30" fmla="*/ 7 w 16"/>
                <a:gd name="T31" fmla="*/ 6 h 21"/>
                <a:gd name="T32" fmla="*/ 8 w 16"/>
                <a:gd name="T33" fmla="*/ 4 h 21"/>
                <a:gd name="T34" fmla="*/ 10 w 16"/>
                <a:gd name="T35" fmla="*/ 6 h 21"/>
                <a:gd name="T36" fmla="*/ 10 w 16"/>
                <a:gd name="T37" fmla="*/ 11 h 21"/>
                <a:gd name="T38" fmla="*/ 10 w 16"/>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21">
                  <a:moveTo>
                    <a:pt x="8" y="0"/>
                  </a:moveTo>
                  <a:lnTo>
                    <a:pt x="8" y="0"/>
                  </a:lnTo>
                  <a:cubicBezTo>
                    <a:pt x="5" y="0"/>
                    <a:pt x="4" y="1"/>
                    <a:pt x="2" y="2"/>
                  </a:cubicBezTo>
                  <a:cubicBezTo>
                    <a:pt x="1" y="4"/>
                    <a:pt x="0" y="7"/>
                    <a:pt x="0" y="11"/>
                  </a:cubicBezTo>
                  <a:cubicBezTo>
                    <a:pt x="0" y="14"/>
                    <a:pt x="1" y="17"/>
                    <a:pt x="2" y="19"/>
                  </a:cubicBezTo>
                  <a:cubicBezTo>
                    <a:pt x="4" y="20"/>
                    <a:pt x="6" y="21"/>
                    <a:pt x="8" y="21"/>
                  </a:cubicBezTo>
                  <a:cubicBezTo>
                    <a:pt x="11" y="21"/>
                    <a:pt x="13" y="20"/>
                    <a:pt x="14" y="19"/>
                  </a:cubicBezTo>
                  <a:cubicBezTo>
                    <a:pt x="15" y="17"/>
                    <a:pt x="16" y="14"/>
                    <a:pt x="16" y="11"/>
                  </a:cubicBezTo>
                  <a:cubicBezTo>
                    <a:pt x="16" y="7"/>
                    <a:pt x="15" y="4"/>
                    <a:pt x="14" y="2"/>
                  </a:cubicBezTo>
                  <a:cubicBezTo>
                    <a:pt x="12" y="1"/>
                    <a:pt x="11" y="0"/>
                    <a:pt x="8" y="0"/>
                  </a:cubicBezTo>
                  <a:close/>
                  <a:moveTo>
                    <a:pt x="10" y="15"/>
                  </a:moveTo>
                  <a:lnTo>
                    <a:pt x="10" y="15"/>
                  </a:lnTo>
                  <a:cubicBezTo>
                    <a:pt x="9" y="16"/>
                    <a:pt x="9" y="17"/>
                    <a:pt x="8" y="17"/>
                  </a:cubicBezTo>
                  <a:cubicBezTo>
                    <a:pt x="7" y="17"/>
                    <a:pt x="7" y="16"/>
                    <a:pt x="7" y="15"/>
                  </a:cubicBezTo>
                  <a:cubicBezTo>
                    <a:pt x="6" y="15"/>
                    <a:pt x="6" y="13"/>
                    <a:pt x="6" y="11"/>
                  </a:cubicBezTo>
                  <a:cubicBezTo>
                    <a:pt x="6" y="8"/>
                    <a:pt x="6" y="6"/>
                    <a:pt x="7" y="6"/>
                  </a:cubicBezTo>
                  <a:cubicBezTo>
                    <a:pt x="7" y="5"/>
                    <a:pt x="7" y="4"/>
                    <a:pt x="8" y="4"/>
                  </a:cubicBezTo>
                  <a:cubicBezTo>
                    <a:pt x="9" y="4"/>
                    <a:pt x="9" y="5"/>
                    <a:pt x="10" y="6"/>
                  </a:cubicBezTo>
                  <a:cubicBezTo>
                    <a:pt x="10" y="7"/>
                    <a:pt x="10" y="8"/>
                    <a:pt x="10" y="11"/>
                  </a:cubicBezTo>
                  <a:cubicBezTo>
                    <a:pt x="10" y="13"/>
                    <a:pt x="10" y="14"/>
                    <a:pt x="10"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37">
              <a:extLst>
                <a:ext uri="{FF2B5EF4-FFF2-40B4-BE49-F238E27FC236}">
                  <a16:creationId xmlns:a16="http://schemas.microsoft.com/office/drawing/2014/main" id="{3EF5FD5A-75D6-4294-A643-C288869BC83F}"/>
                </a:ext>
              </a:extLst>
            </p:cNvPr>
            <p:cNvSpPr>
              <a:spLocks/>
            </p:cNvSpPr>
            <p:nvPr/>
          </p:nvSpPr>
          <p:spPr bwMode="auto">
            <a:xfrm>
              <a:off x="6556376" y="4500563"/>
              <a:ext cx="11113" cy="20638"/>
            </a:xfrm>
            <a:custGeom>
              <a:avLst/>
              <a:gdLst>
                <a:gd name="T0" fmla="*/ 5 w 12"/>
                <a:gd name="T1" fmla="*/ 8 h 21"/>
                <a:gd name="T2" fmla="*/ 5 w 12"/>
                <a:gd name="T3" fmla="*/ 8 h 21"/>
                <a:gd name="T4" fmla="*/ 6 w 12"/>
                <a:gd name="T5" fmla="*/ 6 h 21"/>
                <a:gd name="T6" fmla="*/ 6 w 12"/>
                <a:gd name="T7" fmla="*/ 10 h 21"/>
                <a:gd name="T8" fmla="*/ 6 w 12"/>
                <a:gd name="T9" fmla="*/ 21 h 21"/>
                <a:gd name="T10" fmla="*/ 12 w 12"/>
                <a:gd name="T11" fmla="*/ 21 h 21"/>
                <a:gd name="T12" fmla="*/ 12 w 12"/>
                <a:gd name="T13" fmla="*/ 0 h 21"/>
                <a:gd name="T14" fmla="*/ 7 w 12"/>
                <a:gd name="T15" fmla="*/ 0 h 21"/>
                <a:gd name="T16" fmla="*/ 0 w 12"/>
                <a:gd name="T17" fmla="*/ 6 h 21"/>
                <a:gd name="T18" fmla="*/ 3 w 12"/>
                <a:gd name="T19" fmla="*/ 9 h 21"/>
                <a:gd name="T20" fmla="*/ 5 w 12"/>
                <a:gd name="T21"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5" y="8"/>
                  </a:moveTo>
                  <a:lnTo>
                    <a:pt x="5" y="8"/>
                  </a:lnTo>
                  <a:cubicBezTo>
                    <a:pt x="6" y="7"/>
                    <a:pt x="6" y="7"/>
                    <a:pt x="6" y="6"/>
                  </a:cubicBezTo>
                  <a:cubicBezTo>
                    <a:pt x="6" y="7"/>
                    <a:pt x="6" y="9"/>
                    <a:pt x="6" y="10"/>
                  </a:cubicBezTo>
                  <a:lnTo>
                    <a:pt x="6" y="21"/>
                  </a:lnTo>
                  <a:lnTo>
                    <a:pt x="12" y="21"/>
                  </a:lnTo>
                  <a:lnTo>
                    <a:pt x="12" y="0"/>
                  </a:lnTo>
                  <a:lnTo>
                    <a:pt x="7" y="0"/>
                  </a:lnTo>
                  <a:lnTo>
                    <a:pt x="0" y="6"/>
                  </a:lnTo>
                  <a:lnTo>
                    <a:pt x="3" y="9"/>
                  </a:lnTo>
                  <a:lnTo>
                    <a:pt x="5" y="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38">
              <a:extLst>
                <a:ext uri="{FF2B5EF4-FFF2-40B4-BE49-F238E27FC236}">
                  <a16:creationId xmlns:a16="http://schemas.microsoft.com/office/drawing/2014/main" id="{586866EF-EAED-449A-9EDB-FEB06C058779}"/>
                </a:ext>
              </a:extLst>
            </p:cNvPr>
            <p:cNvSpPr>
              <a:spLocks/>
            </p:cNvSpPr>
            <p:nvPr/>
          </p:nvSpPr>
          <p:spPr bwMode="auto">
            <a:xfrm>
              <a:off x="6572251" y="4500563"/>
              <a:ext cx="11113" cy="20638"/>
            </a:xfrm>
            <a:custGeom>
              <a:avLst/>
              <a:gdLst>
                <a:gd name="T0" fmla="*/ 0 w 12"/>
                <a:gd name="T1" fmla="*/ 6 h 21"/>
                <a:gd name="T2" fmla="*/ 0 w 12"/>
                <a:gd name="T3" fmla="*/ 6 h 21"/>
                <a:gd name="T4" fmla="*/ 3 w 12"/>
                <a:gd name="T5" fmla="*/ 9 h 21"/>
                <a:gd name="T6" fmla="*/ 5 w 12"/>
                <a:gd name="T7" fmla="*/ 8 h 21"/>
                <a:gd name="T8" fmla="*/ 7 w 12"/>
                <a:gd name="T9" fmla="*/ 6 h 21"/>
                <a:gd name="T10" fmla="*/ 7 w 12"/>
                <a:gd name="T11" fmla="*/ 10 h 21"/>
                <a:gd name="T12" fmla="*/ 7 w 12"/>
                <a:gd name="T13" fmla="*/ 21 h 21"/>
                <a:gd name="T14" fmla="*/ 12 w 12"/>
                <a:gd name="T15" fmla="*/ 21 h 21"/>
                <a:gd name="T16" fmla="*/ 12 w 12"/>
                <a:gd name="T17" fmla="*/ 0 h 21"/>
                <a:gd name="T18" fmla="*/ 7 w 12"/>
                <a:gd name="T19" fmla="*/ 0 h 21"/>
                <a:gd name="T20" fmla="*/ 0 w 12"/>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0" y="6"/>
                  </a:moveTo>
                  <a:lnTo>
                    <a:pt x="0" y="6"/>
                  </a:lnTo>
                  <a:lnTo>
                    <a:pt x="3" y="9"/>
                  </a:lnTo>
                  <a:lnTo>
                    <a:pt x="5" y="8"/>
                  </a:lnTo>
                  <a:cubicBezTo>
                    <a:pt x="6" y="7"/>
                    <a:pt x="6" y="7"/>
                    <a:pt x="7" y="6"/>
                  </a:cubicBezTo>
                  <a:cubicBezTo>
                    <a:pt x="7" y="7"/>
                    <a:pt x="7" y="9"/>
                    <a:pt x="7" y="10"/>
                  </a:cubicBezTo>
                  <a:lnTo>
                    <a:pt x="7" y="21"/>
                  </a:lnTo>
                  <a:lnTo>
                    <a:pt x="12" y="21"/>
                  </a:lnTo>
                  <a:lnTo>
                    <a:pt x="12" y="0"/>
                  </a:lnTo>
                  <a:lnTo>
                    <a:pt x="7"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39">
              <a:extLst>
                <a:ext uri="{FF2B5EF4-FFF2-40B4-BE49-F238E27FC236}">
                  <a16:creationId xmlns:a16="http://schemas.microsoft.com/office/drawing/2014/main" id="{EA4ADE18-21AC-4619-B700-B77550F53D66}"/>
                </a:ext>
              </a:extLst>
            </p:cNvPr>
            <p:cNvSpPr>
              <a:spLocks noEditPoints="1"/>
            </p:cNvSpPr>
            <p:nvPr/>
          </p:nvSpPr>
          <p:spPr bwMode="auto">
            <a:xfrm>
              <a:off x="6473826" y="4545013"/>
              <a:ext cx="14288" cy="20638"/>
            </a:xfrm>
            <a:custGeom>
              <a:avLst/>
              <a:gdLst>
                <a:gd name="T0" fmla="*/ 7 w 15"/>
                <a:gd name="T1" fmla="*/ 0 h 21"/>
                <a:gd name="T2" fmla="*/ 7 w 15"/>
                <a:gd name="T3" fmla="*/ 0 h 21"/>
                <a:gd name="T4" fmla="*/ 2 w 15"/>
                <a:gd name="T5" fmla="*/ 2 h 21"/>
                <a:gd name="T6" fmla="*/ 0 w 15"/>
                <a:gd name="T7" fmla="*/ 11 h 21"/>
                <a:gd name="T8" fmla="*/ 2 w 15"/>
                <a:gd name="T9" fmla="*/ 19 h 21"/>
                <a:gd name="T10" fmla="*/ 7 w 15"/>
                <a:gd name="T11" fmla="*/ 21 h 21"/>
                <a:gd name="T12" fmla="*/ 13 w 15"/>
                <a:gd name="T13" fmla="*/ 19 h 21"/>
                <a:gd name="T14" fmla="*/ 15 w 15"/>
                <a:gd name="T15" fmla="*/ 11 h 21"/>
                <a:gd name="T16" fmla="*/ 13 w 15"/>
                <a:gd name="T17" fmla="*/ 2 h 21"/>
                <a:gd name="T18" fmla="*/ 7 w 15"/>
                <a:gd name="T19" fmla="*/ 0 h 21"/>
                <a:gd name="T20" fmla="*/ 9 w 15"/>
                <a:gd name="T21" fmla="*/ 15 h 21"/>
                <a:gd name="T22" fmla="*/ 9 w 15"/>
                <a:gd name="T23" fmla="*/ 15 h 21"/>
                <a:gd name="T24" fmla="*/ 7 w 15"/>
                <a:gd name="T25" fmla="*/ 17 h 21"/>
                <a:gd name="T26" fmla="*/ 6 w 15"/>
                <a:gd name="T27" fmla="*/ 15 h 21"/>
                <a:gd name="T28" fmla="*/ 5 w 15"/>
                <a:gd name="T29" fmla="*/ 11 h 21"/>
                <a:gd name="T30" fmla="*/ 6 w 15"/>
                <a:gd name="T31" fmla="*/ 6 h 21"/>
                <a:gd name="T32" fmla="*/ 7 w 15"/>
                <a:gd name="T33" fmla="*/ 4 h 21"/>
                <a:gd name="T34" fmla="*/ 9 w 15"/>
                <a:gd name="T35" fmla="*/ 6 h 21"/>
                <a:gd name="T36" fmla="*/ 9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7" y="0"/>
                  </a:moveTo>
                  <a:lnTo>
                    <a:pt x="7" y="0"/>
                  </a:lnTo>
                  <a:cubicBezTo>
                    <a:pt x="5" y="0"/>
                    <a:pt x="3" y="1"/>
                    <a:pt x="2" y="2"/>
                  </a:cubicBezTo>
                  <a:cubicBezTo>
                    <a:pt x="0" y="4"/>
                    <a:pt x="0" y="7"/>
                    <a:pt x="0" y="11"/>
                  </a:cubicBezTo>
                  <a:cubicBezTo>
                    <a:pt x="0" y="14"/>
                    <a:pt x="0" y="17"/>
                    <a:pt x="2" y="19"/>
                  </a:cubicBezTo>
                  <a:cubicBezTo>
                    <a:pt x="3" y="20"/>
                    <a:pt x="5" y="21"/>
                    <a:pt x="7" y="21"/>
                  </a:cubicBezTo>
                  <a:cubicBezTo>
                    <a:pt x="10" y="21"/>
                    <a:pt x="12" y="20"/>
                    <a:pt x="13" y="19"/>
                  </a:cubicBezTo>
                  <a:cubicBezTo>
                    <a:pt x="14" y="17"/>
                    <a:pt x="15" y="14"/>
                    <a:pt x="15" y="11"/>
                  </a:cubicBezTo>
                  <a:cubicBezTo>
                    <a:pt x="15" y="7"/>
                    <a:pt x="14" y="4"/>
                    <a:pt x="13" y="2"/>
                  </a:cubicBezTo>
                  <a:cubicBezTo>
                    <a:pt x="12" y="1"/>
                    <a:pt x="10" y="0"/>
                    <a:pt x="7" y="0"/>
                  </a:cubicBezTo>
                  <a:close/>
                  <a:moveTo>
                    <a:pt x="9" y="15"/>
                  </a:moveTo>
                  <a:lnTo>
                    <a:pt x="9" y="15"/>
                  </a:lnTo>
                  <a:cubicBezTo>
                    <a:pt x="8" y="16"/>
                    <a:pt x="8" y="17"/>
                    <a:pt x="7" y="17"/>
                  </a:cubicBezTo>
                  <a:cubicBezTo>
                    <a:pt x="7" y="17"/>
                    <a:pt x="6" y="16"/>
                    <a:pt x="6" y="15"/>
                  </a:cubicBezTo>
                  <a:cubicBezTo>
                    <a:pt x="5" y="15"/>
                    <a:pt x="5" y="13"/>
                    <a:pt x="5" y="11"/>
                  </a:cubicBezTo>
                  <a:cubicBezTo>
                    <a:pt x="5" y="8"/>
                    <a:pt x="5" y="7"/>
                    <a:pt x="6" y="6"/>
                  </a:cubicBezTo>
                  <a:cubicBezTo>
                    <a:pt x="6" y="5"/>
                    <a:pt x="7" y="4"/>
                    <a:pt x="7" y="4"/>
                  </a:cubicBezTo>
                  <a:cubicBezTo>
                    <a:pt x="8" y="4"/>
                    <a:pt x="8" y="5"/>
                    <a:pt x="9" y="6"/>
                  </a:cubicBezTo>
                  <a:cubicBezTo>
                    <a:pt x="9" y="7"/>
                    <a:pt x="9" y="8"/>
                    <a:pt x="9" y="11"/>
                  </a:cubicBezTo>
                  <a:cubicBezTo>
                    <a:pt x="9" y="13"/>
                    <a:pt x="9"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40">
              <a:extLst>
                <a:ext uri="{FF2B5EF4-FFF2-40B4-BE49-F238E27FC236}">
                  <a16:creationId xmlns:a16="http://schemas.microsoft.com/office/drawing/2014/main" id="{454A0EE6-8D2F-47A9-A837-9A8271843B63}"/>
                </a:ext>
              </a:extLst>
            </p:cNvPr>
            <p:cNvSpPr>
              <a:spLocks/>
            </p:cNvSpPr>
            <p:nvPr/>
          </p:nvSpPr>
          <p:spPr bwMode="auto">
            <a:xfrm>
              <a:off x="6489701" y="4545013"/>
              <a:ext cx="11113" cy="20638"/>
            </a:xfrm>
            <a:custGeom>
              <a:avLst/>
              <a:gdLst>
                <a:gd name="T0" fmla="*/ 7 w 12"/>
                <a:gd name="T1" fmla="*/ 21 h 21"/>
                <a:gd name="T2" fmla="*/ 7 w 12"/>
                <a:gd name="T3" fmla="*/ 21 h 21"/>
                <a:gd name="T4" fmla="*/ 12 w 12"/>
                <a:gd name="T5" fmla="*/ 21 h 21"/>
                <a:gd name="T6" fmla="*/ 12 w 12"/>
                <a:gd name="T7" fmla="*/ 0 h 21"/>
                <a:gd name="T8" fmla="*/ 7 w 12"/>
                <a:gd name="T9" fmla="*/ 0 h 21"/>
                <a:gd name="T10" fmla="*/ 0 w 12"/>
                <a:gd name="T11" fmla="*/ 6 h 21"/>
                <a:gd name="T12" fmla="*/ 3 w 12"/>
                <a:gd name="T13" fmla="*/ 10 h 21"/>
                <a:gd name="T14" fmla="*/ 5 w 12"/>
                <a:gd name="T15" fmla="*/ 8 h 21"/>
                <a:gd name="T16" fmla="*/ 7 w 12"/>
                <a:gd name="T17" fmla="*/ 6 h 21"/>
                <a:gd name="T18" fmla="*/ 7 w 12"/>
                <a:gd name="T19" fmla="*/ 10 h 21"/>
                <a:gd name="T20" fmla="*/ 7 w 12"/>
                <a:gd name="T2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7" y="21"/>
                  </a:moveTo>
                  <a:lnTo>
                    <a:pt x="7" y="21"/>
                  </a:lnTo>
                  <a:lnTo>
                    <a:pt x="12" y="21"/>
                  </a:lnTo>
                  <a:lnTo>
                    <a:pt x="12" y="0"/>
                  </a:lnTo>
                  <a:lnTo>
                    <a:pt x="7" y="0"/>
                  </a:lnTo>
                  <a:lnTo>
                    <a:pt x="0" y="6"/>
                  </a:lnTo>
                  <a:lnTo>
                    <a:pt x="3" y="10"/>
                  </a:lnTo>
                  <a:lnTo>
                    <a:pt x="5" y="8"/>
                  </a:lnTo>
                  <a:cubicBezTo>
                    <a:pt x="6" y="7"/>
                    <a:pt x="6" y="7"/>
                    <a:pt x="7" y="6"/>
                  </a:cubicBezTo>
                  <a:cubicBezTo>
                    <a:pt x="7" y="7"/>
                    <a:pt x="7" y="9"/>
                    <a:pt x="7" y="10"/>
                  </a:cubicBezTo>
                  <a:lnTo>
                    <a:pt x="7" y="2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41">
              <a:extLst>
                <a:ext uri="{FF2B5EF4-FFF2-40B4-BE49-F238E27FC236}">
                  <a16:creationId xmlns:a16="http://schemas.microsoft.com/office/drawing/2014/main" id="{2E8B88AC-A897-4DB8-A43D-85BCB912204F}"/>
                </a:ext>
              </a:extLst>
            </p:cNvPr>
            <p:cNvSpPr>
              <a:spLocks noEditPoints="1"/>
            </p:cNvSpPr>
            <p:nvPr/>
          </p:nvSpPr>
          <p:spPr bwMode="auto">
            <a:xfrm>
              <a:off x="6505576" y="4545013"/>
              <a:ext cx="14288" cy="20638"/>
            </a:xfrm>
            <a:custGeom>
              <a:avLst/>
              <a:gdLst>
                <a:gd name="T0" fmla="*/ 8 w 15"/>
                <a:gd name="T1" fmla="*/ 0 h 21"/>
                <a:gd name="T2" fmla="*/ 8 w 15"/>
                <a:gd name="T3" fmla="*/ 0 h 21"/>
                <a:gd name="T4" fmla="*/ 2 w 15"/>
                <a:gd name="T5" fmla="*/ 2 h 21"/>
                <a:gd name="T6" fmla="*/ 0 w 15"/>
                <a:gd name="T7" fmla="*/ 11 h 21"/>
                <a:gd name="T8" fmla="*/ 2 w 15"/>
                <a:gd name="T9" fmla="*/ 19 h 21"/>
                <a:gd name="T10" fmla="*/ 8 w 15"/>
                <a:gd name="T11" fmla="*/ 21 h 21"/>
                <a:gd name="T12" fmla="*/ 13 w 15"/>
                <a:gd name="T13" fmla="*/ 19 h 21"/>
                <a:gd name="T14" fmla="*/ 15 w 15"/>
                <a:gd name="T15" fmla="*/ 11 h 21"/>
                <a:gd name="T16" fmla="*/ 13 w 15"/>
                <a:gd name="T17" fmla="*/ 2 h 21"/>
                <a:gd name="T18" fmla="*/ 8 w 15"/>
                <a:gd name="T19" fmla="*/ 0 h 21"/>
                <a:gd name="T20" fmla="*/ 9 w 15"/>
                <a:gd name="T21" fmla="*/ 15 h 21"/>
                <a:gd name="T22" fmla="*/ 9 w 15"/>
                <a:gd name="T23" fmla="*/ 15 h 21"/>
                <a:gd name="T24" fmla="*/ 8 w 15"/>
                <a:gd name="T25" fmla="*/ 17 h 21"/>
                <a:gd name="T26" fmla="*/ 6 w 15"/>
                <a:gd name="T27" fmla="*/ 15 h 21"/>
                <a:gd name="T28" fmla="*/ 6 w 15"/>
                <a:gd name="T29" fmla="*/ 11 h 21"/>
                <a:gd name="T30" fmla="*/ 6 w 15"/>
                <a:gd name="T31" fmla="*/ 6 h 21"/>
                <a:gd name="T32" fmla="*/ 8 w 15"/>
                <a:gd name="T33" fmla="*/ 4 h 21"/>
                <a:gd name="T34" fmla="*/ 9 w 15"/>
                <a:gd name="T35" fmla="*/ 6 h 21"/>
                <a:gd name="T36" fmla="*/ 10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8" y="0"/>
                  </a:moveTo>
                  <a:lnTo>
                    <a:pt x="8" y="0"/>
                  </a:lnTo>
                  <a:cubicBezTo>
                    <a:pt x="5" y="0"/>
                    <a:pt x="3" y="1"/>
                    <a:pt x="2" y="2"/>
                  </a:cubicBezTo>
                  <a:cubicBezTo>
                    <a:pt x="1" y="4"/>
                    <a:pt x="0" y="7"/>
                    <a:pt x="0" y="11"/>
                  </a:cubicBezTo>
                  <a:cubicBezTo>
                    <a:pt x="0" y="14"/>
                    <a:pt x="1" y="17"/>
                    <a:pt x="2" y="19"/>
                  </a:cubicBezTo>
                  <a:cubicBezTo>
                    <a:pt x="3" y="20"/>
                    <a:pt x="5" y="21"/>
                    <a:pt x="8" y="21"/>
                  </a:cubicBezTo>
                  <a:cubicBezTo>
                    <a:pt x="10" y="21"/>
                    <a:pt x="12" y="20"/>
                    <a:pt x="13" y="19"/>
                  </a:cubicBezTo>
                  <a:cubicBezTo>
                    <a:pt x="15" y="17"/>
                    <a:pt x="15" y="14"/>
                    <a:pt x="15" y="11"/>
                  </a:cubicBezTo>
                  <a:cubicBezTo>
                    <a:pt x="15" y="7"/>
                    <a:pt x="15" y="4"/>
                    <a:pt x="13" y="2"/>
                  </a:cubicBezTo>
                  <a:cubicBezTo>
                    <a:pt x="12" y="1"/>
                    <a:pt x="10" y="0"/>
                    <a:pt x="8" y="0"/>
                  </a:cubicBezTo>
                  <a:close/>
                  <a:moveTo>
                    <a:pt x="9" y="15"/>
                  </a:moveTo>
                  <a:lnTo>
                    <a:pt x="9" y="15"/>
                  </a:lnTo>
                  <a:cubicBezTo>
                    <a:pt x="9" y="16"/>
                    <a:pt x="8" y="17"/>
                    <a:pt x="8" y="17"/>
                  </a:cubicBezTo>
                  <a:cubicBezTo>
                    <a:pt x="7" y="17"/>
                    <a:pt x="6" y="16"/>
                    <a:pt x="6" y="15"/>
                  </a:cubicBezTo>
                  <a:cubicBezTo>
                    <a:pt x="6" y="15"/>
                    <a:pt x="6" y="13"/>
                    <a:pt x="6" y="11"/>
                  </a:cubicBezTo>
                  <a:cubicBezTo>
                    <a:pt x="6" y="8"/>
                    <a:pt x="6" y="7"/>
                    <a:pt x="6" y="6"/>
                  </a:cubicBezTo>
                  <a:cubicBezTo>
                    <a:pt x="6" y="5"/>
                    <a:pt x="7" y="4"/>
                    <a:pt x="8" y="4"/>
                  </a:cubicBezTo>
                  <a:cubicBezTo>
                    <a:pt x="8" y="4"/>
                    <a:pt x="9" y="5"/>
                    <a:pt x="9" y="6"/>
                  </a:cubicBezTo>
                  <a:cubicBezTo>
                    <a:pt x="9" y="7"/>
                    <a:pt x="10" y="8"/>
                    <a:pt x="10" y="11"/>
                  </a:cubicBezTo>
                  <a:cubicBezTo>
                    <a:pt x="10" y="13"/>
                    <a:pt x="9"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42">
              <a:extLst>
                <a:ext uri="{FF2B5EF4-FFF2-40B4-BE49-F238E27FC236}">
                  <a16:creationId xmlns:a16="http://schemas.microsoft.com/office/drawing/2014/main" id="{674B08F1-7C28-4322-9D28-337073FE24E5}"/>
                </a:ext>
              </a:extLst>
            </p:cNvPr>
            <p:cNvSpPr>
              <a:spLocks/>
            </p:cNvSpPr>
            <p:nvPr/>
          </p:nvSpPr>
          <p:spPr bwMode="auto">
            <a:xfrm>
              <a:off x="6523038" y="4545013"/>
              <a:ext cx="12700" cy="20638"/>
            </a:xfrm>
            <a:custGeom>
              <a:avLst/>
              <a:gdLst>
                <a:gd name="T0" fmla="*/ 0 w 13"/>
                <a:gd name="T1" fmla="*/ 6 h 21"/>
                <a:gd name="T2" fmla="*/ 0 w 13"/>
                <a:gd name="T3" fmla="*/ 6 h 21"/>
                <a:gd name="T4" fmla="*/ 3 w 13"/>
                <a:gd name="T5" fmla="*/ 10 h 21"/>
                <a:gd name="T6" fmla="*/ 6 w 13"/>
                <a:gd name="T7" fmla="*/ 8 h 21"/>
                <a:gd name="T8" fmla="*/ 7 w 13"/>
                <a:gd name="T9" fmla="*/ 6 h 21"/>
                <a:gd name="T10" fmla="*/ 7 w 13"/>
                <a:gd name="T11" fmla="*/ 10 h 21"/>
                <a:gd name="T12" fmla="*/ 7 w 13"/>
                <a:gd name="T13" fmla="*/ 21 h 21"/>
                <a:gd name="T14" fmla="*/ 13 w 13"/>
                <a:gd name="T15" fmla="*/ 21 h 21"/>
                <a:gd name="T16" fmla="*/ 13 w 13"/>
                <a:gd name="T17" fmla="*/ 0 h 21"/>
                <a:gd name="T18" fmla="*/ 8 w 13"/>
                <a:gd name="T19" fmla="*/ 0 h 21"/>
                <a:gd name="T20" fmla="*/ 0 w 13"/>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1">
                  <a:moveTo>
                    <a:pt x="0" y="6"/>
                  </a:moveTo>
                  <a:lnTo>
                    <a:pt x="0" y="6"/>
                  </a:lnTo>
                  <a:lnTo>
                    <a:pt x="3" y="10"/>
                  </a:lnTo>
                  <a:lnTo>
                    <a:pt x="6" y="8"/>
                  </a:lnTo>
                  <a:cubicBezTo>
                    <a:pt x="6" y="7"/>
                    <a:pt x="7" y="7"/>
                    <a:pt x="7" y="6"/>
                  </a:cubicBezTo>
                  <a:cubicBezTo>
                    <a:pt x="7" y="7"/>
                    <a:pt x="7" y="9"/>
                    <a:pt x="7" y="10"/>
                  </a:cubicBezTo>
                  <a:lnTo>
                    <a:pt x="7" y="21"/>
                  </a:lnTo>
                  <a:lnTo>
                    <a:pt x="13" y="21"/>
                  </a:lnTo>
                  <a:lnTo>
                    <a:pt x="13" y="0"/>
                  </a:lnTo>
                  <a:lnTo>
                    <a:pt x="8"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43">
              <a:extLst>
                <a:ext uri="{FF2B5EF4-FFF2-40B4-BE49-F238E27FC236}">
                  <a16:creationId xmlns:a16="http://schemas.microsoft.com/office/drawing/2014/main" id="{3721DB5A-7EDE-427F-9E44-F52AB1D49AEC}"/>
                </a:ext>
              </a:extLst>
            </p:cNvPr>
            <p:cNvSpPr>
              <a:spLocks noEditPoints="1"/>
            </p:cNvSpPr>
            <p:nvPr/>
          </p:nvSpPr>
          <p:spPr bwMode="auto">
            <a:xfrm>
              <a:off x="6538913" y="4545013"/>
              <a:ext cx="15875" cy="20638"/>
            </a:xfrm>
            <a:custGeom>
              <a:avLst/>
              <a:gdLst>
                <a:gd name="T0" fmla="*/ 8 w 16"/>
                <a:gd name="T1" fmla="*/ 0 h 21"/>
                <a:gd name="T2" fmla="*/ 8 w 16"/>
                <a:gd name="T3" fmla="*/ 0 h 21"/>
                <a:gd name="T4" fmla="*/ 2 w 16"/>
                <a:gd name="T5" fmla="*/ 2 h 21"/>
                <a:gd name="T6" fmla="*/ 0 w 16"/>
                <a:gd name="T7" fmla="*/ 11 h 21"/>
                <a:gd name="T8" fmla="*/ 2 w 16"/>
                <a:gd name="T9" fmla="*/ 19 h 21"/>
                <a:gd name="T10" fmla="*/ 8 w 16"/>
                <a:gd name="T11" fmla="*/ 21 h 21"/>
                <a:gd name="T12" fmla="*/ 14 w 16"/>
                <a:gd name="T13" fmla="*/ 19 h 21"/>
                <a:gd name="T14" fmla="*/ 16 w 16"/>
                <a:gd name="T15" fmla="*/ 11 h 21"/>
                <a:gd name="T16" fmla="*/ 14 w 16"/>
                <a:gd name="T17" fmla="*/ 2 h 21"/>
                <a:gd name="T18" fmla="*/ 8 w 16"/>
                <a:gd name="T19" fmla="*/ 0 h 21"/>
                <a:gd name="T20" fmla="*/ 10 w 16"/>
                <a:gd name="T21" fmla="*/ 15 h 21"/>
                <a:gd name="T22" fmla="*/ 10 w 16"/>
                <a:gd name="T23" fmla="*/ 15 h 21"/>
                <a:gd name="T24" fmla="*/ 8 w 16"/>
                <a:gd name="T25" fmla="*/ 17 h 21"/>
                <a:gd name="T26" fmla="*/ 7 w 16"/>
                <a:gd name="T27" fmla="*/ 15 h 21"/>
                <a:gd name="T28" fmla="*/ 6 w 16"/>
                <a:gd name="T29" fmla="*/ 11 h 21"/>
                <a:gd name="T30" fmla="*/ 7 w 16"/>
                <a:gd name="T31" fmla="*/ 6 h 21"/>
                <a:gd name="T32" fmla="*/ 8 w 16"/>
                <a:gd name="T33" fmla="*/ 4 h 21"/>
                <a:gd name="T34" fmla="*/ 10 w 16"/>
                <a:gd name="T35" fmla="*/ 6 h 21"/>
                <a:gd name="T36" fmla="*/ 10 w 16"/>
                <a:gd name="T37" fmla="*/ 11 h 21"/>
                <a:gd name="T38" fmla="*/ 10 w 16"/>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21">
                  <a:moveTo>
                    <a:pt x="8" y="0"/>
                  </a:moveTo>
                  <a:lnTo>
                    <a:pt x="8" y="0"/>
                  </a:lnTo>
                  <a:cubicBezTo>
                    <a:pt x="5" y="0"/>
                    <a:pt x="4" y="1"/>
                    <a:pt x="2" y="2"/>
                  </a:cubicBezTo>
                  <a:cubicBezTo>
                    <a:pt x="1" y="4"/>
                    <a:pt x="0" y="7"/>
                    <a:pt x="0" y="11"/>
                  </a:cubicBezTo>
                  <a:cubicBezTo>
                    <a:pt x="0" y="14"/>
                    <a:pt x="1" y="17"/>
                    <a:pt x="2" y="19"/>
                  </a:cubicBezTo>
                  <a:cubicBezTo>
                    <a:pt x="4" y="20"/>
                    <a:pt x="6" y="21"/>
                    <a:pt x="8" y="21"/>
                  </a:cubicBezTo>
                  <a:cubicBezTo>
                    <a:pt x="11" y="21"/>
                    <a:pt x="13" y="20"/>
                    <a:pt x="14" y="19"/>
                  </a:cubicBezTo>
                  <a:cubicBezTo>
                    <a:pt x="15" y="17"/>
                    <a:pt x="16" y="14"/>
                    <a:pt x="16" y="11"/>
                  </a:cubicBezTo>
                  <a:cubicBezTo>
                    <a:pt x="16" y="7"/>
                    <a:pt x="15" y="4"/>
                    <a:pt x="14" y="2"/>
                  </a:cubicBezTo>
                  <a:cubicBezTo>
                    <a:pt x="12" y="1"/>
                    <a:pt x="11" y="0"/>
                    <a:pt x="8" y="0"/>
                  </a:cubicBezTo>
                  <a:close/>
                  <a:moveTo>
                    <a:pt x="10" y="15"/>
                  </a:moveTo>
                  <a:lnTo>
                    <a:pt x="10" y="15"/>
                  </a:lnTo>
                  <a:cubicBezTo>
                    <a:pt x="9" y="16"/>
                    <a:pt x="9" y="17"/>
                    <a:pt x="8" y="17"/>
                  </a:cubicBezTo>
                  <a:cubicBezTo>
                    <a:pt x="7" y="17"/>
                    <a:pt x="7" y="16"/>
                    <a:pt x="7" y="15"/>
                  </a:cubicBezTo>
                  <a:cubicBezTo>
                    <a:pt x="6" y="15"/>
                    <a:pt x="6" y="13"/>
                    <a:pt x="6" y="11"/>
                  </a:cubicBezTo>
                  <a:cubicBezTo>
                    <a:pt x="6" y="8"/>
                    <a:pt x="6" y="7"/>
                    <a:pt x="7" y="6"/>
                  </a:cubicBezTo>
                  <a:cubicBezTo>
                    <a:pt x="7" y="5"/>
                    <a:pt x="7" y="4"/>
                    <a:pt x="8" y="4"/>
                  </a:cubicBezTo>
                  <a:cubicBezTo>
                    <a:pt x="9" y="4"/>
                    <a:pt x="9" y="5"/>
                    <a:pt x="10" y="6"/>
                  </a:cubicBezTo>
                  <a:cubicBezTo>
                    <a:pt x="10" y="7"/>
                    <a:pt x="10" y="8"/>
                    <a:pt x="10" y="11"/>
                  </a:cubicBezTo>
                  <a:cubicBezTo>
                    <a:pt x="10" y="13"/>
                    <a:pt x="10" y="14"/>
                    <a:pt x="10"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44">
              <a:extLst>
                <a:ext uri="{FF2B5EF4-FFF2-40B4-BE49-F238E27FC236}">
                  <a16:creationId xmlns:a16="http://schemas.microsoft.com/office/drawing/2014/main" id="{D0460896-242F-4E65-818F-29F8F7BF5BCD}"/>
                </a:ext>
              </a:extLst>
            </p:cNvPr>
            <p:cNvSpPr>
              <a:spLocks noEditPoints="1"/>
            </p:cNvSpPr>
            <p:nvPr/>
          </p:nvSpPr>
          <p:spPr bwMode="auto">
            <a:xfrm>
              <a:off x="6556376" y="4545013"/>
              <a:ext cx="14288" cy="20638"/>
            </a:xfrm>
            <a:custGeom>
              <a:avLst/>
              <a:gdLst>
                <a:gd name="T0" fmla="*/ 7 w 15"/>
                <a:gd name="T1" fmla="*/ 0 h 21"/>
                <a:gd name="T2" fmla="*/ 7 w 15"/>
                <a:gd name="T3" fmla="*/ 0 h 21"/>
                <a:gd name="T4" fmla="*/ 2 w 15"/>
                <a:gd name="T5" fmla="*/ 2 h 21"/>
                <a:gd name="T6" fmla="*/ 0 w 15"/>
                <a:gd name="T7" fmla="*/ 11 h 21"/>
                <a:gd name="T8" fmla="*/ 2 w 15"/>
                <a:gd name="T9" fmla="*/ 19 h 21"/>
                <a:gd name="T10" fmla="*/ 7 w 15"/>
                <a:gd name="T11" fmla="*/ 21 h 21"/>
                <a:gd name="T12" fmla="*/ 13 w 15"/>
                <a:gd name="T13" fmla="*/ 19 h 21"/>
                <a:gd name="T14" fmla="*/ 15 w 15"/>
                <a:gd name="T15" fmla="*/ 11 h 21"/>
                <a:gd name="T16" fmla="*/ 13 w 15"/>
                <a:gd name="T17" fmla="*/ 2 h 21"/>
                <a:gd name="T18" fmla="*/ 7 w 15"/>
                <a:gd name="T19" fmla="*/ 0 h 21"/>
                <a:gd name="T20" fmla="*/ 9 w 15"/>
                <a:gd name="T21" fmla="*/ 15 h 21"/>
                <a:gd name="T22" fmla="*/ 9 w 15"/>
                <a:gd name="T23" fmla="*/ 15 h 21"/>
                <a:gd name="T24" fmla="*/ 7 w 15"/>
                <a:gd name="T25" fmla="*/ 17 h 21"/>
                <a:gd name="T26" fmla="*/ 6 w 15"/>
                <a:gd name="T27" fmla="*/ 15 h 21"/>
                <a:gd name="T28" fmla="*/ 5 w 15"/>
                <a:gd name="T29" fmla="*/ 11 h 21"/>
                <a:gd name="T30" fmla="*/ 6 w 15"/>
                <a:gd name="T31" fmla="*/ 6 h 21"/>
                <a:gd name="T32" fmla="*/ 7 w 15"/>
                <a:gd name="T33" fmla="*/ 4 h 21"/>
                <a:gd name="T34" fmla="*/ 9 w 15"/>
                <a:gd name="T35" fmla="*/ 6 h 21"/>
                <a:gd name="T36" fmla="*/ 9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7" y="0"/>
                  </a:moveTo>
                  <a:lnTo>
                    <a:pt x="7" y="0"/>
                  </a:lnTo>
                  <a:cubicBezTo>
                    <a:pt x="5" y="0"/>
                    <a:pt x="3" y="1"/>
                    <a:pt x="2" y="2"/>
                  </a:cubicBezTo>
                  <a:cubicBezTo>
                    <a:pt x="0" y="4"/>
                    <a:pt x="0" y="7"/>
                    <a:pt x="0" y="11"/>
                  </a:cubicBezTo>
                  <a:cubicBezTo>
                    <a:pt x="0" y="14"/>
                    <a:pt x="0" y="17"/>
                    <a:pt x="2" y="19"/>
                  </a:cubicBezTo>
                  <a:cubicBezTo>
                    <a:pt x="3" y="20"/>
                    <a:pt x="5" y="21"/>
                    <a:pt x="7" y="21"/>
                  </a:cubicBezTo>
                  <a:cubicBezTo>
                    <a:pt x="10" y="21"/>
                    <a:pt x="12" y="20"/>
                    <a:pt x="13" y="19"/>
                  </a:cubicBezTo>
                  <a:cubicBezTo>
                    <a:pt x="14" y="17"/>
                    <a:pt x="15" y="14"/>
                    <a:pt x="15" y="11"/>
                  </a:cubicBezTo>
                  <a:cubicBezTo>
                    <a:pt x="15" y="7"/>
                    <a:pt x="14" y="4"/>
                    <a:pt x="13" y="2"/>
                  </a:cubicBezTo>
                  <a:cubicBezTo>
                    <a:pt x="12" y="1"/>
                    <a:pt x="10" y="0"/>
                    <a:pt x="7" y="0"/>
                  </a:cubicBezTo>
                  <a:close/>
                  <a:moveTo>
                    <a:pt x="9" y="15"/>
                  </a:moveTo>
                  <a:lnTo>
                    <a:pt x="9" y="15"/>
                  </a:lnTo>
                  <a:cubicBezTo>
                    <a:pt x="8" y="16"/>
                    <a:pt x="8" y="17"/>
                    <a:pt x="7" y="17"/>
                  </a:cubicBezTo>
                  <a:cubicBezTo>
                    <a:pt x="7" y="17"/>
                    <a:pt x="6" y="16"/>
                    <a:pt x="6" y="15"/>
                  </a:cubicBezTo>
                  <a:cubicBezTo>
                    <a:pt x="5" y="15"/>
                    <a:pt x="5" y="13"/>
                    <a:pt x="5" y="11"/>
                  </a:cubicBezTo>
                  <a:cubicBezTo>
                    <a:pt x="5" y="8"/>
                    <a:pt x="5" y="7"/>
                    <a:pt x="6" y="6"/>
                  </a:cubicBezTo>
                  <a:cubicBezTo>
                    <a:pt x="6" y="5"/>
                    <a:pt x="7" y="4"/>
                    <a:pt x="7" y="4"/>
                  </a:cubicBezTo>
                  <a:cubicBezTo>
                    <a:pt x="8" y="4"/>
                    <a:pt x="8" y="5"/>
                    <a:pt x="9" y="6"/>
                  </a:cubicBezTo>
                  <a:cubicBezTo>
                    <a:pt x="9" y="7"/>
                    <a:pt x="9" y="8"/>
                    <a:pt x="9" y="11"/>
                  </a:cubicBezTo>
                  <a:cubicBezTo>
                    <a:pt x="9" y="13"/>
                    <a:pt x="9"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45">
              <a:extLst>
                <a:ext uri="{FF2B5EF4-FFF2-40B4-BE49-F238E27FC236}">
                  <a16:creationId xmlns:a16="http://schemas.microsoft.com/office/drawing/2014/main" id="{6CEB0F18-FA82-4F21-80CB-04B27E76C145}"/>
                </a:ext>
              </a:extLst>
            </p:cNvPr>
            <p:cNvSpPr>
              <a:spLocks/>
            </p:cNvSpPr>
            <p:nvPr/>
          </p:nvSpPr>
          <p:spPr bwMode="auto">
            <a:xfrm>
              <a:off x="6572251" y="4545013"/>
              <a:ext cx="11113" cy="20638"/>
            </a:xfrm>
            <a:custGeom>
              <a:avLst/>
              <a:gdLst>
                <a:gd name="T0" fmla="*/ 0 w 12"/>
                <a:gd name="T1" fmla="*/ 6 h 21"/>
                <a:gd name="T2" fmla="*/ 0 w 12"/>
                <a:gd name="T3" fmla="*/ 6 h 21"/>
                <a:gd name="T4" fmla="*/ 3 w 12"/>
                <a:gd name="T5" fmla="*/ 10 h 21"/>
                <a:gd name="T6" fmla="*/ 5 w 12"/>
                <a:gd name="T7" fmla="*/ 8 h 21"/>
                <a:gd name="T8" fmla="*/ 7 w 12"/>
                <a:gd name="T9" fmla="*/ 6 h 21"/>
                <a:gd name="T10" fmla="*/ 7 w 12"/>
                <a:gd name="T11" fmla="*/ 10 h 21"/>
                <a:gd name="T12" fmla="*/ 7 w 12"/>
                <a:gd name="T13" fmla="*/ 21 h 21"/>
                <a:gd name="T14" fmla="*/ 12 w 12"/>
                <a:gd name="T15" fmla="*/ 21 h 21"/>
                <a:gd name="T16" fmla="*/ 12 w 12"/>
                <a:gd name="T17" fmla="*/ 0 h 21"/>
                <a:gd name="T18" fmla="*/ 7 w 12"/>
                <a:gd name="T19" fmla="*/ 0 h 21"/>
                <a:gd name="T20" fmla="*/ 0 w 12"/>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0" y="6"/>
                  </a:moveTo>
                  <a:lnTo>
                    <a:pt x="0" y="6"/>
                  </a:lnTo>
                  <a:lnTo>
                    <a:pt x="3" y="10"/>
                  </a:lnTo>
                  <a:lnTo>
                    <a:pt x="5" y="8"/>
                  </a:lnTo>
                  <a:cubicBezTo>
                    <a:pt x="6" y="7"/>
                    <a:pt x="6" y="7"/>
                    <a:pt x="7" y="6"/>
                  </a:cubicBezTo>
                  <a:cubicBezTo>
                    <a:pt x="7" y="7"/>
                    <a:pt x="7" y="9"/>
                    <a:pt x="7" y="10"/>
                  </a:cubicBezTo>
                  <a:lnTo>
                    <a:pt x="7" y="21"/>
                  </a:lnTo>
                  <a:lnTo>
                    <a:pt x="12" y="21"/>
                  </a:lnTo>
                  <a:lnTo>
                    <a:pt x="12" y="0"/>
                  </a:lnTo>
                  <a:lnTo>
                    <a:pt x="7"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46">
              <a:extLst>
                <a:ext uri="{FF2B5EF4-FFF2-40B4-BE49-F238E27FC236}">
                  <a16:creationId xmlns:a16="http://schemas.microsoft.com/office/drawing/2014/main" id="{6727870B-A75B-47D9-8EF2-316243EA8774}"/>
                </a:ext>
              </a:extLst>
            </p:cNvPr>
            <p:cNvSpPr>
              <a:spLocks noEditPoints="1"/>
            </p:cNvSpPr>
            <p:nvPr/>
          </p:nvSpPr>
          <p:spPr bwMode="auto">
            <a:xfrm>
              <a:off x="6588126" y="4545013"/>
              <a:ext cx="15875" cy="20638"/>
            </a:xfrm>
            <a:custGeom>
              <a:avLst/>
              <a:gdLst>
                <a:gd name="T0" fmla="*/ 8 w 15"/>
                <a:gd name="T1" fmla="*/ 0 h 21"/>
                <a:gd name="T2" fmla="*/ 8 w 15"/>
                <a:gd name="T3" fmla="*/ 0 h 21"/>
                <a:gd name="T4" fmla="*/ 2 w 15"/>
                <a:gd name="T5" fmla="*/ 2 h 21"/>
                <a:gd name="T6" fmla="*/ 0 w 15"/>
                <a:gd name="T7" fmla="*/ 11 h 21"/>
                <a:gd name="T8" fmla="*/ 2 w 15"/>
                <a:gd name="T9" fmla="*/ 19 h 21"/>
                <a:gd name="T10" fmla="*/ 8 w 15"/>
                <a:gd name="T11" fmla="*/ 21 h 21"/>
                <a:gd name="T12" fmla="*/ 13 w 15"/>
                <a:gd name="T13" fmla="*/ 19 h 21"/>
                <a:gd name="T14" fmla="*/ 15 w 15"/>
                <a:gd name="T15" fmla="*/ 11 h 21"/>
                <a:gd name="T16" fmla="*/ 13 w 15"/>
                <a:gd name="T17" fmla="*/ 2 h 21"/>
                <a:gd name="T18" fmla="*/ 8 w 15"/>
                <a:gd name="T19" fmla="*/ 0 h 21"/>
                <a:gd name="T20" fmla="*/ 9 w 15"/>
                <a:gd name="T21" fmla="*/ 15 h 21"/>
                <a:gd name="T22" fmla="*/ 9 w 15"/>
                <a:gd name="T23" fmla="*/ 15 h 21"/>
                <a:gd name="T24" fmla="*/ 8 w 15"/>
                <a:gd name="T25" fmla="*/ 17 h 21"/>
                <a:gd name="T26" fmla="*/ 6 w 15"/>
                <a:gd name="T27" fmla="*/ 15 h 21"/>
                <a:gd name="T28" fmla="*/ 6 w 15"/>
                <a:gd name="T29" fmla="*/ 11 h 21"/>
                <a:gd name="T30" fmla="*/ 6 w 15"/>
                <a:gd name="T31" fmla="*/ 6 h 21"/>
                <a:gd name="T32" fmla="*/ 8 w 15"/>
                <a:gd name="T33" fmla="*/ 4 h 21"/>
                <a:gd name="T34" fmla="*/ 9 w 15"/>
                <a:gd name="T35" fmla="*/ 6 h 21"/>
                <a:gd name="T36" fmla="*/ 10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8" y="0"/>
                  </a:moveTo>
                  <a:lnTo>
                    <a:pt x="8" y="0"/>
                  </a:lnTo>
                  <a:cubicBezTo>
                    <a:pt x="5" y="0"/>
                    <a:pt x="3" y="1"/>
                    <a:pt x="2" y="2"/>
                  </a:cubicBezTo>
                  <a:cubicBezTo>
                    <a:pt x="1" y="4"/>
                    <a:pt x="0" y="7"/>
                    <a:pt x="0" y="11"/>
                  </a:cubicBezTo>
                  <a:cubicBezTo>
                    <a:pt x="0" y="14"/>
                    <a:pt x="1" y="17"/>
                    <a:pt x="2" y="19"/>
                  </a:cubicBezTo>
                  <a:cubicBezTo>
                    <a:pt x="3" y="20"/>
                    <a:pt x="5" y="21"/>
                    <a:pt x="8" y="21"/>
                  </a:cubicBezTo>
                  <a:cubicBezTo>
                    <a:pt x="10" y="21"/>
                    <a:pt x="12" y="20"/>
                    <a:pt x="13" y="19"/>
                  </a:cubicBezTo>
                  <a:cubicBezTo>
                    <a:pt x="15" y="17"/>
                    <a:pt x="15" y="14"/>
                    <a:pt x="15" y="11"/>
                  </a:cubicBezTo>
                  <a:cubicBezTo>
                    <a:pt x="15" y="7"/>
                    <a:pt x="15" y="4"/>
                    <a:pt x="13" y="2"/>
                  </a:cubicBezTo>
                  <a:cubicBezTo>
                    <a:pt x="12" y="1"/>
                    <a:pt x="10" y="0"/>
                    <a:pt x="8" y="0"/>
                  </a:cubicBezTo>
                  <a:close/>
                  <a:moveTo>
                    <a:pt x="9" y="15"/>
                  </a:moveTo>
                  <a:lnTo>
                    <a:pt x="9" y="15"/>
                  </a:lnTo>
                  <a:cubicBezTo>
                    <a:pt x="9" y="16"/>
                    <a:pt x="8" y="17"/>
                    <a:pt x="8" y="17"/>
                  </a:cubicBezTo>
                  <a:cubicBezTo>
                    <a:pt x="7" y="17"/>
                    <a:pt x="6" y="16"/>
                    <a:pt x="6" y="15"/>
                  </a:cubicBezTo>
                  <a:cubicBezTo>
                    <a:pt x="6" y="15"/>
                    <a:pt x="6" y="13"/>
                    <a:pt x="6" y="11"/>
                  </a:cubicBezTo>
                  <a:cubicBezTo>
                    <a:pt x="6" y="8"/>
                    <a:pt x="6" y="7"/>
                    <a:pt x="6" y="6"/>
                  </a:cubicBezTo>
                  <a:cubicBezTo>
                    <a:pt x="6" y="5"/>
                    <a:pt x="7" y="4"/>
                    <a:pt x="8" y="4"/>
                  </a:cubicBezTo>
                  <a:cubicBezTo>
                    <a:pt x="8" y="4"/>
                    <a:pt x="9" y="5"/>
                    <a:pt x="9" y="6"/>
                  </a:cubicBezTo>
                  <a:cubicBezTo>
                    <a:pt x="9" y="7"/>
                    <a:pt x="10" y="8"/>
                    <a:pt x="10" y="11"/>
                  </a:cubicBezTo>
                  <a:cubicBezTo>
                    <a:pt x="10" y="13"/>
                    <a:pt x="9" y="14"/>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47">
              <a:extLst>
                <a:ext uri="{FF2B5EF4-FFF2-40B4-BE49-F238E27FC236}">
                  <a16:creationId xmlns:a16="http://schemas.microsoft.com/office/drawing/2014/main" id="{E1E6E1F7-8BA8-4EDF-B2DC-5A31980B47F9}"/>
                </a:ext>
              </a:extLst>
            </p:cNvPr>
            <p:cNvSpPr>
              <a:spLocks noEditPoints="1"/>
            </p:cNvSpPr>
            <p:nvPr/>
          </p:nvSpPr>
          <p:spPr bwMode="auto">
            <a:xfrm>
              <a:off x="6489701" y="4587875"/>
              <a:ext cx="14288" cy="20638"/>
            </a:xfrm>
            <a:custGeom>
              <a:avLst/>
              <a:gdLst>
                <a:gd name="T0" fmla="*/ 7 w 15"/>
                <a:gd name="T1" fmla="*/ 0 h 21"/>
                <a:gd name="T2" fmla="*/ 7 w 15"/>
                <a:gd name="T3" fmla="*/ 0 h 21"/>
                <a:gd name="T4" fmla="*/ 2 w 15"/>
                <a:gd name="T5" fmla="*/ 2 h 21"/>
                <a:gd name="T6" fmla="*/ 0 w 15"/>
                <a:gd name="T7" fmla="*/ 11 h 21"/>
                <a:gd name="T8" fmla="*/ 2 w 15"/>
                <a:gd name="T9" fmla="*/ 19 h 21"/>
                <a:gd name="T10" fmla="*/ 7 w 15"/>
                <a:gd name="T11" fmla="*/ 21 h 21"/>
                <a:gd name="T12" fmla="*/ 13 w 15"/>
                <a:gd name="T13" fmla="*/ 19 h 21"/>
                <a:gd name="T14" fmla="*/ 15 w 15"/>
                <a:gd name="T15" fmla="*/ 11 h 21"/>
                <a:gd name="T16" fmla="*/ 13 w 15"/>
                <a:gd name="T17" fmla="*/ 3 h 21"/>
                <a:gd name="T18" fmla="*/ 7 w 15"/>
                <a:gd name="T19" fmla="*/ 0 h 21"/>
                <a:gd name="T20" fmla="*/ 9 w 15"/>
                <a:gd name="T21" fmla="*/ 15 h 21"/>
                <a:gd name="T22" fmla="*/ 9 w 15"/>
                <a:gd name="T23" fmla="*/ 15 h 21"/>
                <a:gd name="T24" fmla="*/ 7 w 15"/>
                <a:gd name="T25" fmla="*/ 17 h 21"/>
                <a:gd name="T26" fmla="*/ 6 w 15"/>
                <a:gd name="T27" fmla="*/ 15 h 21"/>
                <a:gd name="T28" fmla="*/ 5 w 15"/>
                <a:gd name="T29" fmla="*/ 11 h 21"/>
                <a:gd name="T30" fmla="*/ 6 w 15"/>
                <a:gd name="T31" fmla="*/ 6 h 21"/>
                <a:gd name="T32" fmla="*/ 7 w 15"/>
                <a:gd name="T33" fmla="*/ 4 h 21"/>
                <a:gd name="T34" fmla="*/ 9 w 15"/>
                <a:gd name="T35" fmla="*/ 6 h 21"/>
                <a:gd name="T36" fmla="*/ 9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7" y="0"/>
                  </a:moveTo>
                  <a:lnTo>
                    <a:pt x="7" y="0"/>
                  </a:lnTo>
                  <a:cubicBezTo>
                    <a:pt x="5" y="0"/>
                    <a:pt x="3" y="1"/>
                    <a:pt x="2" y="2"/>
                  </a:cubicBezTo>
                  <a:cubicBezTo>
                    <a:pt x="0" y="4"/>
                    <a:pt x="0" y="7"/>
                    <a:pt x="0" y="11"/>
                  </a:cubicBezTo>
                  <a:cubicBezTo>
                    <a:pt x="0" y="14"/>
                    <a:pt x="0" y="17"/>
                    <a:pt x="2" y="19"/>
                  </a:cubicBezTo>
                  <a:cubicBezTo>
                    <a:pt x="3" y="20"/>
                    <a:pt x="5" y="21"/>
                    <a:pt x="7" y="21"/>
                  </a:cubicBezTo>
                  <a:cubicBezTo>
                    <a:pt x="10" y="21"/>
                    <a:pt x="12" y="20"/>
                    <a:pt x="13" y="19"/>
                  </a:cubicBezTo>
                  <a:cubicBezTo>
                    <a:pt x="14" y="17"/>
                    <a:pt x="15" y="14"/>
                    <a:pt x="15" y="11"/>
                  </a:cubicBezTo>
                  <a:cubicBezTo>
                    <a:pt x="15" y="7"/>
                    <a:pt x="14" y="4"/>
                    <a:pt x="13" y="3"/>
                  </a:cubicBezTo>
                  <a:cubicBezTo>
                    <a:pt x="12" y="1"/>
                    <a:pt x="10" y="0"/>
                    <a:pt x="7" y="0"/>
                  </a:cubicBezTo>
                  <a:close/>
                  <a:moveTo>
                    <a:pt x="9" y="15"/>
                  </a:moveTo>
                  <a:lnTo>
                    <a:pt x="9" y="15"/>
                  </a:lnTo>
                  <a:cubicBezTo>
                    <a:pt x="9" y="16"/>
                    <a:pt x="8" y="17"/>
                    <a:pt x="7" y="17"/>
                  </a:cubicBezTo>
                  <a:cubicBezTo>
                    <a:pt x="7" y="17"/>
                    <a:pt x="6" y="16"/>
                    <a:pt x="6" y="15"/>
                  </a:cubicBezTo>
                  <a:cubicBezTo>
                    <a:pt x="6" y="15"/>
                    <a:pt x="5" y="13"/>
                    <a:pt x="5" y="11"/>
                  </a:cubicBezTo>
                  <a:cubicBezTo>
                    <a:pt x="5" y="8"/>
                    <a:pt x="6" y="7"/>
                    <a:pt x="6" y="6"/>
                  </a:cubicBezTo>
                  <a:cubicBezTo>
                    <a:pt x="6" y="5"/>
                    <a:pt x="7" y="4"/>
                    <a:pt x="7" y="4"/>
                  </a:cubicBezTo>
                  <a:cubicBezTo>
                    <a:pt x="8" y="4"/>
                    <a:pt x="9" y="5"/>
                    <a:pt x="9" y="6"/>
                  </a:cubicBezTo>
                  <a:cubicBezTo>
                    <a:pt x="9" y="7"/>
                    <a:pt x="9" y="8"/>
                    <a:pt x="9" y="11"/>
                  </a:cubicBezTo>
                  <a:cubicBezTo>
                    <a:pt x="9" y="13"/>
                    <a:pt x="9" y="15"/>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48">
              <a:extLst>
                <a:ext uri="{FF2B5EF4-FFF2-40B4-BE49-F238E27FC236}">
                  <a16:creationId xmlns:a16="http://schemas.microsoft.com/office/drawing/2014/main" id="{B7D33839-CF34-4189-BCC8-A7897FB4740D}"/>
                </a:ext>
              </a:extLst>
            </p:cNvPr>
            <p:cNvSpPr>
              <a:spLocks/>
            </p:cNvSpPr>
            <p:nvPr/>
          </p:nvSpPr>
          <p:spPr bwMode="auto">
            <a:xfrm>
              <a:off x="6505576" y="4587875"/>
              <a:ext cx="12700" cy="20638"/>
            </a:xfrm>
            <a:custGeom>
              <a:avLst/>
              <a:gdLst>
                <a:gd name="T0" fmla="*/ 0 w 13"/>
                <a:gd name="T1" fmla="*/ 6 h 21"/>
                <a:gd name="T2" fmla="*/ 0 w 13"/>
                <a:gd name="T3" fmla="*/ 6 h 21"/>
                <a:gd name="T4" fmla="*/ 3 w 13"/>
                <a:gd name="T5" fmla="*/ 10 h 21"/>
                <a:gd name="T6" fmla="*/ 6 w 13"/>
                <a:gd name="T7" fmla="*/ 8 h 21"/>
                <a:gd name="T8" fmla="*/ 7 w 13"/>
                <a:gd name="T9" fmla="*/ 6 h 21"/>
                <a:gd name="T10" fmla="*/ 7 w 13"/>
                <a:gd name="T11" fmla="*/ 10 h 21"/>
                <a:gd name="T12" fmla="*/ 7 w 13"/>
                <a:gd name="T13" fmla="*/ 21 h 21"/>
                <a:gd name="T14" fmla="*/ 13 w 13"/>
                <a:gd name="T15" fmla="*/ 21 h 21"/>
                <a:gd name="T16" fmla="*/ 13 w 13"/>
                <a:gd name="T17" fmla="*/ 0 h 21"/>
                <a:gd name="T18" fmla="*/ 7 w 13"/>
                <a:gd name="T19" fmla="*/ 0 h 21"/>
                <a:gd name="T20" fmla="*/ 0 w 13"/>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1">
                  <a:moveTo>
                    <a:pt x="0" y="6"/>
                  </a:moveTo>
                  <a:lnTo>
                    <a:pt x="0" y="6"/>
                  </a:lnTo>
                  <a:lnTo>
                    <a:pt x="3" y="10"/>
                  </a:lnTo>
                  <a:lnTo>
                    <a:pt x="6" y="8"/>
                  </a:lnTo>
                  <a:cubicBezTo>
                    <a:pt x="6" y="7"/>
                    <a:pt x="7" y="7"/>
                    <a:pt x="7" y="6"/>
                  </a:cubicBezTo>
                  <a:cubicBezTo>
                    <a:pt x="7" y="7"/>
                    <a:pt x="7" y="9"/>
                    <a:pt x="7" y="10"/>
                  </a:cubicBezTo>
                  <a:lnTo>
                    <a:pt x="7" y="21"/>
                  </a:lnTo>
                  <a:lnTo>
                    <a:pt x="13" y="21"/>
                  </a:lnTo>
                  <a:lnTo>
                    <a:pt x="13" y="0"/>
                  </a:lnTo>
                  <a:lnTo>
                    <a:pt x="7"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49">
              <a:extLst>
                <a:ext uri="{FF2B5EF4-FFF2-40B4-BE49-F238E27FC236}">
                  <a16:creationId xmlns:a16="http://schemas.microsoft.com/office/drawing/2014/main" id="{ECAA3257-F38D-46E6-A995-F0F565D5F907}"/>
                </a:ext>
              </a:extLst>
            </p:cNvPr>
            <p:cNvSpPr>
              <a:spLocks/>
            </p:cNvSpPr>
            <p:nvPr/>
          </p:nvSpPr>
          <p:spPr bwMode="auto">
            <a:xfrm>
              <a:off x="6523038" y="4587875"/>
              <a:ext cx="12700" cy="20638"/>
            </a:xfrm>
            <a:custGeom>
              <a:avLst/>
              <a:gdLst>
                <a:gd name="T0" fmla="*/ 0 w 13"/>
                <a:gd name="T1" fmla="*/ 6 h 21"/>
                <a:gd name="T2" fmla="*/ 0 w 13"/>
                <a:gd name="T3" fmla="*/ 6 h 21"/>
                <a:gd name="T4" fmla="*/ 3 w 13"/>
                <a:gd name="T5" fmla="*/ 10 h 21"/>
                <a:gd name="T6" fmla="*/ 6 w 13"/>
                <a:gd name="T7" fmla="*/ 8 h 21"/>
                <a:gd name="T8" fmla="*/ 7 w 13"/>
                <a:gd name="T9" fmla="*/ 6 h 21"/>
                <a:gd name="T10" fmla="*/ 7 w 13"/>
                <a:gd name="T11" fmla="*/ 10 h 21"/>
                <a:gd name="T12" fmla="*/ 7 w 13"/>
                <a:gd name="T13" fmla="*/ 21 h 21"/>
                <a:gd name="T14" fmla="*/ 13 w 13"/>
                <a:gd name="T15" fmla="*/ 21 h 21"/>
                <a:gd name="T16" fmla="*/ 13 w 13"/>
                <a:gd name="T17" fmla="*/ 0 h 21"/>
                <a:gd name="T18" fmla="*/ 8 w 13"/>
                <a:gd name="T19" fmla="*/ 0 h 21"/>
                <a:gd name="T20" fmla="*/ 0 w 13"/>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1">
                  <a:moveTo>
                    <a:pt x="0" y="6"/>
                  </a:moveTo>
                  <a:lnTo>
                    <a:pt x="0" y="6"/>
                  </a:lnTo>
                  <a:lnTo>
                    <a:pt x="3" y="10"/>
                  </a:lnTo>
                  <a:lnTo>
                    <a:pt x="6" y="8"/>
                  </a:lnTo>
                  <a:cubicBezTo>
                    <a:pt x="6" y="7"/>
                    <a:pt x="7" y="7"/>
                    <a:pt x="7" y="6"/>
                  </a:cubicBezTo>
                  <a:cubicBezTo>
                    <a:pt x="7" y="7"/>
                    <a:pt x="7" y="9"/>
                    <a:pt x="7" y="10"/>
                  </a:cubicBezTo>
                  <a:lnTo>
                    <a:pt x="7" y="21"/>
                  </a:lnTo>
                  <a:lnTo>
                    <a:pt x="13" y="21"/>
                  </a:lnTo>
                  <a:lnTo>
                    <a:pt x="13" y="0"/>
                  </a:lnTo>
                  <a:lnTo>
                    <a:pt x="8"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50">
              <a:extLst>
                <a:ext uri="{FF2B5EF4-FFF2-40B4-BE49-F238E27FC236}">
                  <a16:creationId xmlns:a16="http://schemas.microsoft.com/office/drawing/2014/main" id="{004B2572-F5CF-4F09-BF47-C19F9BD45D9E}"/>
                </a:ext>
              </a:extLst>
            </p:cNvPr>
            <p:cNvSpPr>
              <a:spLocks/>
            </p:cNvSpPr>
            <p:nvPr/>
          </p:nvSpPr>
          <p:spPr bwMode="auto">
            <a:xfrm>
              <a:off x="6540501" y="4587875"/>
              <a:ext cx="11113" cy="20638"/>
            </a:xfrm>
            <a:custGeom>
              <a:avLst/>
              <a:gdLst>
                <a:gd name="T0" fmla="*/ 0 w 12"/>
                <a:gd name="T1" fmla="*/ 6 h 21"/>
                <a:gd name="T2" fmla="*/ 0 w 12"/>
                <a:gd name="T3" fmla="*/ 6 h 21"/>
                <a:gd name="T4" fmla="*/ 3 w 12"/>
                <a:gd name="T5" fmla="*/ 10 h 21"/>
                <a:gd name="T6" fmla="*/ 5 w 12"/>
                <a:gd name="T7" fmla="*/ 8 h 21"/>
                <a:gd name="T8" fmla="*/ 6 w 12"/>
                <a:gd name="T9" fmla="*/ 6 h 21"/>
                <a:gd name="T10" fmla="*/ 6 w 12"/>
                <a:gd name="T11" fmla="*/ 10 h 21"/>
                <a:gd name="T12" fmla="*/ 6 w 12"/>
                <a:gd name="T13" fmla="*/ 21 h 21"/>
                <a:gd name="T14" fmla="*/ 12 w 12"/>
                <a:gd name="T15" fmla="*/ 21 h 21"/>
                <a:gd name="T16" fmla="*/ 12 w 12"/>
                <a:gd name="T17" fmla="*/ 0 h 21"/>
                <a:gd name="T18" fmla="*/ 7 w 12"/>
                <a:gd name="T19" fmla="*/ 0 h 21"/>
                <a:gd name="T20" fmla="*/ 0 w 12"/>
                <a:gd name="T2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0" y="6"/>
                  </a:moveTo>
                  <a:lnTo>
                    <a:pt x="0" y="6"/>
                  </a:lnTo>
                  <a:lnTo>
                    <a:pt x="3" y="10"/>
                  </a:lnTo>
                  <a:lnTo>
                    <a:pt x="5" y="8"/>
                  </a:lnTo>
                  <a:cubicBezTo>
                    <a:pt x="5" y="7"/>
                    <a:pt x="6" y="7"/>
                    <a:pt x="6" y="6"/>
                  </a:cubicBezTo>
                  <a:cubicBezTo>
                    <a:pt x="6" y="7"/>
                    <a:pt x="6" y="9"/>
                    <a:pt x="6" y="10"/>
                  </a:cubicBezTo>
                  <a:lnTo>
                    <a:pt x="6" y="21"/>
                  </a:lnTo>
                  <a:lnTo>
                    <a:pt x="12" y="21"/>
                  </a:lnTo>
                  <a:lnTo>
                    <a:pt x="12" y="0"/>
                  </a:lnTo>
                  <a:lnTo>
                    <a:pt x="7" y="0"/>
                  </a:lnTo>
                  <a:lnTo>
                    <a:pt x="0"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51">
              <a:extLst>
                <a:ext uri="{FF2B5EF4-FFF2-40B4-BE49-F238E27FC236}">
                  <a16:creationId xmlns:a16="http://schemas.microsoft.com/office/drawing/2014/main" id="{0AA358F2-BA1F-4A30-A43C-A00D9E5A55E1}"/>
                </a:ext>
              </a:extLst>
            </p:cNvPr>
            <p:cNvSpPr>
              <a:spLocks noEditPoints="1"/>
            </p:cNvSpPr>
            <p:nvPr/>
          </p:nvSpPr>
          <p:spPr bwMode="auto">
            <a:xfrm>
              <a:off x="6556376" y="4587875"/>
              <a:ext cx="14288" cy="20638"/>
            </a:xfrm>
            <a:custGeom>
              <a:avLst/>
              <a:gdLst>
                <a:gd name="T0" fmla="*/ 7 w 15"/>
                <a:gd name="T1" fmla="*/ 0 h 21"/>
                <a:gd name="T2" fmla="*/ 7 w 15"/>
                <a:gd name="T3" fmla="*/ 0 h 21"/>
                <a:gd name="T4" fmla="*/ 2 w 15"/>
                <a:gd name="T5" fmla="*/ 2 h 21"/>
                <a:gd name="T6" fmla="*/ 0 w 15"/>
                <a:gd name="T7" fmla="*/ 11 h 21"/>
                <a:gd name="T8" fmla="*/ 2 w 15"/>
                <a:gd name="T9" fmla="*/ 19 h 21"/>
                <a:gd name="T10" fmla="*/ 7 w 15"/>
                <a:gd name="T11" fmla="*/ 21 h 21"/>
                <a:gd name="T12" fmla="*/ 13 w 15"/>
                <a:gd name="T13" fmla="*/ 19 h 21"/>
                <a:gd name="T14" fmla="*/ 15 w 15"/>
                <a:gd name="T15" fmla="*/ 11 h 21"/>
                <a:gd name="T16" fmla="*/ 13 w 15"/>
                <a:gd name="T17" fmla="*/ 3 h 21"/>
                <a:gd name="T18" fmla="*/ 7 w 15"/>
                <a:gd name="T19" fmla="*/ 0 h 21"/>
                <a:gd name="T20" fmla="*/ 9 w 15"/>
                <a:gd name="T21" fmla="*/ 15 h 21"/>
                <a:gd name="T22" fmla="*/ 9 w 15"/>
                <a:gd name="T23" fmla="*/ 15 h 21"/>
                <a:gd name="T24" fmla="*/ 7 w 15"/>
                <a:gd name="T25" fmla="*/ 17 h 21"/>
                <a:gd name="T26" fmla="*/ 6 w 15"/>
                <a:gd name="T27" fmla="*/ 15 h 21"/>
                <a:gd name="T28" fmla="*/ 5 w 15"/>
                <a:gd name="T29" fmla="*/ 11 h 21"/>
                <a:gd name="T30" fmla="*/ 6 w 15"/>
                <a:gd name="T31" fmla="*/ 6 h 21"/>
                <a:gd name="T32" fmla="*/ 7 w 15"/>
                <a:gd name="T33" fmla="*/ 4 h 21"/>
                <a:gd name="T34" fmla="*/ 9 w 15"/>
                <a:gd name="T35" fmla="*/ 6 h 21"/>
                <a:gd name="T36" fmla="*/ 9 w 15"/>
                <a:gd name="T37" fmla="*/ 11 h 21"/>
                <a:gd name="T38" fmla="*/ 9 w 15"/>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7" y="0"/>
                  </a:moveTo>
                  <a:lnTo>
                    <a:pt x="7" y="0"/>
                  </a:lnTo>
                  <a:cubicBezTo>
                    <a:pt x="5" y="0"/>
                    <a:pt x="3" y="1"/>
                    <a:pt x="2" y="2"/>
                  </a:cubicBezTo>
                  <a:cubicBezTo>
                    <a:pt x="0" y="4"/>
                    <a:pt x="0" y="7"/>
                    <a:pt x="0" y="11"/>
                  </a:cubicBezTo>
                  <a:cubicBezTo>
                    <a:pt x="0" y="14"/>
                    <a:pt x="0" y="17"/>
                    <a:pt x="2" y="19"/>
                  </a:cubicBezTo>
                  <a:cubicBezTo>
                    <a:pt x="3" y="20"/>
                    <a:pt x="5" y="21"/>
                    <a:pt x="7" y="21"/>
                  </a:cubicBezTo>
                  <a:cubicBezTo>
                    <a:pt x="10" y="21"/>
                    <a:pt x="12" y="20"/>
                    <a:pt x="13" y="19"/>
                  </a:cubicBezTo>
                  <a:cubicBezTo>
                    <a:pt x="14" y="17"/>
                    <a:pt x="15" y="14"/>
                    <a:pt x="15" y="11"/>
                  </a:cubicBezTo>
                  <a:cubicBezTo>
                    <a:pt x="15" y="7"/>
                    <a:pt x="14" y="4"/>
                    <a:pt x="13" y="3"/>
                  </a:cubicBezTo>
                  <a:cubicBezTo>
                    <a:pt x="12" y="1"/>
                    <a:pt x="10" y="0"/>
                    <a:pt x="7" y="0"/>
                  </a:cubicBezTo>
                  <a:close/>
                  <a:moveTo>
                    <a:pt x="9" y="15"/>
                  </a:moveTo>
                  <a:lnTo>
                    <a:pt x="9" y="15"/>
                  </a:lnTo>
                  <a:cubicBezTo>
                    <a:pt x="8" y="16"/>
                    <a:pt x="8" y="17"/>
                    <a:pt x="7" y="17"/>
                  </a:cubicBezTo>
                  <a:cubicBezTo>
                    <a:pt x="7" y="17"/>
                    <a:pt x="6" y="16"/>
                    <a:pt x="6" y="15"/>
                  </a:cubicBezTo>
                  <a:cubicBezTo>
                    <a:pt x="5" y="15"/>
                    <a:pt x="5" y="13"/>
                    <a:pt x="5" y="11"/>
                  </a:cubicBezTo>
                  <a:cubicBezTo>
                    <a:pt x="5" y="8"/>
                    <a:pt x="5" y="7"/>
                    <a:pt x="6" y="6"/>
                  </a:cubicBezTo>
                  <a:cubicBezTo>
                    <a:pt x="6" y="5"/>
                    <a:pt x="7" y="4"/>
                    <a:pt x="7" y="4"/>
                  </a:cubicBezTo>
                  <a:cubicBezTo>
                    <a:pt x="8" y="4"/>
                    <a:pt x="8" y="5"/>
                    <a:pt x="9" y="6"/>
                  </a:cubicBezTo>
                  <a:cubicBezTo>
                    <a:pt x="9" y="7"/>
                    <a:pt x="9" y="8"/>
                    <a:pt x="9" y="11"/>
                  </a:cubicBezTo>
                  <a:cubicBezTo>
                    <a:pt x="9" y="13"/>
                    <a:pt x="9" y="15"/>
                    <a:pt x="9"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52">
              <a:extLst>
                <a:ext uri="{FF2B5EF4-FFF2-40B4-BE49-F238E27FC236}">
                  <a16:creationId xmlns:a16="http://schemas.microsoft.com/office/drawing/2014/main" id="{5D021B01-054D-48C3-84DE-2C38DED21731}"/>
                </a:ext>
              </a:extLst>
            </p:cNvPr>
            <p:cNvSpPr>
              <a:spLocks noEditPoints="1"/>
            </p:cNvSpPr>
            <p:nvPr/>
          </p:nvSpPr>
          <p:spPr bwMode="auto">
            <a:xfrm>
              <a:off x="6119813" y="4164013"/>
              <a:ext cx="727075" cy="731838"/>
            </a:xfrm>
            <a:custGeom>
              <a:avLst/>
              <a:gdLst>
                <a:gd name="T0" fmla="*/ 378 w 756"/>
                <a:gd name="T1" fmla="*/ 31 h 757"/>
                <a:gd name="T2" fmla="*/ 378 w 756"/>
                <a:gd name="T3" fmla="*/ 31 h 757"/>
                <a:gd name="T4" fmla="*/ 723 w 756"/>
                <a:gd name="T5" fmla="*/ 378 h 757"/>
                <a:gd name="T6" fmla="*/ 378 w 756"/>
                <a:gd name="T7" fmla="*/ 724 h 757"/>
                <a:gd name="T8" fmla="*/ 31 w 756"/>
                <a:gd name="T9" fmla="*/ 378 h 757"/>
                <a:gd name="T10" fmla="*/ 378 w 756"/>
                <a:gd name="T11" fmla="*/ 31 h 757"/>
                <a:gd name="T12" fmla="*/ 378 w 756"/>
                <a:gd name="T13" fmla="*/ 0 h 757"/>
                <a:gd name="T14" fmla="*/ 378 w 756"/>
                <a:gd name="T15" fmla="*/ 0 h 757"/>
                <a:gd name="T16" fmla="*/ 0 w 756"/>
                <a:gd name="T17" fmla="*/ 378 h 757"/>
                <a:gd name="T18" fmla="*/ 378 w 756"/>
                <a:gd name="T19" fmla="*/ 757 h 757"/>
                <a:gd name="T20" fmla="*/ 756 w 756"/>
                <a:gd name="T21" fmla="*/ 378 h 757"/>
                <a:gd name="T22" fmla="*/ 378 w 756"/>
                <a:gd name="T23" fmla="*/ 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6" h="757">
                  <a:moveTo>
                    <a:pt x="378" y="31"/>
                  </a:moveTo>
                  <a:lnTo>
                    <a:pt x="378" y="31"/>
                  </a:lnTo>
                  <a:cubicBezTo>
                    <a:pt x="568" y="31"/>
                    <a:pt x="723" y="187"/>
                    <a:pt x="723" y="378"/>
                  </a:cubicBezTo>
                  <a:cubicBezTo>
                    <a:pt x="723" y="569"/>
                    <a:pt x="568" y="724"/>
                    <a:pt x="378" y="724"/>
                  </a:cubicBezTo>
                  <a:cubicBezTo>
                    <a:pt x="186" y="724"/>
                    <a:pt x="31" y="569"/>
                    <a:pt x="31" y="378"/>
                  </a:cubicBezTo>
                  <a:cubicBezTo>
                    <a:pt x="31" y="187"/>
                    <a:pt x="186" y="31"/>
                    <a:pt x="378" y="31"/>
                  </a:cubicBezTo>
                  <a:close/>
                  <a:moveTo>
                    <a:pt x="378" y="0"/>
                  </a:moveTo>
                  <a:lnTo>
                    <a:pt x="378" y="0"/>
                  </a:lnTo>
                  <a:cubicBezTo>
                    <a:pt x="168" y="0"/>
                    <a:pt x="0" y="169"/>
                    <a:pt x="0" y="378"/>
                  </a:cubicBezTo>
                  <a:cubicBezTo>
                    <a:pt x="0" y="587"/>
                    <a:pt x="168" y="757"/>
                    <a:pt x="378" y="757"/>
                  </a:cubicBezTo>
                  <a:cubicBezTo>
                    <a:pt x="586" y="757"/>
                    <a:pt x="756" y="587"/>
                    <a:pt x="756" y="378"/>
                  </a:cubicBezTo>
                  <a:cubicBezTo>
                    <a:pt x="756" y="169"/>
                    <a:pt x="586" y="0"/>
                    <a:pt x="3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43" name="Freeform 53">
            <a:extLst>
              <a:ext uri="{FF2B5EF4-FFF2-40B4-BE49-F238E27FC236}">
                <a16:creationId xmlns:a16="http://schemas.microsoft.com/office/drawing/2014/main" id="{788CBC3B-BA2C-48E7-B574-9B60B9EC2C60}"/>
              </a:ext>
            </a:extLst>
          </p:cNvPr>
          <p:cNvSpPr>
            <a:spLocks noEditPoints="1"/>
          </p:cNvSpPr>
          <p:nvPr/>
        </p:nvSpPr>
        <p:spPr bwMode="auto">
          <a:xfrm>
            <a:off x="4940137" y="2516324"/>
            <a:ext cx="365760" cy="365760"/>
          </a:xfrm>
          <a:custGeom>
            <a:avLst/>
            <a:gdLst>
              <a:gd name="T0" fmla="*/ 399 w 756"/>
              <a:gd name="T1" fmla="*/ 522 h 757"/>
              <a:gd name="T2" fmla="*/ 390 w 756"/>
              <a:gd name="T3" fmla="*/ 563 h 757"/>
              <a:gd name="T4" fmla="*/ 289 w 756"/>
              <a:gd name="T5" fmla="*/ 581 h 757"/>
              <a:gd name="T6" fmla="*/ 246 w 756"/>
              <a:gd name="T7" fmla="*/ 555 h 757"/>
              <a:gd name="T8" fmla="*/ 217 w 756"/>
              <a:gd name="T9" fmla="*/ 513 h 757"/>
              <a:gd name="T10" fmla="*/ 193 w 756"/>
              <a:gd name="T11" fmla="*/ 463 h 757"/>
              <a:gd name="T12" fmla="*/ 370 w 756"/>
              <a:gd name="T13" fmla="*/ 288 h 757"/>
              <a:gd name="T14" fmla="*/ 233 w 756"/>
              <a:gd name="T15" fmla="*/ 306 h 757"/>
              <a:gd name="T16" fmla="*/ 330 w 756"/>
              <a:gd name="T17" fmla="*/ 253 h 757"/>
              <a:gd name="T18" fmla="*/ 306 w 756"/>
              <a:gd name="T19" fmla="*/ 198 h 757"/>
              <a:gd name="T20" fmla="*/ 167 w 756"/>
              <a:gd name="T21" fmla="*/ 291 h 757"/>
              <a:gd name="T22" fmla="*/ 360 w 756"/>
              <a:gd name="T23" fmla="*/ 174 h 757"/>
              <a:gd name="T24" fmla="*/ 203 w 756"/>
              <a:gd name="T25" fmla="*/ 223 h 757"/>
              <a:gd name="T26" fmla="*/ 350 w 756"/>
              <a:gd name="T27" fmla="*/ 108 h 757"/>
              <a:gd name="T28" fmla="*/ 572 w 756"/>
              <a:gd name="T29" fmla="*/ 594 h 757"/>
              <a:gd name="T30" fmla="*/ 586 w 756"/>
              <a:gd name="T31" fmla="*/ 588 h 757"/>
              <a:gd name="T32" fmla="*/ 342 w 756"/>
              <a:gd name="T33" fmla="*/ 400 h 757"/>
              <a:gd name="T34" fmla="*/ 473 w 756"/>
              <a:gd name="T35" fmla="*/ 358 h 757"/>
              <a:gd name="T36" fmla="*/ 333 w 756"/>
              <a:gd name="T37" fmla="*/ 399 h 757"/>
              <a:gd name="T38" fmla="*/ 344 w 756"/>
              <a:gd name="T39" fmla="*/ 440 h 757"/>
              <a:gd name="T40" fmla="*/ 361 w 756"/>
              <a:gd name="T41" fmla="*/ 459 h 757"/>
              <a:gd name="T42" fmla="*/ 466 w 756"/>
              <a:gd name="T43" fmla="*/ 439 h 757"/>
              <a:gd name="T44" fmla="*/ 357 w 756"/>
              <a:gd name="T45" fmla="*/ 355 h 757"/>
              <a:gd name="T46" fmla="*/ 365 w 756"/>
              <a:gd name="T47" fmla="*/ 405 h 757"/>
              <a:gd name="T48" fmla="*/ 419 w 756"/>
              <a:gd name="T49" fmla="*/ 445 h 757"/>
              <a:gd name="T50" fmla="*/ 422 w 756"/>
              <a:gd name="T51" fmla="*/ 449 h 757"/>
              <a:gd name="T52" fmla="*/ 408 w 756"/>
              <a:gd name="T53" fmla="*/ 449 h 757"/>
              <a:gd name="T54" fmla="*/ 414 w 756"/>
              <a:gd name="T55" fmla="*/ 394 h 757"/>
              <a:gd name="T56" fmla="*/ 384 w 756"/>
              <a:gd name="T57" fmla="*/ 445 h 757"/>
              <a:gd name="T58" fmla="*/ 387 w 756"/>
              <a:gd name="T59" fmla="*/ 449 h 757"/>
              <a:gd name="T60" fmla="*/ 369 w 756"/>
              <a:gd name="T61" fmla="*/ 351 h 757"/>
              <a:gd name="T62" fmla="*/ 374 w 756"/>
              <a:gd name="T63" fmla="*/ 394 h 757"/>
              <a:gd name="T64" fmla="*/ 375 w 756"/>
              <a:gd name="T65" fmla="*/ 460 h 757"/>
              <a:gd name="T66" fmla="*/ 391 w 756"/>
              <a:gd name="T67" fmla="*/ 370 h 757"/>
              <a:gd name="T68" fmla="*/ 397 w 756"/>
              <a:gd name="T69" fmla="*/ 370 h 757"/>
              <a:gd name="T70" fmla="*/ 397 w 756"/>
              <a:gd name="T71" fmla="*/ 396 h 757"/>
              <a:gd name="T72" fmla="*/ 409 w 756"/>
              <a:gd name="T73" fmla="*/ 349 h 757"/>
              <a:gd name="T74" fmla="*/ 421 w 756"/>
              <a:gd name="T75" fmla="*/ 351 h 757"/>
              <a:gd name="T76" fmla="*/ 419 w 756"/>
              <a:gd name="T77" fmla="*/ 405 h 757"/>
              <a:gd name="T78" fmla="*/ 443 w 756"/>
              <a:gd name="T79" fmla="*/ 355 h 757"/>
              <a:gd name="T80" fmla="*/ 451 w 756"/>
              <a:gd name="T81" fmla="*/ 405 h 757"/>
              <a:gd name="T82" fmla="*/ 451 w 756"/>
              <a:gd name="T83" fmla="*/ 450 h 757"/>
              <a:gd name="T84" fmla="*/ 451 w 756"/>
              <a:gd name="T85" fmla="*/ 450 h 757"/>
              <a:gd name="T86" fmla="*/ 460 w 756"/>
              <a:gd name="T87" fmla="*/ 349 h 757"/>
              <a:gd name="T88" fmla="*/ 459 w 756"/>
              <a:gd name="T89" fmla="*/ 402 h 757"/>
              <a:gd name="T90" fmla="*/ 472 w 756"/>
              <a:gd name="T91" fmla="*/ 413 h 757"/>
              <a:gd name="T92" fmla="*/ 476 w 756"/>
              <a:gd name="T93" fmla="*/ 400 h 757"/>
              <a:gd name="T94" fmla="*/ 445 w 756"/>
              <a:gd name="T95" fmla="*/ 454 h 757"/>
              <a:gd name="T96" fmla="*/ 445 w 756"/>
              <a:gd name="T97" fmla="*/ 454 h 757"/>
              <a:gd name="T98" fmla="*/ 443 w 756"/>
              <a:gd name="T99" fmla="*/ 411 h 757"/>
              <a:gd name="T100" fmla="*/ 425 w 756"/>
              <a:gd name="T101" fmla="*/ 409 h 757"/>
              <a:gd name="T102" fmla="*/ 424 w 756"/>
              <a:gd name="T103" fmla="*/ 360 h 757"/>
              <a:gd name="T104" fmla="*/ 408 w 756"/>
              <a:gd name="T105" fmla="*/ 355 h 757"/>
              <a:gd name="T106" fmla="*/ 392 w 756"/>
              <a:gd name="T107" fmla="*/ 398 h 757"/>
              <a:gd name="T108" fmla="*/ 376 w 756"/>
              <a:gd name="T109" fmla="*/ 445 h 757"/>
              <a:gd name="T110" fmla="*/ 377 w 756"/>
              <a:gd name="T111" fmla="*/ 360 h 757"/>
              <a:gd name="T112" fmla="*/ 359 w 756"/>
              <a:gd name="T113" fmla="*/ 409 h 757"/>
              <a:gd name="T114" fmla="*/ 356 w 756"/>
              <a:gd name="T115" fmla="*/ 445 h 757"/>
              <a:gd name="T116" fmla="*/ 359 w 756"/>
              <a:gd name="T117" fmla="*/ 445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56" h="757">
                <a:moveTo>
                  <a:pt x="756" y="378"/>
                </a:moveTo>
                <a:lnTo>
                  <a:pt x="756" y="378"/>
                </a:lnTo>
                <a:cubicBezTo>
                  <a:pt x="756" y="169"/>
                  <a:pt x="586" y="0"/>
                  <a:pt x="378" y="0"/>
                </a:cubicBezTo>
                <a:cubicBezTo>
                  <a:pt x="168" y="0"/>
                  <a:pt x="0" y="169"/>
                  <a:pt x="0" y="378"/>
                </a:cubicBezTo>
                <a:cubicBezTo>
                  <a:pt x="0" y="587"/>
                  <a:pt x="168" y="757"/>
                  <a:pt x="378" y="757"/>
                </a:cubicBezTo>
                <a:cubicBezTo>
                  <a:pt x="586" y="757"/>
                  <a:pt x="756" y="587"/>
                  <a:pt x="756" y="378"/>
                </a:cubicBezTo>
                <a:close/>
                <a:moveTo>
                  <a:pt x="435" y="542"/>
                </a:moveTo>
                <a:lnTo>
                  <a:pt x="435" y="542"/>
                </a:lnTo>
                <a:cubicBezTo>
                  <a:pt x="426" y="538"/>
                  <a:pt x="413" y="531"/>
                  <a:pt x="399" y="522"/>
                </a:cubicBezTo>
                <a:cubicBezTo>
                  <a:pt x="401" y="523"/>
                  <a:pt x="404" y="523"/>
                  <a:pt x="406" y="523"/>
                </a:cubicBezTo>
                <a:cubicBezTo>
                  <a:pt x="416" y="523"/>
                  <a:pt x="425" y="521"/>
                  <a:pt x="435" y="519"/>
                </a:cubicBezTo>
                <a:cubicBezTo>
                  <a:pt x="438" y="520"/>
                  <a:pt x="440" y="521"/>
                  <a:pt x="442" y="522"/>
                </a:cubicBezTo>
                <a:cubicBezTo>
                  <a:pt x="448" y="524"/>
                  <a:pt x="451" y="530"/>
                  <a:pt x="449" y="536"/>
                </a:cubicBezTo>
                <a:cubicBezTo>
                  <a:pt x="447" y="541"/>
                  <a:pt x="441" y="544"/>
                  <a:pt x="435" y="542"/>
                </a:cubicBezTo>
                <a:close/>
                <a:moveTo>
                  <a:pt x="289" y="581"/>
                </a:moveTo>
                <a:lnTo>
                  <a:pt x="289" y="581"/>
                </a:lnTo>
                <a:cubicBezTo>
                  <a:pt x="295" y="575"/>
                  <a:pt x="324" y="546"/>
                  <a:pt x="342" y="543"/>
                </a:cubicBezTo>
                <a:cubicBezTo>
                  <a:pt x="358" y="540"/>
                  <a:pt x="373" y="550"/>
                  <a:pt x="390" y="563"/>
                </a:cubicBezTo>
                <a:cubicBezTo>
                  <a:pt x="396" y="566"/>
                  <a:pt x="401" y="570"/>
                  <a:pt x="407" y="574"/>
                </a:cubicBezTo>
                <a:cubicBezTo>
                  <a:pt x="412" y="577"/>
                  <a:pt x="413" y="584"/>
                  <a:pt x="410" y="589"/>
                </a:cubicBezTo>
                <a:cubicBezTo>
                  <a:pt x="407" y="594"/>
                  <a:pt x="400" y="595"/>
                  <a:pt x="395" y="592"/>
                </a:cubicBezTo>
                <a:cubicBezTo>
                  <a:pt x="389" y="588"/>
                  <a:pt x="383" y="583"/>
                  <a:pt x="378" y="580"/>
                </a:cubicBezTo>
                <a:cubicBezTo>
                  <a:pt x="365" y="570"/>
                  <a:pt x="353" y="562"/>
                  <a:pt x="346" y="563"/>
                </a:cubicBezTo>
                <a:cubicBezTo>
                  <a:pt x="338" y="565"/>
                  <a:pt x="318" y="581"/>
                  <a:pt x="304" y="596"/>
                </a:cubicBezTo>
                <a:cubicBezTo>
                  <a:pt x="302" y="598"/>
                  <a:pt x="299" y="599"/>
                  <a:pt x="296" y="599"/>
                </a:cubicBezTo>
                <a:cubicBezTo>
                  <a:pt x="294" y="599"/>
                  <a:pt x="291" y="598"/>
                  <a:pt x="289" y="596"/>
                </a:cubicBezTo>
                <a:cubicBezTo>
                  <a:pt x="285" y="592"/>
                  <a:pt x="285" y="585"/>
                  <a:pt x="289" y="581"/>
                </a:cubicBezTo>
                <a:close/>
                <a:moveTo>
                  <a:pt x="249" y="541"/>
                </a:moveTo>
                <a:lnTo>
                  <a:pt x="249" y="541"/>
                </a:lnTo>
                <a:cubicBezTo>
                  <a:pt x="252" y="538"/>
                  <a:pt x="257" y="535"/>
                  <a:pt x="262" y="531"/>
                </a:cubicBezTo>
                <a:cubicBezTo>
                  <a:pt x="288" y="512"/>
                  <a:pt x="308" y="498"/>
                  <a:pt x="323" y="489"/>
                </a:cubicBezTo>
                <a:cubicBezTo>
                  <a:pt x="328" y="494"/>
                  <a:pt x="334" y="499"/>
                  <a:pt x="340" y="503"/>
                </a:cubicBezTo>
                <a:cubicBezTo>
                  <a:pt x="321" y="514"/>
                  <a:pt x="289" y="537"/>
                  <a:pt x="275" y="548"/>
                </a:cubicBezTo>
                <a:cubicBezTo>
                  <a:pt x="269" y="552"/>
                  <a:pt x="264" y="555"/>
                  <a:pt x="261" y="558"/>
                </a:cubicBezTo>
                <a:cubicBezTo>
                  <a:pt x="259" y="559"/>
                  <a:pt x="257" y="560"/>
                  <a:pt x="255" y="560"/>
                </a:cubicBezTo>
                <a:cubicBezTo>
                  <a:pt x="251" y="560"/>
                  <a:pt x="248" y="558"/>
                  <a:pt x="246" y="555"/>
                </a:cubicBezTo>
                <a:cubicBezTo>
                  <a:pt x="243" y="551"/>
                  <a:pt x="244" y="544"/>
                  <a:pt x="249" y="541"/>
                </a:cubicBezTo>
                <a:close/>
                <a:moveTo>
                  <a:pt x="214" y="492"/>
                </a:moveTo>
                <a:lnTo>
                  <a:pt x="214" y="492"/>
                </a:lnTo>
                <a:cubicBezTo>
                  <a:pt x="227" y="489"/>
                  <a:pt x="257" y="469"/>
                  <a:pt x="283" y="452"/>
                </a:cubicBezTo>
                <a:cubicBezTo>
                  <a:pt x="287" y="449"/>
                  <a:pt x="290" y="447"/>
                  <a:pt x="294" y="445"/>
                </a:cubicBezTo>
                <a:cubicBezTo>
                  <a:pt x="296" y="452"/>
                  <a:pt x="299" y="458"/>
                  <a:pt x="303" y="464"/>
                </a:cubicBezTo>
                <a:cubicBezTo>
                  <a:pt x="300" y="466"/>
                  <a:pt x="297" y="468"/>
                  <a:pt x="294" y="469"/>
                </a:cubicBezTo>
                <a:cubicBezTo>
                  <a:pt x="264" y="489"/>
                  <a:pt x="236" y="508"/>
                  <a:pt x="220" y="512"/>
                </a:cubicBezTo>
                <a:cubicBezTo>
                  <a:pt x="219" y="513"/>
                  <a:pt x="218" y="513"/>
                  <a:pt x="217" y="513"/>
                </a:cubicBezTo>
                <a:cubicBezTo>
                  <a:pt x="212" y="513"/>
                  <a:pt x="208" y="510"/>
                  <a:pt x="207" y="505"/>
                </a:cubicBezTo>
                <a:cubicBezTo>
                  <a:pt x="205" y="499"/>
                  <a:pt x="209" y="494"/>
                  <a:pt x="214" y="492"/>
                </a:cubicBezTo>
                <a:close/>
                <a:moveTo>
                  <a:pt x="189" y="443"/>
                </a:moveTo>
                <a:lnTo>
                  <a:pt x="189" y="443"/>
                </a:lnTo>
                <a:cubicBezTo>
                  <a:pt x="219" y="430"/>
                  <a:pt x="257" y="408"/>
                  <a:pt x="286" y="390"/>
                </a:cubicBezTo>
                <a:cubicBezTo>
                  <a:pt x="286" y="394"/>
                  <a:pt x="286" y="399"/>
                  <a:pt x="286" y="403"/>
                </a:cubicBezTo>
                <a:cubicBezTo>
                  <a:pt x="286" y="407"/>
                  <a:pt x="286" y="411"/>
                  <a:pt x="286" y="415"/>
                </a:cubicBezTo>
                <a:cubicBezTo>
                  <a:pt x="258" y="432"/>
                  <a:pt x="224" y="451"/>
                  <a:pt x="197" y="462"/>
                </a:cubicBezTo>
                <a:cubicBezTo>
                  <a:pt x="196" y="463"/>
                  <a:pt x="194" y="463"/>
                  <a:pt x="193" y="463"/>
                </a:cubicBezTo>
                <a:cubicBezTo>
                  <a:pt x="189" y="463"/>
                  <a:pt x="185" y="461"/>
                  <a:pt x="183" y="457"/>
                </a:cubicBezTo>
                <a:cubicBezTo>
                  <a:pt x="181" y="451"/>
                  <a:pt x="183" y="445"/>
                  <a:pt x="189" y="443"/>
                </a:cubicBezTo>
                <a:close/>
                <a:moveTo>
                  <a:pt x="176" y="389"/>
                </a:moveTo>
                <a:lnTo>
                  <a:pt x="176" y="389"/>
                </a:lnTo>
                <a:cubicBezTo>
                  <a:pt x="176" y="389"/>
                  <a:pt x="176" y="389"/>
                  <a:pt x="177" y="389"/>
                </a:cubicBezTo>
                <a:cubicBezTo>
                  <a:pt x="198" y="381"/>
                  <a:pt x="310" y="340"/>
                  <a:pt x="371" y="253"/>
                </a:cubicBezTo>
                <a:cubicBezTo>
                  <a:pt x="375" y="248"/>
                  <a:pt x="381" y="247"/>
                  <a:pt x="386" y="251"/>
                </a:cubicBezTo>
                <a:cubicBezTo>
                  <a:pt x="391" y="254"/>
                  <a:pt x="392" y="261"/>
                  <a:pt x="389" y="265"/>
                </a:cubicBezTo>
                <a:cubicBezTo>
                  <a:pt x="383" y="273"/>
                  <a:pt x="377" y="281"/>
                  <a:pt x="370" y="288"/>
                </a:cubicBezTo>
                <a:cubicBezTo>
                  <a:pt x="338" y="298"/>
                  <a:pt x="312" y="321"/>
                  <a:pt x="297" y="351"/>
                </a:cubicBezTo>
                <a:cubicBezTo>
                  <a:pt x="246" y="386"/>
                  <a:pt x="197" y="404"/>
                  <a:pt x="184" y="408"/>
                </a:cubicBezTo>
                <a:lnTo>
                  <a:pt x="183" y="409"/>
                </a:lnTo>
                <a:cubicBezTo>
                  <a:pt x="182" y="409"/>
                  <a:pt x="181" y="409"/>
                  <a:pt x="180" y="409"/>
                </a:cubicBezTo>
                <a:cubicBezTo>
                  <a:pt x="175" y="409"/>
                  <a:pt x="171" y="407"/>
                  <a:pt x="170" y="402"/>
                </a:cubicBezTo>
                <a:cubicBezTo>
                  <a:pt x="168" y="397"/>
                  <a:pt x="170" y="391"/>
                  <a:pt x="176" y="389"/>
                </a:cubicBezTo>
                <a:close/>
                <a:moveTo>
                  <a:pt x="171" y="333"/>
                </a:moveTo>
                <a:lnTo>
                  <a:pt x="171" y="333"/>
                </a:lnTo>
                <a:cubicBezTo>
                  <a:pt x="202" y="325"/>
                  <a:pt x="233" y="306"/>
                  <a:pt x="233" y="306"/>
                </a:cubicBezTo>
                <a:cubicBezTo>
                  <a:pt x="275" y="281"/>
                  <a:pt x="314" y="239"/>
                  <a:pt x="315" y="239"/>
                </a:cubicBezTo>
                <a:cubicBezTo>
                  <a:pt x="342" y="207"/>
                  <a:pt x="373" y="193"/>
                  <a:pt x="398" y="201"/>
                </a:cubicBezTo>
                <a:cubicBezTo>
                  <a:pt x="415" y="206"/>
                  <a:pt x="427" y="216"/>
                  <a:pt x="434" y="230"/>
                </a:cubicBezTo>
                <a:cubicBezTo>
                  <a:pt x="442" y="246"/>
                  <a:pt x="442" y="266"/>
                  <a:pt x="434" y="286"/>
                </a:cubicBezTo>
                <a:cubicBezTo>
                  <a:pt x="427" y="284"/>
                  <a:pt x="420" y="283"/>
                  <a:pt x="412" y="283"/>
                </a:cubicBezTo>
                <a:cubicBezTo>
                  <a:pt x="413" y="281"/>
                  <a:pt x="414" y="280"/>
                  <a:pt x="414" y="278"/>
                </a:cubicBezTo>
                <a:cubicBezTo>
                  <a:pt x="420" y="264"/>
                  <a:pt x="420" y="250"/>
                  <a:pt x="415" y="239"/>
                </a:cubicBezTo>
                <a:cubicBezTo>
                  <a:pt x="411" y="230"/>
                  <a:pt x="403" y="224"/>
                  <a:pt x="392" y="221"/>
                </a:cubicBezTo>
                <a:cubicBezTo>
                  <a:pt x="372" y="215"/>
                  <a:pt x="347" y="233"/>
                  <a:pt x="330" y="253"/>
                </a:cubicBezTo>
                <a:cubicBezTo>
                  <a:pt x="330" y="253"/>
                  <a:pt x="289" y="296"/>
                  <a:pt x="244" y="324"/>
                </a:cubicBezTo>
                <a:cubicBezTo>
                  <a:pt x="243" y="325"/>
                  <a:pt x="211" y="344"/>
                  <a:pt x="176" y="353"/>
                </a:cubicBezTo>
                <a:cubicBezTo>
                  <a:pt x="170" y="355"/>
                  <a:pt x="165" y="352"/>
                  <a:pt x="163" y="346"/>
                </a:cubicBezTo>
                <a:cubicBezTo>
                  <a:pt x="162" y="341"/>
                  <a:pt x="165" y="335"/>
                  <a:pt x="171" y="333"/>
                </a:cubicBezTo>
                <a:close/>
                <a:moveTo>
                  <a:pt x="360" y="174"/>
                </a:moveTo>
                <a:lnTo>
                  <a:pt x="360" y="174"/>
                </a:lnTo>
                <a:cubicBezTo>
                  <a:pt x="358" y="174"/>
                  <a:pt x="357" y="174"/>
                  <a:pt x="354" y="175"/>
                </a:cubicBezTo>
                <a:cubicBezTo>
                  <a:pt x="345" y="177"/>
                  <a:pt x="337" y="179"/>
                  <a:pt x="329" y="183"/>
                </a:cubicBezTo>
                <a:cubicBezTo>
                  <a:pt x="321" y="188"/>
                  <a:pt x="313" y="193"/>
                  <a:pt x="306" y="198"/>
                </a:cubicBezTo>
                <a:cubicBezTo>
                  <a:pt x="306" y="199"/>
                  <a:pt x="304" y="200"/>
                  <a:pt x="304" y="200"/>
                </a:cubicBezTo>
                <a:cubicBezTo>
                  <a:pt x="303" y="201"/>
                  <a:pt x="302" y="201"/>
                  <a:pt x="301" y="202"/>
                </a:cubicBezTo>
                <a:cubicBezTo>
                  <a:pt x="300" y="203"/>
                  <a:pt x="298" y="205"/>
                  <a:pt x="296" y="206"/>
                </a:cubicBezTo>
                <a:cubicBezTo>
                  <a:pt x="293" y="209"/>
                  <a:pt x="290" y="212"/>
                  <a:pt x="288" y="215"/>
                </a:cubicBezTo>
                <a:cubicBezTo>
                  <a:pt x="282" y="220"/>
                  <a:pt x="277" y="225"/>
                  <a:pt x="273" y="231"/>
                </a:cubicBezTo>
                <a:cubicBezTo>
                  <a:pt x="261" y="245"/>
                  <a:pt x="249" y="258"/>
                  <a:pt x="234" y="269"/>
                </a:cubicBezTo>
                <a:cubicBezTo>
                  <a:pt x="226" y="275"/>
                  <a:pt x="218" y="279"/>
                  <a:pt x="210" y="284"/>
                </a:cubicBezTo>
                <a:cubicBezTo>
                  <a:pt x="200" y="289"/>
                  <a:pt x="191" y="295"/>
                  <a:pt x="180" y="298"/>
                </a:cubicBezTo>
                <a:cubicBezTo>
                  <a:pt x="175" y="300"/>
                  <a:pt x="169" y="296"/>
                  <a:pt x="167" y="291"/>
                </a:cubicBezTo>
                <a:cubicBezTo>
                  <a:pt x="166" y="285"/>
                  <a:pt x="169" y="280"/>
                  <a:pt x="174" y="278"/>
                </a:cubicBezTo>
                <a:cubicBezTo>
                  <a:pt x="178" y="277"/>
                  <a:pt x="181" y="276"/>
                  <a:pt x="184" y="274"/>
                </a:cubicBezTo>
                <a:cubicBezTo>
                  <a:pt x="193" y="270"/>
                  <a:pt x="202" y="265"/>
                  <a:pt x="211" y="260"/>
                </a:cubicBezTo>
                <a:cubicBezTo>
                  <a:pt x="219" y="255"/>
                  <a:pt x="225" y="250"/>
                  <a:pt x="232" y="244"/>
                </a:cubicBezTo>
                <a:cubicBezTo>
                  <a:pt x="239" y="238"/>
                  <a:pt x="245" y="231"/>
                  <a:pt x="251" y="224"/>
                </a:cubicBezTo>
                <a:cubicBezTo>
                  <a:pt x="256" y="219"/>
                  <a:pt x="260" y="213"/>
                  <a:pt x="265" y="208"/>
                </a:cubicBezTo>
                <a:cubicBezTo>
                  <a:pt x="290" y="180"/>
                  <a:pt x="322" y="157"/>
                  <a:pt x="360" y="153"/>
                </a:cubicBezTo>
                <a:cubicBezTo>
                  <a:pt x="366" y="152"/>
                  <a:pt x="371" y="158"/>
                  <a:pt x="371" y="163"/>
                </a:cubicBezTo>
                <a:cubicBezTo>
                  <a:pt x="371" y="169"/>
                  <a:pt x="366" y="173"/>
                  <a:pt x="360" y="174"/>
                </a:cubicBezTo>
                <a:close/>
                <a:moveTo>
                  <a:pt x="502" y="297"/>
                </a:moveTo>
                <a:lnTo>
                  <a:pt x="502" y="297"/>
                </a:lnTo>
                <a:cubicBezTo>
                  <a:pt x="500" y="300"/>
                  <a:pt x="497" y="301"/>
                  <a:pt x="494" y="301"/>
                </a:cubicBezTo>
                <a:cubicBezTo>
                  <a:pt x="491" y="301"/>
                  <a:pt x="489" y="301"/>
                  <a:pt x="487" y="299"/>
                </a:cubicBezTo>
                <a:cubicBezTo>
                  <a:pt x="480" y="294"/>
                  <a:pt x="475" y="277"/>
                  <a:pt x="472" y="264"/>
                </a:cubicBezTo>
                <a:cubicBezTo>
                  <a:pt x="471" y="263"/>
                  <a:pt x="471" y="261"/>
                  <a:pt x="470" y="259"/>
                </a:cubicBezTo>
                <a:cubicBezTo>
                  <a:pt x="450" y="178"/>
                  <a:pt x="408" y="133"/>
                  <a:pt x="349" y="129"/>
                </a:cubicBezTo>
                <a:cubicBezTo>
                  <a:pt x="277" y="125"/>
                  <a:pt x="227" y="192"/>
                  <a:pt x="206" y="220"/>
                </a:cubicBezTo>
                <a:lnTo>
                  <a:pt x="203" y="223"/>
                </a:lnTo>
                <a:cubicBezTo>
                  <a:pt x="197" y="231"/>
                  <a:pt x="191" y="236"/>
                  <a:pt x="187" y="239"/>
                </a:cubicBezTo>
                <a:cubicBezTo>
                  <a:pt x="178" y="247"/>
                  <a:pt x="175" y="247"/>
                  <a:pt x="171" y="246"/>
                </a:cubicBezTo>
                <a:cubicBezTo>
                  <a:pt x="167" y="245"/>
                  <a:pt x="164" y="242"/>
                  <a:pt x="163" y="238"/>
                </a:cubicBezTo>
                <a:cubicBezTo>
                  <a:pt x="163" y="234"/>
                  <a:pt x="164" y="230"/>
                  <a:pt x="167" y="227"/>
                </a:cubicBezTo>
                <a:cubicBezTo>
                  <a:pt x="168" y="227"/>
                  <a:pt x="169" y="226"/>
                  <a:pt x="170" y="226"/>
                </a:cubicBezTo>
                <a:cubicBezTo>
                  <a:pt x="172" y="224"/>
                  <a:pt x="180" y="219"/>
                  <a:pt x="186" y="211"/>
                </a:cubicBezTo>
                <a:lnTo>
                  <a:pt x="189" y="207"/>
                </a:lnTo>
                <a:cubicBezTo>
                  <a:pt x="212" y="176"/>
                  <a:pt x="267" y="104"/>
                  <a:pt x="350" y="108"/>
                </a:cubicBezTo>
                <a:cubicBezTo>
                  <a:pt x="350" y="108"/>
                  <a:pt x="350" y="108"/>
                  <a:pt x="350" y="108"/>
                </a:cubicBezTo>
                <a:cubicBezTo>
                  <a:pt x="395" y="111"/>
                  <a:pt x="431" y="134"/>
                  <a:pt x="458" y="175"/>
                </a:cubicBezTo>
                <a:cubicBezTo>
                  <a:pt x="479" y="207"/>
                  <a:pt x="487" y="241"/>
                  <a:pt x="490" y="254"/>
                </a:cubicBezTo>
                <a:cubicBezTo>
                  <a:pt x="491" y="255"/>
                  <a:pt x="491" y="256"/>
                  <a:pt x="491" y="257"/>
                </a:cubicBezTo>
                <a:cubicBezTo>
                  <a:pt x="492" y="258"/>
                  <a:pt x="492" y="258"/>
                  <a:pt x="492" y="259"/>
                </a:cubicBezTo>
                <a:cubicBezTo>
                  <a:pt x="494" y="269"/>
                  <a:pt x="498" y="280"/>
                  <a:pt x="500" y="283"/>
                </a:cubicBezTo>
                <a:cubicBezTo>
                  <a:pt x="505" y="286"/>
                  <a:pt x="505" y="292"/>
                  <a:pt x="502" y="297"/>
                </a:cubicBezTo>
                <a:close/>
                <a:moveTo>
                  <a:pt x="586" y="588"/>
                </a:moveTo>
                <a:lnTo>
                  <a:pt x="586" y="588"/>
                </a:lnTo>
                <a:cubicBezTo>
                  <a:pt x="582" y="592"/>
                  <a:pt x="577" y="594"/>
                  <a:pt x="572" y="594"/>
                </a:cubicBezTo>
                <a:cubicBezTo>
                  <a:pt x="567" y="594"/>
                  <a:pt x="561" y="592"/>
                  <a:pt x="557" y="588"/>
                </a:cubicBezTo>
                <a:lnTo>
                  <a:pt x="461" y="492"/>
                </a:lnTo>
                <a:cubicBezTo>
                  <a:pt x="446" y="500"/>
                  <a:pt x="429" y="505"/>
                  <a:pt x="411" y="505"/>
                </a:cubicBezTo>
                <a:cubicBezTo>
                  <a:pt x="353" y="505"/>
                  <a:pt x="306" y="458"/>
                  <a:pt x="306" y="400"/>
                </a:cubicBezTo>
                <a:cubicBezTo>
                  <a:pt x="306" y="343"/>
                  <a:pt x="353" y="296"/>
                  <a:pt x="411" y="296"/>
                </a:cubicBezTo>
                <a:cubicBezTo>
                  <a:pt x="468" y="296"/>
                  <a:pt x="515" y="343"/>
                  <a:pt x="515" y="400"/>
                </a:cubicBezTo>
                <a:cubicBezTo>
                  <a:pt x="515" y="425"/>
                  <a:pt x="506" y="447"/>
                  <a:pt x="492" y="465"/>
                </a:cubicBezTo>
                <a:lnTo>
                  <a:pt x="586" y="559"/>
                </a:lnTo>
                <a:cubicBezTo>
                  <a:pt x="594" y="567"/>
                  <a:pt x="594" y="580"/>
                  <a:pt x="586" y="588"/>
                </a:cubicBezTo>
                <a:close/>
                <a:moveTo>
                  <a:pt x="340" y="398"/>
                </a:moveTo>
                <a:lnTo>
                  <a:pt x="340" y="398"/>
                </a:lnTo>
                <a:cubicBezTo>
                  <a:pt x="340" y="398"/>
                  <a:pt x="339" y="399"/>
                  <a:pt x="339" y="400"/>
                </a:cubicBezTo>
                <a:cubicBezTo>
                  <a:pt x="338" y="401"/>
                  <a:pt x="338" y="402"/>
                  <a:pt x="338" y="405"/>
                </a:cubicBezTo>
                <a:cubicBezTo>
                  <a:pt x="338" y="407"/>
                  <a:pt x="338" y="409"/>
                  <a:pt x="339" y="409"/>
                </a:cubicBezTo>
                <a:cubicBezTo>
                  <a:pt x="339" y="410"/>
                  <a:pt x="340" y="411"/>
                  <a:pt x="340" y="411"/>
                </a:cubicBezTo>
                <a:cubicBezTo>
                  <a:pt x="341" y="411"/>
                  <a:pt x="341" y="410"/>
                  <a:pt x="342" y="409"/>
                </a:cubicBezTo>
                <a:cubicBezTo>
                  <a:pt x="342" y="408"/>
                  <a:pt x="342" y="407"/>
                  <a:pt x="342" y="405"/>
                </a:cubicBezTo>
                <a:cubicBezTo>
                  <a:pt x="342" y="402"/>
                  <a:pt x="342" y="401"/>
                  <a:pt x="342" y="400"/>
                </a:cubicBezTo>
                <a:cubicBezTo>
                  <a:pt x="341" y="399"/>
                  <a:pt x="341" y="398"/>
                  <a:pt x="340" y="398"/>
                </a:cubicBezTo>
                <a:close/>
                <a:moveTo>
                  <a:pt x="477" y="439"/>
                </a:moveTo>
                <a:lnTo>
                  <a:pt x="477" y="439"/>
                </a:lnTo>
                <a:cubicBezTo>
                  <a:pt x="484" y="427"/>
                  <a:pt x="488" y="414"/>
                  <a:pt x="488" y="400"/>
                </a:cubicBezTo>
                <a:cubicBezTo>
                  <a:pt x="488" y="390"/>
                  <a:pt x="486" y="379"/>
                  <a:pt x="482" y="370"/>
                </a:cubicBezTo>
                <a:lnTo>
                  <a:pt x="477" y="370"/>
                </a:lnTo>
                <a:lnTo>
                  <a:pt x="477" y="361"/>
                </a:lnTo>
                <a:cubicBezTo>
                  <a:pt x="476" y="360"/>
                  <a:pt x="475" y="359"/>
                  <a:pt x="475" y="357"/>
                </a:cubicBezTo>
                <a:lnTo>
                  <a:pt x="473" y="358"/>
                </a:lnTo>
                <a:lnTo>
                  <a:pt x="470" y="355"/>
                </a:lnTo>
                <a:lnTo>
                  <a:pt x="472" y="354"/>
                </a:lnTo>
                <a:cubicBezTo>
                  <a:pt x="458" y="335"/>
                  <a:pt x="436" y="323"/>
                  <a:pt x="411" y="323"/>
                </a:cubicBezTo>
                <a:cubicBezTo>
                  <a:pt x="385" y="323"/>
                  <a:pt x="361" y="336"/>
                  <a:pt x="348" y="356"/>
                </a:cubicBezTo>
                <a:cubicBezTo>
                  <a:pt x="348" y="357"/>
                  <a:pt x="348" y="358"/>
                  <a:pt x="348" y="360"/>
                </a:cubicBezTo>
                <a:cubicBezTo>
                  <a:pt x="348" y="363"/>
                  <a:pt x="347" y="366"/>
                  <a:pt x="346" y="368"/>
                </a:cubicBezTo>
                <a:cubicBezTo>
                  <a:pt x="345" y="369"/>
                  <a:pt x="343" y="370"/>
                  <a:pt x="340" y="370"/>
                </a:cubicBezTo>
                <a:cubicBezTo>
                  <a:pt x="340" y="370"/>
                  <a:pt x="340" y="370"/>
                  <a:pt x="339" y="370"/>
                </a:cubicBezTo>
                <a:cubicBezTo>
                  <a:pt x="336" y="379"/>
                  <a:pt x="334" y="389"/>
                  <a:pt x="333" y="399"/>
                </a:cubicBezTo>
                <a:cubicBezTo>
                  <a:pt x="334" y="398"/>
                  <a:pt x="334" y="397"/>
                  <a:pt x="335" y="396"/>
                </a:cubicBezTo>
                <a:cubicBezTo>
                  <a:pt x="336" y="395"/>
                  <a:pt x="338" y="394"/>
                  <a:pt x="340" y="394"/>
                </a:cubicBezTo>
                <a:cubicBezTo>
                  <a:pt x="343" y="394"/>
                  <a:pt x="345" y="395"/>
                  <a:pt x="346" y="396"/>
                </a:cubicBezTo>
                <a:cubicBezTo>
                  <a:pt x="347" y="398"/>
                  <a:pt x="348" y="401"/>
                  <a:pt x="348" y="405"/>
                </a:cubicBezTo>
                <a:cubicBezTo>
                  <a:pt x="348" y="408"/>
                  <a:pt x="347" y="411"/>
                  <a:pt x="346" y="413"/>
                </a:cubicBezTo>
                <a:cubicBezTo>
                  <a:pt x="345" y="414"/>
                  <a:pt x="343" y="415"/>
                  <a:pt x="340" y="415"/>
                </a:cubicBezTo>
                <a:cubicBezTo>
                  <a:pt x="338" y="415"/>
                  <a:pt x="336" y="414"/>
                  <a:pt x="335" y="413"/>
                </a:cubicBezTo>
                <a:cubicBezTo>
                  <a:pt x="334" y="412"/>
                  <a:pt x="334" y="412"/>
                  <a:pt x="334" y="412"/>
                </a:cubicBezTo>
                <a:cubicBezTo>
                  <a:pt x="336" y="422"/>
                  <a:pt x="339" y="432"/>
                  <a:pt x="344" y="440"/>
                </a:cubicBezTo>
                <a:cubicBezTo>
                  <a:pt x="345" y="440"/>
                  <a:pt x="345" y="441"/>
                  <a:pt x="346" y="442"/>
                </a:cubicBezTo>
                <a:cubicBezTo>
                  <a:pt x="346" y="442"/>
                  <a:pt x="347" y="443"/>
                  <a:pt x="347" y="444"/>
                </a:cubicBezTo>
                <a:cubicBezTo>
                  <a:pt x="348" y="445"/>
                  <a:pt x="349" y="447"/>
                  <a:pt x="350" y="448"/>
                </a:cubicBezTo>
                <a:cubicBezTo>
                  <a:pt x="350" y="445"/>
                  <a:pt x="351" y="443"/>
                  <a:pt x="352" y="441"/>
                </a:cubicBezTo>
                <a:cubicBezTo>
                  <a:pt x="353" y="440"/>
                  <a:pt x="355" y="439"/>
                  <a:pt x="357" y="439"/>
                </a:cubicBezTo>
                <a:cubicBezTo>
                  <a:pt x="360" y="439"/>
                  <a:pt x="362" y="440"/>
                  <a:pt x="363" y="442"/>
                </a:cubicBezTo>
                <a:cubicBezTo>
                  <a:pt x="364" y="443"/>
                  <a:pt x="365" y="446"/>
                  <a:pt x="365" y="450"/>
                </a:cubicBezTo>
                <a:cubicBezTo>
                  <a:pt x="365" y="453"/>
                  <a:pt x="364" y="456"/>
                  <a:pt x="363" y="458"/>
                </a:cubicBezTo>
                <a:cubicBezTo>
                  <a:pt x="363" y="459"/>
                  <a:pt x="362" y="459"/>
                  <a:pt x="361" y="459"/>
                </a:cubicBezTo>
                <a:cubicBezTo>
                  <a:pt x="375" y="471"/>
                  <a:pt x="392" y="477"/>
                  <a:pt x="411" y="477"/>
                </a:cubicBezTo>
                <a:cubicBezTo>
                  <a:pt x="429" y="477"/>
                  <a:pt x="446" y="471"/>
                  <a:pt x="460" y="460"/>
                </a:cubicBezTo>
                <a:lnTo>
                  <a:pt x="460" y="449"/>
                </a:lnTo>
                <a:cubicBezTo>
                  <a:pt x="460" y="448"/>
                  <a:pt x="460" y="446"/>
                  <a:pt x="460" y="445"/>
                </a:cubicBezTo>
                <a:cubicBezTo>
                  <a:pt x="460" y="446"/>
                  <a:pt x="459" y="446"/>
                  <a:pt x="459" y="447"/>
                </a:cubicBezTo>
                <a:lnTo>
                  <a:pt x="456" y="449"/>
                </a:lnTo>
                <a:lnTo>
                  <a:pt x="453" y="445"/>
                </a:lnTo>
                <a:lnTo>
                  <a:pt x="460" y="439"/>
                </a:lnTo>
                <a:lnTo>
                  <a:pt x="466" y="439"/>
                </a:lnTo>
                <a:lnTo>
                  <a:pt x="466" y="454"/>
                </a:lnTo>
                <a:cubicBezTo>
                  <a:pt x="467" y="453"/>
                  <a:pt x="469" y="451"/>
                  <a:pt x="470" y="449"/>
                </a:cubicBezTo>
                <a:cubicBezTo>
                  <a:pt x="470" y="446"/>
                  <a:pt x="471" y="443"/>
                  <a:pt x="472" y="441"/>
                </a:cubicBezTo>
                <a:cubicBezTo>
                  <a:pt x="473" y="440"/>
                  <a:pt x="475" y="439"/>
                  <a:pt x="477" y="439"/>
                </a:cubicBezTo>
                <a:close/>
                <a:moveTo>
                  <a:pt x="362" y="370"/>
                </a:moveTo>
                <a:lnTo>
                  <a:pt x="362" y="370"/>
                </a:lnTo>
                <a:lnTo>
                  <a:pt x="357" y="370"/>
                </a:lnTo>
                <a:lnTo>
                  <a:pt x="357" y="359"/>
                </a:lnTo>
                <a:cubicBezTo>
                  <a:pt x="357" y="358"/>
                  <a:pt x="357" y="356"/>
                  <a:pt x="357" y="355"/>
                </a:cubicBezTo>
                <a:cubicBezTo>
                  <a:pt x="356" y="356"/>
                  <a:pt x="356" y="356"/>
                  <a:pt x="355" y="357"/>
                </a:cubicBezTo>
                <a:lnTo>
                  <a:pt x="353" y="358"/>
                </a:lnTo>
                <a:lnTo>
                  <a:pt x="350" y="355"/>
                </a:lnTo>
                <a:lnTo>
                  <a:pt x="357" y="349"/>
                </a:lnTo>
                <a:lnTo>
                  <a:pt x="362" y="349"/>
                </a:lnTo>
                <a:lnTo>
                  <a:pt x="362" y="370"/>
                </a:lnTo>
                <a:lnTo>
                  <a:pt x="362" y="370"/>
                </a:lnTo>
                <a:close/>
                <a:moveTo>
                  <a:pt x="365" y="405"/>
                </a:moveTo>
                <a:lnTo>
                  <a:pt x="365" y="405"/>
                </a:lnTo>
                <a:cubicBezTo>
                  <a:pt x="365" y="408"/>
                  <a:pt x="364" y="411"/>
                  <a:pt x="363" y="413"/>
                </a:cubicBezTo>
                <a:cubicBezTo>
                  <a:pt x="362" y="414"/>
                  <a:pt x="360" y="415"/>
                  <a:pt x="357" y="415"/>
                </a:cubicBezTo>
                <a:cubicBezTo>
                  <a:pt x="355" y="415"/>
                  <a:pt x="353" y="414"/>
                  <a:pt x="352" y="413"/>
                </a:cubicBezTo>
                <a:cubicBezTo>
                  <a:pt x="350" y="411"/>
                  <a:pt x="350" y="408"/>
                  <a:pt x="350" y="405"/>
                </a:cubicBezTo>
                <a:cubicBezTo>
                  <a:pt x="350" y="401"/>
                  <a:pt x="350" y="398"/>
                  <a:pt x="352" y="396"/>
                </a:cubicBezTo>
                <a:cubicBezTo>
                  <a:pt x="353" y="395"/>
                  <a:pt x="355" y="394"/>
                  <a:pt x="357" y="394"/>
                </a:cubicBezTo>
                <a:cubicBezTo>
                  <a:pt x="360" y="394"/>
                  <a:pt x="362" y="395"/>
                  <a:pt x="363" y="396"/>
                </a:cubicBezTo>
                <a:cubicBezTo>
                  <a:pt x="364" y="398"/>
                  <a:pt x="365" y="401"/>
                  <a:pt x="365" y="405"/>
                </a:cubicBezTo>
                <a:close/>
                <a:moveTo>
                  <a:pt x="419" y="445"/>
                </a:moveTo>
                <a:lnTo>
                  <a:pt x="419" y="445"/>
                </a:lnTo>
                <a:lnTo>
                  <a:pt x="426" y="439"/>
                </a:lnTo>
                <a:lnTo>
                  <a:pt x="431" y="439"/>
                </a:lnTo>
                <a:lnTo>
                  <a:pt x="431" y="460"/>
                </a:lnTo>
                <a:lnTo>
                  <a:pt x="425" y="460"/>
                </a:lnTo>
                <a:lnTo>
                  <a:pt x="425" y="449"/>
                </a:lnTo>
                <a:cubicBezTo>
                  <a:pt x="425" y="448"/>
                  <a:pt x="425" y="446"/>
                  <a:pt x="425" y="445"/>
                </a:cubicBezTo>
                <a:cubicBezTo>
                  <a:pt x="425" y="446"/>
                  <a:pt x="425" y="446"/>
                  <a:pt x="424" y="447"/>
                </a:cubicBezTo>
                <a:lnTo>
                  <a:pt x="422" y="449"/>
                </a:lnTo>
                <a:lnTo>
                  <a:pt x="419" y="445"/>
                </a:lnTo>
                <a:lnTo>
                  <a:pt x="419" y="445"/>
                </a:lnTo>
                <a:close/>
                <a:moveTo>
                  <a:pt x="402" y="445"/>
                </a:moveTo>
                <a:lnTo>
                  <a:pt x="402" y="445"/>
                </a:lnTo>
                <a:lnTo>
                  <a:pt x="409" y="439"/>
                </a:lnTo>
                <a:lnTo>
                  <a:pt x="414" y="439"/>
                </a:lnTo>
                <a:lnTo>
                  <a:pt x="414" y="460"/>
                </a:lnTo>
                <a:lnTo>
                  <a:pt x="408" y="460"/>
                </a:lnTo>
                <a:lnTo>
                  <a:pt x="408" y="449"/>
                </a:lnTo>
                <a:cubicBezTo>
                  <a:pt x="408" y="448"/>
                  <a:pt x="408" y="446"/>
                  <a:pt x="408" y="445"/>
                </a:cubicBezTo>
                <a:cubicBezTo>
                  <a:pt x="408" y="446"/>
                  <a:pt x="407" y="446"/>
                  <a:pt x="407" y="447"/>
                </a:cubicBezTo>
                <a:lnTo>
                  <a:pt x="405" y="449"/>
                </a:lnTo>
                <a:lnTo>
                  <a:pt x="402" y="445"/>
                </a:lnTo>
                <a:lnTo>
                  <a:pt x="402" y="445"/>
                </a:lnTo>
                <a:close/>
                <a:moveTo>
                  <a:pt x="402" y="400"/>
                </a:moveTo>
                <a:lnTo>
                  <a:pt x="402" y="400"/>
                </a:lnTo>
                <a:lnTo>
                  <a:pt x="409" y="394"/>
                </a:lnTo>
                <a:lnTo>
                  <a:pt x="414" y="394"/>
                </a:lnTo>
                <a:lnTo>
                  <a:pt x="414" y="415"/>
                </a:lnTo>
                <a:lnTo>
                  <a:pt x="408" y="415"/>
                </a:lnTo>
                <a:lnTo>
                  <a:pt x="408" y="404"/>
                </a:lnTo>
                <a:cubicBezTo>
                  <a:pt x="408" y="403"/>
                  <a:pt x="408" y="401"/>
                  <a:pt x="408" y="400"/>
                </a:cubicBezTo>
                <a:cubicBezTo>
                  <a:pt x="408" y="401"/>
                  <a:pt x="407" y="401"/>
                  <a:pt x="407" y="402"/>
                </a:cubicBezTo>
                <a:lnTo>
                  <a:pt x="405" y="404"/>
                </a:lnTo>
                <a:lnTo>
                  <a:pt x="402" y="400"/>
                </a:lnTo>
                <a:lnTo>
                  <a:pt x="402" y="400"/>
                </a:lnTo>
                <a:close/>
                <a:moveTo>
                  <a:pt x="384" y="445"/>
                </a:moveTo>
                <a:lnTo>
                  <a:pt x="384" y="445"/>
                </a:lnTo>
                <a:lnTo>
                  <a:pt x="392" y="439"/>
                </a:lnTo>
                <a:lnTo>
                  <a:pt x="397" y="439"/>
                </a:lnTo>
                <a:lnTo>
                  <a:pt x="397" y="460"/>
                </a:lnTo>
                <a:lnTo>
                  <a:pt x="391" y="460"/>
                </a:lnTo>
                <a:lnTo>
                  <a:pt x="391" y="449"/>
                </a:lnTo>
                <a:cubicBezTo>
                  <a:pt x="391" y="448"/>
                  <a:pt x="391" y="446"/>
                  <a:pt x="391" y="445"/>
                </a:cubicBezTo>
                <a:cubicBezTo>
                  <a:pt x="391" y="446"/>
                  <a:pt x="390" y="446"/>
                  <a:pt x="390" y="447"/>
                </a:cubicBezTo>
                <a:lnTo>
                  <a:pt x="387" y="449"/>
                </a:lnTo>
                <a:lnTo>
                  <a:pt x="384" y="445"/>
                </a:lnTo>
                <a:lnTo>
                  <a:pt x="384" y="445"/>
                </a:lnTo>
                <a:close/>
                <a:moveTo>
                  <a:pt x="382" y="360"/>
                </a:moveTo>
                <a:lnTo>
                  <a:pt x="382" y="360"/>
                </a:lnTo>
                <a:cubicBezTo>
                  <a:pt x="382" y="363"/>
                  <a:pt x="382" y="366"/>
                  <a:pt x="380" y="368"/>
                </a:cubicBezTo>
                <a:cubicBezTo>
                  <a:pt x="379" y="369"/>
                  <a:pt x="377" y="370"/>
                  <a:pt x="375" y="370"/>
                </a:cubicBezTo>
                <a:cubicBezTo>
                  <a:pt x="372" y="370"/>
                  <a:pt x="370" y="369"/>
                  <a:pt x="369" y="368"/>
                </a:cubicBezTo>
                <a:cubicBezTo>
                  <a:pt x="368" y="366"/>
                  <a:pt x="367" y="363"/>
                  <a:pt x="367" y="360"/>
                </a:cubicBezTo>
                <a:cubicBezTo>
                  <a:pt x="367" y="356"/>
                  <a:pt x="368" y="353"/>
                  <a:pt x="369" y="351"/>
                </a:cubicBezTo>
                <a:cubicBezTo>
                  <a:pt x="370" y="350"/>
                  <a:pt x="372" y="349"/>
                  <a:pt x="375" y="349"/>
                </a:cubicBezTo>
                <a:cubicBezTo>
                  <a:pt x="377" y="349"/>
                  <a:pt x="379" y="350"/>
                  <a:pt x="380" y="351"/>
                </a:cubicBezTo>
                <a:cubicBezTo>
                  <a:pt x="382" y="353"/>
                  <a:pt x="382" y="356"/>
                  <a:pt x="382" y="360"/>
                </a:cubicBezTo>
                <a:close/>
                <a:moveTo>
                  <a:pt x="374" y="400"/>
                </a:moveTo>
                <a:lnTo>
                  <a:pt x="374" y="400"/>
                </a:lnTo>
                <a:cubicBezTo>
                  <a:pt x="374" y="401"/>
                  <a:pt x="373" y="401"/>
                  <a:pt x="373" y="402"/>
                </a:cubicBezTo>
                <a:lnTo>
                  <a:pt x="370" y="404"/>
                </a:lnTo>
                <a:lnTo>
                  <a:pt x="367" y="400"/>
                </a:lnTo>
                <a:lnTo>
                  <a:pt x="374" y="394"/>
                </a:lnTo>
                <a:lnTo>
                  <a:pt x="380" y="394"/>
                </a:lnTo>
                <a:lnTo>
                  <a:pt x="380" y="415"/>
                </a:lnTo>
                <a:lnTo>
                  <a:pt x="374" y="415"/>
                </a:lnTo>
                <a:lnTo>
                  <a:pt x="374" y="404"/>
                </a:lnTo>
                <a:cubicBezTo>
                  <a:pt x="374" y="403"/>
                  <a:pt x="374" y="401"/>
                  <a:pt x="374" y="400"/>
                </a:cubicBezTo>
                <a:close/>
                <a:moveTo>
                  <a:pt x="382" y="450"/>
                </a:moveTo>
                <a:lnTo>
                  <a:pt x="382" y="450"/>
                </a:lnTo>
                <a:cubicBezTo>
                  <a:pt x="382" y="453"/>
                  <a:pt x="382" y="456"/>
                  <a:pt x="380" y="458"/>
                </a:cubicBezTo>
                <a:cubicBezTo>
                  <a:pt x="379" y="459"/>
                  <a:pt x="377" y="460"/>
                  <a:pt x="375" y="460"/>
                </a:cubicBezTo>
                <a:cubicBezTo>
                  <a:pt x="372" y="460"/>
                  <a:pt x="370" y="459"/>
                  <a:pt x="369" y="458"/>
                </a:cubicBezTo>
                <a:cubicBezTo>
                  <a:pt x="368" y="456"/>
                  <a:pt x="367" y="453"/>
                  <a:pt x="367" y="450"/>
                </a:cubicBezTo>
                <a:cubicBezTo>
                  <a:pt x="367" y="446"/>
                  <a:pt x="368" y="443"/>
                  <a:pt x="369" y="441"/>
                </a:cubicBezTo>
                <a:cubicBezTo>
                  <a:pt x="370" y="440"/>
                  <a:pt x="372" y="439"/>
                  <a:pt x="375" y="439"/>
                </a:cubicBezTo>
                <a:cubicBezTo>
                  <a:pt x="377" y="439"/>
                  <a:pt x="379" y="440"/>
                  <a:pt x="380" y="442"/>
                </a:cubicBezTo>
                <a:cubicBezTo>
                  <a:pt x="382" y="443"/>
                  <a:pt x="382" y="446"/>
                  <a:pt x="382" y="450"/>
                </a:cubicBezTo>
                <a:close/>
                <a:moveTo>
                  <a:pt x="397" y="370"/>
                </a:moveTo>
                <a:lnTo>
                  <a:pt x="397" y="370"/>
                </a:lnTo>
                <a:lnTo>
                  <a:pt x="391" y="370"/>
                </a:lnTo>
                <a:lnTo>
                  <a:pt x="391" y="359"/>
                </a:lnTo>
                <a:cubicBezTo>
                  <a:pt x="391" y="358"/>
                  <a:pt x="391" y="356"/>
                  <a:pt x="391" y="355"/>
                </a:cubicBezTo>
                <a:cubicBezTo>
                  <a:pt x="391" y="356"/>
                  <a:pt x="390" y="356"/>
                  <a:pt x="390" y="357"/>
                </a:cubicBezTo>
                <a:lnTo>
                  <a:pt x="387" y="358"/>
                </a:lnTo>
                <a:lnTo>
                  <a:pt x="384" y="355"/>
                </a:lnTo>
                <a:lnTo>
                  <a:pt x="392" y="349"/>
                </a:lnTo>
                <a:lnTo>
                  <a:pt x="397" y="349"/>
                </a:lnTo>
                <a:lnTo>
                  <a:pt x="397" y="370"/>
                </a:lnTo>
                <a:lnTo>
                  <a:pt x="397" y="370"/>
                </a:lnTo>
                <a:close/>
                <a:moveTo>
                  <a:pt x="399" y="405"/>
                </a:moveTo>
                <a:lnTo>
                  <a:pt x="399" y="405"/>
                </a:lnTo>
                <a:cubicBezTo>
                  <a:pt x="399" y="408"/>
                  <a:pt x="399" y="411"/>
                  <a:pt x="398" y="413"/>
                </a:cubicBezTo>
                <a:cubicBezTo>
                  <a:pt x="396" y="414"/>
                  <a:pt x="394" y="415"/>
                  <a:pt x="392" y="415"/>
                </a:cubicBezTo>
                <a:cubicBezTo>
                  <a:pt x="389" y="415"/>
                  <a:pt x="387" y="414"/>
                  <a:pt x="386" y="413"/>
                </a:cubicBezTo>
                <a:cubicBezTo>
                  <a:pt x="385" y="411"/>
                  <a:pt x="384" y="408"/>
                  <a:pt x="384" y="405"/>
                </a:cubicBezTo>
                <a:cubicBezTo>
                  <a:pt x="384" y="401"/>
                  <a:pt x="385" y="398"/>
                  <a:pt x="386" y="396"/>
                </a:cubicBezTo>
                <a:cubicBezTo>
                  <a:pt x="387" y="395"/>
                  <a:pt x="389" y="394"/>
                  <a:pt x="392" y="394"/>
                </a:cubicBezTo>
                <a:cubicBezTo>
                  <a:pt x="394" y="394"/>
                  <a:pt x="396" y="395"/>
                  <a:pt x="397" y="396"/>
                </a:cubicBezTo>
                <a:cubicBezTo>
                  <a:pt x="399" y="398"/>
                  <a:pt x="399" y="401"/>
                  <a:pt x="399" y="405"/>
                </a:cubicBezTo>
                <a:close/>
                <a:moveTo>
                  <a:pt x="417" y="360"/>
                </a:moveTo>
                <a:lnTo>
                  <a:pt x="417" y="360"/>
                </a:lnTo>
                <a:cubicBezTo>
                  <a:pt x="417" y="363"/>
                  <a:pt x="416" y="366"/>
                  <a:pt x="415" y="368"/>
                </a:cubicBezTo>
                <a:cubicBezTo>
                  <a:pt x="413" y="369"/>
                  <a:pt x="412" y="370"/>
                  <a:pt x="409" y="370"/>
                </a:cubicBezTo>
                <a:cubicBezTo>
                  <a:pt x="407" y="370"/>
                  <a:pt x="405" y="369"/>
                  <a:pt x="403" y="368"/>
                </a:cubicBezTo>
                <a:cubicBezTo>
                  <a:pt x="402" y="366"/>
                  <a:pt x="401" y="363"/>
                  <a:pt x="401" y="360"/>
                </a:cubicBezTo>
                <a:cubicBezTo>
                  <a:pt x="401" y="356"/>
                  <a:pt x="402" y="353"/>
                  <a:pt x="403" y="351"/>
                </a:cubicBezTo>
                <a:cubicBezTo>
                  <a:pt x="405" y="350"/>
                  <a:pt x="406" y="349"/>
                  <a:pt x="409" y="349"/>
                </a:cubicBezTo>
                <a:cubicBezTo>
                  <a:pt x="412" y="349"/>
                  <a:pt x="413" y="350"/>
                  <a:pt x="415" y="351"/>
                </a:cubicBezTo>
                <a:cubicBezTo>
                  <a:pt x="416" y="353"/>
                  <a:pt x="417" y="356"/>
                  <a:pt x="417" y="360"/>
                </a:cubicBezTo>
                <a:close/>
                <a:moveTo>
                  <a:pt x="434" y="360"/>
                </a:moveTo>
                <a:lnTo>
                  <a:pt x="434" y="360"/>
                </a:lnTo>
                <a:cubicBezTo>
                  <a:pt x="434" y="363"/>
                  <a:pt x="433" y="366"/>
                  <a:pt x="432" y="368"/>
                </a:cubicBezTo>
                <a:cubicBezTo>
                  <a:pt x="431" y="369"/>
                  <a:pt x="429" y="370"/>
                  <a:pt x="426" y="370"/>
                </a:cubicBezTo>
                <a:cubicBezTo>
                  <a:pt x="424" y="370"/>
                  <a:pt x="422" y="369"/>
                  <a:pt x="421" y="368"/>
                </a:cubicBezTo>
                <a:cubicBezTo>
                  <a:pt x="419" y="366"/>
                  <a:pt x="419" y="363"/>
                  <a:pt x="419" y="360"/>
                </a:cubicBezTo>
                <a:cubicBezTo>
                  <a:pt x="419" y="356"/>
                  <a:pt x="419" y="353"/>
                  <a:pt x="421" y="351"/>
                </a:cubicBezTo>
                <a:cubicBezTo>
                  <a:pt x="422" y="350"/>
                  <a:pt x="424" y="349"/>
                  <a:pt x="426" y="349"/>
                </a:cubicBezTo>
                <a:cubicBezTo>
                  <a:pt x="429" y="349"/>
                  <a:pt x="431" y="350"/>
                  <a:pt x="432" y="351"/>
                </a:cubicBezTo>
                <a:cubicBezTo>
                  <a:pt x="433" y="353"/>
                  <a:pt x="434" y="356"/>
                  <a:pt x="434" y="360"/>
                </a:cubicBezTo>
                <a:close/>
                <a:moveTo>
                  <a:pt x="434" y="405"/>
                </a:moveTo>
                <a:lnTo>
                  <a:pt x="434" y="405"/>
                </a:lnTo>
                <a:cubicBezTo>
                  <a:pt x="434" y="408"/>
                  <a:pt x="433" y="411"/>
                  <a:pt x="432" y="413"/>
                </a:cubicBezTo>
                <a:cubicBezTo>
                  <a:pt x="431" y="414"/>
                  <a:pt x="429" y="415"/>
                  <a:pt x="426" y="415"/>
                </a:cubicBezTo>
                <a:cubicBezTo>
                  <a:pt x="424" y="415"/>
                  <a:pt x="422" y="414"/>
                  <a:pt x="421" y="413"/>
                </a:cubicBezTo>
                <a:cubicBezTo>
                  <a:pt x="419" y="411"/>
                  <a:pt x="419" y="408"/>
                  <a:pt x="419" y="405"/>
                </a:cubicBezTo>
                <a:cubicBezTo>
                  <a:pt x="419" y="401"/>
                  <a:pt x="419" y="398"/>
                  <a:pt x="421" y="396"/>
                </a:cubicBezTo>
                <a:cubicBezTo>
                  <a:pt x="422" y="395"/>
                  <a:pt x="424" y="394"/>
                  <a:pt x="426" y="394"/>
                </a:cubicBezTo>
                <a:cubicBezTo>
                  <a:pt x="429" y="394"/>
                  <a:pt x="431" y="395"/>
                  <a:pt x="432" y="396"/>
                </a:cubicBezTo>
                <a:cubicBezTo>
                  <a:pt x="433" y="398"/>
                  <a:pt x="434" y="401"/>
                  <a:pt x="434" y="405"/>
                </a:cubicBezTo>
                <a:close/>
                <a:moveTo>
                  <a:pt x="448" y="370"/>
                </a:moveTo>
                <a:lnTo>
                  <a:pt x="448" y="370"/>
                </a:lnTo>
                <a:lnTo>
                  <a:pt x="443" y="370"/>
                </a:lnTo>
                <a:lnTo>
                  <a:pt x="443" y="359"/>
                </a:lnTo>
                <a:cubicBezTo>
                  <a:pt x="443" y="358"/>
                  <a:pt x="443" y="356"/>
                  <a:pt x="443" y="355"/>
                </a:cubicBezTo>
                <a:cubicBezTo>
                  <a:pt x="442" y="356"/>
                  <a:pt x="442" y="356"/>
                  <a:pt x="441" y="357"/>
                </a:cubicBezTo>
                <a:lnTo>
                  <a:pt x="439" y="358"/>
                </a:lnTo>
                <a:lnTo>
                  <a:pt x="436" y="355"/>
                </a:lnTo>
                <a:lnTo>
                  <a:pt x="443" y="349"/>
                </a:lnTo>
                <a:lnTo>
                  <a:pt x="448" y="349"/>
                </a:lnTo>
                <a:lnTo>
                  <a:pt x="448" y="370"/>
                </a:lnTo>
                <a:lnTo>
                  <a:pt x="448" y="370"/>
                </a:lnTo>
                <a:close/>
                <a:moveTo>
                  <a:pt x="451" y="405"/>
                </a:moveTo>
                <a:lnTo>
                  <a:pt x="451" y="405"/>
                </a:lnTo>
                <a:cubicBezTo>
                  <a:pt x="451" y="408"/>
                  <a:pt x="450" y="411"/>
                  <a:pt x="449" y="413"/>
                </a:cubicBezTo>
                <a:cubicBezTo>
                  <a:pt x="448" y="414"/>
                  <a:pt x="446" y="415"/>
                  <a:pt x="443" y="415"/>
                </a:cubicBezTo>
                <a:cubicBezTo>
                  <a:pt x="441" y="415"/>
                  <a:pt x="439" y="414"/>
                  <a:pt x="438" y="413"/>
                </a:cubicBezTo>
                <a:cubicBezTo>
                  <a:pt x="436" y="411"/>
                  <a:pt x="436" y="408"/>
                  <a:pt x="436" y="405"/>
                </a:cubicBezTo>
                <a:cubicBezTo>
                  <a:pt x="436" y="401"/>
                  <a:pt x="436" y="398"/>
                  <a:pt x="438" y="396"/>
                </a:cubicBezTo>
                <a:cubicBezTo>
                  <a:pt x="439" y="395"/>
                  <a:pt x="441" y="394"/>
                  <a:pt x="443" y="394"/>
                </a:cubicBezTo>
                <a:cubicBezTo>
                  <a:pt x="446" y="394"/>
                  <a:pt x="448" y="395"/>
                  <a:pt x="449" y="396"/>
                </a:cubicBezTo>
                <a:cubicBezTo>
                  <a:pt x="450" y="398"/>
                  <a:pt x="451" y="401"/>
                  <a:pt x="451" y="405"/>
                </a:cubicBezTo>
                <a:close/>
                <a:moveTo>
                  <a:pt x="451" y="450"/>
                </a:moveTo>
                <a:lnTo>
                  <a:pt x="451" y="450"/>
                </a:lnTo>
                <a:cubicBezTo>
                  <a:pt x="451" y="453"/>
                  <a:pt x="450" y="456"/>
                  <a:pt x="449" y="458"/>
                </a:cubicBezTo>
                <a:cubicBezTo>
                  <a:pt x="448" y="459"/>
                  <a:pt x="446" y="460"/>
                  <a:pt x="443" y="460"/>
                </a:cubicBezTo>
                <a:cubicBezTo>
                  <a:pt x="441" y="460"/>
                  <a:pt x="439" y="459"/>
                  <a:pt x="438" y="458"/>
                </a:cubicBezTo>
                <a:cubicBezTo>
                  <a:pt x="436" y="456"/>
                  <a:pt x="436" y="453"/>
                  <a:pt x="436" y="450"/>
                </a:cubicBezTo>
                <a:cubicBezTo>
                  <a:pt x="436" y="446"/>
                  <a:pt x="436" y="443"/>
                  <a:pt x="438" y="441"/>
                </a:cubicBezTo>
                <a:cubicBezTo>
                  <a:pt x="439" y="440"/>
                  <a:pt x="441" y="439"/>
                  <a:pt x="443" y="439"/>
                </a:cubicBezTo>
                <a:cubicBezTo>
                  <a:pt x="446" y="439"/>
                  <a:pt x="448" y="440"/>
                  <a:pt x="449" y="442"/>
                </a:cubicBezTo>
                <a:cubicBezTo>
                  <a:pt x="450" y="443"/>
                  <a:pt x="451" y="446"/>
                  <a:pt x="451" y="450"/>
                </a:cubicBezTo>
                <a:close/>
                <a:moveTo>
                  <a:pt x="466" y="370"/>
                </a:moveTo>
                <a:lnTo>
                  <a:pt x="466" y="370"/>
                </a:lnTo>
                <a:lnTo>
                  <a:pt x="460" y="370"/>
                </a:lnTo>
                <a:lnTo>
                  <a:pt x="460" y="359"/>
                </a:lnTo>
                <a:cubicBezTo>
                  <a:pt x="460" y="358"/>
                  <a:pt x="460" y="356"/>
                  <a:pt x="460" y="355"/>
                </a:cubicBezTo>
                <a:cubicBezTo>
                  <a:pt x="460" y="356"/>
                  <a:pt x="459" y="356"/>
                  <a:pt x="459" y="357"/>
                </a:cubicBezTo>
                <a:lnTo>
                  <a:pt x="456" y="358"/>
                </a:lnTo>
                <a:lnTo>
                  <a:pt x="453" y="355"/>
                </a:lnTo>
                <a:lnTo>
                  <a:pt x="460" y="349"/>
                </a:lnTo>
                <a:lnTo>
                  <a:pt x="466" y="349"/>
                </a:lnTo>
                <a:lnTo>
                  <a:pt x="466" y="370"/>
                </a:lnTo>
                <a:lnTo>
                  <a:pt x="466" y="370"/>
                </a:lnTo>
                <a:close/>
                <a:moveTo>
                  <a:pt x="466" y="415"/>
                </a:moveTo>
                <a:lnTo>
                  <a:pt x="466" y="415"/>
                </a:lnTo>
                <a:lnTo>
                  <a:pt x="460" y="415"/>
                </a:lnTo>
                <a:lnTo>
                  <a:pt x="460" y="404"/>
                </a:lnTo>
                <a:cubicBezTo>
                  <a:pt x="460" y="403"/>
                  <a:pt x="460" y="401"/>
                  <a:pt x="460" y="400"/>
                </a:cubicBezTo>
                <a:cubicBezTo>
                  <a:pt x="460" y="401"/>
                  <a:pt x="459" y="401"/>
                  <a:pt x="459" y="402"/>
                </a:cubicBezTo>
                <a:lnTo>
                  <a:pt x="456" y="404"/>
                </a:lnTo>
                <a:lnTo>
                  <a:pt x="453" y="400"/>
                </a:lnTo>
                <a:lnTo>
                  <a:pt x="460" y="394"/>
                </a:lnTo>
                <a:lnTo>
                  <a:pt x="466" y="394"/>
                </a:lnTo>
                <a:lnTo>
                  <a:pt x="466" y="415"/>
                </a:lnTo>
                <a:lnTo>
                  <a:pt x="466" y="415"/>
                </a:lnTo>
                <a:close/>
                <a:moveTo>
                  <a:pt x="478" y="415"/>
                </a:moveTo>
                <a:lnTo>
                  <a:pt x="478" y="415"/>
                </a:lnTo>
                <a:cubicBezTo>
                  <a:pt x="475" y="415"/>
                  <a:pt x="473" y="414"/>
                  <a:pt x="472" y="413"/>
                </a:cubicBezTo>
                <a:cubicBezTo>
                  <a:pt x="471" y="411"/>
                  <a:pt x="470" y="408"/>
                  <a:pt x="470" y="405"/>
                </a:cubicBezTo>
                <a:cubicBezTo>
                  <a:pt x="470" y="401"/>
                  <a:pt x="471" y="398"/>
                  <a:pt x="472" y="396"/>
                </a:cubicBezTo>
                <a:cubicBezTo>
                  <a:pt x="473" y="395"/>
                  <a:pt x="475" y="394"/>
                  <a:pt x="478" y="394"/>
                </a:cubicBezTo>
                <a:cubicBezTo>
                  <a:pt x="480" y="394"/>
                  <a:pt x="482" y="395"/>
                  <a:pt x="483" y="396"/>
                </a:cubicBezTo>
                <a:cubicBezTo>
                  <a:pt x="485" y="398"/>
                  <a:pt x="485" y="401"/>
                  <a:pt x="485" y="405"/>
                </a:cubicBezTo>
                <a:cubicBezTo>
                  <a:pt x="485" y="408"/>
                  <a:pt x="485" y="411"/>
                  <a:pt x="484" y="413"/>
                </a:cubicBezTo>
                <a:cubicBezTo>
                  <a:pt x="482" y="414"/>
                  <a:pt x="480" y="415"/>
                  <a:pt x="478" y="415"/>
                </a:cubicBezTo>
                <a:close/>
                <a:moveTo>
                  <a:pt x="476" y="400"/>
                </a:moveTo>
                <a:lnTo>
                  <a:pt x="476" y="400"/>
                </a:lnTo>
                <a:cubicBezTo>
                  <a:pt x="476" y="401"/>
                  <a:pt x="476" y="402"/>
                  <a:pt x="476" y="405"/>
                </a:cubicBezTo>
                <a:cubicBezTo>
                  <a:pt x="476" y="407"/>
                  <a:pt x="476" y="409"/>
                  <a:pt x="476" y="409"/>
                </a:cubicBezTo>
                <a:cubicBezTo>
                  <a:pt x="477" y="410"/>
                  <a:pt x="477" y="411"/>
                  <a:pt x="478" y="411"/>
                </a:cubicBezTo>
                <a:cubicBezTo>
                  <a:pt x="479" y="411"/>
                  <a:pt x="479" y="410"/>
                  <a:pt x="479" y="409"/>
                </a:cubicBezTo>
                <a:cubicBezTo>
                  <a:pt x="480" y="408"/>
                  <a:pt x="480" y="407"/>
                  <a:pt x="480" y="405"/>
                </a:cubicBezTo>
                <a:cubicBezTo>
                  <a:pt x="480" y="402"/>
                  <a:pt x="480" y="401"/>
                  <a:pt x="479" y="400"/>
                </a:cubicBezTo>
                <a:cubicBezTo>
                  <a:pt x="479" y="399"/>
                  <a:pt x="479" y="398"/>
                  <a:pt x="478" y="398"/>
                </a:cubicBezTo>
                <a:cubicBezTo>
                  <a:pt x="477" y="398"/>
                  <a:pt x="477" y="399"/>
                  <a:pt x="476" y="400"/>
                </a:cubicBezTo>
                <a:close/>
                <a:moveTo>
                  <a:pt x="445" y="454"/>
                </a:moveTo>
                <a:lnTo>
                  <a:pt x="445" y="454"/>
                </a:lnTo>
                <a:cubicBezTo>
                  <a:pt x="445" y="454"/>
                  <a:pt x="445" y="452"/>
                  <a:pt x="445" y="450"/>
                </a:cubicBezTo>
                <a:cubicBezTo>
                  <a:pt x="445" y="447"/>
                  <a:pt x="445" y="446"/>
                  <a:pt x="445" y="445"/>
                </a:cubicBezTo>
                <a:cubicBezTo>
                  <a:pt x="445" y="444"/>
                  <a:pt x="444" y="443"/>
                  <a:pt x="443" y="443"/>
                </a:cubicBezTo>
                <a:cubicBezTo>
                  <a:pt x="443" y="443"/>
                  <a:pt x="442" y="444"/>
                  <a:pt x="442" y="445"/>
                </a:cubicBezTo>
                <a:cubicBezTo>
                  <a:pt x="442" y="446"/>
                  <a:pt x="441" y="447"/>
                  <a:pt x="441" y="450"/>
                </a:cubicBezTo>
                <a:cubicBezTo>
                  <a:pt x="441" y="452"/>
                  <a:pt x="442" y="454"/>
                  <a:pt x="442" y="454"/>
                </a:cubicBezTo>
                <a:cubicBezTo>
                  <a:pt x="442" y="455"/>
                  <a:pt x="443" y="456"/>
                  <a:pt x="443" y="456"/>
                </a:cubicBezTo>
                <a:cubicBezTo>
                  <a:pt x="444" y="456"/>
                  <a:pt x="445" y="455"/>
                  <a:pt x="445" y="454"/>
                </a:cubicBezTo>
                <a:close/>
                <a:moveTo>
                  <a:pt x="445" y="409"/>
                </a:moveTo>
                <a:lnTo>
                  <a:pt x="445" y="409"/>
                </a:lnTo>
                <a:cubicBezTo>
                  <a:pt x="445" y="408"/>
                  <a:pt x="445" y="407"/>
                  <a:pt x="445" y="405"/>
                </a:cubicBezTo>
                <a:cubicBezTo>
                  <a:pt x="445" y="402"/>
                  <a:pt x="445" y="401"/>
                  <a:pt x="445" y="400"/>
                </a:cubicBezTo>
                <a:cubicBezTo>
                  <a:pt x="445" y="399"/>
                  <a:pt x="444" y="398"/>
                  <a:pt x="443" y="398"/>
                </a:cubicBezTo>
                <a:cubicBezTo>
                  <a:pt x="443" y="398"/>
                  <a:pt x="442" y="399"/>
                  <a:pt x="442" y="400"/>
                </a:cubicBezTo>
                <a:cubicBezTo>
                  <a:pt x="442" y="401"/>
                  <a:pt x="441" y="402"/>
                  <a:pt x="441" y="405"/>
                </a:cubicBezTo>
                <a:cubicBezTo>
                  <a:pt x="441" y="407"/>
                  <a:pt x="442" y="409"/>
                  <a:pt x="442" y="409"/>
                </a:cubicBezTo>
                <a:cubicBezTo>
                  <a:pt x="442" y="410"/>
                  <a:pt x="443" y="411"/>
                  <a:pt x="443" y="411"/>
                </a:cubicBezTo>
                <a:cubicBezTo>
                  <a:pt x="444" y="411"/>
                  <a:pt x="445" y="410"/>
                  <a:pt x="445" y="409"/>
                </a:cubicBezTo>
                <a:close/>
                <a:moveTo>
                  <a:pt x="428" y="409"/>
                </a:moveTo>
                <a:lnTo>
                  <a:pt x="428" y="409"/>
                </a:lnTo>
                <a:cubicBezTo>
                  <a:pt x="428" y="408"/>
                  <a:pt x="428" y="407"/>
                  <a:pt x="428" y="405"/>
                </a:cubicBezTo>
                <a:cubicBezTo>
                  <a:pt x="428" y="402"/>
                  <a:pt x="428" y="401"/>
                  <a:pt x="428" y="400"/>
                </a:cubicBezTo>
                <a:cubicBezTo>
                  <a:pt x="427" y="399"/>
                  <a:pt x="427" y="398"/>
                  <a:pt x="426" y="398"/>
                </a:cubicBezTo>
                <a:cubicBezTo>
                  <a:pt x="426" y="398"/>
                  <a:pt x="425" y="399"/>
                  <a:pt x="425" y="400"/>
                </a:cubicBezTo>
                <a:cubicBezTo>
                  <a:pt x="424" y="401"/>
                  <a:pt x="424" y="402"/>
                  <a:pt x="424" y="405"/>
                </a:cubicBezTo>
                <a:cubicBezTo>
                  <a:pt x="424" y="407"/>
                  <a:pt x="424" y="409"/>
                  <a:pt x="425" y="409"/>
                </a:cubicBezTo>
                <a:cubicBezTo>
                  <a:pt x="425" y="410"/>
                  <a:pt x="426" y="411"/>
                  <a:pt x="426" y="411"/>
                </a:cubicBezTo>
                <a:cubicBezTo>
                  <a:pt x="427" y="411"/>
                  <a:pt x="427" y="410"/>
                  <a:pt x="428" y="409"/>
                </a:cubicBezTo>
                <a:close/>
                <a:moveTo>
                  <a:pt x="428" y="364"/>
                </a:moveTo>
                <a:lnTo>
                  <a:pt x="428" y="364"/>
                </a:lnTo>
                <a:cubicBezTo>
                  <a:pt x="428" y="363"/>
                  <a:pt x="428" y="362"/>
                  <a:pt x="428" y="360"/>
                </a:cubicBezTo>
                <a:cubicBezTo>
                  <a:pt x="428" y="357"/>
                  <a:pt x="428" y="356"/>
                  <a:pt x="428" y="355"/>
                </a:cubicBezTo>
                <a:cubicBezTo>
                  <a:pt x="427" y="354"/>
                  <a:pt x="427" y="353"/>
                  <a:pt x="426" y="353"/>
                </a:cubicBezTo>
                <a:cubicBezTo>
                  <a:pt x="426" y="353"/>
                  <a:pt x="425" y="354"/>
                  <a:pt x="425" y="355"/>
                </a:cubicBezTo>
                <a:cubicBezTo>
                  <a:pt x="424" y="355"/>
                  <a:pt x="424" y="357"/>
                  <a:pt x="424" y="360"/>
                </a:cubicBezTo>
                <a:cubicBezTo>
                  <a:pt x="424" y="362"/>
                  <a:pt x="424" y="364"/>
                  <a:pt x="425" y="364"/>
                </a:cubicBezTo>
                <a:cubicBezTo>
                  <a:pt x="425" y="365"/>
                  <a:pt x="426" y="366"/>
                  <a:pt x="426" y="366"/>
                </a:cubicBezTo>
                <a:cubicBezTo>
                  <a:pt x="427" y="366"/>
                  <a:pt x="427" y="365"/>
                  <a:pt x="428" y="364"/>
                </a:cubicBezTo>
                <a:close/>
                <a:moveTo>
                  <a:pt x="411" y="364"/>
                </a:moveTo>
                <a:lnTo>
                  <a:pt x="411" y="364"/>
                </a:lnTo>
                <a:cubicBezTo>
                  <a:pt x="411" y="363"/>
                  <a:pt x="411" y="362"/>
                  <a:pt x="411" y="360"/>
                </a:cubicBezTo>
                <a:cubicBezTo>
                  <a:pt x="411" y="357"/>
                  <a:pt x="411" y="356"/>
                  <a:pt x="411" y="355"/>
                </a:cubicBezTo>
                <a:cubicBezTo>
                  <a:pt x="410" y="354"/>
                  <a:pt x="410" y="353"/>
                  <a:pt x="409" y="353"/>
                </a:cubicBezTo>
                <a:cubicBezTo>
                  <a:pt x="408" y="353"/>
                  <a:pt x="408" y="354"/>
                  <a:pt x="408" y="355"/>
                </a:cubicBezTo>
                <a:cubicBezTo>
                  <a:pt x="407" y="355"/>
                  <a:pt x="407" y="357"/>
                  <a:pt x="407" y="360"/>
                </a:cubicBezTo>
                <a:cubicBezTo>
                  <a:pt x="407" y="362"/>
                  <a:pt x="407" y="364"/>
                  <a:pt x="408" y="364"/>
                </a:cubicBezTo>
                <a:cubicBezTo>
                  <a:pt x="408" y="365"/>
                  <a:pt x="408" y="366"/>
                  <a:pt x="409" y="366"/>
                </a:cubicBezTo>
                <a:cubicBezTo>
                  <a:pt x="410" y="366"/>
                  <a:pt x="410" y="365"/>
                  <a:pt x="411" y="364"/>
                </a:cubicBezTo>
                <a:close/>
                <a:moveTo>
                  <a:pt x="393" y="409"/>
                </a:moveTo>
                <a:lnTo>
                  <a:pt x="393" y="409"/>
                </a:lnTo>
                <a:cubicBezTo>
                  <a:pt x="394" y="408"/>
                  <a:pt x="394" y="407"/>
                  <a:pt x="394" y="405"/>
                </a:cubicBezTo>
                <a:cubicBezTo>
                  <a:pt x="394" y="402"/>
                  <a:pt x="394" y="401"/>
                  <a:pt x="393" y="400"/>
                </a:cubicBezTo>
                <a:cubicBezTo>
                  <a:pt x="393" y="399"/>
                  <a:pt x="393" y="398"/>
                  <a:pt x="392" y="398"/>
                </a:cubicBezTo>
                <a:cubicBezTo>
                  <a:pt x="391" y="398"/>
                  <a:pt x="391" y="399"/>
                  <a:pt x="390" y="400"/>
                </a:cubicBezTo>
                <a:cubicBezTo>
                  <a:pt x="390" y="401"/>
                  <a:pt x="390" y="402"/>
                  <a:pt x="390" y="405"/>
                </a:cubicBezTo>
                <a:cubicBezTo>
                  <a:pt x="390" y="407"/>
                  <a:pt x="390" y="409"/>
                  <a:pt x="390" y="409"/>
                </a:cubicBezTo>
                <a:cubicBezTo>
                  <a:pt x="391" y="410"/>
                  <a:pt x="391" y="411"/>
                  <a:pt x="392" y="411"/>
                </a:cubicBezTo>
                <a:cubicBezTo>
                  <a:pt x="393" y="411"/>
                  <a:pt x="393" y="410"/>
                  <a:pt x="393" y="409"/>
                </a:cubicBezTo>
                <a:close/>
                <a:moveTo>
                  <a:pt x="376" y="454"/>
                </a:moveTo>
                <a:lnTo>
                  <a:pt x="376" y="454"/>
                </a:lnTo>
                <a:cubicBezTo>
                  <a:pt x="376" y="454"/>
                  <a:pt x="377" y="452"/>
                  <a:pt x="377" y="450"/>
                </a:cubicBezTo>
                <a:cubicBezTo>
                  <a:pt x="377" y="447"/>
                  <a:pt x="376" y="446"/>
                  <a:pt x="376" y="445"/>
                </a:cubicBezTo>
                <a:cubicBezTo>
                  <a:pt x="376" y="444"/>
                  <a:pt x="375" y="443"/>
                  <a:pt x="375" y="443"/>
                </a:cubicBezTo>
                <a:cubicBezTo>
                  <a:pt x="374" y="443"/>
                  <a:pt x="373" y="444"/>
                  <a:pt x="373" y="445"/>
                </a:cubicBezTo>
                <a:cubicBezTo>
                  <a:pt x="373" y="446"/>
                  <a:pt x="373" y="447"/>
                  <a:pt x="373" y="450"/>
                </a:cubicBezTo>
                <a:cubicBezTo>
                  <a:pt x="373" y="452"/>
                  <a:pt x="373" y="454"/>
                  <a:pt x="373" y="454"/>
                </a:cubicBezTo>
                <a:cubicBezTo>
                  <a:pt x="373" y="455"/>
                  <a:pt x="374" y="456"/>
                  <a:pt x="375" y="456"/>
                </a:cubicBezTo>
                <a:cubicBezTo>
                  <a:pt x="375" y="456"/>
                  <a:pt x="376" y="455"/>
                  <a:pt x="376" y="454"/>
                </a:cubicBezTo>
                <a:close/>
                <a:moveTo>
                  <a:pt x="376" y="364"/>
                </a:moveTo>
                <a:lnTo>
                  <a:pt x="376" y="364"/>
                </a:lnTo>
                <a:cubicBezTo>
                  <a:pt x="376" y="363"/>
                  <a:pt x="377" y="362"/>
                  <a:pt x="377" y="360"/>
                </a:cubicBezTo>
                <a:cubicBezTo>
                  <a:pt x="377" y="357"/>
                  <a:pt x="376" y="356"/>
                  <a:pt x="376" y="355"/>
                </a:cubicBezTo>
                <a:cubicBezTo>
                  <a:pt x="376" y="354"/>
                  <a:pt x="375" y="353"/>
                  <a:pt x="375" y="353"/>
                </a:cubicBezTo>
                <a:cubicBezTo>
                  <a:pt x="374" y="353"/>
                  <a:pt x="373" y="354"/>
                  <a:pt x="373" y="355"/>
                </a:cubicBezTo>
                <a:cubicBezTo>
                  <a:pt x="373" y="355"/>
                  <a:pt x="373" y="357"/>
                  <a:pt x="373" y="360"/>
                </a:cubicBezTo>
                <a:cubicBezTo>
                  <a:pt x="373" y="362"/>
                  <a:pt x="373" y="364"/>
                  <a:pt x="373" y="364"/>
                </a:cubicBezTo>
                <a:cubicBezTo>
                  <a:pt x="373" y="365"/>
                  <a:pt x="374" y="366"/>
                  <a:pt x="375" y="366"/>
                </a:cubicBezTo>
                <a:cubicBezTo>
                  <a:pt x="375" y="366"/>
                  <a:pt x="376" y="365"/>
                  <a:pt x="376" y="364"/>
                </a:cubicBezTo>
                <a:close/>
                <a:moveTo>
                  <a:pt x="359" y="409"/>
                </a:moveTo>
                <a:lnTo>
                  <a:pt x="359" y="409"/>
                </a:lnTo>
                <a:cubicBezTo>
                  <a:pt x="359" y="408"/>
                  <a:pt x="359" y="407"/>
                  <a:pt x="359" y="405"/>
                </a:cubicBezTo>
                <a:cubicBezTo>
                  <a:pt x="359" y="402"/>
                  <a:pt x="359" y="401"/>
                  <a:pt x="359" y="400"/>
                </a:cubicBezTo>
                <a:cubicBezTo>
                  <a:pt x="359" y="399"/>
                  <a:pt x="358" y="398"/>
                  <a:pt x="357" y="398"/>
                </a:cubicBezTo>
                <a:cubicBezTo>
                  <a:pt x="357" y="398"/>
                  <a:pt x="356" y="399"/>
                  <a:pt x="356" y="400"/>
                </a:cubicBezTo>
                <a:cubicBezTo>
                  <a:pt x="356" y="401"/>
                  <a:pt x="355" y="402"/>
                  <a:pt x="355" y="405"/>
                </a:cubicBezTo>
                <a:cubicBezTo>
                  <a:pt x="355" y="407"/>
                  <a:pt x="356" y="409"/>
                  <a:pt x="356" y="409"/>
                </a:cubicBezTo>
                <a:cubicBezTo>
                  <a:pt x="356" y="410"/>
                  <a:pt x="357" y="411"/>
                  <a:pt x="357" y="411"/>
                </a:cubicBezTo>
                <a:cubicBezTo>
                  <a:pt x="358" y="411"/>
                  <a:pt x="359" y="410"/>
                  <a:pt x="359" y="409"/>
                </a:cubicBezTo>
                <a:close/>
                <a:moveTo>
                  <a:pt x="356" y="445"/>
                </a:moveTo>
                <a:lnTo>
                  <a:pt x="356" y="445"/>
                </a:lnTo>
                <a:cubicBezTo>
                  <a:pt x="356" y="446"/>
                  <a:pt x="355" y="447"/>
                  <a:pt x="355" y="450"/>
                </a:cubicBezTo>
                <a:cubicBezTo>
                  <a:pt x="355" y="452"/>
                  <a:pt x="356" y="454"/>
                  <a:pt x="356" y="454"/>
                </a:cubicBezTo>
                <a:cubicBezTo>
                  <a:pt x="356" y="455"/>
                  <a:pt x="356" y="455"/>
                  <a:pt x="356" y="455"/>
                </a:cubicBezTo>
                <a:cubicBezTo>
                  <a:pt x="356" y="455"/>
                  <a:pt x="357" y="455"/>
                  <a:pt x="357" y="456"/>
                </a:cubicBezTo>
                <a:cubicBezTo>
                  <a:pt x="357" y="456"/>
                  <a:pt x="357" y="456"/>
                  <a:pt x="357" y="456"/>
                </a:cubicBezTo>
                <a:cubicBezTo>
                  <a:pt x="358" y="456"/>
                  <a:pt x="359" y="455"/>
                  <a:pt x="359" y="454"/>
                </a:cubicBezTo>
                <a:cubicBezTo>
                  <a:pt x="359" y="454"/>
                  <a:pt x="359" y="452"/>
                  <a:pt x="359" y="450"/>
                </a:cubicBezTo>
                <a:cubicBezTo>
                  <a:pt x="359" y="447"/>
                  <a:pt x="359" y="446"/>
                  <a:pt x="359" y="445"/>
                </a:cubicBezTo>
                <a:cubicBezTo>
                  <a:pt x="359" y="444"/>
                  <a:pt x="358" y="443"/>
                  <a:pt x="357" y="443"/>
                </a:cubicBezTo>
                <a:cubicBezTo>
                  <a:pt x="357" y="443"/>
                  <a:pt x="356" y="444"/>
                  <a:pt x="356" y="445"/>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TextBox 243">
            <a:extLst>
              <a:ext uri="{FF2B5EF4-FFF2-40B4-BE49-F238E27FC236}">
                <a16:creationId xmlns:a16="http://schemas.microsoft.com/office/drawing/2014/main" id="{08CF84BB-DF01-42CF-B24C-9DCB103F2DA4}"/>
              </a:ext>
            </a:extLst>
          </p:cNvPr>
          <p:cNvSpPr txBox="1"/>
          <p:nvPr/>
        </p:nvSpPr>
        <p:spPr>
          <a:xfrm>
            <a:off x="3004663" y="2947129"/>
            <a:ext cx="105397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ata Security</a:t>
            </a:r>
          </a:p>
        </p:txBody>
      </p:sp>
      <p:sp>
        <p:nvSpPr>
          <p:cNvPr id="245" name="TextBox 244">
            <a:extLst>
              <a:ext uri="{FF2B5EF4-FFF2-40B4-BE49-F238E27FC236}">
                <a16:creationId xmlns:a16="http://schemas.microsoft.com/office/drawing/2014/main" id="{EFE8F37B-4718-4857-98C2-F537DA5B047F}"/>
              </a:ext>
            </a:extLst>
          </p:cNvPr>
          <p:cNvSpPr txBox="1"/>
          <p:nvPr/>
        </p:nvSpPr>
        <p:spPr>
          <a:xfrm>
            <a:off x="4882290" y="2947129"/>
            <a:ext cx="958787"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ngerprint </a:t>
            </a:r>
            <a:br>
              <a:rPr lang="en-US" sz="1000" dirty="0">
                <a:solidFill>
                  <a:srgbClr val="313131"/>
                </a:solidFill>
              </a:rPr>
            </a:br>
            <a:r>
              <a:rPr lang="en-US" sz="1000" dirty="0">
                <a:solidFill>
                  <a:srgbClr val="313131"/>
                </a:solidFill>
              </a:rPr>
              <a:t>Security</a:t>
            </a:r>
          </a:p>
        </p:txBody>
      </p:sp>
      <p:sp>
        <p:nvSpPr>
          <p:cNvPr id="246" name="TextBox 245">
            <a:extLst>
              <a:ext uri="{FF2B5EF4-FFF2-40B4-BE49-F238E27FC236}">
                <a16:creationId xmlns:a16="http://schemas.microsoft.com/office/drawing/2014/main" id="{FD8BAD57-C336-4470-8F9F-EDF5E74EE4AB}"/>
              </a:ext>
            </a:extLst>
          </p:cNvPr>
          <p:cNvSpPr txBox="1"/>
          <p:nvPr/>
        </p:nvSpPr>
        <p:spPr>
          <a:xfrm>
            <a:off x="5830362" y="2947129"/>
            <a:ext cx="871625"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AI Brain</a:t>
            </a:r>
          </a:p>
        </p:txBody>
      </p:sp>
      <p:grpSp>
        <p:nvGrpSpPr>
          <p:cNvPr id="247" name="Group 246">
            <a:extLst>
              <a:ext uri="{FF2B5EF4-FFF2-40B4-BE49-F238E27FC236}">
                <a16:creationId xmlns:a16="http://schemas.microsoft.com/office/drawing/2014/main" id="{B6EBB140-B202-47D3-B4B0-F7A6B84357B7}"/>
              </a:ext>
            </a:extLst>
          </p:cNvPr>
          <p:cNvGrpSpPr/>
          <p:nvPr/>
        </p:nvGrpSpPr>
        <p:grpSpPr>
          <a:xfrm>
            <a:off x="7235625" y="2536212"/>
            <a:ext cx="365760" cy="365760"/>
            <a:chOff x="5297488" y="3073400"/>
            <a:chExt cx="720725" cy="727075"/>
          </a:xfrm>
          <a:solidFill>
            <a:schemeClr val="bg2"/>
          </a:solidFill>
        </p:grpSpPr>
        <p:sp>
          <p:nvSpPr>
            <p:cNvPr id="248" name="Freeform 5">
              <a:extLst>
                <a:ext uri="{FF2B5EF4-FFF2-40B4-BE49-F238E27FC236}">
                  <a16:creationId xmlns:a16="http://schemas.microsoft.com/office/drawing/2014/main" id="{8D117C6C-510B-4FB8-9B0E-7D92E93B36C8}"/>
                </a:ext>
              </a:extLst>
            </p:cNvPr>
            <p:cNvSpPr>
              <a:spLocks noEditPoints="1"/>
            </p:cNvSpPr>
            <p:nvPr/>
          </p:nvSpPr>
          <p:spPr bwMode="auto">
            <a:xfrm>
              <a:off x="5297488" y="3073400"/>
              <a:ext cx="720725" cy="727075"/>
            </a:xfrm>
            <a:custGeom>
              <a:avLst/>
              <a:gdLst>
                <a:gd name="T0" fmla="*/ 377 w 754"/>
                <a:gd name="T1" fmla="*/ 33 h 752"/>
                <a:gd name="T2" fmla="*/ 377 w 754"/>
                <a:gd name="T3" fmla="*/ 33 h 752"/>
                <a:gd name="T4" fmla="*/ 723 w 754"/>
                <a:gd name="T5" fmla="*/ 376 h 752"/>
                <a:gd name="T6" fmla="*/ 377 w 754"/>
                <a:gd name="T7" fmla="*/ 721 h 752"/>
                <a:gd name="T8" fmla="*/ 30 w 754"/>
                <a:gd name="T9" fmla="*/ 376 h 752"/>
                <a:gd name="T10" fmla="*/ 377 w 754"/>
                <a:gd name="T11" fmla="*/ 33 h 752"/>
                <a:gd name="T12" fmla="*/ 377 w 754"/>
                <a:gd name="T13" fmla="*/ 0 h 752"/>
                <a:gd name="T14" fmla="*/ 377 w 754"/>
                <a:gd name="T15" fmla="*/ 0 h 752"/>
                <a:gd name="T16" fmla="*/ 0 w 754"/>
                <a:gd name="T17" fmla="*/ 376 h 752"/>
                <a:gd name="T18" fmla="*/ 377 w 754"/>
                <a:gd name="T19" fmla="*/ 752 h 752"/>
                <a:gd name="T20" fmla="*/ 754 w 754"/>
                <a:gd name="T21" fmla="*/ 376 h 752"/>
                <a:gd name="T22" fmla="*/ 377 w 754"/>
                <a:gd name="T23"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4" h="752">
                  <a:moveTo>
                    <a:pt x="377" y="33"/>
                  </a:moveTo>
                  <a:lnTo>
                    <a:pt x="377" y="33"/>
                  </a:lnTo>
                  <a:cubicBezTo>
                    <a:pt x="567" y="33"/>
                    <a:pt x="723" y="187"/>
                    <a:pt x="723" y="376"/>
                  </a:cubicBezTo>
                  <a:cubicBezTo>
                    <a:pt x="723" y="567"/>
                    <a:pt x="567" y="721"/>
                    <a:pt x="377" y="721"/>
                  </a:cubicBezTo>
                  <a:cubicBezTo>
                    <a:pt x="186" y="721"/>
                    <a:pt x="30" y="567"/>
                    <a:pt x="30" y="376"/>
                  </a:cubicBezTo>
                  <a:cubicBezTo>
                    <a:pt x="30" y="187"/>
                    <a:pt x="186" y="33"/>
                    <a:pt x="377" y="33"/>
                  </a:cubicBezTo>
                  <a:close/>
                  <a:moveTo>
                    <a:pt x="377" y="0"/>
                  </a:moveTo>
                  <a:lnTo>
                    <a:pt x="377" y="0"/>
                  </a:lnTo>
                  <a:cubicBezTo>
                    <a:pt x="169" y="0"/>
                    <a:pt x="0" y="169"/>
                    <a:pt x="0" y="376"/>
                  </a:cubicBezTo>
                  <a:cubicBezTo>
                    <a:pt x="0" y="584"/>
                    <a:pt x="169" y="752"/>
                    <a:pt x="377" y="752"/>
                  </a:cubicBezTo>
                  <a:cubicBezTo>
                    <a:pt x="584" y="752"/>
                    <a:pt x="754" y="584"/>
                    <a:pt x="754" y="376"/>
                  </a:cubicBezTo>
                  <a:cubicBezTo>
                    <a:pt x="754" y="169"/>
                    <a:pt x="584" y="0"/>
                    <a:pt x="3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6">
              <a:extLst>
                <a:ext uri="{FF2B5EF4-FFF2-40B4-BE49-F238E27FC236}">
                  <a16:creationId xmlns:a16="http://schemas.microsoft.com/office/drawing/2014/main" id="{3EB04D26-4824-4659-9409-17AF671282A4}"/>
                </a:ext>
              </a:extLst>
            </p:cNvPr>
            <p:cNvSpPr>
              <a:spLocks noEditPoints="1"/>
            </p:cNvSpPr>
            <p:nvPr/>
          </p:nvSpPr>
          <p:spPr bwMode="auto">
            <a:xfrm>
              <a:off x="5735638" y="3262313"/>
              <a:ext cx="141288" cy="336550"/>
            </a:xfrm>
            <a:custGeom>
              <a:avLst/>
              <a:gdLst>
                <a:gd name="T0" fmla="*/ 86 w 148"/>
                <a:gd name="T1" fmla="*/ 290 h 348"/>
                <a:gd name="T2" fmla="*/ 86 w 148"/>
                <a:gd name="T3" fmla="*/ 290 h 348"/>
                <a:gd name="T4" fmla="*/ 74 w 148"/>
                <a:gd name="T5" fmla="*/ 302 h 348"/>
                <a:gd name="T6" fmla="*/ 62 w 148"/>
                <a:gd name="T7" fmla="*/ 290 h 348"/>
                <a:gd name="T8" fmla="*/ 74 w 148"/>
                <a:gd name="T9" fmla="*/ 278 h 348"/>
                <a:gd name="T10" fmla="*/ 86 w 148"/>
                <a:gd name="T11" fmla="*/ 290 h 348"/>
                <a:gd name="T12" fmla="*/ 148 w 148"/>
                <a:gd name="T13" fmla="*/ 24 h 348"/>
                <a:gd name="T14" fmla="*/ 148 w 148"/>
                <a:gd name="T15" fmla="*/ 24 h 348"/>
                <a:gd name="T16" fmla="*/ 148 w 148"/>
                <a:gd name="T17" fmla="*/ 325 h 348"/>
                <a:gd name="T18" fmla="*/ 124 w 148"/>
                <a:gd name="T19" fmla="*/ 348 h 348"/>
                <a:gd name="T20" fmla="*/ 24 w 148"/>
                <a:gd name="T21" fmla="*/ 348 h 348"/>
                <a:gd name="T22" fmla="*/ 0 w 148"/>
                <a:gd name="T23" fmla="*/ 325 h 348"/>
                <a:gd name="T24" fmla="*/ 0 w 148"/>
                <a:gd name="T25" fmla="*/ 24 h 348"/>
                <a:gd name="T26" fmla="*/ 24 w 148"/>
                <a:gd name="T27" fmla="*/ 0 h 348"/>
                <a:gd name="T28" fmla="*/ 124 w 148"/>
                <a:gd name="T29" fmla="*/ 0 h 348"/>
                <a:gd name="T30" fmla="*/ 148 w 148"/>
                <a:gd name="T31" fmla="*/ 24 h 348"/>
                <a:gd name="T32" fmla="*/ 126 w 148"/>
                <a:gd name="T33" fmla="*/ 324 h 348"/>
                <a:gd name="T34" fmla="*/ 126 w 148"/>
                <a:gd name="T35" fmla="*/ 324 h 348"/>
                <a:gd name="T36" fmla="*/ 126 w 148"/>
                <a:gd name="T37" fmla="*/ 24 h 348"/>
                <a:gd name="T38" fmla="*/ 22 w 148"/>
                <a:gd name="T39" fmla="*/ 24 h 348"/>
                <a:gd name="T40" fmla="*/ 22 w 148"/>
                <a:gd name="T41" fmla="*/ 325 h 348"/>
                <a:gd name="T42" fmla="*/ 124 w 148"/>
                <a:gd name="T43" fmla="*/ 325 h 348"/>
                <a:gd name="T44" fmla="*/ 126 w 148"/>
                <a:gd name="T45" fmla="*/ 324 h 348"/>
                <a:gd name="T46" fmla="*/ 114 w 148"/>
                <a:gd name="T47" fmla="*/ 47 h 348"/>
                <a:gd name="T48" fmla="*/ 114 w 148"/>
                <a:gd name="T49" fmla="*/ 47 h 348"/>
                <a:gd name="T50" fmla="*/ 114 w 148"/>
                <a:gd name="T51" fmla="*/ 244 h 348"/>
                <a:gd name="T52" fmla="*/ 102 w 148"/>
                <a:gd name="T53" fmla="*/ 256 h 348"/>
                <a:gd name="T54" fmla="*/ 46 w 148"/>
                <a:gd name="T55" fmla="*/ 256 h 348"/>
                <a:gd name="T56" fmla="*/ 34 w 148"/>
                <a:gd name="T57" fmla="*/ 244 h 348"/>
                <a:gd name="T58" fmla="*/ 34 w 148"/>
                <a:gd name="T59" fmla="*/ 47 h 348"/>
                <a:gd name="T60" fmla="*/ 46 w 148"/>
                <a:gd name="T61" fmla="*/ 35 h 348"/>
                <a:gd name="T62" fmla="*/ 102 w 148"/>
                <a:gd name="T63" fmla="*/ 35 h 348"/>
                <a:gd name="T64" fmla="*/ 114 w 148"/>
                <a:gd name="T65" fmla="*/ 47 h 348"/>
                <a:gd name="T66" fmla="*/ 57 w 148"/>
                <a:gd name="T67" fmla="*/ 233 h 348"/>
                <a:gd name="T68" fmla="*/ 57 w 148"/>
                <a:gd name="T69" fmla="*/ 233 h 348"/>
                <a:gd name="T70" fmla="*/ 91 w 148"/>
                <a:gd name="T71" fmla="*/ 233 h 348"/>
                <a:gd name="T72" fmla="*/ 91 w 148"/>
                <a:gd name="T73" fmla="*/ 59 h 348"/>
                <a:gd name="T74" fmla="*/ 57 w 148"/>
                <a:gd name="T75" fmla="*/ 59 h 348"/>
                <a:gd name="T76" fmla="*/ 57 w 148"/>
                <a:gd name="T77" fmla="*/ 23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 h="348">
                  <a:moveTo>
                    <a:pt x="86" y="290"/>
                  </a:moveTo>
                  <a:lnTo>
                    <a:pt x="86" y="290"/>
                  </a:lnTo>
                  <a:cubicBezTo>
                    <a:pt x="86" y="297"/>
                    <a:pt x="81" y="302"/>
                    <a:pt x="74" y="302"/>
                  </a:cubicBezTo>
                  <a:cubicBezTo>
                    <a:pt x="67" y="302"/>
                    <a:pt x="62" y="297"/>
                    <a:pt x="62" y="290"/>
                  </a:cubicBezTo>
                  <a:cubicBezTo>
                    <a:pt x="62" y="284"/>
                    <a:pt x="67" y="278"/>
                    <a:pt x="74" y="278"/>
                  </a:cubicBezTo>
                  <a:cubicBezTo>
                    <a:pt x="81" y="278"/>
                    <a:pt x="86" y="284"/>
                    <a:pt x="86" y="290"/>
                  </a:cubicBezTo>
                  <a:close/>
                  <a:moveTo>
                    <a:pt x="148" y="24"/>
                  </a:moveTo>
                  <a:lnTo>
                    <a:pt x="148" y="24"/>
                  </a:lnTo>
                  <a:lnTo>
                    <a:pt x="148" y="325"/>
                  </a:lnTo>
                  <a:cubicBezTo>
                    <a:pt x="148" y="338"/>
                    <a:pt x="138" y="348"/>
                    <a:pt x="124" y="348"/>
                  </a:cubicBezTo>
                  <a:lnTo>
                    <a:pt x="24" y="348"/>
                  </a:lnTo>
                  <a:cubicBezTo>
                    <a:pt x="10" y="348"/>
                    <a:pt x="0" y="338"/>
                    <a:pt x="0" y="325"/>
                  </a:cubicBezTo>
                  <a:lnTo>
                    <a:pt x="0" y="24"/>
                  </a:lnTo>
                  <a:cubicBezTo>
                    <a:pt x="0" y="11"/>
                    <a:pt x="10" y="0"/>
                    <a:pt x="24" y="0"/>
                  </a:cubicBezTo>
                  <a:lnTo>
                    <a:pt x="124" y="0"/>
                  </a:lnTo>
                  <a:cubicBezTo>
                    <a:pt x="138" y="0"/>
                    <a:pt x="148" y="11"/>
                    <a:pt x="148" y="24"/>
                  </a:cubicBezTo>
                  <a:close/>
                  <a:moveTo>
                    <a:pt x="126" y="324"/>
                  </a:moveTo>
                  <a:lnTo>
                    <a:pt x="126" y="324"/>
                  </a:lnTo>
                  <a:lnTo>
                    <a:pt x="126" y="24"/>
                  </a:lnTo>
                  <a:lnTo>
                    <a:pt x="22" y="24"/>
                  </a:lnTo>
                  <a:lnTo>
                    <a:pt x="22" y="325"/>
                  </a:lnTo>
                  <a:lnTo>
                    <a:pt x="124" y="325"/>
                  </a:lnTo>
                  <a:cubicBezTo>
                    <a:pt x="125" y="325"/>
                    <a:pt x="126" y="325"/>
                    <a:pt x="126" y="324"/>
                  </a:cubicBezTo>
                  <a:close/>
                  <a:moveTo>
                    <a:pt x="114" y="47"/>
                  </a:moveTo>
                  <a:lnTo>
                    <a:pt x="114" y="47"/>
                  </a:lnTo>
                  <a:lnTo>
                    <a:pt x="114" y="244"/>
                  </a:lnTo>
                  <a:cubicBezTo>
                    <a:pt x="114" y="250"/>
                    <a:pt x="108" y="256"/>
                    <a:pt x="102" y="256"/>
                  </a:cubicBezTo>
                  <a:lnTo>
                    <a:pt x="46" y="256"/>
                  </a:lnTo>
                  <a:cubicBezTo>
                    <a:pt x="40" y="256"/>
                    <a:pt x="34" y="250"/>
                    <a:pt x="34" y="244"/>
                  </a:cubicBezTo>
                  <a:lnTo>
                    <a:pt x="34" y="47"/>
                  </a:lnTo>
                  <a:cubicBezTo>
                    <a:pt x="34" y="41"/>
                    <a:pt x="40" y="35"/>
                    <a:pt x="46" y="35"/>
                  </a:cubicBezTo>
                  <a:lnTo>
                    <a:pt x="102" y="35"/>
                  </a:lnTo>
                  <a:cubicBezTo>
                    <a:pt x="108" y="35"/>
                    <a:pt x="114" y="41"/>
                    <a:pt x="114" y="47"/>
                  </a:cubicBezTo>
                  <a:close/>
                  <a:moveTo>
                    <a:pt x="57" y="233"/>
                  </a:moveTo>
                  <a:lnTo>
                    <a:pt x="57" y="233"/>
                  </a:lnTo>
                  <a:lnTo>
                    <a:pt x="91" y="233"/>
                  </a:lnTo>
                  <a:lnTo>
                    <a:pt x="91" y="59"/>
                  </a:lnTo>
                  <a:lnTo>
                    <a:pt x="57" y="59"/>
                  </a:lnTo>
                  <a:lnTo>
                    <a:pt x="57" y="23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7">
              <a:extLst>
                <a:ext uri="{FF2B5EF4-FFF2-40B4-BE49-F238E27FC236}">
                  <a16:creationId xmlns:a16="http://schemas.microsoft.com/office/drawing/2014/main" id="{9BCDD83E-BAE6-466B-B4D1-4D46209690ED}"/>
                </a:ext>
              </a:extLst>
            </p:cNvPr>
            <p:cNvSpPr>
              <a:spLocks noEditPoints="1"/>
            </p:cNvSpPr>
            <p:nvPr/>
          </p:nvSpPr>
          <p:spPr bwMode="auto">
            <a:xfrm>
              <a:off x="5438775" y="3262313"/>
              <a:ext cx="141288" cy="336550"/>
            </a:xfrm>
            <a:custGeom>
              <a:avLst/>
              <a:gdLst>
                <a:gd name="T0" fmla="*/ 86 w 149"/>
                <a:gd name="T1" fmla="*/ 290 h 348"/>
                <a:gd name="T2" fmla="*/ 86 w 149"/>
                <a:gd name="T3" fmla="*/ 290 h 348"/>
                <a:gd name="T4" fmla="*/ 74 w 149"/>
                <a:gd name="T5" fmla="*/ 302 h 348"/>
                <a:gd name="T6" fmla="*/ 62 w 149"/>
                <a:gd name="T7" fmla="*/ 290 h 348"/>
                <a:gd name="T8" fmla="*/ 74 w 149"/>
                <a:gd name="T9" fmla="*/ 278 h 348"/>
                <a:gd name="T10" fmla="*/ 86 w 149"/>
                <a:gd name="T11" fmla="*/ 290 h 348"/>
                <a:gd name="T12" fmla="*/ 149 w 149"/>
                <a:gd name="T13" fmla="*/ 24 h 348"/>
                <a:gd name="T14" fmla="*/ 149 w 149"/>
                <a:gd name="T15" fmla="*/ 24 h 348"/>
                <a:gd name="T16" fmla="*/ 149 w 149"/>
                <a:gd name="T17" fmla="*/ 325 h 348"/>
                <a:gd name="T18" fmla="*/ 124 w 149"/>
                <a:gd name="T19" fmla="*/ 348 h 348"/>
                <a:gd name="T20" fmla="*/ 25 w 149"/>
                <a:gd name="T21" fmla="*/ 348 h 348"/>
                <a:gd name="T22" fmla="*/ 0 w 149"/>
                <a:gd name="T23" fmla="*/ 325 h 348"/>
                <a:gd name="T24" fmla="*/ 0 w 149"/>
                <a:gd name="T25" fmla="*/ 24 h 348"/>
                <a:gd name="T26" fmla="*/ 25 w 149"/>
                <a:gd name="T27" fmla="*/ 0 h 348"/>
                <a:gd name="T28" fmla="*/ 124 w 149"/>
                <a:gd name="T29" fmla="*/ 0 h 348"/>
                <a:gd name="T30" fmla="*/ 149 w 149"/>
                <a:gd name="T31" fmla="*/ 24 h 348"/>
                <a:gd name="T32" fmla="*/ 126 w 149"/>
                <a:gd name="T33" fmla="*/ 324 h 348"/>
                <a:gd name="T34" fmla="*/ 126 w 149"/>
                <a:gd name="T35" fmla="*/ 324 h 348"/>
                <a:gd name="T36" fmla="*/ 126 w 149"/>
                <a:gd name="T37" fmla="*/ 24 h 348"/>
                <a:gd name="T38" fmla="*/ 22 w 149"/>
                <a:gd name="T39" fmla="*/ 24 h 348"/>
                <a:gd name="T40" fmla="*/ 22 w 149"/>
                <a:gd name="T41" fmla="*/ 325 h 348"/>
                <a:gd name="T42" fmla="*/ 124 w 149"/>
                <a:gd name="T43" fmla="*/ 325 h 348"/>
                <a:gd name="T44" fmla="*/ 126 w 149"/>
                <a:gd name="T45" fmla="*/ 324 h 348"/>
                <a:gd name="T46" fmla="*/ 114 w 149"/>
                <a:gd name="T47" fmla="*/ 47 h 348"/>
                <a:gd name="T48" fmla="*/ 114 w 149"/>
                <a:gd name="T49" fmla="*/ 47 h 348"/>
                <a:gd name="T50" fmla="*/ 114 w 149"/>
                <a:gd name="T51" fmla="*/ 244 h 348"/>
                <a:gd name="T52" fmla="*/ 102 w 149"/>
                <a:gd name="T53" fmla="*/ 256 h 348"/>
                <a:gd name="T54" fmla="*/ 46 w 149"/>
                <a:gd name="T55" fmla="*/ 256 h 348"/>
                <a:gd name="T56" fmla="*/ 34 w 149"/>
                <a:gd name="T57" fmla="*/ 244 h 348"/>
                <a:gd name="T58" fmla="*/ 34 w 149"/>
                <a:gd name="T59" fmla="*/ 47 h 348"/>
                <a:gd name="T60" fmla="*/ 46 w 149"/>
                <a:gd name="T61" fmla="*/ 35 h 348"/>
                <a:gd name="T62" fmla="*/ 102 w 149"/>
                <a:gd name="T63" fmla="*/ 35 h 348"/>
                <a:gd name="T64" fmla="*/ 114 w 149"/>
                <a:gd name="T65" fmla="*/ 47 h 348"/>
                <a:gd name="T66" fmla="*/ 57 w 149"/>
                <a:gd name="T67" fmla="*/ 233 h 348"/>
                <a:gd name="T68" fmla="*/ 57 w 149"/>
                <a:gd name="T69" fmla="*/ 233 h 348"/>
                <a:gd name="T70" fmla="*/ 91 w 149"/>
                <a:gd name="T71" fmla="*/ 233 h 348"/>
                <a:gd name="T72" fmla="*/ 91 w 149"/>
                <a:gd name="T73" fmla="*/ 59 h 348"/>
                <a:gd name="T74" fmla="*/ 57 w 149"/>
                <a:gd name="T75" fmla="*/ 59 h 348"/>
                <a:gd name="T76" fmla="*/ 57 w 149"/>
                <a:gd name="T77" fmla="*/ 23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348">
                  <a:moveTo>
                    <a:pt x="86" y="290"/>
                  </a:moveTo>
                  <a:lnTo>
                    <a:pt x="86" y="290"/>
                  </a:lnTo>
                  <a:cubicBezTo>
                    <a:pt x="86" y="297"/>
                    <a:pt x="81" y="302"/>
                    <a:pt x="74" y="302"/>
                  </a:cubicBezTo>
                  <a:cubicBezTo>
                    <a:pt x="68" y="302"/>
                    <a:pt x="62" y="297"/>
                    <a:pt x="62" y="290"/>
                  </a:cubicBezTo>
                  <a:cubicBezTo>
                    <a:pt x="62" y="284"/>
                    <a:pt x="68" y="278"/>
                    <a:pt x="74" y="278"/>
                  </a:cubicBezTo>
                  <a:cubicBezTo>
                    <a:pt x="81" y="278"/>
                    <a:pt x="86" y="284"/>
                    <a:pt x="86" y="290"/>
                  </a:cubicBezTo>
                  <a:close/>
                  <a:moveTo>
                    <a:pt x="149" y="24"/>
                  </a:moveTo>
                  <a:lnTo>
                    <a:pt x="149" y="24"/>
                  </a:lnTo>
                  <a:lnTo>
                    <a:pt x="149" y="325"/>
                  </a:lnTo>
                  <a:cubicBezTo>
                    <a:pt x="149" y="338"/>
                    <a:pt x="138" y="348"/>
                    <a:pt x="124" y="348"/>
                  </a:cubicBezTo>
                  <a:lnTo>
                    <a:pt x="25" y="348"/>
                  </a:lnTo>
                  <a:cubicBezTo>
                    <a:pt x="11" y="348"/>
                    <a:pt x="0" y="338"/>
                    <a:pt x="0" y="325"/>
                  </a:cubicBezTo>
                  <a:lnTo>
                    <a:pt x="0" y="24"/>
                  </a:lnTo>
                  <a:cubicBezTo>
                    <a:pt x="0" y="11"/>
                    <a:pt x="11" y="0"/>
                    <a:pt x="25" y="0"/>
                  </a:cubicBezTo>
                  <a:lnTo>
                    <a:pt x="124" y="0"/>
                  </a:lnTo>
                  <a:cubicBezTo>
                    <a:pt x="138" y="0"/>
                    <a:pt x="149" y="11"/>
                    <a:pt x="149" y="24"/>
                  </a:cubicBezTo>
                  <a:close/>
                  <a:moveTo>
                    <a:pt x="126" y="324"/>
                  </a:moveTo>
                  <a:lnTo>
                    <a:pt x="126" y="324"/>
                  </a:lnTo>
                  <a:lnTo>
                    <a:pt x="126" y="24"/>
                  </a:lnTo>
                  <a:lnTo>
                    <a:pt x="22" y="24"/>
                  </a:lnTo>
                  <a:lnTo>
                    <a:pt x="22" y="325"/>
                  </a:lnTo>
                  <a:lnTo>
                    <a:pt x="124" y="325"/>
                  </a:lnTo>
                  <a:cubicBezTo>
                    <a:pt x="125" y="325"/>
                    <a:pt x="126" y="325"/>
                    <a:pt x="126" y="324"/>
                  </a:cubicBezTo>
                  <a:close/>
                  <a:moveTo>
                    <a:pt x="114" y="47"/>
                  </a:moveTo>
                  <a:lnTo>
                    <a:pt x="114" y="47"/>
                  </a:lnTo>
                  <a:lnTo>
                    <a:pt x="114" y="244"/>
                  </a:lnTo>
                  <a:cubicBezTo>
                    <a:pt x="114" y="250"/>
                    <a:pt x="109" y="256"/>
                    <a:pt x="102" y="256"/>
                  </a:cubicBezTo>
                  <a:lnTo>
                    <a:pt x="46" y="256"/>
                  </a:lnTo>
                  <a:cubicBezTo>
                    <a:pt x="40" y="256"/>
                    <a:pt x="34" y="250"/>
                    <a:pt x="34" y="244"/>
                  </a:cubicBezTo>
                  <a:lnTo>
                    <a:pt x="34" y="47"/>
                  </a:lnTo>
                  <a:cubicBezTo>
                    <a:pt x="34" y="41"/>
                    <a:pt x="40" y="35"/>
                    <a:pt x="46" y="35"/>
                  </a:cubicBezTo>
                  <a:lnTo>
                    <a:pt x="102" y="35"/>
                  </a:lnTo>
                  <a:cubicBezTo>
                    <a:pt x="109" y="35"/>
                    <a:pt x="114" y="41"/>
                    <a:pt x="114" y="47"/>
                  </a:cubicBezTo>
                  <a:close/>
                  <a:moveTo>
                    <a:pt x="57" y="233"/>
                  </a:moveTo>
                  <a:lnTo>
                    <a:pt x="57" y="233"/>
                  </a:lnTo>
                  <a:lnTo>
                    <a:pt x="91" y="233"/>
                  </a:lnTo>
                  <a:lnTo>
                    <a:pt x="91" y="59"/>
                  </a:lnTo>
                  <a:lnTo>
                    <a:pt x="57" y="59"/>
                  </a:lnTo>
                  <a:lnTo>
                    <a:pt x="57" y="23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8">
              <a:extLst>
                <a:ext uri="{FF2B5EF4-FFF2-40B4-BE49-F238E27FC236}">
                  <a16:creationId xmlns:a16="http://schemas.microsoft.com/office/drawing/2014/main" id="{4DFD7428-205A-43BD-88F9-3E71F166E9E7}"/>
                </a:ext>
              </a:extLst>
            </p:cNvPr>
            <p:cNvSpPr>
              <a:spLocks noEditPoints="1"/>
            </p:cNvSpPr>
            <p:nvPr/>
          </p:nvSpPr>
          <p:spPr bwMode="auto">
            <a:xfrm>
              <a:off x="5584825" y="3262313"/>
              <a:ext cx="142875" cy="336550"/>
            </a:xfrm>
            <a:custGeom>
              <a:avLst/>
              <a:gdLst>
                <a:gd name="T0" fmla="*/ 87 w 149"/>
                <a:gd name="T1" fmla="*/ 290 h 348"/>
                <a:gd name="T2" fmla="*/ 87 w 149"/>
                <a:gd name="T3" fmla="*/ 290 h 348"/>
                <a:gd name="T4" fmla="*/ 75 w 149"/>
                <a:gd name="T5" fmla="*/ 302 h 348"/>
                <a:gd name="T6" fmla="*/ 63 w 149"/>
                <a:gd name="T7" fmla="*/ 290 h 348"/>
                <a:gd name="T8" fmla="*/ 75 w 149"/>
                <a:gd name="T9" fmla="*/ 278 h 348"/>
                <a:gd name="T10" fmla="*/ 87 w 149"/>
                <a:gd name="T11" fmla="*/ 290 h 348"/>
                <a:gd name="T12" fmla="*/ 149 w 149"/>
                <a:gd name="T13" fmla="*/ 24 h 348"/>
                <a:gd name="T14" fmla="*/ 149 w 149"/>
                <a:gd name="T15" fmla="*/ 24 h 348"/>
                <a:gd name="T16" fmla="*/ 149 w 149"/>
                <a:gd name="T17" fmla="*/ 325 h 348"/>
                <a:gd name="T18" fmla="*/ 124 w 149"/>
                <a:gd name="T19" fmla="*/ 348 h 348"/>
                <a:gd name="T20" fmla="*/ 25 w 149"/>
                <a:gd name="T21" fmla="*/ 348 h 348"/>
                <a:gd name="T22" fmla="*/ 0 w 149"/>
                <a:gd name="T23" fmla="*/ 325 h 348"/>
                <a:gd name="T24" fmla="*/ 0 w 149"/>
                <a:gd name="T25" fmla="*/ 24 h 348"/>
                <a:gd name="T26" fmla="*/ 25 w 149"/>
                <a:gd name="T27" fmla="*/ 0 h 348"/>
                <a:gd name="T28" fmla="*/ 124 w 149"/>
                <a:gd name="T29" fmla="*/ 0 h 348"/>
                <a:gd name="T30" fmla="*/ 149 w 149"/>
                <a:gd name="T31" fmla="*/ 24 h 348"/>
                <a:gd name="T32" fmla="*/ 126 w 149"/>
                <a:gd name="T33" fmla="*/ 324 h 348"/>
                <a:gd name="T34" fmla="*/ 126 w 149"/>
                <a:gd name="T35" fmla="*/ 324 h 348"/>
                <a:gd name="T36" fmla="*/ 126 w 149"/>
                <a:gd name="T37" fmla="*/ 24 h 348"/>
                <a:gd name="T38" fmla="*/ 23 w 149"/>
                <a:gd name="T39" fmla="*/ 24 h 348"/>
                <a:gd name="T40" fmla="*/ 23 w 149"/>
                <a:gd name="T41" fmla="*/ 325 h 348"/>
                <a:gd name="T42" fmla="*/ 124 w 149"/>
                <a:gd name="T43" fmla="*/ 325 h 348"/>
                <a:gd name="T44" fmla="*/ 126 w 149"/>
                <a:gd name="T45" fmla="*/ 324 h 348"/>
                <a:gd name="T46" fmla="*/ 114 w 149"/>
                <a:gd name="T47" fmla="*/ 47 h 348"/>
                <a:gd name="T48" fmla="*/ 114 w 149"/>
                <a:gd name="T49" fmla="*/ 47 h 348"/>
                <a:gd name="T50" fmla="*/ 114 w 149"/>
                <a:gd name="T51" fmla="*/ 244 h 348"/>
                <a:gd name="T52" fmla="*/ 102 w 149"/>
                <a:gd name="T53" fmla="*/ 256 h 348"/>
                <a:gd name="T54" fmla="*/ 47 w 149"/>
                <a:gd name="T55" fmla="*/ 256 h 348"/>
                <a:gd name="T56" fmla="*/ 35 w 149"/>
                <a:gd name="T57" fmla="*/ 244 h 348"/>
                <a:gd name="T58" fmla="*/ 35 w 149"/>
                <a:gd name="T59" fmla="*/ 47 h 348"/>
                <a:gd name="T60" fmla="*/ 47 w 149"/>
                <a:gd name="T61" fmla="*/ 35 h 348"/>
                <a:gd name="T62" fmla="*/ 102 w 149"/>
                <a:gd name="T63" fmla="*/ 35 h 348"/>
                <a:gd name="T64" fmla="*/ 114 w 149"/>
                <a:gd name="T65" fmla="*/ 47 h 348"/>
                <a:gd name="T66" fmla="*/ 58 w 149"/>
                <a:gd name="T67" fmla="*/ 233 h 348"/>
                <a:gd name="T68" fmla="*/ 58 w 149"/>
                <a:gd name="T69" fmla="*/ 233 h 348"/>
                <a:gd name="T70" fmla="*/ 92 w 149"/>
                <a:gd name="T71" fmla="*/ 233 h 348"/>
                <a:gd name="T72" fmla="*/ 92 w 149"/>
                <a:gd name="T73" fmla="*/ 59 h 348"/>
                <a:gd name="T74" fmla="*/ 58 w 149"/>
                <a:gd name="T75" fmla="*/ 59 h 348"/>
                <a:gd name="T76" fmla="*/ 58 w 149"/>
                <a:gd name="T77" fmla="*/ 23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348">
                  <a:moveTo>
                    <a:pt x="87" y="290"/>
                  </a:moveTo>
                  <a:lnTo>
                    <a:pt x="87" y="290"/>
                  </a:lnTo>
                  <a:cubicBezTo>
                    <a:pt x="87" y="297"/>
                    <a:pt x="81" y="302"/>
                    <a:pt x="75" y="302"/>
                  </a:cubicBezTo>
                  <a:cubicBezTo>
                    <a:pt x="68" y="302"/>
                    <a:pt x="63" y="297"/>
                    <a:pt x="63" y="290"/>
                  </a:cubicBezTo>
                  <a:cubicBezTo>
                    <a:pt x="63" y="284"/>
                    <a:pt x="68" y="278"/>
                    <a:pt x="75" y="278"/>
                  </a:cubicBezTo>
                  <a:cubicBezTo>
                    <a:pt x="81" y="278"/>
                    <a:pt x="87" y="284"/>
                    <a:pt x="87" y="290"/>
                  </a:cubicBezTo>
                  <a:close/>
                  <a:moveTo>
                    <a:pt x="149" y="24"/>
                  </a:moveTo>
                  <a:lnTo>
                    <a:pt x="149" y="24"/>
                  </a:lnTo>
                  <a:lnTo>
                    <a:pt x="149" y="325"/>
                  </a:lnTo>
                  <a:cubicBezTo>
                    <a:pt x="149" y="338"/>
                    <a:pt x="138" y="348"/>
                    <a:pt x="124" y="348"/>
                  </a:cubicBezTo>
                  <a:lnTo>
                    <a:pt x="25" y="348"/>
                  </a:lnTo>
                  <a:cubicBezTo>
                    <a:pt x="11" y="348"/>
                    <a:pt x="0" y="338"/>
                    <a:pt x="0" y="325"/>
                  </a:cubicBezTo>
                  <a:lnTo>
                    <a:pt x="0" y="24"/>
                  </a:lnTo>
                  <a:cubicBezTo>
                    <a:pt x="0" y="11"/>
                    <a:pt x="11" y="0"/>
                    <a:pt x="25" y="0"/>
                  </a:cubicBezTo>
                  <a:lnTo>
                    <a:pt x="124" y="0"/>
                  </a:lnTo>
                  <a:cubicBezTo>
                    <a:pt x="138" y="0"/>
                    <a:pt x="149" y="11"/>
                    <a:pt x="149" y="24"/>
                  </a:cubicBezTo>
                  <a:close/>
                  <a:moveTo>
                    <a:pt x="126" y="324"/>
                  </a:moveTo>
                  <a:lnTo>
                    <a:pt x="126" y="324"/>
                  </a:lnTo>
                  <a:lnTo>
                    <a:pt x="126" y="24"/>
                  </a:lnTo>
                  <a:lnTo>
                    <a:pt x="23" y="24"/>
                  </a:lnTo>
                  <a:lnTo>
                    <a:pt x="23" y="325"/>
                  </a:lnTo>
                  <a:lnTo>
                    <a:pt x="124" y="325"/>
                  </a:lnTo>
                  <a:cubicBezTo>
                    <a:pt x="125" y="325"/>
                    <a:pt x="126" y="325"/>
                    <a:pt x="126" y="324"/>
                  </a:cubicBezTo>
                  <a:close/>
                  <a:moveTo>
                    <a:pt x="114" y="47"/>
                  </a:moveTo>
                  <a:lnTo>
                    <a:pt x="114" y="47"/>
                  </a:lnTo>
                  <a:lnTo>
                    <a:pt x="114" y="244"/>
                  </a:lnTo>
                  <a:cubicBezTo>
                    <a:pt x="114" y="250"/>
                    <a:pt x="109" y="256"/>
                    <a:pt x="102" y="256"/>
                  </a:cubicBezTo>
                  <a:lnTo>
                    <a:pt x="47" y="256"/>
                  </a:lnTo>
                  <a:cubicBezTo>
                    <a:pt x="40" y="256"/>
                    <a:pt x="35" y="250"/>
                    <a:pt x="35" y="244"/>
                  </a:cubicBezTo>
                  <a:lnTo>
                    <a:pt x="35" y="47"/>
                  </a:lnTo>
                  <a:cubicBezTo>
                    <a:pt x="35" y="41"/>
                    <a:pt x="40" y="35"/>
                    <a:pt x="47" y="35"/>
                  </a:cubicBezTo>
                  <a:lnTo>
                    <a:pt x="102" y="35"/>
                  </a:lnTo>
                  <a:cubicBezTo>
                    <a:pt x="109" y="35"/>
                    <a:pt x="114" y="41"/>
                    <a:pt x="114" y="47"/>
                  </a:cubicBezTo>
                  <a:close/>
                  <a:moveTo>
                    <a:pt x="58" y="233"/>
                  </a:moveTo>
                  <a:lnTo>
                    <a:pt x="58" y="233"/>
                  </a:lnTo>
                  <a:lnTo>
                    <a:pt x="92" y="233"/>
                  </a:lnTo>
                  <a:lnTo>
                    <a:pt x="92" y="59"/>
                  </a:lnTo>
                  <a:lnTo>
                    <a:pt x="58" y="59"/>
                  </a:lnTo>
                  <a:lnTo>
                    <a:pt x="58" y="23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52" name="Group 251">
            <a:extLst>
              <a:ext uri="{FF2B5EF4-FFF2-40B4-BE49-F238E27FC236}">
                <a16:creationId xmlns:a16="http://schemas.microsoft.com/office/drawing/2014/main" id="{A31FAC3E-A22F-4171-9B8B-37FACA6419F3}"/>
              </a:ext>
            </a:extLst>
          </p:cNvPr>
          <p:cNvGrpSpPr/>
          <p:nvPr/>
        </p:nvGrpSpPr>
        <p:grpSpPr>
          <a:xfrm>
            <a:off x="6850182" y="2536212"/>
            <a:ext cx="365760" cy="365760"/>
            <a:chOff x="4406900" y="3073400"/>
            <a:chExt cx="720725" cy="727075"/>
          </a:xfrm>
          <a:solidFill>
            <a:schemeClr val="bg2"/>
          </a:solidFill>
        </p:grpSpPr>
        <p:sp>
          <p:nvSpPr>
            <p:cNvPr id="253" name="Freeform 9">
              <a:extLst>
                <a:ext uri="{FF2B5EF4-FFF2-40B4-BE49-F238E27FC236}">
                  <a16:creationId xmlns:a16="http://schemas.microsoft.com/office/drawing/2014/main" id="{130B796E-3BF8-4349-8AAA-1165C245F018}"/>
                </a:ext>
              </a:extLst>
            </p:cNvPr>
            <p:cNvSpPr>
              <a:spLocks/>
            </p:cNvSpPr>
            <p:nvPr/>
          </p:nvSpPr>
          <p:spPr bwMode="auto">
            <a:xfrm>
              <a:off x="4899025" y="3317875"/>
              <a:ext cx="33338" cy="169863"/>
            </a:xfrm>
            <a:custGeom>
              <a:avLst/>
              <a:gdLst>
                <a:gd name="T0" fmla="*/ 0 w 34"/>
                <a:gd name="T1" fmla="*/ 0 h 174"/>
                <a:gd name="T2" fmla="*/ 0 w 34"/>
                <a:gd name="T3" fmla="*/ 0 h 174"/>
                <a:gd name="T4" fmla="*/ 34 w 34"/>
                <a:gd name="T5" fmla="*/ 0 h 174"/>
                <a:gd name="T6" fmla="*/ 34 w 34"/>
                <a:gd name="T7" fmla="*/ 174 h 174"/>
                <a:gd name="T8" fmla="*/ 0 w 34"/>
                <a:gd name="T9" fmla="*/ 174 h 174"/>
                <a:gd name="T10" fmla="*/ 0 w 34"/>
                <a:gd name="T11" fmla="*/ 0 h 174"/>
              </a:gdLst>
              <a:ahLst/>
              <a:cxnLst>
                <a:cxn ang="0">
                  <a:pos x="T0" y="T1"/>
                </a:cxn>
                <a:cxn ang="0">
                  <a:pos x="T2" y="T3"/>
                </a:cxn>
                <a:cxn ang="0">
                  <a:pos x="T4" y="T5"/>
                </a:cxn>
                <a:cxn ang="0">
                  <a:pos x="T6" y="T7"/>
                </a:cxn>
                <a:cxn ang="0">
                  <a:pos x="T8" y="T9"/>
                </a:cxn>
                <a:cxn ang="0">
                  <a:pos x="T10" y="T11"/>
                </a:cxn>
              </a:cxnLst>
              <a:rect l="0" t="0" r="r" b="b"/>
              <a:pathLst>
                <a:path w="34" h="174">
                  <a:moveTo>
                    <a:pt x="0" y="0"/>
                  </a:moveTo>
                  <a:lnTo>
                    <a:pt x="0" y="0"/>
                  </a:lnTo>
                  <a:lnTo>
                    <a:pt x="34" y="0"/>
                  </a:lnTo>
                  <a:lnTo>
                    <a:pt x="34"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0">
              <a:extLst>
                <a:ext uri="{FF2B5EF4-FFF2-40B4-BE49-F238E27FC236}">
                  <a16:creationId xmlns:a16="http://schemas.microsoft.com/office/drawing/2014/main" id="{000D6A74-812E-4C06-8CA7-A27F2656E55C}"/>
                </a:ext>
              </a:extLst>
            </p:cNvPr>
            <p:cNvSpPr>
              <a:spLocks noEditPoints="1"/>
            </p:cNvSpPr>
            <p:nvPr/>
          </p:nvSpPr>
          <p:spPr bwMode="auto">
            <a:xfrm>
              <a:off x="4568825" y="3284538"/>
              <a:ext cx="100013" cy="292100"/>
            </a:xfrm>
            <a:custGeom>
              <a:avLst/>
              <a:gdLst>
                <a:gd name="T0" fmla="*/ 3 w 104"/>
                <a:gd name="T1" fmla="*/ 0 h 301"/>
                <a:gd name="T2" fmla="*/ 3 w 104"/>
                <a:gd name="T3" fmla="*/ 0 h 301"/>
                <a:gd name="T4" fmla="*/ 0 w 104"/>
                <a:gd name="T5" fmla="*/ 0 h 301"/>
                <a:gd name="T6" fmla="*/ 0 w 104"/>
                <a:gd name="T7" fmla="*/ 301 h 301"/>
                <a:gd name="T8" fmla="*/ 102 w 104"/>
                <a:gd name="T9" fmla="*/ 301 h 301"/>
                <a:gd name="T10" fmla="*/ 104 w 104"/>
                <a:gd name="T11" fmla="*/ 300 h 301"/>
                <a:gd name="T12" fmla="*/ 104 w 104"/>
                <a:gd name="T13" fmla="*/ 0 h 301"/>
                <a:gd name="T14" fmla="*/ 3 w 104"/>
                <a:gd name="T15" fmla="*/ 0 h 301"/>
                <a:gd name="T16" fmla="*/ 3 w 104"/>
                <a:gd name="T17" fmla="*/ 0 h 301"/>
                <a:gd name="T18" fmla="*/ 52 w 104"/>
                <a:gd name="T19" fmla="*/ 278 h 301"/>
                <a:gd name="T20" fmla="*/ 52 w 104"/>
                <a:gd name="T21" fmla="*/ 278 h 301"/>
                <a:gd name="T22" fmla="*/ 40 w 104"/>
                <a:gd name="T23" fmla="*/ 266 h 301"/>
                <a:gd name="T24" fmla="*/ 52 w 104"/>
                <a:gd name="T25" fmla="*/ 254 h 301"/>
                <a:gd name="T26" fmla="*/ 64 w 104"/>
                <a:gd name="T27" fmla="*/ 266 h 301"/>
                <a:gd name="T28" fmla="*/ 52 w 104"/>
                <a:gd name="T29" fmla="*/ 278 h 301"/>
                <a:gd name="T30" fmla="*/ 92 w 104"/>
                <a:gd name="T31" fmla="*/ 220 h 301"/>
                <a:gd name="T32" fmla="*/ 92 w 104"/>
                <a:gd name="T33" fmla="*/ 220 h 301"/>
                <a:gd name="T34" fmla="*/ 80 w 104"/>
                <a:gd name="T35" fmla="*/ 232 h 301"/>
                <a:gd name="T36" fmla="*/ 24 w 104"/>
                <a:gd name="T37" fmla="*/ 232 h 301"/>
                <a:gd name="T38" fmla="*/ 12 w 104"/>
                <a:gd name="T39" fmla="*/ 220 h 301"/>
                <a:gd name="T40" fmla="*/ 12 w 104"/>
                <a:gd name="T41" fmla="*/ 23 h 301"/>
                <a:gd name="T42" fmla="*/ 24 w 104"/>
                <a:gd name="T43" fmla="*/ 11 h 301"/>
                <a:gd name="T44" fmla="*/ 80 w 104"/>
                <a:gd name="T45" fmla="*/ 11 h 301"/>
                <a:gd name="T46" fmla="*/ 92 w 104"/>
                <a:gd name="T47" fmla="*/ 23 h 301"/>
                <a:gd name="T48" fmla="*/ 92 w 104"/>
                <a:gd name="T49" fmla="*/ 2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4" h="301">
                  <a:moveTo>
                    <a:pt x="3" y="0"/>
                  </a:moveTo>
                  <a:lnTo>
                    <a:pt x="3" y="0"/>
                  </a:lnTo>
                  <a:lnTo>
                    <a:pt x="0" y="0"/>
                  </a:lnTo>
                  <a:lnTo>
                    <a:pt x="0" y="301"/>
                  </a:lnTo>
                  <a:lnTo>
                    <a:pt x="102" y="301"/>
                  </a:lnTo>
                  <a:cubicBezTo>
                    <a:pt x="103" y="301"/>
                    <a:pt x="104" y="301"/>
                    <a:pt x="104" y="300"/>
                  </a:cubicBezTo>
                  <a:lnTo>
                    <a:pt x="104" y="0"/>
                  </a:lnTo>
                  <a:lnTo>
                    <a:pt x="3" y="0"/>
                  </a:lnTo>
                  <a:lnTo>
                    <a:pt x="3" y="0"/>
                  </a:lnTo>
                  <a:close/>
                  <a:moveTo>
                    <a:pt x="52" y="278"/>
                  </a:moveTo>
                  <a:lnTo>
                    <a:pt x="52" y="278"/>
                  </a:lnTo>
                  <a:cubicBezTo>
                    <a:pt x="46" y="278"/>
                    <a:pt x="40" y="273"/>
                    <a:pt x="40" y="266"/>
                  </a:cubicBezTo>
                  <a:cubicBezTo>
                    <a:pt x="40" y="260"/>
                    <a:pt x="46" y="254"/>
                    <a:pt x="52" y="254"/>
                  </a:cubicBezTo>
                  <a:cubicBezTo>
                    <a:pt x="59" y="254"/>
                    <a:pt x="64" y="260"/>
                    <a:pt x="64" y="266"/>
                  </a:cubicBezTo>
                  <a:cubicBezTo>
                    <a:pt x="64" y="273"/>
                    <a:pt x="59" y="278"/>
                    <a:pt x="52" y="278"/>
                  </a:cubicBezTo>
                  <a:close/>
                  <a:moveTo>
                    <a:pt x="92" y="220"/>
                  </a:moveTo>
                  <a:lnTo>
                    <a:pt x="92" y="220"/>
                  </a:lnTo>
                  <a:cubicBezTo>
                    <a:pt x="92" y="226"/>
                    <a:pt x="86" y="232"/>
                    <a:pt x="80" y="232"/>
                  </a:cubicBezTo>
                  <a:lnTo>
                    <a:pt x="24" y="232"/>
                  </a:lnTo>
                  <a:cubicBezTo>
                    <a:pt x="18" y="232"/>
                    <a:pt x="12" y="226"/>
                    <a:pt x="12" y="220"/>
                  </a:cubicBezTo>
                  <a:lnTo>
                    <a:pt x="12" y="23"/>
                  </a:lnTo>
                  <a:cubicBezTo>
                    <a:pt x="12" y="17"/>
                    <a:pt x="18" y="11"/>
                    <a:pt x="24" y="11"/>
                  </a:cubicBezTo>
                  <a:lnTo>
                    <a:pt x="80" y="11"/>
                  </a:lnTo>
                  <a:cubicBezTo>
                    <a:pt x="86" y="11"/>
                    <a:pt x="92" y="17"/>
                    <a:pt x="92" y="23"/>
                  </a:cubicBezTo>
                  <a:lnTo>
                    <a:pt x="92" y="2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1">
              <a:extLst>
                <a:ext uri="{FF2B5EF4-FFF2-40B4-BE49-F238E27FC236}">
                  <a16:creationId xmlns:a16="http://schemas.microsoft.com/office/drawing/2014/main" id="{AABA70B7-1234-468B-B9EB-42E7CA9BFCE5}"/>
                </a:ext>
              </a:extLst>
            </p:cNvPr>
            <p:cNvSpPr>
              <a:spLocks/>
            </p:cNvSpPr>
            <p:nvPr/>
          </p:nvSpPr>
          <p:spPr bwMode="auto">
            <a:xfrm>
              <a:off x="4749800" y="3317875"/>
              <a:ext cx="31750" cy="169863"/>
            </a:xfrm>
            <a:custGeom>
              <a:avLst/>
              <a:gdLst>
                <a:gd name="T0" fmla="*/ 0 w 33"/>
                <a:gd name="T1" fmla="*/ 0 h 174"/>
                <a:gd name="T2" fmla="*/ 0 w 33"/>
                <a:gd name="T3" fmla="*/ 0 h 174"/>
                <a:gd name="T4" fmla="*/ 33 w 33"/>
                <a:gd name="T5" fmla="*/ 0 h 174"/>
                <a:gd name="T6" fmla="*/ 33 w 33"/>
                <a:gd name="T7" fmla="*/ 174 h 174"/>
                <a:gd name="T8" fmla="*/ 0 w 33"/>
                <a:gd name="T9" fmla="*/ 174 h 174"/>
                <a:gd name="T10" fmla="*/ 0 w 33"/>
                <a:gd name="T11" fmla="*/ 0 h 174"/>
              </a:gdLst>
              <a:ahLst/>
              <a:cxnLst>
                <a:cxn ang="0">
                  <a:pos x="T0" y="T1"/>
                </a:cxn>
                <a:cxn ang="0">
                  <a:pos x="T2" y="T3"/>
                </a:cxn>
                <a:cxn ang="0">
                  <a:pos x="T4" y="T5"/>
                </a:cxn>
                <a:cxn ang="0">
                  <a:pos x="T6" y="T7"/>
                </a:cxn>
                <a:cxn ang="0">
                  <a:pos x="T8" y="T9"/>
                </a:cxn>
                <a:cxn ang="0">
                  <a:pos x="T10" y="T11"/>
                </a:cxn>
              </a:cxnLst>
              <a:rect l="0" t="0" r="r" b="b"/>
              <a:pathLst>
                <a:path w="33" h="174">
                  <a:moveTo>
                    <a:pt x="0" y="0"/>
                  </a:moveTo>
                  <a:lnTo>
                    <a:pt x="0" y="0"/>
                  </a:lnTo>
                  <a:lnTo>
                    <a:pt x="33" y="0"/>
                  </a:lnTo>
                  <a:lnTo>
                    <a:pt x="33"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
              <a:extLst>
                <a:ext uri="{FF2B5EF4-FFF2-40B4-BE49-F238E27FC236}">
                  <a16:creationId xmlns:a16="http://schemas.microsoft.com/office/drawing/2014/main" id="{0D2AC356-FE24-441C-90C7-B8EC792E33D2}"/>
                </a:ext>
              </a:extLst>
            </p:cNvPr>
            <p:cNvSpPr>
              <a:spLocks noEditPoints="1"/>
            </p:cNvSpPr>
            <p:nvPr/>
          </p:nvSpPr>
          <p:spPr bwMode="auto">
            <a:xfrm>
              <a:off x="4716463" y="3284538"/>
              <a:ext cx="98425" cy="292100"/>
            </a:xfrm>
            <a:custGeom>
              <a:avLst/>
              <a:gdLst>
                <a:gd name="T0" fmla="*/ 2 w 103"/>
                <a:gd name="T1" fmla="*/ 0 h 301"/>
                <a:gd name="T2" fmla="*/ 2 w 103"/>
                <a:gd name="T3" fmla="*/ 0 h 301"/>
                <a:gd name="T4" fmla="*/ 0 w 103"/>
                <a:gd name="T5" fmla="*/ 0 h 301"/>
                <a:gd name="T6" fmla="*/ 0 w 103"/>
                <a:gd name="T7" fmla="*/ 301 h 301"/>
                <a:gd name="T8" fmla="*/ 101 w 103"/>
                <a:gd name="T9" fmla="*/ 301 h 301"/>
                <a:gd name="T10" fmla="*/ 103 w 103"/>
                <a:gd name="T11" fmla="*/ 300 h 301"/>
                <a:gd name="T12" fmla="*/ 103 w 103"/>
                <a:gd name="T13" fmla="*/ 0 h 301"/>
                <a:gd name="T14" fmla="*/ 2 w 103"/>
                <a:gd name="T15" fmla="*/ 0 h 301"/>
                <a:gd name="T16" fmla="*/ 2 w 103"/>
                <a:gd name="T17" fmla="*/ 0 h 301"/>
                <a:gd name="T18" fmla="*/ 52 w 103"/>
                <a:gd name="T19" fmla="*/ 278 h 301"/>
                <a:gd name="T20" fmla="*/ 52 w 103"/>
                <a:gd name="T21" fmla="*/ 278 h 301"/>
                <a:gd name="T22" fmla="*/ 40 w 103"/>
                <a:gd name="T23" fmla="*/ 266 h 301"/>
                <a:gd name="T24" fmla="*/ 52 w 103"/>
                <a:gd name="T25" fmla="*/ 254 h 301"/>
                <a:gd name="T26" fmla="*/ 64 w 103"/>
                <a:gd name="T27" fmla="*/ 266 h 301"/>
                <a:gd name="T28" fmla="*/ 52 w 103"/>
                <a:gd name="T29" fmla="*/ 278 h 301"/>
                <a:gd name="T30" fmla="*/ 91 w 103"/>
                <a:gd name="T31" fmla="*/ 220 h 301"/>
                <a:gd name="T32" fmla="*/ 91 w 103"/>
                <a:gd name="T33" fmla="*/ 220 h 301"/>
                <a:gd name="T34" fmla="*/ 79 w 103"/>
                <a:gd name="T35" fmla="*/ 232 h 301"/>
                <a:gd name="T36" fmla="*/ 24 w 103"/>
                <a:gd name="T37" fmla="*/ 232 h 301"/>
                <a:gd name="T38" fmla="*/ 12 w 103"/>
                <a:gd name="T39" fmla="*/ 220 h 301"/>
                <a:gd name="T40" fmla="*/ 12 w 103"/>
                <a:gd name="T41" fmla="*/ 23 h 301"/>
                <a:gd name="T42" fmla="*/ 24 w 103"/>
                <a:gd name="T43" fmla="*/ 11 h 301"/>
                <a:gd name="T44" fmla="*/ 79 w 103"/>
                <a:gd name="T45" fmla="*/ 11 h 301"/>
                <a:gd name="T46" fmla="*/ 91 w 103"/>
                <a:gd name="T47" fmla="*/ 23 h 301"/>
                <a:gd name="T48" fmla="*/ 91 w 103"/>
                <a:gd name="T49" fmla="*/ 2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301">
                  <a:moveTo>
                    <a:pt x="2" y="0"/>
                  </a:moveTo>
                  <a:lnTo>
                    <a:pt x="2" y="0"/>
                  </a:lnTo>
                  <a:lnTo>
                    <a:pt x="0" y="0"/>
                  </a:lnTo>
                  <a:lnTo>
                    <a:pt x="0" y="301"/>
                  </a:lnTo>
                  <a:lnTo>
                    <a:pt x="101" y="301"/>
                  </a:lnTo>
                  <a:cubicBezTo>
                    <a:pt x="102" y="301"/>
                    <a:pt x="103" y="301"/>
                    <a:pt x="103" y="300"/>
                  </a:cubicBezTo>
                  <a:lnTo>
                    <a:pt x="103" y="0"/>
                  </a:lnTo>
                  <a:lnTo>
                    <a:pt x="2" y="0"/>
                  </a:lnTo>
                  <a:lnTo>
                    <a:pt x="2" y="0"/>
                  </a:lnTo>
                  <a:close/>
                  <a:moveTo>
                    <a:pt x="52" y="278"/>
                  </a:moveTo>
                  <a:lnTo>
                    <a:pt x="52" y="278"/>
                  </a:lnTo>
                  <a:cubicBezTo>
                    <a:pt x="45" y="278"/>
                    <a:pt x="40" y="273"/>
                    <a:pt x="40" y="266"/>
                  </a:cubicBezTo>
                  <a:cubicBezTo>
                    <a:pt x="40" y="260"/>
                    <a:pt x="45" y="254"/>
                    <a:pt x="52" y="254"/>
                  </a:cubicBezTo>
                  <a:cubicBezTo>
                    <a:pt x="58" y="254"/>
                    <a:pt x="64" y="260"/>
                    <a:pt x="64" y="266"/>
                  </a:cubicBezTo>
                  <a:cubicBezTo>
                    <a:pt x="64" y="273"/>
                    <a:pt x="58" y="278"/>
                    <a:pt x="52" y="278"/>
                  </a:cubicBezTo>
                  <a:close/>
                  <a:moveTo>
                    <a:pt x="91" y="220"/>
                  </a:moveTo>
                  <a:lnTo>
                    <a:pt x="91" y="220"/>
                  </a:lnTo>
                  <a:cubicBezTo>
                    <a:pt x="91" y="226"/>
                    <a:pt x="86" y="232"/>
                    <a:pt x="79" y="232"/>
                  </a:cubicBezTo>
                  <a:lnTo>
                    <a:pt x="24" y="232"/>
                  </a:lnTo>
                  <a:cubicBezTo>
                    <a:pt x="17" y="232"/>
                    <a:pt x="12" y="226"/>
                    <a:pt x="12" y="220"/>
                  </a:cubicBezTo>
                  <a:lnTo>
                    <a:pt x="12" y="23"/>
                  </a:lnTo>
                  <a:cubicBezTo>
                    <a:pt x="12" y="17"/>
                    <a:pt x="17" y="11"/>
                    <a:pt x="24" y="11"/>
                  </a:cubicBezTo>
                  <a:lnTo>
                    <a:pt x="79" y="11"/>
                  </a:lnTo>
                  <a:cubicBezTo>
                    <a:pt x="86" y="11"/>
                    <a:pt x="91" y="17"/>
                    <a:pt x="91" y="23"/>
                  </a:cubicBezTo>
                  <a:lnTo>
                    <a:pt x="91" y="2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3">
              <a:extLst>
                <a:ext uri="{FF2B5EF4-FFF2-40B4-BE49-F238E27FC236}">
                  <a16:creationId xmlns:a16="http://schemas.microsoft.com/office/drawing/2014/main" id="{EEC92F47-A1CC-4231-89C6-2EC65AB54A3F}"/>
                </a:ext>
              </a:extLst>
            </p:cNvPr>
            <p:cNvSpPr>
              <a:spLocks noEditPoints="1"/>
            </p:cNvSpPr>
            <p:nvPr/>
          </p:nvSpPr>
          <p:spPr bwMode="auto">
            <a:xfrm>
              <a:off x="4865688" y="3284538"/>
              <a:ext cx="100013" cy="292100"/>
            </a:xfrm>
            <a:custGeom>
              <a:avLst/>
              <a:gdLst>
                <a:gd name="T0" fmla="*/ 2 w 104"/>
                <a:gd name="T1" fmla="*/ 0 h 301"/>
                <a:gd name="T2" fmla="*/ 2 w 104"/>
                <a:gd name="T3" fmla="*/ 0 h 301"/>
                <a:gd name="T4" fmla="*/ 0 w 104"/>
                <a:gd name="T5" fmla="*/ 0 h 301"/>
                <a:gd name="T6" fmla="*/ 0 w 104"/>
                <a:gd name="T7" fmla="*/ 301 h 301"/>
                <a:gd name="T8" fmla="*/ 102 w 104"/>
                <a:gd name="T9" fmla="*/ 301 h 301"/>
                <a:gd name="T10" fmla="*/ 104 w 104"/>
                <a:gd name="T11" fmla="*/ 300 h 301"/>
                <a:gd name="T12" fmla="*/ 104 w 104"/>
                <a:gd name="T13" fmla="*/ 0 h 301"/>
                <a:gd name="T14" fmla="*/ 2 w 104"/>
                <a:gd name="T15" fmla="*/ 0 h 301"/>
                <a:gd name="T16" fmla="*/ 2 w 104"/>
                <a:gd name="T17" fmla="*/ 0 h 301"/>
                <a:gd name="T18" fmla="*/ 52 w 104"/>
                <a:gd name="T19" fmla="*/ 278 h 301"/>
                <a:gd name="T20" fmla="*/ 52 w 104"/>
                <a:gd name="T21" fmla="*/ 278 h 301"/>
                <a:gd name="T22" fmla="*/ 40 w 104"/>
                <a:gd name="T23" fmla="*/ 266 h 301"/>
                <a:gd name="T24" fmla="*/ 52 w 104"/>
                <a:gd name="T25" fmla="*/ 254 h 301"/>
                <a:gd name="T26" fmla="*/ 64 w 104"/>
                <a:gd name="T27" fmla="*/ 266 h 301"/>
                <a:gd name="T28" fmla="*/ 52 w 104"/>
                <a:gd name="T29" fmla="*/ 278 h 301"/>
                <a:gd name="T30" fmla="*/ 92 w 104"/>
                <a:gd name="T31" fmla="*/ 220 h 301"/>
                <a:gd name="T32" fmla="*/ 92 w 104"/>
                <a:gd name="T33" fmla="*/ 220 h 301"/>
                <a:gd name="T34" fmla="*/ 80 w 104"/>
                <a:gd name="T35" fmla="*/ 232 h 301"/>
                <a:gd name="T36" fmla="*/ 24 w 104"/>
                <a:gd name="T37" fmla="*/ 232 h 301"/>
                <a:gd name="T38" fmla="*/ 12 w 104"/>
                <a:gd name="T39" fmla="*/ 220 h 301"/>
                <a:gd name="T40" fmla="*/ 12 w 104"/>
                <a:gd name="T41" fmla="*/ 23 h 301"/>
                <a:gd name="T42" fmla="*/ 24 w 104"/>
                <a:gd name="T43" fmla="*/ 11 h 301"/>
                <a:gd name="T44" fmla="*/ 80 w 104"/>
                <a:gd name="T45" fmla="*/ 11 h 301"/>
                <a:gd name="T46" fmla="*/ 92 w 104"/>
                <a:gd name="T47" fmla="*/ 23 h 301"/>
                <a:gd name="T48" fmla="*/ 92 w 104"/>
                <a:gd name="T49" fmla="*/ 2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4" h="301">
                  <a:moveTo>
                    <a:pt x="2" y="0"/>
                  </a:moveTo>
                  <a:lnTo>
                    <a:pt x="2" y="0"/>
                  </a:lnTo>
                  <a:lnTo>
                    <a:pt x="0" y="0"/>
                  </a:lnTo>
                  <a:lnTo>
                    <a:pt x="0" y="301"/>
                  </a:lnTo>
                  <a:lnTo>
                    <a:pt x="102" y="301"/>
                  </a:lnTo>
                  <a:cubicBezTo>
                    <a:pt x="102" y="301"/>
                    <a:pt x="104" y="301"/>
                    <a:pt x="104" y="300"/>
                  </a:cubicBezTo>
                  <a:lnTo>
                    <a:pt x="104" y="0"/>
                  </a:lnTo>
                  <a:lnTo>
                    <a:pt x="2" y="0"/>
                  </a:lnTo>
                  <a:lnTo>
                    <a:pt x="2" y="0"/>
                  </a:lnTo>
                  <a:close/>
                  <a:moveTo>
                    <a:pt x="52" y="278"/>
                  </a:moveTo>
                  <a:lnTo>
                    <a:pt x="52" y="278"/>
                  </a:lnTo>
                  <a:cubicBezTo>
                    <a:pt x="45" y="278"/>
                    <a:pt x="40" y="273"/>
                    <a:pt x="40" y="266"/>
                  </a:cubicBezTo>
                  <a:cubicBezTo>
                    <a:pt x="40" y="260"/>
                    <a:pt x="45" y="254"/>
                    <a:pt x="52" y="254"/>
                  </a:cubicBezTo>
                  <a:cubicBezTo>
                    <a:pt x="59" y="254"/>
                    <a:pt x="64" y="260"/>
                    <a:pt x="64" y="266"/>
                  </a:cubicBezTo>
                  <a:cubicBezTo>
                    <a:pt x="64" y="273"/>
                    <a:pt x="59" y="278"/>
                    <a:pt x="52" y="278"/>
                  </a:cubicBezTo>
                  <a:close/>
                  <a:moveTo>
                    <a:pt x="92" y="220"/>
                  </a:moveTo>
                  <a:lnTo>
                    <a:pt x="92" y="220"/>
                  </a:lnTo>
                  <a:cubicBezTo>
                    <a:pt x="92" y="226"/>
                    <a:pt x="86" y="232"/>
                    <a:pt x="80" y="232"/>
                  </a:cubicBezTo>
                  <a:lnTo>
                    <a:pt x="24" y="232"/>
                  </a:lnTo>
                  <a:cubicBezTo>
                    <a:pt x="18" y="232"/>
                    <a:pt x="12" y="226"/>
                    <a:pt x="12" y="220"/>
                  </a:cubicBezTo>
                  <a:lnTo>
                    <a:pt x="12" y="23"/>
                  </a:lnTo>
                  <a:cubicBezTo>
                    <a:pt x="12" y="17"/>
                    <a:pt x="18" y="11"/>
                    <a:pt x="24" y="11"/>
                  </a:cubicBezTo>
                  <a:lnTo>
                    <a:pt x="80" y="11"/>
                  </a:lnTo>
                  <a:cubicBezTo>
                    <a:pt x="86" y="11"/>
                    <a:pt x="92" y="17"/>
                    <a:pt x="92" y="23"/>
                  </a:cubicBezTo>
                  <a:lnTo>
                    <a:pt x="92" y="2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4">
              <a:extLst>
                <a:ext uri="{FF2B5EF4-FFF2-40B4-BE49-F238E27FC236}">
                  <a16:creationId xmlns:a16="http://schemas.microsoft.com/office/drawing/2014/main" id="{FEE161B4-D8A1-424F-9718-69F3F4795953}"/>
                </a:ext>
              </a:extLst>
            </p:cNvPr>
            <p:cNvSpPr>
              <a:spLocks noEditPoints="1"/>
            </p:cNvSpPr>
            <p:nvPr/>
          </p:nvSpPr>
          <p:spPr bwMode="auto">
            <a:xfrm>
              <a:off x="4406900" y="3073400"/>
              <a:ext cx="720725" cy="727075"/>
            </a:xfrm>
            <a:custGeom>
              <a:avLst/>
              <a:gdLst>
                <a:gd name="T0" fmla="*/ 377 w 754"/>
                <a:gd name="T1" fmla="*/ 0 h 752"/>
                <a:gd name="T2" fmla="*/ 377 w 754"/>
                <a:gd name="T3" fmla="*/ 0 h 752"/>
                <a:gd name="T4" fmla="*/ 0 w 754"/>
                <a:gd name="T5" fmla="*/ 376 h 752"/>
                <a:gd name="T6" fmla="*/ 377 w 754"/>
                <a:gd name="T7" fmla="*/ 752 h 752"/>
                <a:gd name="T8" fmla="*/ 754 w 754"/>
                <a:gd name="T9" fmla="*/ 376 h 752"/>
                <a:gd name="T10" fmla="*/ 377 w 754"/>
                <a:gd name="T11" fmla="*/ 0 h 752"/>
                <a:gd name="T12" fmla="*/ 296 w 754"/>
                <a:gd name="T13" fmla="*/ 520 h 752"/>
                <a:gd name="T14" fmla="*/ 296 w 754"/>
                <a:gd name="T15" fmla="*/ 520 h 752"/>
                <a:gd name="T16" fmla="*/ 271 w 754"/>
                <a:gd name="T17" fmla="*/ 543 h 752"/>
                <a:gd name="T18" fmla="*/ 172 w 754"/>
                <a:gd name="T19" fmla="*/ 543 h 752"/>
                <a:gd name="T20" fmla="*/ 147 w 754"/>
                <a:gd name="T21" fmla="*/ 520 h 752"/>
                <a:gd name="T22" fmla="*/ 147 w 754"/>
                <a:gd name="T23" fmla="*/ 219 h 752"/>
                <a:gd name="T24" fmla="*/ 172 w 754"/>
                <a:gd name="T25" fmla="*/ 195 h 752"/>
                <a:gd name="T26" fmla="*/ 271 w 754"/>
                <a:gd name="T27" fmla="*/ 195 h 752"/>
                <a:gd name="T28" fmla="*/ 296 w 754"/>
                <a:gd name="T29" fmla="*/ 219 h 752"/>
                <a:gd name="T30" fmla="*/ 296 w 754"/>
                <a:gd name="T31" fmla="*/ 520 h 752"/>
                <a:gd name="T32" fmla="*/ 296 w 754"/>
                <a:gd name="T33" fmla="*/ 520 h 752"/>
                <a:gd name="T34" fmla="*/ 450 w 754"/>
                <a:gd name="T35" fmla="*/ 520 h 752"/>
                <a:gd name="T36" fmla="*/ 450 w 754"/>
                <a:gd name="T37" fmla="*/ 520 h 752"/>
                <a:gd name="T38" fmla="*/ 425 w 754"/>
                <a:gd name="T39" fmla="*/ 543 h 752"/>
                <a:gd name="T40" fmla="*/ 326 w 754"/>
                <a:gd name="T41" fmla="*/ 543 h 752"/>
                <a:gd name="T42" fmla="*/ 301 w 754"/>
                <a:gd name="T43" fmla="*/ 520 h 752"/>
                <a:gd name="T44" fmla="*/ 301 w 754"/>
                <a:gd name="T45" fmla="*/ 219 h 752"/>
                <a:gd name="T46" fmla="*/ 326 w 754"/>
                <a:gd name="T47" fmla="*/ 195 h 752"/>
                <a:gd name="T48" fmla="*/ 425 w 754"/>
                <a:gd name="T49" fmla="*/ 195 h 752"/>
                <a:gd name="T50" fmla="*/ 450 w 754"/>
                <a:gd name="T51" fmla="*/ 219 h 752"/>
                <a:gd name="T52" fmla="*/ 450 w 754"/>
                <a:gd name="T53" fmla="*/ 520 h 752"/>
                <a:gd name="T54" fmla="*/ 450 w 754"/>
                <a:gd name="T55" fmla="*/ 520 h 752"/>
                <a:gd name="T56" fmla="*/ 606 w 754"/>
                <a:gd name="T57" fmla="*/ 520 h 752"/>
                <a:gd name="T58" fmla="*/ 606 w 754"/>
                <a:gd name="T59" fmla="*/ 520 h 752"/>
                <a:gd name="T60" fmla="*/ 582 w 754"/>
                <a:gd name="T61" fmla="*/ 543 h 752"/>
                <a:gd name="T62" fmla="*/ 482 w 754"/>
                <a:gd name="T63" fmla="*/ 543 h 752"/>
                <a:gd name="T64" fmla="*/ 457 w 754"/>
                <a:gd name="T65" fmla="*/ 520 h 752"/>
                <a:gd name="T66" fmla="*/ 457 w 754"/>
                <a:gd name="T67" fmla="*/ 219 h 752"/>
                <a:gd name="T68" fmla="*/ 482 w 754"/>
                <a:gd name="T69" fmla="*/ 195 h 752"/>
                <a:gd name="T70" fmla="*/ 582 w 754"/>
                <a:gd name="T71" fmla="*/ 195 h 752"/>
                <a:gd name="T72" fmla="*/ 606 w 754"/>
                <a:gd name="T73" fmla="*/ 219 h 752"/>
                <a:gd name="T74" fmla="*/ 606 w 754"/>
                <a:gd name="T75" fmla="*/ 52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4" h="752">
                  <a:moveTo>
                    <a:pt x="377" y="0"/>
                  </a:moveTo>
                  <a:lnTo>
                    <a:pt x="377" y="0"/>
                  </a:lnTo>
                  <a:cubicBezTo>
                    <a:pt x="169" y="0"/>
                    <a:pt x="0" y="169"/>
                    <a:pt x="0" y="376"/>
                  </a:cubicBezTo>
                  <a:cubicBezTo>
                    <a:pt x="0" y="584"/>
                    <a:pt x="169" y="752"/>
                    <a:pt x="377" y="752"/>
                  </a:cubicBezTo>
                  <a:cubicBezTo>
                    <a:pt x="584" y="752"/>
                    <a:pt x="754" y="584"/>
                    <a:pt x="754" y="376"/>
                  </a:cubicBezTo>
                  <a:cubicBezTo>
                    <a:pt x="754" y="169"/>
                    <a:pt x="584" y="0"/>
                    <a:pt x="377" y="0"/>
                  </a:cubicBezTo>
                  <a:close/>
                  <a:moveTo>
                    <a:pt x="296" y="520"/>
                  </a:moveTo>
                  <a:lnTo>
                    <a:pt x="296" y="520"/>
                  </a:lnTo>
                  <a:cubicBezTo>
                    <a:pt x="296" y="533"/>
                    <a:pt x="285" y="543"/>
                    <a:pt x="271" y="543"/>
                  </a:cubicBezTo>
                  <a:lnTo>
                    <a:pt x="172" y="543"/>
                  </a:lnTo>
                  <a:cubicBezTo>
                    <a:pt x="157" y="543"/>
                    <a:pt x="147" y="533"/>
                    <a:pt x="147" y="520"/>
                  </a:cubicBezTo>
                  <a:lnTo>
                    <a:pt x="147" y="219"/>
                  </a:lnTo>
                  <a:cubicBezTo>
                    <a:pt x="147" y="206"/>
                    <a:pt x="157" y="195"/>
                    <a:pt x="172" y="195"/>
                  </a:cubicBezTo>
                  <a:lnTo>
                    <a:pt x="271" y="195"/>
                  </a:lnTo>
                  <a:cubicBezTo>
                    <a:pt x="285" y="195"/>
                    <a:pt x="296" y="206"/>
                    <a:pt x="296" y="219"/>
                  </a:cubicBezTo>
                  <a:lnTo>
                    <a:pt x="296" y="520"/>
                  </a:lnTo>
                  <a:lnTo>
                    <a:pt x="296" y="520"/>
                  </a:lnTo>
                  <a:close/>
                  <a:moveTo>
                    <a:pt x="450" y="520"/>
                  </a:moveTo>
                  <a:lnTo>
                    <a:pt x="450" y="520"/>
                  </a:lnTo>
                  <a:cubicBezTo>
                    <a:pt x="450" y="533"/>
                    <a:pt x="439" y="543"/>
                    <a:pt x="425" y="543"/>
                  </a:cubicBezTo>
                  <a:lnTo>
                    <a:pt x="326" y="543"/>
                  </a:lnTo>
                  <a:cubicBezTo>
                    <a:pt x="312" y="543"/>
                    <a:pt x="301" y="533"/>
                    <a:pt x="301" y="520"/>
                  </a:cubicBezTo>
                  <a:lnTo>
                    <a:pt x="301" y="219"/>
                  </a:lnTo>
                  <a:cubicBezTo>
                    <a:pt x="301" y="206"/>
                    <a:pt x="312" y="195"/>
                    <a:pt x="326" y="195"/>
                  </a:cubicBezTo>
                  <a:lnTo>
                    <a:pt x="425" y="195"/>
                  </a:lnTo>
                  <a:cubicBezTo>
                    <a:pt x="439" y="195"/>
                    <a:pt x="450" y="206"/>
                    <a:pt x="450" y="219"/>
                  </a:cubicBezTo>
                  <a:lnTo>
                    <a:pt x="450" y="520"/>
                  </a:lnTo>
                  <a:lnTo>
                    <a:pt x="450" y="520"/>
                  </a:lnTo>
                  <a:close/>
                  <a:moveTo>
                    <a:pt x="606" y="520"/>
                  </a:moveTo>
                  <a:lnTo>
                    <a:pt x="606" y="520"/>
                  </a:lnTo>
                  <a:cubicBezTo>
                    <a:pt x="606" y="533"/>
                    <a:pt x="596" y="543"/>
                    <a:pt x="582" y="543"/>
                  </a:cubicBezTo>
                  <a:lnTo>
                    <a:pt x="482" y="543"/>
                  </a:lnTo>
                  <a:cubicBezTo>
                    <a:pt x="468" y="543"/>
                    <a:pt x="457" y="533"/>
                    <a:pt x="457" y="520"/>
                  </a:cubicBezTo>
                  <a:lnTo>
                    <a:pt x="457" y="219"/>
                  </a:lnTo>
                  <a:cubicBezTo>
                    <a:pt x="457" y="206"/>
                    <a:pt x="468" y="195"/>
                    <a:pt x="482" y="195"/>
                  </a:cubicBezTo>
                  <a:lnTo>
                    <a:pt x="582" y="195"/>
                  </a:lnTo>
                  <a:cubicBezTo>
                    <a:pt x="596" y="195"/>
                    <a:pt x="606" y="206"/>
                    <a:pt x="606" y="219"/>
                  </a:cubicBezTo>
                  <a:lnTo>
                    <a:pt x="606" y="5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5">
              <a:extLst>
                <a:ext uri="{FF2B5EF4-FFF2-40B4-BE49-F238E27FC236}">
                  <a16:creationId xmlns:a16="http://schemas.microsoft.com/office/drawing/2014/main" id="{3ECEBDC9-20CE-4FFF-ACAF-89E1CBE2FA2D}"/>
                </a:ext>
              </a:extLst>
            </p:cNvPr>
            <p:cNvSpPr>
              <a:spLocks/>
            </p:cNvSpPr>
            <p:nvPr/>
          </p:nvSpPr>
          <p:spPr bwMode="auto">
            <a:xfrm>
              <a:off x="4602163" y="3317875"/>
              <a:ext cx="31750" cy="169863"/>
            </a:xfrm>
            <a:custGeom>
              <a:avLst/>
              <a:gdLst>
                <a:gd name="T0" fmla="*/ 0 w 34"/>
                <a:gd name="T1" fmla="*/ 0 h 174"/>
                <a:gd name="T2" fmla="*/ 0 w 34"/>
                <a:gd name="T3" fmla="*/ 0 h 174"/>
                <a:gd name="T4" fmla="*/ 34 w 34"/>
                <a:gd name="T5" fmla="*/ 0 h 174"/>
                <a:gd name="T6" fmla="*/ 34 w 34"/>
                <a:gd name="T7" fmla="*/ 174 h 174"/>
                <a:gd name="T8" fmla="*/ 0 w 34"/>
                <a:gd name="T9" fmla="*/ 174 h 174"/>
                <a:gd name="T10" fmla="*/ 0 w 34"/>
                <a:gd name="T11" fmla="*/ 0 h 174"/>
              </a:gdLst>
              <a:ahLst/>
              <a:cxnLst>
                <a:cxn ang="0">
                  <a:pos x="T0" y="T1"/>
                </a:cxn>
                <a:cxn ang="0">
                  <a:pos x="T2" y="T3"/>
                </a:cxn>
                <a:cxn ang="0">
                  <a:pos x="T4" y="T5"/>
                </a:cxn>
                <a:cxn ang="0">
                  <a:pos x="T6" y="T7"/>
                </a:cxn>
                <a:cxn ang="0">
                  <a:pos x="T8" y="T9"/>
                </a:cxn>
                <a:cxn ang="0">
                  <a:pos x="T10" y="T11"/>
                </a:cxn>
              </a:cxnLst>
              <a:rect l="0" t="0" r="r" b="b"/>
              <a:pathLst>
                <a:path w="34" h="174">
                  <a:moveTo>
                    <a:pt x="0" y="0"/>
                  </a:moveTo>
                  <a:lnTo>
                    <a:pt x="0" y="0"/>
                  </a:lnTo>
                  <a:lnTo>
                    <a:pt x="34" y="0"/>
                  </a:lnTo>
                  <a:lnTo>
                    <a:pt x="34"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60" name="Group 259">
            <a:extLst>
              <a:ext uri="{FF2B5EF4-FFF2-40B4-BE49-F238E27FC236}">
                <a16:creationId xmlns:a16="http://schemas.microsoft.com/office/drawing/2014/main" id="{30282978-93F2-428C-B2FA-7DB187CBC70C}"/>
              </a:ext>
            </a:extLst>
          </p:cNvPr>
          <p:cNvGrpSpPr/>
          <p:nvPr/>
        </p:nvGrpSpPr>
        <p:grpSpPr>
          <a:xfrm>
            <a:off x="8057461" y="2530057"/>
            <a:ext cx="365760" cy="365760"/>
            <a:chOff x="7072313" y="3068638"/>
            <a:chExt cx="720725" cy="727075"/>
          </a:xfrm>
          <a:solidFill>
            <a:schemeClr val="bg2"/>
          </a:solidFill>
        </p:grpSpPr>
        <p:sp>
          <p:nvSpPr>
            <p:cNvPr id="261" name="Freeform 16">
              <a:extLst>
                <a:ext uri="{FF2B5EF4-FFF2-40B4-BE49-F238E27FC236}">
                  <a16:creationId xmlns:a16="http://schemas.microsoft.com/office/drawing/2014/main" id="{0AED4BC5-F503-433E-8CA2-7DAAADFBAE61}"/>
                </a:ext>
              </a:extLst>
            </p:cNvPr>
            <p:cNvSpPr>
              <a:spLocks noEditPoints="1"/>
            </p:cNvSpPr>
            <p:nvPr/>
          </p:nvSpPr>
          <p:spPr bwMode="auto">
            <a:xfrm>
              <a:off x="7072313" y="3068638"/>
              <a:ext cx="720725" cy="727075"/>
            </a:xfrm>
            <a:custGeom>
              <a:avLst/>
              <a:gdLst>
                <a:gd name="T0" fmla="*/ 377 w 754"/>
                <a:gd name="T1" fmla="*/ 720 h 751"/>
                <a:gd name="T2" fmla="*/ 377 w 754"/>
                <a:gd name="T3" fmla="*/ 720 h 751"/>
                <a:gd name="T4" fmla="*/ 31 w 754"/>
                <a:gd name="T5" fmla="*/ 375 h 751"/>
                <a:gd name="T6" fmla="*/ 377 w 754"/>
                <a:gd name="T7" fmla="*/ 32 h 751"/>
                <a:gd name="T8" fmla="*/ 723 w 754"/>
                <a:gd name="T9" fmla="*/ 375 h 751"/>
                <a:gd name="T10" fmla="*/ 377 w 754"/>
                <a:gd name="T11" fmla="*/ 720 h 751"/>
                <a:gd name="T12" fmla="*/ 377 w 754"/>
                <a:gd name="T13" fmla="*/ 720 h 751"/>
                <a:gd name="T14" fmla="*/ 377 w 754"/>
                <a:gd name="T15" fmla="*/ 0 h 751"/>
                <a:gd name="T16" fmla="*/ 377 w 754"/>
                <a:gd name="T17" fmla="*/ 0 h 751"/>
                <a:gd name="T18" fmla="*/ 0 w 754"/>
                <a:gd name="T19" fmla="*/ 375 h 751"/>
                <a:gd name="T20" fmla="*/ 377 w 754"/>
                <a:gd name="T21" fmla="*/ 751 h 751"/>
                <a:gd name="T22" fmla="*/ 754 w 754"/>
                <a:gd name="T23" fmla="*/ 375 h 751"/>
                <a:gd name="T24" fmla="*/ 377 w 754"/>
                <a:gd name="T25" fmla="*/ 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4" h="751">
                  <a:moveTo>
                    <a:pt x="377" y="720"/>
                  </a:moveTo>
                  <a:lnTo>
                    <a:pt x="377" y="720"/>
                  </a:lnTo>
                  <a:cubicBezTo>
                    <a:pt x="187" y="720"/>
                    <a:pt x="31" y="566"/>
                    <a:pt x="31" y="375"/>
                  </a:cubicBezTo>
                  <a:cubicBezTo>
                    <a:pt x="31" y="186"/>
                    <a:pt x="187" y="32"/>
                    <a:pt x="377" y="32"/>
                  </a:cubicBezTo>
                  <a:cubicBezTo>
                    <a:pt x="567" y="32"/>
                    <a:pt x="723" y="186"/>
                    <a:pt x="723" y="375"/>
                  </a:cubicBezTo>
                  <a:cubicBezTo>
                    <a:pt x="723" y="566"/>
                    <a:pt x="567" y="720"/>
                    <a:pt x="377" y="720"/>
                  </a:cubicBezTo>
                  <a:lnTo>
                    <a:pt x="377" y="720"/>
                  </a:lnTo>
                  <a:close/>
                  <a:moveTo>
                    <a:pt x="377" y="0"/>
                  </a:moveTo>
                  <a:lnTo>
                    <a:pt x="377" y="0"/>
                  </a:lnTo>
                  <a:cubicBezTo>
                    <a:pt x="169" y="0"/>
                    <a:pt x="0" y="168"/>
                    <a:pt x="0" y="375"/>
                  </a:cubicBezTo>
                  <a:cubicBezTo>
                    <a:pt x="0" y="583"/>
                    <a:pt x="169" y="751"/>
                    <a:pt x="377" y="751"/>
                  </a:cubicBezTo>
                  <a:cubicBezTo>
                    <a:pt x="584" y="751"/>
                    <a:pt x="754" y="583"/>
                    <a:pt x="754" y="375"/>
                  </a:cubicBezTo>
                  <a:cubicBezTo>
                    <a:pt x="754" y="168"/>
                    <a:pt x="584" y="0"/>
                    <a:pt x="3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7">
              <a:extLst>
                <a:ext uri="{FF2B5EF4-FFF2-40B4-BE49-F238E27FC236}">
                  <a16:creationId xmlns:a16="http://schemas.microsoft.com/office/drawing/2014/main" id="{8F98EAD2-80BE-40FC-AAD0-4E4BB279118A}"/>
                </a:ext>
              </a:extLst>
            </p:cNvPr>
            <p:cNvSpPr>
              <a:spLocks/>
            </p:cNvSpPr>
            <p:nvPr/>
          </p:nvSpPr>
          <p:spPr bwMode="auto">
            <a:xfrm>
              <a:off x="7569200" y="3487738"/>
              <a:ext cx="23813" cy="22225"/>
            </a:xfrm>
            <a:custGeom>
              <a:avLst/>
              <a:gdLst>
                <a:gd name="T0" fmla="*/ 12 w 24"/>
                <a:gd name="T1" fmla="*/ 0 h 24"/>
                <a:gd name="T2" fmla="*/ 12 w 24"/>
                <a:gd name="T3" fmla="*/ 0 h 24"/>
                <a:gd name="T4" fmla="*/ 0 w 24"/>
                <a:gd name="T5" fmla="*/ 12 h 24"/>
                <a:gd name="T6" fmla="*/ 12 w 24"/>
                <a:gd name="T7" fmla="*/ 24 h 24"/>
                <a:gd name="T8" fmla="*/ 24 w 24"/>
                <a:gd name="T9" fmla="*/ 12 h 24"/>
                <a:gd name="T10" fmla="*/ 12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2" y="0"/>
                  </a:moveTo>
                  <a:lnTo>
                    <a:pt x="12" y="0"/>
                  </a:lnTo>
                  <a:cubicBezTo>
                    <a:pt x="6" y="0"/>
                    <a:pt x="0" y="6"/>
                    <a:pt x="0" y="12"/>
                  </a:cubicBezTo>
                  <a:cubicBezTo>
                    <a:pt x="0" y="19"/>
                    <a:pt x="6" y="24"/>
                    <a:pt x="12" y="24"/>
                  </a:cubicBezTo>
                  <a:cubicBezTo>
                    <a:pt x="19" y="24"/>
                    <a:pt x="24" y="19"/>
                    <a:pt x="24" y="12"/>
                  </a:cubicBezTo>
                  <a:cubicBezTo>
                    <a:pt x="24" y="6"/>
                    <a:pt x="19" y="0"/>
                    <a:pt x="1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8">
              <a:extLst>
                <a:ext uri="{FF2B5EF4-FFF2-40B4-BE49-F238E27FC236}">
                  <a16:creationId xmlns:a16="http://schemas.microsoft.com/office/drawing/2014/main" id="{8022696C-5A83-4522-9B43-B4EA0D4A6944}"/>
                </a:ext>
              </a:extLst>
            </p:cNvPr>
            <p:cNvSpPr>
              <a:spLocks noEditPoints="1"/>
            </p:cNvSpPr>
            <p:nvPr/>
          </p:nvSpPr>
          <p:spPr bwMode="auto">
            <a:xfrm>
              <a:off x="7212013" y="3219450"/>
              <a:ext cx="441325" cy="433388"/>
            </a:xfrm>
            <a:custGeom>
              <a:avLst/>
              <a:gdLst>
                <a:gd name="T0" fmla="*/ 437 w 460"/>
                <a:gd name="T1" fmla="*/ 323 h 448"/>
                <a:gd name="T2" fmla="*/ 333 w 460"/>
                <a:gd name="T3" fmla="*/ 324 h 448"/>
                <a:gd name="T4" fmla="*/ 437 w 460"/>
                <a:gd name="T5" fmla="*/ 24 h 448"/>
                <a:gd name="T6" fmla="*/ 437 w 460"/>
                <a:gd name="T7" fmla="*/ 323 h 448"/>
                <a:gd name="T8" fmla="*/ 23 w 460"/>
                <a:gd name="T9" fmla="*/ 324 h 448"/>
                <a:gd name="T10" fmla="*/ 126 w 460"/>
                <a:gd name="T11" fmla="*/ 24 h 448"/>
                <a:gd name="T12" fmla="*/ 124 w 460"/>
                <a:gd name="T13" fmla="*/ 324 h 448"/>
                <a:gd name="T14" fmla="*/ 23 w 460"/>
                <a:gd name="T15" fmla="*/ 324 h 448"/>
                <a:gd name="T16" fmla="*/ 177 w 460"/>
                <a:gd name="T17" fmla="*/ 324 h 448"/>
                <a:gd name="T18" fmla="*/ 280 w 460"/>
                <a:gd name="T19" fmla="*/ 24 h 448"/>
                <a:gd name="T20" fmla="*/ 278 w 460"/>
                <a:gd name="T21" fmla="*/ 324 h 448"/>
                <a:gd name="T22" fmla="*/ 177 w 460"/>
                <a:gd name="T23" fmla="*/ 324 h 448"/>
                <a:gd name="T24" fmla="*/ 435 w 460"/>
                <a:gd name="T25" fmla="*/ 0 h 448"/>
                <a:gd name="T26" fmla="*/ 311 w 460"/>
                <a:gd name="T27" fmla="*/ 24 h 448"/>
                <a:gd name="T28" fmla="*/ 336 w 460"/>
                <a:gd name="T29" fmla="*/ 347 h 448"/>
                <a:gd name="T30" fmla="*/ 380 w 460"/>
                <a:gd name="T31" fmla="*/ 403 h 448"/>
                <a:gd name="T32" fmla="*/ 241 w 460"/>
                <a:gd name="T33" fmla="*/ 378 h 448"/>
                <a:gd name="T34" fmla="*/ 278 w 460"/>
                <a:gd name="T35" fmla="*/ 347 h 448"/>
                <a:gd name="T36" fmla="*/ 303 w 460"/>
                <a:gd name="T37" fmla="*/ 24 h 448"/>
                <a:gd name="T38" fmla="*/ 179 w 460"/>
                <a:gd name="T39" fmla="*/ 0 h 448"/>
                <a:gd name="T40" fmla="*/ 154 w 460"/>
                <a:gd name="T41" fmla="*/ 324 h 448"/>
                <a:gd name="T42" fmla="*/ 217 w 460"/>
                <a:gd name="T43" fmla="*/ 347 h 448"/>
                <a:gd name="T44" fmla="*/ 194 w 460"/>
                <a:gd name="T45" fmla="*/ 403 h 448"/>
                <a:gd name="T46" fmla="*/ 79 w 460"/>
                <a:gd name="T47" fmla="*/ 401 h 448"/>
                <a:gd name="T48" fmla="*/ 124 w 460"/>
                <a:gd name="T49" fmla="*/ 347 h 448"/>
                <a:gd name="T50" fmla="*/ 149 w 460"/>
                <a:gd name="T51" fmla="*/ 24 h 448"/>
                <a:gd name="T52" fmla="*/ 25 w 460"/>
                <a:gd name="T53" fmla="*/ 0 h 448"/>
                <a:gd name="T54" fmla="*/ 0 w 460"/>
                <a:gd name="T55" fmla="*/ 324 h 448"/>
                <a:gd name="T56" fmla="*/ 56 w 460"/>
                <a:gd name="T57" fmla="*/ 347 h 448"/>
                <a:gd name="T58" fmla="*/ 79 w 460"/>
                <a:gd name="T59" fmla="*/ 426 h 448"/>
                <a:gd name="T60" fmla="*/ 229 w 460"/>
                <a:gd name="T61" fmla="*/ 448 h 448"/>
                <a:gd name="T62" fmla="*/ 380 w 460"/>
                <a:gd name="T63" fmla="*/ 426 h 448"/>
                <a:gd name="T64" fmla="*/ 403 w 460"/>
                <a:gd name="T65" fmla="*/ 347 h 448"/>
                <a:gd name="T66" fmla="*/ 460 w 460"/>
                <a:gd name="T67" fmla="*/ 324 h 448"/>
                <a:gd name="T68" fmla="*/ 435 w 460"/>
                <a:gd name="T69"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0" h="448">
                  <a:moveTo>
                    <a:pt x="437" y="323"/>
                  </a:moveTo>
                  <a:lnTo>
                    <a:pt x="437" y="323"/>
                  </a:lnTo>
                  <a:cubicBezTo>
                    <a:pt x="437" y="324"/>
                    <a:pt x="436" y="324"/>
                    <a:pt x="435" y="324"/>
                  </a:cubicBezTo>
                  <a:lnTo>
                    <a:pt x="333" y="324"/>
                  </a:lnTo>
                  <a:lnTo>
                    <a:pt x="333" y="24"/>
                  </a:lnTo>
                  <a:lnTo>
                    <a:pt x="437" y="24"/>
                  </a:lnTo>
                  <a:lnTo>
                    <a:pt x="437" y="323"/>
                  </a:lnTo>
                  <a:lnTo>
                    <a:pt x="437" y="323"/>
                  </a:lnTo>
                  <a:close/>
                  <a:moveTo>
                    <a:pt x="23" y="324"/>
                  </a:moveTo>
                  <a:lnTo>
                    <a:pt x="23" y="324"/>
                  </a:lnTo>
                  <a:lnTo>
                    <a:pt x="23" y="24"/>
                  </a:lnTo>
                  <a:lnTo>
                    <a:pt x="126" y="24"/>
                  </a:lnTo>
                  <a:lnTo>
                    <a:pt x="126" y="323"/>
                  </a:lnTo>
                  <a:cubicBezTo>
                    <a:pt x="126" y="324"/>
                    <a:pt x="125" y="324"/>
                    <a:pt x="124" y="324"/>
                  </a:cubicBezTo>
                  <a:lnTo>
                    <a:pt x="23" y="324"/>
                  </a:lnTo>
                  <a:lnTo>
                    <a:pt x="23" y="324"/>
                  </a:lnTo>
                  <a:close/>
                  <a:moveTo>
                    <a:pt x="177" y="324"/>
                  </a:moveTo>
                  <a:lnTo>
                    <a:pt x="177" y="324"/>
                  </a:lnTo>
                  <a:lnTo>
                    <a:pt x="177" y="24"/>
                  </a:lnTo>
                  <a:lnTo>
                    <a:pt x="280" y="24"/>
                  </a:lnTo>
                  <a:lnTo>
                    <a:pt x="280" y="323"/>
                  </a:lnTo>
                  <a:cubicBezTo>
                    <a:pt x="280" y="324"/>
                    <a:pt x="279" y="324"/>
                    <a:pt x="278" y="324"/>
                  </a:cubicBezTo>
                  <a:lnTo>
                    <a:pt x="177" y="324"/>
                  </a:lnTo>
                  <a:lnTo>
                    <a:pt x="177" y="324"/>
                  </a:lnTo>
                  <a:close/>
                  <a:moveTo>
                    <a:pt x="435" y="0"/>
                  </a:moveTo>
                  <a:lnTo>
                    <a:pt x="435" y="0"/>
                  </a:lnTo>
                  <a:lnTo>
                    <a:pt x="336" y="0"/>
                  </a:lnTo>
                  <a:cubicBezTo>
                    <a:pt x="321" y="0"/>
                    <a:pt x="311" y="10"/>
                    <a:pt x="311" y="24"/>
                  </a:cubicBezTo>
                  <a:lnTo>
                    <a:pt x="311" y="324"/>
                  </a:lnTo>
                  <a:cubicBezTo>
                    <a:pt x="311" y="337"/>
                    <a:pt x="321" y="347"/>
                    <a:pt x="336" y="347"/>
                  </a:cubicBezTo>
                  <a:lnTo>
                    <a:pt x="380" y="347"/>
                  </a:lnTo>
                  <a:lnTo>
                    <a:pt x="380" y="403"/>
                  </a:lnTo>
                  <a:lnTo>
                    <a:pt x="264" y="403"/>
                  </a:lnTo>
                  <a:cubicBezTo>
                    <a:pt x="261" y="391"/>
                    <a:pt x="252" y="382"/>
                    <a:pt x="241" y="378"/>
                  </a:cubicBezTo>
                  <a:lnTo>
                    <a:pt x="241" y="347"/>
                  </a:lnTo>
                  <a:lnTo>
                    <a:pt x="278" y="347"/>
                  </a:lnTo>
                  <a:cubicBezTo>
                    <a:pt x="292" y="347"/>
                    <a:pt x="303" y="337"/>
                    <a:pt x="303" y="324"/>
                  </a:cubicBezTo>
                  <a:lnTo>
                    <a:pt x="303" y="24"/>
                  </a:lnTo>
                  <a:cubicBezTo>
                    <a:pt x="303" y="10"/>
                    <a:pt x="292" y="0"/>
                    <a:pt x="278" y="0"/>
                  </a:cubicBezTo>
                  <a:lnTo>
                    <a:pt x="179" y="0"/>
                  </a:lnTo>
                  <a:cubicBezTo>
                    <a:pt x="165" y="0"/>
                    <a:pt x="154" y="10"/>
                    <a:pt x="154" y="24"/>
                  </a:cubicBezTo>
                  <a:lnTo>
                    <a:pt x="154" y="324"/>
                  </a:lnTo>
                  <a:cubicBezTo>
                    <a:pt x="154" y="337"/>
                    <a:pt x="165" y="347"/>
                    <a:pt x="179" y="347"/>
                  </a:cubicBezTo>
                  <a:lnTo>
                    <a:pt x="217" y="347"/>
                  </a:lnTo>
                  <a:lnTo>
                    <a:pt x="217" y="378"/>
                  </a:lnTo>
                  <a:cubicBezTo>
                    <a:pt x="205" y="382"/>
                    <a:pt x="197" y="391"/>
                    <a:pt x="194" y="403"/>
                  </a:cubicBezTo>
                  <a:lnTo>
                    <a:pt x="80" y="403"/>
                  </a:lnTo>
                  <a:cubicBezTo>
                    <a:pt x="79" y="403"/>
                    <a:pt x="79" y="402"/>
                    <a:pt x="79" y="401"/>
                  </a:cubicBezTo>
                  <a:lnTo>
                    <a:pt x="79" y="347"/>
                  </a:lnTo>
                  <a:lnTo>
                    <a:pt x="124" y="347"/>
                  </a:lnTo>
                  <a:cubicBezTo>
                    <a:pt x="138" y="347"/>
                    <a:pt x="149" y="337"/>
                    <a:pt x="149" y="324"/>
                  </a:cubicBezTo>
                  <a:lnTo>
                    <a:pt x="149" y="24"/>
                  </a:lnTo>
                  <a:cubicBezTo>
                    <a:pt x="149" y="10"/>
                    <a:pt x="138" y="0"/>
                    <a:pt x="124" y="0"/>
                  </a:cubicBezTo>
                  <a:lnTo>
                    <a:pt x="25" y="0"/>
                  </a:lnTo>
                  <a:cubicBezTo>
                    <a:pt x="11" y="0"/>
                    <a:pt x="0" y="10"/>
                    <a:pt x="0" y="24"/>
                  </a:cubicBezTo>
                  <a:lnTo>
                    <a:pt x="0" y="324"/>
                  </a:lnTo>
                  <a:cubicBezTo>
                    <a:pt x="0" y="337"/>
                    <a:pt x="11" y="347"/>
                    <a:pt x="25" y="347"/>
                  </a:cubicBezTo>
                  <a:lnTo>
                    <a:pt x="56" y="347"/>
                  </a:lnTo>
                  <a:lnTo>
                    <a:pt x="56" y="401"/>
                  </a:lnTo>
                  <a:cubicBezTo>
                    <a:pt x="56" y="415"/>
                    <a:pt x="66" y="426"/>
                    <a:pt x="79" y="426"/>
                  </a:cubicBezTo>
                  <a:lnTo>
                    <a:pt x="195" y="426"/>
                  </a:lnTo>
                  <a:cubicBezTo>
                    <a:pt x="201" y="439"/>
                    <a:pt x="214" y="448"/>
                    <a:pt x="229" y="448"/>
                  </a:cubicBezTo>
                  <a:cubicBezTo>
                    <a:pt x="244" y="448"/>
                    <a:pt x="256" y="439"/>
                    <a:pt x="262" y="426"/>
                  </a:cubicBezTo>
                  <a:lnTo>
                    <a:pt x="380" y="426"/>
                  </a:lnTo>
                  <a:cubicBezTo>
                    <a:pt x="393" y="426"/>
                    <a:pt x="403" y="415"/>
                    <a:pt x="403" y="401"/>
                  </a:cubicBezTo>
                  <a:lnTo>
                    <a:pt x="403" y="347"/>
                  </a:lnTo>
                  <a:lnTo>
                    <a:pt x="435" y="347"/>
                  </a:lnTo>
                  <a:cubicBezTo>
                    <a:pt x="449" y="347"/>
                    <a:pt x="460" y="337"/>
                    <a:pt x="460" y="324"/>
                  </a:cubicBezTo>
                  <a:lnTo>
                    <a:pt x="460" y="24"/>
                  </a:lnTo>
                  <a:cubicBezTo>
                    <a:pt x="460" y="10"/>
                    <a:pt x="449" y="0"/>
                    <a:pt x="43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9">
              <a:extLst>
                <a:ext uri="{FF2B5EF4-FFF2-40B4-BE49-F238E27FC236}">
                  <a16:creationId xmlns:a16="http://schemas.microsoft.com/office/drawing/2014/main" id="{FC4A457D-EFEB-42F1-9196-22EDE5644668}"/>
                </a:ext>
              </a:extLst>
            </p:cNvPr>
            <p:cNvSpPr>
              <a:spLocks noEditPoints="1"/>
            </p:cNvSpPr>
            <p:nvPr/>
          </p:nvSpPr>
          <p:spPr bwMode="auto">
            <a:xfrm>
              <a:off x="7542213" y="3251200"/>
              <a:ext cx="77788" cy="214313"/>
            </a:xfrm>
            <a:custGeom>
              <a:avLst/>
              <a:gdLst>
                <a:gd name="T0" fmla="*/ 23 w 80"/>
                <a:gd name="T1" fmla="*/ 24 h 221"/>
                <a:gd name="T2" fmla="*/ 23 w 80"/>
                <a:gd name="T3" fmla="*/ 24 h 221"/>
                <a:gd name="T4" fmla="*/ 57 w 80"/>
                <a:gd name="T5" fmla="*/ 24 h 221"/>
                <a:gd name="T6" fmla="*/ 57 w 80"/>
                <a:gd name="T7" fmla="*/ 198 h 221"/>
                <a:gd name="T8" fmla="*/ 23 w 80"/>
                <a:gd name="T9" fmla="*/ 198 h 221"/>
                <a:gd name="T10" fmla="*/ 23 w 80"/>
                <a:gd name="T11" fmla="*/ 24 h 221"/>
                <a:gd name="T12" fmla="*/ 68 w 80"/>
                <a:gd name="T13" fmla="*/ 0 h 221"/>
                <a:gd name="T14" fmla="*/ 68 w 80"/>
                <a:gd name="T15" fmla="*/ 0 h 221"/>
                <a:gd name="T16" fmla="*/ 12 w 80"/>
                <a:gd name="T17" fmla="*/ 0 h 221"/>
                <a:gd name="T18" fmla="*/ 0 w 80"/>
                <a:gd name="T19" fmla="*/ 12 h 221"/>
                <a:gd name="T20" fmla="*/ 0 w 80"/>
                <a:gd name="T21" fmla="*/ 209 h 221"/>
                <a:gd name="T22" fmla="*/ 12 w 80"/>
                <a:gd name="T23" fmla="*/ 221 h 221"/>
                <a:gd name="T24" fmla="*/ 68 w 80"/>
                <a:gd name="T25" fmla="*/ 221 h 221"/>
                <a:gd name="T26" fmla="*/ 80 w 80"/>
                <a:gd name="T27" fmla="*/ 209 h 221"/>
                <a:gd name="T28" fmla="*/ 80 w 80"/>
                <a:gd name="T29" fmla="*/ 12 h 221"/>
                <a:gd name="T30" fmla="*/ 68 w 80"/>
                <a:gd name="T3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221">
                  <a:moveTo>
                    <a:pt x="23" y="24"/>
                  </a:moveTo>
                  <a:lnTo>
                    <a:pt x="23" y="24"/>
                  </a:lnTo>
                  <a:lnTo>
                    <a:pt x="57" y="24"/>
                  </a:lnTo>
                  <a:lnTo>
                    <a:pt x="57" y="198"/>
                  </a:lnTo>
                  <a:lnTo>
                    <a:pt x="23" y="198"/>
                  </a:lnTo>
                  <a:lnTo>
                    <a:pt x="23" y="24"/>
                  </a:lnTo>
                  <a:close/>
                  <a:moveTo>
                    <a:pt x="68" y="0"/>
                  </a:moveTo>
                  <a:lnTo>
                    <a:pt x="68" y="0"/>
                  </a:lnTo>
                  <a:lnTo>
                    <a:pt x="12" y="0"/>
                  </a:lnTo>
                  <a:cubicBezTo>
                    <a:pt x="6" y="0"/>
                    <a:pt x="0" y="6"/>
                    <a:pt x="0" y="12"/>
                  </a:cubicBezTo>
                  <a:lnTo>
                    <a:pt x="0" y="209"/>
                  </a:lnTo>
                  <a:cubicBezTo>
                    <a:pt x="0" y="215"/>
                    <a:pt x="6" y="221"/>
                    <a:pt x="12" y="221"/>
                  </a:cubicBezTo>
                  <a:lnTo>
                    <a:pt x="68" y="221"/>
                  </a:lnTo>
                  <a:cubicBezTo>
                    <a:pt x="74" y="221"/>
                    <a:pt x="80" y="215"/>
                    <a:pt x="80" y="209"/>
                  </a:cubicBezTo>
                  <a:lnTo>
                    <a:pt x="80" y="12"/>
                  </a:lnTo>
                  <a:cubicBezTo>
                    <a:pt x="80" y="6"/>
                    <a:pt x="74" y="0"/>
                    <a:pt x="6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20">
              <a:extLst>
                <a:ext uri="{FF2B5EF4-FFF2-40B4-BE49-F238E27FC236}">
                  <a16:creationId xmlns:a16="http://schemas.microsoft.com/office/drawing/2014/main" id="{8EB2F0C2-7613-4815-A659-44640C959378}"/>
                </a:ext>
              </a:extLst>
            </p:cNvPr>
            <p:cNvSpPr>
              <a:spLocks/>
            </p:cNvSpPr>
            <p:nvPr/>
          </p:nvSpPr>
          <p:spPr bwMode="auto">
            <a:xfrm>
              <a:off x="7272338" y="3487738"/>
              <a:ext cx="22225" cy="22225"/>
            </a:xfrm>
            <a:custGeom>
              <a:avLst/>
              <a:gdLst>
                <a:gd name="T0" fmla="*/ 12 w 24"/>
                <a:gd name="T1" fmla="*/ 0 h 24"/>
                <a:gd name="T2" fmla="*/ 12 w 24"/>
                <a:gd name="T3" fmla="*/ 0 h 24"/>
                <a:gd name="T4" fmla="*/ 0 w 24"/>
                <a:gd name="T5" fmla="*/ 12 h 24"/>
                <a:gd name="T6" fmla="*/ 12 w 24"/>
                <a:gd name="T7" fmla="*/ 24 h 24"/>
                <a:gd name="T8" fmla="*/ 24 w 24"/>
                <a:gd name="T9" fmla="*/ 12 h 24"/>
                <a:gd name="T10" fmla="*/ 12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2" y="0"/>
                  </a:moveTo>
                  <a:lnTo>
                    <a:pt x="12" y="0"/>
                  </a:lnTo>
                  <a:cubicBezTo>
                    <a:pt x="6" y="0"/>
                    <a:pt x="0" y="6"/>
                    <a:pt x="0" y="12"/>
                  </a:cubicBezTo>
                  <a:cubicBezTo>
                    <a:pt x="0" y="19"/>
                    <a:pt x="6" y="24"/>
                    <a:pt x="12" y="24"/>
                  </a:cubicBezTo>
                  <a:cubicBezTo>
                    <a:pt x="19" y="24"/>
                    <a:pt x="24" y="19"/>
                    <a:pt x="24" y="12"/>
                  </a:cubicBezTo>
                  <a:cubicBezTo>
                    <a:pt x="24" y="6"/>
                    <a:pt x="19" y="0"/>
                    <a:pt x="1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21">
              <a:extLst>
                <a:ext uri="{FF2B5EF4-FFF2-40B4-BE49-F238E27FC236}">
                  <a16:creationId xmlns:a16="http://schemas.microsoft.com/office/drawing/2014/main" id="{0EA2A195-E0FD-455D-8B07-6733AB74CEFA}"/>
                </a:ext>
              </a:extLst>
            </p:cNvPr>
            <p:cNvSpPr>
              <a:spLocks noEditPoints="1"/>
            </p:cNvSpPr>
            <p:nvPr/>
          </p:nvSpPr>
          <p:spPr bwMode="auto">
            <a:xfrm>
              <a:off x="7246938" y="3251200"/>
              <a:ext cx="74613" cy="214313"/>
            </a:xfrm>
            <a:custGeom>
              <a:avLst/>
              <a:gdLst>
                <a:gd name="T0" fmla="*/ 22 w 79"/>
                <a:gd name="T1" fmla="*/ 24 h 221"/>
                <a:gd name="T2" fmla="*/ 22 w 79"/>
                <a:gd name="T3" fmla="*/ 24 h 221"/>
                <a:gd name="T4" fmla="*/ 56 w 79"/>
                <a:gd name="T5" fmla="*/ 24 h 221"/>
                <a:gd name="T6" fmla="*/ 56 w 79"/>
                <a:gd name="T7" fmla="*/ 198 h 221"/>
                <a:gd name="T8" fmla="*/ 22 w 79"/>
                <a:gd name="T9" fmla="*/ 198 h 221"/>
                <a:gd name="T10" fmla="*/ 22 w 79"/>
                <a:gd name="T11" fmla="*/ 24 h 221"/>
                <a:gd name="T12" fmla="*/ 67 w 79"/>
                <a:gd name="T13" fmla="*/ 0 h 221"/>
                <a:gd name="T14" fmla="*/ 67 w 79"/>
                <a:gd name="T15" fmla="*/ 0 h 221"/>
                <a:gd name="T16" fmla="*/ 12 w 79"/>
                <a:gd name="T17" fmla="*/ 0 h 221"/>
                <a:gd name="T18" fmla="*/ 0 w 79"/>
                <a:gd name="T19" fmla="*/ 12 h 221"/>
                <a:gd name="T20" fmla="*/ 0 w 79"/>
                <a:gd name="T21" fmla="*/ 209 h 221"/>
                <a:gd name="T22" fmla="*/ 12 w 79"/>
                <a:gd name="T23" fmla="*/ 221 h 221"/>
                <a:gd name="T24" fmla="*/ 67 w 79"/>
                <a:gd name="T25" fmla="*/ 221 h 221"/>
                <a:gd name="T26" fmla="*/ 79 w 79"/>
                <a:gd name="T27" fmla="*/ 209 h 221"/>
                <a:gd name="T28" fmla="*/ 79 w 79"/>
                <a:gd name="T29" fmla="*/ 12 h 221"/>
                <a:gd name="T30" fmla="*/ 67 w 79"/>
                <a:gd name="T3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9" h="221">
                  <a:moveTo>
                    <a:pt x="22" y="24"/>
                  </a:moveTo>
                  <a:lnTo>
                    <a:pt x="22" y="24"/>
                  </a:lnTo>
                  <a:lnTo>
                    <a:pt x="56" y="24"/>
                  </a:lnTo>
                  <a:lnTo>
                    <a:pt x="56" y="198"/>
                  </a:lnTo>
                  <a:lnTo>
                    <a:pt x="22" y="198"/>
                  </a:lnTo>
                  <a:lnTo>
                    <a:pt x="22" y="24"/>
                  </a:lnTo>
                  <a:close/>
                  <a:moveTo>
                    <a:pt x="67" y="0"/>
                  </a:moveTo>
                  <a:lnTo>
                    <a:pt x="67" y="0"/>
                  </a:lnTo>
                  <a:lnTo>
                    <a:pt x="12" y="0"/>
                  </a:lnTo>
                  <a:cubicBezTo>
                    <a:pt x="5" y="0"/>
                    <a:pt x="0" y="6"/>
                    <a:pt x="0" y="12"/>
                  </a:cubicBezTo>
                  <a:lnTo>
                    <a:pt x="0" y="209"/>
                  </a:lnTo>
                  <a:cubicBezTo>
                    <a:pt x="0" y="215"/>
                    <a:pt x="5" y="221"/>
                    <a:pt x="12" y="221"/>
                  </a:cubicBezTo>
                  <a:lnTo>
                    <a:pt x="67" y="221"/>
                  </a:lnTo>
                  <a:cubicBezTo>
                    <a:pt x="74" y="221"/>
                    <a:pt x="79" y="215"/>
                    <a:pt x="79" y="209"/>
                  </a:cubicBezTo>
                  <a:lnTo>
                    <a:pt x="79" y="12"/>
                  </a:lnTo>
                  <a:cubicBezTo>
                    <a:pt x="79" y="6"/>
                    <a:pt x="74" y="0"/>
                    <a:pt x="6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22">
              <a:extLst>
                <a:ext uri="{FF2B5EF4-FFF2-40B4-BE49-F238E27FC236}">
                  <a16:creationId xmlns:a16="http://schemas.microsoft.com/office/drawing/2014/main" id="{B9F9AD85-6DDB-4006-BF83-E9F1849BCF4D}"/>
                </a:ext>
              </a:extLst>
            </p:cNvPr>
            <p:cNvSpPr>
              <a:spLocks noEditPoints="1"/>
            </p:cNvSpPr>
            <p:nvPr/>
          </p:nvSpPr>
          <p:spPr bwMode="auto">
            <a:xfrm>
              <a:off x="7392988" y="3251200"/>
              <a:ext cx="76200" cy="214313"/>
            </a:xfrm>
            <a:custGeom>
              <a:avLst/>
              <a:gdLst>
                <a:gd name="T0" fmla="*/ 23 w 79"/>
                <a:gd name="T1" fmla="*/ 24 h 221"/>
                <a:gd name="T2" fmla="*/ 23 w 79"/>
                <a:gd name="T3" fmla="*/ 24 h 221"/>
                <a:gd name="T4" fmla="*/ 57 w 79"/>
                <a:gd name="T5" fmla="*/ 24 h 221"/>
                <a:gd name="T6" fmla="*/ 57 w 79"/>
                <a:gd name="T7" fmla="*/ 198 h 221"/>
                <a:gd name="T8" fmla="*/ 23 w 79"/>
                <a:gd name="T9" fmla="*/ 198 h 221"/>
                <a:gd name="T10" fmla="*/ 23 w 79"/>
                <a:gd name="T11" fmla="*/ 24 h 221"/>
                <a:gd name="T12" fmla="*/ 67 w 79"/>
                <a:gd name="T13" fmla="*/ 0 h 221"/>
                <a:gd name="T14" fmla="*/ 67 w 79"/>
                <a:gd name="T15" fmla="*/ 0 h 221"/>
                <a:gd name="T16" fmla="*/ 12 w 79"/>
                <a:gd name="T17" fmla="*/ 0 h 221"/>
                <a:gd name="T18" fmla="*/ 0 w 79"/>
                <a:gd name="T19" fmla="*/ 12 h 221"/>
                <a:gd name="T20" fmla="*/ 0 w 79"/>
                <a:gd name="T21" fmla="*/ 209 h 221"/>
                <a:gd name="T22" fmla="*/ 12 w 79"/>
                <a:gd name="T23" fmla="*/ 221 h 221"/>
                <a:gd name="T24" fmla="*/ 67 w 79"/>
                <a:gd name="T25" fmla="*/ 221 h 221"/>
                <a:gd name="T26" fmla="*/ 79 w 79"/>
                <a:gd name="T27" fmla="*/ 209 h 221"/>
                <a:gd name="T28" fmla="*/ 79 w 79"/>
                <a:gd name="T29" fmla="*/ 12 h 221"/>
                <a:gd name="T30" fmla="*/ 67 w 79"/>
                <a:gd name="T3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9" h="221">
                  <a:moveTo>
                    <a:pt x="23" y="24"/>
                  </a:moveTo>
                  <a:lnTo>
                    <a:pt x="23" y="24"/>
                  </a:lnTo>
                  <a:lnTo>
                    <a:pt x="57" y="24"/>
                  </a:lnTo>
                  <a:lnTo>
                    <a:pt x="57" y="198"/>
                  </a:lnTo>
                  <a:lnTo>
                    <a:pt x="23" y="198"/>
                  </a:lnTo>
                  <a:lnTo>
                    <a:pt x="23" y="24"/>
                  </a:lnTo>
                  <a:close/>
                  <a:moveTo>
                    <a:pt x="67" y="0"/>
                  </a:moveTo>
                  <a:lnTo>
                    <a:pt x="67" y="0"/>
                  </a:lnTo>
                  <a:lnTo>
                    <a:pt x="12" y="0"/>
                  </a:lnTo>
                  <a:cubicBezTo>
                    <a:pt x="5" y="0"/>
                    <a:pt x="0" y="6"/>
                    <a:pt x="0" y="12"/>
                  </a:cubicBezTo>
                  <a:lnTo>
                    <a:pt x="0" y="209"/>
                  </a:lnTo>
                  <a:cubicBezTo>
                    <a:pt x="0" y="215"/>
                    <a:pt x="5" y="221"/>
                    <a:pt x="12" y="221"/>
                  </a:cubicBezTo>
                  <a:lnTo>
                    <a:pt x="67" y="221"/>
                  </a:lnTo>
                  <a:cubicBezTo>
                    <a:pt x="74" y="221"/>
                    <a:pt x="79" y="215"/>
                    <a:pt x="79" y="209"/>
                  </a:cubicBezTo>
                  <a:lnTo>
                    <a:pt x="79" y="12"/>
                  </a:lnTo>
                  <a:cubicBezTo>
                    <a:pt x="79" y="6"/>
                    <a:pt x="74" y="0"/>
                    <a:pt x="6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23">
              <a:extLst>
                <a:ext uri="{FF2B5EF4-FFF2-40B4-BE49-F238E27FC236}">
                  <a16:creationId xmlns:a16="http://schemas.microsoft.com/office/drawing/2014/main" id="{D144459D-2317-4C15-B605-0C8700050CAF}"/>
                </a:ext>
              </a:extLst>
            </p:cNvPr>
            <p:cNvSpPr>
              <a:spLocks/>
            </p:cNvSpPr>
            <p:nvPr/>
          </p:nvSpPr>
          <p:spPr bwMode="auto">
            <a:xfrm>
              <a:off x="7419975" y="3487738"/>
              <a:ext cx="23813" cy="22225"/>
            </a:xfrm>
            <a:custGeom>
              <a:avLst/>
              <a:gdLst>
                <a:gd name="T0" fmla="*/ 12 w 24"/>
                <a:gd name="T1" fmla="*/ 0 h 24"/>
                <a:gd name="T2" fmla="*/ 12 w 24"/>
                <a:gd name="T3" fmla="*/ 0 h 24"/>
                <a:gd name="T4" fmla="*/ 0 w 24"/>
                <a:gd name="T5" fmla="*/ 12 h 24"/>
                <a:gd name="T6" fmla="*/ 12 w 24"/>
                <a:gd name="T7" fmla="*/ 24 h 24"/>
                <a:gd name="T8" fmla="*/ 24 w 24"/>
                <a:gd name="T9" fmla="*/ 12 h 24"/>
                <a:gd name="T10" fmla="*/ 12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2" y="0"/>
                  </a:moveTo>
                  <a:lnTo>
                    <a:pt x="12" y="0"/>
                  </a:lnTo>
                  <a:cubicBezTo>
                    <a:pt x="5" y="0"/>
                    <a:pt x="0" y="6"/>
                    <a:pt x="0" y="12"/>
                  </a:cubicBezTo>
                  <a:cubicBezTo>
                    <a:pt x="0" y="19"/>
                    <a:pt x="5" y="24"/>
                    <a:pt x="12" y="24"/>
                  </a:cubicBezTo>
                  <a:cubicBezTo>
                    <a:pt x="18" y="24"/>
                    <a:pt x="24" y="19"/>
                    <a:pt x="24" y="12"/>
                  </a:cubicBezTo>
                  <a:cubicBezTo>
                    <a:pt x="24" y="6"/>
                    <a:pt x="18" y="0"/>
                    <a:pt x="1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69" name="Group 268">
            <a:extLst>
              <a:ext uri="{FF2B5EF4-FFF2-40B4-BE49-F238E27FC236}">
                <a16:creationId xmlns:a16="http://schemas.microsoft.com/office/drawing/2014/main" id="{0AF44F79-AA59-4C04-B84C-0ED2DD39203B}"/>
              </a:ext>
            </a:extLst>
          </p:cNvPr>
          <p:cNvGrpSpPr/>
          <p:nvPr/>
        </p:nvGrpSpPr>
        <p:grpSpPr>
          <a:xfrm>
            <a:off x="7672017" y="2530057"/>
            <a:ext cx="365760" cy="365760"/>
            <a:chOff x="6189663" y="3068638"/>
            <a:chExt cx="722313" cy="727075"/>
          </a:xfrm>
          <a:solidFill>
            <a:schemeClr val="bg2"/>
          </a:solidFill>
        </p:grpSpPr>
        <p:sp>
          <p:nvSpPr>
            <p:cNvPr id="270" name="Freeform 24">
              <a:extLst>
                <a:ext uri="{FF2B5EF4-FFF2-40B4-BE49-F238E27FC236}">
                  <a16:creationId xmlns:a16="http://schemas.microsoft.com/office/drawing/2014/main" id="{D5D04531-A9C9-43CA-8515-629F51B3F605}"/>
                </a:ext>
              </a:extLst>
            </p:cNvPr>
            <p:cNvSpPr>
              <a:spLocks/>
            </p:cNvSpPr>
            <p:nvPr/>
          </p:nvSpPr>
          <p:spPr bwMode="auto">
            <a:xfrm>
              <a:off x="6534150" y="3275013"/>
              <a:ext cx="31750" cy="168275"/>
            </a:xfrm>
            <a:custGeom>
              <a:avLst/>
              <a:gdLst>
                <a:gd name="T0" fmla="*/ 0 w 34"/>
                <a:gd name="T1" fmla="*/ 0 h 174"/>
                <a:gd name="T2" fmla="*/ 0 w 34"/>
                <a:gd name="T3" fmla="*/ 0 h 174"/>
                <a:gd name="T4" fmla="*/ 34 w 34"/>
                <a:gd name="T5" fmla="*/ 0 h 174"/>
                <a:gd name="T6" fmla="*/ 34 w 34"/>
                <a:gd name="T7" fmla="*/ 174 h 174"/>
                <a:gd name="T8" fmla="*/ 0 w 34"/>
                <a:gd name="T9" fmla="*/ 174 h 174"/>
                <a:gd name="T10" fmla="*/ 0 w 34"/>
                <a:gd name="T11" fmla="*/ 0 h 174"/>
              </a:gdLst>
              <a:ahLst/>
              <a:cxnLst>
                <a:cxn ang="0">
                  <a:pos x="T0" y="T1"/>
                </a:cxn>
                <a:cxn ang="0">
                  <a:pos x="T2" y="T3"/>
                </a:cxn>
                <a:cxn ang="0">
                  <a:pos x="T4" y="T5"/>
                </a:cxn>
                <a:cxn ang="0">
                  <a:pos x="T6" y="T7"/>
                </a:cxn>
                <a:cxn ang="0">
                  <a:pos x="T8" y="T9"/>
                </a:cxn>
                <a:cxn ang="0">
                  <a:pos x="T10" y="T11"/>
                </a:cxn>
              </a:cxnLst>
              <a:rect l="0" t="0" r="r" b="b"/>
              <a:pathLst>
                <a:path w="34" h="174">
                  <a:moveTo>
                    <a:pt x="0" y="0"/>
                  </a:moveTo>
                  <a:lnTo>
                    <a:pt x="0" y="0"/>
                  </a:lnTo>
                  <a:lnTo>
                    <a:pt x="34" y="0"/>
                  </a:lnTo>
                  <a:lnTo>
                    <a:pt x="34"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25">
              <a:extLst>
                <a:ext uri="{FF2B5EF4-FFF2-40B4-BE49-F238E27FC236}">
                  <a16:creationId xmlns:a16="http://schemas.microsoft.com/office/drawing/2014/main" id="{4DCA7666-8421-4D7D-A0F7-6367B9000253}"/>
                </a:ext>
              </a:extLst>
            </p:cNvPr>
            <p:cNvSpPr>
              <a:spLocks/>
            </p:cNvSpPr>
            <p:nvPr/>
          </p:nvSpPr>
          <p:spPr bwMode="auto">
            <a:xfrm>
              <a:off x="6386513" y="3275013"/>
              <a:ext cx="31750" cy="168275"/>
            </a:xfrm>
            <a:custGeom>
              <a:avLst/>
              <a:gdLst>
                <a:gd name="T0" fmla="*/ 0 w 34"/>
                <a:gd name="T1" fmla="*/ 0 h 174"/>
                <a:gd name="T2" fmla="*/ 0 w 34"/>
                <a:gd name="T3" fmla="*/ 0 h 174"/>
                <a:gd name="T4" fmla="*/ 34 w 34"/>
                <a:gd name="T5" fmla="*/ 0 h 174"/>
                <a:gd name="T6" fmla="*/ 34 w 34"/>
                <a:gd name="T7" fmla="*/ 174 h 174"/>
                <a:gd name="T8" fmla="*/ 0 w 34"/>
                <a:gd name="T9" fmla="*/ 174 h 174"/>
                <a:gd name="T10" fmla="*/ 0 w 34"/>
                <a:gd name="T11" fmla="*/ 0 h 174"/>
              </a:gdLst>
              <a:ahLst/>
              <a:cxnLst>
                <a:cxn ang="0">
                  <a:pos x="T0" y="T1"/>
                </a:cxn>
                <a:cxn ang="0">
                  <a:pos x="T2" y="T3"/>
                </a:cxn>
                <a:cxn ang="0">
                  <a:pos x="T4" y="T5"/>
                </a:cxn>
                <a:cxn ang="0">
                  <a:pos x="T6" y="T7"/>
                </a:cxn>
                <a:cxn ang="0">
                  <a:pos x="T8" y="T9"/>
                </a:cxn>
                <a:cxn ang="0">
                  <a:pos x="T10" y="T11"/>
                </a:cxn>
              </a:cxnLst>
              <a:rect l="0" t="0" r="r" b="b"/>
              <a:pathLst>
                <a:path w="34" h="174">
                  <a:moveTo>
                    <a:pt x="0" y="0"/>
                  </a:moveTo>
                  <a:lnTo>
                    <a:pt x="0" y="0"/>
                  </a:lnTo>
                  <a:lnTo>
                    <a:pt x="34" y="0"/>
                  </a:lnTo>
                  <a:lnTo>
                    <a:pt x="34"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26">
              <a:extLst>
                <a:ext uri="{FF2B5EF4-FFF2-40B4-BE49-F238E27FC236}">
                  <a16:creationId xmlns:a16="http://schemas.microsoft.com/office/drawing/2014/main" id="{A3666ED9-10E6-45A3-9E59-C8A9172B296B}"/>
                </a:ext>
              </a:extLst>
            </p:cNvPr>
            <p:cNvSpPr>
              <a:spLocks noEditPoints="1"/>
            </p:cNvSpPr>
            <p:nvPr/>
          </p:nvSpPr>
          <p:spPr bwMode="auto">
            <a:xfrm>
              <a:off x="6353175" y="3241675"/>
              <a:ext cx="98425" cy="290513"/>
            </a:xfrm>
            <a:custGeom>
              <a:avLst/>
              <a:gdLst>
                <a:gd name="T0" fmla="*/ 103 w 103"/>
                <a:gd name="T1" fmla="*/ 299 h 300"/>
                <a:gd name="T2" fmla="*/ 103 w 103"/>
                <a:gd name="T3" fmla="*/ 299 h 300"/>
                <a:gd name="T4" fmla="*/ 103 w 103"/>
                <a:gd name="T5" fmla="*/ 0 h 300"/>
                <a:gd name="T6" fmla="*/ 0 w 103"/>
                <a:gd name="T7" fmla="*/ 0 h 300"/>
                <a:gd name="T8" fmla="*/ 0 w 103"/>
                <a:gd name="T9" fmla="*/ 300 h 300"/>
                <a:gd name="T10" fmla="*/ 101 w 103"/>
                <a:gd name="T11" fmla="*/ 300 h 300"/>
                <a:gd name="T12" fmla="*/ 103 w 103"/>
                <a:gd name="T13" fmla="*/ 299 h 300"/>
                <a:gd name="T14" fmla="*/ 52 w 103"/>
                <a:gd name="T15" fmla="*/ 277 h 300"/>
                <a:gd name="T16" fmla="*/ 52 w 103"/>
                <a:gd name="T17" fmla="*/ 277 h 300"/>
                <a:gd name="T18" fmla="*/ 40 w 103"/>
                <a:gd name="T19" fmla="*/ 265 h 300"/>
                <a:gd name="T20" fmla="*/ 52 w 103"/>
                <a:gd name="T21" fmla="*/ 253 h 300"/>
                <a:gd name="T22" fmla="*/ 64 w 103"/>
                <a:gd name="T23" fmla="*/ 265 h 300"/>
                <a:gd name="T24" fmla="*/ 52 w 103"/>
                <a:gd name="T25" fmla="*/ 277 h 300"/>
                <a:gd name="T26" fmla="*/ 91 w 103"/>
                <a:gd name="T27" fmla="*/ 219 h 300"/>
                <a:gd name="T28" fmla="*/ 91 w 103"/>
                <a:gd name="T29" fmla="*/ 219 h 300"/>
                <a:gd name="T30" fmla="*/ 79 w 103"/>
                <a:gd name="T31" fmla="*/ 231 h 300"/>
                <a:gd name="T32" fmla="*/ 24 w 103"/>
                <a:gd name="T33" fmla="*/ 231 h 300"/>
                <a:gd name="T34" fmla="*/ 12 w 103"/>
                <a:gd name="T35" fmla="*/ 219 h 300"/>
                <a:gd name="T36" fmla="*/ 12 w 103"/>
                <a:gd name="T37" fmla="*/ 22 h 300"/>
                <a:gd name="T38" fmla="*/ 24 w 103"/>
                <a:gd name="T39" fmla="*/ 10 h 300"/>
                <a:gd name="T40" fmla="*/ 79 w 103"/>
                <a:gd name="T41" fmla="*/ 10 h 300"/>
                <a:gd name="T42" fmla="*/ 91 w 103"/>
                <a:gd name="T43" fmla="*/ 22 h 300"/>
                <a:gd name="T44" fmla="*/ 91 w 103"/>
                <a:gd name="T45" fmla="*/ 21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3" h="300">
                  <a:moveTo>
                    <a:pt x="103" y="299"/>
                  </a:moveTo>
                  <a:lnTo>
                    <a:pt x="103" y="299"/>
                  </a:lnTo>
                  <a:lnTo>
                    <a:pt x="103" y="0"/>
                  </a:lnTo>
                  <a:lnTo>
                    <a:pt x="0" y="0"/>
                  </a:lnTo>
                  <a:lnTo>
                    <a:pt x="0" y="300"/>
                  </a:lnTo>
                  <a:lnTo>
                    <a:pt x="101" y="300"/>
                  </a:lnTo>
                  <a:cubicBezTo>
                    <a:pt x="102" y="300"/>
                    <a:pt x="103" y="300"/>
                    <a:pt x="103" y="299"/>
                  </a:cubicBezTo>
                  <a:close/>
                  <a:moveTo>
                    <a:pt x="52" y="277"/>
                  </a:moveTo>
                  <a:lnTo>
                    <a:pt x="52" y="277"/>
                  </a:lnTo>
                  <a:cubicBezTo>
                    <a:pt x="45" y="277"/>
                    <a:pt x="40" y="272"/>
                    <a:pt x="40" y="265"/>
                  </a:cubicBezTo>
                  <a:cubicBezTo>
                    <a:pt x="40" y="259"/>
                    <a:pt x="45" y="253"/>
                    <a:pt x="52" y="253"/>
                  </a:cubicBezTo>
                  <a:cubicBezTo>
                    <a:pt x="58" y="253"/>
                    <a:pt x="64" y="259"/>
                    <a:pt x="64" y="265"/>
                  </a:cubicBezTo>
                  <a:cubicBezTo>
                    <a:pt x="64" y="272"/>
                    <a:pt x="58" y="277"/>
                    <a:pt x="52" y="277"/>
                  </a:cubicBezTo>
                  <a:close/>
                  <a:moveTo>
                    <a:pt x="91" y="219"/>
                  </a:moveTo>
                  <a:lnTo>
                    <a:pt x="91" y="219"/>
                  </a:lnTo>
                  <a:cubicBezTo>
                    <a:pt x="91" y="225"/>
                    <a:pt x="86" y="231"/>
                    <a:pt x="79" y="231"/>
                  </a:cubicBezTo>
                  <a:lnTo>
                    <a:pt x="24" y="231"/>
                  </a:lnTo>
                  <a:cubicBezTo>
                    <a:pt x="17" y="231"/>
                    <a:pt x="12" y="225"/>
                    <a:pt x="12" y="219"/>
                  </a:cubicBezTo>
                  <a:lnTo>
                    <a:pt x="12" y="22"/>
                  </a:lnTo>
                  <a:cubicBezTo>
                    <a:pt x="12" y="16"/>
                    <a:pt x="17" y="10"/>
                    <a:pt x="24" y="10"/>
                  </a:cubicBezTo>
                  <a:lnTo>
                    <a:pt x="79" y="10"/>
                  </a:lnTo>
                  <a:cubicBezTo>
                    <a:pt x="86" y="10"/>
                    <a:pt x="91" y="16"/>
                    <a:pt x="91" y="22"/>
                  </a:cubicBezTo>
                  <a:lnTo>
                    <a:pt x="91" y="2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27">
              <a:extLst>
                <a:ext uri="{FF2B5EF4-FFF2-40B4-BE49-F238E27FC236}">
                  <a16:creationId xmlns:a16="http://schemas.microsoft.com/office/drawing/2014/main" id="{DDADD1D4-CC9A-472F-86A3-4A3CEB1149D2}"/>
                </a:ext>
              </a:extLst>
            </p:cNvPr>
            <p:cNvSpPr>
              <a:spLocks noEditPoints="1"/>
            </p:cNvSpPr>
            <p:nvPr/>
          </p:nvSpPr>
          <p:spPr bwMode="auto">
            <a:xfrm>
              <a:off x="6499225" y="3241675"/>
              <a:ext cx="100013" cy="290513"/>
            </a:xfrm>
            <a:custGeom>
              <a:avLst/>
              <a:gdLst>
                <a:gd name="T0" fmla="*/ 104 w 104"/>
                <a:gd name="T1" fmla="*/ 299 h 300"/>
                <a:gd name="T2" fmla="*/ 104 w 104"/>
                <a:gd name="T3" fmla="*/ 299 h 300"/>
                <a:gd name="T4" fmla="*/ 104 w 104"/>
                <a:gd name="T5" fmla="*/ 0 h 300"/>
                <a:gd name="T6" fmla="*/ 0 w 104"/>
                <a:gd name="T7" fmla="*/ 0 h 300"/>
                <a:gd name="T8" fmla="*/ 0 w 104"/>
                <a:gd name="T9" fmla="*/ 300 h 300"/>
                <a:gd name="T10" fmla="*/ 102 w 104"/>
                <a:gd name="T11" fmla="*/ 300 h 300"/>
                <a:gd name="T12" fmla="*/ 104 w 104"/>
                <a:gd name="T13" fmla="*/ 299 h 300"/>
                <a:gd name="T14" fmla="*/ 52 w 104"/>
                <a:gd name="T15" fmla="*/ 277 h 300"/>
                <a:gd name="T16" fmla="*/ 52 w 104"/>
                <a:gd name="T17" fmla="*/ 277 h 300"/>
                <a:gd name="T18" fmla="*/ 40 w 104"/>
                <a:gd name="T19" fmla="*/ 265 h 300"/>
                <a:gd name="T20" fmla="*/ 52 w 104"/>
                <a:gd name="T21" fmla="*/ 253 h 300"/>
                <a:gd name="T22" fmla="*/ 64 w 104"/>
                <a:gd name="T23" fmla="*/ 265 h 300"/>
                <a:gd name="T24" fmla="*/ 52 w 104"/>
                <a:gd name="T25" fmla="*/ 277 h 300"/>
                <a:gd name="T26" fmla="*/ 92 w 104"/>
                <a:gd name="T27" fmla="*/ 219 h 300"/>
                <a:gd name="T28" fmla="*/ 92 w 104"/>
                <a:gd name="T29" fmla="*/ 219 h 300"/>
                <a:gd name="T30" fmla="*/ 80 w 104"/>
                <a:gd name="T31" fmla="*/ 231 h 300"/>
                <a:gd name="T32" fmla="*/ 24 w 104"/>
                <a:gd name="T33" fmla="*/ 231 h 300"/>
                <a:gd name="T34" fmla="*/ 12 w 104"/>
                <a:gd name="T35" fmla="*/ 219 h 300"/>
                <a:gd name="T36" fmla="*/ 12 w 104"/>
                <a:gd name="T37" fmla="*/ 22 h 300"/>
                <a:gd name="T38" fmla="*/ 24 w 104"/>
                <a:gd name="T39" fmla="*/ 10 h 300"/>
                <a:gd name="T40" fmla="*/ 80 w 104"/>
                <a:gd name="T41" fmla="*/ 10 h 300"/>
                <a:gd name="T42" fmla="*/ 92 w 104"/>
                <a:gd name="T43" fmla="*/ 22 h 300"/>
                <a:gd name="T44" fmla="*/ 92 w 104"/>
                <a:gd name="T45" fmla="*/ 21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4" h="300">
                  <a:moveTo>
                    <a:pt x="104" y="299"/>
                  </a:moveTo>
                  <a:lnTo>
                    <a:pt x="104" y="299"/>
                  </a:lnTo>
                  <a:lnTo>
                    <a:pt x="104" y="0"/>
                  </a:lnTo>
                  <a:lnTo>
                    <a:pt x="0" y="0"/>
                  </a:lnTo>
                  <a:lnTo>
                    <a:pt x="0" y="300"/>
                  </a:lnTo>
                  <a:lnTo>
                    <a:pt x="102" y="300"/>
                  </a:lnTo>
                  <a:cubicBezTo>
                    <a:pt x="103" y="300"/>
                    <a:pt x="104" y="300"/>
                    <a:pt x="104" y="299"/>
                  </a:cubicBezTo>
                  <a:close/>
                  <a:moveTo>
                    <a:pt x="52" y="277"/>
                  </a:moveTo>
                  <a:lnTo>
                    <a:pt x="52" y="277"/>
                  </a:lnTo>
                  <a:cubicBezTo>
                    <a:pt x="46" y="277"/>
                    <a:pt x="40" y="272"/>
                    <a:pt x="40" y="265"/>
                  </a:cubicBezTo>
                  <a:cubicBezTo>
                    <a:pt x="40" y="259"/>
                    <a:pt x="46" y="253"/>
                    <a:pt x="52" y="253"/>
                  </a:cubicBezTo>
                  <a:cubicBezTo>
                    <a:pt x="59" y="253"/>
                    <a:pt x="64" y="259"/>
                    <a:pt x="64" y="265"/>
                  </a:cubicBezTo>
                  <a:cubicBezTo>
                    <a:pt x="64" y="272"/>
                    <a:pt x="59" y="277"/>
                    <a:pt x="52" y="277"/>
                  </a:cubicBezTo>
                  <a:close/>
                  <a:moveTo>
                    <a:pt x="92" y="219"/>
                  </a:moveTo>
                  <a:lnTo>
                    <a:pt x="92" y="219"/>
                  </a:lnTo>
                  <a:cubicBezTo>
                    <a:pt x="92" y="225"/>
                    <a:pt x="86" y="231"/>
                    <a:pt x="80" y="231"/>
                  </a:cubicBezTo>
                  <a:lnTo>
                    <a:pt x="24" y="231"/>
                  </a:lnTo>
                  <a:cubicBezTo>
                    <a:pt x="18" y="231"/>
                    <a:pt x="12" y="225"/>
                    <a:pt x="12" y="219"/>
                  </a:cubicBezTo>
                  <a:lnTo>
                    <a:pt x="12" y="22"/>
                  </a:lnTo>
                  <a:cubicBezTo>
                    <a:pt x="12" y="16"/>
                    <a:pt x="18" y="10"/>
                    <a:pt x="24" y="10"/>
                  </a:cubicBezTo>
                  <a:lnTo>
                    <a:pt x="80" y="10"/>
                  </a:lnTo>
                  <a:cubicBezTo>
                    <a:pt x="86" y="10"/>
                    <a:pt x="92" y="16"/>
                    <a:pt x="92" y="22"/>
                  </a:cubicBezTo>
                  <a:lnTo>
                    <a:pt x="92" y="2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28">
              <a:extLst>
                <a:ext uri="{FF2B5EF4-FFF2-40B4-BE49-F238E27FC236}">
                  <a16:creationId xmlns:a16="http://schemas.microsoft.com/office/drawing/2014/main" id="{AB606C76-502B-4863-B2A7-3C6DE6AA62B8}"/>
                </a:ext>
              </a:extLst>
            </p:cNvPr>
            <p:cNvSpPr>
              <a:spLocks noEditPoints="1"/>
            </p:cNvSpPr>
            <p:nvPr/>
          </p:nvSpPr>
          <p:spPr bwMode="auto">
            <a:xfrm>
              <a:off x="6650038" y="3241675"/>
              <a:ext cx="98425" cy="290513"/>
            </a:xfrm>
            <a:custGeom>
              <a:avLst/>
              <a:gdLst>
                <a:gd name="T0" fmla="*/ 2 w 103"/>
                <a:gd name="T1" fmla="*/ 0 h 300"/>
                <a:gd name="T2" fmla="*/ 2 w 103"/>
                <a:gd name="T3" fmla="*/ 0 h 300"/>
                <a:gd name="T4" fmla="*/ 0 w 103"/>
                <a:gd name="T5" fmla="*/ 0 h 300"/>
                <a:gd name="T6" fmla="*/ 0 w 103"/>
                <a:gd name="T7" fmla="*/ 300 h 300"/>
                <a:gd name="T8" fmla="*/ 101 w 103"/>
                <a:gd name="T9" fmla="*/ 300 h 300"/>
                <a:gd name="T10" fmla="*/ 103 w 103"/>
                <a:gd name="T11" fmla="*/ 299 h 300"/>
                <a:gd name="T12" fmla="*/ 103 w 103"/>
                <a:gd name="T13" fmla="*/ 0 h 300"/>
                <a:gd name="T14" fmla="*/ 2 w 103"/>
                <a:gd name="T15" fmla="*/ 0 h 300"/>
                <a:gd name="T16" fmla="*/ 2 w 103"/>
                <a:gd name="T17" fmla="*/ 0 h 300"/>
                <a:gd name="T18" fmla="*/ 51 w 103"/>
                <a:gd name="T19" fmla="*/ 277 h 300"/>
                <a:gd name="T20" fmla="*/ 51 w 103"/>
                <a:gd name="T21" fmla="*/ 277 h 300"/>
                <a:gd name="T22" fmla="*/ 40 w 103"/>
                <a:gd name="T23" fmla="*/ 265 h 300"/>
                <a:gd name="T24" fmla="*/ 51 w 103"/>
                <a:gd name="T25" fmla="*/ 254 h 300"/>
                <a:gd name="T26" fmla="*/ 63 w 103"/>
                <a:gd name="T27" fmla="*/ 265 h 300"/>
                <a:gd name="T28" fmla="*/ 51 w 103"/>
                <a:gd name="T29" fmla="*/ 277 h 300"/>
                <a:gd name="T30" fmla="*/ 91 w 103"/>
                <a:gd name="T31" fmla="*/ 219 h 300"/>
                <a:gd name="T32" fmla="*/ 91 w 103"/>
                <a:gd name="T33" fmla="*/ 219 h 300"/>
                <a:gd name="T34" fmla="*/ 79 w 103"/>
                <a:gd name="T35" fmla="*/ 231 h 300"/>
                <a:gd name="T36" fmla="*/ 24 w 103"/>
                <a:gd name="T37" fmla="*/ 231 h 300"/>
                <a:gd name="T38" fmla="*/ 12 w 103"/>
                <a:gd name="T39" fmla="*/ 219 h 300"/>
                <a:gd name="T40" fmla="*/ 12 w 103"/>
                <a:gd name="T41" fmla="*/ 22 h 300"/>
                <a:gd name="T42" fmla="*/ 24 w 103"/>
                <a:gd name="T43" fmla="*/ 10 h 300"/>
                <a:gd name="T44" fmla="*/ 79 w 103"/>
                <a:gd name="T45" fmla="*/ 10 h 300"/>
                <a:gd name="T46" fmla="*/ 91 w 103"/>
                <a:gd name="T47" fmla="*/ 22 h 300"/>
                <a:gd name="T48" fmla="*/ 91 w 103"/>
                <a:gd name="T49" fmla="*/ 21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300">
                  <a:moveTo>
                    <a:pt x="2" y="0"/>
                  </a:moveTo>
                  <a:lnTo>
                    <a:pt x="2" y="0"/>
                  </a:lnTo>
                  <a:lnTo>
                    <a:pt x="0" y="0"/>
                  </a:lnTo>
                  <a:lnTo>
                    <a:pt x="0" y="300"/>
                  </a:lnTo>
                  <a:lnTo>
                    <a:pt x="101" y="300"/>
                  </a:lnTo>
                  <a:cubicBezTo>
                    <a:pt x="102" y="300"/>
                    <a:pt x="103" y="300"/>
                    <a:pt x="103" y="299"/>
                  </a:cubicBezTo>
                  <a:lnTo>
                    <a:pt x="103" y="0"/>
                  </a:lnTo>
                  <a:lnTo>
                    <a:pt x="2" y="0"/>
                  </a:lnTo>
                  <a:lnTo>
                    <a:pt x="2" y="0"/>
                  </a:lnTo>
                  <a:close/>
                  <a:moveTo>
                    <a:pt x="51" y="277"/>
                  </a:moveTo>
                  <a:lnTo>
                    <a:pt x="51" y="277"/>
                  </a:lnTo>
                  <a:cubicBezTo>
                    <a:pt x="45" y="277"/>
                    <a:pt x="40" y="272"/>
                    <a:pt x="40" y="265"/>
                  </a:cubicBezTo>
                  <a:cubicBezTo>
                    <a:pt x="40" y="259"/>
                    <a:pt x="45" y="254"/>
                    <a:pt x="51" y="254"/>
                  </a:cubicBezTo>
                  <a:cubicBezTo>
                    <a:pt x="58" y="254"/>
                    <a:pt x="63" y="259"/>
                    <a:pt x="63" y="265"/>
                  </a:cubicBezTo>
                  <a:cubicBezTo>
                    <a:pt x="63" y="272"/>
                    <a:pt x="58" y="277"/>
                    <a:pt x="51" y="277"/>
                  </a:cubicBezTo>
                  <a:close/>
                  <a:moveTo>
                    <a:pt x="91" y="219"/>
                  </a:moveTo>
                  <a:lnTo>
                    <a:pt x="91" y="219"/>
                  </a:lnTo>
                  <a:cubicBezTo>
                    <a:pt x="91" y="225"/>
                    <a:pt x="86" y="231"/>
                    <a:pt x="79" y="231"/>
                  </a:cubicBezTo>
                  <a:lnTo>
                    <a:pt x="24" y="231"/>
                  </a:lnTo>
                  <a:cubicBezTo>
                    <a:pt x="17" y="231"/>
                    <a:pt x="12" y="225"/>
                    <a:pt x="12" y="219"/>
                  </a:cubicBezTo>
                  <a:lnTo>
                    <a:pt x="12" y="22"/>
                  </a:lnTo>
                  <a:cubicBezTo>
                    <a:pt x="12" y="16"/>
                    <a:pt x="17" y="10"/>
                    <a:pt x="24" y="10"/>
                  </a:cubicBezTo>
                  <a:lnTo>
                    <a:pt x="79" y="10"/>
                  </a:lnTo>
                  <a:cubicBezTo>
                    <a:pt x="86" y="10"/>
                    <a:pt x="91" y="16"/>
                    <a:pt x="91" y="22"/>
                  </a:cubicBezTo>
                  <a:lnTo>
                    <a:pt x="91" y="2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29">
              <a:extLst>
                <a:ext uri="{FF2B5EF4-FFF2-40B4-BE49-F238E27FC236}">
                  <a16:creationId xmlns:a16="http://schemas.microsoft.com/office/drawing/2014/main" id="{A4AD0177-A240-4ED5-A4E1-B6392960768A}"/>
                </a:ext>
              </a:extLst>
            </p:cNvPr>
            <p:cNvSpPr>
              <a:spLocks/>
            </p:cNvSpPr>
            <p:nvPr/>
          </p:nvSpPr>
          <p:spPr bwMode="auto">
            <a:xfrm>
              <a:off x="6683375" y="3275013"/>
              <a:ext cx="31750" cy="168275"/>
            </a:xfrm>
            <a:custGeom>
              <a:avLst/>
              <a:gdLst>
                <a:gd name="T0" fmla="*/ 0 w 33"/>
                <a:gd name="T1" fmla="*/ 0 h 174"/>
                <a:gd name="T2" fmla="*/ 0 w 33"/>
                <a:gd name="T3" fmla="*/ 0 h 174"/>
                <a:gd name="T4" fmla="*/ 33 w 33"/>
                <a:gd name="T5" fmla="*/ 0 h 174"/>
                <a:gd name="T6" fmla="*/ 33 w 33"/>
                <a:gd name="T7" fmla="*/ 174 h 174"/>
                <a:gd name="T8" fmla="*/ 0 w 33"/>
                <a:gd name="T9" fmla="*/ 174 h 174"/>
                <a:gd name="T10" fmla="*/ 0 w 33"/>
                <a:gd name="T11" fmla="*/ 0 h 174"/>
              </a:gdLst>
              <a:ahLst/>
              <a:cxnLst>
                <a:cxn ang="0">
                  <a:pos x="T0" y="T1"/>
                </a:cxn>
                <a:cxn ang="0">
                  <a:pos x="T2" y="T3"/>
                </a:cxn>
                <a:cxn ang="0">
                  <a:pos x="T4" y="T5"/>
                </a:cxn>
                <a:cxn ang="0">
                  <a:pos x="T6" y="T7"/>
                </a:cxn>
                <a:cxn ang="0">
                  <a:pos x="T8" y="T9"/>
                </a:cxn>
                <a:cxn ang="0">
                  <a:pos x="T10" y="T11"/>
                </a:cxn>
              </a:cxnLst>
              <a:rect l="0" t="0" r="r" b="b"/>
              <a:pathLst>
                <a:path w="33" h="174">
                  <a:moveTo>
                    <a:pt x="0" y="0"/>
                  </a:moveTo>
                  <a:lnTo>
                    <a:pt x="0" y="0"/>
                  </a:lnTo>
                  <a:lnTo>
                    <a:pt x="33" y="0"/>
                  </a:lnTo>
                  <a:lnTo>
                    <a:pt x="33" y="174"/>
                  </a:lnTo>
                  <a:lnTo>
                    <a:pt x="0" y="17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30">
              <a:extLst>
                <a:ext uri="{FF2B5EF4-FFF2-40B4-BE49-F238E27FC236}">
                  <a16:creationId xmlns:a16="http://schemas.microsoft.com/office/drawing/2014/main" id="{5B08F44A-B56B-4EBF-841E-264571CDDB95}"/>
                </a:ext>
              </a:extLst>
            </p:cNvPr>
            <p:cNvSpPr>
              <a:spLocks noEditPoints="1"/>
            </p:cNvSpPr>
            <p:nvPr/>
          </p:nvSpPr>
          <p:spPr bwMode="auto">
            <a:xfrm>
              <a:off x="6189663" y="3068638"/>
              <a:ext cx="722313" cy="727075"/>
            </a:xfrm>
            <a:custGeom>
              <a:avLst/>
              <a:gdLst>
                <a:gd name="T0" fmla="*/ 377 w 754"/>
                <a:gd name="T1" fmla="*/ 0 h 751"/>
                <a:gd name="T2" fmla="*/ 377 w 754"/>
                <a:gd name="T3" fmla="*/ 0 h 751"/>
                <a:gd name="T4" fmla="*/ 0 w 754"/>
                <a:gd name="T5" fmla="*/ 375 h 751"/>
                <a:gd name="T6" fmla="*/ 377 w 754"/>
                <a:gd name="T7" fmla="*/ 751 h 751"/>
                <a:gd name="T8" fmla="*/ 754 w 754"/>
                <a:gd name="T9" fmla="*/ 375 h 751"/>
                <a:gd name="T10" fmla="*/ 377 w 754"/>
                <a:gd name="T11" fmla="*/ 0 h 751"/>
                <a:gd name="T12" fmla="*/ 607 w 754"/>
                <a:gd name="T13" fmla="*/ 479 h 751"/>
                <a:gd name="T14" fmla="*/ 607 w 754"/>
                <a:gd name="T15" fmla="*/ 479 h 751"/>
                <a:gd name="T16" fmla="*/ 582 w 754"/>
                <a:gd name="T17" fmla="*/ 502 h 751"/>
                <a:gd name="T18" fmla="*/ 551 w 754"/>
                <a:gd name="T19" fmla="*/ 502 h 751"/>
                <a:gd name="T20" fmla="*/ 551 w 754"/>
                <a:gd name="T21" fmla="*/ 556 h 751"/>
                <a:gd name="T22" fmla="*/ 527 w 754"/>
                <a:gd name="T23" fmla="*/ 581 h 751"/>
                <a:gd name="T24" fmla="*/ 409 w 754"/>
                <a:gd name="T25" fmla="*/ 581 h 751"/>
                <a:gd name="T26" fmla="*/ 376 w 754"/>
                <a:gd name="T27" fmla="*/ 603 h 751"/>
                <a:gd name="T28" fmla="*/ 343 w 754"/>
                <a:gd name="T29" fmla="*/ 581 h 751"/>
                <a:gd name="T30" fmla="*/ 226 w 754"/>
                <a:gd name="T31" fmla="*/ 581 h 751"/>
                <a:gd name="T32" fmla="*/ 203 w 754"/>
                <a:gd name="T33" fmla="*/ 556 h 751"/>
                <a:gd name="T34" fmla="*/ 203 w 754"/>
                <a:gd name="T35" fmla="*/ 502 h 751"/>
                <a:gd name="T36" fmla="*/ 172 w 754"/>
                <a:gd name="T37" fmla="*/ 502 h 751"/>
                <a:gd name="T38" fmla="*/ 147 w 754"/>
                <a:gd name="T39" fmla="*/ 479 h 751"/>
                <a:gd name="T40" fmla="*/ 147 w 754"/>
                <a:gd name="T41" fmla="*/ 179 h 751"/>
                <a:gd name="T42" fmla="*/ 172 w 754"/>
                <a:gd name="T43" fmla="*/ 155 h 751"/>
                <a:gd name="T44" fmla="*/ 271 w 754"/>
                <a:gd name="T45" fmla="*/ 155 h 751"/>
                <a:gd name="T46" fmla="*/ 296 w 754"/>
                <a:gd name="T47" fmla="*/ 179 h 751"/>
                <a:gd name="T48" fmla="*/ 296 w 754"/>
                <a:gd name="T49" fmla="*/ 479 h 751"/>
                <a:gd name="T50" fmla="*/ 271 w 754"/>
                <a:gd name="T51" fmla="*/ 502 h 751"/>
                <a:gd name="T52" fmla="*/ 226 w 754"/>
                <a:gd name="T53" fmla="*/ 502 h 751"/>
                <a:gd name="T54" fmla="*/ 226 w 754"/>
                <a:gd name="T55" fmla="*/ 556 h 751"/>
                <a:gd name="T56" fmla="*/ 227 w 754"/>
                <a:gd name="T57" fmla="*/ 558 h 751"/>
                <a:gd name="T58" fmla="*/ 341 w 754"/>
                <a:gd name="T59" fmla="*/ 558 h 751"/>
                <a:gd name="T60" fmla="*/ 364 w 754"/>
                <a:gd name="T61" fmla="*/ 533 h 751"/>
                <a:gd name="T62" fmla="*/ 364 w 754"/>
                <a:gd name="T63" fmla="*/ 502 h 751"/>
                <a:gd name="T64" fmla="*/ 327 w 754"/>
                <a:gd name="T65" fmla="*/ 502 h 751"/>
                <a:gd name="T66" fmla="*/ 302 w 754"/>
                <a:gd name="T67" fmla="*/ 479 h 751"/>
                <a:gd name="T68" fmla="*/ 302 w 754"/>
                <a:gd name="T69" fmla="*/ 179 h 751"/>
                <a:gd name="T70" fmla="*/ 327 w 754"/>
                <a:gd name="T71" fmla="*/ 155 h 751"/>
                <a:gd name="T72" fmla="*/ 426 w 754"/>
                <a:gd name="T73" fmla="*/ 155 h 751"/>
                <a:gd name="T74" fmla="*/ 451 w 754"/>
                <a:gd name="T75" fmla="*/ 179 h 751"/>
                <a:gd name="T76" fmla="*/ 451 w 754"/>
                <a:gd name="T77" fmla="*/ 479 h 751"/>
                <a:gd name="T78" fmla="*/ 426 w 754"/>
                <a:gd name="T79" fmla="*/ 502 h 751"/>
                <a:gd name="T80" fmla="*/ 388 w 754"/>
                <a:gd name="T81" fmla="*/ 502 h 751"/>
                <a:gd name="T82" fmla="*/ 388 w 754"/>
                <a:gd name="T83" fmla="*/ 533 h 751"/>
                <a:gd name="T84" fmla="*/ 411 w 754"/>
                <a:gd name="T85" fmla="*/ 558 h 751"/>
                <a:gd name="T86" fmla="*/ 527 w 754"/>
                <a:gd name="T87" fmla="*/ 558 h 751"/>
                <a:gd name="T88" fmla="*/ 527 w 754"/>
                <a:gd name="T89" fmla="*/ 502 h 751"/>
                <a:gd name="T90" fmla="*/ 483 w 754"/>
                <a:gd name="T91" fmla="*/ 502 h 751"/>
                <a:gd name="T92" fmla="*/ 458 w 754"/>
                <a:gd name="T93" fmla="*/ 479 h 751"/>
                <a:gd name="T94" fmla="*/ 458 w 754"/>
                <a:gd name="T95" fmla="*/ 179 h 751"/>
                <a:gd name="T96" fmla="*/ 483 w 754"/>
                <a:gd name="T97" fmla="*/ 155 h 751"/>
                <a:gd name="T98" fmla="*/ 582 w 754"/>
                <a:gd name="T99" fmla="*/ 155 h 751"/>
                <a:gd name="T100" fmla="*/ 607 w 754"/>
                <a:gd name="T101" fmla="*/ 179 h 751"/>
                <a:gd name="T102" fmla="*/ 607 w 754"/>
                <a:gd name="T103" fmla="*/ 479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54" h="751">
                  <a:moveTo>
                    <a:pt x="377" y="0"/>
                  </a:moveTo>
                  <a:lnTo>
                    <a:pt x="377" y="0"/>
                  </a:lnTo>
                  <a:cubicBezTo>
                    <a:pt x="169" y="0"/>
                    <a:pt x="0" y="168"/>
                    <a:pt x="0" y="375"/>
                  </a:cubicBezTo>
                  <a:cubicBezTo>
                    <a:pt x="0" y="583"/>
                    <a:pt x="169" y="751"/>
                    <a:pt x="377" y="751"/>
                  </a:cubicBezTo>
                  <a:cubicBezTo>
                    <a:pt x="585" y="751"/>
                    <a:pt x="754" y="583"/>
                    <a:pt x="754" y="375"/>
                  </a:cubicBezTo>
                  <a:cubicBezTo>
                    <a:pt x="754" y="168"/>
                    <a:pt x="585" y="0"/>
                    <a:pt x="377" y="0"/>
                  </a:cubicBezTo>
                  <a:close/>
                  <a:moveTo>
                    <a:pt x="607" y="479"/>
                  </a:moveTo>
                  <a:lnTo>
                    <a:pt x="607" y="479"/>
                  </a:lnTo>
                  <a:cubicBezTo>
                    <a:pt x="607" y="492"/>
                    <a:pt x="596" y="502"/>
                    <a:pt x="582" y="502"/>
                  </a:cubicBezTo>
                  <a:lnTo>
                    <a:pt x="551" y="502"/>
                  </a:lnTo>
                  <a:lnTo>
                    <a:pt x="551" y="556"/>
                  </a:lnTo>
                  <a:cubicBezTo>
                    <a:pt x="551" y="570"/>
                    <a:pt x="540" y="581"/>
                    <a:pt x="527" y="581"/>
                  </a:cubicBezTo>
                  <a:lnTo>
                    <a:pt x="409" y="581"/>
                  </a:lnTo>
                  <a:cubicBezTo>
                    <a:pt x="404" y="594"/>
                    <a:pt x="391" y="603"/>
                    <a:pt x="376" y="603"/>
                  </a:cubicBezTo>
                  <a:cubicBezTo>
                    <a:pt x="361" y="603"/>
                    <a:pt x="348" y="594"/>
                    <a:pt x="343" y="581"/>
                  </a:cubicBezTo>
                  <a:lnTo>
                    <a:pt x="226" y="581"/>
                  </a:lnTo>
                  <a:cubicBezTo>
                    <a:pt x="213" y="581"/>
                    <a:pt x="203" y="570"/>
                    <a:pt x="203" y="556"/>
                  </a:cubicBezTo>
                  <a:lnTo>
                    <a:pt x="203" y="502"/>
                  </a:lnTo>
                  <a:lnTo>
                    <a:pt x="172" y="502"/>
                  </a:lnTo>
                  <a:cubicBezTo>
                    <a:pt x="158" y="502"/>
                    <a:pt x="147" y="492"/>
                    <a:pt x="147" y="479"/>
                  </a:cubicBezTo>
                  <a:lnTo>
                    <a:pt x="147" y="179"/>
                  </a:lnTo>
                  <a:cubicBezTo>
                    <a:pt x="147" y="165"/>
                    <a:pt x="158" y="155"/>
                    <a:pt x="172" y="155"/>
                  </a:cubicBezTo>
                  <a:lnTo>
                    <a:pt x="271" y="155"/>
                  </a:lnTo>
                  <a:cubicBezTo>
                    <a:pt x="285" y="155"/>
                    <a:pt x="296" y="165"/>
                    <a:pt x="296" y="179"/>
                  </a:cubicBezTo>
                  <a:lnTo>
                    <a:pt x="296" y="479"/>
                  </a:lnTo>
                  <a:cubicBezTo>
                    <a:pt x="296" y="492"/>
                    <a:pt x="285" y="502"/>
                    <a:pt x="271" y="502"/>
                  </a:cubicBezTo>
                  <a:lnTo>
                    <a:pt x="226" y="502"/>
                  </a:lnTo>
                  <a:lnTo>
                    <a:pt x="226" y="556"/>
                  </a:lnTo>
                  <a:cubicBezTo>
                    <a:pt x="226" y="557"/>
                    <a:pt x="226" y="558"/>
                    <a:pt x="227" y="558"/>
                  </a:cubicBezTo>
                  <a:lnTo>
                    <a:pt x="341" y="558"/>
                  </a:lnTo>
                  <a:cubicBezTo>
                    <a:pt x="344" y="546"/>
                    <a:pt x="353" y="537"/>
                    <a:pt x="364" y="533"/>
                  </a:cubicBezTo>
                  <a:lnTo>
                    <a:pt x="364" y="502"/>
                  </a:lnTo>
                  <a:lnTo>
                    <a:pt x="327" y="502"/>
                  </a:lnTo>
                  <a:cubicBezTo>
                    <a:pt x="312" y="502"/>
                    <a:pt x="302" y="492"/>
                    <a:pt x="302" y="479"/>
                  </a:cubicBezTo>
                  <a:lnTo>
                    <a:pt x="302" y="179"/>
                  </a:lnTo>
                  <a:cubicBezTo>
                    <a:pt x="302" y="165"/>
                    <a:pt x="312" y="155"/>
                    <a:pt x="327" y="155"/>
                  </a:cubicBezTo>
                  <a:lnTo>
                    <a:pt x="426" y="155"/>
                  </a:lnTo>
                  <a:cubicBezTo>
                    <a:pt x="440" y="155"/>
                    <a:pt x="451" y="165"/>
                    <a:pt x="451" y="179"/>
                  </a:cubicBezTo>
                  <a:lnTo>
                    <a:pt x="451" y="479"/>
                  </a:lnTo>
                  <a:cubicBezTo>
                    <a:pt x="451" y="492"/>
                    <a:pt x="440" y="502"/>
                    <a:pt x="426" y="502"/>
                  </a:cubicBezTo>
                  <a:lnTo>
                    <a:pt x="388" y="502"/>
                  </a:lnTo>
                  <a:lnTo>
                    <a:pt x="388" y="533"/>
                  </a:lnTo>
                  <a:cubicBezTo>
                    <a:pt x="399" y="537"/>
                    <a:pt x="408" y="546"/>
                    <a:pt x="411" y="558"/>
                  </a:cubicBezTo>
                  <a:lnTo>
                    <a:pt x="527" y="558"/>
                  </a:lnTo>
                  <a:lnTo>
                    <a:pt x="527" y="502"/>
                  </a:lnTo>
                  <a:lnTo>
                    <a:pt x="483" y="502"/>
                  </a:lnTo>
                  <a:cubicBezTo>
                    <a:pt x="469" y="502"/>
                    <a:pt x="458" y="492"/>
                    <a:pt x="458" y="479"/>
                  </a:cubicBezTo>
                  <a:lnTo>
                    <a:pt x="458" y="179"/>
                  </a:lnTo>
                  <a:cubicBezTo>
                    <a:pt x="458" y="165"/>
                    <a:pt x="469" y="155"/>
                    <a:pt x="483" y="155"/>
                  </a:cubicBezTo>
                  <a:lnTo>
                    <a:pt x="582" y="155"/>
                  </a:lnTo>
                  <a:cubicBezTo>
                    <a:pt x="596" y="155"/>
                    <a:pt x="607" y="165"/>
                    <a:pt x="607" y="179"/>
                  </a:cubicBezTo>
                  <a:lnTo>
                    <a:pt x="607" y="4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7" name="TextBox 276">
            <a:extLst>
              <a:ext uri="{FF2B5EF4-FFF2-40B4-BE49-F238E27FC236}">
                <a16:creationId xmlns:a16="http://schemas.microsoft.com/office/drawing/2014/main" id="{B3ACA8CA-0E52-4316-A005-9279ABA10948}"/>
              </a:ext>
            </a:extLst>
          </p:cNvPr>
          <p:cNvSpPr txBox="1"/>
          <p:nvPr/>
        </p:nvSpPr>
        <p:spPr>
          <a:xfrm>
            <a:off x="6783399" y="2947129"/>
            <a:ext cx="871625"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Servers</a:t>
            </a:r>
          </a:p>
        </p:txBody>
      </p:sp>
      <p:sp>
        <p:nvSpPr>
          <p:cNvPr id="278" name="TextBox 277">
            <a:extLst>
              <a:ext uri="{FF2B5EF4-FFF2-40B4-BE49-F238E27FC236}">
                <a16:creationId xmlns:a16="http://schemas.microsoft.com/office/drawing/2014/main" id="{BF70DD64-E507-4654-B5FB-2FF0B70FB211}"/>
              </a:ext>
            </a:extLst>
          </p:cNvPr>
          <p:cNvSpPr txBox="1"/>
          <p:nvPr/>
        </p:nvSpPr>
        <p:spPr>
          <a:xfrm>
            <a:off x="7627960" y="2945736"/>
            <a:ext cx="871625"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nnected</a:t>
            </a:r>
            <a:br>
              <a:rPr lang="en-US" sz="1000" dirty="0">
                <a:solidFill>
                  <a:srgbClr val="313131"/>
                </a:solidFill>
              </a:rPr>
            </a:br>
            <a:r>
              <a:rPr lang="en-US" sz="1000" dirty="0">
                <a:solidFill>
                  <a:srgbClr val="313131"/>
                </a:solidFill>
              </a:rPr>
              <a:t>Servers</a:t>
            </a:r>
          </a:p>
        </p:txBody>
      </p:sp>
      <p:grpSp>
        <p:nvGrpSpPr>
          <p:cNvPr id="279" name="Group 278">
            <a:extLst>
              <a:ext uri="{FF2B5EF4-FFF2-40B4-BE49-F238E27FC236}">
                <a16:creationId xmlns:a16="http://schemas.microsoft.com/office/drawing/2014/main" id="{7710A5CD-655A-46B4-BB9D-0C4FDC46C6B3}"/>
              </a:ext>
            </a:extLst>
          </p:cNvPr>
          <p:cNvGrpSpPr/>
          <p:nvPr/>
        </p:nvGrpSpPr>
        <p:grpSpPr>
          <a:xfrm>
            <a:off x="8682247" y="2530057"/>
            <a:ext cx="365760" cy="365760"/>
            <a:chOff x="7142131" y="3807277"/>
            <a:chExt cx="725488" cy="727075"/>
          </a:xfrm>
          <a:solidFill>
            <a:schemeClr val="bg2"/>
          </a:solidFill>
        </p:grpSpPr>
        <p:sp>
          <p:nvSpPr>
            <p:cNvPr id="280" name="Rectangle 5">
              <a:extLst>
                <a:ext uri="{FF2B5EF4-FFF2-40B4-BE49-F238E27FC236}">
                  <a16:creationId xmlns:a16="http://schemas.microsoft.com/office/drawing/2014/main" id="{B7AC7592-F6C0-4F06-9932-D6AED329AD79}"/>
                </a:ext>
              </a:extLst>
            </p:cNvPr>
            <p:cNvSpPr>
              <a:spLocks noChangeArrowheads="1"/>
            </p:cNvSpPr>
            <p:nvPr/>
          </p:nvSpPr>
          <p:spPr bwMode="auto">
            <a:xfrm>
              <a:off x="7370731" y="4148590"/>
              <a:ext cx="1588" cy="15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6">
              <a:extLst>
                <a:ext uri="{FF2B5EF4-FFF2-40B4-BE49-F238E27FC236}">
                  <a16:creationId xmlns:a16="http://schemas.microsoft.com/office/drawing/2014/main" id="{32F51E76-CFFE-42C8-8873-B7E5EDC27609}"/>
                </a:ext>
              </a:extLst>
            </p:cNvPr>
            <p:cNvSpPr>
              <a:spLocks/>
            </p:cNvSpPr>
            <p:nvPr/>
          </p:nvSpPr>
          <p:spPr bwMode="auto">
            <a:xfrm>
              <a:off x="7346919" y="4054927"/>
              <a:ext cx="315913" cy="119063"/>
            </a:xfrm>
            <a:custGeom>
              <a:avLst/>
              <a:gdLst>
                <a:gd name="T0" fmla="*/ 322 w 329"/>
                <a:gd name="T1" fmla="*/ 6 h 123"/>
                <a:gd name="T2" fmla="*/ 312 w 329"/>
                <a:gd name="T3" fmla="*/ 12 h 123"/>
                <a:gd name="T4" fmla="*/ 301 w 329"/>
                <a:gd name="T5" fmla="*/ 18 h 123"/>
                <a:gd name="T6" fmla="*/ 287 w 329"/>
                <a:gd name="T7" fmla="*/ 24 h 123"/>
                <a:gd name="T8" fmla="*/ 274 w 329"/>
                <a:gd name="T9" fmla="*/ 29 h 123"/>
                <a:gd name="T10" fmla="*/ 259 w 329"/>
                <a:gd name="T11" fmla="*/ 33 h 123"/>
                <a:gd name="T12" fmla="*/ 241 w 329"/>
                <a:gd name="T13" fmla="*/ 37 h 123"/>
                <a:gd name="T14" fmla="*/ 225 w 329"/>
                <a:gd name="T15" fmla="*/ 40 h 123"/>
                <a:gd name="T16" fmla="*/ 204 w 329"/>
                <a:gd name="T17" fmla="*/ 42 h 123"/>
                <a:gd name="T18" fmla="*/ 184 w 329"/>
                <a:gd name="T19" fmla="*/ 44 h 123"/>
                <a:gd name="T20" fmla="*/ 139 w 329"/>
                <a:gd name="T21" fmla="*/ 43 h 123"/>
                <a:gd name="T22" fmla="*/ 121 w 329"/>
                <a:gd name="T23" fmla="*/ 42 h 123"/>
                <a:gd name="T24" fmla="*/ 100 w 329"/>
                <a:gd name="T25" fmla="*/ 40 h 123"/>
                <a:gd name="T26" fmla="*/ 83 w 329"/>
                <a:gd name="T27" fmla="*/ 37 h 123"/>
                <a:gd name="T28" fmla="*/ 68 w 329"/>
                <a:gd name="T29" fmla="*/ 33 h 123"/>
                <a:gd name="T30" fmla="*/ 52 w 329"/>
                <a:gd name="T31" fmla="*/ 28 h 123"/>
                <a:gd name="T32" fmla="*/ 38 w 329"/>
                <a:gd name="T33" fmla="*/ 23 h 123"/>
                <a:gd name="T34" fmla="*/ 26 w 329"/>
                <a:gd name="T35" fmla="*/ 18 h 123"/>
                <a:gd name="T36" fmla="*/ 15 w 329"/>
                <a:gd name="T37" fmla="*/ 11 h 123"/>
                <a:gd name="T38" fmla="*/ 6 w 329"/>
                <a:gd name="T39" fmla="*/ 5 h 123"/>
                <a:gd name="T40" fmla="*/ 0 w 329"/>
                <a:gd name="T41" fmla="*/ 62 h 123"/>
                <a:gd name="T42" fmla="*/ 1 w 329"/>
                <a:gd name="T43" fmla="*/ 68 h 123"/>
                <a:gd name="T44" fmla="*/ 3 w 329"/>
                <a:gd name="T45" fmla="*/ 73 h 123"/>
                <a:gd name="T46" fmla="*/ 7 w 329"/>
                <a:gd name="T47" fmla="*/ 79 h 123"/>
                <a:gd name="T48" fmla="*/ 13 w 329"/>
                <a:gd name="T49" fmla="*/ 84 h 123"/>
                <a:gd name="T50" fmla="*/ 20 w 329"/>
                <a:gd name="T51" fmla="*/ 89 h 123"/>
                <a:gd name="T52" fmla="*/ 28 w 329"/>
                <a:gd name="T53" fmla="*/ 94 h 123"/>
                <a:gd name="T54" fmla="*/ 37 w 329"/>
                <a:gd name="T55" fmla="*/ 99 h 123"/>
                <a:gd name="T56" fmla="*/ 100 w 329"/>
                <a:gd name="T57" fmla="*/ 117 h 123"/>
                <a:gd name="T58" fmla="*/ 117 w 329"/>
                <a:gd name="T59" fmla="*/ 120 h 123"/>
                <a:gd name="T60" fmla="*/ 140 w 329"/>
                <a:gd name="T61" fmla="*/ 122 h 123"/>
                <a:gd name="T62" fmla="*/ 182 w 329"/>
                <a:gd name="T63" fmla="*/ 122 h 123"/>
                <a:gd name="T64" fmla="*/ 194 w 329"/>
                <a:gd name="T65" fmla="*/ 121 h 123"/>
                <a:gd name="T66" fmla="*/ 212 w 329"/>
                <a:gd name="T67" fmla="*/ 119 h 123"/>
                <a:gd name="T68" fmla="*/ 229 w 329"/>
                <a:gd name="T69" fmla="*/ 117 h 123"/>
                <a:gd name="T70" fmla="*/ 292 w 329"/>
                <a:gd name="T71" fmla="*/ 99 h 123"/>
                <a:gd name="T72" fmla="*/ 300 w 329"/>
                <a:gd name="T73" fmla="*/ 94 h 123"/>
                <a:gd name="T74" fmla="*/ 308 w 329"/>
                <a:gd name="T75" fmla="*/ 90 h 123"/>
                <a:gd name="T76" fmla="*/ 315 w 329"/>
                <a:gd name="T77" fmla="*/ 85 h 123"/>
                <a:gd name="T78" fmla="*/ 320 w 329"/>
                <a:gd name="T79" fmla="*/ 80 h 123"/>
                <a:gd name="T80" fmla="*/ 324 w 329"/>
                <a:gd name="T81" fmla="*/ 75 h 123"/>
                <a:gd name="T82" fmla="*/ 327 w 329"/>
                <a:gd name="T83" fmla="*/ 70 h 123"/>
                <a:gd name="T84" fmla="*/ 329 w 329"/>
                <a:gd name="T85" fmla="*/ 65 h 123"/>
                <a:gd name="T86" fmla="*/ 329 w 329"/>
                <a:gd name="T87" fmla="*/ 0 h 123"/>
                <a:gd name="T88" fmla="*/ 322 w 329"/>
                <a:gd name="T89" fmla="*/ 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9" h="123">
                  <a:moveTo>
                    <a:pt x="322" y="6"/>
                  </a:moveTo>
                  <a:lnTo>
                    <a:pt x="322" y="6"/>
                  </a:lnTo>
                  <a:cubicBezTo>
                    <a:pt x="319" y="8"/>
                    <a:pt x="317" y="9"/>
                    <a:pt x="314" y="11"/>
                  </a:cubicBezTo>
                  <a:lnTo>
                    <a:pt x="312" y="12"/>
                  </a:lnTo>
                  <a:cubicBezTo>
                    <a:pt x="309" y="14"/>
                    <a:pt x="306" y="16"/>
                    <a:pt x="303" y="17"/>
                  </a:cubicBezTo>
                  <a:cubicBezTo>
                    <a:pt x="302" y="18"/>
                    <a:pt x="302" y="18"/>
                    <a:pt x="301" y="18"/>
                  </a:cubicBezTo>
                  <a:cubicBezTo>
                    <a:pt x="298" y="20"/>
                    <a:pt x="294" y="21"/>
                    <a:pt x="290" y="23"/>
                  </a:cubicBezTo>
                  <a:lnTo>
                    <a:pt x="287" y="24"/>
                  </a:lnTo>
                  <a:cubicBezTo>
                    <a:pt x="284" y="25"/>
                    <a:pt x="281" y="26"/>
                    <a:pt x="278" y="28"/>
                  </a:cubicBezTo>
                  <a:lnTo>
                    <a:pt x="274" y="29"/>
                  </a:lnTo>
                  <a:cubicBezTo>
                    <a:pt x="270" y="30"/>
                    <a:pt x="265" y="32"/>
                    <a:pt x="261" y="33"/>
                  </a:cubicBezTo>
                  <a:lnTo>
                    <a:pt x="259" y="33"/>
                  </a:lnTo>
                  <a:cubicBezTo>
                    <a:pt x="254" y="34"/>
                    <a:pt x="250" y="35"/>
                    <a:pt x="246" y="36"/>
                  </a:cubicBezTo>
                  <a:lnTo>
                    <a:pt x="241" y="37"/>
                  </a:lnTo>
                  <a:cubicBezTo>
                    <a:pt x="237" y="38"/>
                    <a:pt x="233" y="39"/>
                    <a:pt x="228" y="39"/>
                  </a:cubicBezTo>
                  <a:lnTo>
                    <a:pt x="225" y="40"/>
                  </a:lnTo>
                  <a:cubicBezTo>
                    <a:pt x="219" y="41"/>
                    <a:pt x="214" y="41"/>
                    <a:pt x="208" y="42"/>
                  </a:cubicBezTo>
                  <a:lnTo>
                    <a:pt x="204" y="42"/>
                  </a:lnTo>
                  <a:cubicBezTo>
                    <a:pt x="199" y="43"/>
                    <a:pt x="195" y="43"/>
                    <a:pt x="190" y="43"/>
                  </a:cubicBezTo>
                  <a:lnTo>
                    <a:pt x="184" y="44"/>
                  </a:lnTo>
                  <a:cubicBezTo>
                    <a:pt x="171" y="44"/>
                    <a:pt x="158" y="44"/>
                    <a:pt x="145" y="44"/>
                  </a:cubicBezTo>
                  <a:lnTo>
                    <a:pt x="139" y="43"/>
                  </a:lnTo>
                  <a:cubicBezTo>
                    <a:pt x="134" y="43"/>
                    <a:pt x="130" y="43"/>
                    <a:pt x="125" y="42"/>
                  </a:cubicBezTo>
                  <a:lnTo>
                    <a:pt x="121" y="42"/>
                  </a:lnTo>
                  <a:cubicBezTo>
                    <a:pt x="115" y="41"/>
                    <a:pt x="109" y="41"/>
                    <a:pt x="104" y="40"/>
                  </a:cubicBezTo>
                  <a:lnTo>
                    <a:pt x="100" y="40"/>
                  </a:lnTo>
                  <a:cubicBezTo>
                    <a:pt x="96" y="39"/>
                    <a:pt x="92" y="38"/>
                    <a:pt x="88" y="37"/>
                  </a:cubicBezTo>
                  <a:lnTo>
                    <a:pt x="83" y="37"/>
                  </a:lnTo>
                  <a:cubicBezTo>
                    <a:pt x="79" y="36"/>
                    <a:pt x="74" y="35"/>
                    <a:pt x="70" y="34"/>
                  </a:cubicBezTo>
                  <a:cubicBezTo>
                    <a:pt x="69" y="33"/>
                    <a:pt x="68" y="33"/>
                    <a:pt x="68" y="33"/>
                  </a:cubicBezTo>
                  <a:cubicBezTo>
                    <a:pt x="64" y="32"/>
                    <a:pt x="59" y="31"/>
                    <a:pt x="55" y="29"/>
                  </a:cubicBezTo>
                  <a:cubicBezTo>
                    <a:pt x="54" y="29"/>
                    <a:pt x="53" y="29"/>
                    <a:pt x="52" y="28"/>
                  </a:cubicBezTo>
                  <a:cubicBezTo>
                    <a:pt x="48" y="27"/>
                    <a:pt x="45" y="26"/>
                    <a:pt x="42" y="25"/>
                  </a:cubicBezTo>
                  <a:lnTo>
                    <a:pt x="38" y="23"/>
                  </a:lnTo>
                  <a:cubicBezTo>
                    <a:pt x="35" y="22"/>
                    <a:pt x="31" y="20"/>
                    <a:pt x="27" y="18"/>
                  </a:cubicBezTo>
                  <a:cubicBezTo>
                    <a:pt x="27" y="18"/>
                    <a:pt x="27" y="18"/>
                    <a:pt x="26" y="18"/>
                  </a:cubicBezTo>
                  <a:cubicBezTo>
                    <a:pt x="23" y="16"/>
                    <a:pt x="20" y="15"/>
                    <a:pt x="17" y="13"/>
                  </a:cubicBezTo>
                  <a:lnTo>
                    <a:pt x="15" y="11"/>
                  </a:lnTo>
                  <a:cubicBezTo>
                    <a:pt x="12" y="10"/>
                    <a:pt x="10" y="8"/>
                    <a:pt x="7" y="7"/>
                  </a:cubicBezTo>
                  <a:lnTo>
                    <a:pt x="6" y="5"/>
                  </a:lnTo>
                  <a:cubicBezTo>
                    <a:pt x="4" y="4"/>
                    <a:pt x="1" y="2"/>
                    <a:pt x="0" y="0"/>
                  </a:cubicBezTo>
                  <a:lnTo>
                    <a:pt x="0" y="62"/>
                  </a:lnTo>
                  <a:cubicBezTo>
                    <a:pt x="0" y="63"/>
                    <a:pt x="0" y="64"/>
                    <a:pt x="0" y="66"/>
                  </a:cubicBezTo>
                  <a:cubicBezTo>
                    <a:pt x="0" y="67"/>
                    <a:pt x="1" y="67"/>
                    <a:pt x="1" y="68"/>
                  </a:cubicBezTo>
                  <a:cubicBezTo>
                    <a:pt x="1" y="69"/>
                    <a:pt x="1" y="70"/>
                    <a:pt x="2" y="70"/>
                  </a:cubicBezTo>
                  <a:cubicBezTo>
                    <a:pt x="2" y="71"/>
                    <a:pt x="3" y="72"/>
                    <a:pt x="3" y="73"/>
                  </a:cubicBezTo>
                  <a:cubicBezTo>
                    <a:pt x="4" y="74"/>
                    <a:pt x="4" y="75"/>
                    <a:pt x="5" y="75"/>
                  </a:cubicBezTo>
                  <a:cubicBezTo>
                    <a:pt x="6" y="76"/>
                    <a:pt x="6" y="78"/>
                    <a:pt x="7" y="79"/>
                  </a:cubicBezTo>
                  <a:cubicBezTo>
                    <a:pt x="8" y="79"/>
                    <a:pt x="8" y="80"/>
                    <a:pt x="9" y="80"/>
                  </a:cubicBezTo>
                  <a:cubicBezTo>
                    <a:pt x="10" y="82"/>
                    <a:pt x="11" y="83"/>
                    <a:pt x="13" y="84"/>
                  </a:cubicBezTo>
                  <a:cubicBezTo>
                    <a:pt x="13" y="84"/>
                    <a:pt x="14" y="85"/>
                    <a:pt x="14" y="85"/>
                  </a:cubicBezTo>
                  <a:cubicBezTo>
                    <a:pt x="16" y="87"/>
                    <a:pt x="18" y="88"/>
                    <a:pt x="20" y="89"/>
                  </a:cubicBezTo>
                  <a:lnTo>
                    <a:pt x="21" y="90"/>
                  </a:lnTo>
                  <a:cubicBezTo>
                    <a:pt x="23" y="91"/>
                    <a:pt x="25" y="93"/>
                    <a:pt x="28" y="94"/>
                  </a:cubicBezTo>
                  <a:cubicBezTo>
                    <a:pt x="28" y="94"/>
                    <a:pt x="29" y="95"/>
                    <a:pt x="29" y="95"/>
                  </a:cubicBezTo>
                  <a:cubicBezTo>
                    <a:pt x="31" y="96"/>
                    <a:pt x="34" y="98"/>
                    <a:pt x="37" y="99"/>
                  </a:cubicBezTo>
                  <a:cubicBezTo>
                    <a:pt x="54" y="107"/>
                    <a:pt x="76" y="113"/>
                    <a:pt x="99" y="117"/>
                  </a:cubicBezTo>
                  <a:lnTo>
                    <a:pt x="100" y="117"/>
                  </a:lnTo>
                  <a:cubicBezTo>
                    <a:pt x="104" y="118"/>
                    <a:pt x="109" y="119"/>
                    <a:pt x="114" y="119"/>
                  </a:cubicBezTo>
                  <a:lnTo>
                    <a:pt x="117" y="120"/>
                  </a:lnTo>
                  <a:cubicBezTo>
                    <a:pt x="121" y="120"/>
                    <a:pt x="126" y="121"/>
                    <a:pt x="130" y="121"/>
                  </a:cubicBezTo>
                  <a:lnTo>
                    <a:pt x="140" y="122"/>
                  </a:lnTo>
                  <a:cubicBezTo>
                    <a:pt x="142" y="122"/>
                    <a:pt x="145" y="122"/>
                    <a:pt x="147" y="122"/>
                  </a:cubicBezTo>
                  <a:cubicBezTo>
                    <a:pt x="159" y="123"/>
                    <a:pt x="171" y="122"/>
                    <a:pt x="182" y="122"/>
                  </a:cubicBezTo>
                  <a:cubicBezTo>
                    <a:pt x="186" y="122"/>
                    <a:pt x="189" y="122"/>
                    <a:pt x="193" y="121"/>
                  </a:cubicBezTo>
                  <a:lnTo>
                    <a:pt x="194" y="121"/>
                  </a:lnTo>
                  <a:cubicBezTo>
                    <a:pt x="196" y="121"/>
                    <a:pt x="197" y="121"/>
                    <a:pt x="199" y="121"/>
                  </a:cubicBezTo>
                  <a:cubicBezTo>
                    <a:pt x="204" y="121"/>
                    <a:pt x="208" y="120"/>
                    <a:pt x="212" y="119"/>
                  </a:cubicBezTo>
                  <a:cubicBezTo>
                    <a:pt x="213" y="119"/>
                    <a:pt x="214" y="119"/>
                    <a:pt x="215" y="119"/>
                  </a:cubicBezTo>
                  <a:cubicBezTo>
                    <a:pt x="220" y="119"/>
                    <a:pt x="225" y="118"/>
                    <a:pt x="229" y="117"/>
                  </a:cubicBezTo>
                  <a:lnTo>
                    <a:pt x="230" y="117"/>
                  </a:lnTo>
                  <a:cubicBezTo>
                    <a:pt x="253" y="113"/>
                    <a:pt x="275" y="107"/>
                    <a:pt x="292" y="99"/>
                  </a:cubicBezTo>
                  <a:cubicBezTo>
                    <a:pt x="295" y="97"/>
                    <a:pt x="298" y="96"/>
                    <a:pt x="300" y="94"/>
                  </a:cubicBezTo>
                  <a:lnTo>
                    <a:pt x="300" y="94"/>
                  </a:lnTo>
                  <a:lnTo>
                    <a:pt x="301" y="94"/>
                  </a:lnTo>
                  <a:cubicBezTo>
                    <a:pt x="304" y="92"/>
                    <a:pt x="306" y="91"/>
                    <a:pt x="308" y="90"/>
                  </a:cubicBezTo>
                  <a:lnTo>
                    <a:pt x="309" y="89"/>
                  </a:lnTo>
                  <a:cubicBezTo>
                    <a:pt x="311" y="87"/>
                    <a:pt x="313" y="86"/>
                    <a:pt x="315" y="85"/>
                  </a:cubicBezTo>
                  <a:lnTo>
                    <a:pt x="316" y="84"/>
                  </a:lnTo>
                  <a:cubicBezTo>
                    <a:pt x="318" y="82"/>
                    <a:pt x="319" y="81"/>
                    <a:pt x="320" y="80"/>
                  </a:cubicBezTo>
                  <a:lnTo>
                    <a:pt x="322" y="78"/>
                  </a:lnTo>
                  <a:cubicBezTo>
                    <a:pt x="323" y="77"/>
                    <a:pt x="323" y="76"/>
                    <a:pt x="324" y="75"/>
                  </a:cubicBezTo>
                  <a:cubicBezTo>
                    <a:pt x="325" y="74"/>
                    <a:pt x="325" y="73"/>
                    <a:pt x="326" y="73"/>
                  </a:cubicBezTo>
                  <a:cubicBezTo>
                    <a:pt x="326" y="72"/>
                    <a:pt x="327" y="71"/>
                    <a:pt x="327" y="70"/>
                  </a:cubicBezTo>
                  <a:cubicBezTo>
                    <a:pt x="327" y="69"/>
                    <a:pt x="328" y="69"/>
                    <a:pt x="328" y="68"/>
                  </a:cubicBezTo>
                  <a:cubicBezTo>
                    <a:pt x="328" y="67"/>
                    <a:pt x="329" y="66"/>
                    <a:pt x="329" y="65"/>
                  </a:cubicBezTo>
                  <a:cubicBezTo>
                    <a:pt x="329" y="64"/>
                    <a:pt x="329" y="63"/>
                    <a:pt x="329" y="62"/>
                  </a:cubicBezTo>
                  <a:lnTo>
                    <a:pt x="329" y="0"/>
                  </a:lnTo>
                  <a:cubicBezTo>
                    <a:pt x="327" y="2"/>
                    <a:pt x="325" y="3"/>
                    <a:pt x="323" y="5"/>
                  </a:cubicBezTo>
                  <a:lnTo>
                    <a:pt x="322"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7">
              <a:extLst>
                <a:ext uri="{FF2B5EF4-FFF2-40B4-BE49-F238E27FC236}">
                  <a16:creationId xmlns:a16="http://schemas.microsoft.com/office/drawing/2014/main" id="{EA70D66C-CD69-4EE4-9DD0-86DFEFA6BB6E}"/>
                </a:ext>
              </a:extLst>
            </p:cNvPr>
            <p:cNvSpPr>
              <a:spLocks/>
            </p:cNvSpPr>
            <p:nvPr/>
          </p:nvSpPr>
          <p:spPr bwMode="auto">
            <a:xfrm>
              <a:off x="7346919" y="4153352"/>
              <a:ext cx="315913" cy="119063"/>
            </a:xfrm>
            <a:custGeom>
              <a:avLst/>
              <a:gdLst>
                <a:gd name="T0" fmla="*/ 301 w 329"/>
                <a:gd name="T1" fmla="*/ 94 h 123"/>
                <a:gd name="T2" fmla="*/ 301 w 329"/>
                <a:gd name="T3" fmla="*/ 94 h 123"/>
                <a:gd name="T4" fmla="*/ 308 w 329"/>
                <a:gd name="T5" fmla="*/ 90 h 123"/>
                <a:gd name="T6" fmla="*/ 309 w 329"/>
                <a:gd name="T7" fmla="*/ 89 h 123"/>
                <a:gd name="T8" fmla="*/ 315 w 329"/>
                <a:gd name="T9" fmla="*/ 85 h 123"/>
                <a:gd name="T10" fmla="*/ 316 w 329"/>
                <a:gd name="T11" fmla="*/ 83 h 123"/>
                <a:gd name="T12" fmla="*/ 320 w 329"/>
                <a:gd name="T13" fmla="*/ 80 h 123"/>
                <a:gd name="T14" fmla="*/ 322 w 329"/>
                <a:gd name="T15" fmla="*/ 78 h 123"/>
                <a:gd name="T16" fmla="*/ 324 w 329"/>
                <a:gd name="T17" fmla="*/ 75 h 123"/>
                <a:gd name="T18" fmla="*/ 326 w 329"/>
                <a:gd name="T19" fmla="*/ 73 h 123"/>
                <a:gd name="T20" fmla="*/ 327 w 329"/>
                <a:gd name="T21" fmla="*/ 70 h 123"/>
                <a:gd name="T22" fmla="*/ 328 w 329"/>
                <a:gd name="T23" fmla="*/ 68 h 123"/>
                <a:gd name="T24" fmla="*/ 329 w 329"/>
                <a:gd name="T25" fmla="*/ 65 h 123"/>
                <a:gd name="T26" fmla="*/ 329 w 329"/>
                <a:gd name="T27" fmla="*/ 65 h 123"/>
                <a:gd name="T28" fmla="*/ 329 w 329"/>
                <a:gd name="T29" fmla="*/ 62 h 123"/>
                <a:gd name="T30" fmla="*/ 329 w 329"/>
                <a:gd name="T31" fmla="*/ 0 h 123"/>
                <a:gd name="T32" fmla="*/ 329 w 329"/>
                <a:gd name="T33" fmla="*/ 0 h 123"/>
                <a:gd name="T34" fmla="*/ 165 w 329"/>
                <a:gd name="T35" fmla="*/ 44 h 123"/>
                <a:gd name="T36" fmla="*/ 0 w 329"/>
                <a:gd name="T37" fmla="*/ 0 h 123"/>
                <a:gd name="T38" fmla="*/ 0 w 329"/>
                <a:gd name="T39" fmla="*/ 0 h 123"/>
                <a:gd name="T40" fmla="*/ 0 w 329"/>
                <a:gd name="T41" fmla="*/ 62 h 123"/>
                <a:gd name="T42" fmla="*/ 0 w 329"/>
                <a:gd name="T43" fmla="*/ 66 h 123"/>
                <a:gd name="T44" fmla="*/ 1 w 329"/>
                <a:gd name="T45" fmla="*/ 68 h 123"/>
                <a:gd name="T46" fmla="*/ 2 w 329"/>
                <a:gd name="T47" fmla="*/ 71 h 123"/>
                <a:gd name="T48" fmla="*/ 3 w 329"/>
                <a:gd name="T49" fmla="*/ 73 h 123"/>
                <a:gd name="T50" fmla="*/ 5 w 329"/>
                <a:gd name="T51" fmla="*/ 75 h 123"/>
                <a:gd name="T52" fmla="*/ 7 w 329"/>
                <a:gd name="T53" fmla="*/ 79 h 123"/>
                <a:gd name="T54" fmla="*/ 9 w 329"/>
                <a:gd name="T55" fmla="*/ 80 h 123"/>
                <a:gd name="T56" fmla="*/ 13 w 329"/>
                <a:gd name="T57" fmla="*/ 84 h 123"/>
                <a:gd name="T58" fmla="*/ 15 w 329"/>
                <a:gd name="T59" fmla="*/ 85 h 123"/>
                <a:gd name="T60" fmla="*/ 20 w 329"/>
                <a:gd name="T61" fmla="*/ 89 h 123"/>
                <a:gd name="T62" fmla="*/ 21 w 329"/>
                <a:gd name="T63" fmla="*/ 90 h 123"/>
                <a:gd name="T64" fmla="*/ 28 w 329"/>
                <a:gd name="T65" fmla="*/ 94 h 123"/>
                <a:gd name="T66" fmla="*/ 29 w 329"/>
                <a:gd name="T67" fmla="*/ 95 h 123"/>
                <a:gd name="T68" fmla="*/ 37 w 329"/>
                <a:gd name="T69" fmla="*/ 99 h 123"/>
                <a:gd name="T70" fmla="*/ 99 w 329"/>
                <a:gd name="T71" fmla="*/ 117 h 123"/>
                <a:gd name="T72" fmla="*/ 114 w 329"/>
                <a:gd name="T73" fmla="*/ 119 h 123"/>
                <a:gd name="T74" fmla="*/ 116 w 329"/>
                <a:gd name="T75" fmla="*/ 120 h 123"/>
                <a:gd name="T76" fmla="*/ 130 w 329"/>
                <a:gd name="T77" fmla="*/ 121 h 123"/>
                <a:gd name="T78" fmla="*/ 135 w 329"/>
                <a:gd name="T79" fmla="*/ 121 h 123"/>
                <a:gd name="T80" fmla="*/ 137 w 329"/>
                <a:gd name="T81" fmla="*/ 121 h 123"/>
                <a:gd name="T82" fmla="*/ 147 w 329"/>
                <a:gd name="T83" fmla="*/ 122 h 123"/>
                <a:gd name="T84" fmla="*/ 182 w 329"/>
                <a:gd name="T85" fmla="*/ 122 h 123"/>
                <a:gd name="T86" fmla="*/ 192 w 329"/>
                <a:gd name="T87" fmla="*/ 121 h 123"/>
                <a:gd name="T88" fmla="*/ 196 w 329"/>
                <a:gd name="T89" fmla="*/ 121 h 123"/>
                <a:gd name="T90" fmla="*/ 199 w 329"/>
                <a:gd name="T91" fmla="*/ 121 h 123"/>
                <a:gd name="T92" fmla="*/ 213 w 329"/>
                <a:gd name="T93" fmla="*/ 120 h 123"/>
                <a:gd name="T94" fmla="*/ 215 w 329"/>
                <a:gd name="T95" fmla="*/ 119 h 123"/>
                <a:gd name="T96" fmla="*/ 230 w 329"/>
                <a:gd name="T97" fmla="*/ 117 h 123"/>
                <a:gd name="T98" fmla="*/ 231 w 329"/>
                <a:gd name="T99" fmla="*/ 117 h 123"/>
                <a:gd name="T100" fmla="*/ 292 w 329"/>
                <a:gd name="T101" fmla="*/ 99 h 123"/>
                <a:gd name="T102" fmla="*/ 300 w 329"/>
                <a:gd name="T103" fmla="*/ 94 h 123"/>
                <a:gd name="T104" fmla="*/ 301 w 329"/>
                <a:gd name="T105"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9" h="123">
                  <a:moveTo>
                    <a:pt x="301" y="94"/>
                  </a:moveTo>
                  <a:lnTo>
                    <a:pt x="301" y="94"/>
                  </a:lnTo>
                  <a:cubicBezTo>
                    <a:pt x="304" y="92"/>
                    <a:pt x="306" y="91"/>
                    <a:pt x="308" y="90"/>
                  </a:cubicBezTo>
                  <a:cubicBezTo>
                    <a:pt x="309" y="89"/>
                    <a:pt x="309" y="89"/>
                    <a:pt x="309" y="89"/>
                  </a:cubicBezTo>
                  <a:cubicBezTo>
                    <a:pt x="311" y="87"/>
                    <a:pt x="313" y="86"/>
                    <a:pt x="315" y="85"/>
                  </a:cubicBezTo>
                  <a:cubicBezTo>
                    <a:pt x="315" y="84"/>
                    <a:pt x="316" y="84"/>
                    <a:pt x="316" y="83"/>
                  </a:cubicBezTo>
                  <a:cubicBezTo>
                    <a:pt x="318" y="82"/>
                    <a:pt x="319" y="81"/>
                    <a:pt x="320" y="80"/>
                  </a:cubicBezTo>
                  <a:cubicBezTo>
                    <a:pt x="321" y="79"/>
                    <a:pt x="321" y="79"/>
                    <a:pt x="322" y="78"/>
                  </a:cubicBezTo>
                  <a:cubicBezTo>
                    <a:pt x="323" y="77"/>
                    <a:pt x="324" y="76"/>
                    <a:pt x="324" y="75"/>
                  </a:cubicBezTo>
                  <a:cubicBezTo>
                    <a:pt x="325" y="74"/>
                    <a:pt x="325" y="74"/>
                    <a:pt x="326" y="73"/>
                  </a:cubicBezTo>
                  <a:cubicBezTo>
                    <a:pt x="326" y="72"/>
                    <a:pt x="327" y="71"/>
                    <a:pt x="327" y="70"/>
                  </a:cubicBezTo>
                  <a:cubicBezTo>
                    <a:pt x="328" y="69"/>
                    <a:pt x="328" y="69"/>
                    <a:pt x="328" y="68"/>
                  </a:cubicBezTo>
                  <a:cubicBezTo>
                    <a:pt x="329" y="67"/>
                    <a:pt x="329" y="66"/>
                    <a:pt x="329" y="65"/>
                  </a:cubicBezTo>
                  <a:lnTo>
                    <a:pt x="329" y="65"/>
                  </a:lnTo>
                  <a:cubicBezTo>
                    <a:pt x="329" y="64"/>
                    <a:pt x="329" y="63"/>
                    <a:pt x="329" y="62"/>
                  </a:cubicBezTo>
                  <a:lnTo>
                    <a:pt x="329" y="0"/>
                  </a:lnTo>
                  <a:cubicBezTo>
                    <a:pt x="329" y="0"/>
                    <a:pt x="329" y="0"/>
                    <a:pt x="329" y="0"/>
                  </a:cubicBezTo>
                  <a:cubicBezTo>
                    <a:pt x="297" y="28"/>
                    <a:pt x="237" y="44"/>
                    <a:pt x="165" y="44"/>
                  </a:cubicBezTo>
                  <a:cubicBezTo>
                    <a:pt x="92" y="44"/>
                    <a:pt x="32" y="28"/>
                    <a:pt x="0" y="0"/>
                  </a:cubicBezTo>
                  <a:cubicBezTo>
                    <a:pt x="0" y="0"/>
                    <a:pt x="0" y="0"/>
                    <a:pt x="0" y="0"/>
                  </a:cubicBezTo>
                  <a:lnTo>
                    <a:pt x="0" y="62"/>
                  </a:lnTo>
                  <a:cubicBezTo>
                    <a:pt x="0" y="63"/>
                    <a:pt x="0" y="64"/>
                    <a:pt x="0" y="66"/>
                  </a:cubicBezTo>
                  <a:cubicBezTo>
                    <a:pt x="1" y="67"/>
                    <a:pt x="1" y="67"/>
                    <a:pt x="1" y="68"/>
                  </a:cubicBezTo>
                  <a:cubicBezTo>
                    <a:pt x="1" y="69"/>
                    <a:pt x="2" y="70"/>
                    <a:pt x="2" y="71"/>
                  </a:cubicBezTo>
                  <a:cubicBezTo>
                    <a:pt x="2" y="71"/>
                    <a:pt x="3" y="72"/>
                    <a:pt x="3" y="73"/>
                  </a:cubicBezTo>
                  <a:cubicBezTo>
                    <a:pt x="4" y="74"/>
                    <a:pt x="4" y="75"/>
                    <a:pt x="5" y="75"/>
                  </a:cubicBezTo>
                  <a:cubicBezTo>
                    <a:pt x="6" y="77"/>
                    <a:pt x="7" y="78"/>
                    <a:pt x="7" y="79"/>
                  </a:cubicBezTo>
                  <a:cubicBezTo>
                    <a:pt x="8" y="79"/>
                    <a:pt x="9" y="80"/>
                    <a:pt x="9" y="80"/>
                  </a:cubicBezTo>
                  <a:cubicBezTo>
                    <a:pt x="10" y="82"/>
                    <a:pt x="12" y="83"/>
                    <a:pt x="13" y="84"/>
                  </a:cubicBezTo>
                  <a:lnTo>
                    <a:pt x="15" y="85"/>
                  </a:lnTo>
                  <a:cubicBezTo>
                    <a:pt x="16" y="87"/>
                    <a:pt x="18" y="88"/>
                    <a:pt x="20" y="89"/>
                  </a:cubicBezTo>
                  <a:lnTo>
                    <a:pt x="21" y="90"/>
                  </a:lnTo>
                  <a:cubicBezTo>
                    <a:pt x="23" y="91"/>
                    <a:pt x="26" y="93"/>
                    <a:pt x="28" y="94"/>
                  </a:cubicBezTo>
                  <a:lnTo>
                    <a:pt x="29" y="95"/>
                  </a:lnTo>
                  <a:cubicBezTo>
                    <a:pt x="32" y="96"/>
                    <a:pt x="34" y="98"/>
                    <a:pt x="37" y="99"/>
                  </a:cubicBezTo>
                  <a:cubicBezTo>
                    <a:pt x="55" y="107"/>
                    <a:pt x="76" y="113"/>
                    <a:pt x="99" y="117"/>
                  </a:cubicBezTo>
                  <a:cubicBezTo>
                    <a:pt x="105" y="118"/>
                    <a:pt x="109" y="119"/>
                    <a:pt x="114" y="119"/>
                  </a:cubicBezTo>
                  <a:cubicBezTo>
                    <a:pt x="115" y="119"/>
                    <a:pt x="116" y="120"/>
                    <a:pt x="116" y="120"/>
                  </a:cubicBezTo>
                  <a:cubicBezTo>
                    <a:pt x="121" y="120"/>
                    <a:pt x="126" y="121"/>
                    <a:pt x="130" y="121"/>
                  </a:cubicBezTo>
                  <a:cubicBezTo>
                    <a:pt x="132" y="121"/>
                    <a:pt x="134" y="121"/>
                    <a:pt x="135" y="121"/>
                  </a:cubicBezTo>
                  <a:lnTo>
                    <a:pt x="137" y="121"/>
                  </a:lnTo>
                  <a:cubicBezTo>
                    <a:pt x="140" y="122"/>
                    <a:pt x="144" y="122"/>
                    <a:pt x="147" y="122"/>
                  </a:cubicBezTo>
                  <a:cubicBezTo>
                    <a:pt x="159" y="123"/>
                    <a:pt x="171" y="123"/>
                    <a:pt x="182" y="122"/>
                  </a:cubicBezTo>
                  <a:cubicBezTo>
                    <a:pt x="186" y="122"/>
                    <a:pt x="189" y="122"/>
                    <a:pt x="192" y="121"/>
                  </a:cubicBezTo>
                  <a:lnTo>
                    <a:pt x="196" y="121"/>
                  </a:lnTo>
                  <a:cubicBezTo>
                    <a:pt x="197" y="121"/>
                    <a:pt x="198" y="121"/>
                    <a:pt x="199" y="121"/>
                  </a:cubicBezTo>
                  <a:cubicBezTo>
                    <a:pt x="204" y="121"/>
                    <a:pt x="208" y="120"/>
                    <a:pt x="213" y="120"/>
                  </a:cubicBezTo>
                  <a:lnTo>
                    <a:pt x="215" y="119"/>
                  </a:lnTo>
                  <a:cubicBezTo>
                    <a:pt x="220" y="119"/>
                    <a:pt x="225" y="118"/>
                    <a:pt x="230" y="117"/>
                  </a:cubicBezTo>
                  <a:lnTo>
                    <a:pt x="231" y="117"/>
                  </a:lnTo>
                  <a:cubicBezTo>
                    <a:pt x="254" y="113"/>
                    <a:pt x="275" y="107"/>
                    <a:pt x="292" y="99"/>
                  </a:cubicBezTo>
                  <a:cubicBezTo>
                    <a:pt x="295" y="97"/>
                    <a:pt x="298" y="96"/>
                    <a:pt x="300" y="94"/>
                  </a:cubicBezTo>
                  <a:lnTo>
                    <a:pt x="301" y="9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8">
              <a:extLst>
                <a:ext uri="{FF2B5EF4-FFF2-40B4-BE49-F238E27FC236}">
                  <a16:creationId xmlns:a16="http://schemas.microsoft.com/office/drawing/2014/main" id="{B1994727-523D-47E7-B1C0-0CD40AE57DA3}"/>
                </a:ext>
              </a:extLst>
            </p:cNvPr>
            <p:cNvSpPr>
              <a:spLocks/>
            </p:cNvSpPr>
            <p:nvPr/>
          </p:nvSpPr>
          <p:spPr bwMode="auto">
            <a:xfrm>
              <a:off x="7346919" y="4253365"/>
              <a:ext cx="317500" cy="119063"/>
            </a:xfrm>
            <a:custGeom>
              <a:avLst/>
              <a:gdLst>
                <a:gd name="T0" fmla="*/ 165 w 330"/>
                <a:gd name="T1" fmla="*/ 44 h 123"/>
                <a:gd name="T2" fmla="*/ 165 w 330"/>
                <a:gd name="T3" fmla="*/ 44 h 123"/>
                <a:gd name="T4" fmla="*/ 0 w 330"/>
                <a:gd name="T5" fmla="*/ 0 h 123"/>
                <a:gd name="T6" fmla="*/ 0 w 330"/>
                <a:gd name="T7" fmla="*/ 0 h 123"/>
                <a:gd name="T8" fmla="*/ 0 w 330"/>
                <a:gd name="T9" fmla="*/ 64 h 123"/>
                <a:gd name="T10" fmla="*/ 0 w 330"/>
                <a:gd name="T11" fmla="*/ 65 h 123"/>
                <a:gd name="T12" fmla="*/ 165 w 330"/>
                <a:gd name="T13" fmla="*/ 122 h 123"/>
                <a:gd name="T14" fmla="*/ 329 w 330"/>
                <a:gd name="T15" fmla="*/ 64 h 123"/>
                <a:gd name="T16" fmla="*/ 330 w 330"/>
                <a:gd name="T17" fmla="*/ 63 h 123"/>
                <a:gd name="T18" fmla="*/ 330 w 330"/>
                <a:gd name="T19" fmla="*/ 0 h 123"/>
                <a:gd name="T20" fmla="*/ 329 w 330"/>
                <a:gd name="T21" fmla="*/ 0 h 123"/>
                <a:gd name="T22" fmla="*/ 165 w 330"/>
                <a:gd name="T23" fmla="*/ 4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0" h="123">
                  <a:moveTo>
                    <a:pt x="165" y="44"/>
                  </a:moveTo>
                  <a:lnTo>
                    <a:pt x="165" y="44"/>
                  </a:lnTo>
                  <a:cubicBezTo>
                    <a:pt x="92" y="44"/>
                    <a:pt x="32" y="28"/>
                    <a:pt x="0" y="0"/>
                  </a:cubicBezTo>
                  <a:cubicBezTo>
                    <a:pt x="0" y="0"/>
                    <a:pt x="0" y="0"/>
                    <a:pt x="0" y="0"/>
                  </a:cubicBezTo>
                  <a:lnTo>
                    <a:pt x="0" y="64"/>
                  </a:lnTo>
                  <a:cubicBezTo>
                    <a:pt x="0" y="64"/>
                    <a:pt x="0" y="64"/>
                    <a:pt x="0" y="65"/>
                  </a:cubicBezTo>
                  <a:cubicBezTo>
                    <a:pt x="4" y="92"/>
                    <a:pt x="73" y="123"/>
                    <a:pt x="165" y="122"/>
                  </a:cubicBezTo>
                  <a:cubicBezTo>
                    <a:pt x="257" y="122"/>
                    <a:pt x="326" y="92"/>
                    <a:pt x="329" y="64"/>
                  </a:cubicBezTo>
                  <a:lnTo>
                    <a:pt x="330" y="63"/>
                  </a:lnTo>
                  <a:lnTo>
                    <a:pt x="330" y="0"/>
                  </a:lnTo>
                  <a:cubicBezTo>
                    <a:pt x="329" y="0"/>
                    <a:pt x="329" y="0"/>
                    <a:pt x="329" y="0"/>
                  </a:cubicBezTo>
                  <a:cubicBezTo>
                    <a:pt x="297" y="28"/>
                    <a:pt x="237" y="44"/>
                    <a:pt x="165" y="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9">
              <a:extLst>
                <a:ext uri="{FF2B5EF4-FFF2-40B4-BE49-F238E27FC236}">
                  <a16:creationId xmlns:a16="http://schemas.microsoft.com/office/drawing/2014/main" id="{BAD71554-21E9-43F8-9016-FBFEDE19B2D5}"/>
                </a:ext>
              </a:extLst>
            </p:cNvPr>
            <p:cNvSpPr>
              <a:spLocks/>
            </p:cNvSpPr>
            <p:nvPr/>
          </p:nvSpPr>
          <p:spPr bwMode="auto">
            <a:xfrm>
              <a:off x="7345331" y="3958090"/>
              <a:ext cx="317500" cy="117475"/>
            </a:xfrm>
            <a:custGeom>
              <a:avLst/>
              <a:gdLst>
                <a:gd name="T0" fmla="*/ 165 w 330"/>
                <a:gd name="T1" fmla="*/ 0 h 122"/>
                <a:gd name="T2" fmla="*/ 165 w 330"/>
                <a:gd name="T3" fmla="*/ 0 h 122"/>
                <a:gd name="T4" fmla="*/ 0 w 330"/>
                <a:gd name="T5" fmla="*/ 61 h 122"/>
                <a:gd name="T6" fmla="*/ 165 w 330"/>
                <a:gd name="T7" fmla="*/ 121 h 122"/>
                <a:gd name="T8" fmla="*/ 330 w 330"/>
                <a:gd name="T9" fmla="*/ 61 h 122"/>
                <a:gd name="T10" fmla="*/ 165 w 330"/>
                <a:gd name="T11" fmla="*/ 0 h 122"/>
              </a:gdLst>
              <a:ahLst/>
              <a:cxnLst>
                <a:cxn ang="0">
                  <a:pos x="T0" y="T1"/>
                </a:cxn>
                <a:cxn ang="0">
                  <a:pos x="T2" y="T3"/>
                </a:cxn>
                <a:cxn ang="0">
                  <a:pos x="T4" y="T5"/>
                </a:cxn>
                <a:cxn ang="0">
                  <a:pos x="T6" y="T7"/>
                </a:cxn>
                <a:cxn ang="0">
                  <a:pos x="T8" y="T9"/>
                </a:cxn>
                <a:cxn ang="0">
                  <a:pos x="T10" y="T11"/>
                </a:cxn>
              </a:cxnLst>
              <a:rect l="0" t="0" r="r" b="b"/>
              <a:pathLst>
                <a:path w="330" h="122">
                  <a:moveTo>
                    <a:pt x="165" y="0"/>
                  </a:moveTo>
                  <a:lnTo>
                    <a:pt x="165" y="0"/>
                  </a:lnTo>
                  <a:cubicBezTo>
                    <a:pt x="96" y="1"/>
                    <a:pt x="0" y="24"/>
                    <a:pt x="0" y="61"/>
                  </a:cubicBezTo>
                  <a:cubicBezTo>
                    <a:pt x="1" y="86"/>
                    <a:pt x="63" y="122"/>
                    <a:pt x="165" y="121"/>
                  </a:cubicBezTo>
                  <a:cubicBezTo>
                    <a:pt x="267" y="121"/>
                    <a:pt x="330" y="86"/>
                    <a:pt x="330" y="61"/>
                  </a:cubicBezTo>
                  <a:cubicBezTo>
                    <a:pt x="330" y="35"/>
                    <a:pt x="267" y="0"/>
                    <a:pt x="16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0">
              <a:extLst>
                <a:ext uri="{FF2B5EF4-FFF2-40B4-BE49-F238E27FC236}">
                  <a16:creationId xmlns:a16="http://schemas.microsoft.com/office/drawing/2014/main" id="{4202546D-2155-4F0A-BAB8-6D8814B8EA9F}"/>
                </a:ext>
              </a:extLst>
            </p:cNvPr>
            <p:cNvSpPr>
              <a:spLocks noEditPoints="1"/>
            </p:cNvSpPr>
            <p:nvPr/>
          </p:nvSpPr>
          <p:spPr bwMode="auto">
            <a:xfrm>
              <a:off x="7142131" y="3807277"/>
              <a:ext cx="725488" cy="727075"/>
            </a:xfrm>
            <a:custGeom>
              <a:avLst/>
              <a:gdLst>
                <a:gd name="T0" fmla="*/ 563 w 754"/>
                <a:gd name="T1" fmla="*/ 527 h 752"/>
                <a:gd name="T2" fmla="*/ 563 w 754"/>
                <a:gd name="T3" fmla="*/ 527 h 752"/>
                <a:gd name="T4" fmla="*/ 562 w 754"/>
                <a:gd name="T5" fmla="*/ 532 h 752"/>
                <a:gd name="T6" fmla="*/ 377 w 754"/>
                <a:gd name="T7" fmla="*/ 607 h 752"/>
                <a:gd name="T8" fmla="*/ 192 w 754"/>
                <a:gd name="T9" fmla="*/ 532 h 752"/>
                <a:gd name="T10" fmla="*/ 191 w 754"/>
                <a:gd name="T11" fmla="*/ 528 h 752"/>
                <a:gd name="T12" fmla="*/ 190 w 754"/>
                <a:gd name="T13" fmla="*/ 213 h 752"/>
                <a:gd name="T14" fmla="*/ 192 w 754"/>
                <a:gd name="T15" fmla="*/ 207 h 752"/>
                <a:gd name="T16" fmla="*/ 376 w 754"/>
                <a:gd name="T17" fmla="*/ 133 h 752"/>
                <a:gd name="T18" fmla="*/ 561 w 754"/>
                <a:gd name="T19" fmla="*/ 207 h 752"/>
                <a:gd name="T20" fmla="*/ 562 w 754"/>
                <a:gd name="T21" fmla="*/ 212 h 752"/>
                <a:gd name="T22" fmla="*/ 563 w 754"/>
                <a:gd name="T23" fmla="*/ 527 h 752"/>
                <a:gd name="T24" fmla="*/ 563 w 754"/>
                <a:gd name="T25" fmla="*/ 527 h 752"/>
                <a:gd name="T26" fmla="*/ 376 w 754"/>
                <a:gd name="T27" fmla="*/ 0 h 752"/>
                <a:gd name="T28" fmla="*/ 376 w 754"/>
                <a:gd name="T29" fmla="*/ 0 h 752"/>
                <a:gd name="T30" fmla="*/ 0 w 754"/>
                <a:gd name="T31" fmla="*/ 377 h 752"/>
                <a:gd name="T32" fmla="*/ 377 w 754"/>
                <a:gd name="T33" fmla="*/ 752 h 752"/>
                <a:gd name="T34" fmla="*/ 754 w 754"/>
                <a:gd name="T35" fmla="*/ 375 h 752"/>
                <a:gd name="T36" fmla="*/ 376 w 754"/>
                <a:gd name="T37"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4" h="752">
                  <a:moveTo>
                    <a:pt x="563" y="527"/>
                  </a:moveTo>
                  <a:lnTo>
                    <a:pt x="563" y="527"/>
                  </a:lnTo>
                  <a:cubicBezTo>
                    <a:pt x="563" y="529"/>
                    <a:pt x="563" y="531"/>
                    <a:pt x="562" y="532"/>
                  </a:cubicBezTo>
                  <a:cubicBezTo>
                    <a:pt x="552" y="575"/>
                    <a:pt x="475" y="607"/>
                    <a:pt x="377" y="607"/>
                  </a:cubicBezTo>
                  <a:cubicBezTo>
                    <a:pt x="279" y="607"/>
                    <a:pt x="201" y="576"/>
                    <a:pt x="192" y="532"/>
                  </a:cubicBezTo>
                  <a:cubicBezTo>
                    <a:pt x="191" y="531"/>
                    <a:pt x="191" y="529"/>
                    <a:pt x="191" y="528"/>
                  </a:cubicBezTo>
                  <a:lnTo>
                    <a:pt x="190" y="213"/>
                  </a:lnTo>
                  <a:cubicBezTo>
                    <a:pt x="190" y="211"/>
                    <a:pt x="191" y="209"/>
                    <a:pt x="192" y="207"/>
                  </a:cubicBezTo>
                  <a:cubicBezTo>
                    <a:pt x="203" y="157"/>
                    <a:pt x="295" y="133"/>
                    <a:pt x="376" y="133"/>
                  </a:cubicBezTo>
                  <a:cubicBezTo>
                    <a:pt x="457" y="133"/>
                    <a:pt x="549" y="156"/>
                    <a:pt x="561" y="207"/>
                  </a:cubicBezTo>
                  <a:cubicBezTo>
                    <a:pt x="562" y="209"/>
                    <a:pt x="562" y="211"/>
                    <a:pt x="562" y="212"/>
                  </a:cubicBezTo>
                  <a:lnTo>
                    <a:pt x="563" y="527"/>
                  </a:lnTo>
                  <a:lnTo>
                    <a:pt x="563" y="527"/>
                  </a:lnTo>
                  <a:close/>
                  <a:moveTo>
                    <a:pt x="376" y="0"/>
                  </a:moveTo>
                  <a:lnTo>
                    <a:pt x="376" y="0"/>
                  </a:lnTo>
                  <a:cubicBezTo>
                    <a:pt x="168" y="1"/>
                    <a:pt x="0" y="170"/>
                    <a:pt x="0" y="377"/>
                  </a:cubicBezTo>
                  <a:cubicBezTo>
                    <a:pt x="0" y="585"/>
                    <a:pt x="169" y="752"/>
                    <a:pt x="377" y="752"/>
                  </a:cubicBezTo>
                  <a:cubicBezTo>
                    <a:pt x="585" y="751"/>
                    <a:pt x="754" y="584"/>
                    <a:pt x="754" y="375"/>
                  </a:cubicBezTo>
                  <a:cubicBezTo>
                    <a:pt x="753" y="169"/>
                    <a:pt x="584" y="0"/>
                    <a:pt x="3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86" name="Group 285">
            <a:extLst>
              <a:ext uri="{FF2B5EF4-FFF2-40B4-BE49-F238E27FC236}">
                <a16:creationId xmlns:a16="http://schemas.microsoft.com/office/drawing/2014/main" id="{DC496830-2631-4CF1-9FEB-06D3D0CA138B}"/>
              </a:ext>
            </a:extLst>
          </p:cNvPr>
          <p:cNvGrpSpPr/>
          <p:nvPr/>
        </p:nvGrpSpPr>
        <p:grpSpPr>
          <a:xfrm>
            <a:off x="9071751" y="2530057"/>
            <a:ext cx="365760" cy="365760"/>
            <a:chOff x="7946994" y="3807277"/>
            <a:chExt cx="725488" cy="727075"/>
          </a:xfrm>
          <a:solidFill>
            <a:schemeClr val="bg2"/>
          </a:solidFill>
        </p:grpSpPr>
        <p:sp>
          <p:nvSpPr>
            <p:cNvPr id="287" name="Freeform 11">
              <a:extLst>
                <a:ext uri="{FF2B5EF4-FFF2-40B4-BE49-F238E27FC236}">
                  <a16:creationId xmlns:a16="http://schemas.microsoft.com/office/drawing/2014/main" id="{C48CE378-E8E1-4EE4-8BFA-7BD0599FA080}"/>
                </a:ext>
              </a:extLst>
            </p:cNvPr>
            <p:cNvSpPr>
              <a:spLocks noEditPoints="1"/>
            </p:cNvSpPr>
            <p:nvPr/>
          </p:nvSpPr>
          <p:spPr bwMode="auto">
            <a:xfrm>
              <a:off x="7946994" y="3807277"/>
              <a:ext cx="725488" cy="727075"/>
            </a:xfrm>
            <a:custGeom>
              <a:avLst/>
              <a:gdLst>
                <a:gd name="T0" fmla="*/ 377 w 754"/>
                <a:gd name="T1" fmla="*/ 721 h 752"/>
                <a:gd name="T2" fmla="*/ 377 w 754"/>
                <a:gd name="T3" fmla="*/ 721 h 752"/>
                <a:gd name="T4" fmla="*/ 31 w 754"/>
                <a:gd name="T5" fmla="*/ 376 h 752"/>
                <a:gd name="T6" fmla="*/ 377 w 754"/>
                <a:gd name="T7" fmla="*/ 33 h 752"/>
                <a:gd name="T8" fmla="*/ 724 w 754"/>
                <a:gd name="T9" fmla="*/ 376 h 752"/>
                <a:gd name="T10" fmla="*/ 377 w 754"/>
                <a:gd name="T11" fmla="*/ 721 h 752"/>
                <a:gd name="T12" fmla="*/ 377 w 754"/>
                <a:gd name="T13" fmla="*/ 721 h 752"/>
                <a:gd name="T14" fmla="*/ 377 w 754"/>
                <a:gd name="T15" fmla="*/ 0 h 752"/>
                <a:gd name="T16" fmla="*/ 377 w 754"/>
                <a:gd name="T17" fmla="*/ 0 h 752"/>
                <a:gd name="T18" fmla="*/ 0 w 754"/>
                <a:gd name="T19" fmla="*/ 376 h 752"/>
                <a:gd name="T20" fmla="*/ 377 w 754"/>
                <a:gd name="T21" fmla="*/ 752 h 752"/>
                <a:gd name="T22" fmla="*/ 754 w 754"/>
                <a:gd name="T23" fmla="*/ 376 h 752"/>
                <a:gd name="T24" fmla="*/ 377 w 754"/>
                <a:gd name="T25"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4" h="752">
                  <a:moveTo>
                    <a:pt x="377" y="721"/>
                  </a:moveTo>
                  <a:lnTo>
                    <a:pt x="377" y="721"/>
                  </a:lnTo>
                  <a:cubicBezTo>
                    <a:pt x="187" y="721"/>
                    <a:pt x="31" y="567"/>
                    <a:pt x="31" y="376"/>
                  </a:cubicBezTo>
                  <a:cubicBezTo>
                    <a:pt x="31" y="187"/>
                    <a:pt x="187" y="33"/>
                    <a:pt x="377" y="33"/>
                  </a:cubicBezTo>
                  <a:cubicBezTo>
                    <a:pt x="567" y="33"/>
                    <a:pt x="724" y="187"/>
                    <a:pt x="724" y="376"/>
                  </a:cubicBezTo>
                  <a:cubicBezTo>
                    <a:pt x="724" y="567"/>
                    <a:pt x="567" y="721"/>
                    <a:pt x="377" y="721"/>
                  </a:cubicBezTo>
                  <a:lnTo>
                    <a:pt x="377" y="721"/>
                  </a:lnTo>
                  <a:close/>
                  <a:moveTo>
                    <a:pt x="377" y="0"/>
                  </a:moveTo>
                  <a:lnTo>
                    <a:pt x="377" y="0"/>
                  </a:lnTo>
                  <a:cubicBezTo>
                    <a:pt x="170" y="0"/>
                    <a:pt x="0" y="169"/>
                    <a:pt x="0" y="376"/>
                  </a:cubicBezTo>
                  <a:cubicBezTo>
                    <a:pt x="0" y="584"/>
                    <a:pt x="170" y="752"/>
                    <a:pt x="377" y="752"/>
                  </a:cubicBezTo>
                  <a:cubicBezTo>
                    <a:pt x="585" y="752"/>
                    <a:pt x="754" y="584"/>
                    <a:pt x="754" y="376"/>
                  </a:cubicBezTo>
                  <a:cubicBezTo>
                    <a:pt x="754" y="169"/>
                    <a:pt x="585" y="0"/>
                    <a:pt x="3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2">
              <a:extLst>
                <a:ext uri="{FF2B5EF4-FFF2-40B4-BE49-F238E27FC236}">
                  <a16:creationId xmlns:a16="http://schemas.microsoft.com/office/drawing/2014/main" id="{B2F2ABB2-0A8C-4283-A5AF-3F42E7052ED1}"/>
                </a:ext>
              </a:extLst>
            </p:cNvPr>
            <p:cNvSpPr>
              <a:spLocks noEditPoints="1"/>
            </p:cNvSpPr>
            <p:nvPr/>
          </p:nvSpPr>
          <p:spPr bwMode="auto">
            <a:xfrm>
              <a:off x="8131144" y="3935865"/>
              <a:ext cx="357188" cy="458788"/>
            </a:xfrm>
            <a:custGeom>
              <a:avLst/>
              <a:gdLst>
                <a:gd name="T0" fmla="*/ 22 w 372"/>
                <a:gd name="T1" fmla="*/ 84 h 474"/>
                <a:gd name="T2" fmla="*/ 186 w 372"/>
                <a:gd name="T3" fmla="*/ 144 h 474"/>
                <a:gd name="T4" fmla="*/ 186 w 372"/>
                <a:gd name="T5" fmla="*/ 372 h 474"/>
                <a:gd name="T6" fmla="*/ 351 w 372"/>
                <a:gd name="T7" fmla="*/ 391 h 474"/>
                <a:gd name="T8" fmla="*/ 22 w 372"/>
                <a:gd name="T9" fmla="*/ 393 h 474"/>
                <a:gd name="T10" fmla="*/ 22 w 372"/>
                <a:gd name="T11" fmla="*/ 328 h 474"/>
                <a:gd name="T12" fmla="*/ 322 w 372"/>
                <a:gd name="T13" fmla="*/ 320 h 474"/>
                <a:gd name="T14" fmla="*/ 252 w 372"/>
                <a:gd name="T15" fmla="*/ 343 h 474"/>
                <a:gd name="T16" fmla="*/ 234 w 372"/>
                <a:gd name="T17" fmla="*/ 346 h 474"/>
                <a:gd name="T18" fmla="*/ 214 w 372"/>
                <a:gd name="T19" fmla="*/ 347 h 474"/>
                <a:gd name="T20" fmla="*/ 158 w 372"/>
                <a:gd name="T21" fmla="*/ 347 h 474"/>
                <a:gd name="T22" fmla="*/ 138 w 372"/>
                <a:gd name="T23" fmla="*/ 346 h 474"/>
                <a:gd name="T24" fmla="*/ 59 w 372"/>
                <a:gd name="T25" fmla="*/ 325 h 474"/>
                <a:gd name="T26" fmla="*/ 42 w 372"/>
                <a:gd name="T27" fmla="*/ 315 h 474"/>
                <a:gd name="T28" fmla="*/ 35 w 372"/>
                <a:gd name="T29" fmla="*/ 310 h 474"/>
                <a:gd name="T30" fmla="*/ 27 w 372"/>
                <a:gd name="T31" fmla="*/ 301 h 474"/>
                <a:gd name="T32" fmla="*/ 23 w 372"/>
                <a:gd name="T33" fmla="*/ 294 h 474"/>
                <a:gd name="T34" fmla="*/ 22 w 372"/>
                <a:gd name="T35" fmla="*/ 226 h 474"/>
                <a:gd name="T36" fmla="*/ 351 w 372"/>
                <a:gd name="T37" fmla="*/ 227 h 474"/>
                <a:gd name="T38" fmla="*/ 351 w 372"/>
                <a:gd name="T39" fmla="*/ 291 h 474"/>
                <a:gd name="T40" fmla="*/ 349 w 372"/>
                <a:gd name="T41" fmla="*/ 296 h 474"/>
                <a:gd name="T42" fmla="*/ 344 w 372"/>
                <a:gd name="T43" fmla="*/ 304 h 474"/>
                <a:gd name="T44" fmla="*/ 336 w 372"/>
                <a:gd name="T45" fmla="*/ 311 h 474"/>
                <a:gd name="T46" fmla="*/ 323 w 372"/>
                <a:gd name="T47" fmla="*/ 320 h 474"/>
                <a:gd name="T48" fmla="*/ 48 w 372"/>
                <a:gd name="T49" fmla="*/ 221 h 474"/>
                <a:gd name="T50" fmla="*/ 48 w 372"/>
                <a:gd name="T51" fmla="*/ 221 h 474"/>
                <a:gd name="T52" fmla="*/ 22 w 372"/>
                <a:gd name="T53" fmla="*/ 124 h 474"/>
                <a:gd name="T54" fmla="*/ 29 w 372"/>
                <a:gd name="T55" fmla="*/ 130 h 474"/>
                <a:gd name="T56" fmla="*/ 48 w 372"/>
                <a:gd name="T57" fmla="*/ 142 h 474"/>
                <a:gd name="T58" fmla="*/ 64 w 372"/>
                <a:gd name="T59" fmla="*/ 148 h 474"/>
                <a:gd name="T60" fmla="*/ 90 w 372"/>
                <a:gd name="T61" fmla="*/ 157 h 474"/>
                <a:gd name="T62" fmla="*/ 110 w 372"/>
                <a:gd name="T63" fmla="*/ 161 h 474"/>
                <a:gd name="T64" fmla="*/ 143 w 372"/>
                <a:gd name="T65" fmla="*/ 166 h 474"/>
                <a:gd name="T66" fmla="*/ 167 w 372"/>
                <a:gd name="T67" fmla="*/ 168 h 474"/>
                <a:gd name="T68" fmla="*/ 226 w 372"/>
                <a:gd name="T69" fmla="*/ 166 h 474"/>
                <a:gd name="T70" fmla="*/ 250 w 372"/>
                <a:gd name="T71" fmla="*/ 163 h 474"/>
                <a:gd name="T72" fmla="*/ 281 w 372"/>
                <a:gd name="T73" fmla="*/ 157 h 474"/>
                <a:gd name="T74" fmla="*/ 300 w 372"/>
                <a:gd name="T75" fmla="*/ 152 h 474"/>
                <a:gd name="T76" fmla="*/ 323 w 372"/>
                <a:gd name="T77" fmla="*/ 142 h 474"/>
                <a:gd name="T78" fmla="*/ 336 w 372"/>
                <a:gd name="T79" fmla="*/ 135 h 474"/>
                <a:gd name="T80" fmla="*/ 351 w 372"/>
                <a:gd name="T81" fmla="*/ 124 h 474"/>
                <a:gd name="T82" fmla="*/ 350 w 372"/>
                <a:gd name="T83" fmla="*/ 192 h 474"/>
                <a:gd name="T84" fmla="*/ 346 w 372"/>
                <a:gd name="T85" fmla="*/ 199 h 474"/>
                <a:gd name="T86" fmla="*/ 338 w 372"/>
                <a:gd name="T87" fmla="*/ 208 h 474"/>
                <a:gd name="T88" fmla="*/ 330 w 372"/>
                <a:gd name="T89" fmla="*/ 214 h 474"/>
                <a:gd name="T90" fmla="*/ 313 w 372"/>
                <a:gd name="T91" fmla="*/ 223 h 474"/>
                <a:gd name="T92" fmla="*/ 237 w 372"/>
                <a:gd name="T93" fmla="*/ 243 h 474"/>
                <a:gd name="T94" fmla="*/ 216 w 372"/>
                <a:gd name="T95" fmla="*/ 245 h 474"/>
                <a:gd name="T96" fmla="*/ 169 w 372"/>
                <a:gd name="T97" fmla="*/ 246 h 474"/>
                <a:gd name="T98" fmla="*/ 139 w 372"/>
                <a:gd name="T99" fmla="*/ 244 h 474"/>
                <a:gd name="T100" fmla="*/ 121 w 372"/>
                <a:gd name="T101" fmla="*/ 241 h 474"/>
                <a:gd name="T102" fmla="*/ 50 w 372"/>
                <a:gd name="T103" fmla="*/ 218 h 474"/>
                <a:gd name="T104" fmla="*/ 36 w 372"/>
                <a:gd name="T105" fmla="*/ 209 h 474"/>
                <a:gd name="T106" fmla="*/ 29 w 372"/>
                <a:gd name="T107" fmla="*/ 202 h 474"/>
                <a:gd name="T108" fmla="*/ 24 w 372"/>
                <a:gd name="T109" fmla="*/ 194 h 474"/>
                <a:gd name="T110" fmla="*/ 22 w 372"/>
                <a:gd name="T111" fmla="*/ 186 h 474"/>
                <a:gd name="T112" fmla="*/ 371 w 372"/>
                <a:gd name="T113" fmla="*/ 74 h 474"/>
                <a:gd name="T114" fmla="*/ 2 w 372"/>
                <a:gd name="T115" fmla="*/ 74 h 474"/>
                <a:gd name="T116" fmla="*/ 1 w 372"/>
                <a:gd name="T117" fmla="*/ 399 h 474"/>
                <a:gd name="T118" fmla="*/ 372 w 372"/>
                <a:gd name="T119" fmla="*/ 39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2" h="474">
                  <a:moveTo>
                    <a:pt x="186" y="144"/>
                  </a:moveTo>
                  <a:lnTo>
                    <a:pt x="186" y="144"/>
                  </a:lnTo>
                  <a:cubicBezTo>
                    <a:pt x="84" y="144"/>
                    <a:pt x="22" y="109"/>
                    <a:pt x="22" y="84"/>
                  </a:cubicBezTo>
                  <a:cubicBezTo>
                    <a:pt x="22" y="46"/>
                    <a:pt x="118" y="23"/>
                    <a:pt x="186" y="23"/>
                  </a:cubicBezTo>
                  <a:cubicBezTo>
                    <a:pt x="288" y="23"/>
                    <a:pt x="351" y="59"/>
                    <a:pt x="351" y="84"/>
                  </a:cubicBezTo>
                  <a:cubicBezTo>
                    <a:pt x="351" y="109"/>
                    <a:pt x="288" y="144"/>
                    <a:pt x="186" y="144"/>
                  </a:cubicBezTo>
                  <a:lnTo>
                    <a:pt x="186" y="144"/>
                  </a:lnTo>
                  <a:close/>
                  <a:moveTo>
                    <a:pt x="186" y="372"/>
                  </a:moveTo>
                  <a:lnTo>
                    <a:pt x="186" y="372"/>
                  </a:lnTo>
                  <a:cubicBezTo>
                    <a:pt x="259" y="372"/>
                    <a:pt x="319" y="356"/>
                    <a:pt x="351" y="329"/>
                  </a:cubicBezTo>
                  <a:cubicBezTo>
                    <a:pt x="351" y="328"/>
                    <a:pt x="351" y="328"/>
                    <a:pt x="351" y="328"/>
                  </a:cubicBezTo>
                  <a:lnTo>
                    <a:pt x="351" y="391"/>
                  </a:lnTo>
                  <a:lnTo>
                    <a:pt x="351" y="392"/>
                  </a:lnTo>
                  <a:cubicBezTo>
                    <a:pt x="347" y="420"/>
                    <a:pt x="279" y="450"/>
                    <a:pt x="186" y="450"/>
                  </a:cubicBezTo>
                  <a:cubicBezTo>
                    <a:pt x="94" y="450"/>
                    <a:pt x="26" y="420"/>
                    <a:pt x="22" y="393"/>
                  </a:cubicBezTo>
                  <a:cubicBezTo>
                    <a:pt x="22" y="392"/>
                    <a:pt x="22" y="392"/>
                    <a:pt x="22" y="392"/>
                  </a:cubicBezTo>
                  <a:lnTo>
                    <a:pt x="22" y="328"/>
                  </a:lnTo>
                  <a:cubicBezTo>
                    <a:pt x="22" y="328"/>
                    <a:pt x="22" y="328"/>
                    <a:pt x="22" y="328"/>
                  </a:cubicBezTo>
                  <a:cubicBezTo>
                    <a:pt x="53" y="356"/>
                    <a:pt x="113" y="372"/>
                    <a:pt x="186" y="372"/>
                  </a:cubicBezTo>
                  <a:lnTo>
                    <a:pt x="186" y="372"/>
                  </a:lnTo>
                  <a:close/>
                  <a:moveTo>
                    <a:pt x="322" y="320"/>
                  </a:moveTo>
                  <a:lnTo>
                    <a:pt x="322" y="320"/>
                  </a:lnTo>
                  <a:cubicBezTo>
                    <a:pt x="320" y="322"/>
                    <a:pt x="317" y="323"/>
                    <a:pt x="313" y="325"/>
                  </a:cubicBezTo>
                  <a:cubicBezTo>
                    <a:pt x="297" y="333"/>
                    <a:pt x="275" y="339"/>
                    <a:pt x="252" y="343"/>
                  </a:cubicBezTo>
                  <a:lnTo>
                    <a:pt x="251" y="343"/>
                  </a:lnTo>
                  <a:cubicBezTo>
                    <a:pt x="247" y="344"/>
                    <a:pt x="242" y="345"/>
                    <a:pt x="237" y="345"/>
                  </a:cubicBezTo>
                  <a:lnTo>
                    <a:pt x="234" y="346"/>
                  </a:lnTo>
                  <a:cubicBezTo>
                    <a:pt x="230" y="346"/>
                    <a:pt x="225" y="347"/>
                    <a:pt x="221" y="347"/>
                  </a:cubicBezTo>
                  <a:cubicBezTo>
                    <a:pt x="220" y="347"/>
                    <a:pt x="219" y="347"/>
                    <a:pt x="217" y="347"/>
                  </a:cubicBezTo>
                  <a:lnTo>
                    <a:pt x="214" y="347"/>
                  </a:lnTo>
                  <a:cubicBezTo>
                    <a:pt x="210" y="348"/>
                    <a:pt x="207" y="348"/>
                    <a:pt x="204" y="348"/>
                  </a:cubicBezTo>
                  <a:cubicBezTo>
                    <a:pt x="192" y="349"/>
                    <a:pt x="180" y="349"/>
                    <a:pt x="169" y="348"/>
                  </a:cubicBezTo>
                  <a:cubicBezTo>
                    <a:pt x="165" y="348"/>
                    <a:pt x="162" y="348"/>
                    <a:pt x="158" y="347"/>
                  </a:cubicBezTo>
                  <a:lnTo>
                    <a:pt x="157" y="347"/>
                  </a:lnTo>
                  <a:cubicBezTo>
                    <a:pt x="155" y="347"/>
                    <a:pt x="154" y="347"/>
                    <a:pt x="152" y="347"/>
                  </a:cubicBezTo>
                  <a:cubicBezTo>
                    <a:pt x="147" y="347"/>
                    <a:pt x="143" y="346"/>
                    <a:pt x="138" y="346"/>
                  </a:cubicBezTo>
                  <a:cubicBezTo>
                    <a:pt x="137" y="345"/>
                    <a:pt x="137" y="345"/>
                    <a:pt x="136" y="345"/>
                  </a:cubicBezTo>
                  <a:cubicBezTo>
                    <a:pt x="131" y="345"/>
                    <a:pt x="126" y="344"/>
                    <a:pt x="121" y="343"/>
                  </a:cubicBezTo>
                  <a:cubicBezTo>
                    <a:pt x="98" y="339"/>
                    <a:pt x="76" y="333"/>
                    <a:pt x="59" y="325"/>
                  </a:cubicBezTo>
                  <a:cubicBezTo>
                    <a:pt x="56" y="323"/>
                    <a:pt x="53" y="322"/>
                    <a:pt x="51" y="320"/>
                  </a:cubicBezTo>
                  <a:lnTo>
                    <a:pt x="50" y="320"/>
                  </a:lnTo>
                  <a:cubicBezTo>
                    <a:pt x="47" y="319"/>
                    <a:pt x="45" y="317"/>
                    <a:pt x="42" y="315"/>
                  </a:cubicBezTo>
                  <a:lnTo>
                    <a:pt x="41" y="315"/>
                  </a:lnTo>
                  <a:cubicBezTo>
                    <a:pt x="40" y="314"/>
                    <a:pt x="38" y="312"/>
                    <a:pt x="36" y="311"/>
                  </a:cubicBezTo>
                  <a:lnTo>
                    <a:pt x="35" y="310"/>
                  </a:lnTo>
                  <a:cubicBezTo>
                    <a:pt x="33" y="308"/>
                    <a:pt x="32" y="307"/>
                    <a:pt x="31" y="306"/>
                  </a:cubicBezTo>
                  <a:cubicBezTo>
                    <a:pt x="30" y="306"/>
                    <a:pt x="30" y="305"/>
                    <a:pt x="29" y="304"/>
                  </a:cubicBezTo>
                  <a:cubicBezTo>
                    <a:pt x="28" y="303"/>
                    <a:pt x="27" y="302"/>
                    <a:pt x="27" y="301"/>
                  </a:cubicBezTo>
                  <a:cubicBezTo>
                    <a:pt x="26" y="300"/>
                    <a:pt x="26" y="300"/>
                    <a:pt x="25" y="299"/>
                  </a:cubicBezTo>
                  <a:cubicBezTo>
                    <a:pt x="25" y="298"/>
                    <a:pt x="24" y="297"/>
                    <a:pt x="24" y="296"/>
                  </a:cubicBezTo>
                  <a:cubicBezTo>
                    <a:pt x="23" y="296"/>
                    <a:pt x="23" y="295"/>
                    <a:pt x="23" y="294"/>
                  </a:cubicBezTo>
                  <a:cubicBezTo>
                    <a:pt x="22" y="293"/>
                    <a:pt x="22" y="292"/>
                    <a:pt x="22" y="291"/>
                  </a:cubicBezTo>
                  <a:cubicBezTo>
                    <a:pt x="22" y="290"/>
                    <a:pt x="22" y="289"/>
                    <a:pt x="22" y="288"/>
                  </a:cubicBezTo>
                  <a:lnTo>
                    <a:pt x="22" y="226"/>
                  </a:lnTo>
                  <a:cubicBezTo>
                    <a:pt x="22" y="226"/>
                    <a:pt x="22" y="226"/>
                    <a:pt x="22" y="226"/>
                  </a:cubicBezTo>
                  <a:cubicBezTo>
                    <a:pt x="53" y="254"/>
                    <a:pt x="113" y="270"/>
                    <a:pt x="186" y="270"/>
                  </a:cubicBezTo>
                  <a:cubicBezTo>
                    <a:pt x="259" y="270"/>
                    <a:pt x="319" y="254"/>
                    <a:pt x="351" y="227"/>
                  </a:cubicBezTo>
                  <a:cubicBezTo>
                    <a:pt x="351" y="226"/>
                    <a:pt x="351" y="226"/>
                    <a:pt x="351" y="226"/>
                  </a:cubicBezTo>
                  <a:lnTo>
                    <a:pt x="351" y="288"/>
                  </a:lnTo>
                  <a:cubicBezTo>
                    <a:pt x="351" y="289"/>
                    <a:pt x="351" y="290"/>
                    <a:pt x="351" y="291"/>
                  </a:cubicBezTo>
                  <a:lnTo>
                    <a:pt x="351" y="291"/>
                  </a:lnTo>
                  <a:cubicBezTo>
                    <a:pt x="350" y="292"/>
                    <a:pt x="350" y="293"/>
                    <a:pt x="350" y="294"/>
                  </a:cubicBezTo>
                  <a:cubicBezTo>
                    <a:pt x="350" y="295"/>
                    <a:pt x="349" y="296"/>
                    <a:pt x="349" y="296"/>
                  </a:cubicBezTo>
                  <a:cubicBezTo>
                    <a:pt x="349" y="297"/>
                    <a:pt x="348" y="298"/>
                    <a:pt x="348" y="299"/>
                  </a:cubicBezTo>
                  <a:cubicBezTo>
                    <a:pt x="347" y="300"/>
                    <a:pt x="347" y="301"/>
                    <a:pt x="346" y="301"/>
                  </a:cubicBezTo>
                  <a:cubicBezTo>
                    <a:pt x="345" y="302"/>
                    <a:pt x="344" y="303"/>
                    <a:pt x="344" y="304"/>
                  </a:cubicBezTo>
                  <a:cubicBezTo>
                    <a:pt x="343" y="305"/>
                    <a:pt x="342" y="306"/>
                    <a:pt x="342" y="306"/>
                  </a:cubicBezTo>
                  <a:cubicBezTo>
                    <a:pt x="341" y="307"/>
                    <a:pt x="340" y="308"/>
                    <a:pt x="338" y="310"/>
                  </a:cubicBezTo>
                  <a:cubicBezTo>
                    <a:pt x="338" y="310"/>
                    <a:pt x="337" y="311"/>
                    <a:pt x="336" y="311"/>
                  </a:cubicBezTo>
                  <a:cubicBezTo>
                    <a:pt x="335" y="312"/>
                    <a:pt x="333" y="314"/>
                    <a:pt x="331" y="315"/>
                  </a:cubicBezTo>
                  <a:cubicBezTo>
                    <a:pt x="331" y="315"/>
                    <a:pt x="330" y="316"/>
                    <a:pt x="330" y="316"/>
                  </a:cubicBezTo>
                  <a:cubicBezTo>
                    <a:pt x="328" y="317"/>
                    <a:pt x="325" y="319"/>
                    <a:pt x="323" y="320"/>
                  </a:cubicBezTo>
                  <a:lnTo>
                    <a:pt x="322" y="320"/>
                  </a:lnTo>
                  <a:lnTo>
                    <a:pt x="322" y="320"/>
                  </a:lnTo>
                  <a:close/>
                  <a:moveTo>
                    <a:pt x="48" y="221"/>
                  </a:moveTo>
                  <a:lnTo>
                    <a:pt x="48" y="221"/>
                  </a:lnTo>
                  <a:lnTo>
                    <a:pt x="48" y="221"/>
                  </a:lnTo>
                  <a:lnTo>
                    <a:pt x="48" y="221"/>
                  </a:lnTo>
                  <a:lnTo>
                    <a:pt x="48" y="221"/>
                  </a:lnTo>
                  <a:lnTo>
                    <a:pt x="48" y="221"/>
                  </a:lnTo>
                  <a:close/>
                  <a:moveTo>
                    <a:pt x="22" y="124"/>
                  </a:moveTo>
                  <a:lnTo>
                    <a:pt x="22" y="124"/>
                  </a:lnTo>
                  <a:cubicBezTo>
                    <a:pt x="23" y="126"/>
                    <a:pt x="26" y="127"/>
                    <a:pt x="28" y="129"/>
                  </a:cubicBezTo>
                  <a:lnTo>
                    <a:pt x="29" y="130"/>
                  </a:lnTo>
                  <a:cubicBezTo>
                    <a:pt x="32" y="132"/>
                    <a:pt x="34" y="133"/>
                    <a:pt x="37" y="135"/>
                  </a:cubicBezTo>
                  <a:lnTo>
                    <a:pt x="39" y="137"/>
                  </a:lnTo>
                  <a:cubicBezTo>
                    <a:pt x="42" y="138"/>
                    <a:pt x="45" y="140"/>
                    <a:pt x="48" y="142"/>
                  </a:cubicBezTo>
                  <a:cubicBezTo>
                    <a:pt x="49" y="142"/>
                    <a:pt x="49" y="142"/>
                    <a:pt x="49" y="142"/>
                  </a:cubicBezTo>
                  <a:cubicBezTo>
                    <a:pt x="53" y="144"/>
                    <a:pt x="56" y="145"/>
                    <a:pt x="60" y="147"/>
                  </a:cubicBezTo>
                  <a:lnTo>
                    <a:pt x="64" y="148"/>
                  </a:lnTo>
                  <a:cubicBezTo>
                    <a:pt x="67" y="150"/>
                    <a:pt x="70" y="151"/>
                    <a:pt x="74" y="152"/>
                  </a:cubicBezTo>
                  <a:cubicBezTo>
                    <a:pt x="75" y="152"/>
                    <a:pt x="76" y="153"/>
                    <a:pt x="77" y="153"/>
                  </a:cubicBezTo>
                  <a:cubicBezTo>
                    <a:pt x="81" y="154"/>
                    <a:pt x="85" y="156"/>
                    <a:pt x="90" y="157"/>
                  </a:cubicBezTo>
                  <a:cubicBezTo>
                    <a:pt x="90" y="157"/>
                    <a:pt x="91" y="157"/>
                    <a:pt x="92" y="157"/>
                  </a:cubicBezTo>
                  <a:cubicBezTo>
                    <a:pt x="96" y="158"/>
                    <a:pt x="101" y="159"/>
                    <a:pt x="105" y="160"/>
                  </a:cubicBezTo>
                  <a:lnTo>
                    <a:pt x="110" y="161"/>
                  </a:lnTo>
                  <a:cubicBezTo>
                    <a:pt x="114" y="162"/>
                    <a:pt x="118" y="163"/>
                    <a:pt x="122" y="163"/>
                  </a:cubicBezTo>
                  <a:lnTo>
                    <a:pt x="126" y="164"/>
                  </a:lnTo>
                  <a:cubicBezTo>
                    <a:pt x="131" y="165"/>
                    <a:pt x="137" y="165"/>
                    <a:pt x="143" y="166"/>
                  </a:cubicBezTo>
                  <a:lnTo>
                    <a:pt x="147" y="166"/>
                  </a:lnTo>
                  <a:cubicBezTo>
                    <a:pt x="152" y="167"/>
                    <a:pt x="156" y="167"/>
                    <a:pt x="161" y="167"/>
                  </a:cubicBezTo>
                  <a:lnTo>
                    <a:pt x="167" y="168"/>
                  </a:lnTo>
                  <a:cubicBezTo>
                    <a:pt x="180" y="168"/>
                    <a:pt x="193" y="168"/>
                    <a:pt x="206" y="168"/>
                  </a:cubicBezTo>
                  <a:lnTo>
                    <a:pt x="212" y="167"/>
                  </a:lnTo>
                  <a:cubicBezTo>
                    <a:pt x="217" y="167"/>
                    <a:pt x="221" y="167"/>
                    <a:pt x="226" y="166"/>
                  </a:cubicBezTo>
                  <a:lnTo>
                    <a:pt x="230" y="166"/>
                  </a:lnTo>
                  <a:cubicBezTo>
                    <a:pt x="236" y="165"/>
                    <a:pt x="241" y="165"/>
                    <a:pt x="247" y="164"/>
                  </a:cubicBezTo>
                  <a:lnTo>
                    <a:pt x="250" y="163"/>
                  </a:lnTo>
                  <a:cubicBezTo>
                    <a:pt x="255" y="163"/>
                    <a:pt x="259" y="162"/>
                    <a:pt x="263" y="161"/>
                  </a:cubicBezTo>
                  <a:lnTo>
                    <a:pt x="268" y="160"/>
                  </a:lnTo>
                  <a:cubicBezTo>
                    <a:pt x="272" y="159"/>
                    <a:pt x="276" y="158"/>
                    <a:pt x="281" y="157"/>
                  </a:cubicBezTo>
                  <a:lnTo>
                    <a:pt x="283" y="157"/>
                  </a:lnTo>
                  <a:cubicBezTo>
                    <a:pt x="287" y="156"/>
                    <a:pt x="292" y="154"/>
                    <a:pt x="296" y="153"/>
                  </a:cubicBezTo>
                  <a:lnTo>
                    <a:pt x="300" y="152"/>
                  </a:lnTo>
                  <a:cubicBezTo>
                    <a:pt x="303" y="151"/>
                    <a:pt x="306" y="150"/>
                    <a:pt x="309" y="148"/>
                  </a:cubicBezTo>
                  <a:lnTo>
                    <a:pt x="312" y="147"/>
                  </a:lnTo>
                  <a:cubicBezTo>
                    <a:pt x="316" y="145"/>
                    <a:pt x="320" y="144"/>
                    <a:pt x="323" y="142"/>
                  </a:cubicBezTo>
                  <a:cubicBezTo>
                    <a:pt x="324" y="142"/>
                    <a:pt x="324" y="142"/>
                    <a:pt x="325" y="141"/>
                  </a:cubicBezTo>
                  <a:cubicBezTo>
                    <a:pt x="328" y="140"/>
                    <a:pt x="331" y="138"/>
                    <a:pt x="334" y="137"/>
                  </a:cubicBezTo>
                  <a:lnTo>
                    <a:pt x="336" y="135"/>
                  </a:lnTo>
                  <a:cubicBezTo>
                    <a:pt x="339" y="133"/>
                    <a:pt x="341" y="132"/>
                    <a:pt x="344" y="130"/>
                  </a:cubicBezTo>
                  <a:lnTo>
                    <a:pt x="345" y="129"/>
                  </a:lnTo>
                  <a:cubicBezTo>
                    <a:pt x="347" y="127"/>
                    <a:pt x="349" y="126"/>
                    <a:pt x="351" y="124"/>
                  </a:cubicBezTo>
                  <a:lnTo>
                    <a:pt x="351" y="186"/>
                  </a:lnTo>
                  <a:cubicBezTo>
                    <a:pt x="351" y="187"/>
                    <a:pt x="351" y="188"/>
                    <a:pt x="351" y="189"/>
                  </a:cubicBezTo>
                  <a:cubicBezTo>
                    <a:pt x="350" y="190"/>
                    <a:pt x="350" y="191"/>
                    <a:pt x="350" y="192"/>
                  </a:cubicBezTo>
                  <a:cubicBezTo>
                    <a:pt x="350" y="193"/>
                    <a:pt x="349" y="194"/>
                    <a:pt x="349" y="194"/>
                  </a:cubicBezTo>
                  <a:cubicBezTo>
                    <a:pt x="349" y="195"/>
                    <a:pt x="348" y="196"/>
                    <a:pt x="348" y="197"/>
                  </a:cubicBezTo>
                  <a:cubicBezTo>
                    <a:pt x="347" y="198"/>
                    <a:pt x="347" y="198"/>
                    <a:pt x="346" y="199"/>
                  </a:cubicBezTo>
                  <a:cubicBezTo>
                    <a:pt x="345" y="200"/>
                    <a:pt x="345" y="201"/>
                    <a:pt x="344" y="202"/>
                  </a:cubicBezTo>
                  <a:lnTo>
                    <a:pt x="342" y="204"/>
                  </a:lnTo>
                  <a:cubicBezTo>
                    <a:pt x="341" y="205"/>
                    <a:pt x="340" y="206"/>
                    <a:pt x="338" y="208"/>
                  </a:cubicBezTo>
                  <a:lnTo>
                    <a:pt x="336" y="209"/>
                  </a:lnTo>
                  <a:cubicBezTo>
                    <a:pt x="335" y="210"/>
                    <a:pt x="333" y="212"/>
                    <a:pt x="331" y="213"/>
                  </a:cubicBezTo>
                  <a:lnTo>
                    <a:pt x="330" y="214"/>
                  </a:lnTo>
                  <a:cubicBezTo>
                    <a:pt x="328" y="215"/>
                    <a:pt x="325" y="217"/>
                    <a:pt x="323" y="218"/>
                  </a:cubicBezTo>
                  <a:lnTo>
                    <a:pt x="322" y="218"/>
                  </a:lnTo>
                  <a:cubicBezTo>
                    <a:pt x="319" y="220"/>
                    <a:pt x="317" y="221"/>
                    <a:pt x="313" y="223"/>
                  </a:cubicBezTo>
                  <a:cubicBezTo>
                    <a:pt x="296" y="231"/>
                    <a:pt x="275" y="237"/>
                    <a:pt x="252" y="241"/>
                  </a:cubicBezTo>
                  <a:lnTo>
                    <a:pt x="251" y="241"/>
                  </a:lnTo>
                  <a:cubicBezTo>
                    <a:pt x="247" y="242"/>
                    <a:pt x="242" y="243"/>
                    <a:pt x="237" y="243"/>
                  </a:cubicBezTo>
                  <a:cubicBezTo>
                    <a:pt x="236" y="243"/>
                    <a:pt x="235" y="243"/>
                    <a:pt x="234" y="244"/>
                  </a:cubicBezTo>
                  <a:cubicBezTo>
                    <a:pt x="230" y="244"/>
                    <a:pt x="225" y="245"/>
                    <a:pt x="221" y="245"/>
                  </a:cubicBezTo>
                  <a:cubicBezTo>
                    <a:pt x="219" y="245"/>
                    <a:pt x="217" y="245"/>
                    <a:pt x="216" y="245"/>
                  </a:cubicBezTo>
                  <a:lnTo>
                    <a:pt x="214" y="245"/>
                  </a:lnTo>
                  <a:cubicBezTo>
                    <a:pt x="211" y="246"/>
                    <a:pt x="207" y="246"/>
                    <a:pt x="204" y="246"/>
                  </a:cubicBezTo>
                  <a:cubicBezTo>
                    <a:pt x="192" y="246"/>
                    <a:pt x="180" y="246"/>
                    <a:pt x="169" y="246"/>
                  </a:cubicBezTo>
                  <a:cubicBezTo>
                    <a:pt x="166" y="246"/>
                    <a:pt x="164" y="246"/>
                    <a:pt x="162" y="246"/>
                  </a:cubicBezTo>
                  <a:lnTo>
                    <a:pt x="152" y="245"/>
                  </a:lnTo>
                  <a:cubicBezTo>
                    <a:pt x="147" y="245"/>
                    <a:pt x="143" y="244"/>
                    <a:pt x="139" y="244"/>
                  </a:cubicBezTo>
                  <a:lnTo>
                    <a:pt x="136" y="243"/>
                  </a:lnTo>
                  <a:cubicBezTo>
                    <a:pt x="131" y="243"/>
                    <a:pt x="126" y="242"/>
                    <a:pt x="122" y="241"/>
                  </a:cubicBezTo>
                  <a:lnTo>
                    <a:pt x="121" y="241"/>
                  </a:lnTo>
                  <a:cubicBezTo>
                    <a:pt x="98" y="237"/>
                    <a:pt x="76" y="231"/>
                    <a:pt x="59" y="223"/>
                  </a:cubicBezTo>
                  <a:cubicBezTo>
                    <a:pt x="56" y="221"/>
                    <a:pt x="53" y="220"/>
                    <a:pt x="51" y="219"/>
                  </a:cubicBezTo>
                  <a:cubicBezTo>
                    <a:pt x="50" y="218"/>
                    <a:pt x="50" y="218"/>
                    <a:pt x="50" y="218"/>
                  </a:cubicBezTo>
                  <a:cubicBezTo>
                    <a:pt x="47" y="217"/>
                    <a:pt x="45" y="215"/>
                    <a:pt x="43" y="214"/>
                  </a:cubicBezTo>
                  <a:lnTo>
                    <a:pt x="41" y="213"/>
                  </a:lnTo>
                  <a:cubicBezTo>
                    <a:pt x="40" y="212"/>
                    <a:pt x="38" y="210"/>
                    <a:pt x="36" y="209"/>
                  </a:cubicBezTo>
                  <a:cubicBezTo>
                    <a:pt x="36" y="209"/>
                    <a:pt x="35" y="208"/>
                    <a:pt x="35" y="208"/>
                  </a:cubicBezTo>
                  <a:cubicBezTo>
                    <a:pt x="33" y="206"/>
                    <a:pt x="32" y="205"/>
                    <a:pt x="31" y="204"/>
                  </a:cubicBezTo>
                  <a:cubicBezTo>
                    <a:pt x="30" y="204"/>
                    <a:pt x="30" y="203"/>
                    <a:pt x="29" y="202"/>
                  </a:cubicBezTo>
                  <a:cubicBezTo>
                    <a:pt x="28" y="201"/>
                    <a:pt x="27" y="200"/>
                    <a:pt x="27" y="199"/>
                  </a:cubicBezTo>
                  <a:cubicBezTo>
                    <a:pt x="26" y="198"/>
                    <a:pt x="26" y="198"/>
                    <a:pt x="25" y="197"/>
                  </a:cubicBezTo>
                  <a:cubicBezTo>
                    <a:pt x="25" y="196"/>
                    <a:pt x="24" y="195"/>
                    <a:pt x="24" y="194"/>
                  </a:cubicBezTo>
                  <a:cubicBezTo>
                    <a:pt x="23" y="193"/>
                    <a:pt x="23" y="193"/>
                    <a:pt x="23" y="192"/>
                  </a:cubicBezTo>
                  <a:cubicBezTo>
                    <a:pt x="22" y="191"/>
                    <a:pt x="22" y="190"/>
                    <a:pt x="22" y="189"/>
                  </a:cubicBezTo>
                  <a:cubicBezTo>
                    <a:pt x="22" y="188"/>
                    <a:pt x="22" y="187"/>
                    <a:pt x="22" y="186"/>
                  </a:cubicBezTo>
                  <a:lnTo>
                    <a:pt x="22" y="124"/>
                  </a:lnTo>
                  <a:lnTo>
                    <a:pt x="22" y="124"/>
                  </a:lnTo>
                  <a:close/>
                  <a:moveTo>
                    <a:pt x="371" y="74"/>
                  </a:moveTo>
                  <a:lnTo>
                    <a:pt x="371" y="74"/>
                  </a:lnTo>
                  <a:cubicBezTo>
                    <a:pt x="359" y="23"/>
                    <a:pt x="267" y="0"/>
                    <a:pt x="186" y="0"/>
                  </a:cubicBezTo>
                  <a:cubicBezTo>
                    <a:pt x="106" y="0"/>
                    <a:pt x="13" y="23"/>
                    <a:pt x="2" y="74"/>
                  </a:cubicBezTo>
                  <a:cubicBezTo>
                    <a:pt x="1" y="76"/>
                    <a:pt x="0" y="78"/>
                    <a:pt x="0" y="80"/>
                  </a:cubicBezTo>
                  <a:lnTo>
                    <a:pt x="0" y="394"/>
                  </a:lnTo>
                  <a:cubicBezTo>
                    <a:pt x="0" y="396"/>
                    <a:pt x="1" y="398"/>
                    <a:pt x="1" y="399"/>
                  </a:cubicBezTo>
                  <a:cubicBezTo>
                    <a:pt x="10" y="442"/>
                    <a:pt x="88" y="474"/>
                    <a:pt x="186" y="474"/>
                  </a:cubicBezTo>
                  <a:cubicBezTo>
                    <a:pt x="284" y="474"/>
                    <a:pt x="362" y="443"/>
                    <a:pt x="371" y="399"/>
                  </a:cubicBezTo>
                  <a:cubicBezTo>
                    <a:pt x="372" y="398"/>
                    <a:pt x="372" y="396"/>
                    <a:pt x="372" y="394"/>
                  </a:cubicBezTo>
                  <a:lnTo>
                    <a:pt x="372" y="80"/>
                  </a:lnTo>
                  <a:cubicBezTo>
                    <a:pt x="372" y="78"/>
                    <a:pt x="372" y="76"/>
                    <a:pt x="371" y="7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89" name="TextBox 288">
            <a:extLst>
              <a:ext uri="{FF2B5EF4-FFF2-40B4-BE49-F238E27FC236}">
                <a16:creationId xmlns:a16="http://schemas.microsoft.com/office/drawing/2014/main" id="{7666587A-5593-4C4D-BAA8-9E3AAE4ACF84}"/>
              </a:ext>
            </a:extLst>
          </p:cNvPr>
          <p:cNvSpPr txBox="1"/>
          <p:nvPr/>
        </p:nvSpPr>
        <p:spPr>
          <a:xfrm>
            <a:off x="8620513" y="2945736"/>
            <a:ext cx="871625"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atabase</a:t>
            </a:r>
          </a:p>
        </p:txBody>
      </p:sp>
      <p:grpSp>
        <p:nvGrpSpPr>
          <p:cNvPr id="290" name="Group 289">
            <a:extLst>
              <a:ext uri="{FF2B5EF4-FFF2-40B4-BE49-F238E27FC236}">
                <a16:creationId xmlns:a16="http://schemas.microsoft.com/office/drawing/2014/main" id="{6A2A4358-5DE1-426D-A690-FB8072684185}"/>
              </a:ext>
            </a:extLst>
          </p:cNvPr>
          <p:cNvGrpSpPr/>
          <p:nvPr/>
        </p:nvGrpSpPr>
        <p:grpSpPr>
          <a:xfrm>
            <a:off x="9944729" y="2535881"/>
            <a:ext cx="365292" cy="365292"/>
            <a:chOff x="13136563" y="1622425"/>
            <a:chExt cx="3327400" cy="3327400"/>
          </a:xfrm>
          <a:solidFill>
            <a:schemeClr val="bg2"/>
          </a:solidFill>
        </p:grpSpPr>
        <p:sp>
          <p:nvSpPr>
            <p:cNvPr id="291" name="Freeform 231">
              <a:extLst>
                <a:ext uri="{FF2B5EF4-FFF2-40B4-BE49-F238E27FC236}">
                  <a16:creationId xmlns:a16="http://schemas.microsoft.com/office/drawing/2014/main" id="{C7DFAE2C-4835-4640-8E71-24BDA088DC2B}"/>
                </a:ext>
              </a:extLst>
            </p:cNvPr>
            <p:cNvSpPr>
              <a:spLocks noEditPoints="1"/>
            </p:cNvSpPr>
            <p:nvPr/>
          </p:nvSpPr>
          <p:spPr bwMode="auto">
            <a:xfrm>
              <a:off x="13136563" y="1622425"/>
              <a:ext cx="3327400" cy="3327400"/>
            </a:xfrm>
            <a:custGeom>
              <a:avLst/>
              <a:gdLst>
                <a:gd name="T0" fmla="*/ 888 w 2096"/>
                <a:gd name="T1" fmla="*/ 12 h 2096"/>
                <a:gd name="T2" fmla="*/ 640 w 2096"/>
                <a:gd name="T3" fmla="*/ 82 h 2096"/>
                <a:gd name="T4" fmla="*/ 420 w 2096"/>
                <a:gd name="T5" fmla="*/ 208 h 2096"/>
                <a:gd name="T6" fmla="*/ 240 w 2096"/>
                <a:gd name="T7" fmla="*/ 380 h 2096"/>
                <a:gd name="T8" fmla="*/ 104 w 2096"/>
                <a:gd name="T9" fmla="*/ 592 h 2096"/>
                <a:gd name="T10" fmla="*/ 22 w 2096"/>
                <a:gd name="T11" fmla="*/ 836 h 2096"/>
                <a:gd name="T12" fmla="*/ 0 w 2096"/>
                <a:gd name="T13" fmla="*/ 1048 h 2096"/>
                <a:gd name="T14" fmla="*/ 34 w 2096"/>
                <a:gd name="T15" fmla="*/ 1310 h 2096"/>
                <a:gd name="T16" fmla="*/ 126 w 2096"/>
                <a:gd name="T17" fmla="*/ 1546 h 2096"/>
                <a:gd name="T18" fmla="*/ 272 w 2096"/>
                <a:gd name="T19" fmla="*/ 1752 h 2096"/>
                <a:gd name="T20" fmla="*/ 462 w 2096"/>
                <a:gd name="T21" fmla="*/ 1916 h 2096"/>
                <a:gd name="T22" fmla="*/ 688 w 2096"/>
                <a:gd name="T23" fmla="*/ 2032 h 2096"/>
                <a:gd name="T24" fmla="*/ 940 w 2096"/>
                <a:gd name="T25" fmla="*/ 2090 h 2096"/>
                <a:gd name="T26" fmla="*/ 1156 w 2096"/>
                <a:gd name="T27" fmla="*/ 2090 h 2096"/>
                <a:gd name="T28" fmla="*/ 1408 w 2096"/>
                <a:gd name="T29" fmla="*/ 2032 h 2096"/>
                <a:gd name="T30" fmla="*/ 1634 w 2096"/>
                <a:gd name="T31" fmla="*/ 1916 h 2096"/>
                <a:gd name="T32" fmla="*/ 1824 w 2096"/>
                <a:gd name="T33" fmla="*/ 1752 h 2096"/>
                <a:gd name="T34" fmla="*/ 1970 w 2096"/>
                <a:gd name="T35" fmla="*/ 1546 h 2096"/>
                <a:gd name="T36" fmla="*/ 2064 w 2096"/>
                <a:gd name="T37" fmla="*/ 1310 h 2096"/>
                <a:gd name="T38" fmla="*/ 2096 w 2096"/>
                <a:gd name="T39" fmla="*/ 1048 h 2096"/>
                <a:gd name="T40" fmla="*/ 2074 w 2096"/>
                <a:gd name="T41" fmla="*/ 836 h 2096"/>
                <a:gd name="T42" fmla="*/ 1992 w 2096"/>
                <a:gd name="T43" fmla="*/ 592 h 2096"/>
                <a:gd name="T44" fmla="*/ 1856 w 2096"/>
                <a:gd name="T45" fmla="*/ 380 h 2096"/>
                <a:gd name="T46" fmla="*/ 1674 w 2096"/>
                <a:gd name="T47" fmla="*/ 208 h 2096"/>
                <a:gd name="T48" fmla="*/ 1456 w 2096"/>
                <a:gd name="T49" fmla="*/ 82 h 2096"/>
                <a:gd name="T50" fmla="*/ 1208 w 2096"/>
                <a:gd name="T51" fmla="*/ 12 h 2096"/>
                <a:gd name="T52" fmla="*/ 1048 w 2096"/>
                <a:gd name="T53" fmla="*/ 86 h 2096"/>
                <a:gd name="T54" fmla="*/ 1288 w 2096"/>
                <a:gd name="T55" fmla="*/ 116 h 2096"/>
                <a:gd name="T56" fmla="*/ 1504 w 2096"/>
                <a:gd name="T57" fmla="*/ 202 h 2096"/>
                <a:gd name="T58" fmla="*/ 1692 w 2096"/>
                <a:gd name="T59" fmla="*/ 336 h 2096"/>
                <a:gd name="T60" fmla="*/ 1842 w 2096"/>
                <a:gd name="T61" fmla="*/ 510 h 2096"/>
                <a:gd name="T62" fmla="*/ 1948 w 2096"/>
                <a:gd name="T63" fmla="*/ 718 h 2096"/>
                <a:gd name="T64" fmla="*/ 2002 w 2096"/>
                <a:gd name="T65" fmla="*/ 950 h 2096"/>
                <a:gd name="T66" fmla="*/ 2002 w 2096"/>
                <a:gd name="T67" fmla="*/ 1146 h 2096"/>
                <a:gd name="T68" fmla="*/ 1948 w 2096"/>
                <a:gd name="T69" fmla="*/ 1378 h 2096"/>
                <a:gd name="T70" fmla="*/ 1842 w 2096"/>
                <a:gd name="T71" fmla="*/ 1584 h 2096"/>
                <a:gd name="T72" fmla="*/ 1692 w 2096"/>
                <a:gd name="T73" fmla="*/ 1756 h 2096"/>
                <a:gd name="T74" fmla="*/ 1504 w 2096"/>
                <a:gd name="T75" fmla="*/ 1890 h 2096"/>
                <a:gd name="T76" fmla="*/ 1288 w 2096"/>
                <a:gd name="T77" fmla="*/ 1976 h 2096"/>
                <a:gd name="T78" fmla="*/ 1048 w 2096"/>
                <a:gd name="T79" fmla="*/ 2006 h 2096"/>
                <a:gd name="T80" fmla="*/ 854 w 2096"/>
                <a:gd name="T81" fmla="*/ 1986 h 2096"/>
                <a:gd name="T82" fmla="*/ 632 w 2096"/>
                <a:gd name="T83" fmla="*/ 1912 h 2096"/>
                <a:gd name="T84" fmla="*/ 436 w 2096"/>
                <a:gd name="T85" fmla="*/ 1786 h 2096"/>
                <a:gd name="T86" fmla="*/ 278 w 2096"/>
                <a:gd name="T87" fmla="*/ 1620 h 2096"/>
                <a:gd name="T88" fmla="*/ 162 w 2096"/>
                <a:gd name="T89" fmla="*/ 1420 h 2096"/>
                <a:gd name="T90" fmla="*/ 98 w 2096"/>
                <a:gd name="T91" fmla="*/ 1194 h 2096"/>
                <a:gd name="T92" fmla="*/ 88 w 2096"/>
                <a:gd name="T93" fmla="*/ 998 h 2096"/>
                <a:gd name="T94" fmla="*/ 130 w 2096"/>
                <a:gd name="T95" fmla="*/ 762 h 2096"/>
                <a:gd name="T96" fmla="*/ 226 w 2096"/>
                <a:gd name="T97" fmla="*/ 550 h 2096"/>
                <a:gd name="T98" fmla="*/ 368 w 2096"/>
                <a:gd name="T99" fmla="*/ 368 h 2096"/>
                <a:gd name="T100" fmla="*/ 550 w 2096"/>
                <a:gd name="T101" fmla="*/ 226 h 2096"/>
                <a:gd name="T102" fmla="*/ 762 w 2096"/>
                <a:gd name="T103" fmla="*/ 130 h 2096"/>
                <a:gd name="T104" fmla="*/ 998 w 2096"/>
                <a:gd name="T105" fmla="*/ 88 h 2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6" h="2096">
                  <a:moveTo>
                    <a:pt x="1048" y="0"/>
                  </a:moveTo>
                  <a:lnTo>
                    <a:pt x="1048" y="0"/>
                  </a:lnTo>
                  <a:lnTo>
                    <a:pt x="994" y="2"/>
                  </a:lnTo>
                  <a:lnTo>
                    <a:pt x="940" y="6"/>
                  </a:lnTo>
                  <a:lnTo>
                    <a:pt x="888" y="12"/>
                  </a:lnTo>
                  <a:lnTo>
                    <a:pt x="836" y="22"/>
                  </a:lnTo>
                  <a:lnTo>
                    <a:pt x="786" y="34"/>
                  </a:lnTo>
                  <a:lnTo>
                    <a:pt x="736" y="48"/>
                  </a:lnTo>
                  <a:lnTo>
                    <a:pt x="688" y="64"/>
                  </a:lnTo>
                  <a:lnTo>
                    <a:pt x="640" y="82"/>
                  </a:lnTo>
                  <a:lnTo>
                    <a:pt x="594" y="104"/>
                  </a:lnTo>
                  <a:lnTo>
                    <a:pt x="548" y="126"/>
                  </a:lnTo>
                  <a:lnTo>
                    <a:pt x="504" y="152"/>
                  </a:lnTo>
                  <a:lnTo>
                    <a:pt x="462" y="178"/>
                  </a:lnTo>
                  <a:lnTo>
                    <a:pt x="420" y="208"/>
                  </a:lnTo>
                  <a:lnTo>
                    <a:pt x="382" y="238"/>
                  </a:lnTo>
                  <a:lnTo>
                    <a:pt x="344" y="272"/>
                  </a:lnTo>
                  <a:lnTo>
                    <a:pt x="306" y="306"/>
                  </a:lnTo>
                  <a:lnTo>
                    <a:pt x="272" y="342"/>
                  </a:lnTo>
                  <a:lnTo>
                    <a:pt x="240" y="380"/>
                  </a:lnTo>
                  <a:lnTo>
                    <a:pt x="208" y="420"/>
                  </a:lnTo>
                  <a:lnTo>
                    <a:pt x="180" y="462"/>
                  </a:lnTo>
                  <a:lnTo>
                    <a:pt x="152" y="504"/>
                  </a:lnTo>
                  <a:lnTo>
                    <a:pt x="126" y="548"/>
                  </a:lnTo>
                  <a:lnTo>
                    <a:pt x="104" y="592"/>
                  </a:lnTo>
                  <a:lnTo>
                    <a:pt x="82" y="640"/>
                  </a:lnTo>
                  <a:lnTo>
                    <a:pt x="64" y="686"/>
                  </a:lnTo>
                  <a:lnTo>
                    <a:pt x="48" y="736"/>
                  </a:lnTo>
                  <a:lnTo>
                    <a:pt x="34" y="786"/>
                  </a:lnTo>
                  <a:lnTo>
                    <a:pt x="22" y="836"/>
                  </a:lnTo>
                  <a:lnTo>
                    <a:pt x="12" y="888"/>
                  </a:lnTo>
                  <a:lnTo>
                    <a:pt x="6" y="940"/>
                  </a:lnTo>
                  <a:lnTo>
                    <a:pt x="2" y="994"/>
                  </a:lnTo>
                  <a:lnTo>
                    <a:pt x="0" y="1048"/>
                  </a:lnTo>
                  <a:lnTo>
                    <a:pt x="0" y="1048"/>
                  </a:lnTo>
                  <a:lnTo>
                    <a:pt x="2" y="1102"/>
                  </a:lnTo>
                  <a:lnTo>
                    <a:pt x="6" y="1156"/>
                  </a:lnTo>
                  <a:lnTo>
                    <a:pt x="12" y="1208"/>
                  </a:lnTo>
                  <a:lnTo>
                    <a:pt x="22" y="1258"/>
                  </a:lnTo>
                  <a:lnTo>
                    <a:pt x="34" y="1310"/>
                  </a:lnTo>
                  <a:lnTo>
                    <a:pt x="48" y="1360"/>
                  </a:lnTo>
                  <a:lnTo>
                    <a:pt x="64" y="1408"/>
                  </a:lnTo>
                  <a:lnTo>
                    <a:pt x="82" y="1456"/>
                  </a:lnTo>
                  <a:lnTo>
                    <a:pt x="104" y="1502"/>
                  </a:lnTo>
                  <a:lnTo>
                    <a:pt x="126" y="1546"/>
                  </a:lnTo>
                  <a:lnTo>
                    <a:pt x="152" y="1590"/>
                  </a:lnTo>
                  <a:lnTo>
                    <a:pt x="180" y="1634"/>
                  </a:lnTo>
                  <a:lnTo>
                    <a:pt x="208" y="1674"/>
                  </a:lnTo>
                  <a:lnTo>
                    <a:pt x="240" y="1714"/>
                  </a:lnTo>
                  <a:lnTo>
                    <a:pt x="272" y="1752"/>
                  </a:lnTo>
                  <a:lnTo>
                    <a:pt x="306" y="1788"/>
                  </a:lnTo>
                  <a:lnTo>
                    <a:pt x="344" y="1824"/>
                  </a:lnTo>
                  <a:lnTo>
                    <a:pt x="382" y="1856"/>
                  </a:lnTo>
                  <a:lnTo>
                    <a:pt x="420" y="1888"/>
                  </a:lnTo>
                  <a:lnTo>
                    <a:pt x="462" y="1916"/>
                  </a:lnTo>
                  <a:lnTo>
                    <a:pt x="504" y="1944"/>
                  </a:lnTo>
                  <a:lnTo>
                    <a:pt x="548" y="1970"/>
                  </a:lnTo>
                  <a:lnTo>
                    <a:pt x="594" y="1992"/>
                  </a:lnTo>
                  <a:lnTo>
                    <a:pt x="640" y="2014"/>
                  </a:lnTo>
                  <a:lnTo>
                    <a:pt x="688" y="2032"/>
                  </a:lnTo>
                  <a:lnTo>
                    <a:pt x="736" y="2048"/>
                  </a:lnTo>
                  <a:lnTo>
                    <a:pt x="786" y="2062"/>
                  </a:lnTo>
                  <a:lnTo>
                    <a:pt x="836" y="2074"/>
                  </a:lnTo>
                  <a:lnTo>
                    <a:pt x="888" y="2084"/>
                  </a:lnTo>
                  <a:lnTo>
                    <a:pt x="940" y="2090"/>
                  </a:lnTo>
                  <a:lnTo>
                    <a:pt x="994" y="2094"/>
                  </a:lnTo>
                  <a:lnTo>
                    <a:pt x="1048" y="2096"/>
                  </a:lnTo>
                  <a:lnTo>
                    <a:pt x="1048" y="2096"/>
                  </a:lnTo>
                  <a:lnTo>
                    <a:pt x="1102" y="2094"/>
                  </a:lnTo>
                  <a:lnTo>
                    <a:pt x="1156" y="2090"/>
                  </a:lnTo>
                  <a:lnTo>
                    <a:pt x="1208" y="2084"/>
                  </a:lnTo>
                  <a:lnTo>
                    <a:pt x="1260" y="2074"/>
                  </a:lnTo>
                  <a:lnTo>
                    <a:pt x="1310" y="2062"/>
                  </a:lnTo>
                  <a:lnTo>
                    <a:pt x="1360" y="2048"/>
                  </a:lnTo>
                  <a:lnTo>
                    <a:pt x="1408" y="2032"/>
                  </a:lnTo>
                  <a:lnTo>
                    <a:pt x="1456" y="2014"/>
                  </a:lnTo>
                  <a:lnTo>
                    <a:pt x="1502" y="1992"/>
                  </a:lnTo>
                  <a:lnTo>
                    <a:pt x="1548" y="1970"/>
                  </a:lnTo>
                  <a:lnTo>
                    <a:pt x="1592" y="1944"/>
                  </a:lnTo>
                  <a:lnTo>
                    <a:pt x="1634" y="1916"/>
                  </a:lnTo>
                  <a:lnTo>
                    <a:pt x="1674" y="1888"/>
                  </a:lnTo>
                  <a:lnTo>
                    <a:pt x="1714" y="1856"/>
                  </a:lnTo>
                  <a:lnTo>
                    <a:pt x="1752" y="1824"/>
                  </a:lnTo>
                  <a:lnTo>
                    <a:pt x="1788" y="1788"/>
                  </a:lnTo>
                  <a:lnTo>
                    <a:pt x="1824" y="1752"/>
                  </a:lnTo>
                  <a:lnTo>
                    <a:pt x="1856" y="1714"/>
                  </a:lnTo>
                  <a:lnTo>
                    <a:pt x="1888" y="1674"/>
                  </a:lnTo>
                  <a:lnTo>
                    <a:pt x="1916" y="1634"/>
                  </a:lnTo>
                  <a:lnTo>
                    <a:pt x="1944" y="1590"/>
                  </a:lnTo>
                  <a:lnTo>
                    <a:pt x="1970" y="1546"/>
                  </a:lnTo>
                  <a:lnTo>
                    <a:pt x="1992" y="1502"/>
                  </a:lnTo>
                  <a:lnTo>
                    <a:pt x="2014" y="1456"/>
                  </a:lnTo>
                  <a:lnTo>
                    <a:pt x="2032" y="1408"/>
                  </a:lnTo>
                  <a:lnTo>
                    <a:pt x="2050" y="1360"/>
                  </a:lnTo>
                  <a:lnTo>
                    <a:pt x="2064" y="1310"/>
                  </a:lnTo>
                  <a:lnTo>
                    <a:pt x="2074" y="1258"/>
                  </a:lnTo>
                  <a:lnTo>
                    <a:pt x="2084" y="1208"/>
                  </a:lnTo>
                  <a:lnTo>
                    <a:pt x="2090" y="1156"/>
                  </a:lnTo>
                  <a:lnTo>
                    <a:pt x="2094" y="1102"/>
                  </a:lnTo>
                  <a:lnTo>
                    <a:pt x="2096" y="1048"/>
                  </a:lnTo>
                  <a:lnTo>
                    <a:pt x="2096" y="1048"/>
                  </a:lnTo>
                  <a:lnTo>
                    <a:pt x="2094" y="994"/>
                  </a:lnTo>
                  <a:lnTo>
                    <a:pt x="2090" y="940"/>
                  </a:lnTo>
                  <a:lnTo>
                    <a:pt x="2084" y="888"/>
                  </a:lnTo>
                  <a:lnTo>
                    <a:pt x="2074" y="836"/>
                  </a:lnTo>
                  <a:lnTo>
                    <a:pt x="2064" y="786"/>
                  </a:lnTo>
                  <a:lnTo>
                    <a:pt x="2050" y="736"/>
                  </a:lnTo>
                  <a:lnTo>
                    <a:pt x="2032" y="686"/>
                  </a:lnTo>
                  <a:lnTo>
                    <a:pt x="2014" y="640"/>
                  </a:lnTo>
                  <a:lnTo>
                    <a:pt x="1992" y="592"/>
                  </a:lnTo>
                  <a:lnTo>
                    <a:pt x="1970" y="548"/>
                  </a:lnTo>
                  <a:lnTo>
                    <a:pt x="1944" y="504"/>
                  </a:lnTo>
                  <a:lnTo>
                    <a:pt x="1916" y="462"/>
                  </a:lnTo>
                  <a:lnTo>
                    <a:pt x="1888" y="420"/>
                  </a:lnTo>
                  <a:lnTo>
                    <a:pt x="1856" y="380"/>
                  </a:lnTo>
                  <a:lnTo>
                    <a:pt x="1824" y="342"/>
                  </a:lnTo>
                  <a:lnTo>
                    <a:pt x="1788" y="306"/>
                  </a:lnTo>
                  <a:lnTo>
                    <a:pt x="1752" y="272"/>
                  </a:lnTo>
                  <a:lnTo>
                    <a:pt x="1714" y="238"/>
                  </a:lnTo>
                  <a:lnTo>
                    <a:pt x="1674" y="208"/>
                  </a:lnTo>
                  <a:lnTo>
                    <a:pt x="1634" y="178"/>
                  </a:lnTo>
                  <a:lnTo>
                    <a:pt x="1592" y="152"/>
                  </a:lnTo>
                  <a:lnTo>
                    <a:pt x="1548" y="126"/>
                  </a:lnTo>
                  <a:lnTo>
                    <a:pt x="1502" y="104"/>
                  </a:lnTo>
                  <a:lnTo>
                    <a:pt x="1456" y="82"/>
                  </a:lnTo>
                  <a:lnTo>
                    <a:pt x="1408" y="64"/>
                  </a:lnTo>
                  <a:lnTo>
                    <a:pt x="1360" y="48"/>
                  </a:lnTo>
                  <a:lnTo>
                    <a:pt x="1310" y="34"/>
                  </a:lnTo>
                  <a:lnTo>
                    <a:pt x="1260" y="22"/>
                  </a:lnTo>
                  <a:lnTo>
                    <a:pt x="1208" y="12"/>
                  </a:lnTo>
                  <a:lnTo>
                    <a:pt x="1156" y="6"/>
                  </a:lnTo>
                  <a:lnTo>
                    <a:pt x="1102" y="2"/>
                  </a:lnTo>
                  <a:lnTo>
                    <a:pt x="1048" y="0"/>
                  </a:lnTo>
                  <a:close/>
                  <a:moveTo>
                    <a:pt x="1048" y="86"/>
                  </a:moveTo>
                  <a:lnTo>
                    <a:pt x="1048" y="86"/>
                  </a:lnTo>
                  <a:lnTo>
                    <a:pt x="1098" y="88"/>
                  </a:lnTo>
                  <a:lnTo>
                    <a:pt x="1146" y="92"/>
                  </a:lnTo>
                  <a:lnTo>
                    <a:pt x="1194" y="98"/>
                  </a:lnTo>
                  <a:lnTo>
                    <a:pt x="1242" y="106"/>
                  </a:lnTo>
                  <a:lnTo>
                    <a:pt x="1288" y="116"/>
                  </a:lnTo>
                  <a:lnTo>
                    <a:pt x="1334" y="130"/>
                  </a:lnTo>
                  <a:lnTo>
                    <a:pt x="1378" y="144"/>
                  </a:lnTo>
                  <a:lnTo>
                    <a:pt x="1420" y="162"/>
                  </a:lnTo>
                  <a:lnTo>
                    <a:pt x="1464" y="180"/>
                  </a:lnTo>
                  <a:lnTo>
                    <a:pt x="1504" y="202"/>
                  </a:lnTo>
                  <a:lnTo>
                    <a:pt x="1544" y="226"/>
                  </a:lnTo>
                  <a:lnTo>
                    <a:pt x="1584" y="250"/>
                  </a:lnTo>
                  <a:lnTo>
                    <a:pt x="1622" y="278"/>
                  </a:lnTo>
                  <a:lnTo>
                    <a:pt x="1658" y="306"/>
                  </a:lnTo>
                  <a:lnTo>
                    <a:pt x="1692" y="336"/>
                  </a:lnTo>
                  <a:lnTo>
                    <a:pt x="1726" y="368"/>
                  </a:lnTo>
                  <a:lnTo>
                    <a:pt x="1758" y="402"/>
                  </a:lnTo>
                  <a:lnTo>
                    <a:pt x="1788" y="436"/>
                  </a:lnTo>
                  <a:lnTo>
                    <a:pt x="1816" y="472"/>
                  </a:lnTo>
                  <a:lnTo>
                    <a:pt x="1842" y="510"/>
                  </a:lnTo>
                  <a:lnTo>
                    <a:pt x="1868" y="550"/>
                  </a:lnTo>
                  <a:lnTo>
                    <a:pt x="1890" y="590"/>
                  </a:lnTo>
                  <a:lnTo>
                    <a:pt x="1912" y="630"/>
                  </a:lnTo>
                  <a:lnTo>
                    <a:pt x="1930" y="674"/>
                  </a:lnTo>
                  <a:lnTo>
                    <a:pt x="1948" y="718"/>
                  </a:lnTo>
                  <a:lnTo>
                    <a:pt x="1962" y="762"/>
                  </a:lnTo>
                  <a:lnTo>
                    <a:pt x="1976" y="808"/>
                  </a:lnTo>
                  <a:lnTo>
                    <a:pt x="1986" y="854"/>
                  </a:lnTo>
                  <a:lnTo>
                    <a:pt x="1996" y="902"/>
                  </a:lnTo>
                  <a:lnTo>
                    <a:pt x="2002" y="950"/>
                  </a:lnTo>
                  <a:lnTo>
                    <a:pt x="2004" y="998"/>
                  </a:lnTo>
                  <a:lnTo>
                    <a:pt x="2006" y="1048"/>
                  </a:lnTo>
                  <a:lnTo>
                    <a:pt x="2006" y="1048"/>
                  </a:lnTo>
                  <a:lnTo>
                    <a:pt x="2004" y="1098"/>
                  </a:lnTo>
                  <a:lnTo>
                    <a:pt x="2002" y="1146"/>
                  </a:lnTo>
                  <a:lnTo>
                    <a:pt x="1996" y="1194"/>
                  </a:lnTo>
                  <a:lnTo>
                    <a:pt x="1986" y="1240"/>
                  </a:lnTo>
                  <a:lnTo>
                    <a:pt x="1976" y="1288"/>
                  </a:lnTo>
                  <a:lnTo>
                    <a:pt x="1962" y="1332"/>
                  </a:lnTo>
                  <a:lnTo>
                    <a:pt x="1948" y="1378"/>
                  </a:lnTo>
                  <a:lnTo>
                    <a:pt x="1930" y="1420"/>
                  </a:lnTo>
                  <a:lnTo>
                    <a:pt x="1912" y="1462"/>
                  </a:lnTo>
                  <a:lnTo>
                    <a:pt x="1890" y="1504"/>
                  </a:lnTo>
                  <a:lnTo>
                    <a:pt x="1868" y="1544"/>
                  </a:lnTo>
                  <a:lnTo>
                    <a:pt x="1842" y="1584"/>
                  </a:lnTo>
                  <a:lnTo>
                    <a:pt x="1816" y="1620"/>
                  </a:lnTo>
                  <a:lnTo>
                    <a:pt x="1788" y="1656"/>
                  </a:lnTo>
                  <a:lnTo>
                    <a:pt x="1758" y="1692"/>
                  </a:lnTo>
                  <a:lnTo>
                    <a:pt x="1726" y="1726"/>
                  </a:lnTo>
                  <a:lnTo>
                    <a:pt x="1692" y="1756"/>
                  </a:lnTo>
                  <a:lnTo>
                    <a:pt x="1658" y="1786"/>
                  </a:lnTo>
                  <a:lnTo>
                    <a:pt x="1622" y="1816"/>
                  </a:lnTo>
                  <a:lnTo>
                    <a:pt x="1584" y="1842"/>
                  </a:lnTo>
                  <a:lnTo>
                    <a:pt x="1544" y="1866"/>
                  </a:lnTo>
                  <a:lnTo>
                    <a:pt x="1504" y="1890"/>
                  </a:lnTo>
                  <a:lnTo>
                    <a:pt x="1464" y="1912"/>
                  </a:lnTo>
                  <a:lnTo>
                    <a:pt x="1420" y="1930"/>
                  </a:lnTo>
                  <a:lnTo>
                    <a:pt x="1378" y="1948"/>
                  </a:lnTo>
                  <a:lnTo>
                    <a:pt x="1334" y="1962"/>
                  </a:lnTo>
                  <a:lnTo>
                    <a:pt x="1288" y="1976"/>
                  </a:lnTo>
                  <a:lnTo>
                    <a:pt x="1242" y="1986"/>
                  </a:lnTo>
                  <a:lnTo>
                    <a:pt x="1194" y="1994"/>
                  </a:lnTo>
                  <a:lnTo>
                    <a:pt x="1146" y="2000"/>
                  </a:lnTo>
                  <a:lnTo>
                    <a:pt x="1098" y="2004"/>
                  </a:lnTo>
                  <a:lnTo>
                    <a:pt x="1048" y="2006"/>
                  </a:lnTo>
                  <a:lnTo>
                    <a:pt x="1048" y="2006"/>
                  </a:lnTo>
                  <a:lnTo>
                    <a:pt x="998" y="2004"/>
                  </a:lnTo>
                  <a:lnTo>
                    <a:pt x="950" y="2000"/>
                  </a:lnTo>
                  <a:lnTo>
                    <a:pt x="902" y="1994"/>
                  </a:lnTo>
                  <a:lnTo>
                    <a:pt x="854" y="1986"/>
                  </a:lnTo>
                  <a:lnTo>
                    <a:pt x="808" y="1976"/>
                  </a:lnTo>
                  <a:lnTo>
                    <a:pt x="762" y="1962"/>
                  </a:lnTo>
                  <a:lnTo>
                    <a:pt x="718" y="1948"/>
                  </a:lnTo>
                  <a:lnTo>
                    <a:pt x="674" y="1930"/>
                  </a:lnTo>
                  <a:lnTo>
                    <a:pt x="632" y="1912"/>
                  </a:lnTo>
                  <a:lnTo>
                    <a:pt x="590" y="1890"/>
                  </a:lnTo>
                  <a:lnTo>
                    <a:pt x="550" y="1866"/>
                  </a:lnTo>
                  <a:lnTo>
                    <a:pt x="510" y="1842"/>
                  </a:lnTo>
                  <a:lnTo>
                    <a:pt x="472" y="1816"/>
                  </a:lnTo>
                  <a:lnTo>
                    <a:pt x="436" y="1786"/>
                  </a:lnTo>
                  <a:lnTo>
                    <a:pt x="402" y="1756"/>
                  </a:lnTo>
                  <a:lnTo>
                    <a:pt x="368" y="1726"/>
                  </a:lnTo>
                  <a:lnTo>
                    <a:pt x="336" y="1692"/>
                  </a:lnTo>
                  <a:lnTo>
                    <a:pt x="306" y="1656"/>
                  </a:lnTo>
                  <a:lnTo>
                    <a:pt x="278" y="1620"/>
                  </a:lnTo>
                  <a:lnTo>
                    <a:pt x="250" y="1584"/>
                  </a:lnTo>
                  <a:lnTo>
                    <a:pt x="226" y="1544"/>
                  </a:lnTo>
                  <a:lnTo>
                    <a:pt x="202" y="1504"/>
                  </a:lnTo>
                  <a:lnTo>
                    <a:pt x="182" y="1462"/>
                  </a:lnTo>
                  <a:lnTo>
                    <a:pt x="162" y="1420"/>
                  </a:lnTo>
                  <a:lnTo>
                    <a:pt x="144" y="1378"/>
                  </a:lnTo>
                  <a:lnTo>
                    <a:pt x="130" y="1332"/>
                  </a:lnTo>
                  <a:lnTo>
                    <a:pt x="116" y="1288"/>
                  </a:lnTo>
                  <a:lnTo>
                    <a:pt x="106" y="1240"/>
                  </a:lnTo>
                  <a:lnTo>
                    <a:pt x="98" y="1194"/>
                  </a:lnTo>
                  <a:lnTo>
                    <a:pt x="92" y="1146"/>
                  </a:lnTo>
                  <a:lnTo>
                    <a:pt x="88" y="1098"/>
                  </a:lnTo>
                  <a:lnTo>
                    <a:pt x="86" y="1048"/>
                  </a:lnTo>
                  <a:lnTo>
                    <a:pt x="86" y="1048"/>
                  </a:lnTo>
                  <a:lnTo>
                    <a:pt x="88" y="998"/>
                  </a:lnTo>
                  <a:lnTo>
                    <a:pt x="92" y="950"/>
                  </a:lnTo>
                  <a:lnTo>
                    <a:pt x="98" y="902"/>
                  </a:lnTo>
                  <a:lnTo>
                    <a:pt x="106" y="854"/>
                  </a:lnTo>
                  <a:lnTo>
                    <a:pt x="116" y="808"/>
                  </a:lnTo>
                  <a:lnTo>
                    <a:pt x="130" y="762"/>
                  </a:lnTo>
                  <a:lnTo>
                    <a:pt x="144" y="718"/>
                  </a:lnTo>
                  <a:lnTo>
                    <a:pt x="162" y="674"/>
                  </a:lnTo>
                  <a:lnTo>
                    <a:pt x="182" y="630"/>
                  </a:lnTo>
                  <a:lnTo>
                    <a:pt x="202" y="590"/>
                  </a:lnTo>
                  <a:lnTo>
                    <a:pt x="226" y="550"/>
                  </a:lnTo>
                  <a:lnTo>
                    <a:pt x="250" y="510"/>
                  </a:lnTo>
                  <a:lnTo>
                    <a:pt x="278" y="472"/>
                  </a:lnTo>
                  <a:lnTo>
                    <a:pt x="306" y="436"/>
                  </a:lnTo>
                  <a:lnTo>
                    <a:pt x="336" y="402"/>
                  </a:lnTo>
                  <a:lnTo>
                    <a:pt x="368" y="368"/>
                  </a:lnTo>
                  <a:lnTo>
                    <a:pt x="402" y="336"/>
                  </a:lnTo>
                  <a:lnTo>
                    <a:pt x="436" y="306"/>
                  </a:lnTo>
                  <a:lnTo>
                    <a:pt x="472" y="278"/>
                  </a:lnTo>
                  <a:lnTo>
                    <a:pt x="510" y="250"/>
                  </a:lnTo>
                  <a:lnTo>
                    <a:pt x="550" y="226"/>
                  </a:lnTo>
                  <a:lnTo>
                    <a:pt x="590" y="202"/>
                  </a:lnTo>
                  <a:lnTo>
                    <a:pt x="632" y="180"/>
                  </a:lnTo>
                  <a:lnTo>
                    <a:pt x="674" y="162"/>
                  </a:lnTo>
                  <a:lnTo>
                    <a:pt x="718" y="144"/>
                  </a:lnTo>
                  <a:lnTo>
                    <a:pt x="762" y="130"/>
                  </a:lnTo>
                  <a:lnTo>
                    <a:pt x="808" y="116"/>
                  </a:lnTo>
                  <a:lnTo>
                    <a:pt x="854" y="106"/>
                  </a:lnTo>
                  <a:lnTo>
                    <a:pt x="902" y="98"/>
                  </a:lnTo>
                  <a:lnTo>
                    <a:pt x="950" y="92"/>
                  </a:lnTo>
                  <a:lnTo>
                    <a:pt x="998" y="88"/>
                  </a:lnTo>
                  <a:lnTo>
                    <a:pt x="1048"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234">
              <a:extLst>
                <a:ext uri="{FF2B5EF4-FFF2-40B4-BE49-F238E27FC236}">
                  <a16:creationId xmlns:a16="http://schemas.microsoft.com/office/drawing/2014/main" id="{F146E05B-DC46-4B84-BFD4-FDBB7AA99086}"/>
                </a:ext>
              </a:extLst>
            </p:cNvPr>
            <p:cNvSpPr>
              <a:spLocks/>
            </p:cNvSpPr>
            <p:nvPr/>
          </p:nvSpPr>
          <p:spPr bwMode="auto">
            <a:xfrm>
              <a:off x="14520863" y="3108325"/>
              <a:ext cx="993775" cy="1082675"/>
            </a:xfrm>
            <a:custGeom>
              <a:avLst/>
              <a:gdLst>
                <a:gd name="T0" fmla="*/ 284 w 626"/>
                <a:gd name="T1" fmla="*/ 88 h 682"/>
                <a:gd name="T2" fmla="*/ 260 w 626"/>
                <a:gd name="T3" fmla="*/ 50 h 682"/>
                <a:gd name="T4" fmla="*/ 226 w 626"/>
                <a:gd name="T5" fmla="*/ 22 h 682"/>
                <a:gd name="T6" fmla="*/ 188 w 626"/>
                <a:gd name="T7" fmla="*/ 6 h 682"/>
                <a:gd name="T8" fmla="*/ 146 w 626"/>
                <a:gd name="T9" fmla="*/ 0 h 682"/>
                <a:gd name="T10" fmla="*/ 102 w 626"/>
                <a:gd name="T11" fmla="*/ 8 h 682"/>
                <a:gd name="T12" fmla="*/ 76 w 626"/>
                <a:gd name="T13" fmla="*/ 20 h 682"/>
                <a:gd name="T14" fmla="*/ 42 w 626"/>
                <a:gd name="T15" fmla="*/ 44 h 682"/>
                <a:gd name="T16" fmla="*/ 18 w 626"/>
                <a:gd name="T17" fmla="*/ 76 h 682"/>
                <a:gd name="T18" fmla="*/ 4 w 626"/>
                <a:gd name="T19" fmla="*/ 114 h 682"/>
                <a:gd name="T20" fmla="*/ 0 w 626"/>
                <a:gd name="T21" fmla="*/ 156 h 682"/>
                <a:gd name="T22" fmla="*/ 4 w 626"/>
                <a:gd name="T23" fmla="*/ 184 h 682"/>
                <a:gd name="T24" fmla="*/ 48 w 626"/>
                <a:gd name="T25" fmla="*/ 286 h 682"/>
                <a:gd name="T26" fmla="*/ 116 w 626"/>
                <a:gd name="T27" fmla="*/ 384 h 682"/>
                <a:gd name="T28" fmla="*/ 200 w 626"/>
                <a:gd name="T29" fmla="*/ 478 h 682"/>
                <a:gd name="T30" fmla="*/ 364 w 626"/>
                <a:gd name="T31" fmla="*/ 622 h 682"/>
                <a:gd name="T32" fmla="*/ 436 w 626"/>
                <a:gd name="T33" fmla="*/ 680 h 682"/>
                <a:gd name="T34" fmla="*/ 464 w 626"/>
                <a:gd name="T35" fmla="*/ 680 h 682"/>
                <a:gd name="T36" fmla="*/ 474 w 626"/>
                <a:gd name="T37" fmla="*/ 672 h 682"/>
                <a:gd name="T38" fmla="*/ 480 w 626"/>
                <a:gd name="T39" fmla="*/ 650 h 682"/>
                <a:gd name="T40" fmla="*/ 468 w 626"/>
                <a:gd name="T41" fmla="*/ 630 h 682"/>
                <a:gd name="T42" fmla="*/ 340 w 626"/>
                <a:gd name="T43" fmla="*/ 524 h 682"/>
                <a:gd name="T44" fmla="*/ 192 w 626"/>
                <a:gd name="T45" fmla="*/ 382 h 682"/>
                <a:gd name="T46" fmla="*/ 122 w 626"/>
                <a:gd name="T47" fmla="*/ 292 h 682"/>
                <a:gd name="T48" fmla="*/ 72 w 626"/>
                <a:gd name="T49" fmla="*/ 198 h 682"/>
                <a:gd name="T50" fmla="*/ 58 w 626"/>
                <a:gd name="T51" fmla="*/ 150 h 682"/>
                <a:gd name="T52" fmla="*/ 70 w 626"/>
                <a:gd name="T53" fmla="*/ 100 h 682"/>
                <a:gd name="T54" fmla="*/ 106 w 626"/>
                <a:gd name="T55" fmla="*/ 64 h 682"/>
                <a:gd name="T56" fmla="*/ 140 w 626"/>
                <a:gd name="T57" fmla="*/ 54 h 682"/>
                <a:gd name="T58" fmla="*/ 190 w 626"/>
                <a:gd name="T59" fmla="*/ 64 h 682"/>
                <a:gd name="T60" fmla="*/ 226 w 626"/>
                <a:gd name="T61" fmla="*/ 100 h 682"/>
                <a:gd name="T62" fmla="*/ 240 w 626"/>
                <a:gd name="T63" fmla="*/ 140 h 682"/>
                <a:gd name="T64" fmla="*/ 278 w 626"/>
                <a:gd name="T65" fmla="*/ 206 h 682"/>
                <a:gd name="T66" fmla="*/ 360 w 626"/>
                <a:gd name="T67" fmla="*/ 300 h 682"/>
                <a:gd name="T68" fmla="*/ 522 w 626"/>
                <a:gd name="T69" fmla="*/ 444 h 682"/>
                <a:gd name="T70" fmla="*/ 584 w 626"/>
                <a:gd name="T71" fmla="*/ 494 h 682"/>
                <a:gd name="T72" fmla="*/ 612 w 626"/>
                <a:gd name="T73" fmla="*/ 494 h 682"/>
                <a:gd name="T74" fmla="*/ 620 w 626"/>
                <a:gd name="T75" fmla="*/ 486 h 682"/>
                <a:gd name="T76" fmla="*/ 626 w 626"/>
                <a:gd name="T77" fmla="*/ 464 h 682"/>
                <a:gd name="T78" fmla="*/ 616 w 626"/>
                <a:gd name="T79" fmla="*/ 444 h 682"/>
                <a:gd name="T80" fmla="*/ 486 w 626"/>
                <a:gd name="T81" fmla="*/ 336 h 682"/>
                <a:gd name="T82" fmla="*/ 362 w 626"/>
                <a:gd name="T83" fmla="*/ 216 h 682"/>
                <a:gd name="T84" fmla="*/ 308 w 626"/>
                <a:gd name="T85" fmla="*/ 144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6" h="682">
                  <a:moveTo>
                    <a:pt x="288" y="102"/>
                  </a:moveTo>
                  <a:lnTo>
                    <a:pt x="288" y="102"/>
                  </a:lnTo>
                  <a:lnTo>
                    <a:pt x="284" y="88"/>
                  </a:lnTo>
                  <a:lnTo>
                    <a:pt x="276" y="74"/>
                  </a:lnTo>
                  <a:lnTo>
                    <a:pt x="268" y="62"/>
                  </a:lnTo>
                  <a:lnTo>
                    <a:pt x="260" y="50"/>
                  </a:lnTo>
                  <a:lnTo>
                    <a:pt x="250" y="40"/>
                  </a:lnTo>
                  <a:lnTo>
                    <a:pt x="238" y="30"/>
                  </a:lnTo>
                  <a:lnTo>
                    <a:pt x="226" y="22"/>
                  </a:lnTo>
                  <a:lnTo>
                    <a:pt x="214" y="16"/>
                  </a:lnTo>
                  <a:lnTo>
                    <a:pt x="202" y="10"/>
                  </a:lnTo>
                  <a:lnTo>
                    <a:pt x="188" y="6"/>
                  </a:lnTo>
                  <a:lnTo>
                    <a:pt x="174" y="2"/>
                  </a:lnTo>
                  <a:lnTo>
                    <a:pt x="160" y="0"/>
                  </a:lnTo>
                  <a:lnTo>
                    <a:pt x="146" y="0"/>
                  </a:lnTo>
                  <a:lnTo>
                    <a:pt x="130" y="2"/>
                  </a:lnTo>
                  <a:lnTo>
                    <a:pt x="116" y="4"/>
                  </a:lnTo>
                  <a:lnTo>
                    <a:pt x="102" y="8"/>
                  </a:lnTo>
                  <a:lnTo>
                    <a:pt x="102" y="8"/>
                  </a:lnTo>
                  <a:lnTo>
                    <a:pt x="88" y="14"/>
                  </a:lnTo>
                  <a:lnTo>
                    <a:pt x="76" y="20"/>
                  </a:lnTo>
                  <a:lnTo>
                    <a:pt x="64" y="28"/>
                  </a:lnTo>
                  <a:lnTo>
                    <a:pt x="52" y="36"/>
                  </a:lnTo>
                  <a:lnTo>
                    <a:pt x="42" y="44"/>
                  </a:lnTo>
                  <a:lnTo>
                    <a:pt x="34" y="54"/>
                  </a:lnTo>
                  <a:lnTo>
                    <a:pt x="26" y="66"/>
                  </a:lnTo>
                  <a:lnTo>
                    <a:pt x="18" y="76"/>
                  </a:lnTo>
                  <a:lnTo>
                    <a:pt x="12" y="88"/>
                  </a:lnTo>
                  <a:lnTo>
                    <a:pt x="8" y="102"/>
                  </a:lnTo>
                  <a:lnTo>
                    <a:pt x="4" y="114"/>
                  </a:lnTo>
                  <a:lnTo>
                    <a:pt x="2" y="128"/>
                  </a:lnTo>
                  <a:lnTo>
                    <a:pt x="0" y="142"/>
                  </a:lnTo>
                  <a:lnTo>
                    <a:pt x="0" y="156"/>
                  </a:lnTo>
                  <a:lnTo>
                    <a:pt x="2" y="170"/>
                  </a:lnTo>
                  <a:lnTo>
                    <a:pt x="4" y="184"/>
                  </a:lnTo>
                  <a:lnTo>
                    <a:pt x="4" y="184"/>
                  </a:lnTo>
                  <a:lnTo>
                    <a:pt x="16" y="218"/>
                  </a:lnTo>
                  <a:lnTo>
                    <a:pt x="30" y="252"/>
                  </a:lnTo>
                  <a:lnTo>
                    <a:pt x="48" y="286"/>
                  </a:lnTo>
                  <a:lnTo>
                    <a:pt x="68" y="318"/>
                  </a:lnTo>
                  <a:lnTo>
                    <a:pt x="92" y="352"/>
                  </a:lnTo>
                  <a:lnTo>
                    <a:pt x="116" y="384"/>
                  </a:lnTo>
                  <a:lnTo>
                    <a:pt x="142" y="416"/>
                  </a:lnTo>
                  <a:lnTo>
                    <a:pt x="170" y="446"/>
                  </a:lnTo>
                  <a:lnTo>
                    <a:pt x="200" y="478"/>
                  </a:lnTo>
                  <a:lnTo>
                    <a:pt x="232" y="508"/>
                  </a:lnTo>
                  <a:lnTo>
                    <a:pt x="296" y="566"/>
                  </a:lnTo>
                  <a:lnTo>
                    <a:pt x="364" y="622"/>
                  </a:lnTo>
                  <a:lnTo>
                    <a:pt x="432" y="676"/>
                  </a:lnTo>
                  <a:lnTo>
                    <a:pt x="432" y="676"/>
                  </a:lnTo>
                  <a:lnTo>
                    <a:pt x="436" y="680"/>
                  </a:lnTo>
                  <a:lnTo>
                    <a:pt x="442" y="682"/>
                  </a:lnTo>
                  <a:lnTo>
                    <a:pt x="454" y="682"/>
                  </a:lnTo>
                  <a:lnTo>
                    <a:pt x="464" y="680"/>
                  </a:lnTo>
                  <a:lnTo>
                    <a:pt x="470" y="676"/>
                  </a:lnTo>
                  <a:lnTo>
                    <a:pt x="474" y="672"/>
                  </a:lnTo>
                  <a:lnTo>
                    <a:pt x="474" y="672"/>
                  </a:lnTo>
                  <a:lnTo>
                    <a:pt x="476" y="666"/>
                  </a:lnTo>
                  <a:lnTo>
                    <a:pt x="478" y="662"/>
                  </a:lnTo>
                  <a:lnTo>
                    <a:pt x="480" y="650"/>
                  </a:lnTo>
                  <a:lnTo>
                    <a:pt x="476" y="640"/>
                  </a:lnTo>
                  <a:lnTo>
                    <a:pt x="472" y="634"/>
                  </a:lnTo>
                  <a:lnTo>
                    <a:pt x="468" y="630"/>
                  </a:lnTo>
                  <a:lnTo>
                    <a:pt x="468" y="630"/>
                  </a:lnTo>
                  <a:lnTo>
                    <a:pt x="404" y="578"/>
                  </a:lnTo>
                  <a:lnTo>
                    <a:pt x="340" y="524"/>
                  </a:lnTo>
                  <a:lnTo>
                    <a:pt x="278" y="468"/>
                  </a:lnTo>
                  <a:lnTo>
                    <a:pt x="218" y="410"/>
                  </a:lnTo>
                  <a:lnTo>
                    <a:pt x="192" y="382"/>
                  </a:lnTo>
                  <a:lnTo>
                    <a:pt x="166" y="352"/>
                  </a:lnTo>
                  <a:lnTo>
                    <a:pt x="142" y="322"/>
                  </a:lnTo>
                  <a:lnTo>
                    <a:pt x="122" y="292"/>
                  </a:lnTo>
                  <a:lnTo>
                    <a:pt x="102" y="260"/>
                  </a:lnTo>
                  <a:lnTo>
                    <a:pt x="86" y="230"/>
                  </a:lnTo>
                  <a:lnTo>
                    <a:pt x="72" y="198"/>
                  </a:lnTo>
                  <a:lnTo>
                    <a:pt x="62" y="166"/>
                  </a:lnTo>
                  <a:lnTo>
                    <a:pt x="62" y="166"/>
                  </a:lnTo>
                  <a:lnTo>
                    <a:pt x="58" y="150"/>
                  </a:lnTo>
                  <a:lnTo>
                    <a:pt x="58" y="132"/>
                  </a:lnTo>
                  <a:lnTo>
                    <a:pt x="62" y="114"/>
                  </a:lnTo>
                  <a:lnTo>
                    <a:pt x="70" y="100"/>
                  </a:lnTo>
                  <a:lnTo>
                    <a:pt x="78" y="86"/>
                  </a:lnTo>
                  <a:lnTo>
                    <a:pt x="90" y="74"/>
                  </a:lnTo>
                  <a:lnTo>
                    <a:pt x="106" y="64"/>
                  </a:lnTo>
                  <a:lnTo>
                    <a:pt x="122" y="56"/>
                  </a:lnTo>
                  <a:lnTo>
                    <a:pt x="122" y="56"/>
                  </a:lnTo>
                  <a:lnTo>
                    <a:pt x="140" y="54"/>
                  </a:lnTo>
                  <a:lnTo>
                    <a:pt x="158" y="54"/>
                  </a:lnTo>
                  <a:lnTo>
                    <a:pt x="174" y="58"/>
                  </a:lnTo>
                  <a:lnTo>
                    <a:pt x="190" y="64"/>
                  </a:lnTo>
                  <a:lnTo>
                    <a:pt x="204" y="74"/>
                  </a:lnTo>
                  <a:lnTo>
                    <a:pt x="216" y="86"/>
                  </a:lnTo>
                  <a:lnTo>
                    <a:pt x="226" y="100"/>
                  </a:lnTo>
                  <a:lnTo>
                    <a:pt x="232" y="118"/>
                  </a:lnTo>
                  <a:lnTo>
                    <a:pt x="232" y="118"/>
                  </a:lnTo>
                  <a:lnTo>
                    <a:pt x="240" y="140"/>
                  </a:lnTo>
                  <a:lnTo>
                    <a:pt x="250" y="162"/>
                  </a:lnTo>
                  <a:lnTo>
                    <a:pt x="264" y="184"/>
                  </a:lnTo>
                  <a:lnTo>
                    <a:pt x="278" y="206"/>
                  </a:lnTo>
                  <a:lnTo>
                    <a:pt x="296" y="230"/>
                  </a:lnTo>
                  <a:lnTo>
                    <a:pt x="316" y="254"/>
                  </a:lnTo>
                  <a:lnTo>
                    <a:pt x="360" y="300"/>
                  </a:lnTo>
                  <a:lnTo>
                    <a:pt x="410" y="350"/>
                  </a:lnTo>
                  <a:lnTo>
                    <a:pt x="464" y="398"/>
                  </a:lnTo>
                  <a:lnTo>
                    <a:pt x="522" y="444"/>
                  </a:lnTo>
                  <a:lnTo>
                    <a:pt x="578" y="490"/>
                  </a:lnTo>
                  <a:lnTo>
                    <a:pt x="578" y="490"/>
                  </a:lnTo>
                  <a:lnTo>
                    <a:pt x="584" y="494"/>
                  </a:lnTo>
                  <a:lnTo>
                    <a:pt x="590" y="496"/>
                  </a:lnTo>
                  <a:lnTo>
                    <a:pt x="600" y="496"/>
                  </a:lnTo>
                  <a:lnTo>
                    <a:pt x="612" y="494"/>
                  </a:lnTo>
                  <a:lnTo>
                    <a:pt x="616" y="490"/>
                  </a:lnTo>
                  <a:lnTo>
                    <a:pt x="620" y="486"/>
                  </a:lnTo>
                  <a:lnTo>
                    <a:pt x="620" y="486"/>
                  </a:lnTo>
                  <a:lnTo>
                    <a:pt x="624" y="480"/>
                  </a:lnTo>
                  <a:lnTo>
                    <a:pt x="626" y="476"/>
                  </a:lnTo>
                  <a:lnTo>
                    <a:pt x="626" y="464"/>
                  </a:lnTo>
                  <a:lnTo>
                    <a:pt x="624" y="454"/>
                  </a:lnTo>
                  <a:lnTo>
                    <a:pt x="620" y="448"/>
                  </a:lnTo>
                  <a:lnTo>
                    <a:pt x="616" y="444"/>
                  </a:lnTo>
                  <a:lnTo>
                    <a:pt x="616" y="444"/>
                  </a:lnTo>
                  <a:lnTo>
                    <a:pt x="534" y="380"/>
                  </a:lnTo>
                  <a:lnTo>
                    <a:pt x="486" y="336"/>
                  </a:lnTo>
                  <a:lnTo>
                    <a:pt x="434" y="290"/>
                  </a:lnTo>
                  <a:lnTo>
                    <a:pt x="384" y="242"/>
                  </a:lnTo>
                  <a:lnTo>
                    <a:pt x="362" y="216"/>
                  </a:lnTo>
                  <a:lnTo>
                    <a:pt x="342" y="192"/>
                  </a:lnTo>
                  <a:lnTo>
                    <a:pt x="324" y="168"/>
                  </a:lnTo>
                  <a:lnTo>
                    <a:pt x="308" y="144"/>
                  </a:lnTo>
                  <a:lnTo>
                    <a:pt x="296" y="122"/>
                  </a:lnTo>
                  <a:lnTo>
                    <a:pt x="288"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235">
              <a:extLst>
                <a:ext uri="{FF2B5EF4-FFF2-40B4-BE49-F238E27FC236}">
                  <a16:creationId xmlns:a16="http://schemas.microsoft.com/office/drawing/2014/main" id="{24BB262B-257A-4153-94B3-DCED2AD3C87C}"/>
                </a:ext>
              </a:extLst>
            </p:cNvPr>
            <p:cNvSpPr>
              <a:spLocks/>
            </p:cNvSpPr>
            <p:nvPr/>
          </p:nvSpPr>
          <p:spPr bwMode="auto">
            <a:xfrm>
              <a:off x="14520863" y="3108325"/>
              <a:ext cx="993775" cy="1082675"/>
            </a:xfrm>
            <a:custGeom>
              <a:avLst/>
              <a:gdLst>
                <a:gd name="T0" fmla="*/ 284 w 626"/>
                <a:gd name="T1" fmla="*/ 88 h 682"/>
                <a:gd name="T2" fmla="*/ 260 w 626"/>
                <a:gd name="T3" fmla="*/ 50 h 682"/>
                <a:gd name="T4" fmla="*/ 226 w 626"/>
                <a:gd name="T5" fmla="*/ 22 h 682"/>
                <a:gd name="T6" fmla="*/ 188 w 626"/>
                <a:gd name="T7" fmla="*/ 6 h 682"/>
                <a:gd name="T8" fmla="*/ 146 w 626"/>
                <a:gd name="T9" fmla="*/ 0 h 682"/>
                <a:gd name="T10" fmla="*/ 102 w 626"/>
                <a:gd name="T11" fmla="*/ 8 h 682"/>
                <a:gd name="T12" fmla="*/ 76 w 626"/>
                <a:gd name="T13" fmla="*/ 20 h 682"/>
                <a:gd name="T14" fmla="*/ 42 w 626"/>
                <a:gd name="T15" fmla="*/ 44 h 682"/>
                <a:gd name="T16" fmla="*/ 18 w 626"/>
                <a:gd name="T17" fmla="*/ 76 h 682"/>
                <a:gd name="T18" fmla="*/ 4 w 626"/>
                <a:gd name="T19" fmla="*/ 114 h 682"/>
                <a:gd name="T20" fmla="*/ 0 w 626"/>
                <a:gd name="T21" fmla="*/ 156 h 682"/>
                <a:gd name="T22" fmla="*/ 4 w 626"/>
                <a:gd name="T23" fmla="*/ 184 h 682"/>
                <a:gd name="T24" fmla="*/ 48 w 626"/>
                <a:gd name="T25" fmla="*/ 286 h 682"/>
                <a:gd name="T26" fmla="*/ 116 w 626"/>
                <a:gd name="T27" fmla="*/ 384 h 682"/>
                <a:gd name="T28" fmla="*/ 200 w 626"/>
                <a:gd name="T29" fmla="*/ 478 h 682"/>
                <a:gd name="T30" fmla="*/ 364 w 626"/>
                <a:gd name="T31" fmla="*/ 622 h 682"/>
                <a:gd name="T32" fmla="*/ 436 w 626"/>
                <a:gd name="T33" fmla="*/ 680 h 682"/>
                <a:gd name="T34" fmla="*/ 464 w 626"/>
                <a:gd name="T35" fmla="*/ 680 h 682"/>
                <a:gd name="T36" fmla="*/ 474 w 626"/>
                <a:gd name="T37" fmla="*/ 672 h 682"/>
                <a:gd name="T38" fmla="*/ 480 w 626"/>
                <a:gd name="T39" fmla="*/ 650 h 682"/>
                <a:gd name="T40" fmla="*/ 468 w 626"/>
                <a:gd name="T41" fmla="*/ 630 h 682"/>
                <a:gd name="T42" fmla="*/ 340 w 626"/>
                <a:gd name="T43" fmla="*/ 524 h 682"/>
                <a:gd name="T44" fmla="*/ 192 w 626"/>
                <a:gd name="T45" fmla="*/ 382 h 682"/>
                <a:gd name="T46" fmla="*/ 122 w 626"/>
                <a:gd name="T47" fmla="*/ 292 h 682"/>
                <a:gd name="T48" fmla="*/ 72 w 626"/>
                <a:gd name="T49" fmla="*/ 198 h 682"/>
                <a:gd name="T50" fmla="*/ 58 w 626"/>
                <a:gd name="T51" fmla="*/ 150 h 682"/>
                <a:gd name="T52" fmla="*/ 70 w 626"/>
                <a:gd name="T53" fmla="*/ 100 h 682"/>
                <a:gd name="T54" fmla="*/ 106 w 626"/>
                <a:gd name="T55" fmla="*/ 64 h 682"/>
                <a:gd name="T56" fmla="*/ 140 w 626"/>
                <a:gd name="T57" fmla="*/ 54 h 682"/>
                <a:gd name="T58" fmla="*/ 190 w 626"/>
                <a:gd name="T59" fmla="*/ 64 h 682"/>
                <a:gd name="T60" fmla="*/ 226 w 626"/>
                <a:gd name="T61" fmla="*/ 100 h 682"/>
                <a:gd name="T62" fmla="*/ 240 w 626"/>
                <a:gd name="T63" fmla="*/ 140 h 682"/>
                <a:gd name="T64" fmla="*/ 278 w 626"/>
                <a:gd name="T65" fmla="*/ 206 h 682"/>
                <a:gd name="T66" fmla="*/ 360 w 626"/>
                <a:gd name="T67" fmla="*/ 300 h 682"/>
                <a:gd name="T68" fmla="*/ 522 w 626"/>
                <a:gd name="T69" fmla="*/ 444 h 682"/>
                <a:gd name="T70" fmla="*/ 584 w 626"/>
                <a:gd name="T71" fmla="*/ 494 h 682"/>
                <a:gd name="T72" fmla="*/ 612 w 626"/>
                <a:gd name="T73" fmla="*/ 494 h 682"/>
                <a:gd name="T74" fmla="*/ 620 w 626"/>
                <a:gd name="T75" fmla="*/ 486 h 682"/>
                <a:gd name="T76" fmla="*/ 626 w 626"/>
                <a:gd name="T77" fmla="*/ 464 h 682"/>
                <a:gd name="T78" fmla="*/ 616 w 626"/>
                <a:gd name="T79" fmla="*/ 444 h 682"/>
                <a:gd name="T80" fmla="*/ 486 w 626"/>
                <a:gd name="T81" fmla="*/ 336 h 682"/>
                <a:gd name="T82" fmla="*/ 362 w 626"/>
                <a:gd name="T83" fmla="*/ 216 h 682"/>
                <a:gd name="T84" fmla="*/ 308 w 626"/>
                <a:gd name="T85" fmla="*/ 144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6" h="682">
                  <a:moveTo>
                    <a:pt x="288" y="102"/>
                  </a:moveTo>
                  <a:lnTo>
                    <a:pt x="288" y="102"/>
                  </a:lnTo>
                  <a:lnTo>
                    <a:pt x="284" y="88"/>
                  </a:lnTo>
                  <a:lnTo>
                    <a:pt x="276" y="74"/>
                  </a:lnTo>
                  <a:lnTo>
                    <a:pt x="268" y="62"/>
                  </a:lnTo>
                  <a:lnTo>
                    <a:pt x="260" y="50"/>
                  </a:lnTo>
                  <a:lnTo>
                    <a:pt x="250" y="40"/>
                  </a:lnTo>
                  <a:lnTo>
                    <a:pt x="238" y="30"/>
                  </a:lnTo>
                  <a:lnTo>
                    <a:pt x="226" y="22"/>
                  </a:lnTo>
                  <a:lnTo>
                    <a:pt x="214" y="16"/>
                  </a:lnTo>
                  <a:lnTo>
                    <a:pt x="202" y="10"/>
                  </a:lnTo>
                  <a:lnTo>
                    <a:pt x="188" y="6"/>
                  </a:lnTo>
                  <a:lnTo>
                    <a:pt x="174" y="2"/>
                  </a:lnTo>
                  <a:lnTo>
                    <a:pt x="160" y="0"/>
                  </a:lnTo>
                  <a:lnTo>
                    <a:pt x="146" y="0"/>
                  </a:lnTo>
                  <a:lnTo>
                    <a:pt x="130" y="2"/>
                  </a:lnTo>
                  <a:lnTo>
                    <a:pt x="116" y="4"/>
                  </a:lnTo>
                  <a:lnTo>
                    <a:pt x="102" y="8"/>
                  </a:lnTo>
                  <a:lnTo>
                    <a:pt x="102" y="8"/>
                  </a:lnTo>
                  <a:lnTo>
                    <a:pt x="88" y="14"/>
                  </a:lnTo>
                  <a:lnTo>
                    <a:pt x="76" y="20"/>
                  </a:lnTo>
                  <a:lnTo>
                    <a:pt x="64" y="28"/>
                  </a:lnTo>
                  <a:lnTo>
                    <a:pt x="52" y="36"/>
                  </a:lnTo>
                  <a:lnTo>
                    <a:pt x="42" y="44"/>
                  </a:lnTo>
                  <a:lnTo>
                    <a:pt x="34" y="54"/>
                  </a:lnTo>
                  <a:lnTo>
                    <a:pt x="26" y="66"/>
                  </a:lnTo>
                  <a:lnTo>
                    <a:pt x="18" y="76"/>
                  </a:lnTo>
                  <a:lnTo>
                    <a:pt x="12" y="88"/>
                  </a:lnTo>
                  <a:lnTo>
                    <a:pt x="8" y="102"/>
                  </a:lnTo>
                  <a:lnTo>
                    <a:pt x="4" y="114"/>
                  </a:lnTo>
                  <a:lnTo>
                    <a:pt x="2" y="128"/>
                  </a:lnTo>
                  <a:lnTo>
                    <a:pt x="0" y="142"/>
                  </a:lnTo>
                  <a:lnTo>
                    <a:pt x="0" y="156"/>
                  </a:lnTo>
                  <a:lnTo>
                    <a:pt x="2" y="170"/>
                  </a:lnTo>
                  <a:lnTo>
                    <a:pt x="4" y="184"/>
                  </a:lnTo>
                  <a:lnTo>
                    <a:pt x="4" y="184"/>
                  </a:lnTo>
                  <a:lnTo>
                    <a:pt x="16" y="218"/>
                  </a:lnTo>
                  <a:lnTo>
                    <a:pt x="30" y="252"/>
                  </a:lnTo>
                  <a:lnTo>
                    <a:pt x="48" y="286"/>
                  </a:lnTo>
                  <a:lnTo>
                    <a:pt x="68" y="318"/>
                  </a:lnTo>
                  <a:lnTo>
                    <a:pt x="92" y="352"/>
                  </a:lnTo>
                  <a:lnTo>
                    <a:pt x="116" y="384"/>
                  </a:lnTo>
                  <a:lnTo>
                    <a:pt x="142" y="416"/>
                  </a:lnTo>
                  <a:lnTo>
                    <a:pt x="170" y="446"/>
                  </a:lnTo>
                  <a:lnTo>
                    <a:pt x="200" y="478"/>
                  </a:lnTo>
                  <a:lnTo>
                    <a:pt x="232" y="508"/>
                  </a:lnTo>
                  <a:lnTo>
                    <a:pt x="296" y="566"/>
                  </a:lnTo>
                  <a:lnTo>
                    <a:pt x="364" y="622"/>
                  </a:lnTo>
                  <a:lnTo>
                    <a:pt x="432" y="676"/>
                  </a:lnTo>
                  <a:lnTo>
                    <a:pt x="432" y="676"/>
                  </a:lnTo>
                  <a:lnTo>
                    <a:pt x="436" y="680"/>
                  </a:lnTo>
                  <a:lnTo>
                    <a:pt x="442" y="682"/>
                  </a:lnTo>
                  <a:lnTo>
                    <a:pt x="454" y="682"/>
                  </a:lnTo>
                  <a:lnTo>
                    <a:pt x="464" y="680"/>
                  </a:lnTo>
                  <a:lnTo>
                    <a:pt x="470" y="676"/>
                  </a:lnTo>
                  <a:lnTo>
                    <a:pt x="474" y="672"/>
                  </a:lnTo>
                  <a:lnTo>
                    <a:pt x="474" y="672"/>
                  </a:lnTo>
                  <a:lnTo>
                    <a:pt x="476" y="666"/>
                  </a:lnTo>
                  <a:lnTo>
                    <a:pt x="478" y="662"/>
                  </a:lnTo>
                  <a:lnTo>
                    <a:pt x="480" y="650"/>
                  </a:lnTo>
                  <a:lnTo>
                    <a:pt x="476" y="640"/>
                  </a:lnTo>
                  <a:lnTo>
                    <a:pt x="472" y="634"/>
                  </a:lnTo>
                  <a:lnTo>
                    <a:pt x="468" y="630"/>
                  </a:lnTo>
                  <a:lnTo>
                    <a:pt x="468" y="630"/>
                  </a:lnTo>
                  <a:lnTo>
                    <a:pt x="404" y="578"/>
                  </a:lnTo>
                  <a:lnTo>
                    <a:pt x="340" y="524"/>
                  </a:lnTo>
                  <a:lnTo>
                    <a:pt x="278" y="468"/>
                  </a:lnTo>
                  <a:lnTo>
                    <a:pt x="218" y="410"/>
                  </a:lnTo>
                  <a:lnTo>
                    <a:pt x="192" y="382"/>
                  </a:lnTo>
                  <a:lnTo>
                    <a:pt x="166" y="352"/>
                  </a:lnTo>
                  <a:lnTo>
                    <a:pt x="142" y="322"/>
                  </a:lnTo>
                  <a:lnTo>
                    <a:pt x="122" y="292"/>
                  </a:lnTo>
                  <a:lnTo>
                    <a:pt x="102" y="260"/>
                  </a:lnTo>
                  <a:lnTo>
                    <a:pt x="86" y="230"/>
                  </a:lnTo>
                  <a:lnTo>
                    <a:pt x="72" y="198"/>
                  </a:lnTo>
                  <a:lnTo>
                    <a:pt x="62" y="166"/>
                  </a:lnTo>
                  <a:lnTo>
                    <a:pt x="62" y="166"/>
                  </a:lnTo>
                  <a:lnTo>
                    <a:pt x="58" y="150"/>
                  </a:lnTo>
                  <a:lnTo>
                    <a:pt x="58" y="132"/>
                  </a:lnTo>
                  <a:lnTo>
                    <a:pt x="62" y="114"/>
                  </a:lnTo>
                  <a:lnTo>
                    <a:pt x="70" y="100"/>
                  </a:lnTo>
                  <a:lnTo>
                    <a:pt x="78" y="86"/>
                  </a:lnTo>
                  <a:lnTo>
                    <a:pt x="90" y="74"/>
                  </a:lnTo>
                  <a:lnTo>
                    <a:pt x="106" y="64"/>
                  </a:lnTo>
                  <a:lnTo>
                    <a:pt x="122" y="56"/>
                  </a:lnTo>
                  <a:lnTo>
                    <a:pt x="122" y="56"/>
                  </a:lnTo>
                  <a:lnTo>
                    <a:pt x="140" y="54"/>
                  </a:lnTo>
                  <a:lnTo>
                    <a:pt x="158" y="54"/>
                  </a:lnTo>
                  <a:lnTo>
                    <a:pt x="174" y="58"/>
                  </a:lnTo>
                  <a:lnTo>
                    <a:pt x="190" y="64"/>
                  </a:lnTo>
                  <a:lnTo>
                    <a:pt x="204" y="74"/>
                  </a:lnTo>
                  <a:lnTo>
                    <a:pt x="216" y="86"/>
                  </a:lnTo>
                  <a:lnTo>
                    <a:pt x="226" y="100"/>
                  </a:lnTo>
                  <a:lnTo>
                    <a:pt x="232" y="118"/>
                  </a:lnTo>
                  <a:lnTo>
                    <a:pt x="232" y="118"/>
                  </a:lnTo>
                  <a:lnTo>
                    <a:pt x="240" y="140"/>
                  </a:lnTo>
                  <a:lnTo>
                    <a:pt x="250" y="162"/>
                  </a:lnTo>
                  <a:lnTo>
                    <a:pt x="264" y="184"/>
                  </a:lnTo>
                  <a:lnTo>
                    <a:pt x="278" y="206"/>
                  </a:lnTo>
                  <a:lnTo>
                    <a:pt x="296" y="230"/>
                  </a:lnTo>
                  <a:lnTo>
                    <a:pt x="316" y="254"/>
                  </a:lnTo>
                  <a:lnTo>
                    <a:pt x="360" y="300"/>
                  </a:lnTo>
                  <a:lnTo>
                    <a:pt x="410" y="350"/>
                  </a:lnTo>
                  <a:lnTo>
                    <a:pt x="464" y="398"/>
                  </a:lnTo>
                  <a:lnTo>
                    <a:pt x="522" y="444"/>
                  </a:lnTo>
                  <a:lnTo>
                    <a:pt x="578" y="490"/>
                  </a:lnTo>
                  <a:lnTo>
                    <a:pt x="578" y="490"/>
                  </a:lnTo>
                  <a:lnTo>
                    <a:pt x="584" y="494"/>
                  </a:lnTo>
                  <a:lnTo>
                    <a:pt x="590" y="496"/>
                  </a:lnTo>
                  <a:lnTo>
                    <a:pt x="600" y="496"/>
                  </a:lnTo>
                  <a:lnTo>
                    <a:pt x="612" y="494"/>
                  </a:lnTo>
                  <a:lnTo>
                    <a:pt x="616" y="490"/>
                  </a:lnTo>
                  <a:lnTo>
                    <a:pt x="620" y="486"/>
                  </a:lnTo>
                  <a:lnTo>
                    <a:pt x="620" y="486"/>
                  </a:lnTo>
                  <a:lnTo>
                    <a:pt x="624" y="480"/>
                  </a:lnTo>
                  <a:lnTo>
                    <a:pt x="626" y="476"/>
                  </a:lnTo>
                  <a:lnTo>
                    <a:pt x="626" y="464"/>
                  </a:lnTo>
                  <a:lnTo>
                    <a:pt x="624" y="454"/>
                  </a:lnTo>
                  <a:lnTo>
                    <a:pt x="620" y="448"/>
                  </a:lnTo>
                  <a:lnTo>
                    <a:pt x="616" y="444"/>
                  </a:lnTo>
                  <a:lnTo>
                    <a:pt x="616" y="444"/>
                  </a:lnTo>
                  <a:lnTo>
                    <a:pt x="534" y="380"/>
                  </a:lnTo>
                  <a:lnTo>
                    <a:pt x="486" y="336"/>
                  </a:lnTo>
                  <a:lnTo>
                    <a:pt x="434" y="290"/>
                  </a:lnTo>
                  <a:lnTo>
                    <a:pt x="384" y="242"/>
                  </a:lnTo>
                  <a:lnTo>
                    <a:pt x="362" y="216"/>
                  </a:lnTo>
                  <a:lnTo>
                    <a:pt x="342" y="192"/>
                  </a:lnTo>
                  <a:lnTo>
                    <a:pt x="324" y="168"/>
                  </a:lnTo>
                  <a:lnTo>
                    <a:pt x="308" y="144"/>
                  </a:lnTo>
                  <a:lnTo>
                    <a:pt x="296" y="122"/>
                  </a:lnTo>
                  <a:lnTo>
                    <a:pt x="288" y="10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236">
              <a:extLst>
                <a:ext uri="{FF2B5EF4-FFF2-40B4-BE49-F238E27FC236}">
                  <a16:creationId xmlns:a16="http://schemas.microsoft.com/office/drawing/2014/main" id="{D6D92EF5-0077-48CC-A551-FD3D28BD0CDB}"/>
                </a:ext>
              </a:extLst>
            </p:cNvPr>
            <p:cNvSpPr>
              <a:spLocks/>
            </p:cNvSpPr>
            <p:nvPr/>
          </p:nvSpPr>
          <p:spPr bwMode="auto">
            <a:xfrm>
              <a:off x="13990638" y="2724150"/>
              <a:ext cx="1657350" cy="1231900"/>
            </a:xfrm>
            <a:custGeom>
              <a:avLst/>
              <a:gdLst>
                <a:gd name="T0" fmla="*/ 834 w 1044"/>
                <a:gd name="T1" fmla="*/ 230 h 776"/>
                <a:gd name="T2" fmla="*/ 774 w 1044"/>
                <a:gd name="T3" fmla="*/ 136 h 776"/>
                <a:gd name="T4" fmla="*/ 692 w 1044"/>
                <a:gd name="T5" fmla="*/ 64 h 776"/>
                <a:gd name="T6" fmla="*/ 594 w 1044"/>
                <a:gd name="T7" fmla="*/ 18 h 776"/>
                <a:gd name="T8" fmla="*/ 486 w 1044"/>
                <a:gd name="T9" fmla="*/ 0 h 776"/>
                <a:gd name="T10" fmla="*/ 374 w 1044"/>
                <a:gd name="T11" fmla="*/ 14 h 776"/>
                <a:gd name="T12" fmla="*/ 302 w 1044"/>
                <a:gd name="T13" fmla="*/ 42 h 776"/>
                <a:gd name="T14" fmla="*/ 210 w 1044"/>
                <a:gd name="T15" fmla="*/ 110 h 776"/>
                <a:gd name="T16" fmla="*/ 144 w 1044"/>
                <a:gd name="T17" fmla="*/ 198 h 776"/>
                <a:gd name="T18" fmla="*/ 104 w 1044"/>
                <a:gd name="T19" fmla="*/ 302 h 776"/>
                <a:gd name="T20" fmla="*/ 96 w 1044"/>
                <a:gd name="T21" fmla="*/ 414 h 776"/>
                <a:gd name="T22" fmla="*/ 110 w 1044"/>
                <a:gd name="T23" fmla="*/ 490 h 776"/>
                <a:gd name="T24" fmla="*/ 118 w 1044"/>
                <a:gd name="T25" fmla="*/ 522 h 776"/>
                <a:gd name="T26" fmla="*/ 122 w 1044"/>
                <a:gd name="T27" fmla="*/ 596 h 776"/>
                <a:gd name="T28" fmla="*/ 106 w 1044"/>
                <a:gd name="T29" fmla="*/ 650 h 776"/>
                <a:gd name="T30" fmla="*/ 76 w 1044"/>
                <a:gd name="T31" fmla="*/ 686 h 776"/>
                <a:gd name="T32" fmla="*/ 36 w 1044"/>
                <a:gd name="T33" fmla="*/ 712 h 776"/>
                <a:gd name="T34" fmla="*/ 16 w 1044"/>
                <a:gd name="T35" fmla="*/ 720 h 776"/>
                <a:gd name="T36" fmla="*/ 0 w 1044"/>
                <a:gd name="T37" fmla="*/ 742 h 776"/>
                <a:gd name="T38" fmla="*/ 2 w 1044"/>
                <a:gd name="T39" fmla="*/ 754 h 776"/>
                <a:gd name="T40" fmla="*/ 16 w 1044"/>
                <a:gd name="T41" fmla="*/ 772 h 776"/>
                <a:gd name="T42" fmla="*/ 40 w 1044"/>
                <a:gd name="T43" fmla="*/ 774 h 776"/>
                <a:gd name="T44" fmla="*/ 72 w 1044"/>
                <a:gd name="T45" fmla="*/ 760 h 776"/>
                <a:gd name="T46" fmla="*/ 120 w 1044"/>
                <a:gd name="T47" fmla="*/ 728 h 776"/>
                <a:gd name="T48" fmla="*/ 156 w 1044"/>
                <a:gd name="T49" fmla="*/ 680 h 776"/>
                <a:gd name="T50" fmla="*/ 178 w 1044"/>
                <a:gd name="T51" fmla="*/ 616 h 776"/>
                <a:gd name="T52" fmla="*/ 180 w 1044"/>
                <a:gd name="T53" fmla="*/ 536 h 776"/>
                <a:gd name="T54" fmla="*/ 168 w 1044"/>
                <a:gd name="T55" fmla="*/ 474 h 776"/>
                <a:gd name="T56" fmla="*/ 154 w 1044"/>
                <a:gd name="T57" fmla="*/ 378 h 776"/>
                <a:gd name="T58" fmla="*/ 170 w 1044"/>
                <a:gd name="T59" fmla="*/ 284 h 776"/>
                <a:gd name="T60" fmla="*/ 212 w 1044"/>
                <a:gd name="T61" fmla="*/ 200 h 776"/>
                <a:gd name="T62" fmla="*/ 276 w 1044"/>
                <a:gd name="T63" fmla="*/ 130 h 776"/>
                <a:gd name="T64" fmla="*/ 358 w 1044"/>
                <a:gd name="T65" fmla="*/ 82 h 776"/>
                <a:gd name="T66" fmla="*/ 390 w 1044"/>
                <a:gd name="T67" fmla="*/ 70 h 776"/>
                <a:gd name="T68" fmla="*/ 454 w 1044"/>
                <a:gd name="T69" fmla="*/ 60 h 776"/>
                <a:gd name="T70" fmla="*/ 550 w 1044"/>
                <a:gd name="T71" fmla="*/ 66 h 776"/>
                <a:gd name="T72" fmla="*/ 636 w 1044"/>
                <a:gd name="T73" fmla="*/ 98 h 776"/>
                <a:gd name="T74" fmla="*/ 710 w 1044"/>
                <a:gd name="T75" fmla="*/ 154 h 776"/>
                <a:gd name="T76" fmla="*/ 768 w 1044"/>
                <a:gd name="T77" fmla="*/ 230 h 776"/>
                <a:gd name="T78" fmla="*/ 792 w 1044"/>
                <a:gd name="T79" fmla="*/ 290 h 776"/>
                <a:gd name="T80" fmla="*/ 802 w 1044"/>
                <a:gd name="T81" fmla="*/ 304 h 776"/>
                <a:gd name="T82" fmla="*/ 996 w 1044"/>
                <a:gd name="T83" fmla="*/ 466 h 776"/>
                <a:gd name="T84" fmla="*/ 1006 w 1044"/>
                <a:gd name="T85" fmla="*/ 472 h 776"/>
                <a:gd name="T86" fmla="*/ 1032 w 1044"/>
                <a:gd name="T87" fmla="*/ 466 h 776"/>
                <a:gd name="T88" fmla="*/ 1040 w 1044"/>
                <a:gd name="T89" fmla="*/ 458 h 776"/>
                <a:gd name="T90" fmla="*/ 1040 w 1044"/>
                <a:gd name="T91" fmla="*/ 430 h 776"/>
                <a:gd name="T92" fmla="*/ 1032 w 1044"/>
                <a:gd name="T93" fmla="*/ 42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4" h="776">
                  <a:moveTo>
                    <a:pt x="848" y="266"/>
                  </a:moveTo>
                  <a:lnTo>
                    <a:pt x="848" y="266"/>
                  </a:lnTo>
                  <a:lnTo>
                    <a:pt x="834" y="230"/>
                  </a:lnTo>
                  <a:lnTo>
                    <a:pt x="816" y="196"/>
                  </a:lnTo>
                  <a:lnTo>
                    <a:pt x="798" y="166"/>
                  </a:lnTo>
                  <a:lnTo>
                    <a:pt x="774" y="136"/>
                  </a:lnTo>
                  <a:lnTo>
                    <a:pt x="750" y="110"/>
                  </a:lnTo>
                  <a:lnTo>
                    <a:pt x="722" y="86"/>
                  </a:lnTo>
                  <a:lnTo>
                    <a:pt x="692" y="64"/>
                  </a:lnTo>
                  <a:lnTo>
                    <a:pt x="662" y="46"/>
                  </a:lnTo>
                  <a:lnTo>
                    <a:pt x="630" y="30"/>
                  </a:lnTo>
                  <a:lnTo>
                    <a:pt x="594" y="18"/>
                  </a:lnTo>
                  <a:lnTo>
                    <a:pt x="560" y="8"/>
                  </a:lnTo>
                  <a:lnTo>
                    <a:pt x="524" y="2"/>
                  </a:lnTo>
                  <a:lnTo>
                    <a:pt x="486" y="0"/>
                  </a:lnTo>
                  <a:lnTo>
                    <a:pt x="450" y="0"/>
                  </a:lnTo>
                  <a:lnTo>
                    <a:pt x="412" y="6"/>
                  </a:lnTo>
                  <a:lnTo>
                    <a:pt x="374" y="14"/>
                  </a:lnTo>
                  <a:lnTo>
                    <a:pt x="374" y="14"/>
                  </a:lnTo>
                  <a:lnTo>
                    <a:pt x="336" y="26"/>
                  </a:lnTo>
                  <a:lnTo>
                    <a:pt x="302" y="42"/>
                  </a:lnTo>
                  <a:lnTo>
                    <a:pt x="268" y="62"/>
                  </a:lnTo>
                  <a:lnTo>
                    <a:pt x="238" y="84"/>
                  </a:lnTo>
                  <a:lnTo>
                    <a:pt x="210" y="110"/>
                  </a:lnTo>
                  <a:lnTo>
                    <a:pt x="186" y="136"/>
                  </a:lnTo>
                  <a:lnTo>
                    <a:pt x="162" y="166"/>
                  </a:lnTo>
                  <a:lnTo>
                    <a:pt x="144" y="198"/>
                  </a:lnTo>
                  <a:lnTo>
                    <a:pt x="128" y="230"/>
                  </a:lnTo>
                  <a:lnTo>
                    <a:pt x="114" y="266"/>
                  </a:lnTo>
                  <a:lnTo>
                    <a:pt x="104" y="302"/>
                  </a:lnTo>
                  <a:lnTo>
                    <a:pt x="98" y="338"/>
                  </a:lnTo>
                  <a:lnTo>
                    <a:pt x="96" y="376"/>
                  </a:lnTo>
                  <a:lnTo>
                    <a:pt x="96" y="414"/>
                  </a:lnTo>
                  <a:lnTo>
                    <a:pt x="102" y="452"/>
                  </a:lnTo>
                  <a:lnTo>
                    <a:pt x="110" y="490"/>
                  </a:lnTo>
                  <a:lnTo>
                    <a:pt x="110" y="490"/>
                  </a:lnTo>
                  <a:lnTo>
                    <a:pt x="110" y="490"/>
                  </a:lnTo>
                  <a:lnTo>
                    <a:pt x="110" y="490"/>
                  </a:lnTo>
                  <a:lnTo>
                    <a:pt x="118" y="522"/>
                  </a:lnTo>
                  <a:lnTo>
                    <a:pt x="122" y="548"/>
                  </a:lnTo>
                  <a:lnTo>
                    <a:pt x="124" y="574"/>
                  </a:lnTo>
                  <a:lnTo>
                    <a:pt x="122" y="596"/>
                  </a:lnTo>
                  <a:lnTo>
                    <a:pt x="118" y="616"/>
                  </a:lnTo>
                  <a:lnTo>
                    <a:pt x="112" y="634"/>
                  </a:lnTo>
                  <a:lnTo>
                    <a:pt x="106" y="650"/>
                  </a:lnTo>
                  <a:lnTo>
                    <a:pt x="96" y="664"/>
                  </a:lnTo>
                  <a:lnTo>
                    <a:pt x="88" y="676"/>
                  </a:lnTo>
                  <a:lnTo>
                    <a:pt x="76" y="686"/>
                  </a:lnTo>
                  <a:lnTo>
                    <a:pt x="66" y="694"/>
                  </a:lnTo>
                  <a:lnTo>
                    <a:pt x="56" y="702"/>
                  </a:lnTo>
                  <a:lnTo>
                    <a:pt x="36" y="712"/>
                  </a:lnTo>
                  <a:lnTo>
                    <a:pt x="22" y="718"/>
                  </a:lnTo>
                  <a:lnTo>
                    <a:pt x="22" y="718"/>
                  </a:lnTo>
                  <a:lnTo>
                    <a:pt x="16" y="720"/>
                  </a:lnTo>
                  <a:lnTo>
                    <a:pt x="12" y="722"/>
                  </a:lnTo>
                  <a:lnTo>
                    <a:pt x="4" y="732"/>
                  </a:lnTo>
                  <a:lnTo>
                    <a:pt x="0" y="742"/>
                  </a:lnTo>
                  <a:lnTo>
                    <a:pt x="0" y="748"/>
                  </a:lnTo>
                  <a:lnTo>
                    <a:pt x="2" y="754"/>
                  </a:lnTo>
                  <a:lnTo>
                    <a:pt x="2" y="754"/>
                  </a:lnTo>
                  <a:lnTo>
                    <a:pt x="4" y="760"/>
                  </a:lnTo>
                  <a:lnTo>
                    <a:pt x="8" y="764"/>
                  </a:lnTo>
                  <a:lnTo>
                    <a:pt x="16" y="772"/>
                  </a:lnTo>
                  <a:lnTo>
                    <a:pt x="28" y="776"/>
                  </a:lnTo>
                  <a:lnTo>
                    <a:pt x="34" y="774"/>
                  </a:lnTo>
                  <a:lnTo>
                    <a:pt x="40" y="774"/>
                  </a:lnTo>
                  <a:lnTo>
                    <a:pt x="40" y="774"/>
                  </a:lnTo>
                  <a:lnTo>
                    <a:pt x="56" y="768"/>
                  </a:lnTo>
                  <a:lnTo>
                    <a:pt x="72" y="760"/>
                  </a:lnTo>
                  <a:lnTo>
                    <a:pt x="90" y="750"/>
                  </a:lnTo>
                  <a:lnTo>
                    <a:pt x="104" y="740"/>
                  </a:lnTo>
                  <a:lnTo>
                    <a:pt x="120" y="728"/>
                  </a:lnTo>
                  <a:lnTo>
                    <a:pt x="132" y="712"/>
                  </a:lnTo>
                  <a:lnTo>
                    <a:pt x="146" y="698"/>
                  </a:lnTo>
                  <a:lnTo>
                    <a:pt x="156" y="680"/>
                  </a:lnTo>
                  <a:lnTo>
                    <a:pt x="166" y="660"/>
                  </a:lnTo>
                  <a:lnTo>
                    <a:pt x="172" y="638"/>
                  </a:lnTo>
                  <a:lnTo>
                    <a:pt x="178" y="616"/>
                  </a:lnTo>
                  <a:lnTo>
                    <a:pt x="182" y="592"/>
                  </a:lnTo>
                  <a:lnTo>
                    <a:pt x="182" y="564"/>
                  </a:lnTo>
                  <a:lnTo>
                    <a:pt x="180" y="536"/>
                  </a:lnTo>
                  <a:lnTo>
                    <a:pt x="176" y="506"/>
                  </a:lnTo>
                  <a:lnTo>
                    <a:pt x="168" y="474"/>
                  </a:lnTo>
                  <a:lnTo>
                    <a:pt x="168" y="474"/>
                  </a:lnTo>
                  <a:lnTo>
                    <a:pt x="160" y="442"/>
                  </a:lnTo>
                  <a:lnTo>
                    <a:pt x="156" y="410"/>
                  </a:lnTo>
                  <a:lnTo>
                    <a:pt x="154" y="378"/>
                  </a:lnTo>
                  <a:lnTo>
                    <a:pt x="156" y="346"/>
                  </a:lnTo>
                  <a:lnTo>
                    <a:pt x="162" y="314"/>
                  </a:lnTo>
                  <a:lnTo>
                    <a:pt x="170" y="284"/>
                  </a:lnTo>
                  <a:lnTo>
                    <a:pt x="182" y="254"/>
                  </a:lnTo>
                  <a:lnTo>
                    <a:pt x="196" y="226"/>
                  </a:lnTo>
                  <a:lnTo>
                    <a:pt x="212" y="200"/>
                  </a:lnTo>
                  <a:lnTo>
                    <a:pt x="230" y="174"/>
                  </a:lnTo>
                  <a:lnTo>
                    <a:pt x="252" y="152"/>
                  </a:lnTo>
                  <a:lnTo>
                    <a:pt x="276" y="130"/>
                  </a:lnTo>
                  <a:lnTo>
                    <a:pt x="302" y="112"/>
                  </a:lnTo>
                  <a:lnTo>
                    <a:pt x="330" y="96"/>
                  </a:lnTo>
                  <a:lnTo>
                    <a:pt x="358" y="82"/>
                  </a:lnTo>
                  <a:lnTo>
                    <a:pt x="390" y="70"/>
                  </a:lnTo>
                  <a:lnTo>
                    <a:pt x="390" y="70"/>
                  </a:lnTo>
                  <a:lnTo>
                    <a:pt x="390" y="70"/>
                  </a:lnTo>
                  <a:lnTo>
                    <a:pt x="390" y="70"/>
                  </a:lnTo>
                  <a:lnTo>
                    <a:pt x="422" y="64"/>
                  </a:lnTo>
                  <a:lnTo>
                    <a:pt x="454" y="60"/>
                  </a:lnTo>
                  <a:lnTo>
                    <a:pt x="486" y="58"/>
                  </a:lnTo>
                  <a:lnTo>
                    <a:pt x="518" y="60"/>
                  </a:lnTo>
                  <a:lnTo>
                    <a:pt x="550" y="66"/>
                  </a:lnTo>
                  <a:lnTo>
                    <a:pt x="580" y="74"/>
                  </a:lnTo>
                  <a:lnTo>
                    <a:pt x="608" y="84"/>
                  </a:lnTo>
                  <a:lnTo>
                    <a:pt x="636" y="98"/>
                  </a:lnTo>
                  <a:lnTo>
                    <a:pt x="662" y="114"/>
                  </a:lnTo>
                  <a:lnTo>
                    <a:pt x="688" y="134"/>
                  </a:lnTo>
                  <a:lnTo>
                    <a:pt x="710" y="154"/>
                  </a:lnTo>
                  <a:lnTo>
                    <a:pt x="732" y="176"/>
                  </a:lnTo>
                  <a:lnTo>
                    <a:pt x="750" y="202"/>
                  </a:lnTo>
                  <a:lnTo>
                    <a:pt x="768" y="230"/>
                  </a:lnTo>
                  <a:lnTo>
                    <a:pt x="782" y="258"/>
                  </a:lnTo>
                  <a:lnTo>
                    <a:pt x="792" y="290"/>
                  </a:lnTo>
                  <a:lnTo>
                    <a:pt x="792" y="290"/>
                  </a:lnTo>
                  <a:lnTo>
                    <a:pt x="796" y="296"/>
                  </a:lnTo>
                  <a:lnTo>
                    <a:pt x="796" y="296"/>
                  </a:lnTo>
                  <a:lnTo>
                    <a:pt x="802" y="304"/>
                  </a:lnTo>
                  <a:lnTo>
                    <a:pt x="826" y="326"/>
                  </a:lnTo>
                  <a:lnTo>
                    <a:pt x="884" y="376"/>
                  </a:lnTo>
                  <a:lnTo>
                    <a:pt x="996" y="466"/>
                  </a:lnTo>
                  <a:lnTo>
                    <a:pt x="996" y="466"/>
                  </a:lnTo>
                  <a:lnTo>
                    <a:pt x="1000" y="470"/>
                  </a:lnTo>
                  <a:lnTo>
                    <a:pt x="1006" y="472"/>
                  </a:lnTo>
                  <a:lnTo>
                    <a:pt x="1018" y="474"/>
                  </a:lnTo>
                  <a:lnTo>
                    <a:pt x="1028" y="470"/>
                  </a:lnTo>
                  <a:lnTo>
                    <a:pt x="1032" y="466"/>
                  </a:lnTo>
                  <a:lnTo>
                    <a:pt x="1038" y="462"/>
                  </a:lnTo>
                  <a:lnTo>
                    <a:pt x="1038" y="462"/>
                  </a:lnTo>
                  <a:lnTo>
                    <a:pt x="1040" y="458"/>
                  </a:lnTo>
                  <a:lnTo>
                    <a:pt x="1042" y="452"/>
                  </a:lnTo>
                  <a:lnTo>
                    <a:pt x="1044" y="440"/>
                  </a:lnTo>
                  <a:lnTo>
                    <a:pt x="1040" y="430"/>
                  </a:lnTo>
                  <a:lnTo>
                    <a:pt x="1038" y="424"/>
                  </a:lnTo>
                  <a:lnTo>
                    <a:pt x="1032" y="420"/>
                  </a:lnTo>
                  <a:lnTo>
                    <a:pt x="1032" y="420"/>
                  </a:lnTo>
                  <a:lnTo>
                    <a:pt x="920" y="328"/>
                  </a:lnTo>
                  <a:lnTo>
                    <a:pt x="848" y="2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237">
              <a:extLst>
                <a:ext uri="{FF2B5EF4-FFF2-40B4-BE49-F238E27FC236}">
                  <a16:creationId xmlns:a16="http://schemas.microsoft.com/office/drawing/2014/main" id="{6E590B99-AB93-41E2-A573-3799CD87B7D4}"/>
                </a:ext>
              </a:extLst>
            </p:cNvPr>
            <p:cNvSpPr>
              <a:spLocks/>
            </p:cNvSpPr>
            <p:nvPr/>
          </p:nvSpPr>
          <p:spPr bwMode="auto">
            <a:xfrm>
              <a:off x="13990638" y="2724150"/>
              <a:ext cx="1657350" cy="1231900"/>
            </a:xfrm>
            <a:custGeom>
              <a:avLst/>
              <a:gdLst>
                <a:gd name="T0" fmla="*/ 834 w 1044"/>
                <a:gd name="T1" fmla="*/ 230 h 776"/>
                <a:gd name="T2" fmla="*/ 774 w 1044"/>
                <a:gd name="T3" fmla="*/ 136 h 776"/>
                <a:gd name="T4" fmla="*/ 692 w 1044"/>
                <a:gd name="T5" fmla="*/ 64 h 776"/>
                <a:gd name="T6" fmla="*/ 594 w 1044"/>
                <a:gd name="T7" fmla="*/ 18 h 776"/>
                <a:gd name="T8" fmla="*/ 486 w 1044"/>
                <a:gd name="T9" fmla="*/ 0 h 776"/>
                <a:gd name="T10" fmla="*/ 374 w 1044"/>
                <a:gd name="T11" fmla="*/ 14 h 776"/>
                <a:gd name="T12" fmla="*/ 302 w 1044"/>
                <a:gd name="T13" fmla="*/ 42 h 776"/>
                <a:gd name="T14" fmla="*/ 210 w 1044"/>
                <a:gd name="T15" fmla="*/ 110 h 776"/>
                <a:gd name="T16" fmla="*/ 144 w 1044"/>
                <a:gd name="T17" fmla="*/ 198 h 776"/>
                <a:gd name="T18" fmla="*/ 104 w 1044"/>
                <a:gd name="T19" fmla="*/ 302 h 776"/>
                <a:gd name="T20" fmla="*/ 96 w 1044"/>
                <a:gd name="T21" fmla="*/ 414 h 776"/>
                <a:gd name="T22" fmla="*/ 110 w 1044"/>
                <a:gd name="T23" fmla="*/ 490 h 776"/>
                <a:gd name="T24" fmla="*/ 118 w 1044"/>
                <a:gd name="T25" fmla="*/ 522 h 776"/>
                <a:gd name="T26" fmla="*/ 122 w 1044"/>
                <a:gd name="T27" fmla="*/ 596 h 776"/>
                <a:gd name="T28" fmla="*/ 106 w 1044"/>
                <a:gd name="T29" fmla="*/ 650 h 776"/>
                <a:gd name="T30" fmla="*/ 76 w 1044"/>
                <a:gd name="T31" fmla="*/ 686 h 776"/>
                <a:gd name="T32" fmla="*/ 36 w 1044"/>
                <a:gd name="T33" fmla="*/ 712 h 776"/>
                <a:gd name="T34" fmla="*/ 16 w 1044"/>
                <a:gd name="T35" fmla="*/ 720 h 776"/>
                <a:gd name="T36" fmla="*/ 0 w 1044"/>
                <a:gd name="T37" fmla="*/ 742 h 776"/>
                <a:gd name="T38" fmla="*/ 2 w 1044"/>
                <a:gd name="T39" fmla="*/ 754 h 776"/>
                <a:gd name="T40" fmla="*/ 16 w 1044"/>
                <a:gd name="T41" fmla="*/ 772 h 776"/>
                <a:gd name="T42" fmla="*/ 40 w 1044"/>
                <a:gd name="T43" fmla="*/ 774 h 776"/>
                <a:gd name="T44" fmla="*/ 72 w 1044"/>
                <a:gd name="T45" fmla="*/ 760 h 776"/>
                <a:gd name="T46" fmla="*/ 120 w 1044"/>
                <a:gd name="T47" fmla="*/ 728 h 776"/>
                <a:gd name="T48" fmla="*/ 156 w 1044"/>
                <a:gd name="T49" fmla="*/ 680 h 776"/>
                <a:gd name="T50" fmla="*/ 178 w 1044"/>
                <a:gd name="T51" fmla="*/ 616 h 776"/>
                <a:gd name="T52" fmla="*/ 180 w 1044"/>
                <a:gd name="T53" fmla="*/ 536 h 776"/>
                <a:gd name="T54" fmla="*/ 168 w 1044"/>
                <a:gd name="T55" fmla="*/ 474 h 776"/>
                <a:gd name="T56" fmla="*/ 154 w 1044"/>
                <a:gd name="T57" fmla="*/ 378 h 776"/>
                <a:gd name="T58" fmla="*/ 170 w 1044"/>
                <a:gd name="T59" fmla="*/ 284 h 776"/>
                <a:gd name="T60" fmla="*/ 212 w 1044"/>
                <a:gd name="T61" fmla="*/ 200 h 776"/>
                <a:gd name="T62" fmla="*/ 276 w 1044"/>
                <a:gd name="T63" fmla="*/ 130 h 776"/>
                <a:gd name="T64" fmla="*/ 358 w 1044"/>
                <a:gd name="T65" fmla="*/ 82 h 776"/>
                <a:gd name="T66" fmla="*/ 390 w 1044"/>
                <a:gd name="T67" fmla="*/ 70 h 776"/>
                <a:gd name="T68" fmla="*/ 454 w 1044"/>
                <a:gd name="T69" fmla="*/ 60 h 776"/>
                <a:gd name="T70" fmla="*/ 550 w 1044"/>
                <a:gd name="T71" fmla="*/ 66 h 776"/>
                <a:gd name="T72" fmla="*/ 636 w 1044"/>
                <a:gd name="T73" fmla="*/ 98 h 776"/>
                <a:gd name="T74" fmla="*/ 710 w 1044"/>
                <a:gd name="T75" fmla="*/ 154 h 776"/>
                <a:gd name="T76" fmla="*/ 768 w 1044"/>
                <a:gd name="T77" fmla="*/ 230 h 776"/>
                <a:gd name="T78" fmla="*/ 792 w 1044"/>
                <a:gd name="T79" fmla="*/ 290 h 776"/>
                <a:gd name="T80" fmla="*/ 802 w 1044"/>
                <a:gd name="T81" fmla="*/ 304 h 776"/>
                <a:gd name="T82" fmla="*/ 996 w 1044"/>
                <a:gd name="T83" fmla="*/ 466 h 776"/>
                <a:gd name="T84" fmla="*/ 1006 w 1044"/>
                <a:gd name="T85" fmla="*/ 472 h 776"/>
                <a:gd name="T86" fmla="*/ 1032 w 1044"/>
                <a:gd name="T87" fmla="*/ 466 h 776"/>
                <a:gd name="T88" fmla="*/ 1040 w 1044"/>
                <a:gd name="T89" fmla="*/ 458 h 776"/>
                <a:gd name="T90" fmla="*/ 1040 w 1044"/>
                <a:gd name="T91" fmla="*/ 430 h 776"/>
                <a:gd name="T92" fmla="*/ 1032 w 1044"/>
                <a:gd name="T93" fmla="*/ 42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4" h="776">
                  <a:moveTo>
                    <a:pt x="848" y="266"/>
                  </a:moveTo>
                  <a:lnTo>
                    <a:pt x="848" y="266"/>
                  </a:lnTo>
                  <a:lnTo>
                    <a:pt x="834" y="230"/>
                  </a:lnTo>
                  <a:lnTo>
                    <a:pt x="816" y="196"/>
                  </a:lnTo>
                  <a:lnTo>
                    <a:pt x="798" y="166"/>
                  </a:lnTo>
                  <a:lnTo>
                    <a:pt x="774" y="136"/>
                  </a:lnTo>
                  <a:lnTo>
                    <a:pt x="750" y="110"/>
                  </a:lnTo>
                  <a:lnTo>
                    <a:pt x="722" y="86"/>
                  </a:lnTo>
                  <a:lnTo>
                    <a:pt x="692" y="64"/>
                  </a:lnTo>
                  <a:lnTo>
                    <a:pt x="662" y="46"/>
                  </a:lnTo>
                  <a:lnTo>
                    <a:pt x="630" y="30"/>
                  </a:lnTo>
                  <a:lnTo>
                    <a:pt x="594" y="18"/>
                  </a:lnTo>
                  <a:lnTo>
                    <a:pt x="560" y="8"/>
                  </a:lnTo>
                  <a:lnTo>
                    <a:pt x="524" y="2"/>
                  </a:lnTo>
                  <a:lnTo>
                    <a:pt x="486" y="0"/>
                  </a:lnTo>
                  <a:lnTo>
                    <a:pt x="450" y="0"/>
                  </a:lnTo>
                  <a:lnTo>
                    <a:pt x="412" y="6"/>
                  </a:lnTo>
                  <a:lnTo>
                    <a:pt x="374" y="14"/>
                  </a:lnTo>
                  <a:lnTo>
                    <a:pt x="374" y="14"/>
                  </a:lnTo>
                  <a:lnTo>
                    <a:pt x="336" y="26"/>
                  </a:lnTo>
                  <a:lnTo>
                    <a:pt x="302" y="42"/>
                  </a:lnTo>
                  <a:lnTo>
                    <a:pt x="268" y="62"/>
                  </a:lnTo>
                  <a:lnTo>
                    <a:pt x="238" y="84"/>
                  </a:lnTo>
                  <a:lnTo>
                    <a:pt x="210" y="110"/>
                  </a:lnTo>
                  <a:lnTo>
                    <a:pt x="186" y="136"/>
                  </a:lnTo>
                  <a:lnTo>
                    <a:pt x="162" y="166"/>
                  </a:lnTo>
                  <a:lnTo>
                    <a:pt x="144" y="198"/>
                  </a:lnTo>
                  <a:lnTo>
                    <a:pt x="128" y="230"/>
                  </a:lnTo>
                  <a:lnTo>
                    <a:pt x="114" y="266"/>
                  </a:lnTo>
                  <a:lnTo>
                    <a:pt x="104" y="302"/>
                  </a:lnTo>
                  <a:lnTo>
                    <a:pt x="98" y="338"/>
                  </a:lnTo>
                  <a:lnTo>
                    <a:pt x="96" y="376"/>
                  </a:lnTo>
                  <a:lnTo>
                    <a:pt x="96" y="414"/>
                  </a:lnTo>
                  <a:lnTo>
                    <a:pt x="102" y="452"/>
                  </a:lnTo>
                  <a:lnTo>
                    <a:pt x="110" y="490"/>
                  </a:lnTo>
                  <a:lnTo>
                    <a:pt x="110" y="490"/>
                  </a:lnTo>
                  <a:lnTo>
                    <a:pt x="110" y="490"/>
                  </a:lnTo>
                  <a:lnTo>
                    <a:pt x="110" y="490"/>
                  </a:lnTo>
                  <a:lnTo>
                    <a:pt x="118" y="522"/>
                  </a:lnTo>
                  <a:lnTo>
                    <a:pt x="122" y="548"/>
                  </a:lnTo>
                  <a:lnTo>
                    <a:pt x="124" y="574"/>
                  </a:lnTo>
                  <a:lnTo>
                    <a:pt x="122" y="596"/>
                  </a:lnTo>
                  <a:lnTo>
                    <a:pt x="118" y="616"/>
                  </a:lnTo>
                  <a:lnTo>
                    <a:pt x="112" y="634"/>
                  </a:lnTo>
                  <a:lnTo>
                    <a:pt x="106" y="650"/>
                  </a:lnTo>
                  <a:lnTo>
                    <a:pt x="96" y="664"/>
                  </a:lnTo>
                  <a:lnTo>
                    <a:pt x="88" y="676"/>
                  </a:lnTo>
                  <a:lnTo>
                    <a:pt x="76" y="686"/>
                  </a:lnTo>
                  <a:lnTo>
                    <a:pt x="66" y="694"/>
                  </a:lnTo>
                  <a:lnTo>
                    <a:pt x="56" y="702"/>
                  </a:lnTo>
                  <a:lnTo>
                    <a:pt x="36" y="712"/>
                  </a:lnTo>
                  <a:lnTo>
                    <a:pt x="22" y="718"/>
                  </a:lnTo>
                  <a:lnTo>
                    <a:pt x="22" y="718"/>
                  </a:lnTo>
                  <a:lnTo>
                    <a:pt x="16" y="720"/>
                  </a:lnTo>
                  <a:lnTo>
                    <a:pt x="12" y="722"/>
                  </a:lnTo>
                  <a:lnTo>
                    <a:pt x="4" y="732"/>
                  </a:lnTo>
                  <a:lnTo>
                    <a:pt x="0" y="742"/>
                  </a:lnTo>
                  <a:lnTo>
                    <a:pt x="0" y="748"/>
                  </a:lnTo>
                  <a:lnTo>
                    <a:pt x="2" y="754"/>
                  </a:lnTo>
                  <a:lnTo>
                    <a:pt x="2" y="754"/>
                  </a:lnTo>
                  <a:lnTo>
                    <a:pt x="4" y="760"/>
                  </a:lnTo>
                  <a:lnTo>
                    <a:pt x="8" y="764"/>
                  </a:lnTo>
                  <a:lnTo>
                    <a:pt x="16" y="772"/>
                  </a:lnTo>
                  <a:lnTo>
                    <a:pt x="28" y="776"/>
                  </a:lnTo>
                  <a:lnTo>
                    <a:pt x="34" y="774"/>
                  </a:lnTo>
                  <a:lnTo>
                    <a:pt x="40" y="774"/>
                  </a:lnTo>
                  <a:lnTo>
                    <a:pt x="40" y="774"/>
                  </a:lnTo>
                  <a:lnTo>
                    <a:pt x="56" y="768"/>
                  </a:lnTo>
                  <a:lnTo>
                    <a:pt x="72" y="760"/>
                  </a:lnTo>
                  <a:lnTo>
                    <a:pt x="90" y="750"/>
                  </a:lnTo>
                  <a:lnTo>
                    <a:pt x="104" y="740"/>
                  </a:lnTo>
                  <a:lnTo>
                    <a:pt x="120" y="728"/>
                  </a:lnTo>
                  <a:lnTo>
                    <a:pt x="132" y="712"/>
                  </a:lnTo>
                  <a:lnTo>
                    <a:pt x="146" y="698"/>
                  </a:lnTo>
                  <a:lnTo>
                    <a:pt x="156" y="680"/>
                  </a:lnTo>
                  <a:lnTo>
                    <a:pt x="166" y="660"/>
                  </a:lnTo>
                  <a:lnTo>
                    <a:pt x="172" y="638"/>
                  </a:lnTo>
                  <a:lnTo>
                    <a:pt x="178" y="616"/>
                  </a:lnTo>
                  <a:lnTo>
                    <a:pt x="182" y="592"/>
                  </a:lnTo>
                  <a:lnTo>
                    <a:pt x="182" y="564"/>
                  </a:lnTo>
                  <a:lnTo>
                    <a:pt x="180" y="536"/>
                  </a:lnTo>
                  <a:lnTo>
                    <a:pt x="176" y="506"/>
                  </a:lnTo>
                  <a:lnTo>
                    <a:pt x="168" y="474"/>
                  </a:lnTo>
                  <a:lnTo>
                    <a:pt x="168" y="474"/>
                  </a:lnTo>
                  <a:lnTo>
                    <a:pt x="160" y="442"/>
                  </a:lnTo>
                  <a:lnTo>
                    <a:pt x="156" y="410"/>
                  </a:lnTo>
                  <a:lnTo>
                    <a:pt x="154" y="378"/>
                  </a:lnTo>
                  <a:lnTo>
                    <a:pt x="156" y="346"/>
                  </a:lnTo>
                  <a:lnTo>
                    <a:pt x="162" y="314"/>
                  </a:lnTo>
                  <a:lnTo>
                    <a:pt x="170" y="284"/>
                  </a:lnTo>
                  <a:lnTo>
                    <a:pt x="182" y="254"/>
                  </a:lnTo>
                  <a:lnTo>
                    <a:pt x="196" y="226"/>
                  </a:lnTo>
                  <a:lnTo>
                    <a:pt x="212" y="200"/>
                  </a:lnTo>
                  <a:lnTo>
                    <a:pt x="230" y="174"/>
                  </a:lnTo>
                  <a:lnTo>
                    <a:pt x="252" y="152"/>
                  </a:lnTo>
                  <a:lnTo>
                    <a:pt x="276" y="130"/>
                  </a:lnTo>
                  <a:lnTo>
                    <a:pt x="302" y="112"/>
                  </a:lnTo>
                  <a:lnTo>
                    <a:pt x="330" y="96"/>
                  </a:lnTo>
                  <a:lnTo>
                    <a:pt x="358" y="82"/>
                  </a:lnTo>
                  <a:lnTo>
                    <a:pt x="390" y="70"/>
                  </a:lnTo>
                  <a:lnTo>
                    <a:pt x="390" y="70"/>
                  </a:lnTo>
                  <a:lnTo>
                    <a:pt x="390" y="70"/>
                  </a:lnTo>
                  <a:lnTo>
                    <a:pt x="390" y="70"/>
                  </a:lnTo>
                  <a:lnTo>
                    <a:pt x="422" y="64"/>
                  </a:lnTo>
                  <a:lnTo>
                    <a:pt x="454" y="60"/>
                  </a:lnTo>
                  <a:lnTo>
                    <a:pt x="486" y="58"/>
                  </a:lnTo>
                  <a:lnTo>
                    <a:pt x="518" y="60"/>
                  </a:lnTo>
                  <a:lnTo>
                    <a:pt x="550" y="66"/>
                  </a:lnTo>
                  <a:lnTo>
                    <a:pt x="580" y="74"/>
                  </a:lnTo>
                  <a:lnTo>
                    <a:pt x="608" y="84"/>
                  </a:lnTo>
                  <a:lnTo>
                    <a:pt x="636" y="98"/>
                  </a:lnTo>
                  <a:lnTo>
                    <a:pt x="662" y="114"/>
                  </a:lnTo>
                  <a:lnTo>
                    <a:pt x="688" y="134"/>
                  </a:lnTo>
                  <a:lnTo>
                    <a:pt x="710" y="154"/>
                  </a:lnTo>
                  <a:lnTo>
                    <a:pt x="732" y="176"/>
                  </a:lnTo>
                  <a:lnTo>
                    <a:pt x="750" y="202"/>
                  </a:lnTo>
                  <a:lnTo>
                    <a:pt x="768" y="230"/>
                  </a:lnTo>
                  <a:lnTo>
                    <a:pt x="782" y="258"/>
                  </a:lnTo>
                  <a:lnTo>
                    <a:pt x="792" y="290"/>
                  </a:lnTo>
                  <a:lnTo>
                    <a:pt x="792" y="290"/>
                  </a:lnTo>
                  <a:lnTo>
                    <a:pt x="796" y="296"/>
                  </a:lnTo>
                  <a:lnTo>
                    <a:pt x="796" y="296"/>
                  </a:lnTo>
                  <a:lnTo>
                    <a:pt x="802" y="304"/>
                  </a:lnTo>
                  <a:lnTo>
                    <a:pt x="826" y="326"/>
                  </a:lnTo>
                  <a:lnTo>
                    <a:pt x="884" y="376"/>
                  </a:lnTo>
                  <a:lnTo>
                    <a:pt x="996" y="466"/>
                  </a:lnTo>
                  <a:lnTo>
                    <a:pt x="996" y="466"/>
                  </a:lnTo>
                  <a:lnTo>
                    <a:pt x="1000" y="470"/>
                  </a:lnTo>
                  <a:lnTo>
                    <a:pt x="1006" y="472"/>
                  </a:lnTo>
                  <a:lnTo>
                    <a:pt x="1018" y="474"/>
                  </a:lnTo>
                  <a:lnTo>
                    <a:pt x="1028" y="470"/>
                  </a:lnTo>
                  <a:lnTo>
                    <a:pt x="1032" y="466"/>
                  </a:lnTo>
                  <a:lnTo>
                    <a:pt x="1038" y="462"/>
                  </a:lnTo>
                  <a:lnTo>
                    <a:pt x="1038" y="462"/>
                  </a:lnTo>
                  <a:lnTo>
                    <a:pt x="1040" y="458"/>
                  </a:lnTo>
                  <a:lnTo>
                    <a:pt x="1042" y="452"/>
                  </a:lnTo>
                  <a:lnTo>
                    <a:pt x="1044" y="440"/>
                  </a:lnTo>
                  <a:lnTo>
                    <a:pt x="1040" y="430"/>
                  </a:lnTo>
                  <a:lnTo>
                    <a:pt x="1038" y="424"/>
                  </a:lnTo>
                  <a:lnTo>
                    <a:pt x="1032" y="420"/>
                  </a:lnTo>
                  <a:lnTo>
                    <a:pt x="1032" y="420"/>
                  </a:lnTo>
                  <a:lnTo>
                    <a:pt x="920" y="328"/>
                  </a:lnTo>
                  <a:lnTo>
                    <a:pt x="848" y="26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238">
              <a:extLst>
                <a:ext uri="{FF2B5EF4-FFF2-40B4-BE49-F238E27FC236}">
                  <a16:creationId xmlns:a16="http://schemas.microsoft.com/office/drawing/2014/main" id="{07717304-F299-4486-86C1-2E5D4E8FE151}"/>
                </a:ext>
              </a:extLst>
            </p:cNvPr>
            <p:cNvSpPr>
              <a:spLocks/>
            </p:cNvSpPr>
            <p:nvPr/>
          </p:nvSpPr>
          <p:spPr bwMode="auto">
            <a:xfrm>
              <a:off x="14143038" y="2911475"/>
              <a:ext cx="1457325" cy="1222375"/>
            </a:xfrm>
            <a:custGeom>
              <a:avLst/>
              <a:gdLst>
                <a:gd name="T0" fmla="*/ 632 w 918"/>
                <a:gd name="T1" fmla="*/ 166 h 770"/>
                <a:gd name="T2" fmla="*/ 592 w 918"/>
                <a:gd name="T3" fmla="*/ 98 h 770"/>
                <a:gd name="T4" fmla="*/ 536 w 918"/>
                <a:gd name="T5" fmla="*/ 46 h 770"/>
                <a:gd name="T6" fmla="*/ 466 w 918"/>
                <a:gd name="T7" fmla="*/ 12 h 770"/>
                <a:gd name="T8" fmla="*/ 390 w 918"/>
                <a:gd name="T9" fmla="*/ 0 h 770"/>
                <a:gd name="T10" fmla="*/ 310 w 918"/>
                <a:gd name="T11" fmla="*/ 10 h 770"/>
                <a:gd name="T12" fmla="*/ 262 w 918"/>
                <a:gd name="T13" fmla="*/ 30 h 770"/>
                <a:gd name="T14" fmla="*/ 200 w 918"/>
                <a:gd name="T15" fmla="*/ 76 h 770"/>
                <a:gd name="T16" fmla="*/ 154 w 918"/>
                <a:gd name="T17" fmla="*/ 138 h 770"/>
                <a:gd name="T18" fmla="*/ 126 w 918"/>
                <a:gd name="T19" fmla="*/ 208 h 770"/>
                <a:gd name="T20" fmla="*/ 120 w 918"/>
                <a:gd name="T21" fmla="*/ 286 h 770"/>
                <a:gd name="T22" fmla="*/ 128 w 918"/>
                <a:gd name="T23" fmla="*/ 338 h 770"/>
                <a:gd name="T24" fmla="*/ 150 w 918"/>
                <a:gd name="T25" fmla="*/ 470 h 770"/>
                <a:gd name="T26" fmla="*/ 152 w 918"/>
                <a:gd name="T27" fmla="*/ 566 h 770"/>
                <a:gd name="T28" fmla="*/ 134 w 918"/>
                <a:gd name="T29" fmla="*/ 632 h 770"/>
                <a:gd name="T30" fmla="*/ 98 w 918"/>
                <a:gd name="T31" fmla="*/ 676 h 770"/>
                <a:gd name="T32" fmla="*/ 42 w 918"/>
                <a:gd name="T33" fmla="*/ 704 h 770"/>
                <a:gd name="T34" fmla="*/ 14 w 918"/>
                <a:gd name="T35" fmla="*/ 714 h 770"/>
                <a:gd name="T36" fmla="*/ 0 w 918"/>
                <a:gd name="T37" fmla="*/ 738 h 770"/>
                <a:gd name="T38" fmla="*/ 0 w 918"/>
                <a:gd name="T39" fmla="*/ 750 h 770"/>
                <a:gd name="T40" fmla="*/ 16 w 918"/>
                <a:gd name="T41" fmla="*/ 766 h 770"/>
                <a:gd name="T42" fmla="*/ 38 w 918"/>
                <a:gd name="T43" fmla="*/ 768 h 770"/>
                <a:gd name="T44" fmla="*/ 96 w 918"/>
                <a:gd name="T45" fmla="*/ 746 h 770"/>
                <a:gd name="T46" fmla="*/ 160 w 918"/>
                <a:gd name="T47" fmla="*/ 698 h 770"/>
                <a:gd name="T48" fmla="*/ 200 w 918"/>
                <a:gd name="T49" fmla="*/ 632 h 770"/>
                <a:gd name="T50" fmla="*/ 214 w 918"/>
                <a:gd name="T51" fmla="*/ 540 h 770"/>
                <a:gd name="T52" fmla="*/ 204 w 918"/>
                <a:gd name="T53" fmla="*/ 422 h 770"/>
                <a:gd name="T54" fmla="*/ 186 w 918"/>
                <a:gd name="T55" fmla="*/ 326 h 770"/>
                <a:gd name="T56" fmla="*/ 178 w 918"/>
                <a:gd name="T57" fmla="*/ 264 h 770"/>
                <a:gd name="T58" fmla="*/ 190 w 918"/>
                <a:gd name="T59" fmla="*/ 204 h 770"/>
                <a:gd name="T60" fmla="*/ 216 w 918"/>
                <a:gd name="T61" fmla="*/ 150 h 770"/>
                <a:gd name="T62" fmla="*/ 256 w 918"/>
                <a:gd name="T63" fmla="*/ 106 h 770"/>
                <a:gd name="T64" fmla="*/ 308 w 918"/>
                <a:gd name="T65" fmla="*/ 74 h 770"/>
                <a:gd name="T66" fmla="*/ 348 w 918"/>
                <a:gd name="T67" fmla="*/ 62 h 770"/>
                <a:gd name="T68" fmla="*/ 410 w 918"/>
                <a:gd name="T69" fmla="*/ 60 h 770"/>
                <a:gd name="T70" fmla="*/ 468 w 918"/>
                <a:gd name="T71" fmla="*/ 76 h 770"/>
                <a:gd name="T72" fmla="*/ 518 w 918"/>
                <a:gd name="T73" fmla="*/ 108 h 770"/>
                <a:gd name="T74" fmla="*/ 558 w 918"/>
                <a:gd name="T75" fmla="*/ 152 h 770"/>
                <a:gd name="T76" fmla="*/ 584 w 918"/>
                <a:gd name="T77" fmla="*/ 210 h 770"/>
                <a:gd name="T78" fmla="*/ 600 w 918"/>
                <a:gd name="T79" fmla="*/ 244 h 770"/>
                <a:gd name="T80" fmla="*/ 676 w 918"/>
                <a:gd name="T81" fmla="*/ 332 h 770"/>
                <a:gd name="T82" fmla="*/ 870 w 918"/>
                <a:gd name="T83" fmla="*/ 498 h 770"/>
                <a:gd name="T84" fmla="*/ 882 w 918"/>
                <a:gd name="T85" fmla="*/ 502 h 770"/>
                <a:gd name="T86" fmla="*/ 908 w 918"/>
                <a:gd name="T87" fmla="*/ 496 h 770"/>
                <a:gd name="T88" fmla="*/ 916 w 918"/>
                <a:gd name="T89" fmla="*/ 488 h 770"/>
                <a:gd name="T90" fmla="*/ 914 w 918"/>
                <a:gd name="T91" fmla="*/ 460 h 770"/>
                <a:gd name="T92" fmla="*/ 908 w 918"/>
                <a:gd name="T93" fmla="*/ 450 h 770"/>
                <a:gd name="T94" fmla="*/ 728 w 918"/>
                <a:gd name="T95" fmla="*/ 300 h 770"/>
                <a:gd name="T96" fmla="*/ 656 w 918"/>
                <a:gd name="T97" fmla="*/ 22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8" h="770">
                  <a:moveTo>
                    <a:pt x="640" y="192"/>
                  </a:moveTo>
                  <a:lnTo>
                    <a:pt x="640" y="192"/>
                  </a:lnTo>
                  <a:lnTo>
                    <a:pt x="632" y="166"/>
                  </a:lnTo>
                  <a:lnTo>
                    <a:pt x="620" y="142"/>
                  </a:lnTo>
                  <a:lnTo>
                    <a:pt x="608" y="120"/>
                  </a:lnTo>
                  <a:lnTo>
                    <a:pt x="592" y="98"/>
                  </a:lnTo>
                  <a:lnTo>
                    <a:pt x="574" y="80"/>
                  </a:lnTo>
                  <a:lnTo>
                    <a:pt x="556" y="62"/>
                  </a:lnTo>
                  <a:lnTo>
                    <a:pt x="536" y="46"/>
                  </a:lnTo>
                  <a:lnTo>
                    <a:pt x="514" y="32"/>
                  </a:lnTo>
                  <a:lnTo>
                    <a:pt x="490" y="22"/>
                  </a:lnTo>
                  <a:lnTo>
                    <a:pt x="466" y="12"/>
                  </a:lnTo>
                  <a:lnTo>
                    <a:pt x="442" y="6"/>
                  </a:lnTo>
                  <a:lnTo>
                    <a:pt x="416" y="2"/>
                  </a:lnTo>
                  <a:lnTo>
                    <a:pt x="390" y="0"/>
                  </a:lnTo>
                  <a:lnTo>
                    <a:pt x="364" y="0"/>
                  </a:lnTo>
                  <a:lnTo>
                    <a:pt x="338" y="4"/>
                  </a:lnTo>
                  <a:lnTo>
                    <a:pt x="310" y="10"/>
                  </a:lnTo>
                  <a:lnTo>
                    <a:pt x="310" y="10"/>
                  </a:lnTo>
                  <a:lnTo>
                    <a:pt x="286" y="20"/>
                  </a:lnTo>
                  <a:lnTo>
                    <a:pt x="262" y="30"/>
                  </a:lnTo>
                  <a:lnTo>
                    <a:pt x="240" y="44"/>
                  </a:lnTo>
                  <a:lnTo>
                    <a:pt x="218" y="60"/>
                  </a:lnTo>
                  <a:lnTo>
                    <a:pt x="200" y="76"/>
                  </a:lnTo>
                  <a:lnTo>
                    <a:pt x="182" y="96"/>
                  </a:lnTo>
                  <a:lnTo>
                    <a:pt x="166" y="116"/>
                  </a:lnTo>
                  <a:lnTo>
                    <a:pt x="154" y="138"/>
                  </a:lnTo>
                  <a:lnTo>
                    <a:pt x="142" y="160"/>
                  </a:lnTo>
                  <a:lnTo>
                    <a:pt x="134" y="184"/>
                  </a:lnTo>
                  <a:lnTo>
                    <a:pt x="126" y="208"/>
                  </a:lnTo>
                  <a:lnTo>
                    <a:pt x="122" y="234"/>
                  </a:lnTo>
                  <a:lnTo>
                    <a:pt x="120" y="260"/>
                  </a:lnTo>
                  <a:lnTo>
                    <a:pt x="120" y="286"/>
                  </a:lnTo>
                  <a:lnTo>
                    <a:pt x="122" y="312"/>
                  </a:lnTo>
                  <a:lnTo>
                    <a:pt x="128" y="338"/>
                  </a:lnTo>
                  <a:lnTo>
                    <a:pt x="128" y="338"/>
                  </a:lnTo>
                  <a:lnTo>
                    <a:pt x="138" y="386"/>
                  </a:lnTo>
                  <a:lnTo>
                    <a:pt x="146" y="430"/>
                  </a:lnTo>
                  <a:lnTo>
                    <a:pt x="150" y="470"/>
                  </a:lnTo>
                  <a:lnTo>
                    <a:pt x="154" y="506"/>
                  </a:lnTo>
                  <a:lnTo>
                    <a:pt x="154" y="538"/>
                  </a:lnTo>
                  <a:lnTo>
                    <a:pt x="152" y="566"/>
                  </a:lnTo>
                  <a:lnTo>
                    <a:pt x="148" y="592"/>
                  </a:lnTo>
                  <a:lnTo>
                    <a:pt x="142" y="614"/>
                  </a:lnTo>
                  <a:lnTo>
                    <a:pt x="134" y="632"/>
                  </a:lnTo>
                  <a:lnTo>
                    <a:pt x="124" y="648"/>
                  </a:lnTo>
                  <a:lnTo>
                    <a:pt x="112" y="664"/>
                  </a:lnTo>
                  <a:lnTo>
                    <a:pt x="98" y="676"/>
                  </a:lnTo>
                  <a:lnTo>
                    <a:pt x="80" y="686"/>
                  </a:lnTo>
                  <a:lnTo>
                    <a:pt x="62" y="696"/>
                  </a:lnTo>
                  <a:lnTo>
                    <a:pt x="42" y="704"/>
                  </a:lnTo>
                  <a:lnTo>
                    <a:pt x="20" y="712"/>
                  </a:lnTo>
                  <a:lnTo>
                    <a:pt x="20" y="712"/>
                  </a:lnTo>
                  <a:lnTo>
                    <a:pt x="14" y="714"/>
                  </a:lnTo>
                  <a:lnTo>
                    <a:pt x="10" y="718"/>
                  </a:lnTo>
                  <a:lnTo>
                    <a:pt x="2" y="726"/>
                  </a:lnTo>
                  <a:lnTo>
                    <a:pt x="0" y="738"/>
                  </a:lnTo>
                  <a:lnTo>
                    <a:pt x="0" y="744"/>
                  </a:lnTo>
                  <a:lnTo>
                    <a:pt x="0" y="750"/>
                  </a:lnTo>
                  <a:lnTo>
                    <a:pt x="0" y="750"/>
                  </a:lnTo>
                  <a:lnTo>
                    <a:pt x="4" y="754"/>
                  </a:lnTo>
                  <a:lnTo>
                    <a:pt x="6" y="760"/>
                  </a:lnTo>
                  <a:lnTo>
                    <a:pt x="16" y="766"/>
                  </a:lnTo>
                  <a:lnTo>
                    <a:pt x="26" y="770"/>
                  </a:lnTo>
                  <a:lnTo>
                    <a:pt x="32" y="770"/>
                  </a:lnTo>
                  <a:lnTo>
                    <a:pt x="38" y="768"/>
                  </a:lnTo>
                  <a:lnTo>
                    <a:pt x="38" y="768"/>
                  </a:lnTo>
                  <a:lnTo>
                    <a:pt x="68" y="758"/>
                  </a:lnTo>
                  <a:lnTo>
                    <a:pt x="96" y="746"/>
                  </a:lnTo>
                  <a:lnTo>
                    <a:pt x="120" y="732"/>
                  </a:lnTo>
                  <a:lnTo>
                    <a:pt x="142" y="716"/>
                  </a:lnTo>
                  <a:lnTo>
                    <a:pt x="160" y="698"/>
                  </a:lnTo>
                  <a:lnTo>
                    <a:pt x="176" y="678"/>
                  </a:lnTo>
                  <a:lnTo>
                    <a:pt x="190" y="656"/>
                  </a:lnTo>
                  <a:lnTo>
                    <a:pt x="200" y="632"/>
                  </a:lnTo>
                  <a:lnTo>
                    <a:pt x="206" y="604"/>
                  </a:lnTo>
                  <a:lnTo>
                    <a:pt x="212" y="574"/>
                  </a:lnTo>
                  <a:lnTo>
                    <a:pt x="214" y="540"/>
                  </a:lnTo>
                  <a:lnTo>
                    <a:pt x="212" y="504"/>
                  </a:lnTo>
                  <a:lnTo>
                    <a:pt x="210" y="464"/>
                  </a:lnTo>
                  <a:lnTo>
                    <a:pt x="204" y="422"/>
                  </a:lnTo>
                  <a:lnTo>
                    <a:pt x="196" y="376"/>
                  </a:lnTo>
                  <a:lnTo>
                    <a:pt x="186" y="326"/>
                  </a:lnTo>
                  <a:lnTo>
                    <a:pt x="186" y="326"/>
                  </a:lnTo>
                  <a:lnTo>
                    <a:pt x="182" y="304"/>
                  </a:lnTo>
                  <a:lnTo>
                    <a:pt x="180" y="284"/>
                  </a:lnTo>
                  <a:lnTo>
                    <a:pt x="178" y="264"/>
                  </a:lnTo>
                  <a:lnTo>
                    <a:pt x="180" y="244"/>
                  </a:lnTo>
                  <a:lnTo>
                    <a:pt x="184" y="224"/>
                  </a:lnTo>
                  <a:lnTo>
                    <a:pt x="190" y="204"/>
                  </a:lnTo>
                  <a:lnTo>
                    <a:pt x="196" y="186"/>
                  </a:lnTo>
                  <a:lnTo>
                    <a:pt x="206" y="168"/>
                  </a:lnTo>
                  <a:lnTo>
                    <a:pt x="216" y="150"/>
                  </a:lnTo>
                  <a:lnTo>
                    <a:pt x="228" y="134"/>
                  </a:lnTo>
                  <a:lnTo>
                    <a:pt x="240" y="120"/>
                  </a:lnTo>
                  <a:lnTo>
                    <a:pt x="256" y="106"/>
                  </a:lnTo>
                  <a:lnTo>
                    <a:pt x="272" y="94"/>
                  </a:lnTo>
                  <a:lnTo>
                    <a:pt x="290" y="84"/>
                  </a:lnTo>
                  <a:lnTo>
                    <a:pt x="308" y="74"/>
                  </a:lnTo>
                  <a:lnTo>
                    <a:pt x="328" y="66"/>
                  </a:lnTo>
                  <a:lnTo>
                    <a:pt x="328" y="66"/>
                  </a:lnTo>
                  <a:lnTo>
                    <a:pt x="348" y="62"/>
                  </a:lnTo>
                  <a:lnTo>
                    <a:pt x="370" y="60"/>
                  </a:lnTo>
                  <a:lnTo>
                    <a:pt x="390" y="58"/>
                  </a:lnTo>
                  <a:lnTo>
                    <a:pt x="410" y="60"/>
                  </a:lnTo>
                  <a:lnTo>
                    <a:pt x="430" y="64"/>
                  </a:lnTo>
                  <a:lnTo>
                    <a:pt x="448" y="70"/>
                  </a:lnTo>
                  <a:lnTo>
                    <a:pt x="468" y="76"/>
                  </a:lnTo>
                  <a:lnTo>
                    <a:pt x="486" y="84"/>
                  </a:lnTo>
                  <a:lnTo>
                    <a:pt x="502" y="96"/>
                  </a:lnTo>
                  <a:lnTo>
                    <a:pt x="518" y="108"/>
                  </a:lnTo>
                  <a:lnTo>
                    <a:pt x="532" y="122"/>
                  </a:lnTo>
                  <a:lnTo>
                    <a:pt x="546" y="136"/>
                  </a:lnTo>
                  <a:lnTo>
                    <a:pt x="558" y="152"/>
                  </a:lnTo>
                  <a:lnTo>
                    <a:pt x="568" y="170"/>
                  </a:lnTo>
                  <a:lnTo>
                    <a:pt x="578" y="190"/>
                  </a:lnTo>
                  <a:lnTo>
                    <a:pt x="584" y="210"/>
                  </a:lnTo>
                  <a:lnTo>
                    <a:pt x="584" y="210"/>
                  </a:lnTo>
                  <a:lnTo>
                    <a:pt x="590" y="226"/>
                  </a:lnTo>
                  <a:lnTo>
                    <a:pt x="600" y="244"/>
                  </a:lnTo>
                  <a:lnTo>
                    <a:pt x="616" y="268"/>
                  </a:lnTo>
                  <a:lnTo>
                    <a:pt x="640" y="296"/>
                  </a:lnTo>
                  <a:lnTo>
                    <a:pt x="676" y="332"/>
                  </a:lnTo>
                  <a:lnTo>
                    <a:pt x="726" y="376"/>
                  </a:lnTo>
                  <a:lnTo>
                    <a:pt x="790" y="432"/>
                  </a:lnTo>
                  <a:lnTo>
                    <a:pt x="870" y="498"/>
                  </a:lnTo>
                  <a:lnTo>
                    <a:pt x="870" y="498"/>
                  </a:lnTo>
                  <a:lnTo>
                    <a:pt x="876" y="500"/>
                  </a:lnTo>
                  <a:lnTo>
                    <a:pt x="882" y="502"/>
                  </a:lnTo>
                  <a:lnTo>
                    <a:pt x="892" y="504"/>
                  </a:lnTo>
                  <a:lnTo>
                    <a:pt x="904" y="500"/>
                  </a:lnTo>
                  <a:lnTo>
                    <a:pt x="908" y="496"/>
                  </a:lnTo>
                  <a:lnTo>
                    <a:pt x="912" y="492"/>
                  </a:lnTo>
                  <a:lnTo>
                    <a:pt x="912" y="492"/>
                  </a:lnTo>
                  <a:lnTo>
                    <a:pt x="916" y="488"/>
                  </a:lnTo>
                  <a:lnTo>
                    <a:pt x="918" y="482"/>
                  </a:lnTo>
                  <a:lnTo>
                    <a:pt x="918" y="470"/>
                  </a:lnTo>
                  <a:lnTo>
                    <a:pt x="914" y="460"/>
                  </a:lnTo>
                  <a:lnTo>
                    <a:pt x="912" y="454"/>
                  </a:lnTo>
                  <a:lnTo>
                    <a:pt x="908" y="450"/>
                  </a:lnTo>
                  <a:lnTo>
                    <a:pt x="908" y="450"/>
                  </a:lnTo>
                  <a:lnTo>
                    <a:pt x="832" y="390"/>
                  </a:lnTo>
                  <a:lnTo>
                    <a:pt x="774" y="340"/>
                  </a:lnTo>
                  <a:lnTo>
                    <a:pt x="728" y="300"/>
                  </a:lnTo>
                  <a:lnTo>
                    <a:pt x="694" y="266"/>
                  </a:lnTo>
                  <a:lnTo>
                    <a:pt x="670" y="240"/>
                  </a:lnTo>
                  <a:lnTo>
                    <a:pt x="656" y="220"/>
                  </a:lnTo>
                  <a:lnTo>
                    <a:pt x="646" y="204"/>
                  </a:lnTo>
                  <a:lnTo>
                    <a:pt x="640"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239">
              <a:extLst>
                <a:ext uri="{FF2B5EF4-FFF2-40B4-BE49-F238E27FC236}">
                  <a16:creationId xmlns:a16="http://schemas.microsoft.com/office/drawing/2014/main" id="{9DF7E3A6-A4B8-45AF-BCDD-9921E0F4F521}"/>
                </a:ext>
              </a:extLst>
            </p:cNvPr>
            <p:cNvSpPr>
              <a:spLocks/>
            </p:cNvSpPr>
            <p:nvPr/>
          </p:nvSpPr>
          <p:spPr bwMode="auto">
            <a:xfrm>
              <a:off x="14143038" y="2911475"/>
              <a:ext cx="1457325" cy="1222375"/>
            </a:xfrm>
            <a:custGeom>
              <a:avLst/>
              <a:gdLst>
                <a:gd name="T0" fmla="*/ 632 w 918"/>
                <a:gd name="T1" fmla="*/ 166 h 770"/>
                <a:gd name="T2" fmla="*/ 592 w 918"/>
                <a:gd name="T3" fmla="*/ 98 h 770"/>
                <a:gd name="T4" fmla="*/ 536 w 918"/>
                <a:gd name="T5" fmla="*/ 46 h 770"/>
                <a:gd name="T6" fmla="*/ 466 w 918"/>
                <a:gd name="T7" fmla="*/ 12 h 770"/>
                <a:gd name="T8" fmla="*/ 390 w 918"/>
                <a:gd name="T9" fmla="*/ 0 h 770"/>
                <a:gd name="T10" fmla="*/ 310 w 918"/>
                <a:gd name="T11" fmla="*/ 10 h 770"/>
                <a:gd name="T12" fmla="*/ 262 w 918"/>
                <a:gd name="T13" fmla="*/ 30 h 770"/>
                <a:gd name="T14" fmla="*/ 200 w 918"/>
                <a:gd name="T15" fmla="*/ 76 h 770"/>
                <a:gd name="T16" fmla="*/ 154 w 918"/>
                <a:gd name="T17" fmla="*/ 138 h 770"/>
                <a:gd name="T18" fmla="*/ 126 w 918"/>
                <a:gd name="T19" fmla="*/ 208 h 770"/>
                <a:gd name="T20" fmla="*/ 120 w 918"/>
                <a:gd name="T21" fmla="*/ 286 h 770"/>
                <a:gd name="T22" fmla="*/ 128 w 918"/>
                <a:gd name="T23" fmla="*/ 338 h 770"/>
                <a:gd name="T24" fmla="*/ 150 w 918"/>
                <a:gd name="T25" fmla="*/ 470 h 770"/>
                <a:gd name="T26" fmla="*/ 152 w 918"/>
                <a:gd name="T27" fmla="*/ 566 h 770"/>
                <a:gd name="T28" fmla="*/ 134 w 918"/>
                <a:gd name="T29" fmla="*/ 632 h 770"/>
                <a:gd name="T30" fmla="*/ 98 w 918"/>
                <a:gd name="T31" fmla="*/ 676 h 770"/>
                <a:gd name="T32" fmla="*/ 42 w 918"/>
                <a:gd name="T33" fmla="*/ 704 h 770"/>
                <a:gd name="T34" fmla="*/ 14 w 918"/>
                <a:gd name="T35" fmla="*/ 714 h 770"/>
                <a:gd name="T36" fmla="*/ 0 w 918"/>
                <a:gd name="T37" fmla="*/ 738 h 770"/>
                <a:gd name="T38" fmla="*/ 0 w 918"/>
                <a:gd name="T39" fmla="*/ 750 h 770"/>
                <a:gd name="T40" fmla="*/ 16 w 918"/>
                <a:gd name="T41" fmla="*/ 766 h 770"/>
                <a:gd name="T42" fmla="*/ 38 w 918"/>
                <a:gd name="T43" fmla="*/ 768 h 770"/>
                <a:gd name="T44" fmla="*/ 96 w 918"/>
                <a:gd name="T45" fmla="*/ 746 h 770"/>
                <a:gd name="T46" fmla="*/ 160 w 918"/>
                <a:gd name="T47" fmla="*/ 698 h 770"/>
                <a:gd name="T48" fmla="*/ 200 w 918"/>
                <a:gd name="T49" fmla="*/ 632 h 770"/>
                <a:gd name="T50" fmla="*/ 214 w 918"/>
                <a:gd name="T51" fmla="*/ 540 h 770"/>
                <a:gd name="T52" fmla="*/ 204 w 918"/>
                <a:gd name="T53" fmla="*/ 422 h 770"/>
                <a:gd name="T54" fmla="*/ 186 w 918"/>
                <a:gd name="T55" fmla="*/ 326 h 770"/>
                <a:gd name="T56" fmla="*/ 178 w 918"/>
                <a:gd name="T57" fmla="*/ 264 h 770"/>
                <a:gd name="T58" fmla="*/ 190 w 918"/>
                <a:gd name="T59" fmla="*/ 204 h 770"/>
                <a:gd name="T60" fmla="*/ 216 w 918"/>
                <a:gd name="T61" fmla="*/ 150 h 770"/>
                <a:gd name="T62" fmla="*/ 256 w 918"/>
                <a:gd name="T63" fmla="*/ 106 h 770"/>
                <a:gd name="T64" fmla="*/ 308 w 918"/>
                <a:gd name="T65" fmla="*/ 74 h 770"/>
                <a:gd name="T66" fmla="*/ 348 w 918"/>
                <a:gd name="T67" fmla="*/ 62 h 770"/>
                <a:gd name="T68" fmla="*/ 410 w 918"/>
                <a:gd name="T69" fmla="*/ 60 h 770"/>
                <a:gd name="T70" fmla="*/ 468 w 918"/>
                <a:gd name="T71" fmla="*/ 76 h 770"/>
                <a:gd name="T72" fmla="*/ 518 w 918"/>
                <a:gd name="T73" fmla="*/ 108 h 770"/>
                <a:gd name="T74" fmla="*/ 558 w 918"/>
                <a:gd name="T75" fmla="*/ 152 h 770"/>
                <a:gd name="T76" fmla="*/ 584 w 918"/>
                <a:gd name="T77" fmla="*/ 210 h 770"/>
                <a:gd name="T78" fmla="*/ 600 w 918"/>
                <a:gd name="T79" fmla="*/ 244 h 770"/>
                <a:gd name="T80" fmla="*/ 676 w 918"/>
                <a:gd name="T81" fmla="*/ 332 h 770"/>
                <a:gd name="T82" fmla="*/ 870 w 918"/>
                <a:gd name="T83" fmla="*/ 498 h 770"/>
                <a:gd name="T84" fmla="*/ 882 w 918"/>
                <a:gd name="T85" fmla="*/ 502 h 770"/>
                <a:gd name="T86" fmla="*/ 908 w 918"/>
                <a:gd name="T87" fmla="*/ 496 h 770"/>
                <a:gd name="T88" fmla="*/ 916 w 918"/>
                <a:gd name="T89" fmla="*/ 488 h 770"/>
                <a:gd name="T90" fmla="*/ 914 w 918"/>
                <a:gd name="T91" fmla="*/ 460 h 770"/>
                <a:gd name="T92" fmla="*/ 908 w 918"/>
                <a:gd name="T93" fmla="*/ 450 h 770"/>
                <a:gd name="T94" fmla="*/ 728 w 918"/>
                <a:gd name="T95" fmla="*/ 300 h 770"/>
                <a:gd name="T96" fmla="*/ 656 w 918"/>
                <a:gd name="T97" fmla="*/ 22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8" h="770">
                  <a:moveTo>
                    <a:pt x="640" y="192"/>
                  </a:moveTo>
                  <a:lnTo>
                    <a:pt x="640" y="192"/>
                  </a:lnTo>
                  <a:lnTo>
                    <a:pt x="632" y="166"/>
                  </a:lnTo>
                  <a:lnTo>
                    <a:pt x="620" y="142"/>
                  </a:lnTo>
                  <a:lnTo>
                    <a:pt x="608" y="120"/>
                  </a:lnTo>
                  <a:lnTo>
                    <a:pt x="592" y="98"/>
                  </a:lnTo>
                  <a:lnTo>
                    <a:pt x="574" y="80"/>
                  </a:lnTo>
                  <a:lnTo>
                    <a:pt x="556" y="62"/>
                  </a:lnTo>
                  <a:lnTo>
                    <a:pt x="536" y="46"/>
                  </a:lnTo>
                  <a:lnTo>
                    <a:pt x="514" y="32"/>
                  </a:lnTo>
                  <a:lnTo>
                    <a:pt x="490" y="22"/>
                  </a:lnTo>
                  <a:lnTo>
                    <a:pt x="466" y="12"/>
                  </a:lnTo>
                  <a:lnTo>
                    <a:pt x="442" y="6"/>
                  </a:lnTo>
                  <a:lnTo>
                    <a:pt x="416" y="2"/>
                  </a:lnTo>
                  <a:lnTo>
                    <a:pt x="390" y="0"/>
                  </a:lnTo>
                  <a:lnTo>
                    <a:pt x="364" y="0"/>
                  </a:lnTo>
                  <a:lnTo>
                    <a:pt x="338" y="4"/>
                  </a:lnTo>
                  <a:lnTo>
                    <a:pt x="310" y="10"/>
                  </a:lnTo>
                  <a:lnTo>
                    <a:pt x="310" y="10"/>
                  </a:lnTo>
                  <a:lnTo>
                    <a:pt x="286" y="20"/>
                  </a:lnTo>
                  <a:lnTo>
                    <a:pt x="262" y="30"/>
                  </a:lnTo>
                  <a:lnTo>
                    <a:pt x="240" y="44"/>
                  </a:lnTo>
                  <a:lnTo>
                    <a:pt x="218" y="60"/>
                  </a:lnTo>
                  <a:lnTo>
                    <a:pt x="200" y="76"/>
                  </a:lnTo>
                  <a:lnTo>
                    <a:pt x="182" y="96"/>
                  </a:lnTo>
                  <a:lnTo>
                    <a:pt x="166" y="116"/>
                  </a:lnTo>
                  <a:lnTo>
                    <a:pt x="154" y="138"/>
                  </a:lnTo>
                  <a:lnTo>
                    <a:pt x="142" y="160"/>
                  </a:lnTo>
                  <a:lnTo>
                    <a:pt x="134" y="184"/>
                  </a:lnTo>
                  <a:lnTo>
                    <a:pt x="126" y="208"/>
                  </a:lnTo>
                  <a:lnTo>
                    <a:pt x="122" y="234"/>
                  </a:lnTo>
                  <a:lnTo>
                    <a:pt x="120" y="260"/>
                  </a:lnTo>
                  <a:lnTo>
                    <a:pt x="120" y="286"/>
                  </a:lnTo>
                  <a:lnTo>
                    <a:pt x="122" y="312"/>
                  </a:lnTo>
                  <a:lnTo>
                    <a:pt x="128" y="338"/>
                  </a:lnTo>
                  <a:lnTo>
                    <a:pt x="128" y="338"/>
                  </a:lnTo>
                  <a:lnTo>
                    <a:pt x="138" y="386"/>
                  </a:lnTo>
                  <a:lnTo>
                    <a:pt x="146" y="430"/>
                  </a:lnTo>
                  <a:lnTo>
                    <a:pt x="150" y="470"/>
                  </a:lnTo>
                  <a:lnTo>
                    <a:pt x="154" y="506"/>
                  </a:lnTo>
                  <a:lnTo>
                    <a:pt x="154" y="538"/>
                  </a:lnTo>
                  <a:lnTo>
                    <a:pt x="152" y="566"/>
                  </a:lnTo>
                  <a:lnTo>
                    <a:pt x="148" y="592"/>
                  </a:lnTo>
                  <a:lnTo>
                    <a:pt x="142" y="614"/>
                  </a:lnTo>
                  <a:lnTo>
                    <a:pt x="134" y="632"/>
                  </a:lnTo>
                  <a:lnTo>
                    <a:pt x="124" y="648"/>
                  </a:lnTo>
                  <a:lnTo>
                    <a:pt x="112" y="664"/>
                  </a:lnTo>
                  <a:lnTo>
                    <a:pt x="98" y="676"/>
                  </a:lnTo>
                  <a:lnTo>
                    <a:pt x="80" y="686"/>
                  </a:lnTo>
                  <a:lnTo>
                    <a:pt x="62" y="696"/>
                  </a:lnTo>
                  <a:lnTo>
                    <a:pt x="42" y="704"/>
                  </a:lnTo>
                  <a:lnTo>
                    <a:pt x="20" y="712"/>
                  </a:lnTo>
                  <a:lnTo>
                    <a:pt x="20" y="712"/>
                  </a:lnTo>
                  <a:lnTo>
                    <a:pt x="14" y="714"/>
                  </a:lnTo>
                  <a:lnTo>
                    <a:pt x="10" y="718"/>
                  </a:lnTo>
                  <a:lnTo>
                    <a:pt x="2" y="726"/>
                  </a:lnTo>
                  <a:lnTo>
                    <a:pt x="0" y="738"/>
                  </a:lnTo>
                  <a:lnTo>
                    <a:pt x="0" y="744"/>
                  </a:lnTo>
                  <a:lnTo>
                    <a:pt x="0" y="750"/>
                  </a:lnTo>
                  <a:lnTo>
                    <a:pt x="0" y="750"/>
                  </a:lnTo>
                  <a:lnTo>
                    <a:pt x="4" y="754"/>
                  </a:lnTo>
                  <a:lnTo>
                    <a:pt x="6" y="760"/>
                  </a:lnTo>
                  <a:lnTo>
                    <a:pt x="16" y="766"/>
                  </a:lnTo>
                  <a:lnTo>
                    <a:pt x="26" y="770"/>
                  </a:lnTo>
                  <a:lnTo>
                    <a:pt x="32" y="770"/>
                  </a:lnTo>
                  <a:lnTo>
                    <a:pt x="38" y="768"/>
                  </a:lnTo>
                  <a:lnTo>
                    <a:pt x="38" y="768"/>
                  </a:lnTo>
                  <a:lnTo>
                    <a:pt x="68" y="758"/>
                  </a:lnTo>
                  <a:lnTo>
                    <a:pt x="96" y="746"/>
                  </a:lnTo>
                  <a:lnTo>
                    <a:pt x="120" y="732"/>
                  </a:lnTo>
                  <a:lnTo>
                    <a:pt x="142" y="716"/>
                  </a:lnTo>
                  <a:lnTo>
                    <a:pt x="160" y="698"/>
                  </a:lnTo>
                  <a:lnTo>
                    <a:pt x="176" y="678"/>
                  </a:lnTo>
                  <a:lnTo>
                    <a:pt x="190" y="656"/>
                  </a:lnTo>
                  <a:lnTo>
                    <a:pt x="200" y="632"/>
                  </a:lnTo>
                  <a:lnTo>
                    <a:pt x="206" y="604"/>
                  </a:lnTo>
                  <a:lnTo>
                    <a:pt x="212" y="574"/>
                  </a:lnTo>
                  <a:lnTo>
                    <a:pt x="214" y="540"/>
                  </a:lnTo>
                  <a:lnTo>
                    <a:pt x="212" y="504"/>
                  </a:lnTo>
                  <a:lnTo>
                    <a:pt x="210" y="464"/>
                  </a:lnTo>
                  <a:lnTo>
                    <a:pt x="204" y="422"/>
                  </a:lnTo>
                  <a:lnTo>
                    <a:pt x="196" y="376"/>
                  </a:lnTo>
                  <a:lnTo>
                    <a:pt x="186" y="326"/>
                  </a:lnTo>
                  <a:lnTo>
                    <a:pt x="186" y="326"/>
                  </a:lnTo>
                  <a:lnTo>
                    <a:pt x="182" y="304"/>
                  </a:lnTo>
                  <a:lnTo>
                    <a:pt x="180" y="284"/>
                  </a:lnTo>
                  <a:lnTo>
                    <a:pt x="178" y="264"/>
                  </a:lnTo>
                  <a:lnTo>
                    <a:pt x="180" y="244"/>
                  </a:lnTo>
                  <a:lnTo>
                    <a:pt x="184" y="224"/>
                  </a:lnTo>
                  <a:lnTo>
                    <a:pt x="190" y="204"/>
                  </a:lnTo>
                  <a:lnTo>
                    <a:pt x="196" y="186"/>
                  </a:lnTo>
                  <a:lnTo>
                    <a:pt x="206" y="168"/>
                  </a:lnTo>
                  <a:lnTo>
                    <a:pt x="216" y="150"/>
                  </a:lnTo>
                  <a:lnTo>
                    <a:pt x="228" y="134"/>
                  </a:lnTo>
                  <a:lnTo>
                    <a:pt x="240" y="120"/>
                  </a:lnTo>
                  <a:lnTo>
                    <a:pt x="256" y="106"/>
                  </a:lnTo>
                  <a:lnTo>
                    <a:pt x="272" y="94"/>
                  </a:lnTo>
                  <a:lnTo>
                    <a:pt x="290" y="84"/>
                  </a:lnTo>
                  <a:lnTo>
                    <a:pt x="308" y="74"/>
                  </a:lnTo>
                  <a:lnTo>
                    <a:pt x="328" y="66"/>
                  </a:lnTo>
                  <a:lnTo>
                    <a:pt x="328" y="66"/>
                  </a:lnTo>
                  <a:lnTo>
                    <a:pt x="348" y="62"/>
                  </a:lnTo>
                  <a:lnTo>
                    <a:pt x="370" y="60"/>
                  </a:lnTo>
                  <a:lnTo>
                    <a:pt x="390" y="58"/>
                  </a:lnTo>
                  <a:lnTo>
                    <a:pt x="410" y="60"/>
                  </a:lnTo>
                  <a:lnTo>
                    <a:pt x="430" y="64"/>
                  </a:lnTo>
                  <a:lnTo>
                    <a:pt x="448" y="70"/>
                  </a:lnTo>
                  <a:lnTo>
                    <a:pt x="468" y="76"/>
                  </a:lnTo>
                  <a:lnTo>
                    <a:pt x="486" y="84"/>
                  </a:lnTo>
                  <a:lnTo>
                    <a:pt x="502" y="96"/>
                  </a:lnTo>
                  <a:lnTo>
                    <a:pt x="518" y="108"/>
                  </a:lnTo>
                  <a:lnTo>
                    <a:pt x="532" y="122"/>
                  </a:lnTo>
                  <a:lnTo>
                    <a:pt x="546" y="136"/>
                  </a:lnTo>
                  <a:lnTo>
                    <a:pt x="558" y="152"/>
                  </a:lnTo>
                  <a:lnTo>
                    <a:pt x="568" y="170"/>
                  </a:lnTo>
                  <a:lnTo>
                    <a:pt x="578" y="190"/>
                  </a:lnTo>
                  <a:lnTo>
                    <a:pt x="584" y="210"/>
                  </a:lnTo>
                  <a:lnTo>
                    <a:pt x="584" y="210"/>
                  </a:lnTo>
                  <a:lnTo>
                    <a:pt x="590" y="226"/>
                  </a:lnTo>
                  <a:lnTo>
                    <a:pt x="600" y="244"/>
                  </a:lnTo>
                  <a:lnTo>
                    <a:pt x="616" y="268"/>
                  </a:lnTo>
                  <a:lnTo>
                    <a:pt x="640" y="296"/>
                  </a:lnTo>
                  <a:lnTo>
                    <a:pt x="676" y="332"/>
                  </a:lnTo>
                  <a:lnTo>
                    <a:pt x="726" y="376"/>
                  </a:lnTo>
                  <a:lnTo>
                    <a:pt x="790" y="432"/>
                  </a:lnTo>
                  <a:lnTo>
                    <a:pt x="870" y="498"/>
                  </a:lnTo>
                  <a:lnTo>
                    <a:pt x="870" y="498"/>
                  </a:lnTo>
                  <a:lnTo>
                    <a:pt x="876" y="500"/>
                  </a:lnTo>
                  <a:lnTo>
                    <a:pt x="882" y="502"/>
                  </a:lnTo>
                  <a:lnTo>
                    <a:pt x="892" y="504"/>
                  </a:lnTo>
                  <a:lnTo>
                    <a:pt x="904" y="500"/>
                  </a:lnTo>
                  <a:lnTo>
                    <a:pt x="908" y="496"/>
                  </a:lnTo>
                  <a:lnTo>
                    <a:pt x="912" y="492"/>
                  </a:lnTo>
                  <a:lnTo>
                    <a:pt x="912" y="492"/>
                  </a:lnTo>
                  <a:lnTo>
                    <a:pt x="916" y="488"/>
                  </a:lnTo>
                  <a:lnTo>
                    <a:pt x="918" y="482"/>
                  </a:lnTo>
                  <a:lnTo>
                    <a:pt x="918" y="470"/>
                  </a:lnTo>
                  <a:lnTo>
                    <a:pt x="914" y="460"/>
                  </a:lnTo>
                  <a:lnTo>
                    <a:pt x="912" y="454"/>
                  </a:lnTo>
                  <a:lnTo>
                    <a:pt x="908" y="450"/>
                  </a:lnTo>
                  <a:lnTo>
                    <a:pt x="908" y="450"/>
                  </a:lnTo>
                  <a:lnTo>
                    <a:pt x="832" y="390"/>
                  </a:lnTo>
                  <a:lnTo>
                    <a:pt x="774" y="340"/>
                  </a:lnTo>
                  <a:lnTo>
                    <a:pt x="728" y="300"/>
                  </a:lnTo>
                  <a:lnTo>
                    <a:pt x="694" y="266"/>
                  </a:lnTo>
                  <a:lnTo>
                    <a:pt x="670" y="240"/>
                  </a:lnTo>
                  <a:lnTo>
                    <a:pt x="656" y="220"/>
                  </a:lnTo>
                  <a:lnTo>
                    <a:pt x="646" y="204"/>
                  </a:lnTo>
                  <a:lnTo>
                    <a:pt x="640" y="19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240">
              <a:extLst>
                <a:ext uri="{FF2B5EF4-FFF2-40B4-BE49-F238E27FC236}">
                  <a16:creationId xmlns:a16="http://schemas.microsoft.com/office/drawing/2014/main" id="{EF4F7B42-0E25-4A41-8621-E0FBB4E41E08}"/>
                </a:ext>
              </a:extLst>
            </p:cNvPr>
            <p:cNvSpPr>
              <a:spLocks/>
            </p:cNvSpPr>
            <p:nvPr/>
          </p:nvSpPr>
          <p:spPr bwMode="auto">
            <a:xfrm>
              <a:off x="14708188" y="3289300"/>
              <a:ext cx="704850" cy="749300"/>
            </a:xfrm>
            <a:custGeom>
              <a:avLst/>
              <a:gdLst>
                <a:gd name="T0" fmla="*/ 366 w 444"/>
                <a:gd name="T1" fmla="*/ 368 h 472"/>
                <a:gd name="T2" fmla="*/ 366 w 444"/>
                <a:gd name="T3" fmla="*/ 368 h 472"/>
                <a:gd name="T4" fmla="*/ 326 w 444"/>
                <a:gd name="T5" fmla="*/ 336 h 472"/>
                <a:gd name="T6" fmla="*/ 282 w 444"/>
                <a:gd name="T7" fmla="*/ 300 h 472"/>
                <a:gd name="T8" fmla="*/ 236 w 444"/>
                <a:gd name="T9" fmla="*/ 262 h 472"/>
                <a:gd name="T10" fmla="*/ 190 w 444"/>
                <a:gd name="T11" fmla="*/ 218 h 472"/>
                <a:gd name="T12" fmla="*/ 168 w 444"/>
                <a:gd name="T13" fmla="*/ 196 h 472"/>
                <a:gd name="T14" fmla="*/ 146 w 444"/>
                <a:gd name="T15" fmla="*/ 172 h 472"/>
                <a:gd name="T16" fmla="*/ 126 w 444"/>
                <a:gd name="T17" fmla="*/ 148 h 472"/>
                <a:gd name="T18" fmla="*/ 108 w 444"/>
                <a:gd name="T19" fmla="*/ 124 h 472"/>
                <a:gd name="T20" fmla="*/ 92 w 444"/>
                <a:gd name="T21" fmla="*/ 98 h 472"/>
                <a:gd name="T22" fmla="*/ 78 w 444"/>
                <a:gd name="T23" fmla="*/ 74 h 472"/>
                <a:gd name="T24" fmla="*/ 66 w 444"/>
                <a:gd name="T25" fmla="*/ 46 h 472"/>
                <a:gd name="T26" fmla="*/ 58 w 444"/>
                <a:gd name="T27" fmla="*/ 20 h 472"/>
                <a:gd name="T28" fmla="*/ 58 w 444"/>
                <a:gd name="T29" fmla="*/ 20 h 472"/>
                <a:gd name="T30" fmla="*/ 54 w 444"/>
                <a:gd name="T31" fmla="*/ 14 h 472"/>
                <a:gd name="T32" fmla="*/ 52 w 444"/>
                <a:gd name="T33" fmla="*/ 10 h 472"/>
                <a:gd name="T34" fmla="*/ 42 w 444"/>
                <a:gd name="T35" fmla="*/ 2 h 472"/>
                <a:gd name="T36" fmla="*/ 32 w 444"/>
                <a:gd name="T37" fmla="*/ 0 h 472"/>
                <a:gd name="T38" fmla="*/ 26 w 444"/>
                <a:gd name="T39" fmla="*/ 0 h 472"/>
                <a:gd name="T40" fmla="*/ 20 w 444"/>
                <a:gd name="T41" fmla="*/ 0 h 472"/>
                <a:gd name="T42" fmla="*/ 20 w 444"/>
                <a:gd name="T43" fmla="*/ 0 h 472"/>
                <a:gd name="T44" fmla="*/ 10 w 444"/>
                <a:gd name="T45" fmla="*/ 6 h 472"/>
                <a:gd name="T46" fmla="*/ 2 w 444"/>
                <a:gd name="T47" fmla="*/ 14 h 472"/>
                <a:gd name="T48" fmla="*/ 0 w 444"/>
                <a:gd name="T49" fmla="*/ 24 h 472"/>
                <a:gd name="T50" fmla="*/ 0 w 444"/>
                <a:gd name="T51" fmla="*/ 36 h 472"/>
                <a:gd name="T52" fmla="*/ 0 w 444"/>
                <a:gd name="T53" fmla="*/ 36 h 472"/>
                <a:gd name="T54" fmla="*/ 10 w 444"/>
                <a:gd name="T55" fmla="*/ 66 h 472"/>
                <a:gd name="T56" fmla="*/ 24 w 444"/>
                <a:gd name="T57" fmla="*/ 96 h 472"/>
                <a:gd name="T58" fmla="*/ 38 w 444"/>
                <a:gd name="T59" fmla="*/ 124 h 472"/>
                <a:gd name="T60" fmla="*/ 56 w 444"/>
                <a:gd name="T61" fmla="*/ 152 h 472"/>
                <a:gd name="T62" fmla="*/ 76 w 444"/>
                <a:gd name="T63" fmla="*/ 180 h 472"/>
                <a:gd name="T64" fmla="*/ 98 w 444"/>
                <a:gd name="T65" fmla="*/ 206 h 472"/>
                <a:gd name="T66" fmla="*/ 120 w 444"/>
                <a:gd name="T67" fmla="*/ 232 h 472"/>
                <a:gd name="T68" fmla="*/ 144 w 444"/>
                <a:gd name="T69" fmla="*/ 256 h 472"/>
                <a:gd name="T70" fmla="*/ 192 w 444"/>
                <a:gd name="T71" fmla="*/ 302 h 472"/>
                <a:gd name="T72" fmla="*/ 240 w 444"/>
                <a:gd name="T73" fmla="*/ 344 h 472"/>
                <a:gd name="T74" fmla="*/ 288 w 444"/>
                <a:gd name="T75" fmla="*/ 382 h 472"/>
                <a:gd name="T76" fmla="*/ 330 w 444"/>
                <a:gd name="T77" fmla="*/ 414 h 472"/>
                <a:gd name="T78" fmla="*/ 330 w 444"/>
                <a:gd name="T79" fmla="*/ 414 h 472"/>
                <a:gd name="T80" fmla="*/ 362 w 444"/>
                <a:gd name="T81" fmla="*/ 438 h 472"/>
                <a:gd name="T82" fmla="*/ 392 w 444"/>
                <a:gd name="T83" fmla="*/ 464 h 472"/>
                <a:gd name="T84" fmla="*/ 392 w 444"/>
                <a:gd name="T85" fmla="*/ 464 h 472"/>
                <a:gd name="T86" fmla="*/ 398 w 444"/>
                <a:gd name="T87" fmla="*/ 468 h 472"/>
                <a:gd name="T88" fmla="*/ 402 w 444"/>
                <a:gd name="T89" fmla="*/ 470 h 472"/>
                <a:gd name="T90" fmla="*/ 414 w 444"/>
                <a:gd name="T91" fmla="*/ 472 h 472"/>
                <a:gd name="T92" fmla="*/ 426 w 444"/>
                <a:gd name="T93" fmla="*/ 470 h 472"/>
                <a:gd name="T94" fmla="*/ 430 w 444"/>
                <a:gd name="T95" fmla="*/ 468 h 472"/>
                <a:gd name="T96" fmla="*/ 434 w 444"/>
                <a:gd name="T97" fmla="*/ 464 h 472"/>
                <a:gd name="T98" fmla="*/ 434 w 444"/>
                <a:gd name="T99" fmla="*/ 464 h 472"/>
                <a:gd name="T100" fmla="*/ 442 w 444"/>
                <a:gd name="T101" fmla="*/ 454 h 472"/>
                <a:gd name="T102" fmla="*/ 444 w 444"/>
                <a:gd name="T103" fmla="*/ 442 h 472"/>
                <a:gd name="T104" fmla="*/ 442 w 444"/>
                <a:gd name="T105" fmla="*/ 432 h 472"/>
                <a:gd name="T106" fmla="*/ 434 w 444"/>
                <a:gd name="T107" fmla="*/ 422 h 472"/>
                <a:gd name="T108" fmla="*/ 434 w 444"/>
                <a:gd name="T109" fmla="*/ 422 h 472"/>
                <a:gd name="T110" fmla="*/ 402 w 444"/>
                <a:gd name="T111" fmla="*/ 394 h 472"/>
                <a:gd name="T112" fmla="*/ 366 w 444"/>
                <a:gd name="T113" fmla="*/ 368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4" h="472">
                  <a:moveTo>
                    <a:pt x="366" y="368"/>
                  </a:moveTo>
                  <a:lnTo>
                    <a:pt x="366" y="368"/>
                  </a:lnTo>
                  <a:lnTo>
                    <a:pt x="326" y="336"/>
                  </a:lnTo>
                  <a:lnTo>
                    <a:pt x="282" y="300"/>
                  </a:lnTo>
                  <a:lnTo>
                    <a:pt x="236" y="262"/>
                  </a:lnTo>
                  <a:lnTo>
                    <a:pt x="190" y="218"/>
                  </a:lnTo>
                  <a:lnTo>
                    <a:pt x="168" y="196"/>
                  </a:lnTo>
                  <a:lnTo>
                    <a:pt x="146" y="172"/>
                  </a:lnTo>
                  <a:lnTo>
                    <a:pt x="126" y="148"/>
                  </a:lnTo>
                  <a:lnTo>
                    <a:pt x="108" y="124"/>
                  </a:lnTo>
                  <a:lnTo>
                    <a:pt x="92" y="98"/>
                  </a:lnTo>
                  <a:lnTo>
                    <a:pt x="78" y="74"/>
                  </a:lnTo>
                  <a:lnTo>
                    <a:pt x="66" y="46"/>
                  </a:lnTo>
                  <a:lnTo>
                    <a:pt x="58" y="20"/>
                  </a:lnTo>
                  <a:lnTo>
                    <a:pt x="58" y="20"/>
                  </a:lnTo>
                  <a:lnTo>
                    <a:pt x="54" y="14"/>
                  </a:lnTo>
                  <a:lnTo>
                    <a:pt x="52" y="10"/>
                  </a:lnTo>
                  <a:lnTo>
                    <a:pt x="42" y="2"/>
                  </a:lnTo>
                  <a:lnTo>
                    <a:pt x="32" y="0"/>
                  </a:lnTo>
                  <a:lnTo>
                    <a:pt x="26" y="0"/>
                  </a:lnTo>
                  <a:lnTo>
                    <a:pt x="20" y="0"/>
                  </a:lnTo>
                  <a:lnTo>
                    <a:pt x="20" y="0"/>
                  </a:lnTo>
                  <a:lnTo>
                    <a:pt x="10" y="6"/>
                  </a:lnTo>
                  <a:lnTo>
                    <a:pt x="2" y="14"/>
                  </a:lnTo>
                  <a:lnTo>
                    <a:pt x="0" y="24"/>
                  </a:lnTo>
                  <a:lnTo>
                    <a:pt x="0" y="36"/>
                  </a:lnTo>
                  <a:lnTo>
                    <a:pt x="0" y="36"/>
                  </a:lnTo>
                  <a:lnTo>
                    <a:pt x="10" y="66"/>
                  </a:lnTo>
                  <a:lnTo>
                    <a:pt x="24" y="96"/>
                  </a:lnTo>
                  <a:lnTo>
                    <a:pt x="38" y="124"/>
                  </a:lnTo>
                  <a:lnTo>
                    <a:pt x="56" y="152"/>
                  </a:lnTo>
                  <a:lnTo>
                    <a:pt x="76" y="180"/>
                  </a:lnTo>
                  <a:lnTo>
                    <a:pt x="98" y="206"/>
                  </a:lnTo>
                  <a:lnTo>
                    <a:pt x="120" y="232"/>
                  </a:lnTo>
                  <a:lnTo>
                    <a:pt x="144" y="256"/>
                  </a:lnTo>
                  <a:lnTo>
                    <a:pt x="192" y="302"/>
                  </a:lnTo>
                  <a:lnTo>
                    <a:pt x="240" y="344"/>
                  </a:lnTo>
                  <a:lnTo>
                    <a:pt x="288" y="382"/>
                  </a:lnTo>
                  <a:lnTo>
                    <a:pt x="330" y="414"/>
                  </a:lnTo>
                  <a:lnTo>
                    <a:pt x="330" y="414"/>
                  </a:lnTo>
                  <a:lnTo>
                    <a:pt x="362" y="438"/>
                  </a:lnTo>
                  <a:lnTo>
                    <a:pt x="392" y="464"/>
                  </a:lnTo>
                  <a:lnTo>
                    <a:pt x="392" y="464"/>
                  </a:lnTo>
                  <a:lnTo>
                    <a:pt x="398" y="468"/>
                  </a:lnTo>
                  <a:lnTo>
                    <a:pt x="402" y="470"/>
                  </a:lnTo>
                  <a:lnTo>
                    <a:pt x="414" y="472"/>
                  </a:lnTo>
                  <a:lnTo>
                    <a:pt x="426" y="470"/>
                  </a:lnTo>
                  <a:lnTo>
                    <a:pt x="430" y="468"/>
                  </a:lnTo>
                  <a:lnTo>
                    <a:pt x="434" y="464"/>
                  </a:lnTo>
                  <a:lnTo>
                    <a:pt x="434" y="464"/>
                  </a:lnTo>
                  <a:lnTo>
                    <a:pt x="442" y="454"/>
                  </a:lnTo>
                  <a:lnTo>
                    <a:pt x="444" y="442"/>
                  </a:lnTo>
                  <a:lnTo>
                    <a:pt x="442" y="432"/>
                  </a:lnTo>
                  <a:lnTo>
                    <a:pt x="434" y="422"/>
                  </a:lnTo>
                  <a:lnTo>
                    <a:pt x="434" y="422"/>
                  </a:lnTo>
                  <a:lnTo>
                    <a:pt x="402" y="394"/>
                  </a:lnTo>
                  <a:lnTo>
                    <a:pt x="366"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241">
              <a:extLst>
                <a:ext uri="{FF2B5EF4-FFF2-40B4-BE49-F238E27FC236}">
                  <a16:creationId xmlns:a16="http://schemas.microsoft.com/office/drawing/2014/main" id="{8B5FC450-CA4F-450D-ACAE-A8904B3BB6D6}"/>
                </a:ext>
              </a:extLst>
            </p:cNvPr>
            <p:cNvSpPr>
              <a:spLocks/>
            </p:cNvSpPr>
            <p:nvPr/>
          </p:nvSpPr>
          <p:spPr bwMode="auto">
            <a:xfrm>
              <a:off x="14708188" y="3289300"/>
              <a:ext cx="704850" cy="749300"/>
            </a:xfrm>
            <a:custGeom>
              <a:avLst/>
              <a:gdLst>
                <a:gd name="T0" fmla="*/ 366 w 444"/>
                <a:gd name="T1" fmla="*/ 368 h 472"/>
                <a:gd name="T2" fmla="*/ 366 w 444"/>
                <a:gd name="T3" fmla="*/ 368 h 472"/>
                <a:gd name="T4" fmla="*/ 326 w 444"/>
                <a:gd name="T5" fmla="*/ 336 h 472"/>
                <a:gd name="T6" fmla="*/ 282 w 444"/>
                <a:gd name="T7" fmla="*/ 300 h 472"/>
                <a:gd name="T8" fmla="*/ 236 w 444"/>
                <a:gd name="T9" fmla="*/ 262 h 472"/>
                <a:gd name="T10" fmla="*/ 190 w 444"/>
                <a:gd name="T11" fmla="*/ 218 h 472"/>
                <a:gd name="T12" fmla="*/ 168 w 444"/>
                <a:gd name="T13" fmla="*/ 196 h 472"/>
                <a:gd name="T14" fmla="*/ 146 w 444"/>
                <a:gd name="T15" fmla="*/ 172 h 472"/>
                <a:gd name="T16" fmla="*/ 126 w 444"/>
                <a:gd name="T17" fmla="*/ 148 h 472"/>
                <a:gd name="T18" fmla="*/ 108 w 444"/>
                <a:gd name="T19" fmla="*/ 124 h 472"/>
                <a:gd name="T20" fmla="*/ 92 w 444"/>
                <a:gd name="T21" fmla="*/ 98 h 472"/>
                <a:gd name="T22" fmla="*/ 78 w 444"/>
                <a:gd name="T23" fmla="*/ 74 h 472"/>
                <a:gd name="T24" fmla="*/ 66 w 444"/>
                <a:gd name="T25" fmla="*/ 46 h 472"/>
                <a:gd name="T26" fmla="*/ 58 w 444"/>
                <a:gd name="T27" fmla="*/ 20 h 472"/>
                <a:gd name="T28" fmla="*/ 58 w 444"/>
                <a:gd name="T29" fmla="*/ 20 h 472"/>
                <a:gd name="T30" fmla="*/ 54 w 444"/>
                <a:gd name="T31" fmla="*/ 14 h 472"/>
                <a:gd name="T32" fmla="*/ 52 w 444"/>
                <a:gd name="T33" fmla="*/ 10 h 472"/>
                <a:gd name="T34" fmla="*/ 42 w 444"/>
                <a:gd name="T35" fmla="*/ 2 h 472"/>
                <a:gd name="T36" fmla="*/ 32 w 444"/>
                <a:gd name="T37" fmla="*/ 0 h 472"/>
                <a:gd name="T38" fmla="*/ 26 w 444"/>
                <a:gd name="T39" fmla="*/ 0 h 472"/>
                <a:gd name="T40" fmla="*/ 20 w 444"/>
                <a:gd name="T41" fmla="*/ 0 h 472"/>
                <a:gd name="T42" fmla="*/ 20 w 444"/>
                <a:gd name="T43" fmla="*/ 0 h 472"/>
                <a:gd name="T44" fmla="*/ 10 w 444"/>
                <a:gd name="T45" fmla="*/ 6 h 472"/>
                <a:gd name="T46" fmla="*/ 2 w 444"/>
                <a:gd name="T47" fmla="*/ 14 h 472"/>
                <a:gd name="T48" fmla="*/ 0 w 444"/>
                <a:gd name="T49" fmla="*/ 24 h 472"/>
                <a:gd name="T50" fmla="*/ 0 w 444"/>
                <a:gd name="T51" fmla="*/ 36 h 472"/>
                <a:gd name="T52" fmla="*/ 0 w 444"/>
                <a:gd name="T53" fmla="*/ 36 h 472"/>
                <a:gd name="T54" fmla="*/ 10 w 444"/>
                <a:gd name="T55" fmla="*/ 66 h 472"/>
                <a:gd name="T56" fmla="*/ 24 w 444"/>
                <a:gd name="T57" fmla="*/ 96 h 472"/>
                <a:gd name="T58" fmla="*/ 38 w 444"/>
                <a:gd name="T59" fmla="*/ 124 h 472"/>
                <a:gd name="T60" fmla="*/ 56 w 444"/>
                <a:gd name="T61" fmla="*/ 152 h 472"/>
                <a:gd name="T62" fmla="*/ 76 w 444"/>
                <a:gd name="T63" fmla="*/ 180 h 472"/>
                <a:gd name="T64" fmla="*/ 98 w 444"/>
                <a:gd name="T65" fmla="*/ 206 h 472"/>
                <a:gd name="T66" fmla="*/ 120 w 444"/>
                <a:gd name="T67" fmla="*/ 232 h 472"/>
                <a:gd name="T68" fmla="*/ 144 w 444"/>
                <a:gd name="T69" fmla="*/ 256 h 472"/>
                <a:gd name="T70" fmla="*/ 192 w 444"/>
                <a:gd name="T71" fmla="*/ 302 h 472"/>
                <a:gd name="T72" fmla="*/ 240 w 444"/>
                <a:gd name="T73" fmla="*/ 344 h 472"/>
                <a:gd name="T74" fmla="*/ 288 w 444"/>
                <a:gd name="T75" fmla="*/ 382 h 472"/>
                <a:gd name="T76" fmla="*/ 330 w 444"/>
                <a:gd name="T77" fmla="*/ 414 h 472"/>
                <a:gd name="T78" fmla="*/ 330 w 444"/>
                <a:gd name="T79" fmla="*/ 414 h 472"/>
                <a:gd name="T80" fmla="*/ 362 w 444"/>
                <a:gd name="T81" fmla="*/ 438 h 472"/>
                <a:gd name="T82" fmla="*/ 392 w 444"/>
                <a:gd name="T83" fmla="*/ 464 h 472"/>
                <a:gd name="T84" fmla="*/ 392 w 444"/>
                <a:gd name="T85" fmla="*/ 464 h 472"/>
                <a:gd name="T86" fmla="*/ 398 w 444"/>
                <a:gd name="T87" fmla="*/ 468 h 472"/>
                <a:gd name="T88" fmla="*/ 402 w 444"/>
                <a:gd name="T89" fmla="*/ 470 h 472"/>
                <a:gd name="T90" fmla="*/ 414 w 444"/>
                <a:gd name="T91" fmla="*/ 472 h 472"/>
                <a:gd name="T92" fmla="*/ 426 w 444"/>
                <a:gd name="T93" fmla="*/ 470 h 472"/>
                <a:gd name="T94" fmla="*/ 430 w 444"/>
                <a:gd name="T95" fmla="*/ 468 h 472"/>
                <a:gd name="T96" fmla="*/ 434 w 444"/>
                <a:gd name="T97" fmla="*/ 464 h 472"/>
                <a:gd name="T98" fmla="*/ 434 w 444"/>
                <a:gd name="T99" fmla="*/ 464 h 472"/>
                <a:gd name="T100" fmla="*/ 442 w 444"/>
                <a:gd name="T101" fmla="*/ 454 h 472"/>
                <a:gd name="T102" fmla="*/ 444 w 444"/>
                <a:gd name="T103" fmla="*/ 442 h 472"/>
                <a:gd name="T104" fmla="*/ 442 w 444"/>
                <a:gd name="T105" fmla="*/ 432 h 472"/>
                <a:gd name="T106" fmla="*/ 434 w 444"/>
                <a:gd name="T107" fmla="*/ 422 h 472"/>
                <a:gd name="T108" fmla="*/ 434 w 444"/>
                <a:gd name="T109" fmla="*/ 422 h 472"/>
                <a:gd name="T110" fmla="*/ 402 w 444"/>
                <a:gd name="T111" fmla="*/ 394 h 472"/>
                <a:gd name="T112" fmla="*/ 366 w 444"/>
                <a:gd name="T113" fmla="*/ 368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4" h="472">
                  <a:moveTo>
                    <a:pt x="366" y="368"/>
                  </a:moveTo>
                  <a:lnTo>
                    <a:pt x="366" y="368"/>
                  </a:lnTo>
                  <a:lnTo>
                    <a:pt x="326" y="336"/>
                  </a:lnTo>
                  <a:lnTo>
                    <a:pt x="282" y="300"/>
                  </a:lnTo>
                  <a:lnTo>
                    <a:pt x="236" y="262"/>
                  </a:lnTo>
                  <a:lnTo>
                    <a:pt x="190" y="218"/>
                  </a:lnTo>
                  <a:lnTo>
                    <a:pt x="168" y="196"/>
                  </a:lnTo>
                  <a:lnTo>
                    <a:pt x="146" y="172"/>
                  </a:lnTo>
                  <a:lnTo>
                    <a:pt x="126" y="148"/>
                  </a:lnTo>
                  <a:lnTo>
                    <a:pt x="108" y="124"/>
                  </a:lnTo>
                  <a:lnTo>
                    <a:pt x="92" y="98"/>
                  </a:lnTo>
                  <a:lnTo>
                    <a:pt x="78" y="74"/>
                  </a:lnTo>
                  <a:lnTo>
                    <a:pt x="66" y="46"/>
                  </a:lnTo>
                  <a:lnTo>
                    <a:pt x="58" y="20"/>
                  </a:lnTo>
                  <a:lnTo>
                    <a:pt x="58" y="20"/>
                  </a:lnTo>
                  <a:lnTo>
                    <a:pt x="54" y="14"/>
                  </a:lnTo>
                  <a:lnTo>
                    <a:pt x="52" y="10"/>
                  </a:lnTo>
                  <a:lnTo>
                    <a:pt x="42" y="2"/>
                  </a:lnTo>
                  <a:lnTo>
                    <a:pt x="32" y="0"/>
                  </a:lnTo>
                  <a:lnTo>
                    <a:pt x="26" y="0"/>
                  </a:lnTo>
                  <a:lnTo>
                    <a:pt x="20" y="0"/>
                  </a:lnTo>
                  <a:lnTo>
                    <a:pt x="20" y="0"/>
                  </a:lnTo>
                  <a:lnTo>
                    <a:pt x="10" y="6"/>
                  </a:lnTo>
                  <a:lnTo>
                    <a:pt x="2" y="14"/>
                  </a:lnTo>
                  <a:lnTo>
                    <a:pt x="0" y="24"/>
                  </a:lnTo>
                  <a:lnTo>
                    <a:pt x="0" y="36"/>
                  </a:lnTo>
                  <a:lnTo>
                    <a:pt x="0" y="36"/>
                  </a:lnTo>
                  <a:lnTo>
                    <a:pt x="10" y="66"/>
                  </a:lnTo>
                  <a:lnTo>
                    <a:pt x="24" y="96"/>
                  </a:lnTo>
                  <a:lnTo>
                    <a:pt x="38" y="124"/>
                  </a:lnTo>
                  <a:lnTo>
                    <a:pt x="56" y="152"/>
                  </a:lnTo>
                  <a:lnTo>
                    <a:pt x="76" y="180"/>
                  </a:lnTo>
                  <a:lnTo>
                    <a:pt x="98" y="206"/>
                  </a:lnTo>
                  <a:lnTo>
                    <a:pt x="120" y="232"/>
                  </a:lnTo>
                  <a:lnTo>
                    <a:pt x="144" y="256"/>
                  </a:lnTo>
                  <a:lnTo>
                    <a:pt x="192" y="302"/>
                  </a:lnTo>
                  <a:lnTo>
                    <a:pt x="240" y="344"/>
                  </a:lnTo>
                  <a:lnTo>
                    <a:pt x="288" y="382"/>
                  </a:lnTo>
                  <a:lnTo>
                    <a:pt x="330" y="414"/>
                  </a:lnTo>
                  <a:lnTo>
                    <a:pt x="330" y="414"/>
                  </a:lnTo>
                  <a:lnTo>
                    <a:pt x="362" y="438"/>
                  </a:lnTo>
                  <a:lnTo>
                    <a:pt x="392" y="464"/>
                  </a:lnTo>
                  <a:lnTo>
                    <a:pt x="392" y="464"/>
                  </a:lnTo>
                  <a:lnTo>
                    <a:pt x="398" y="468"/>
                  </a:lnTo>
                  <a:lnTo>
                    <a:pt x="402" y="470"/>
                  </a:lnTo>
                  <a:lnTo>
                    <a:pt x="414" y="472"/>
                  </a:lnTo>
                  <a:lnTo>
                    <a:pt x="426" y="470"/>
                  </a:lnTo>
                  <a:lnTo>
                    <a:pt x="430" y="468"/>
                  </a:lnTo>
                  <a:lnTo>
                    <a:pt x="434" y="464"/>
                  </a:lnTo>
                  <a:lnTo>
                    <a:pt x="434" y="464"/>
                  </a:lnTo>
                  <a:lnTo>
                    <a:pt x="442" y="454"/>
                  </a:lnTo>
                  <a:lnTo>
                    <a:pt x="444" y="442"/>
                  </a:lnTo>
                  <a:lnTo>
                    <a:pt x="442" y="432"/>
                  </a:lnTo>
                  <a:lnTo>
                    <a:pt x="434" y="422"/>
                  </a:lnTo>
                  <a:lnTo>
                    <a:pt x="434" y="422"/>
                  </a:lnTo>
                  <a:lnTo>
                    <a:pt x="402" y="394"/>
                  </a:lnTo>
                  <a:lnTo>
                    <a:pt x="366" y="36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242">
              <a:extLst>
                <a:ext uri="{FF2B5EF4-FFF2-40B4-BE49-F238E27FC236}">
                  <a16:creationId xmlns:a16="http://schemas.microsoft.com/office/drawing/2014/main" id="{D51F1A91-3E0E-438D-A4FF-6C16E9F95988}"/>
                </a:ext>
              </a:extLst>
            </p:cNvPr>
            <p:cNvSpPr>
              <a:spLocks/>
            </p:cNvSpPr>
            <p:nvPr/>
          </p:nvSpPr>
          <p:spPr bwMode="auto">
            <a:xfrm>
              <a:off x="14612938" y="4038600"/>
              <a:ext cx="469900" cy="377825"/>
            </a:xfrm>
            <a:custGeom>
              <a:avLst/>
              <a:gdLst>
                <a:gd name="T0" fmla="*/ 266 w 296"/>
                <a:gd name="T1" fmla="*/ 102 h 238"/>
                <a:gd name="T2" fmla="*/ 240 w 296"/>
                <a:gd name="T3" fmla="*/ 64 h 238"/>
                <a:gd name="T4" fmla="*/ 204 w 296"/>
                <a:gd name="T5" fmla="*/ 32 h 238"/>
                <a:gd name="T6" fmla="*/ 164 w 296"/>
                <a:gd name="T7" fmla="*/ 12 h 238"/>
                <a:gd name="T8" fmla="*/ 118 w 296"/>
                <a:gd name="T9" fmla="*/ 0 h 238"/>
                <a:gd name="T10" fmla="*/ 100 w 296"/>
                <a:gd name="T11" fmla="*/ 2 h 238"/>
                <a:gd name="T12" fmla="*/ 70 w 296"/>
                <a:gd name="T13" fmla="*/ 16 h 238"/>
                <a:gd name="T14" fmla="*/ 46 w 296"/>
                <a:gd name="T15" fmla="*/ 42 h 238"/>
                <a:gd name="T16" fmla="*/ 28 w 296"/>
                <a:gd name="T17" fmla="*/ 74 h 238"/>
                <a:gd name="T18" fmla="*/ 12 w 296"/>
                <a:gd name="T19" fmla="*/ 126 h 238"/>
                <a:gd name="T20" fmla="*/ 2 w 296"/>
                <a:gd name="T21" fmla="*/ 188 h 238"/>
                <a:gd name="T22" fmla="*/ 0 w 296"/>
                <a:gd name="T23" fmla="*/ 206 h 238"/>
                <a:gd name="T24" fmla="*/ 2 w 296"/>
                <a:gd name="T25" fmla="*/ 218 h 238"/>
                <a:gd name="T26" fmla="*/ 16 w 296"/>
                <a:gd name="T27" fmla="*/ 234 h 238"/>
                <a:gd name="T28" fmla="*/ 28 w 296"/>
                <a:gd name="T29" fmla="*/ 238 h 238"/>
                <a:gd name="T30" fmla="*/ 30 w 296"/>
                <a:gd name="T31" fmla="*/ 238 h 238"/>
                <a:gd name="T32" fmla="*/ 50 w 296"/>
                <a:gd name="T33" fmla="*/ 230 h 238"/>
                <a:gd name="T34" fmla="*/ 60 w 296"/>
                <a:gd name="T35" fmla="*/ 210 h 238"/>
                <a:gd name="T36" fmla="*/ 62 w 296"/>
                <a:gd name="T37" fmla="*/ 186 h 238"/>
                <a:gd name="T38" fmla="*/ 70 w 296"/>
                <a:gd name="T39" fmla="*/ 136 h 238"/>
                <a:gd name="T40" fmla="*/ 86 w 296"/>
                <a:gd name="T41" fmla="*/ 92 h 238"/>
                <a:gd name="T42" fmla="*/ 102 w 296"/>
                <a:gd name="T43" fmla="*/ 68 h 238"/>
                <a:gd name="T44" fmla="*/ 112 w 296"/>
                <a:gd name="T45" fmla="*/ 62 h 238"/>
                <a:gd name="T46" fmla="*/ 118 w 296"/>
                <a:gd name="T47" fmla="*/ 60 h 238"/>
                <a:gd name="T48" fmla="*/ 148 w 296"/>
                <a:gd name="T49" fmla="*/ 68 h 238"/>
                <a:gd name="T50" fmla="*/ 176 w 296"/>
                <a:gd name="T51" fmla="*/ 86 h 238"/>
                <a:gd name="T52" fmla="*/ 198 w 296"/>
                <a:gd name="T53" fmla="*/ 110 h 238"/>
                <a:gd name="T54" fmla="*/ 218 w 296"/>
                <a:gd name="T55" fmla="*/ 136 h 238"/>
                <a:gd name="T56" fmla="*/ 246 w 296"/>
                <a:gd name="T57" fmla="*/ 170 h 238"/>
                <a:gd name="T58" fmla="*/ 250 w 296"/>
                <a:gd name="T59" fmla="*/ 174 h 238"/>
                <a:gd name="T60" fmla="*/ 266 w 296"/>
                <a:gd name="T61" fmla="*/ 178 h 238"/>
                <a:gd name="T62" fmla="*/ 282 w 296"/>
                <a:gd name="T63" fmla="*/ 174 h 238"/>
                <a:gd name="T64" fmla="*/ 288 w 296"/>
                <a:gd name="T65" fmla="*/ 170 h 238"/>
                <a:gd name="T66" fmla="*/ 296 w 296"/>
                <a:gd name="T67" fmla="*/ 148 h 238"/>
                <a:gd name="T68" fmla="*/ 288 w 296"/>
                <a:gd name="T69" fmla="*/ 128 h 238"/>
                <a:gd name="T70" fmla="*/ 266 w 296"/>
                <a:gd name="T71" fmla="*/ 10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6" h="238">
                  <a:moveTo>
                    <a:pt x="266" y="102"/>
                  </a:moveTo>
                  <a:lnTo>
                    <a:pt x="266" y="102"/>
                  </a:lnTo>
                  <a:lnTo>
                    <a:pt x="254" y="82"/>
                  </a:lnTo>
                  <a:lnTo>
                    <a:pt x="240" y="64"/>
                  </a:lnTo>
                  <a:lnTo>
                    <a:pt x="222" y="48"/>
                  </a:lnTo>
                  <a:lnTo>
                    <a:pt x="204" y="32"/>
                  </a:lnTo>
                  <a:lnTo>
                    <a:pt x="184" y="22"/>
                  </a:lnTo>
                  <a:lnTo>
                    <a:pt x="164" y="12"/>
                  </a:lnTo>
                  <a:lnTo>
                    <a:pt x="142" y="4"/>
                  </a:lnTo>
                  <a:lnTo>
                    <a:pt x="118" y="0"/>
                  </a:lnTo>
                  <a:lnTo>
                    <a:pt x="118" y="0"/>
                  </a:lnTo>
                  <a:lnTo>
                    <a:pt x="100" y="2"/>
                  </a:lnTo>
                  <a:lnTo>
                    <a:pt x="84" y="8"/>
                  </a:lnTo>
                  <a:lnTo>
                    <a:pt x="70" y="16"/>
                  </a:lnTo>
                  <a:lnTo>
                    <a:pt x="58" y="28"/>
                  </a:lnTo>
                  <a:lnTo>
                    <a:pt x="46" y="42"/>
                  </a:lnTo>
                  <a:lnTo>
                    <a:pt x="38" y="56"/>
                  </a:lnTo>
                  <a:lnTo>
                    <a:pt x="28" y="74"/>
                  </a:lnTo>
                  <a:lnTo>
                    <a:pt x="22" y="90"/>
                  </a:lnTo>
                  <a:lnTo>
                    <a:pt x="12" y="126"/>
                  </a:lnTo>
                  <a:lnTo>
                    <a:pt x="6" y="160"/>
                  </a:lnTo>
                  <a:lnTo>
                    <a:pt x="2" y="188"/>
                  </a:lnTo>
                  <a:lnTo>
                    <a:pt x="0" y="206"/>
                  </a:lnTo>
                  <a:lnTo>
                    <a:pt x="0" y="206"/>
                  </a:lnTo>
                  <a:lnTo>
                    <a:pt x="0" y="212"/>
                  </a:lnTo>
                  <a:lnTo>
                    <a:pt x="2" y="218"/>
                  </a:lnTo>
                  <a:lnTo>
                    <a:pt x="8" y="228"/>
                  </a:lnTo>
                  <a:lnTo>
                    <a:pt x="16" y="234"/>
                  </a:lnTo>
                  <a:lnTo>
                    <a:pt x="22" y="236"/>
                  </a:lnTo>
                  <a:lnTo>
                    <a:pt x="28" y="238"/>
                  </a:lnTo>
                  <a:lnTo>
                    <a:pt x="30" y="238"/>
                  </a:lnTo>
                  <a:lnTo>
                    <a:pt x="30" y="238"/>
                  </a:lnTo>
                  <a:lnTo>
                    <a:pt x="40" y="236"/>
                  </a:lnTo>
                  <a:lnTo>
                    <a:pt x="50" y="230"/>
                  </a:lnTo>
                  <a:lnTo>
                    <a:pt x="56" y="222"/>
                  </a:lnTo>
                  <a:lnTo>
                    <a:pt x="60" y="210"/>
                  </a:lnTo>
                  <a:lnTo>
                    <a:pt x="60" y="210"/>
                  </a:lnTo>
                  <a:lnTo>
                    <a:pt x="62" y="186"/>
                  </a:lnTo>
                  <a:lnTo>
                    <a:pt x="66" y="160"/>
                  </a:lnTo>
                  <a:lnTo>
                    <a:pt x="70" y="136"/>
                  </a:lnTo>
                  <a:lnTo>
                    <a:pt x="78" y="112"/>
                  </a:lnTo>
                  <a:lnTo>
                    <a:pt x="86" y="92"/>
                  </a:lnTo>
                  <a:lnTo>
                    <a:pt x="96" y="74"/>
                  </a:lnTo>
                  <a:lnTo>
                    <a:pt x="102" y="68"/>
                  </a:lnTo>
                  <a:lnTo>
                    <a:pt x="106" y="64"/>
                  </a:lnTo>
                  <a:lnTo>
                    <a:pt x="112" y="62"/>
                  </a:lnTo>
                  <a:lnTo>
                    <a:pt x="118" y="60"/>
                  </a:lnTo>
                  <a:lnTo>
                    <a:pt x="118" y="60"/>
                  </a:lnTo>
                  <a:lnTo>
                    <a:pt x="134" y="62"/>
                  </a:lnTo>
                  <a:lnTo>
                    <a:pt x="148" y="68"/>
                  </a:lnTo>
                  <a:lnTo>
                    <a:pt x="162" y="76"/>
                  </a:lnTo>
                  <a:lnTo>
                    <a:pt x="176" y="86"/>
                  </a:lnTo>
                  <a:lnTo>
                    <a:pt x="188" y="98"/>
                  </a:lnTo>
                  <a:lnTo>
                    <a:pt x="198" y="110"/>
                  </a:lnTo>
                  <a:lnTo>
                    <a:pt x="218" y="136"/>
                  </a:lnTo>
                  <a:lnTo>
                    <a:pt x="218" y="136"/>
                  </a:lnTo>
                  <a:lnTo>
                    <a:pt x="232" y="154"/>
                  </a:lnTo>
                  <a:lnTo>
                    <a:pt x="246" y="170"/>
                  </a:lnTo>
                  <a:lnTo>
                    <a:pt x="246" y="170"/>
                  </a:lnTo>
                  <a:lnTo>
                    <a:pt x="250" y="174"/>
                  </a:lnTo>
                  <a:lnTo>
                    <a:pt x="256" y="176"/>
                  </a:lnTo>
                  <a:lnTo>
                    <a:pt x="266" y="178"/>
                  </a:lnTo>
                  <a:lnTo>
                    <a:pt x="278" y="176"/>
                  </a:lnTo>
                  <a:lnTo>
                    <a:pt x="282" y="174"/>
                  </a:lnTo>
                  <a:lnTo>
                    <a:pt x="288" y="170"/>
                  </a:lnTo>
                  <a:lnTo>
                    <a:pt x="288" y="170"/>
                  </a:lnTo>
                  <a:lnTo>
                    <a:pt x="294" y="160"/>
                  </a:lnTo>
                  <a:lnTo>
                    <a:pt x="296" y="148"/>
                  </a:lnTo>
                  <a:lnTo>
                    <a:pt x="294" y="138"/>
                  </a:lnTo>
                  <a:lnTo>
                    <a:pt x="288" y="128"/>
                  </a:lnTo>
                  <a:lnTo>
                    <a:pt x="288" y="128"/>
                  </a:lnTo>
                  <a:lnTo>
                    <a:pt x="266"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243">
              <a:extLst>
                <a:ext uri="{FF2B5EF4-FFF2-40B4-BE49-F238E27FC236}">
                  <a16:creationId xmlns:a16="http://schemas.microsoft.com/office/drawing/2014/main" id="{35C057F6-2316-4FED-8ED0-17D0A577301E}"/>
                </a:ext>
              </a:extLst>
            </p:cNvPr>
            <p:cNvSpPr>
              <a:spLocks/>
            </p:cNvSpPr>
            <p:nvPr/>
          </p:nvSpPr>
          <p:spPr bwMode="auto">
            <a:xfrm>
              <a:off x="14612938" y="4038600"/>
              <a:ext cx="469900" cy="377825"/>
            </a:xfrm>
            <a:custGeom>
              <a:avLst/>
              <a:gdLst>
                <a:gd name="T0" fmla="*/ 266 w 296"/>
                <a:gd name="T1" fmla="*/ 102 h 238"/>
                <a:gd name="T2" fmla="*/ 240 w 296"/>
                <a:gd name="T3" fmla="*/ 64 h 238"/>
                <a:gd name="T4" fmla="*/ 204 w 296"/>
                <a:gd name="T5" fmla="*/ 32 h 238"/>
                <a:gd name="T6" fmla="*/ 164 w 296"/>
                <a:gd name="T7" fmla="*/ 12 h 238"/>
                <a:gd name="T8" fmla="*/ 118 w 296"/>
                <a:gd name="T9" fmla="*/ 0 h 238"/>
                <a:gd name="T10" fmla="*/ 100 w 296"/>
                <a:gd name="T11" fmla="*/ 2 h 238"/>
                <a:gd name="T12" fmla="*/ 70 w 296"/>
                <a:gd name="T13" fmla="*/ 16 h 238"/>
                <a:gd name="T14" fmla="*/ 46 w 296"/>
                <a:gd name="T15" fmla="*/ 42 h 238"/>
                <a:gd name="T16" fmla="*/ 28 w 296"/>
                <a:gd name="T17" fmla="*/ 74 h 238"/>
                <a:gd name="T18" fmla="*/ 12 w 296"/>
                <a:gd name="T19" fmla="*/ 126 h 238"/>
                <a:gd name="T20" fmla="*/ 2 w 296"/>
                <a:gd name="T21" fmla="*/ 188 h 238"/>
                <a:gd name="T22" fmla="*/ 0 w 296"/>
                <a:gd name="T23" fmla="*/ 206 h 238"/>
                <a:gd name="T24" fmla="*/ 2 w 296"/>
                <a:gd name="T25" fmla="*/ 218 h 238"/>
                <a:gd name="T26" fmla="*/ 16 w 296"/>
                <a:gd name="T27" fmla="*/ 234 h 238"/>
                <a:gd name="T28" fmla="*/ 28 w 296"/>
                <a:gd name="T29" fmla="*/ 238 h 238"/>
                <a:gd name="T30" fmla="*/ 30 w 296"/>
                <a:gd name="T31" fmla="*/ 238 h 238"/>
                <a:gd name="T32" fmla="*/ 50 w 296"/>
                <a:gd name="T33" fmla="*/ 230 h 238"/>
                <a:gd name="T34" fmla="*/ 60 w 296"/>
                <a:gd name="T35" fmla="*/ 210 h 238"/>
                <a:gd name="T36" fmla="*/ 62 w 296"/>
                <a:gd name="T37" fmla="*/ 186 h 238"/>
                <a:gd name="T38" fmla="*/ 70 w 296"/>
                <a:gd name="T39" fmla="*/ 136 h 238"/>
                <a:gd name="T40" fmla="*/ 86 w 296"/>
                <a:gd name="T41" fmla="*/ 92 h 238"/>
                <a:gd name="T42" fmla="*/ 102 w 296"/>
                <a:gd name="T43" fmla="*/ 68 h 238"/>
                <a:gd name="T44" fmla="*/ 112 w 296"/>
                <a:gd name="T45" fmla="*/ 62 h 238"/>
                <a:gd name="T46" fmla="*/ 118 w 296"/>
                <a:gd name="T47" fmla="*/ 60 h 238"/>
                <a:gd name="T48" fmla="*/ 148 w 296"/>
                <a:gd name="T49" fmla="*/ 68 h 238"/>
                <a:gd name="T50" fmla="*/ 176 w 296"/>
                <a:gd name="T51" fmla="*/ 86 h 238"/>
                <a:gd name="T52" fmla="*/ 198 w 296"/>
                <a:gd name="T53" fmla="*/ 110 h 238"/>
                <a:gd name="T54" fmla="*/ 218 w 296"/>
                <a:gd name="T55" fmla="*/ 136 h 238"/>
                <a:gd name="T56" fmla="*/ 246 w 296"/>
                <a:gd name="T57" fmla="*/ 170 h 238"/>
                <a:gd name="T58" fmla="*/ 250 w 296"/>
                <a:gd name="T59" fmla="*/ 174 h 238"/>
                <a:gd name="T60" fmla="*/ 266 w 296"/>
                <a:gd name="T61" fmla="*/ 178 h 238"/>
                <a:gd name="T62" fmla="*/ 282 w 296"/>
                <a:gd name="T63" fmla="*/ 174 h 238"/>
                <a:gd name="T64" fmla="*/ 288 w 296"/>
                <a:gd name="T65" fmla="*/ 170 h 238"/>
                <a:gd name="T66" fmla="*/ 296 w 296"/>
                <a:gd name="T67" fmla="*/ 148 h 238"/>
                <a:gd name="T68" fmla="*/ 288 w 296"/>
                <a:gd name="T69" fmla="*/ 128 h 238"/>
                <a:gd name="T70" fmla="*/ 266 w 296"/>
                <a:gd name="T71" fmla="*/ 10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6" h="238">
                  <a:moveTo>
                    <a:pt x="266" y="102"/>
                  </a:moveTo>
                  <a:lnTo>
                    <a:pt x="266" y="102"/>
                  </a:lnTo>
                  <a:lnTo>
                    <a:pt x="254" y="82"/>
                  </a:lnTo>
                  <a:lnTo>
                    <a:pt x="240" y="64"/>
                  </a:lnTo>
                  <a:lnTo>
                    <a:pt x="222" y="48"/>
                  </a:lnTo>
                  <a:lnTo>
                    <a:pt x="204" y="32"/>
                  </a:lnTo>
                  <a:lnTo>
                    <a:pt x="184" y="22"/>
                  </a:lnTo>
                  <a:lnTo>
                    <a:pt x="164" y="12"/>
                  </a:lnTo>
                  <a:lnTo>
                    <a:pt x="142" y="4"/>
                  </a:lnTo>
                  <a:lnTo>
                    <a:pt x="118" y="0"/>
                  </a:lnTo>
                  <a:lnTo>
                    <a:pt x="118" y="0"/>
                  </a:lnTo>
                  <a:lnTo>
                    <a:pt x="100" y="2"/>
                  </a:lnTo>
                  <a:lnTo>
                    <a:pt x="84" y="8"/>
                  </a:lnTo>
                  <a:lnTo>
                    <a:pt x="70" y="16"/>
                  </a:lnTo>
                  <a:lnTo>
                    <a:pt x="58" y="28"/>
                  </a:lnTo>
                  <a:lnTo>
                    <a:pt x="46" y="42"/>
                  </a:lnTo>
                  <a:lnTo>
                    <a:pt x="38" y="56"/>
                  </a:lnTo>
                  <a:lnTo>
                    <a:pt x="28" y="74"/>
                  </a:lnTo>
                  <a:lnTo>
                    <a:pt x="22" y="90"/>
                  </a:lnTo>
                  <a:lnTo>
                    <a:pt x="12" y="126"/>
                  </a:lnTo>
                  <a:lnTo>
                    <a:pt x="6" y="160"/>
                  </a:lnTo>
                  <a:lnTo>
                    <a:pt x="2" y="188"/>
                  </a:lnTo>
                  <a:lnTo>
                    <a:pt x="0" y="206"/>
                  </a:lnTo>
                  <a:lnTo>
                    <a:pt x="0" y="206"/>
                  </a:lnTo>
                  <a:lnTo>
                    <a:pt x="0" y="212"/>
                  </a:lnTo>
                  <a:lnTo>
                    <a:pt x="2" y="218"/>
                  </a:lnTo>
                  <a:lnTo>
                    <a:pt x="8" y="228"/>
                  </a:lnTo>
                  <a:lnTo>
                    <a:pt x="16" y="234"/>
                  </a:lnTo>
                  <a:lnTo>
                    <a:pt x="22" y="236"/>
                  </a:lnTo>
                  <a:lnTo>
                    <a:pt x="28" y="238"/>
                  </a:lnTo>
                  <a:lnTo>
                    <a:pt x="30" y="238"/>
                  </a:lnTo>
                  <a:lnTo>
                    <a:pt x="30" y="238"/>
                  </a:lnTo>
                  <a:lnTo>
                    <a:pt x="40" y="236"/>
                  </a:lnTo>
                  <a:lnTo>
                    <a:pt x="50" y="230"/>
                  </a:lnTo>
                  <a:lnTo>
                    <a:pt x="56" y="222"/>
                  </a:lnTo>
                  <a:lnTo>
                    <a:pt x="60" y="210"/>
                  </a:lnTo>
                  <a:lnTo>
                    <a:pt x="60" y="210"/>
                  </a:lnTo>
                  <a:lnTo>
                    <a:pt x="62" y="186"/>
                  </a:lnTo>
                  <a:lnTo>
                    <a:pt x="66" y="160"/>
                  </a:lnTo>
                  <a:lnTo>
                    <a:pt x="70" y="136"/>
                  </a:lnTo>
                  <a:lnTo>
                    <a:pt x="78" y="112"/>
                  </a:lnTo>
                  <a:lnTo>
                    <a:pt x="86" y="92"/>
                  </a:lnTo>
                  <a:lnTo>
                    <a:pt x="96" y="74"/>
                  </a:lnTo>
                  <a:lnTo>
                    <a:pt x="102" y="68"/>
                  </a:lnTo>
                  <a:lnTo>
                    <a:pt x="106" y="64"/>
                  </a:lnTo>
                  <a:lnTo>
                    <a:pt x="112" y="62"/>
                  </a:lnTo>
                  <a:lnTo>
                    <a:pt x="118" y="60"/>
                  </a:lnTo>
                  <a:lnTo>
                    <a:pt x="118" y="60"/>
                  </a:lnTo>
                  <a:lnTo>
                    <a:pt x="134" y="62"/>
                  </a:lnTo>
                  <a:lnTo>
                    <a:pt x="148" y="68"/>
                  </a:lnTo>
                  <a:lnTo>
                    <a:pt x="162" y="76"/>
                  </a:lnTo>
                  <a:lnTo>
                    <a:pt x="176" y="86"/>
                  </a:lnTo>
                  <a:lnTo>
                    <a:pt x="188" y="98"/>
                  </a:lnTo>
                  <a:lnTo>
                    <a:pt x="198" y="110"/>
                  </a:lnTo>
                  <a:lnTo>
                    <a:pt x="218" y="136"/>
                  </a:lnTo>
                  <a:lnTo>
                    <a:pt x="218" y="136"/>
                  </a:lnTo>
                  <a:lnTo>
                    <a:pt x="232" y="154"/>
                  </a:lnTo>
                  <a:lnTo>
                    <a:pt x="246" y="170"/>
                  </a:lnTo>
                  <a:lnTo>
                    <a:pt x="246" y="170"/>
                  </a:lnTo>
                  <a:lnTo>
                    <a:pt x="250" y="174"/>
                  </a:lnTo>
                  <a:lnTo>
                    <a:pt x="256" y="176"/>
                  </a:lnTo>
                  <a:lnTo>
                    <a:pt x="266" y="178"/>
                  </a:lnTo>
                  <a:lnTo>
                    <a:pt x="278" y="176"/>
                  </a:lnTo>
                  <a:lnTo>
                    <a:pt x="282" y="174"/>
                  </a:lnTo>
                  <a:lnTo>
                    <a:pt x="288" y="170"/>
                  </a:lnTo>
                  <a:lnTo>
                    <a:pt x="288" y="170"/>
                  </a:lnTo>
                  <a:lnTo>
                    <a:pt x="294" y="160"/>
                  </a:lnTo>
                  <a:lnTo>
                    <a:pt x="296" y="148"/>
                  </a:lnTo>
                  <a:lnTo>
                    <a:pt x="294" y="138"/>
                  </a:lnTo>
                  <a:lnTo>
                    <a:pt x="288" y="128"/>
                  </a:lnTo>
                  <a:lnTo>
                    <a:pt x="288" y="128"/>
                  </a:lnTo>
                  <a:lnTo>
                    <a:pt x="266" y="10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244">
              <a:extLst>
                <a:ext uri="{FF2B5EF4-FFF2-40B4-BE49-F238E27FC236}">
                  <a16:creationId xmlns:a16="http://schemas.microsoft.com/office/drawing/2014/main" id="{09467045-0F25-4680-AEDC-7CB60C23E75F}"/>
                </a:ext>
              </a:extLst>
            </p:cNvPr>
            <p:cNvSpPr>
              <a:spLocks/>
            </p:cNvSpPr>
            <p:nvPr/>
          </p:nvSpPr>
          <p:spPr bwMode="auto">
            <a:xfrm>
              <a:off x="14330363" y="3759200"/>
              <a:ext cx="295275" cy="561975"/>
            </a:xfrm>
            <a:custGeom>
              <a:avLst/>
              <a:gdLst>
                <a:gd name="T0" fmla="*/ 176 w 186"/>
                <a:gd name="T1" fmla="*/ 20 h 354"/>
                <a:gd name="T2" fmla="*/ 176 w 186"/>
                <a:gd name="T3" fmla="*/ 20 h 354"/>
                <a:gd name="T4" fmla="*/ 174 w 186"/>
                <a:gd name="T5" fmla="*/ 14 h 354"/>
                <a:gd name="T6" fmla="*/ 170 w 186"/>
                <a:gd name="T7" fmla="*/ 10 h 354"/>
                <a:gd name="T8" fmla="*/ 162 w 186"/>
                <a:gd name="T9" fmla="*/ 2 h 354"/>
                <a:gd name="T10" fmla="*/ 150 w 186"/>
                <a:gd name="T11" fmla="*/ 0 h 354"/>
                <a:gd name="T12" fmla="*/ 144 w 186"/>
                <a:gd name="T13" fmla="*/ 0 h 354"/>
                <a:gd name="T14" fmla="*/ 138 w 186"/>
                <a:gd name="T15" fmla="*/ 2 h 354"/>
                <a:gd name="T16" fmla="*/ 138 w 186"/>
                <a:gd name="T17" fmla="*/ 2 h 354"/>
                <a:gd name="T18" fmla="*/ 128 w 186"/>
                <a:gd name="T19" fmla="*/ 8 h 354"/>
                <a:gd name="T20" fmla="*/ 122 w 186"/>
                <a:gd name="T21" fmla="*/ 16 h 354"/>
                <a:gd name="T22" fmla="*/ 120 w 186"/>
                <a:gd name="T23" fmla="*/ 26 h 354"/>
                <a:gd name="T24" fmla="*/ 120 w 186"/>
                <a:gd name="T25" fmla="*/ 38 h 354"/>
                <a:gd name="T26" fmla="*/ 120 w 186"/>
                <a:gd name="T27" fmla="*/ 38 h 354"/>
                <a:gd name="T28" fmla="*/ 124 w 186"/>
                <a:gd name="T29" fmla="*/ 54 h 354"/>
                <a:gd name="T30" fmla="*/ 126 w 186"/>
                <a:gd name="T31" fmla="*/ 70 h 354"/>
                <a:gd name="T32" fmla="*/ 126 w 186"/>
                <a:gd name="T33" fmla="*/ 88 h 354"/>
                <a:gd name="T34" fmla="*/ 126 w 186"/>
                <a:gd name="T35" fmla="*/ 108 h 354"/>
                <a:gd name="T36" fmla="*/ 124 w 186"/>
                <a:gd name="T37" fmla="*/ 128 h 354"/>
                <a:gd name="T38" fmla="*/ 120 w 186"/>
                <a:gd name="T39" fmla="*/ 148 h 354"/>
                <a:gd name="T40" fmla="*/ 114 w 186"/>
                <a:gd name="T41" fmla="*/ 168 h 354"/>
                <a:gd name="T42" fmla="*/ 108 w 186"/>
                <a:gd name="T43" fmla="*/ 188 h 354"/>
                <a:gd name="T44" fmla="*/ 100 w 186"/>
                <a:gd name="T45" fmla="*/ 206 h 354"/>
                <a:gd name="T46" fmla="*/ 92 w 186"/>
                <a:gd name="T47" fmla="*/ 224 h 354"/>
                <a:gd name="T48" fmla="*/ 82 w 186"/>
                <a:gd name="T49" fmla="*/ 242 h 354"/>
                <a:gd name="T50" fmla="*/ 72 w 186"/>
                <a:gd name="T51" fmla="*/ 256 h 354"/>
                <a:gd name="T52" fmla="*/ 60 w 186"/>
                <a:gd name="T53" fmla="*/ 270 h 354"/>
                <a:gd name="T54" fmla="*/ 48 w 186"/>
                <a:gd name="T55" fmla="*/ 282 h 354"/>
                <a:gd name="T56" fmla="*/ 34 w 186"/>
                <a:gd name="T57" fmla="*/ 290 h 354"/>
                <a:gd name="T58" fmla="*/ 20 w 186"/>
                <a:gd name="T59" fmla="*/ 296 h 354"/>
                <a:gd name="T60" fmla="*/ 20 w 186"/>
                <a:gd name="T61" fmla="*/ 296 h 354"/>
                <a:gd name="T62" fmla="*/ 14 w 186"/>
                <a:gd name="T63" fmla="*/ 298 h 354"/>
                <a:gd name="T64" fmla="*/ 10 w 186"/>
                <a:gd name="T65" fmla="*/ 302 h 354"/>
                <a:gd name="T66" fmla="*/ 2 w 186"/>
                <a:gd name="T67" fmla="*/ 312 h 354"/>
                <a:gd name="T68" fmla="*/ 0 w 186"/>
                <a:gd name="T69" fmla="*/ 322 h 354"/>
                <a:gd name="T70" fmla="*/ 0 w 186"/>
                <a:gd name="T71" fmla="*/ 328 h 354"/>
                <a:gd name="T72" fmla="*/ 0 w 186"/>
                <a:gd name="T73" fmla="*/ 334 h 354"/>
                <a:gd name="T74" fmla="*/ 0 w 186"/>
                <a:gd name="T75" fmla="*/ 334 h 354"/>
                <a:gd name="T76" fmla="*/ 4 w 186"/>
                <a:gd name="T77" fmla="*/ 340 h 354"/>
                <a:gd name="T78" fmla="*/ 6 w 186"/>
                <a:gd name="T79" fmla="*/ 344 h 354"/>
                <a:gd name="T80" fmla="*/ 16 w 186"/>
                <a:gd name="T81" fmla="*/ 352 h 354"/>
                <a:gd name="T82" fmla="*/ 26 w 186"/>
                <a:gd name="T83" fmla="*/ 354 h 354"/>
                <a:gd name="T84" fmla="*/ 32 w 186"/>
                <a:gd name="T85" fmla="*/ 354 h 354"/>
                <a:gd name="T86" fmla="*/ 38 w 186"/>
                <a:gd name="T87" fmla="*/ 354 h 354"/>
                <a:gd name="T88" fmla="*/ 38 w 186"/>
                <a:gd name="T89" fmla="*/ 354 h 354"/>
                <a:gd name="T90" fmla="*/ 38 w 186"/>
                <a:gd name="T91" fmla="*/ 352 h 354"/>
                <a:gd name="T92" fmla="*/ 38 w 186"/>
                <a:gd name="T93" fmla="*/ 352 h 354"/>
                <a:gd name="T94" fmla="*/ 60 w 186"/>
                <a:gd name="T95" fmla="*/ 344 h 354"/>
                <a:gd name="T96" fmla="*/ 78 w 186"/>
                <a:gd name="T97" fmla="*/ 332 h 354"/>
                <a:gd name="T98" fmla="*/ 96 w 186"/>
                <a:gd name="T99" fmla="*/ 318 h 354"/>
                <a:gd name="T100" fmla="*/ 112 w 186"/>
                <a:gd name="T101" fmla="*/ 300 h 354"/>
                <a:gd name="T102" fmla="*/ 128 w 186"/>
                <a:gd name="T103" fmla="*/ 280 h 354"/>
                <a:gd name="T104" fmla="*/ 140 w 186"/>
                <a:gd name="T105" fmla="*/ 258 h 354"/>
                <a:gd name="T106" fmla="*/ 152 w 186"/>
                <a:gd name="T107" fmla="*/ 234 h 354"/>
                <a:gd name="T108" fmla="*/ 162 w 186"/>
                <a:gd name="T109" fmla="*/ 210 h 354"/>
                <a:gd name="T110" fmla="*/ 170 w 186"/>
                <a:gd name="T111" fmla="*/ 184 h 354"/>
                <a:gd name="T112" fmla="*/ 176 w 186"/>
                <a:gd name="T113" fmla="*/ 158 h 354"/>
                <a:gd name="T114" fmla="*/ 182 w 186"/>
                <a:gd name="T115" fmla="*/ 134 h 354"/>
                <a:gd name="T116" fmla="*/ 184 w 186"/>
                <a:gd name="T117" fmla="*/ 108 h 354"/>
                <a:gd name="T118" fmla="*/ 186 w 186"/>
                <a:gd name="T119" fmla="*/ 84 h 354"/>
                <a:gd name="T120" fmla="*/ 184 w 186"/>
                <a:gd name="T121" fmla="*/ 60 h 354"/>
                <a:gd name="T122" fmla="*/ 182 w 186"/>
                <a:gd name="T123" fmla="*/ 40 h 354"/>
                <a:gd name="T124" fmla="*/ 176 w 186"/>
                <a:gd name="T125" fmla="*/ 2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6" h="354">
                  <a:moveTo>
                    <a:pt x="176" y="20"/>
                  </a:moveTo>
                  <a:lnTo>
                    <a:pt x="176" y="20"/>
                  </a:lnTo>
                  <a:lnTo>
                    <a:pt x="174" y="14"/>
                  </a:lnTo>
                  <a:lnTo>
                    <a:pt x="170" y="10"/>
                  </a:lnTo>
                  <a:lnTo>
                    <a:pt x="162" y="2"/>
                  </a:lnTo>
                  <a:lnTo>
                    <a:pt x="150" y="0"/>
                  </a:lnTo>
                  <a:lnTo>
                    <a:pt x="144" y="0"/>
                  </a:lnTo>
                  <a:lnTo>
                    <a:pt x="138" y="2"/>
                  </a:lnTo>
                  <a:lnTo>
                    <a:pt x="138" y="2"/>
                  </a:lnTo>
                  <a:lnTo>
                    <a:pt x="128" y="8"/>
                  </a:lnTo>
                  <a:lnTo>
                    <a:pt x="122" y="16"/>
                  </a:lnTo>
                  <a:lnTo>
                    <a:pt x="120" y="26"/>
                  </a:lnTo>
                  <a:lnTo>
                    <a:pt x="120" y="38"/>
                  </a:lnTo>
                  <a:lnTo>
                    <a:pt x="120" y="38"/>
                  </a:lnTo>
                  <a:lnTo>
                    <a:pt x="124" y="54"/>
                  </a:lnTo>
                  <a:lnTo>
                    <a:pt x="126" y="70"/>
                  </a:lnTo>
                  <a:lnTo>
                    <a:pt x="126" y="88"/>
                  </a:lnTo>
                  <a:lnTo>
                    <a:pt x="126" y="108"/>
                  </a:lnTo>
                  <a:lnTo>
                    <a:pt x="124" y="128"/>
                  </a:lnTo>
                  <a:lnTo>
                    <a:pt x="120" y="148"/>
                  </a:lnTo>
                  <a:lnTo>
                    <a:pt x="114" y="168"/>
                  </a:lnTo>
                  <a:lnTo>
                    <a:pt x="108" y="188"/>
                  </a:lnTo>
                  <a:lnTo>
                    <a:pt x="100" y="206"/>
                  </a:lnTo>
                  <a:lnTo>
                    <a:pt x="92" y="224"/>
                  </a:lnTo>
                  <a:lnTo>
                    <a:pt x="82" y="242"/>
                  </a:lnTo>
                  <a:lnTo>
                    <a:pt x="72" y="256"/>
                  </a:lnTo>
                  <a:lnTo>
                    <a:pt x="60" y="270"/>
                  </a:lnTo>
                  <a:lnTo>
                    <a:pt x="48" y="282"/>
                  </a:lnTo>
                  <a:lnTo>
                    <a:pt x="34" y="290"/>
                  </a:lnTo>
                  <a:lnTo>
                    <a:pt x="20" y="296"/>
                  </a:lnTo>
                  <a:lnTo>
                    <a:pt x="20" y="296"/>
                  </a:lnTo>
                  <a:lnTo>
                    <a:pt x="14" y="298"/>
                  </a:lnTo>
                  <a:lnTo>
                    <a:pt x="10" y="302"/>
                  </a:lnTo>
                  <a:lnTo>
                    <a:pt x="2" y="312"/>
                  </a:lnTo>
                  <a:lnTo>
                    <a:pt x="0" y="322"/>
                  </a:lnTo>
                  <a:lnTo>
                    <a:pt x="0" y="328"/>
                  </a:lnTo>
                  <a:lnTo>
                    <a:pt x="0" y="334"/>
                  </a:lnTo>
                  <a:lnTo>
                    <a:pt x="0" y="334"/>
                  </a:lnTo>
                  <a:lnTo>
                    <a:pt x="4" y="340"/>
                  </a:lnTo>
                  <a:lnTo>
                    <a:pt x="6" y="344"/>
                  </a:lnTo>
                  <a:lnTo>
                    <a:pt x="16" y="352"/>
                  </a:lnTo>
                  <a:lnTo>
                    <a:pt x="26" y="354"/>
                  </a:lnTo>
                  <a:lnTo>
                    <a:pt x="32" y="354"/>
                  </a:lnTo>
                  <a:lnTo>
                    <a:pt x="38" y="354"/>
                  </a:lnTo>
                  <a:lnTo>
                    <a:pt x="38" y="354"/>
                  </a:lnTo>
                  <a:lnTo>
                    <a:pt x="38" y="352"/>
                  </a:lnTo>
                  <a:lnTo>
                    <a:pt x="38" y="352"/>
                  </a:lnTo>
                  <a:lnTo>
                    <a:pt x="60" y="344"/>
                  </a:lnTo>
                  <a:lnTo>
                    <a:pt x="78" y="332"/>
                  </a:lnTo>
                  <a:lnTo>
                    <a:pt x="96" y="318"/>
                  </a:lnTo>
                  <a:lnTo>
                    <a:pt x="112" y="300"/>
                  </a:lnTo>
                  <a:lnTo>
                    <a:pt x="128" y="280"/>
                  </a:lnTo>
                  <a:lnTo>
                    <a:pt x="140" y="258"/>
                  </a:lnTo>
                  <a:lnTo>
                    <a:pt x="152" y="234"/>
                  </a:lnTo>
                  <a:lnTo>
                    <a:pt x="162" y="210"/>
                  </a:lnTo>
                  <a:lnTo>
                    <a:pt x="170" y="184"/>
                  </a:lnTo>
                  <a:lnTo>
                    <a:pt x="176" y="158"/>
                  </a:lnTo>
                  <a:lnTo>
                    <a:pt x="182" y="134"/>
                  </a:lnTo>
                  <a:lnTo>
                    <a:pt x="184" y="108"/>
                  </a:lnTo>
                  <a:lnTo>
                    <a:pt x="186" y="84"/>
                  </a:lnTo>
                  <a:lnTo>
                    <a:pt x="184" y="60"/>
                  </a:lnTo>
                  <a:lnTo>
                    <a:pt x="182" y="40"/>
                  </a:lnTo>
                  <a:lnTo>
                    <a:pt x="17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245">
              <a:extLst>
                <a:ext uri="{FF2B5EF4-FFF2-40B4-BE49-F238E27FC236}">
                  <a16:creationId xmlns:a16="http://schemas.microsoft.com/office/drawing/2014/main" id="{317BA7E5-D5E0-4E10-BA0B-165DE29EBD58}"/>
                </a:ext>
              </a:extLst>
            </p:cNvPr>
            <p:cNvSpPr>
              <a:spLocks/>
            </p:cNvSpPr>
            <p:nvPr/>
          </p:nvSpPr>
          <p:spPr bwMode="auto">
            <a:xfrm>
              <a:off x="14330363" y="3759200"/>
              <a:ext cx="295275" cy="561975"/>
            </a:xfrm>
            <a:custGeom>
              <a:avLst/>
              <a:gdLst>
                <a:gd name="T0" fmla="*/ 176 w 186"/>
                <a:gd name="T1" fmla="*/ 20 h 354"/>
                <a:gd name="T2" fmla="*/ 176 w 186"/>
                <a:gd name="T3" fmla="*/ 20 h 354"/>
                <a:gd name="T4" fmla="*/ 174 w 186"/>
                <a:gd name="T5" fmla="*/ 14 h 354"/>
                <a:gd name="T6" fmla="*/ 170 w 186"/>
                <a:gd name="T7" fmla="*/ 10 h 354"/>
                <a:gd name="T8" fmla="*/ 162 w 186"/>
                <a:gd name="T9" fmla="*/ 2 h 354"/>
                <a:gd name="T10" fmla="*/ 150 w 186"/>
                <a:gd name="T11" fmla="*/ 0 h 354"/>
                <a:gd name="T12" fmla="*/ 144 w 186"/>
                <a:gd name="T13" fmla="*/ 0 h 354"/>
                <a:gd name="T14" fmla="*/ 138 w 186"/>
                <a:gd name="T15" fmla="*/ 2 h 354"/>
                <a:gd name="T16" fmla="*/ 138 w 186"/>
                <a:gd name="T17" fmla="*/ 2 h 354"/>
                <a:gd name="T18" fmla="*/ 128 w 186"/>
                <a:gd name="T19" fmla="*/ 8 h 354"/>
                <a:gd name="T20" fmla="*/ 122 w 186"/>
                <a:gd name="T21" fmla="*/ 16 h 354"/>
                <a:gd name="T22" fmla="*/ 120 w 186"/>
                <a:gd name="T23" fmla="*/ 26 h 354"/>
                <a:gd name="T24" fmla="*/ 120 w 186"/>
                <a:gd name="T25" fmla="*/ 38 h 354"/>
                <a:gd name="T26" fmla="*/ 120 w 186"/>
                <a:gd name="T27" fmla="*/ 38 h 354"/>
                <a:gd name="T28" fmla="*/ 124 w 186"/>
                <a:gd name="T29" fmla="*/ 54 h 354"/>
                <a:gd name="T30" fmla="*/ 126 w 186"/>
                <a:gd name="T31" fmla="*/ 70 h 354"/>
                <a:gd name="T32" fmla="*/ 126 w 186"/>
                <a:gd name="T33" fmla="*/ 88 h 354"/>
                <a:gd name="T34" fmla="*/ 126 w 186"/>
                <a:gd name="T35" fmla="*/ 108 h 354"/>
                <a:gd name="T36" fmla="*/ 124 w 186"/>
                <a:gd name="T37" fmla="*/ 128 h 354"/>
                <a:gd name="T38" fmla="*/ 120 w 186"/>
                <a:gd name="T39" fmla="*/ 148 h 354"/>
                <a:gd name="T40" fmla="*/ 114 w 186"/>
                <a:gd name="T41" fmla="*/ 168 h 354"/>
                <a:gd name="T42" fmla="*/ 108 w 186"/>
                <a:gd name="T43" fmla="*/ 188 h 354"/>
                <a:gd name="T44" fmla="*/ 100 w 186"/>
                <a:gd name="T45" fmla="*/ 206 h 354"/>
                <a:gd name="T46" fmla="*/ 92 w 186"/>
                <a:gd name="T47" fmla="*/ 224 h 354"/>
                <a:gd name="T48" fmla="*/ 82 w 186"/>
                <a:gd name="T49" fmla="*/ 242 h 354"/>
                <a:gd name="T50" fmla="*/ 72 w 186"/>
                <a:gd name="T51" fmla="*/ 256 h 354"/>
                <a:gd name="T52" fmla="*/ 60 w 186"/>
                <a:gd name="T53" fmla="*/ 270 h 354"/>
                <a:gd name="T54" fmla="*/ 48 w 186"/>
                <a:gd name="T55" fmla="*/ 282 h 354"/>
                <a:gd name="T56" fmla="*/ 34 w 186"/>
                <a:gd name="T57" fmla="*/ 290 h 354"/>
                <a:gd name="T58" fmla="*/ 20 w 186"/>
                <a:gd name="T59" fmla="*/ 296 h 354"/>
                <a:gd name="T60" fmla="*/ 20 w 186"/>
                <a:gd name="T61" fmla="*/ 296 h 354"/>
                <a:gd name="T62" fmla="*/ 14 w 186"/>
                <a:gd name="T63" fmla="*/ 298 h 354"/>
                <a:gd name="T64" fmla="*/ 10 w 186"/>
                <a:gd name="T65" fmla="*/ 302 h 354"/>
                <a:gd name="T66" fmla="*/ 2 w 186"/>
                <a:gd name="T67" fmla="*/ 312 h 354"/>
                <a:gd name="T68" fmla="*/ 0 w 186"/>
                <a:gd name="T69" fmla="*/ 322 h 354"/>
                <a:gd name="T70" fmla="*/ 0 w 186"/>
                <a:gd name="T71" fmla="*/ 328 h 354"/>
                <a:gd name="T72" fmla="*/ 0 w 186"/>
                <a:gd name="T73" fmla="*/ 334 h 354"/>
                <a:gd name="T74" fmla="*/ 0 w 186"/>
                <a:gd name="T75" fmla="*/ 334 h 354"/>
                <a:gd name="T76" fmla="*/ 4 w 186"/>
                <a:gd name="T77" fmla="*/ 340 h 354"/>
                <a:gd name="T78" fmla="*/ 6 w 186"/>
                <a:gd name="T79" fmla="*/ 344 h 354"/>
                <a:gd name="T80" fmla="*/ 16 w 186"/>
                <a:gd name="T81" fmla="*/ 352 h 354"/>
                <a:gd name="T82" fmla="*/ 26 w 186"/>
                <a:gd name="T83" fmla="*/ 354 h 354"/>
                <a:gd name="T84" fmla="*/ 32 w 186"/>
                <a:gd name="T85" fmla="*/ 354 h 354"/>
                <a:gd name="T86" fmla="*/ 38 w 186"/>
                <a:gd name="T87" fmla="*/ 354 h 354"/>
                <a:gd name="T88" fmla="*/ 38 w 186"/>
                <a:gd name="T89" fmla="*/ 354 h 354"/>
                <a:gd name="T90" fmla="*/ 38 w 186"/>
                <a:gd name="T91" fmla="*/ 352 h 354"/>
                <a:gd name="T92" fmla="*/ 38 w 186"/>
                <a:gd name="T93" fmla="*/ 352 h 354"/>
                <a:gd name="T94" fmla="*/ 60 w 186"/>
                <a:gd name="T95" fmla="*/ 344 h 354"/>
                <a:gd name="T96" fmla="*/ 78 w 186"/>
                <a:gd name="T97" fmla="*/ 332 h 354"/>
                <a:gd name="T98" fmla="*/ 96 w 186"/>
                <a:gd name="T99" fmla="*/ 318 h 354"/>
                <a:gd name="T100" fmla="*/ 112 w 186"/>
                <a:gd name="T101" fmla="*/ 300 h 354"/>
                <a:gd name="T102" fmla="*/ 128 w 186"/>
                <a:gd name="T103" fmla="*/ 280 h 354"/>
                <a:gd name="T104" fmla="*/ 140 w 186"/>
                <a:gd name="T105" fmla="*/ 258 h 354"/>
                <a:gd name="T106" fmla="*/ 152 w 186"/>
                <a:gd name="T107" fmla="*/ 234 h 354"/>
                <a:gd name="T108" fmla="*/ 162 w 186"/>
                <a:gd name="T109" fmla="*/ 210 h 354"/>
                <a:gd name="T110" fmla="*/ 170 w 186"/>
                <a:gd name="T111" fmla="*/ 184 h 354"/>
                <a:gd name="T112" fmla="*/ 176 w 186"/>
                <a:gd name="T113" fmla="*/ 158 h 354"/>
                <a:gd name="T114" fmla="*/ 182 w 186"/>
                <a:gd name="T115" fmla="*/ 134 h 354"/>
                <a:gd name="T116" fmla="*/ 184 w 186"/>
                <a:gd name="T117" fmla="*/ 108 h 354"/>
                <a:gd name="T118" fmla="*/ 186 w 186"/>
                <a:gd name="T119" fmla="*/ 84 h 354"/>
                <a:gd name="T120" fmla="*/ 184 w 186"/>
                <a:gd name="T121" fmla="*/ 60 h 354"/>
                <a:gd name="T122" fmla="*/ 182 w 186"/>
                <a:gd name="T123" fmla="*/ 40 h 354"/>
                <a:gd name="T124" fmla="*/ 176 w 186"/>
                <a:gd name="T125" fmla="*/ 2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6" h="354">
                  <a:moveTo>
                    <a:pt x="176" y="20"/>
                  </a:moveTo>
                  <a:lnTo>
                    <a:pt x="176" y="20"/>
                  </a:lnTo>
                  <a:lnTo>
                    <a:pt x="174" y="14"/>
                  </a:lnTo>
                  <a:lnTo>
                    <a:pt x="170" y="10"/>
                  </a:lnTo>
                  <a:lnTo>
                    <a:pt x="162" y="2"/>
                  </a:lnTo>
                  <a:lnTo>
                    <a:pt x="150" y="0"/>
                  </a:lnTo>
                  <a:lnTo>
                    <a:pt x="144" y="0"/>
                  </a:lnTo>
                  <a:lnTo>
                    <a:pt x="138" y="2"/>
                  </a:lnTo>
                  <a:lnTo>
                    <a:pt x="138" y="2"/>
                  </a:lnTo>
                  <a:lnTo>
                    <a:pt x="128" y="8"/>
                  </a:lnTo>
                  <a:lnTo>
                    <a:pt x="122" y="16"/>
                  </a:lnTo>
                  <a:lnTo>
                    <a:pt x="120" y="26"/>
                  </a:lnTo>
                  <a:lnTo>
                    <a:pt x="120" y="38"/>
                  </a:lnTo>
                  <a:lnTo>
                    <a:pt x="120" y="38"/>
                  </a:lnTo>
                  <a:lnTo>
                    <a:pt x="124" y="54"/>
                  </a:lnTo>
                  <a:lnTo>
                    <a:pt x="126" y="70"/>
                  </a:lnTo>
                  <a:lnTo>
                    <a:pt x="126" y="88"/>
                  </a:lnTo>
                  <a:lnTo>
                    <a:pt x="126" y="108"/>
                  </a:lnTo>
                  <a:lnTo>
                    <a:pt x="124" y="128"/>
                  </a:lnTo>
                  <a:lnTo>
                    <a:pt x="120" y="148"/>
                  </a:lnTo>
                  <a:lnTo>
                    <a:pt x="114" y="168"/>
                  </a:lnTo>
                  <a:lnTo>
                    <a:pt x="108" y="188"/>
                  </a:lnTo>
                  <a:lnTo>
                    <a:pt x="100" y="206"/>
                  </a:lnTo>
                  <a:lnTo>
                    <a:pt x="92" y="224"/>
                  </a:lnTo>
                  <a:lnTo>
                    <a:pt x="82" y="242"/>
                  </a:lnTo>
                  <a:lnTo>
                    <a:pt x="72" y="256"/>
                  </a:lnTo>
                  <a:lnTo>
                    <a:pt x="60" y="270"/>
                  </a:lnTo>
                  <a:lnTo>
                    <a:pt x="48" y="282"/>
                  </a:lnTo>
                  <a:lnTo>
                    <a:pt x="34" y="290"/>
                  </a:lnTo>
                  <a:lnTo>
                    <a:pt x="20" y="296"/>
                  </a:lnTo>
                  <a:lnTo>
                    <a:pt x="20" y="296"/>
                  </a:lnTo>
                  <a:lnTo>
                    <a:pt x="14" y="298"/>
                  </a:lnTo>
                  <a:lnTo>
                    <a:pt x="10" y="302"/>
                  </a:lnTo>
                  <a:lnTo>
                    <a:pt x="2" y="312"/>
                  </a:lnTo>
                  <a:lnTo>
                    <a:pt x="0" y="322"/>
                  </a:lnTo>
                  <a:lnTo>
                    <a:pt x="0" y="328"/>
                  </a:lnTo>
                  <a:lnTo>
                    <a:pt x="0" y="334"/>
                  </a:lnTo>
                  <a:lnTo>
                    <a:pt x="0" y="334"/>
                  </a:lnTo>
                  <a:lnTo>
                    <a:pt x="4" y="340"/>
                  </a:lnTo>
                  <a:lnTo>
                    <a:pt x="6" y="344"/>
                  </a:lnTo>
                  <a:lnTo>
                    <a:pt x="16" y="352"/>
                  </a:lnTo>
                  <a:lnTo>
                    <a:pt x="26" y="354"/>
                  </a:lnTo>
                  <a:lnTo>
                    <a:pt x="32" y="354"/>
                  </a:lnTo>
                  <a:lnTo>
                    <a:pt x="38" y="354"/>
                  </a:lnTo>
                  <a:lnTo>
                    <a:pt x="38" y="354"/>
                  </a:lnTo>
                  <a:lnTo>
                    <a:pt x="38" y="352"/>
                  </a:lnTo>
                  <a:lnTo>
                    <a:pt x="38" y="352"/>
                  </a:lnTo>
                  <a:lnTo>
                    <a:pt x="60" y="344"/>
                  </a:lnTo>
                  <a:lnTo>
                    <a:pt x="78" y="332"/>
                  </a:lnTo>
                  <a:lnTo>
                    <a:pt x="96" y="318"/>
                  </a:lnTo>
                  <a:lnTo>
                    <a:pt x="112" y="300"/>
                  </a:lnTo>
                  <a:lnTo>
                    <a:pt x="128" y="280"/>
                  </a:lnTo>
                  <a:lnTo>
                    <a:pt x="140" y="258"/>
                  </a:lnTo>
                  <a:lnTo>
                    <a:pt x="152" y="234"/>
                  </a:lnTo>
                  <a:lnTo>
                    <a:pt x="162" y="210"/>
                  </a:lnTo>
                  <a:lnTo>
                    <a:pt x="170" y="184"/>
                  </a:lnTo>
                  <a:lnTo>
                    <a:pt x="176" y="158"/>
                  </a:lnTo>
                  <a:lnTo>
                    <a:pt x="182" y="134"/>
                  </a:lnTo>
                  <a:lnTo>
                    <a:pt x="184" y="108"/>
                  </a:lnTo>
                  <a:lnTo>
                    <a:pt x="186" y="84"/>
                  </a:lnTo>
                  <a:lnTo>
                    <a:pt x="184" y="60"/>
                  </a:lnTo>
                  <a:lnTo>
                    <a:pt x="182" y="40"/>
                  </a:lnTo>
                  <a:lnTo>
                    <a:pt x="176" y="2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246">
              <a:extLst>
                <a:ext uri="{FF2B5EF4-FFF2-40B4-BE49-F238E27FC236}">
                  <a16:creationId xmlns:a16="http://schemas.microsoft.com/office/drawing/2014/main" id="{3FBB17D5-7742-4498-83DD-4B1D53ACBD09}"/>
                </a:ext>
              </a:extLst>
            </p:cNvPr>
            <p:cNvSpPr>
              <a:spLocks/>
            </p:cNvSpPr>
            <p:nvPr/>
          </p:nvSpPr>
          <p:spPr bwMode="auto">
            <a:xfrm>
              <a:off x="13952538" y="2533650"/>
              <a:ext cx="1695450" cy="847725"/>
            </a:xfrm>
            <a:custGeom>
              <a:avLst/>
              <a:gdLst>
                <a:gd name="T0" fmla="*/ 1048 w 1068"/>
                <a:gd name="T1" fmla="*/ 388 h 534"/>
                <a:gd name="T2" fmla="*/ 1020 w 1068"/>
                <a:gd name="T3" fmla="*/ 372 h 534"/>
                <a:gd name="T4" fmla="*/ 996 w 1068"/>
                <a:gd name="T5" fmla="*/ 346 h 534"/>
                <a:gd name="T6" fmla="*/ 948 w 1068"/>
                <a:gd name="T7" fmla="*/ 274 h 534"/>
                <a:gd name="T8" fmla="*/ 920 w 1068"/>
                <a:gd name="T9" fmla="*/ 228 h 534"/>
                <a:gd name="T10" fmla="*/ 868 w 1068"/>
                <a:gd name="T11" fmla="*/ 160 h 534"/>
                <a:gd name="T12" fmla="*/ 826 w 1068"/>
                <a:gd name="T13" fmla="*/ 114 h 534"/>
                <a:gd name="T14" fmla="*/ 776 w 1068"/>
                <a:gd name="T15" fmla="*/ 74 h 534"/>
                <a:gd name="T16" fmla="*/ 714 w 1068"/>
                <a:gd name="T17" fmla="*/ 40 h 534"/>
                <a:gd name="T18" fmla="*/ 640 w 1068"/>
                <a:gd name="T19" fmla="*/ 16 h 534"/>
                <a:gd name="T20" fmla="*/ 554 w 1068"/>
                <a:gd name="T21" fmla="*/ 2 h 534"/>
                <a:gd name="T22" fmla="*/ 504 w 1068"/>
                <a:gd name="T23" fmla="*/ 0 h 534"/>
                <a:gd name="T24" fmla="*/ 454 w 1068"/>
                <a:gd name="T25" fmla="*/ 4 h 534"/>
                <a:gd name="T26" fmla="*/ 404 w 1068"/>
                <a:gd name="T27" fmla="*/ 10 h 534"/>
                <a:gd name="T28" fmla="*/ 354 w 1068"/>
                <a:gd name="T29" fmla="*/ 24 h 534"/>
                <a:gd name="T30" fmla="*/ 308 w 1068"/>
                <a:gd name="T31" fmla="*/ 40 h 534"/>
                <a:gd name="T32" fmla="*/ 224 w 1068"/>
                <a:gd name="T33" fmla="*/ 86 h 534"/>
                <a:gd name="T34" fmla="*/ 148 w 1068"/>
                <a:gd name="T35" fmla="*/ 148 h 534"/>
                <a:gd name="T36" fmla="*/ 86 w 1068"/>
                <a:gd name="T37" fmla="*/ 222 h 534"/>
                <a:gd name="T38" fmla="*/ 40 w 1068"/>
                <a:gd name="T39" fmla="*/ 308 h 534"/>
                <a:gd name="T40" fmla="*/ 24 w 1068"/>
                <a:gd name="T41" fmla="*/ 354 h 534"/>
                <a:gd name="T42" fmla="*/ 12 w 1068"/>
                <a:gd name="T43" fmla="*/ 402 h 534"/>
                <a:gd name="T44" fmla="*/ 4 w 1068"/>
                <a:gd name="T45" fmla="*/ 452 h 534"/>
                <a:gd name="T46" fmla="*/ 0 w 1068"/>
                <a:gd name="T47" fmla="*/ 504 h 534"/>
                <a:gd name="T48" fmla="*/ 2 w 1068"/>
                <a:gd name="T49" fmla="*/ 510 h 534"/>
                <a:gd name="T50" fmla="*/ 10 w 1068"/>
                <a:gd name="T51" fmla="*/ 526 h 534"/>
                <a:gd name="T52" fmla="*/ 24 w 1068"/>
                <a:gd name="T53" fmla="*/ 534 h 534"/>
                <a:gd name="T54" fmla="*/ 30 w 1068"/>
                <a:gd name="T55" fmla="*/ 534 h 534"/>
                <a:gd name="T56" fmla="*/ 42 w 1068"/>
                <a:gd name="T57" fmla="*/ 532 h 534"/>
                <a:gd name="T58" fmla="*/ 58 w 1068"/>
                <a:gd name="T59" fmla="*/ 516 h 534"/>
                <a:gd name="T60" fmla="*/ 60 w 1068"/>
                <a:gd name="T61" fmla="*/ 504 h 534"/>
                <a:gd name="T62" fmla="*/ 62 w 1068"/>
                <a:gd name="T63" fmla="*/ 458 h 534"/>
                <a:gd name="T64" fmla="*/ 80 w 1068"/>
                <a:gd name="T65" fmla="*/ 372 h 534"/>
                <a:gd name="T66" fmla="*/ 114 w 1068"/>
                <a:gd name="T67" fmla="*/ 292 h 534"/>
                <a:gd name="T68" fmla="*/ 162 w 1068"/>
                <a:gd name="T69" fmla="*/ 222 h 534"/>
                <a:gd name="T70" fmla="*/ 222 w 1068"/>
                <a:gd name="T71" fmla="*/ 162 h 534"/>
                <a:gd name="T72" fmla="*/ 292 w 1068"/>
                <a:gd name="T73" fmla="*/ 114 h 534"/>
                <a:gd name="T74" fmla="*/ 372 w 1068"/>
                <a:gd name="T75" fmla="*/ 80 h 534"/>
                <a:gd name="T76" fmla="*/ 460 w 1068"/>
                <a:gd name="T77" fmla="*/ 62 h 534"/>
                <a:gd name="T78" fmla="*/ 504 w 1068"/>
                <a:gd name="T79" fmla="*/ 60 h 534"/>
                <a:gd name="T80" fmla="*/ 588 w 1068"/>
                <a:gd name="T81" fmla="*/ 66 h 534"/>
                <a:gd name="T82" fmla="*/ 658 w 1068"/>
                <a:gd name="T83" fmla="*/ 82 h 534"/>
                <a:gd name="T84" fmla="*/ 716 w 1068"/>
                <a:gd name="T85" fmla="*/ 108 h 534"/>
                <a:gd name="T86" fmla="*/ 766 w 1068"/>
                <a:gd name="T87" fmla="*/ 142 h 534"/>
                <a:gd name="T88" fmla="*/ 806 w 1068"/>
                <a:gd name="T89" fmla="*/ 180 h 534"/>
                <a:gd name="T90" fmla="*/ 842 w 1068"/>
                <a:gd name="T91" fmla="*/ 220 h 534"/>
                <a:gd name="T92" fmla="*/ 898 w 1068"/>
                <a:gd name="T93" fmla="*/ 304 h 534"/>
                <a:gd name="T94" fmla="*/ 926 w 1068"/>
                <a:gd name="T95" fmla="*/ 352 h 534"/>
                <a:gd name="T96" fmla="*/ 956 w 1068"/>
                <a:gd name="T97" fmla="*/ 392 h 534"/>
                <a:gd name="T98" fmla="*/ 990 w 1068"/>
                <a:gd name="T99" fmla="*/ 424 h 534"/>
                <a:gd name="T100" fmla="*/ 1030 w 1068"/>
                <a:gd name="T101" fmla="*/ 444 h 534"/>
                <a:gd name="T102" fmla="*/ 1034 w 1068"/>
                <a:gd name="T103" fmla="*/ 444 h 534"/>
                <a:gd name="T104" fmla="*/ 1052 w 1068"/>
                <a:gd name="T105" fmla="*/ 442 h 534"/>
                <a:gd name="T106" fmla="*/ 1064 w 1068"/>
                <a:gd name="T107" fmla="*/ 430 h 534"/>
                <a:gd name="T108" fmla="*/ 1066 w 1068"/>
                <a:gd name="T109" fmla="*/ 424 h 534"/>
                <a:gd name="T110" fmla="*/ 1068 w 1068"/>
                <a:gd name="T111" fmla="*/ 414 h 534"/>
                <a:gd name="T112" fmla="*/ 1058 w 1068"/>
                <a:gd name="T113" fmla="*/ 394 h 534"/>
                <a:gd name="T114" fmla="*/ 1048 w 1068"/>
                <a:gd name="T115" fmla="*/ 388 h 534"/>
                <a:gd name="T116" fmla="*/ 1048 w 1068"/>
                <a:gd name="T117" fmla="*/ 38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8" h="534">
                  <a:moveTo>
                    <a:pt x="1048" y="388"/>
                  </a:moveTo>
                  <a:lnTo>
                    <a:pt x="1048" y="388"/>
                  </a:lnTo>
                  <a:lnTo>
                    <a:pt x="1034" y="382"/>
                  </a:lnTo>
                  <a:lnTo>
                    <a:pt x="1020" y="372"/>
                  </a:lnTo>
                  <a:lnTo>
                    <a:pt x="1008" y="360"/>
                  </a:lnTo>
                  <a:lnTo>
                    <a:pt x="996" y="346"/>
                  </a:lnTo>
                  <a:lnTo>
                    <a:pt x="972" y="312"/>
                  </a:lnTo>
                  <a:lnTo>
                    <a:pt x="948" y="274"/>
                  </a:lnTo>
                  <a:lnTo>
                    <a:pt x="948" y="274"/>
                  </a:lnTo>
                  <a:lnTo>
                    <a:pt x="920" y="228"/>
                  </a:lnTo>
                  <a:lnTo>
                    <a:pt x="886" y="182"/>
                  </a:lnTo>
                  <a:lnTo>
                    <a:pt x="868" y="160"/>
                  </a:lnTo>
                  <a:lnTo>
                    <a:pt x="848" y="136"/>
                  </a:lnTo>
                  <a:lnTo>
                    <a:pt x="826" y="114"/>
                  </a:lnTo>
                  <a:lnTo>
                    <a:pt x="802" y="94"/>
                  </a:lnTo>
                  <a:lnTo>
                    <a:pt x="776" y="74"/>
                  </a:lnTo>
                  <a:lnTo>
                    <a:pt x="746" y="56"/>
                  </a:lnTo>
                  <a:lnTo>
                    <a:pt x="714" y="40"/>
                  </a:lnTo>
                  <a:lnTo>
                    <a:pt x="680" y="26"/>
                  </a:lnTo>
                  <a:lnTo>
                    <a:pt x="640" y="16"/>
                  </a:lnTo>
                  <a:lnTo>
                    <a:pt x="600" y="8"/>
                  </a:lnTo>
                  <a:lnTo>
                    <a:pt x="554" y="2"/>
                  </a:lnTo>
                  <a:lnTo>
                    <a:pt x="504" y="0"/>
                  </a:lnTo>
                  <a:lnTo>
                    <a:pt x="504" y="0"/>
                  </a:lnTo>
                  <a:lnTo>
                    <a:pt x="478" y="2"/>
                  </a:lnTo>
                  <a:lnTo>
                    <a:pt x="454" y="4"/>
                  </a:lnTo>
                  <a:lnTo>
                    <a:pt x="428" y="6"/>
                  </a:lnTo>
                  <a:lnTo>
                    <a:pt x="404" y="10"/>
                  </a:lnTo>
                  <a:lnTo>
                    <a:pt x="378" y="16"/>
                  </a:lnTo>
                  <a:lnTo>
                    <a:pt x="354" y="24"/>
                  </a:lnTo>
                  <a:lnTo>
                    <a:pt x="332" y="32"/>
                  </a:lnTo>
                  <a:lnTo>
                    <a:pt x="308" y="40"/>
                  </a:lnTo>
                  <a:lnTo>
                    <a:pt x="264" y="62"/>
                  </a:lnTo>
                  <a:lnTo>
                    <a:pt x="224" y="86"/>
                  </a:lnTo>
                  <a:lnTo>
                    <a:pt x="184" y="116"/>
                  </a:lnTo>
                  <a:lnTo>
                    <a:pt x="148" y="148"/>
                  </a:lnTo>
                  <a:lnTo>
                    <a:pt x="116" y="184"/>
                  </a:lnTo>
                  <a:lnTo>
                    <a:pt x="86" y="222"/>
                  </a:lnTo>
                  <a:lnTo>
                    <a:pt x="62" y="264"/>
                  </a:lnTo>
                  <a:lnTo>
                    <a:pt x="40" y="308"/>
                  </a:lnTo>
                  <a:lnTo>
                    <a:pt x="32" y="332"/>
                  </a:lnTo>
                  <a:lnTo>
                    <a:pt x="24" y="354"/>
                  </a:lnTo>
                  <a:lnTo>
                    <a:pt x="16" y="378"/>
                  </a:lnTo>
                  <a:lnTo>
                    <a:pt x="12" y="402"/>
                  </a:lnTo>
                  <a:lnTo>
                    <a:pt x="6" y="428"/>
                  </a:lnTo>
                  <a:lnTo>
                    <a:pt x="4" y="452"/>
                  </a:lnTo>
                  <a:lnTo>
                    <a:pt x="2" y="478"/>
                  </a:lnTo>
                  <a:lnTo>
                    <a:pt x="0" y="504"/>
                  </a:lnTo>
                  <a:lnTo>
                    <a:pt x="0" y="504"/>
                  </a:lnTo>
                  <a:lnTo>
                    <a:pt x="2" y="510"/>
                  </a:lnTo>
                  <a:lnTo>
                    <a:pt x="4" y="516"/>
                  </a:lnTo>
                  <a:lnTo>
                    <a:pt x="10" y="526"/>
                  </a:lnTo>
                  <a:lnTo>
                    <a:pt x="18" y="532"/>
                  </a:lnTo>
                  <a:lnTo>
                    <a:pt x="24" y="534"/>
                  </a:lnTo>
                  <a:lnTo>
                    <a:pt x="30" y="534"/>
                  </a:lnTo>
                  <a:lnTo>
                    <a:pt x="30" y="534"/>
                  </a:lnTo>
                  <a:lnTo>
                    <a:pt x="36" y="534"/>
                  </a:lnTo>
                  <a:lnTo>
                    <a:pt x="42" y="532"/>
                  </a:lnTo>
                  <a:lnTo>
                    <a:pt x="52" y="526"/>
                  </a:lnTo>
                  <a:lnTo>
                    <a:pt x="58" y="516"/>
                  </a:lnTo>
                  <a:lnTo>
                    <a:pt x="60" y="510"/>
                  </a:lnTo>
                  <a:lnTo>
                    <a:pt x="60" y="504"/>
                  </a:lnTo>
                  <a:lnTo>
                    <a:pt x="60" y="504"/>
                  </a:lnTo>
                  <a:lnTo>
                    <a:pt x="62" y="458"/>
                  </a:lnTo>
                  <a:lnTo>
                    <a:pt x="70" y="414"/>
                  </a:lnTo>
                  <a:lnTo>
                    <a:pt x="80" y="372"/>
                  </a:lnTo>
                  <a:lnTo>
                    <a:pt x="96" y="332"/>
                  </a:lnTo>
                  <a:lnTo>
                    <a:pt x="114" y="292"/>
                  </a:lnTo>
                  <a:lnTo>
                    <a:pt x="136" y="256"/>
                  </a:lnTo>
                  <a:lnTo>
                    <a:pt x="162" y="222"/>
                  </a:lnTo>
                  <a:lnTo>
                    <a:pt x="190" y="190"/>
                  </a:lnTo>
                  <a:lnTo>
                    <a:pt x="222" y="162"/>
                  </a:lnTo>
                  <a:lnTo>
                    <a:pt x="256" y="136"/>
                  </a:lnTo>
                  <a:lnTo>
                    <a:pt x="292" y="114"/>
                  </a:lnTo>
                  <a:lnTo>
                    <a:pt x="332" y="94"/>
                  </a:lnTo>
                  <a:lnTo>
                    <a:pt x="372" y="80"/>
                  </a:lnTo>
                  <a:lnTo>
                    <a:pt x="416" y="68"/>
                  </a:lnTo>
                  <a:lnTo>
                    <a:pt x="460" y="62"/>
                  </a:lnTo>
                  <a:lnTo>
                    <a:pt x="504" y="60"/>
                  </a:lnTo>
                  <a:lnTo>
                    <a:pt x="504" y="60"/>
                  </a:lnTo>
                  <a:lnTo>
                    <a:pt x="548" y="62"/>
                  </a:lnTo>
                  <a:lnTo>
                    <a:pt x="588" y="66"/>
                  </a:lnTo>
                  <a:lnTo>
                    <a:pt x="624" y="72"/>
                  </a:lnTo>
                  <a:lnTo>
                    <a:pt x="658" y="82"/>
                  </a:lnTo>
                  <a:lnTo>
                    <a:pt x="688" y="94"/>
                  </a:lnTo>
                  <a:lnTo>
                    <a:pt x="716" y="108"/>
                  </a:lnTo>
                  <a:lnTo>
                    <a:pt x="742" y="124"/>
                  </a:lnTo>
                  <a:lnTo>
                    <a:pt x="766" y="142"/>
                  </a:lnTo>
                  <a:lnTo>
                    <a:pt x="788" y="160"/>
                  </a:lnTo>
                  <a:lnTo>
                    <a:pt x="806" y="180"/>
                  </a:lnTo>
                  <a:lnTo>
                    <a:pt x="824" y="200"/>
                  </a:lnTo>
                  <a:lnTo>
                    <a:pt x="842" y="220"/>
                  </a:lnTo>
                  <a:lnTo>
                    <a:pt x="870" y="264"/>
                  </a:lnTo>
                  <a:lnTo>
                    <a:pt x="898" y="304"/>
                  </a:lnTo>
                  <a:lnTo>
                    <a:pt x="898" y="304"/>
                  </a:lnTo>
                  <a:lnTo>
                    <a:pt x="926" y="352"/>
                  </a:lnTo>
                  <a:lnTo>
                    <a:pt x="942" y="372"/>
                  </a:lnTo>
                  <a:lnTo>
                    <a:pt x="956" y="392"/>
                  </a:lnTo>
                  <a:lnTo>
                    <a:pt x="972" y="408"/>
                  </a:lnTo>
                  <a:lnTo>
                    <a:pt x="990" y="424"/>
                  </a:lnTo>
                  <a:lnTo>
                    <a:pt x="1008" y="434"/>
                  </a:lnTo>
                  <a:lnTo>
                    <a:pt x="1030" y="444"/>
                  </a:lnTo>
                  <a:lnTo>
                    <a:pt x="1030" y="444"/>
                  </a:lnTo>
                  <a:lnTo>
                    <a:pt x="1034" y="444"/>
                  </a:lnTo>
                  <a:lnTo>
                    <a:pt x="1040" y="446"/>
                  </a:lnTo>
                  <a:lnTo>
                    <a:pt x="1052" y="442"/>
                  </a:lnTo>
                  <a:lnTo>
                    <a:pt x="1060" y="436"/>
                  </a:lnTo>
                  <a:lnTo>
                    <a:pt x="1064" y="430"/>
                  </a:lnTo>
                  <a:lnTo>
                    <a:pt x="1066" y="424"/>
                  </a:lnTo>
                  <a:lnTo>
                    <a:pt x="1066" y="424"/>
                  </a:lnTo>
                  <a:lnTo>
                    <a:pt x="1068" y="420"/>
                  </a:lnTo>
                  <a:lnTo>
                    <a:pt x="1068" y="414"/>
                  </a:lnTo>
                  <a:lnTo>
                    <a:pt x="1066" y="402"/>
                  </a:lnTo>
                  <a:lnTo>
                    <a:pt x="1058" y="394"/>
                  </a:lnTo>
                  <a:lnTo>
                    <a:pt x="1054" y="390"/>
                  </a:lnTo>
                  <a:lnTo>
                    <a:pt x="1048" y="388"/>
                  </a:lnTo>
                  <a:lnTo>
                    <a:pt x="1048" y="388"/>
                  </a:lnTo>
                  <a:lnTo>
                    <a:pt x="1048" y="388"/>
                  </a:lnTo>
                  <a:lnTo>
                    <a:pt x="1048"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247">
              <a:extLst>
                <a:ext uri="{FF2B5EF4-FFF2-40B4-BE49-F238E27FC236}">
                  <a16:creationId xmlns:a16="http://schemas.microsoft.com/office/drawing/2014/main" id="{2E0289C6-01F6-45FA-99A7-98743C59FED2}"/>
                </a:ext>
              </a:extLst>
            </p:cNvPr>
            <p:cNvSpPr>
              <a:spLocks/>
            </p:cNvSpPr>
            <p:nvPr/>
          </p:nvSpPr>
          <p:spPr bwMode="auto">
            <a:xfrm>
              <a:off x="13952538" y="3476625"/>
              <a:ext cx="142875" cy="234950"/>
            </a:xfrm>
            <a:custGeom>
              <a:avLst/>
              <a:gdLst>
                <a:gd name="T0" fmla="*/ 60 w 90"/>
                <a:gd name="T1" fmla="*/ 148 h 148"/>
                <a:gd name="T2" fmla="*/ 60 w 90"/>
                <a:gd name="T3" fmla="*/ 148 h 148"/>
                <a:gd name="T4" fmla="*/ 66 w 90"/>
                <a:gd name="T5" fmla="*/ 146 h 148"/>
                <a:gd name="T6" fmla="*/ 72 w 90"/>
                <a:gd name="T7" fmla="*/ 146 h 148"/>
                <a:gd name="T8" fmla="*/ 82 w 90"/>
                <a:gd name="T9" fmla="*/ 138 h 148"/>
                <a:gd name="T10" fmla="*/ 88 w 90"/>
                <a:gd name="T11" fmla="*/ 130 h 148"/>
                <a:gd name="T12" fmla="*/ 90 w 90"/>
                <a:gd name="T13" fmla="*/ 124 h 148"/>
                <a:gd name="T14" fmla="*/ 90 w 90"/>
                <a:gd name="T15" fmla="*/ 118 h 148"/>
                <a:gd name="T16" fmla="*/ 90 w 90"/>
                <a:gd name="T17" fmla="*/ 118 h 148"/>
                <a:gd name="T18" fmla="*/ 88 w 90"/>
                <a:gd name="T19" fmla="*/ 110 h 148"/>
                <a:gd name="T20" fmla="*/ 86 w 90"/>
                <a:gd name="T21" fmla="*/ 104 h 148"/>
                <a:gd name="T22" fmla="*/ 86 w 90"/>
                <a:gd name="T23" fmla="*/ 104 h 148"/>
                <a:gd name="T24" fmla="*/ 78 w 90"/>
                <a:gd name="T25" fmla="*/ 86 h 148"/>
                <a:gd name="T26" fmla="*/ 70 w 90"/>
                <a:gd name="T27" fmla="*/ 68 h 148"/>
                <a:gd name="T28" fmla="*/ 64 w 90"/>
                <a:gd name="T29" fmla="*/ 48 h 148"/>
                <a:gd name="T30" fmla="*/ 60 w 90"/>
                <a:gd name="T31" fmla="*/ 28 h 148"/>
                <a:gd name="T32" fmla="*/ 60 w 90"/>
                <a:gd name="T33" fmla="*/ 28 h 148"/>
                <a:gd name="T34" fmla="*/ 60 w 90"/>
                <a:gd name="T35" fmla="*/ 22 h 148"/>
                <a:gd name="T36" fmla="*/ 58 w 90"/>
                <a:gd name="T37" fmla="*/ 18 h 148"/>
                <a:gd name="T38" fmla="*/ 52 w 90"/>
                <a:gd name="T39" fmla="*/ 8 h 148"/>
                <a:gd name="T40" fmla="*/ 42 w 90"/>
                <a:gd name="T41" fmla="*/ 2 h 148"/>
                <a:gd name="T42" fmla="*/ 36 w 90"/>
                <a:gd name="T43" fmla="*/ 0 h 148"/>
                <a:gd name="T44" fmla="*/ 30 w 90"/>
                <a:gd name="T45" fmla="*/ 0 h 148"/>
                <a:gd name="T46" fmla="*/ 30 w 90"/>
                <a:gd name="T47" fmla="*/ 0 h 148"/>
                <a:gd name="T48" fmla="*/ 24 w 90"/>
                <a:gd name="T49" fmla="*/ 0 h 148"/>
                <a:gd name="T50" fmla="*/ 18 w 90"/>
                <a:gd name="T51" fmla="*/ 2 h 148"/>
                <a:gd name="T52" fmla="*/ 10 w 90"/>
                <a:gd name="T53" fmla="*/ 8 h 148"/>
                <a:gd name="T54" fmla="*/ 4 w 90"/>
                <a:gd name="T55" fmla="*/ 18 h 148"/>
                <a:gd name="T56" fmla="*/ 2 w 90"/>
                <a:gd name="T57" fmla="*/ 22 h 148"/>
                <a:gd name="T58" fmla="*/ 0 w 90"/>
                <a:gd name="T59" fmla="*/ 28 h 148"/>
                <a:gd name="T60" fmla="*/ 0 w 90"/>
                <a:gd name="T61" fmla="*/ 28 h 148"/>
                <a:gd name="T62" fmla="*/ 6 w 90"/>
                <a:gd name="T63" fmla="*/ 56 h 148"/>
                <a:gd name="T64" fmla="*/ 12 w 90"/>
                <a:gd name="T65" fmla="*/ 82 h 148"/>
                <a:gd name="T66" fmla="*/ 22 w 90"/>
                <a:gd name="T67" fmla="*/ 106 h 148"/>
                <a:gd name="T68" fmla="*/ 34 w 90"/>
                <a:gd name="T69" fmla="*/ 130 h 148"/>
                <a:gd name="T70" fmla="*/ 34 w 90"/>
                <a:gd name="T71" fmla="*/ 130 h 148"/>
                <a:gd name="T72" fmla="*/ 38 w 90"/>
                <a:gd name="T73" fmla="*/ 138 h 148"/>
                <a:gd name="T74" fmla="*/ 44 w 90"/>
                <a:gd name="T75" fmla="*/ 142 h 148"/>
                <a:gd name="T76" fmla="*/ 52 w 90"/>
                <a:gd name="T77" fmla="*/ 146 h 148"/>
                <a:gd name="T78" fmla="*/ 60 w 90"/>
                <a:gd name="T7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 h="148">
                  <a:moveTo>
                    <a:pt x="60" y="148"/>
                  </a:moveTo>
                  <a:lnTo>
                    <a:pt x="60" y="148"/>
                  </a:lnTo>
                  <a:lnTo>
                    <a:pt x="66" y="146"/>
                  </a:lnTo>
                  <a:lnTo>
                    <a:pt x="72" y="146"/>
                  </a:lnTo>
                  <a:lnTo>
                    <a:pt x="82" y="138"/>
                  </a:lnTo>
                  <a:lnTo>
                    <a:pt x="88" y="130"/>
                  </a:lnTo>
                  <a:lnTo>
                    <a:pt x="90" y="124"/>
                  </a:lnTo>
                  <a:lnTo>
                    <a:pt x="90" y="118"/>
                  </a:lnTo>
                  <a:lnTo>
                    <a:pt x="90" y="118"/>
                  </a:lnTo>
                  <a:lnTo>
                    <a:pt x="88" y="110"/>
                  </a:lnTo>
                  <a:lnTo>
                    <a:pt x="86" y="104"/>
                  </a:lnTo>
                  <a:lnTo>
                    <a:pt x="86" y="104"/>
                  </a:lnTo>
                  <a:lnTo>
                    <a:pt x="78" y="86"/>
                  </a:lnTo>
                  <a:lnTo>
                    <a:pt x="70" y="68"/>
                  </a:lnTo>
                  <a:lnTo>
                    <a:pt x="64" y="48"/>
                  </a:lnTo>
                  <a:lnTo>
                    <a:pt x="60" y="28"/>
                  </a:lnTo>
                  <a:lnTo>
                    <a:pt x="60" y="28"/>
                  </a:lnTo>
                  <a:lnTo>
                    <a:pt x="60" y="22"/>
                  </a:lnTo>
                  <a:lnTo>
                    <a:pt x="58" y="18"/>
                  </a:lnTo>
                  <a:lnTo>
                    <a:pt x="52" y="8"/>
                  </a:lnTo>
                  <a:lnTo>
                    <a:pt x="42" y="2"/>
                  </a:lnTo>
                  <a:lnTo>
                    <a:pt x="36" y="0"/>
                  </a:lnTo>
                  <a:lnTo>
                    <a:pt x="30" y="0"/>
                  </a:lnTo>
                  <a:lnTo>
                    <a:pt x="30" y="0"/>
                  </a:lnTo>
                  <a:lnTo>
                    <a:pt x="24" y="0"/>
                  </a:lnTo>
                  <a:lnTo>
                    <a:pt x="18" y="2"/>
                  </a:lnTo>
                  <a:lnTo>
                    <a:pt x="10" y="8"/>
                  </a:lnTo>
                  <a:lnTo>
                    <a:pt x="4" y="18"/>
                  </a:lnTo>
                  <a:lnTo>
                    <a:pt x="2" y="22"/>
                  </a:lnTo>
                  <a:lnTo>
                    <a:pt x="0" y="28"/>
                  </a:lnTo>
                  <a:lnTo>
                    <a:pt x="0" y="28"/>
                  </a:lnTo>
                  <a:lnTo>
                    <a:pt x="6" y="56"/>
                  </a:lnTo>
                  <a:lnTo>
                    <a:pt x="12" y="82"/>
                  </a:lnTo>
                  <a:lnTo>
                    <a:pt x="22" y="106"/>
                  </a:lnTo>
                  <a:lnTo>
                    <a:pt x="34" y="130"/>
                  </a:lnTo>
                  <a:lnTo>
                    <a:pt x="34" y="130"/>
                  </a:lnTo>
                  <a:lnTo>
                    <a:pt x="38" y="138"/>
                  </a:lnTo>
                  <a:lnTo>
                    <a:pt x="44" y="142"/>
                  </a:lnTo>
                  <a:lnTo>
                    <a:pt x="52" y="146"/>
                  </a:lnTo>
                  <a:lnTo>
                    <a:pt x="60"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248">
              <a:extLst>
                <a:ext uri="{FF2B5EF4-FFF2-40B4-BE49-F238E27FC236}">
                  <a16:creationId xmlns:a16="http://schemas.microsoft.com/office/drawing/2014/main" id="{5B7976EB-13F5-487B-97DA-B63D080CD8E7}"/>
                </a:ext>
              </a:extLst>
            </p:cNvPr>
            <p:cNvSpPr>
              <a:spLocks/>
            </p:cNvSpPr>
            <p:nvPr/>
          </p:nvSpPr>
          <p:spPr bwMode="auto">
            <a:xfrm>
              <a:off x="13952538" y="3476625"/>
              <a:ext cx="142875" cy="234950"/>
            </a:xfrm>
            <a:custGeom>
              <a:avLst/>
              <a:gdLst>
                <a:gd name="T0" fmla="*/ 60 w 90"/>
                <a:gd name="T1" fmla="*/ 148 h 148"/>
                <a:gd name="T2" fmla="*/ 60 w 90"/>
                <a:gd name="T3" fmla="*/ 148 h 148"/>
                <a:gd name="T4" fmla="*/ 66 w 90"/>
                <a:gd name="T5" fmla="*/ 146 h 148"/>
                <a:gd name="T6" fmla="*/ 72 w 90"/>
                <a:gd name="T7" fmla="*/ 146 h 148"/>
                <a:gd name="T8" fmla="*/ 82 w 90"/>
                <a:gd name="T9" fmla="*/ 138 h 148"/>
                <a:gd name="T10" fmla="*/ 88 w 90"/>
                <a:gd name="T11" fmla="*/ 130 h 148"/>
                <a:gd name="T12" fmla="*/ 90 w 90"/>
                <a:gd name="T13" fmla="*/ 124 h 148"/>
                <a:gd name="T14" fmla="*/ 90 w 90"/>
                <a:gd name="T15" fmla="*/ 118 h 148"/>
                <a:gd name="T16" fmla="*/ 90 w 90"/>
                <a:gd name="T17" fmla="*/ 118 h 148"/>
                <a:gd name="T18" fmla="*/ 88 w 90"/>
                <a:gd name="T19" fmla="*/ 110 h 148"/>
                <a:gd name="T20" fmla="*/ 86 w 90"/>
                <a:gd name="T21" fmla="*/ 104 h 148"/>
                <a:gd name="T22" fmla="*/ 86 w 90"/>
                <a:gd name="T23" fmla="*/ 104 h 148"/>
                <a:gd name="T24" fmla="*/ 78 w 90"/>
                <a:gd name="T25" fmla="*/ 86 h 148"/>
                <a:gd name="T26" fmla="*/ 70 w 90"/>
                <a:gd name="T27" fmla="*/ 68 h 148"/>
                <a:gd name="T28" fmla="*/ 64 w 90"/>
                <a:gd name="T29" fmla="*/ 48 h 148"/>
                <a:gd name="T30" fmla="*/ 60 w 90"/>
                <a:gd name="T31" fmla="*/ 28 h 148"/>
                <a:gd name="T32" fmla="*/ 60 w 90"/>
                <a:gd name="T33" fmla="*/ 28 h 148"/>
                <a:gd name="T34" fmla="*/ 60 w 90"/>
                <a:gd name="T35" fmla="*/ 22 h 148"/>
                <a:gd name="T36" fmla="*/ 58 w 90"/>
                <a:gd name="T37" fmla="*/ 18 h 148"/>
                <a:gd name="T38" fmla="*/ 52 w 90"/>
                <a:gd name="T39" fmla="*/ 8 h 148"/>
                <a:gd name="T40" fmla="*/ 42 w 90"/>
                <a:gd name="T41" fmla="*/ 2 h 148"/>
                <a:gd name="T42" fmla="*/ 36 w 90"/>
                <a:gd name="T43" fmla="*/ 0 h 148"/>
                <a:gd name="T44" fmla="*/ 30 w 90"/>
                <a:gd name="T45" fmla="*/ 0 h 148"/>
                <a:gd name="T46" fmla="*/ 30 w 90"/>
                <a:gd name="T47" fmla="*/ 0 h 148"/>
                <a:gd name="T48" fmla="*/ 24 w 90"/>
                <a:gd name="T49" fmla="*/ 0 h 148"/>
                <a:gd name="T50" fmla="*/ 18 w 90"/>
                <a:gd name="T51" fmla="*/ 2 h 148"/>
                <a:gd name="T52" fmla="*/ 10 w 90"/>
                <a:gd name="T53" fmla="*/ 8 h 148"/>
                <a:gd name="T54" fmla="*/ 4 w 90"/>
                <a:gd name="T55" fmla="*/ 18 h 148"/>
                <a:gd name="T56" fmla="*/ 2 w 90"/>
                <a:gd name="T57" fmla="*/ 22 h 148"/>
                <a:gd name="T58" fmla="*/ 0 w 90"/>
                <a:gd name="T59" fmla="*/ 28 h 148"/>
                <a:gd name="T60" fmla="*/ 0 w 90"/>
                <a:gd name="T61" fmla="*/ 28 h 148"/>
                <a:gd name="T62" fmla="*/ 6 w 90"/>
                <a:gd name="T63" fmla="*/ 56 h 148"/>
                <a:gd name="T64" fmla="*/ 12 w 90"/>
                <a:gd name="T65" fmla="*/ 82 h 148"/>
                <a:gd name="T66" fmla="*/ 22 w 90"/>
                <a:gd name="T67" fmla="*/ 106 h 148"/>
                <a:gd name="T68" fmla="*/ 34 w 90"/>
                <a:gd name="T69" fmla="*/ 130 h 148"/>
                <a:gd name="T70" fmla="*/ 34 w 90"/>
                <a:gd name="T71" fmla="*/ 130 h 148"/>
                <a:gd name="T72" fmla="*/ 38 w 90"/>
                <a:gd name="T73" fmla="*/ 138 h 148"/>
                <a:gd name="T74" fmla="*/ 44 w 90"/>
                <a:gd name="T75" fmla="*/ 142 h 148"/>
                <a:gd name="T76" fmla="*/ 52 w 90"/>
                <a:gd name="T77" fmla="*/ 146 h 148"/>
                <a:gd name="T78" fmla="*/ 60 w 90"/>
                <a:gd name="T7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 h="148">
                  <a:moveTo>
                    <a:pt x="60" y="148"/>
                  </a:moveTo>
                  <a:lnTo>
                    <a:pt x="60" y="148"/>
                  </a:lnTo>
                  <a:lnTo>
                    <a:pt x="66" y="146"/>
                  </a:lnTo>
                  <a:lnTo>
                    <a:pt x="72" y="146"/>
                  </a:lnTo>
                  <a:lnTo>
                    <a:pt x="82" y="138"/>
                  </a:lnTo>
                  <a:lnTo>
                    <a:pt x="88" y="130"/>
                  </a:lnTo>
                  <a:lnTo>
                    <a:pt x="90" y="124"/>
                  </a:lnTo>
                  <a:lnTo>
                    <a:pt x="90" y="118"/>
                  </a:lnTo>
                  <a:lnTo>
                    <a:pt x="90" y="118"/>
                  </a:lnTo>
                  <a:lnTo>
                    <a:pt x="88" y="110"/>
                  </a:lnTo>
                  <a:lnTo>
                    <a:pt x="86" y="104"/>
                  </a:lnTo>
                  <a:lnTo>
                    <a:pt x="86" y="104"/>
                  </a:lnTo>
                  <a:lnTo>
                    <a:pt x="78" y="86"/>
                  </a:lnTo>
                  <a:lnTo>
                    <a:pt x="70" y="68"/>
                  </a:lnTo>
                  <a:lnTo>
                    <a:pt x="64" y="48"/>
                  </a:lnTo>
                  <a:lnTo>
                    <a:pt x="60" y="28"/>
                  </a:lnTo>
                  <a:lnTo>
                    <a:pt x="60" y="28"/>
                  </a:lnTo>
                  <a:lnTo>
                    <a:pt x="60" y="22"/>
                  </a:lnTo>
                  <a:lnTo>
                    <a:pt x="58" y="18"/>
                  </a:lnTo>
                  <a:lnTo>
                    <a:pt x="52" y="8"/>
                  </a:lnTo>
                  <a:lnTo>
                    <a:pt x="42" y="2"/>
                  </a:lnTo>
                  <a:lnTo>
                    <a:pt x="36" y="0"/>
                  </a:lnTo>
                  <a:lnTo>
                    <a:pt x="30" y="0"/>
                  </a:lnTo>
                  <a:lnTo>
                    <a:pt x="30" y="0"/>
                  </a:lnTo>
                  <a:lnTo>
                    <a:pt x="24" y="0"/>
                  </a:lnTo>
                  <a:lnTo>
                    <a:pt x="18" y="2"/>
                  </a:lnTo>
                  <a:lnTo>
                    <a:pt x="10" y="8"/>
                  </a:lnTo>
                  <a:lnTo>
                    <a:pt x="4" y="18"/>
                  </a:lnTo>
                  <a:lnTo>
                    <a:pt x="2" y="22"/>
                  </a:lnTo>
                  <a:lnTo>
                    <a:pt x="0" y="28"/>
                  </a:lnTo>
                  <a:lnTo>
                    <a:pt x="0" y="28"/>
                  </a:lnTo>
                  <a:lnTo>
                    <a:pt x="6" y="56"/>
                  </a:lnTo>
                  <a:lnTo>
                    <a:pt x="12" y="82"/>
                  </a:lnTo>
                  <a:lnTo>
                    <a:pt x="22" y="106"/>
                  </a:lnTo>
                  <a:lnTo>
                    <a:pt x="34" y="130"/>
                  </a:lnTo>
                  <a:lnTo>
                    <a:pt x="34" y="130"/>
                  </a:lnTo>
                  <a:lnTo>
                    <a:pt x="38" y="138"/>
                  </a:lnTo>
                  <a:lnTo>
                    <a:pt x="44" y="142"/>
                  </a:lnTo>
                  <a:lnTo>
                    <a:pt x="52" y="146"/>
                  </a:lnTo>
                  <a:lnTo>
                    <a:pt x="60" y="14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249">
              <a:extLst>
                <a:ext uri="{FF2B5EF4-FFF2-40B4-BE49-F238E27FC236}">
                  <a16:creationId xmlns:a16="http://schemas.microsoft.com/office/drawing/2014/main" id="{46278276-41CF-4F9E-A2F1-995FD7ED8449}"/>
                </a:ext>
              </a:extLst>
            </p:cNvPr>
            <p:cNvSpPr>
              <a:spLocks/>
            </p:cNvSpPr>
            <p:nvPr/>
          </p:nvSpPr>
          <p:spPr bwMode="auto">
            <a:xfrm>
              <a:off x="14000163" y="2346325"/>
              <a:ext cx="1457325" cy="374650"/>
            </a:xfrm>
            <a:custGeom>
              <a:avLst/>
              <a:gdLst>
                <a:gd name="T0" fmla="*/ 14 w 918"/>
                <a:gd name="T1" fmla="*/ 232 h 236"/>
                <a:gd name="T2" fmla="*/ 26 w 918"/>
                <a:gd name="T3" fmla="*/ 236 h 236"/>
                <a:gd name="T4" fmla="*/ 48 w 918"/>
                <a:gd name="T5" fmla="*/ 232 h 236"/>
                <a:gd name="T6" fmla="*/ 56 w 918"/>
                <a:gd name="T7" fmla="*/ 222 h 236"/>
                <a:gd name="T8" fmla="*/ 56 w 918"/>
                <a:gd name="T9" fmla="*/ 222 h 236"/>
                <a:gd name="T10" fmla="*/ 70 w 918"/>
                <a:gd name="T11" fmla="*/ 204 h 236"/>
                <a:gd name="T12" fmla="*/ 110 w 918"/>
                <a:gd name="T13" fmla="*/ 166 h 236"/>
                <a:gd name="T14" fmla="*/ 148 w 918"/>
                <a:gd name="T15" fmla="*/ 138 h 236"/>
                <a:gd name="T16" fmla="*/ 196 w 918"/>
                <a:gd name="T17" fmla="*/ 112 h 236"/>
                <a:gd name="T18" fmla="*/ 254 w 918"/>
                <a:gd name="T19" fmla="*/ 88 h 236"/>
                <a:gd name="T20" fmla="*/ 324 w 918"/>
                <a:gd name="T21" fmla="*/ 70 h 236"/>
                <a:gd name="T22" fmla="*/ 402 w 918"/>
                <a:gd name="T23" fmla="*/ 60 h 236"/>
                <a:gd name="T24" fmla="*/ 446 w 918"/>
                <a:gd name="T25" fmla="*/ 60 h 236"/>
                <a:gd name="T26" fmla="*/ 528 w 918"/>
                <a:gd name="T27" fmla="*/ 64 h 236"/>
                <a:gd name="T28" fmla="*/ 602 w 918"/>
                <a:gd name="T29" fmla="*/ 78 h 236"/>
                <a:gd name="T30" fmla="*/ 670 w 918"/>
                <a:gd name="T31" fmla="*/ 98 h 236"/>
                <a:gd name="T32" fmla="*/ 730 w 918"/>
                <a:gd name="T33" fmla="*/ 122 h 236"/>
                <a:gd name="T34" fmla="*/ 778 w 918"/>
                <a:gd name="T35" fmla="*/ 150 h 236"/>
                <a:gd name="T36" fmla="*/ 818 w 918"/>
                <a:gd name="T37" fmla="*/ 176 h 236"/>
                <a:gd name="T38" fmla="*/ 848 w 918"/>
                <a:gd name="T39" fmla="*/ 202 h 236"/>
                <a:gd name="T40" fmla="*/ 864 w 918"/>
                <a:gd name="T41" fmla="*/ 222 h 236"/>
                <a:gd name="T42" fmla="*/ 868 w 918"/>
                <a:gd name="T43" fmla="*/ 228 h 236"/>
                <a:gd name="T44" fmla="*/ 882 w 918"/>
                <a:gd name="T45" fmla="*/ 236 h 236"/>
                <a:gd name="T46" fmla="*/ 900 w 918"/>
                <a:gd name="T47" fmla="*/ 236 h 236"/>
                <a:gd name="T48" fmla="*/ 904 w 918"/>
                <a:gd name="T49" fmla="*/ 232 h 236"/>
                <a:gd name="T50" fmla="*/ 914 w 918"/>
                <a:gd name="T51" fmla="*/ 224 h 236"/>
                <a:gd name="T52" fmla="*/ 918 w 918"/>
                <a:gd name="T53" fmla="*/ 202 h 236"/>
                <a:gd name="T54" fmla="*/ 914 w 918"/>
                <a:gd name="T55" fmla="*/ 192 h 236"/>
                <a:gd name="T56" fmla="*/ 906 w 918"/>
                <a:gd name="T57" fmla="*/ 178 h 236"/>
                <a:gd name="T58" fmla="*/ 878 w 918"/>
                <a:gd name="T59" fmla="*/ 150 h 236"/>
                <a:gd name="T60" fmla="*/ 838 w 918"/>
                <a:gd name="T61" fmla="*/ 118 h 236"/>
                <a:gd name="T62" fmla="*/ 788 w 918"/>
                <a:gd name="T63" fmla="*/ 86 h 236"/>
                <a:gd name="T64" fmla="*/ 726 w 918"/>
                <a:gd name="T65" fmla="*/ 56 h 236"/>
                <a:gd name="T66" fmla="*/ 656 w 918"/>
                <a:gd name="T67" fmla="*/ 30 h 236"/>
                <a:gd name="T68" fmla="*/ 578 w 918"/>
                <a:gd name="T69" fmla="*/ 12 h 236"/>
                <a:gd name="T70" fmla="*/ 492 w 918"/>
                <a:gd name="T71" fmla="*/ 2 h 236"/>
                <a:gd name="T72" fmla="*/ 446 w 918"/>
                <a:gd name="T73" fmla="*/ 0 h 236"/>
                <a:gd name="T74" fmla="*/ 352 w 918"/>
                <a:gd name="T75" fmla="*/ 6 h 236"/>
                <a:gd name="T76" fmla="*/ 268 w 918"/>
                <a:gd name="T77" fmla="*/ 22 h 236"/>
                <a:gd name="T78" fmla="*/ 198 w 918"/>
                <a:gd name="T79" fmla="*/ 46 h 236"/>
                <a:gd name="T80" fmla="*/ 138 w 918"/>
                <a:gd name="T81" fmla="*/ 76 h 236"/>
                <a:gd name="T82" fmla="*/ 88 w 918"/>
                <a:gd name="T83" fmla="*/ 108 h 236"/>
                <a:gd name="T84" fmla="*/ 50 w 918"/>
                <a:gd name="T85" fmla="*/ 140 h 236"/>
                <a:gd name="T86" fmla="*/ 22 w 918"/>
                <a:gd name="T87" fmla="*/ 168 h 236"/>
                <a:gd name="T88" fmla="*/ 4 w 918"/>
                <a:gd name="T89" fmla="*/ 192 h 236"/>
                <a:gd name="T90" fmla="*/ 0 w 918"/>
                <a:gd name="T91" fmla="*/ 202 h 236"/>
                <a:gd name="T92" fmla="*/ 6 w 918"/>
                <a:gd name="T93" fmla="*/ 224 h 236"/>
                <a:gd name="T94" fmla="*/ 14 w 918"/>
                <a:gd name="T95" fmla="*/ 23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8" h="236">
                  <a:moveTo>
                    <a:pt x="14" y="232"/>
                  </a:moveTo>
                  <a:lnTo>
                    <a:pt x="14" y="232"/>
                  </a:lnTo>
                  <a:lnTo>
                    <a:pt x="20" y="236"/>
                  </a:lnTo>
                  <a:lnTo>
                    <a:pt x="26" y="236"/>
                  </a:lnTo>
                  <a:lnTo>
                    <a:pt x="38" y="236"/>
                  </a:lnTo>
                  <a:lnTo>
                    <a:pt x="48" y="232"/>
                  </a:lnTo>
                  <a:lnTo>
                    <a:pt x="52" y="228"/>
                  </a:lnTo>
                  <a:lnTo>
                    <a:pt x="56" y="222"/>
                  </a:lnTo>
                  <a:lnTo>
                    <a:pt x="56" y="222"/>
                  </a:lnTo>
                  <a:lnTo>
                    <a:pt x="56" y="222"/>
                  </a:lnTo>
                  <a:lnTo>
                    <a:pt x="56" y="222"/>
                  </a:lnTo>
                  <a:lnTo>
                    <a:pt x="70" y="204"/>
                  </a:lnTo>
                  <a:lnTo>
                    <a:pt x="94" y="180"/>
                  </a:lnTo>
                  <a:lnTo>
                    <a:pt x="110" y="166"/>
                  </a:lnTo>
                  <a:lnTo>
                    <a:pt x="128" y="152"/>
                  </a:lnTo>
                  <a:lnTo>
                    <a:pt x="148" y="138"/>
                  </a:lnTo>
                  <a:lnTo>
                    <a:pt x="170" y="124"/>
                  </a:lnTo>
                  <a:lnTo>
                    <a:pt x="196" y="112"/>
                  </a:lnTo>
                  <a:lnTo>
                    <a:pt x="224" y="100"/>
                  </a:lnTo>
                  <a:lnTo>
                    <a:pt x="254" y="88"/>
                  </a:lnTo>
                  <a:lnTo>
                    <a:pt x="288" y="78"/>
                  </a:lnTo>
                  <a:lnTo>
                    <a:pt x="324" y="70"/>
                  </a:lnTo>
                  <a:lnTo>
                    <a:pt x="362" y="64"/>
                  </a:lnTo>
                  <a:lnTo>
                    <a:pt x="402" y="60"/>
                  </a:lnTo>
                  <a:lnTo>
                    <a:pt x="446" y="60"/>
                  </a:lnTo>
                  <a:lnTo>
                    <a:pt x="446" y="60"/>
                  </a:lnTo>
                  <a:lnTo>
                    <a:pt x="486" y="60"/>
                  </a:lnTo>
                  <a:lnTo>
                    <a:pt x="528" y="64"/>
                  </a:lnTo>
                  <a:lnTo>
                    <a:pt x="566" y="70"/>
                  </a:lnTo>
                  <a:lnTo>
                    <a:pt x="602" y="78"/>
                  </a:lnTo>
                  <a:lnTo>
                    <a:pt x="638" y="88"/>
                  </a:lnTo>
                  <a:lnTo>
                    <a:pt x="670" y="98"/>
                  </a:lnTo>
                  <a:lnTo>
                    <a:pt x="700" y="110"/>
                  </a:lnTo>
                  <a:lnTo>
                    <a:pt x="730" y="122"/>
                  </a:lnTo>
                  <a:lnTo>
                    <a:pt x="756" y="136"/>
                  </a:lnTo>
                  <a:lnTo>
                    <a:pt x="778" y="150"/>
                  </a:lnTo>
                  <a:lnTo>
                    <a:pt x="800" y="164"/>
                  </a:lnTo>
                  <a:lnTo>
                    <a:pt x="818" y="176"/>
                  </a:lnTo>
                  <a:lnTo>
                    <a:pt x="834" y="190"/>
                  </a:lnTo>
                  <a:lnTo>
                    <a:pt x="848" y="202"/>
                  </a:lnTo>
                  <a:lnTo>
                    <a:pt x="858" y="212"/>
                  </a:lnTo>
                  <a:lnTo>
                    <a:pt x="864" y="222"/>
                  </a:lnTo>
                  <a:lnTo>
                    <a:pt x="864" y="222"/>
                  </a:lnTo>
                  <a:lnTo>
                    <a:pt x="868" y="228"/>
                  </a:lnTo>
                  <a:lnTo>
                    <a:pt x="872" y="232"/>
                  </a:lnTo>
                  <a:lnTo>
                    <a:pt x="882" y="236"/>
                  </a:lnTo>
                  <a:lnTo>
                    <a:pt x="894" y="236"/>
                  </a:lnTo>
                  <a:lnTo>
                    <a:pt x="900" y="236"/>
                  </a:lnTo>
                  <a:lnTo>
                    <a:pt x="904" y="232"/>
                  </a:lnTo>
                  <a:lnTo>
                    <a:pt x="904" y="232"/>
                  </a:lnTo>
                  <a:lnTo>
                    <a:pt x="910" y="228"/>
                  </a:lnTo>
                  <a:lnTo>
                    <a:pt x="914" y="224"/>
                  </a:lnTo>
                  <a:lnTo>
                    <a:pt x="918" y="214"/>
                  </a:lnTo>
                  <a:lnTo>
                    <a:pt x="918" y="202"/>
                  </a:lnTo>
                  <a:lnTo>
                    <a:pt x="918" y="198"/>
                  </a:lnTo>
                  <a:lnTo>
                    <a:pt x="914" y="192"/>
                  </a:lnTo>
                  <a:lnTo>
                    <a:pt x="914" y="192"/>
                  </a:lnTo>
                  <a:lnTo>
                    <a:pt x="906" y="178"/>
                  </a:lnTo>
                  <a:lnTo>
                    <a:pt x="894" y="164"/>
                  </a:lnTo>
                  <a:lnTo>
                    <a:pt x="878" y="150"/>
                  </a:lnTo>
                  <a:lnTo>
                    <a:pt x="860" y="134"/>
                  </a:lnTo>
                  <a:lnTo>
                    <a:pt x="838" y="118"/>
                  </a:lnTo>
                  <a:lnTo>
                    <a:pt x="814" y="102"/>
                  </a:lnTo>
                  <a:lnTo>
                    <a:pt x="788" y="86"/>
                  </a:lnTo>
                  <a:lnTo>
                    <a:pt x="758" y="70"/>
                  </a:lnTo>
                  <a:lnTo>
                    <a:pt x="726" y="56"/>
                  </a:lnTo>
                  <a:lnTo>
                    <a:pt x="692" y="42"/>
                  </a:lnTo>
                  <a:lnTo>
                    <a:pt x="656" y="30"/>
                  </a:lnTo>
                  <a:lnTo>
                    <a:pt x="618" y="20"/>
                  </a:lnTo>
                  <a:lnTo>
                    <a:pt x="578" y="12"/>
                  </a:lnTo>
                  <a:lnTo>
                    <a:pt x="536" y="6"/>
                  </a:lnTo>
                  <a:lnTo>
                    <a:pt x="492" y="2"/>
                  </a:lnTo>
                  <a:lnTo>
                    <a:pt x="446" y="0"/>
                  </a:lnTo>
                  <a:lnTo>
                    <a:pt x="446" y="0"/>
                  </a:lnTo>
                  <a:lnTo>
                    <a:pt x="396" y="2"/>
                  </a:lnTo>
                  <a:lnTo>
                    <a:pt x="352" y="6"/>
                  </a:lnTo>
                  <a:lnTo>
                    <a:pt x="308" y="12"/>
                  </a:lnTo>
                  <a:lnTo>
                    <a:pt x="268" y="22"/>
                  </a:lnTo>
                  <a:lnTo>
                    <a:pt x="232" y="34"/>
                  </a:lnTo>
                  <a:lnTo>
                    <a:pt x="198" y="46"/>
                  </a:lnTo>
                  <a:lnTo>
                    <a:pt x="166" y="60"/>
                  </a:lnTo>
                  <a:lnTo>
                    <a:pt x="138" y="76"/>
                  </a:lnTo>
                  <a:lnTo>
                    <a:pt x="112" y="92"/>
                  </a:lnTo>
                  <a:lnTo>
                    <a:pt x="88" y="108"/>
                  </a:lnTo>
                  <a:lnTo>
                    <a:pt x="68" y="124"/>
                  </a:lnTo>
                  <a:lnTo>
                    <a:pt x="50" y="140"/>
                  </a:lnTo>
                  <a:lnTo>
                    <a:pt x="34" y="154"/>
                  </a:lnTo>
                  <a:lnTo>
                    <a:pt x="22" y="168"/>
                  </a:lnTo>
                  <a:lnTo>
                    <a:pt x="4" y="192"/>
                  </a:lnTo>
                  <a:lnTo>
                    <a:pt x="4" y="192"/>
                  </a:lnTo>
                  <a:lnTo>
                    <a:pt x="2" y="198"/>
                  </a:lnTo>
                  <a:lnTo>
                    <a:pt x="0" y="202"/>
                  </a:lnTo>
                  <a:lnTo>
                    <a:pt x="2" y="214"/>
                  </a:lnTo>
                  <a:lnTo>
                    <a:pt x="6" y="224"/>
                  </a:lnTo>
                  <a:lnTo>
                    <a:pt x="10" y="228"/>
                  </a:lnTo>
                  <a:lnTo>
                    <a:pt x="14"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250">
              <a:extLst>
                <a:ext uri="{FF2B5EF4-FFF2-40B4-BE49-F238E27FC236}">
                  <a16:creationId xmlns:a16="http://schemas.microsoft.com/office/drawing/2014/main" id="{D1F0A6BA-3862-4419-8EE9-EB2917D27B2D}"/>
                </a:ext>
              </a:extLst>
            </p:cNvPr>
            <p:cNvSpPr>
              <a:spLocks/>
            </p:cNvSpPr>
            <p:nvPr/>
          </p:nvSpPr>
          <p:spPr bwMode="auto">
            <a:xfrm>
              <a:off x="14000163" y="2346325"/>
              <a:ext cx="1457325" cy="374650"/>
            </a:xfrm>
            <a:custGeom>
              <a:avLst/>
              <a:gdLst>
                <a:gd name="T0" fmla="*/ 14 w 918"/>
                <a:gd name="T1" fmla="*/ 232 h 236"/>
                <a:gd name="T2" fmla="*/ 26 w 918"/>
                <a:gd name="T3" fmla="*/ 236 h 236"/>
                <a:gd name="T4" fmla="*/ 48 w 918"/>
                <a:gd name="T5" fmla="*/ 232 h 236"/>
                <a:gd name="T6" fmla="*/ 56 w 918"/>
                <a:gd name="T7" fmla="*/ 222 h 236"/>
                <a:gd name="T8" fmla="*/ 56 w 918"/>
                <a:gd name="T9" fmla="*/ 222 h 236"/>
                <a:gd name="T10" fmla="*/ 70 w 918"/>
                <a:gd name="T11" fmla="*/ 204 h 236"/>
                <a:gd name="T12" fmla="*/ 110 w 918"/>
                <a:gd name="T13" fmla="*/ 166 h 236"/>
                <a:gd name="T14" fmla="*/ 148 w 918"/>
                <a:gd name="T15" fmla="*/ 138 h 236"/>
                <a:gd name="T16" fmla="*/ 196 w 918"/>
                <a:gd name="T17" fmla="*/ 112 h 236"/>
                <a:gd name="T18" fmla="*/ 254 w 918"/>
                <a:gd name="T19" fmla="*/ 88 h 236"/>
                <a:gd name="T20" fmla="*/ 324 w 918"/>
                <a:gd name="T21" fmla="*/ 70 h 236"/>
                <a:gd name="T22" fmla="*/ 402 w 918"/>
                <a:gd name="T23" fmla="*/ 60 h 236"/>
                <a:gd name="T24" fmla="*/ 446 w 918"/>
                <a:gd name="T25" fmla="*/ 60 h 236"/>
                <a:gd name="T26" fmla="*/ 528 w 918"/>
                <a:gd name="T27" fmla="*/ 64 h 236"/>
                <a:gd name="T28" fmla="*/ 602 w 918"/>
                <a:gd name="T29" fmla="*/ 78 h 236"/>
                <a:gd name="T30" fmla="*/ 670 w 918"/>
                <a:gd name="T31" fmla="*/ 98 h 236"/>
                <a:gd name="T32" fmla="*/ 730 w 918"/>
                <a:gd name="T33" fmla="*/ 122 h 236"/>
                <a:gd name="T34" fmla="*/ 778 w 918"/>
                <a:gd name="T35" fmla="*/ 150 h 236"/>
                <a:gd name="T36" fmla="*/ 818 w 918"/>
                <a:gd name="T37" fmla="*/ 176 h 236"/>
                <a:gd name="T38" fmla="*/ 848 w 918"/>
                <a:gd name="T39" fmla="*/ 202 h 236"/>
                <a:gd name="T40" fmla="*/ 864 w 918"/>
                <a:gd name="T41" fmla="*/ 222 h 236"/>
                <a:gd name="T42" fmla="*/ 868 w 918"/>
                <a:gd name="T43" fmla="*/ 228 h 236"/>
                <a:gd name="T44" fmla="*/ 882 w 918"/>
                <a:gd name="T45" fmla="*/ 236 h 236"/>
                <a:gd name="T46" fmla="*/ 900 w 918"/>
                <a:gd name="T47" fmla="*/ 236 h 236"/>
                <a:gd name="T48" fmla="*/ 904 w 918"/>
                <a:gd name="T49" fmla="*/ 232 h 236"/>
                <a:gd name="T50" fmla="*/ 914 w 918"/>
                <a:gd name="T51" fmla="*/ 224 h 236"/>
                <a:gd name="T52" fmla="*/ 918 w 918"/>
                <a:gd name="T53" fmla="*/ 202 h 236"/>
                <a:gd name="T54" fmla="*/ 914 w 918"/>
                <a:gd name="T55" fmla="*/ 192 h 236"/>
                <a:gd name="T56" fmla="*/ 906 w 918"/>
                <a:gd name="T57" fmla="*/ 178 h 236"/>
                <a:gd name="T58" fmla="*/ 878 w 918"/>
                <a:gd name="T59" fmla="*/ 150 h 236"/>
                <a:gd name="T60" fmla="*/ 838 w 918"/>
                <a:gd name="T61" fmla="*/ 118 h 236"/>
                <a:gd name="T62" fmla="*/ 788 w 918"/>
                <a:gd name="T63" fmla="*/ 86 h 236"/>
                <a:gd name="T64" fmla="*/ 726 w 918"/>
                <a:gd name="T65" fmla="*/ 56 h 236"/>
                <a:gd name="T66" fmla="*/ 656 w 918"/>
                <a:gd name="T67" fmla="*/ 30 h 236"/>
                <a:gd name="T68" fmla="*/ 578 w 918"/>
                <a:gd name="T69" fmla="*/ 12 h 236"/>
                <a:gd name="T70" fmla="*/ 492 w 918"/>
                <a:gd name="T71" fmla="*/ 2 h 236"/>
                <a:gd name="T72" fmla="*/ 446 w 918"/>
                <a:gd name="T73" fmla="*/ 0 h 236"/>
                <a:gd name="T74" fmla="*/ 352 w 918"/>
                <a:gd name="T75" fmla="*/ 6 h 236"/>
                <a:gd name="T76" fmla="*/ 268 w 918"/>
                <a:gd name="T77" fmla="*/ 22 h 236"/>
                <a:gd name="T78" fmla="*/ 198 w 918"/>
                <a:gd name="T79" fmla="*/ 46 h 236"/>
                <a:gd name="T80" fmla="*/ 138 w 918"/>
                <a:gd name="T81" fmla="*/ 76 h 236"/>
                <a:gd name="T82" fmla="*/ 88 w 918"/>
                <a:gd name="T83" fmla="*/ 108 h 236"/>
                <a:gd name="T84" fmla="*/ 50 w 918"/>
                <a:gd name="T85" fmla="*/ 140 h 236"/>
                <a:gd name="T86" fmla="*/ 22 w 918"/>
                <a:gd name="T87" fmla="*/ 168 h 236"/>
                <a:gd name="T88" fmla="*/ 4 w 918"/>
                <a:gd name="T89" fmla="*/ 192 h 236"/>
                <a:gd name="T90" fmla="*/ 0 w 918"/>
                <a:gd name="T91" fmla="*/ 202 h 236"/>
                <a:gd name="T92" fmla="*/ 6 w 918"/>
                <a:gd name="T93" fmla="*/ 224 h 236"/>
                <a:gd name="T94" fmla="*/ 14 w 918"/>
                <a:gd name="T95" fmla="*/ 23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8" h="236">
                  <a:moveTo>
                    <a:pt x="14" y="232"/>
                  </a:moveTo>
                  <a:lnTo>
                    <a:pt x="14" y="232"/>
                  </a:lnTo>
                  <a:lnTo>
                    <a:pt x="20" y="236"/>
                  </a:lnTo>
                  <a:lnTo>
                    <a:pt x="26" y="236"/>
                  </a:lnTo>
                  <a:lnTo>
                    <a:pt x="38" y="236"/>
                  </a:lnTo>
                  <a:lnTo>
                    <a:pt x="48" y="232"/>
                  </a:lnTo>
                  <a:lnTo>
                    <a:pt x="52" y="228"/>
                  </a:lnTo>
                  <a:lnTo>
                    <a:pt x="56" y="222"/>
                  </a:lnTo>
                  <a:lnTo>
                    <a:pt x="56" y="222"/>
                  </a:lnTo>
                  <a:lnTo>
                    <a:pt x="56" y="222"/>
                  </a:lnTo>
                  <a:lnTo>
                    <a:pt x="56" y="222"/>
                  </a:lnTo>
                  <a:lnTo>
                    <a:pt x="70" y="204"/>
                  </a:lnTo>
                  <a:lnTo>
                    <a:pt x="94" y="180"/>
                  </a:lnTo>
                  <a:lnTo>
                    <a:pt x="110" y="166"/>
                  </a:lnTo>
                  <a:lnTo>
                    <a:pt x="128" y="152"/>
                  </a:lnTo>
                  <a:lnTo>
                    <a:pt x="148" y="138"/>
                  </a:lnTo>
                  <a:lnTo>
                    <a:pt x="170" y="124"/>
                  </a:lnTo>
                  <a:lnTo>
                    <a:pt x="196" y="112"/>
                  </a:lnTo>
                  <a:lnTo>
                    <a:pt x="224" y="100"/>
                  </a:lnTo>
                  <a:lnTo>
                    <a:pt x="254" y="88"/>
                  </a:lnTo>
                  <a:lnTo>
                    <a:pt x="288" y="78"/>
                  </a:lnTo>
                  <a:lnTo>
                    <a:pt x="324" y="70"/>
                  </a:lnTo>
                  <a:lnTo>
                    <a:pt x="362" y="64"/>
                  </a:lnTo>
                  <a:lnTo>
                    <a:pt x="402" y="60"/>
                  </a:lnTo>
                  <a:lnTo>
                    <a:pt x="446" y="60"/>
                  </a:lnTo>
                  <a:lnTo>
                    <a:pt x="446" y="60"/>
                  </a:lnTo>
                  <a:lnTo>
                    <a:pt x="486" y="60"/>
                  </a:lnTo>
                  <a:lnTo>
                    <a:pt x="528" y="64"/>
                  </a:lnTo>
                  <a:lnTo>
                    <a:pt x="566" y="70"/>
                  </a:lnTo>
                  <a:lnTo>
                    <a:pt x="602" y="78"/>
                  </a:lnTo>
                  <a:lnTo>
                    <a:pt x="638" y="88"/>
                  </a:lnTo>
                  <a:lnTo>
                    <a:pt x="670" y="98"/>
                  </a:lnTo>
                  <a:lnTo>
                    <a:pt x="700" y="110"/>
                  </a:lnTo>
                  <a:lnTo>
                    <a:pt x="730" y="122"/>
                  </a:lnTo>
                  <a:lnTo>
                    <a:pt x="756" y="136"/>
                  </a:lnTo>
                  <a:lnTo>
                    <a:pt x="778" y="150"/>
                  </a:lnTo>
                  <a:lnTo>
                    <a:pt x="800" y="164"/>
                  </a:lnTo>
                  <a:lnTo>
                    <a:pt x="818" y="176"/>
                  </a:lnTo>
                  <a:lnTo>
                    <a:pt x="834" y="190"/>
                  </a:lnTo>
                  <a:lnTo>
                    <a:pt x="848" y="202"/>
                  </a:lnTo>
                  <a:lnTo>
                    <a:pt x="858" y="212"/>
                  </a:lnTo>
                  <a:lnTo>
                    <a:pt x="864" y="222"/>
                  </a:lnTo>
                  <a:lnTo>
                    <a:pt x="864" y="222"/>
                  </a:lnTo>
                  <a:lnTo>
                    <a:pt x="868" y="228"/>
                  </a:lnTo>
                  <a:lnTo>
                    <a:pt x="872" y="232"/>
                  </a:lnTo>
                  <a:lnTo>
                    <a:pt x="882" y="236"/>
                  </a:lnTo>
                  <a:lnTo>
                    <a:pt x="894" y="236"/>
                  </a:lnTo>
                  <a:lnTo>
                    <a:pt x="900" y="236"/>
                  </a:lnTo>
                  <a:lnTo>
                    <a:pt x="904" y="232"/>
                  </a:lnTo>
                  <a:lnTo>
                    <a:pt x="904" y="232"/>
                  </a:lnTo>
                  <a:lnTo>
                    <a:pt x="910" y="228"/>
                  </a:lnTo>
                  <a:lnTo>
                    <a:pt x="914" y="224"/>
                  </a:lnTo>
                  <a:lnTo>
                    <a:pt x="918" y="214"/>
                  </a:lnTo>
                  <a:lnTo>
                    <a:pt x="918" y="202"/>
                  </a:lnTo>
                  <a:lnTo>
                    <a:pt x="918" y="198"/>
                  </a:lnTo>
                  <a:lnTo>
                    <a:pt x="914" y="192"/>
                  </a:lnTo>
                  <a:lnTo>
                    <a:pt x="914" y="192"/>
                  </a:lnTo>
                  <a:lnTo>
                    <a:pt x="906" y="178"/>
                  </a:lnTo>
                  <a:lnTo>
                    <a:pt x="894" y="164"/>
                  </a:lnTo>
                  <a:lnTo>
                    <a:pt x="878" y="150"/>
                  </a:lnTo>
                  <a:lnTo>
                    <a:pt x="860" y="134"/>
                  </a:lnTo>
                  <a:lnTo>
                    <a:pt x="838" y="118"/>
                  </a:lnTo>
                  <a:lnTo>
                    <a:pt x="814" y="102"/>
                  </a:lnTo>
                  <a:lnTo>
                    <a:pt x="788" y="86"/>
                  </a:lnTo>
                  <a:lnTo>
                    <a:pt x="758" y="70"/>
                  </a:lnTo>
                  <a:lnTo>
                    <a:pt x="726" y="56"/>
                  </a:lnTo>
                  <a:lnTo>
                    <a:pt x="692" y="42"/>
                  </a:lnTo>
                  <a:lnTo>
                    <a:pt x="656" y="30"/>
                  </a:lnTo>
                  <a:lnTo>
                    <a:pt x="618" y="20"/>
                  </a:lnTo>
                  <a:lnTo>
                    <a:pt x="578" y="12"/>
                  </a:lnTo>
                  <a:lnTo>
                    <a:pt x="536" y="6"/>
                  </a:lnTo>
                  <a:lnTo>
                    <a:pt x="492" y="2"/>
                  </a:lnTo>
                  <a:lnTo>
                    <a:pt x="446" y="0"/>
                  </a:lnTo>
                  <a:lnTo>
                    <a:pt x="446" y="0"/>
                  </a:lnTo>
                  <a:lnTo>
                    <a:pt x="396" y="2"/>
                  </a:lnTo>
                  <a:lnTo>
                    <a:pt x="352" y="6"/>
                  </a:lnTo>
                  <a:lnTo>
                    <a:pt x="308" y="12"/>
                  </a:lnTo>
                  <a:lnTo>
                    <a:pt x="268" y="22"/>
                  </a:lnTo>
                  <a:lnTo>
                    <a:pt x="232" y="34"/>
                  </a:lnTo>
                  <a:lnTo>
                    <a:pt x="198" y="46"/>
                  </a:lnTo>
                  <a:lnTo>
                    <a:pt x="166" y="60"/>
                  </a:lnTo>
                  <a:lnTo>
                    <a:pt x="138" y="76"/>
                  </a:lnTo>
                  <a:lnTo>
                    <a:pt x="112" y="92"/>
                  </a:lnTo>
                  <a:lnTo>
                    <a:pt x="88" y="108"/>
                  </a:lnTo>
                  <a:lnTo>
                    <a:pt x="68" y="124"/>
                  </a:lnTo>
                  <a:lnTo>
                    <a:pt x="50" y="140"/>
                  </a:lnTo>
                  <a:lnTo>
                    <a:pt x="34" y="154"/>
                  </a:lnTo>
                  <a:lnTo>
                    <a:pt x="22" y="168"/>
                  </a:lnTo>
                  <a:lnTo>
                    <a:pt x="4" y="192"/>
                  </a:lnTo>
                  <a:lnTo>
                    <a:pt x="4" y="192"/>
                  </a:lnTo>
                  <a:lnTo>
                    <a:pt x="2" y="198"/>
                  </a:lnTo>
                  <a:lnTo>
                    <a:pt x="0" y="202"/>
                  </a:lnTo>
                  <a:lnTo>
                    <a:pt x="2" y="214"/>
                  </a:lnTo>
                  <a:lnTo>
                    <a:pt x="6" y="224"/>
                  </a:lnTo>
                  <a:lnTo>
                    <a:pt x="10" y="228"/>
                  </a:lnTo>
                  <a:lnTo>
                    <a:pt x="14" y="23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251">
              <a:extLst>
                <a:ext uri="{FF2B5EF4-FFF2-40B4-BE49-F238E27FC236}">
                  <a16:creationId xmlns:a16="http://schemas.microsoft.com/office/drawing/2014/main" id="{E29FBA01-E34A-4A5A-BC38-4B7DFA6FD20B}"/>
                </a:ext>
              </a:extLst>
            </p:cNvPr>
            <p:cNvSpPr>
              <a:spLocks/>
            </p:cNvSpPr>
            <p:nvPr/>
          </p:nvSpPr>
          <p:spPr bwMode="auto">
            <a:xfrm>
              <a:off x="14235113" y="2155825"/>
              <a:ext cx="1035050" cy="190500"/>
            </a:xfrm>
            <a:custGeom>
              <a:avLst/>
              <a:gdLst>
                <a:gd name="T0" fmla="*/ 42 w 652"/>
                <a:gd name="T1" fmla="*/ 118 h 120"/>
                <a:gd name="T2" fmla="*/ 78 w 652"/>
                <a:gd name="T3" fmla="*/ 100 h 120"/>
                <a:gd name="T4" fmla="*/ 130 w 652"/>
                <a:gd name="T5" fmla="*/ 78 h 120"/>
                <a:gd name="T6" fmla="*/ 176 w 652"/>
                <a:gd name="T7" fmla="*/ 66 h 120"/>
                <a:gd name="T8" fmla="*/ 248 w 652"/>
                <a:gd name="T9" fmla="*/ 62 h 120"/>
                <a:gd name="T10" fmla="*/ 298 w 652"/>
                <a:gd name="T11" fmla="*/ 60 h 120"/>
                <a:gd name="T12" fmla="*/ 368 w 652"/>
                <a:gd name="T13" fmla="*/ 60 h 120"/>
                <a:gd name="T14" fmla="*/ 440 w 652"/>
                <a:gd name="T15" fmla="*/ 68 h 120"/>
                <a:gd name="T16" fmla="*/ 510 w 652"/>
                <a:gd name="T17" fmla="*/ 84 h 120"/>
                <a:gd name="T18" fmla="*/ 578 w 652"/>
                <a:gd name="T19" fmla="*/ 106 h 120"/>
                <a:gd name="T20" fmla="*/ 614 w 652"/>
                <a:gd name="T21" fmla="*/ 118 h 120"/>
                <a:gd name="T22" fmla="*/ 624 w 652"/>
                <a:gd name="T23" fmla="*/ 120 h 120"/>
                <a:gd name="T24" fmla="*/ 630 w 652"/>
                <a:gd name="T25" fmla="*/ 120 h 120"/>
                <a:gd name="T26" fmla="*/ 644 w 652"/>
                <a:gd name="T27" fmla="*/ 112 h 120"/>
                <a:gd name="T28" fmla="*/ 652 w 652"/>
                <a:gd name="T29" fmla="*/ 96 h 120"/>
                <a:gd name="T30" fmla="*/ 652 w 652"/>
                <a:gd name="T31" fmla="*/ 90 h 120"/>
                <a:gd name="T32" fmla="*/ 648 w 652"/>
                <a:gd name="T33" fmla="*/ 72 h 120"/>
                <a:gd name="T34" fmla="*/ 632 w 652"/>
                <a:gd name="T35" fmla="*/ 62 h 120"/>
                <a:gd name="T36" fmla="*/ 600 w 652"/>
                <a:gd name="T37" fmla="*/ 50 h 120"/>
                <a:gd name="T38" fmla="*/ 564 w 652"/>
                <a:gd name="T39" fmla="*/ 38 h 120"/>
                <a:gd name="T40" fmla="*/ 488 w 652"/>
                <a:gd name="T41" fmla="*/ 16 h 120"/>
                <a:gd name="T42" fmla="*/ 412 w 652"/>
                <a:gd name="T43" fmla="*/ 4 h 120"/>
                <a:gd name="T44" fmla="*/ 336 w 652"/>
                <a:gd name="T45" fmla="*/ 0 h 120"/>
                <a:gd name="T46" fmla="*/ 298 w 652"/>
                <a:gd name="T47" fmla="*/ 2 h 120"/>
                <a:gd name="T48" fmla="*/ 200 w 652"/>
                <a:gd name="T49" fmla="*/ 4 h 120"/>
                <a:gd name="T50" fmla="*/ 134 w 652"/>
                <a:gd name="T51" fmla="*/ 14 h 120"/>
                <a:gd name="T52" fmla="*/ 88 w 652"/>
                <a:gd name="T53" fmla="*/ 30 h 120"/>
                <a:gd name="T54" fmla="*/ 52 w 652"/>
                <a:gd name="T55" fmla="*/ 46 h 120"/>
                <a:gd name="T56" fmla="*/ 18 w 652"/>
                <a:gd name="T57" fmla="*/ 64 h 120"/>
                <a:gd name="T58" fmla="*/ 8 w 652"/>
                <a:gd name="T59" fmla="*/ 70 h 120"/>
                <a:gd name="T60" fmla="*/ 0 w 652"/>
                <a:gd name="T61" fmla="*/ 90 h 120"/>
                <a:gd name="T62" fmla="*/ 2 w 652"/>
                <a:gd name="T63" fmla="*/ 102 h 120"/>
                <a:gd name="T64" fmla="*/ 4 w 652"/>
                <a:gd name="T65" fmla="*/ 106 h 120"/>
                <a:gd name="T66" fmla="*/ 18 w 652"/>
                <a:gd name="T67" fmla="*/ 118 h 120"/>
                <a:gd name="T68" fmla="*/ 34 w 652"/>
                <a:gd name="T69" fmla="*/ 120 h 120"/>
                <a:gd name="T70" fmla="*/ 40 w 652"/>
                <a:gd name="T71" fmla="*/ 118 h 120"/>
                <a:gd name="T72" fmla="*/ 42 w 652"/>
                <a:gd name="T73" fmla="*/ 1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2" h="120">
                  <a:moveTo>
                    <a:pt x="42" y="118"/>
                  </a:moveTo>
                  <a:lnTo>
                    <a:pt x="42" y="118"/>
                  </a:lnTo>
                  <a:lnTo>
                    <a:pt x="78" y="100"/>
                  </a:lnTo>
                  <a:lnTo>
                    <a:pt x="78" y="100"/>
                  </a:lnTo>
                  <a:lnTo>
                    <a:pt x="112" y="84"/>
                  </a:lnTo>
                  <a:lnTo>
                    <a:pt x="130" y="78"/>
                  </a:lnTo>
                  <a:lnTo>
                    <a:pt x="150" y="72"/>
                  </a:lnTo>
                  <a:lnTo>
                    <a:pt x="176" y="66"/>
                  </a:lnTo>
                  <a:lnTo>
                    <a:pt x="210" y="64"/>
                  </a:lnTo>
                  <a:lnTo>
                    <a:pt x="248" y="62"/>
                  </a:lnTo>
                  <a:lnTo>
                    <a:pt x="298" y="60"/>
                  </a:lnTo>
                  <a:lnTo>
                    <a:pt x="298" y="60"/>
                  </a:lnTo>
                  <a:lnTo>
                    <a:pt x="334" y="60"/>
                  </a:lnTo>
                  <a:lnTo>
                    <a:pt x="368" y="60"/>
                  </a:lnTo>
                  <a:lnTo>
                    <a:pt x="404" y="64"/>
                  </a:lnTo>
                  <a:lnTo>
                    <a:pt x="440" y="68"/>
                  </a:lnTo>
                  <a:lnTo>
                    <a:pt x="476" y="74"/>
                  </a:lnTo>
                  <a:lnTo>
                    <a:pt x="510" y="84"/>
                  </a:lnTo>
                  <a:lnTo>
                    <a:pt x="544" y="94"/>
                  </a:lnTo>
                  <a:lnTo>
                    <a:pt x="578" y="106"/>
                  </a:lnTo>
                  <a:lnTo>
                    <a:pt x="578" y="106"/>
                  </a:lnTo>
                  <a:lnTo>
                    <a:pt x="614" y="118"/>
                  </a:lnTo>
                  <a:lnTo>
                    <a:pt x="614" y="118"/>
                  </a:lnTo>
                  <a:lnTo>
                    <a:pt x="624" y="120"/>
                  </a:lnTo>
                  <a:lnTo>
                    <a:pt x="624" y="120"/>
                  </a:lnTo>
                  <a:lnTo>
                    <a:pt x="630" y="120"/>
                  </a:lnTo>
                  <a:lnTo>
                    <a:pt x="634" y="118"/>
                  </a:lnTo>
                  <a:lnTo>
                    <a:pt x="644" y="112"/>
                  </a:lnTo>
                  <a:lnTo>
                    <a:pt x="650" y="102"/>
                  </a:lnTo>
                  <a:lnTo>
                    <a:pt x="652" y="96"/>
                  </a:lnTo>
                  <a:lnTo>
                    <a:pt x="652" y="90"/>
                  </a:lnTo>
                  <a:lnTo>
                    <a:pt x="652" y="90"/>
                  </a:lnTo>
                  <a:lnTo>
                    <a:pt x="652" y="82"/>
                  </a:lnTo>
                  <a:lnTo>
                    <a:pt x="648" y="72"/>
                  </a:lnTo>
                  <a:lnTo>
                    <a:pt x="640" y="66"/>
                  </a:lnTo>
                  <a:lnTo>
                    <a:pt x="632" y="62"/>
                  </a:lnTo>
                  <a:lnTo>
                    <a:pt x="632" y="62"/>
                  </a:lnTo>
                  <a:lnTo>
                    <a:pt x="600" y="50"/>
                  </a:lnTo>
                  <a:lnTo>
                    <a:pt x="600" y="50"/>
                  </a:lnTo>
                  <a:lnTo>
                    <a:pt x="564" y="38"/>
                  </a:lnTo>
                  <a:lnTo>
                    <a:pt x="526" y="26"/>
                  </a:lnTo>
                  <a:lnTo>
                    <a:pt x="488" y="16"/>
                  </a:lnTo>
                  <a:lnTo>
                    <a:pt x="450" y="10"/>
                  </a:lnTo>
                  <a:lnTo>
                    <a:pt x="412" y="4"/>
                  </a:lnTo>
                  <a:lnTo>
                    <a:pt x="374" y="2"/>
                  </a:lnTo>
                  <a:lnTo>
                    <a:pt x="336" y="0"/>
                  </a:lnTo>
                  <a:lnTo>
                    <a:pt x="298" y="2"/>
                  </a:lnTo>
                  <a:lnTo>
                    <a:pt x="298" y="2"/>
                  </a:lnTo>
                  <a:lnTo>
                    <a:pt x="244" y="2"/>
                  </a:lnTo>
                  <a:lnTo>
                    <a:pt x="200" y="4"/>
                  </a:lnTo>
                  <a:lnTo>
                    <a:pt x="164" y="8"/>
                  </a:lnTo>
                  <a:lnTo>
                    <a:pt x="134" y="14"/>
                  </a:lnTo>
                  <a:lnTo>
                    <a:pt x="110" y="22"/>
                  </a:lnTo>
                  <a:lnTo>
                    <a:pt x="88" y="30"/>
                  </a:lnTo>
                  <a:lnTo>
                    <a:pt x="52" y="46"/>
                  </a:lnTo>
                  <a:lnTo>
                    <a:pt x="52" y="46"/>
                  </a:lnTo>
                  <a:lnTo>
                    <a:pt x="18" y="64"/>
                  </a:lnTo>
                  <a:lnTo>
                    <a:pt x="18" y="64"/>
                  </a:lnTo>
                  <a:lnTo>
                    <a:pt x="12" y="66"/>
                  </a:lnTo>
                  <a:lnTo>
                    <a:pt x="8" y="70"/>
                  </a:lnTo>
                  <a:lnTo>
                    <a:pt x="2" y="78"/>
                  </a:lnTo>
                  <a:lnTo>
                    <a:pt x="0" y="90"/>
                  </a:lnTo>
                  <a:lnTo>
                    <a:pt x="0" y="96"/>
                  </a:lnTo>
                  <a:lnTo>
                    <a:pt x="2" y="102"/>
                  </a:lnTo>
                  <a:lnTo>
                    <a:pt x="2" y="102"/>
                  </a:lnTo>
                  <a:lnTo>
                    <a:pt x="4" y="106"/>
                  </a:lnTo>
                  <a:lnTo>
                    <a:pt x="8" y="112"/>
                  </a:lnTo>
                  <a:lnTo>
                    <a:pt x="18" y="118"/>
                  </a:lnTo>
                  <a:lnTo>
                    <a:pt x="28" y="120"/>
                  </a:lnTo>
                  <a:lnTo>
                    <a:pt x="34" y="120"/>
                  </a:lnTo>
                  <a:lnTo>
                    <a:pt x="40" y="118"/>
                  </a:lnTo>
                  <a:lnTo>
                    <a:pt x="40" y="118"/>
                  </a:lnTo>
                  <a:lnTo>
                    <a:pt x="42" y="118"/>
                  </a:lnTo>
                  <a:lnTo>
                    <a:pt x="42"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252">
              <a:extLst>
                <a:ext uri="{FF2B5EF4-FFF2-40B4-BE49-F238E27FC236}">
                  <a16:creationId xmlns:a16="http://schemas.microsoft.com/office/drawing/2014/main" id="{B3D68B78-60C2-4A14-8065-8B943E16875A}"/>
                </a:ext>
              </a:extLst>
            </p:cNvPr>
            <p:cNvSpPr>
              <a:spLocks/>
            </p:cNvSpPr>
            <p:nvPr/>
          </p:nvSpPr>
          <p:spPr bwMode="auto">
            <a:xfrm>
              <a:off x="15460663" y="2724150"/>
              <a:ext cx="187325" cy="279400"/>
            </a:xfrm>
            <a:custGeom>
              <a:avLst/>
              <a:gdLst>
                <a:gd name="T0" fmla="*/ 60 w 118"/>
                <a:gd name="T1" fmla="*/ 156 h 176"/>
                <a:gd name="T2" fmla="*/ 60 w 118"/>
                <a:gd name="T3" fmla="*/ 156 h 176"/>
                <a:gd name="T4" fmla="*/ 62 w 118"/>
                <a:gd name="T5" fmla="*/ 162 h 176"/>
                <a:gd name="T6" fmla="*/ 66 w 118"/>
                <a:gd name="T7" fmla="*/ 166 h 176"/>
                <a:gd name="T8" fmla="*/ 76 w 118"/>
                <a:gd name="T9" fmla="*/ 172 h 176"/>
                <a:gd name="T10" fmla="*/ 86 w 118"/>
                <a:gd name="T11" fmla="*/ 176 h 176"/>
                <a:gd name="T12" fmla="*/ 92 w 118"/>
                <a:gd name="T13" fmla="*/ 176 h 176"/>
                <a:gd name="T14" fmla="*/ 98 w 118"/>
                <a:gd name="T15" fmla="*/ 174 h 176"/>
                <a:gd name="T16" fmla="*/ 98 w 118"/>
                <a:gd name="T17" fmla="*/ 174 h 176"/>
                <a:gd name="T18" fmla="*/ 108 w 118"/>
                <a:gd name="T19" fmla="*/ 168 h 176"/>
                <a:gd name="T20" fmla="*/ 114 w 118"/>
                <a:gd name="T21" fmla="*/ 160 h 176"/>
                <a:gd name="T22" fmla="*/ 118 w 118"/>
                <a:gd name="T23" fmla="*/ 150 h 176"/>
                <a:gd name="T24" fmla="*/ 116 w 118"/>
                <a:gd name="T25" fmla="*/ 138 h 176"/>
                <a:gd name="T26" fmla="*/ 116 w 118"/>
                <a:gd name="T27" fmla="*/ 138 h 176"/>
                <a:gd name="T28" fmla="*/ 104 w 118"/>
                <a:gd name="T29" fmla="*/ 106 h 176"/>
                <a:gd name="T30" fmla="*/ 88 w 118"/>
                <a:gd name="T31" fmla="*/ 74 h 176"/>
                <a:gd name="T32" fmla="*/ 72 w 118"/>
                <a:gd name="T33" fmla="*/ 44 h 176"/>
                <a:gd name="T34" fmla="*/ 54 w 118"/>
                <a:gd name="T35" fmla="*/ 14 h 176"/>
                <a:gd name="T36" fmla="*/ 54 w 118"/>
                <a:gd name="T37" fmla="*/ 14 h 176"/>
                <a:gd name="T38" fmla="*/ 50 w 118"/>
                <a:gd name="T39" fmla="*/ 8 h 176"/>
                <a:gd name="T40" fmla="*/ 46 w 118"/>
                <a:gd name="T41" fmla="*/ 4 h 176"/>
                <a:gd name="T42" fmla="*/ 36 w 118"/>
                <a:gd name="T43" fmla="*/ 0 h 176"/>
                <a:gd name="T44" fmla="*/ 24 w 118"/>
                <a:gd name="T45" fmla="*/ 0 h 176"/>
                <a:gd name="T46" fmla="*/ 18 w 118"/>
                <a:gd name="T47" fmla="*/ 0 h 176"/>
                <a:gd name="T48" fmla="*/ 14 w 118"/>
                <a:gd name="T49" fmla="*/ 4 h 176"/>
                <a:gd name="T50" fmla="*/ 14 w 118"/>
                <a:gd name="T51" fmla="*/ 4 h 176"/>
                <a:gd name="T52" fmla="*/ 8 w 118"/>
                <a:gd name="T53" fmla="*/ 8 h 176"/>
                <a:gd name="T54" fmla="*/ 4 w 118"/>
                <a:gd name="T55" fmla="*/ 12 h 176"/>
                <a:gd name="T56" fmla="*/ 0 w 118"/>
                <a:gd name="T57" fmla="*/ 22 h 176"/>
                <a:gd name="T58" fmla="*/ 0 w 118"/>
                <a:gd name="T59" fmla="*/ 34 h 176"/>
                <a:gd name="T60" fmla="*/ 0 w 118"/>
                <a:gd name="T61" fmla="*/ 38 h 176"/>
                <a:gd name="T62" fmla="*/ 4 w 118"/>
                <a:gd name="T63" fmla="*/ 44 h 176"/>
                <a:gd name="T64" fmla="*/ 4 w 118"/>
                <a:gd name="T65" fmla="*/ 44 h 176"/>
                <a:gd name="T66" fmla="*/ 20 w 118"/>
                <a:gd name="T67" fmla="*/ 72 h 176"/>
                <a:gd name="T68" fmla="*/ 34 w 118"/>
                <a:gd name="T69" fmla="*/ 98 h 176"/>
                <a:gd name="T70" fmla="*/ 48 w 118"/>
                <a:gd name="T71" fmla="*/ 128 h 176"/>
                <a:gd name="T72" fmla="*/ 60 w 118"/>
                <a:gd name="T73" fmla="*/ 15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76">
                  <a:moveTo>
                    <a:pt x="60" y="156"/>
                  </a:moveTo>
                  <a:lnTo>
                    <a:pt x="60" y="156"/>
                  </a:lnTo>
                  <a:lnTo>
                    <a:pt x="62" y="162"/>
                  </a:lnTo>
                  <a:lnTo>
                    <a:pt x="66" y="166"/>
                  </a:lnTo>
                  <a:lnTo>
                    <a:pt x="76" y="172"/>
                  </a:lnTo>
                  <a:lnTo>
                    <a:pt x="86" y="176"/>
                  </a:lnTo>
                  <a:lnTo>
                    <a:pt x="92" y="176"/>
                  </a:lnTo>
                  <a:lnTo>
                    <a:pt x="98" y="174"/>
                  </a:lnTo>
                  <a:lnTo>
                    <a:pt x="98" y="174"/>
                  </a:lnTo>
                  <a:lnTo>
                    <a:pt x="108" y="168"/>
                  </a:lnTo>
                  <a:lnTo>
                    <a:pt x="114" y="160"/>
                  </a:lnTo>
                  <a:lnTo>
                    <a:pt x="118" y="150"/>
                  </a:lnTo>
                  <a:lnTo>
                    <a:pt x="116" y="138"/>
                  </a:lnTo>
                  <a:lnTo>
                    <a:pt x="116" y="138"/>
                  </a:lnTo>
                  <a:lnTo>
                    <a:pt x="104" y="106"/>
                  </a:lnTo>
                  <a:lnTo>
                    <a:pt x="88" y="74"/>
                  </a:lnTo>
                  <a:lnTo>
                    <a:pt x="72" y="44"/>
                  </a:lnTo>
                  <a:lnTo>
                    <a:pt x="54" y="14"/>
                  </a:lnTo>
                  <a:lnTo>
                    <a:pt x="54" y="14"/>
                  </a:lnTo>
                  <a:lnTo>
                    <a:pt x="50" y="8"/>
                  </a:lnTo>
                  <a:lnTo>
                    <a:pt x="46" y="4"/>
                  </a:lnTo>
                  <a:lnTo>
                    <a:pt x="36" y="0"/>
                  </a:lnTo>
                  <a:lnTo>
                    <a:pt x="24" y="0"/>
                  </a:lnTo>
                  <a:lnTo>
                    <a:pt x="18" y="0"/>
                  </a:lnTo>
                  <a:lnTo>
                    <a:pt x="14" y="4"/>
                  </a:lnTo>
                  <a:lnTo>
                    <a:pt x="14" y="4"/>
                  </a:lnTo>
                  <a:lnTo>
                    <a:pt x="8" y="8"/>
                  </a:lnTo>
                  <a:lnTo>
                    <a:pt x="4" y="12"/>
                  </a:lnTo>
                  <a:lnTo>
                    <a:pt x="0" y="22"/>
                  </a:lnTo>
                  <a:lnTo>
                    <a:pt x="0" y="34"/>
                  </a:lnTo>
                  <a:lnTo>
                    <a:pt x="0" y="38"/>
                  </a:lnTo>
                  <a:lnTo>
                    <a:pt x="4" y="44"/>
                  </a:lnTo>
                  <a:lnTo>
                    <a:pt x="4" y="44"/>
                  </a:lnTo>
                  <a:lnTo>
                    <a:pt x="20" y="72"/>
                  </a:lnTo>
                  <a:lnTo>
                    <a:pt x="34" y="98"/>
                  </a:lnTo>
                  <a:lnTo>
                    <a:pt x="48" y="128"/>
                  </a:lnTo>
                  <a:lnTo>
                    <a:pt x="60"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253">
              <a:extLst>
                <a:ext uri="{FF2B5EF4-FFF2-40B4-BE49-F238E27FC236}">
                  <a16:creationId xmlns:a16="http://schemas.microsoft.com/office/drawing/2014/main" id="{C2513035-B41D-4D94-9E8E-7F9AF09CF481}"/>
                </a:ext>
              </a:extLst>
            </p:cNvPr>
            <p:cNvSpPr>
              <a:spLocks/>
            </p:cNvSpPr>
            <p:nvPr/>
          </p:nvSpPr>
          <p:spPr bwMode="auto">
            <a:xfrm>
              <a:off x="15460663" y="2724150"/>
              <a:ext cx="187325" cy="279400"/>
            </a:xfrm>
            <a:custGeom>
              <a:avLst/>
              <a:gdLst>
                <a:gd name="T0" fmla="*/ 60 w 118"/>
                <a:gd name="T1" fmla="*/ 156 h 176"/>
                <a:gd name="T2" fmla="*/ 60 w 118"/>
                <a:gd name="T3" fmla="*/ 156 h 176"/>
                <a:gd name="T4" fmla="*/ 62 w 118"/>
                <a:gd name="T5" fmla="*/ 162 h 176"/>
                <a:gd name="T6" fmla="*/ 66 w 118"/>
                <a:gd name="T7" fmla="*/ 166 h 176"/>
                <a:gd name="T8" fmla="*/ 76 w 118"/>
                <a:gd name="T9" fmla="*/ 172 h 176"/>
                <a:gd name="T10" fmla="*/ 86 w 118"/>
                <a:gd name="T11" fmla="*/ 176 h 176"/>
                <a:gd name="T12" fmla="*/ 92 w 118"/>
                <a:gd name="T13" fmla="*/ 176 h 176"/>
                <a:gd name="T14" fmla="*/ 98 w 118"/>
                <a:gd name="T15" fmla="*/ 174 h 176"/>
                <a:gd name="T16" fmla="*/ 98 w 118"/>
                <a:gd name="T17" fmla="*/ 174 h 176"/>
                <a:gd name="T18" fmla="*/ 108 w 118"/>
                <a:gd name="T19" fmla="*/ 168 h 176"/>
                <a:gd name="T20" fmla="*/ 114 w 118"/>
                <a:gd name="T21" fmla="*/ 160 h 176"/>
                <a:gd name="T22" fmla="*/ 118 w 118"/>
                <a:gd name="T23" fmla="*/ 150 h 176"/>
                <a:gd name="T24" fmla="*/ 116 w 118"/>
                <a:gd name="T25" fmla="*/ 138 h 176"/>
                <a:gd name="T26" fmla="*/ 116 w 118"/>
                <a:gd name="T27" fmla="*/ 138 h 176"/>
                <a:gd name="T28" fmla="*/ 104 w 118"/>
                <a:gd name="T29" fmla="*/ 106 h 176"/>
                <a:gd name="T30" fmla="*/ 88 w 118"/>
                <a:gd name="T31" fmla="*/ 74 h 176"/>
                <a:gd name="T32" fmla="*/ 72 w 118"/>
                <a:gd name="T33" fmla="*/ 44 h 176"/>
                <a:gd name="T34" fmla="*/ 54 w 118"/>
                <a:gd name="T35" fmla="*/ 14 h 176"/>
                <a:gd name="T36" fmla="*/ 54 w 118"/>
                <a:gd name="T37" fmla="*/ 14 h 176"/>
                <a:gd name="T38" fmla="*/ 50 w 118"/>
                <a:gd name="T39" fmla="*/ 8 h 176"/>
                <a:gd name="T40" fmla="*/ 46 w 118"/>
                <a:gd name="T41" fmla="*/ 4 h 176"/>
                <a:gd name="T42" fmla="*/ 36 w 118"/>
                <a:gd name="T43" fmla="*/ 0 h 176"/>
                <a:gd name="T44" fmla="*/ 24 w 118"/>
                <a:gd name="T45" fmla="*/ 0 h 176"/>
                <a:gd name="T46" fmla="*/ 18 w 118"/>
                <a:gd name="T47" fmla="*/ 0 h 176"/>
                <a:gd name="T48" fmla="*/ 14 w 118"/>
                <a:gd name="T49" fmla="*/ 4 h 176"/>
                <a:gd name="T50" fmla="*/ 14 w 118"/>
                <a:gd name="T51" fmla="*/ 4 h 176"/>
                <a:gd name="T52" fmla="*/ 8 w 118"/>
                <a:gd name="T53" fmla="*/ 8 h 176"/>
                <a:gd name="T54" fmla="*/ 4 w 118"/>
                <a:gd name="T55" fmla="*/ 12 h 176"/>
                <a:gd name="T56" fmla="*/ 0 w 118"/>
                <a:gd name="T57" fmla="*/ 22 h 176"/>
                <a:gd name="T58" fmla="*/ 0 w 118"/>
                <a:gd name="T59" fmla="*/ 34 h 176"/>
                <a:gd name="T60" fmla="*/ 0 w 118"/>
                <a:gd name="T61" fmla="*/ 38 h 176"/>
                <a:gd name="T62" fmla="*/ 4 w 118"/>
                <a:gd name="T63" fmla="*/ 44 h 176"/>
                <a:gd name="T64" fmla="*/ 4 w 118"/>
                <a:gd name="T65" fmla="*/ 44 h 176"/>
                <a:gd name="T66" fmla="*/ 20 w 118"/>
                <a:gd name="T67" fmla="*/ 72 h 176"/>
                <a:gd name="T68" fmla="*/ 34 w 118"/>
                <a:gd name="T69" fmla="*/ 98 h 176"/>
                <a:gd name="T70" fmla="*/ 48 w 118"/>
                <a:gd name="T71" fmla="*/ 128 h 176"/>
                <a:gd name="T72" fmla="*/ 60 w 118"/>
                <a:gd name="T73" fmla="*/ 15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76">
                  <a:moveTo>
                    <a:pt x="60" y="156"/>
                  </a:moveTo>
                  <a:lnTo>
                    <a:pt x="60" y="156"/>
                  </a:lnTo>
                  <a:lnTo>
                    <a:pt x="62" y="162"/>
                  </a:lnTo>
                  <a:lnTo>
                    <a:pt x="66" y="166"/>
                  </a:lnTo>
                  <a:lnTo>
                    <a:pt x="76" y="172"/>
                  </a:lnTo>
                  <a:lnTo>
                    <a:pt x="86" y="176"/>
                  </a:lnTo>
                  <a:lnTo>
                    <a:pt x="92" y="176"/>
                  </a:lnTo>
                  <a:lnTo>
                    <a:pt x="98" y="174"/>
                  </a:lnTo>
                  <a:lnTo>
                    <a:pt x="98" y="174"/>
                  </a:lnTo>
                  <a:lnTo>
                    <a:pt x="108" y="168"/>
                  </a:lnTo>
                  <a:lnTo>
                    <a:pt x="114" y="160"/>
                  </a:lnTo>
                  <a:lnTo>
                    <a:pt x="118" y="150"/>
                  </a:lnTo>
                  <a:lnTo>
                    <a:pt x="116" y="138"/>
                  </a:lnTo>
                  <a:lnTo>
                    <a:pt x="116" y="138"/>
                  </a:lnTo>
                  <a:lnTo>
                    <a:pt x="104" y="106"/>
                  </a:lnTo>
                  <a:lnTo>
                    <a:pt x="88" y="74"/>
                  </a:lnTo>
                  <a:lnTo>
                    <a:pt x="72" y="44"/>
                  </a:lnTo>
                  <a:lnTo>
                    <a:pt x="54" y="14"/>
                  </a:lnTo>
                  <a:lnTo>
                    <a:pt x="54" y="14"/>
                  </a:lnTo>
                  <a:lnTo>
                    <a:pt x="50" y="8"/>
                  </a:lnTo>
                  <a:lnTo>
                    <a:pt x="46" y="4"/>
                  </a:lnTo>
                  <a:lnTo>
                    <a:pt x="36" y="0"/>
                  </a:lnTo>
                  <a:lnTo>
                    <a:pt x="24" y="0"/>
                  </a:lnTo>
                  <a:lnTo>
                    <a:pt x="18" y="0"/>
                  </a:lnTo>
                  <a:lnTo>
                    <a:pt x="14" y="4"/>
                  </a:lnTo>
                  <a:lnTo>
                    <a:pt x="14" y="4"/>
                  </a:lnTo>
                  <a:lnTo>
                    <a:pt x="8" y="8"/>
                  </a:lnTo>
                  <a:lnTo>
                    <a:pt x="4" y="12"/>
                  </a:lnTo>
                  <a:lnTo>
                    <a:pt x="0" y="22"/>
                  </a:lnTo>
                  <a:lnTo>
                    <a:pt x="0" y="34"/>
                  </a:lnTo>
                  <a:lnTo>
                    <a:pt x="0" y="38"/>
                  </a:lnTo>
                  <a:lnTo>
                    <a:pt x="4" y="44"/>
                  </a:lnTo>
                  <a:lnTo>
                    <a:pt x="4" y="44"/>
                  </a:lnTo>
                  <a:lnTo>
                    <a:pt x="20" y="72"/>
                  </a:lnTo>
                  <a:lnTo>
                    <a:pt x="34" y="98"/>
                  </a:lnTo>
                  <a:lnTo>
                    <a:pt x="48" y="128"/>
                  </a:lnTo>
                  <a:lnTo>
                    <a:pt x="60" y="1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254">
              <a:extLst>
                <a:ext uri="{FF2B5EF4-FFF2-40B4-BE49-F238E27FC236}">
                  <a16:creationId xmlns:a16="http://schemas.microsoft.com/office/drawing/2014/main" id="{6E455D37-7A94-4DA5-99A8-92518F1E25E4}"/>
                </a:ext>
              </a:extLst>
            </p:cNvPr>
            <p:cNvSpPr>
              <a:spLocks/>
            </p:cNvSpPr>
            <p:nvPr/>
          </p:nvSpPr>
          <p:spPr bwMode="auto">
            <a:xfrm>
              <a:off x="14520863" y="3108325"/>
              <a:ext cx="993775" cy="1082675"/>
            </a:xfrm>
            <a:custGeom>
              <a:avLst/>
              <a:gdLst>
                <a:gd name="T0" fmla="*/ 440 w 626"/>
                <a:gd name="T1" fmla="*/ 682 h 682"/>
                <a:gd name="T2" fmla="*/ 364 w 626"/>
                <a:gd name="T3" fmla="*/ 622 h 682"/>
                <a:gd name="T4" fmla="*/ 200 w 626"/>
                <a:gd name="T5" fmla="*/ 478 h 682"/>
                <a:gd name="T6" fmla="*/ 116 w 626"/>
                <a:gd name="T7" fmla="*/ 384 h 682"/>
                <a:gd name="T8" fmla="*/ 48 w 626"/>
                <a:gd name="T9" fmla="*/ 286 h 682"/>
                <a:gd name="T10" fmla="*/ 4 w 626"/>
                <a:gd name="T11" fmla="*/ 184 h 682"/>
                <a:gd name="T12" fmla="*/ 0 w 626"/>
                <a:gd name="T13" fmla="*/ 154 h 682"/>
                <a:gd name="T14" fmla="*/ 6 w 626"/>
                <a:gd name="T15" fmla="*/ 110 h 682"/>
                <a:gd name="T16" fmla="*/ 22 w 626"/>
                <a:gd name="T17" fmla="*/ 72 h 682"/>
                <a:gd name="T18" fmla="*/ 50 w 626"/>
                <a:gd name="T19" fmla="*/ 38 h 682"/>
                <a:gd name="T20" fmla="*/ 86 w 626"/>
                <a:gd name="T21" fmla="*/ 14 h 682"/>
                <a:gd name="T22" fmla="*/ 114 w 626"/>
                <a:gd name="T23" fmla="*/ 4 h 682"/>
                <a:gd name="T24" fmla="*/ 156 w 626"/>
                <a:gd name="T25" fmla="*/ 0 h 682"/>
                <a:gd name="T26" fmla="*/ 196 w 626"/>
                <a:gd name="T27" fmla="*/ 8 h 682"/>
                <a:gd name="T28" fmla="*/ 232 w 626"/>
                <a:gd name="T29" fmla="*/ 26 h 682"/>
                <a:gd name="T30" fmla="*/ 262 w 626"/>
                <a:gd name="T31" fmla="*/ 52 h 682"/>
                <a:gd name="T32" fmla="*/ 284 w 626"/>
                <a:gd name="T33" fmla="*/ 88 h 682"/>
                <a:gd name="T34" fmla="*/ 296 w 626"/>
                <a:gd name="T35" fmla="*/ 122 h 682"/>
                <a:gd name="T36" fmla="*/ 342 w 626"/>
                <a:gd name="T37" fmla="*/ 192 h 682"/>
                <a:gd name="T38" fmla="*/ 434 w 626"/>
                <a:gd name="T39" fmla="*/ 290 h 682"/>
                <a:gd name="T40" fmla="*/ 614 w 626"/>
                <a:gd name="T41" fmla="*/ 444 h 682"/>
                <a:gd name="T42" fmla="*/ 622 w 626"/>
                <a:gd name="T43" fmla="*/ 452 h 682"/>
                <a:gd name="T44" fmla="*/ 624 w 626"/>
                <a:gd name="T45" fmla="*/ 480 h 682"/>
                <a:gd name="T46" fmla="*/ 618 w 626"/>
                <a:gd name="T47" fmla="*/ 490 h 682"/>
                <a:gd name="T48" fmla="*/ 590 w 626"/>
                <a:gd name="T49" fmla="*/ 496 h 682"/>
                <a:gd name="T50" fmla="*/ 580 w 626"/>
                <a:gd name="T51" fmla="*/ 492 h 682"/>
                <a:gd name="T52" fmla="*/ 520 w 626"/>
                <a:gd name="T53" fmla="*/ 444 h 682"/>
                <a:gd name="T54" fmla="*/ 360 w 626"/>
                <a:gd name="T55" fmla="*/ 300 h 682"/>
                <a:gd name="T56" fmla="*/ 278 w 626"/>
                <a:gd name="T57" fmla="*/ 206 h 682"/>
                <a:gd name="T58" fmla="*/ 240 w 626"/>
                <a:gd name="T59" fmla="*/ 140 h 682"/>
                <a:gd name="T60" fmla="*/ 226 w 626"/>
                <a:gd name="T61" fmla="*/ 100 h 682"/>
                <a:gd name="T62" fmla="*/ 190 w 626"/>
                <a:gd name="T63" fmla="*/ 64 h 682"/>
                <a:gd name="T64" fmla="*/ 140 w 626"/>
                <a:gd name="T65" fmla="*/ 54 h 682"/>
                <a:gd name="T66" fmla="*/ 104 w 626"/>
                <a:gd name="T67" fmla="*/ 64 h 682"/>
                <a:gd name="T68" fmla="*/ 68 w 626"/>
                <a:gd name="T69" fmla="*/ 100 h 682"/>
                <a:gd name="T70" fmla="*/ 58 w 626"/>
                <a:gd name="T71" fmla="*/ 150 h 682"/>
                <a:gd name="T72" fmla="*/ 72 w 626"/>
                <a:gd name="T73" fmla="*/ 198 h 682"/>
                <a:gd name="T74" fmla="*/ 120 w 626"/>
                <a:gd name="T75" fmla="*/ 292 h 682"/>
                <a:gd name="T76" fmla="*/ 192 w 626"/>
                <a:gd name="T77" fmla="*/ 382 h 682"/>
                <a:gd name="T78" fmla="*/ 338 w 626"/>
                <a:gd name="T79" fmla="*/ 524 h 682"/>
                <a:gd name="T80" fmla="*/ 468 w 626"/>
                <a:gd name="T81" fmla="*/ 630 h 682"/>
                <a:gd name="T82" fmla="*/ 478 w 626"/>
                <a:gd name="T83" fmla="*/ 650 h 682"/>
                <a:gd name="T84" fmla="*/ 472 w 626"/>
                <a:gd name="T85" fmla="*/ 672 h 682"/>
                <a:gd name="T86" fmla="*/ 462 w 626"/>
                <a:gd name="T87" fmla="*/ 680 h 682"/>
                <a:gd name="T88" fmla="*/ 450 w 626"/>
                <a:gd name="T89" fmla="*/ 68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6" h="682">
                  <a:moveTo>
                    <a:pt x="450" y="682"/>
                  </a:moveTo>
                  <a:lnTo>
                    <a:pt x="450" y="682"/>
                  </a:lnTo>
                  <a:lnTo>
                    <a:pt x="440" y="682"/>
                  </a:lnTo>
                  <a:lnTo>
                    <a:pt x="432" y="676"/>
                  </a:lnTo>
                  <a:lnTo>
                    <a:pt x="432" y="676"/>
                  </a:lnTo>
                  <a:lnTo>
                    <a:pt x="364" y="622"/>
                  </a:lnTo>
                  <a:lnTo>
                    <a:pt x="296" y="566"/>
                  </a:lnTo>
                  <a:lnTo>
                    <a:pt x="232" y="508"/>
                  </a:lnTo>
                  <a:lnTo>
                    <a:pt x="200" y="478"/>
                  </a:lnTo>
                  <a:lnTo>
                    <a:pt x="170" y="446"/>
                  </a:lnTo>
                  <a:lnTo>
                    <a:pt x="142" y="416"/>
                  </a:lnTo>
                  <a:lnTo>
                    <a:pt x="116" y="384"/>
                  </a:lnTo>
                  <a:lnTo>
                    <a:pt x="92" y="352"/>
                  </a:lnTo>
                  <a:lnTo>
                    <a:pt x="68" y="318"/>
                  </a:lnTo>
                  <a:lnTo>
                    <a:pt x="48" y="286"/>
                  </a:lnTo>
                  <a:lnTo>
                    <a:pt x="30" y="252"/>
                  </a:lnTo>
                  <a:lnTo>
                    <a:pt x="16" y="218"/>
                  </a:lnTo>
                  <a:lnTo>
                    <a:pt x="4" y="184"/>
                  </a:lnTo>
                  <a:lnTo>
                    <a:pt x="4" y="184"/>
                  </a:lnTo>
                  <a:lnTo>
                    <a:pt x="2" y="168"/>
                  </a:lnTo>
                  <a:lnTo>
                    <a:pt x="0" y="154"/>
                  </a:lnTo>
                  <a:lnTo>
                    <a:pt x="0" y="138"/>
                  </a:lnTo>
                  <a:lnTo>
                    <a:pt x="2" y="124"/>
                  </a:lnTo>
                  <a:lnTo>
                    <a:pt x="6" y="110"/>
                  </a:lnTo>
                  <a:lnTo>
                    <a:pt x="10" y="96"/>
                  </a:lnTo>
                  <a:lnTo>
                    <a:pt x="16" y="84"/>
                  </a:lnTo>
                  <a:lnTo>
                    <a:pt x="22" y="72"/>
                  </a:lnTo>
                  <a:lnTo>
                    <a:pt x="30" y="60"/>
                  </a:lnTo>
                  <a:lnTo>
                    <a:pt x="40" y="48"/>
                  </a:lnTo>
                  <a:lnTo>
                    <a:pt x="50" y="38"/>
                  </a:lnTo>
                  <a:lnTo>
                    <a:pt x="60" y="30"/>
                  </a:lnTo>
                  <a:lnTo>
                    <a:pt x="72" y="22"/>
                  </a:lnTo>
                  <a:lnTo>
                    <a:pt x="86" y="14"/>
                  </a:lnTo>
                  <a:lnTo>
                    <a:pt x="100" y="8"/>
                  </a:lnTo>
                  <a:lnTo>
                    <a:pt x="114" y="4"/>
                  </a:lnTo>
                  <a:lnTo>
                    <a:pt x="114" y="4"/>
                  </a:lnTo>
                  <a:lnTo>
                    <a:pt x="128" y="2"/>
                  </a:lnTo>
                  <a:lnTo>
                    <a:pt x="142" y="0"/>
                  </a:lnTo>
                  <a:lnTo>
                    <a:pt x="156" y="0"/>
                  </a:lnTo>
                  <a:lnTo>
                    <a:pt x="170" y="2"/>
                  </a:lnTo>
                  <a:lnTo>
                    <a:pt x="182" y="4"/>
                  </a:lnTo>
                  <a:lnTo>
                    <a:pt x="196" y="8"/>
                  </a:lnTo>
                  <a:lnTo>
                    <a:pt x="208" y="12"/>
                  </a:lnTo>
                  <a:lnTo>
                    <a:pt x="220" y="18"/>
                  </a:lnTo>
                  <a:lnTo>
                    <a:pt x="232" y="26"/>
                  </a:lnTo>
                  <a:lnTo>
                    <a:pt x="242" y="34"/>
                  </a:lnTo>
                  <a:lnTo>
                    <a:pt x="252" y="42"/>
                  </a:lnTo>
                  <a:lnTo>
                    <a:pt x="262" y="52"/>
                  </a:lnTo>
                  <a:lnTo>
                    <a:pt x="270" y="64"/>
                  </a:lnTo>
                  <a:lnTo>
                    <a:pt x="278" y="76"/>
                  </a:lnTo>
                  <a:lnTo>
                    <a:pt x="284" y="88"/>
                  </a:lnTo>
                  <a:lnTo>
                    <a:pt x="288" y="102"/>
                  </a:lnTo>
                  <a:lnTo>
                    <a:pt x="288" y="102"/>
                  </a:lnTo>
                  <a:lnTo>
                    <a:pt x="296" y="122"/>
                  </a:lnTo>
                  <a:lnTo>
                    <a:pt x="308" y="144"/>
                  </a:lnTo>
                  <a:lnTo>
                    <a:pt x="324" y="168"/>
                  </a:lnTo>
                  <a:lnTo>
                    <a:pt x="342" y="192"/>
                  </a:lnTo>
                  <a:lnTo>
                    <a:pt x="362" y="216"/>
                  </a:lnTo>
                  <a:lnTo>
                    <a:pt x="384" y="242"/>
                  </a:lnTo>
                  <a:lnTo>
                    <a:pt x="434" y="290"/>
                  </a:lnTo>
                  <a:lnTo>
                    <a:pt x="484" y="336"/>
                  </a:lnTo>
                  <a:lnTo>
                    <a:pt x="534" y="380"/>
                  </a:lnTo>
                  <a:lnTo>
                    <a:pt x="614" y="444"/>
                  </a:lnTo>
                  <a:lnTo>
                    <a:pt x="614" y="444"/>
                  </a:lnTo>
                  <a:lnTo>
                    <a:pt x="620" y="448"/>
                  </a:lnTo>
                  <a:lnTo>
                    <a:pt x="622" y="452"/>
                  </a:lnTo>
                  <a:lnTo>
                    <a:pt x="626" y="464"/>
                  </a:lnTo>
                  <a:lnTo>
                    <a:pt x="626" y="474"/>
                  </a:lnTo>
                  <a:lnTo>
                    <a:pt x="624" y="480"/>
                  </a:lnTo>
                  <a:lnTo>
                    <a:pt x="622" y="486"/>
                  </a:lnTo>
                  <a:lnTo>
                    <a:pt x="622" y="486"/>
                  </a:lnTo>
                  <a:lnTo>
                    <a:pt x="618" y="490"/>
                  </a:lnTo>
                  <a:lnTo>
                    <a:pt x="612" y="494"/>
                  </a:lnTo>
                  <a:lnTo>
                    <a:pt x="602" y="498"/>
                  </a:lnTo>
                  <a:lnTo>
                    <a:pt x="590" y="496"/>
                  </a:lnTo>
                  <a:lnTo>
                    <a:pt x="584" y="494"/>
                  </a:lnTo>
                  <a:lnTo>
                    <a:pt x="580" y="492"/>
                  </a:lnTo>
                  <a:lnTo>
                    <a:pt x="580" y="492"/>
                  </a:lnTo>
                  <a:lnTo>
                    <a:pt x="578" y="490"/>
                  </a:lnTo>
                  <a:lnTo>
                    <a:pt x="578" y="490"/>
                  </a:lnTo>
                  <a:lnTo>
                    <a:pt x="520" y="444"/>
                  </a:lnTo>
                  <a:lnTo>
                    <a:pt x="464" y="398"/>
                  </a:lnTo>
                  <a:lnTo>
                    <a:pt x="410" y="350"/>
                  </a:lnTo>
                  <a:lnTo>
                    <a:pt x="360" y="300"/>
                  </a:lnTo>
                  <a:lnTo>
                    <a:pt x="316" y="254"/>
                  </a:lnTo>
                  <a:lnTo>
                    <a:pt x="296" y="230"/>
                  </a:lnTo>
                  <a:lnTo>
                    <a:pt x="278" y="206"/>
                  </a:lnTo>
                  <a:lnTo>
                    <a:pt x="262" y="184"/>
                  </a:lnTo>
                  <a:lnTo>
                    <a:pt x="250" y="162"/>
                  </a:lnTo>
                  <a:lnTo>
                    <a:pt x="240" y="140"/>
                  </a:lnTo>
                  <a:lnTo>
                    <a:pt x="232" y="118"/>
                  </a:lnTo>
                  <a:lnTo>
                    <a:pt x="232" y="118"/>
                  </a:lnTo>
                  <a:lnTo>
                    <a:pt x="226" y="100"/>
                  </a:lnTo>
                  <a:lnTo>
                    <a:pt x="216" y="86"/>
                  </a:lnTo>
                  <a:lnTo>
                    <a:pt x="204" y="74"/>
                  </a:lnTo>
                  <a:lnTo>
                    <a:pt x="190" y="64"/>
                  </a:lnTo>
                  <a:lnTo>
                    <a:pt x="174" y="58"/>
                  </a:lnTo>
                  <a:lnTo>
                    <a:pt x="156" y="54"/>
                  </a:lnTo>
                  <a:lnTo>
                    <a:pt x="140" y="54"/>
                  </a:lnTo>
                  <a:lnTo>
                    <a:pt x="122" y="56"/>
                  </a:lnTo>
                  <a:lnTo>
                    <a:pt x="122" y="56"/>
                  </a:lnTo>
                  <a:lnTo>
                    <a:pt x="104" y="64"/>
                  </a:lnTo>
                  <a:lnTo>
                    <a:pt x="90" y="74"/>
                  </a:lnTo>
                  <a:lnTo>
                    <a:pt x="78" y="86"/>
                  </a:lnTo>
                  <a:lnTo>
                    <a:pt x="68" y="100"/>
                  </a:lnTo>
                  <a:lnTo>
                    <a:pt x="62" y="114"/>
                  </a:lnTo>
                  <a:lnTo>
                    <a:pt x="58" y="132"/>
                  </a:lnTo>
                  <a:lnTo>
                    <a:pt x="58" y="150"/>
                  </a:lnTo>
                  <a:lnTo>
                    <a:pt x="60" y="166"/>
                  </a:lnTo>
                  <a:lnTo>
                    <a:pt x="60" y="166"/>
                  </a:lnTo>
                  <a:lnTo>
                    <a:pt x="72" y="198"/>
                  </a:lnTo>
                  <a:lnTo>
                    <a:pt x="86" y="230"/>
                  </a:lnTo>
                  <a:lnTo>
                    <a:pt x="102" y="260"/>
                  </a:lnTo>
                  <a:lnTo>
                    <a:pt x="120" y="292"/>
                  </a:lnTo>
                  <a:lnTo>
                    <a:pt x="142" y="322"/>
                  </a:lnTo>
                  <a:lnTo>
                    <a:pt x="166" y="352"/>
                  </a:lnTo>
                  <a:lnTo>
                    <a:pt x="192" y="382"/>
                  </a:lnTo>
                  <a:lnTo>
                    <a:pt x="218" y="410"/>
                  </a:lnTo>
                  <a:lnTo>
                    <a:pt x="276" y="468"/>
                  </a:lnTo>
                  <a:lnTo>
                    <a:pt x="338" y="524"/>
                  </a:lnTo>
                  <a:lnTo>
                    <a:pt x="404" y="578"/>
                  </a:lnTo>
                  <a:lnTo>
                    <a:pt x="468" y="630"/>
                  </a:lnTo>
                  <a:lnTo>
                    <a:pt x="468" y="630"/>
                  </a:lnTo>
                  <a:lnTo>
                    <a:pt x="472" y="634"/>
                  </a:lnTo>
                  <a:lnTo>
                    <a:pt x="476" y="640"/>
                  </a:lnTo>
                  <a:lnTo>
                    <a:pt x="478" y="650"/>
                  </a:lnTo>
                  <a:lnTo>
                    <a:pt x="478" y="662"/>
                  </a:lnTo>
                  <a:lnTo>
                    <a:pt x="476" y="666"/>
                  </a:lnTo>
                  <a:lnTo>
                    <a:pt x="472" y="672"/>
                  </a:lnTo>
                  <a:lnTo>
                    <a:pt x="472" y="672"/>
                  </a:lnTo>
                  <a:lnTo>
                    <a:pt x="468" y="676"/>
                  </a:lnTo>
                  <a:lnTo>
                    <a:pt x="462" y="680"/>
                  </a:lnTo>
                  <a:lnTo>
                    <a:pt x="456" y="682"/>
                  </a:lnTo>
                  <a:lnTo>
                    <a:pt x="450" y="682"/>
                  </a:lnTo>
                  <a:lnTo>
                    <a:pt x="450" y="6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255">
              <a:extLst>
                <a:ext uri="{FF2B5EF4-FFF2-40B4-BE49-F238E27FC236}">
                  <a16:creationId xmlns:a16="http://schemas.microsoft.com/office/drawing/2014/main" id="{B59FBCFB-3D27-463F-8A94-034F5DE58546}"/>
                </a:ext>
              </a:extLst>
            </p:cNvPr>
            <p:cNvSpPr>
              <a:spLocks/>
            </p:cNvSpPr>
            <p:nvPr/>
          </p:nvSpPr>
          <p:spPr bwMode="auto">
            <a:xfrm>
              <a:off x="13990638" y="2724150"/>
              <a:ext cx="1657350" cy="1228725"/>
            </a:xfrm>
            <a:custGeom>
              <a:avLst/>
              <a:gdLst>
                <a:gd name="T0" fmla="*/ 24 w 1044"/>
                <a:gd name="T1" fmla="*/ 774 h 774"/>
                <a:gd name="T2" fmla="*/ 2 w 1044"/>
                <a:gd name="T3" fmla="*/ 756 h 774"/>
                <a:gd name="T4" fmla="*/ 0 w 1044"/>
                <a:gd name="T5" fmla="*/ 746 h 774"/>
                <a:gd name="T6" fmla="*/ 12 w 1044"/>
                <a:gd name="T7" fmla="*/ 722 h 774"/>
                <a:gd name="T8" fmla="*/ 36 w 1044"/>
                <a:gd name="T9" fmla="*/ 712 h 774"/>
                <a:gd name="T10" fmla="*/ 76 w 1044"/>
                <a:gd name="T11" fmla="*/ 686 h 774"/>
                <a:gd name="T12" fmla="*/ 104 w 1044"/>
                <a:gd name="T13" fmla="*/ 650 h 774"/>
                <a:gd name="T14" fmla="*/ 122 w 1044"/>
                <a:gd name="T15" fmla="*/ 596 h 774"/>
                <a:gd name="T16" fmla="*/ 118 w 1044"/>
                <a:gd name="T17" fmla="*/ 522 h 774"/>
                <a:gd name="T18" fmla="*/ 102 w 1044"/>
                <a:gd name="T19" fmla="*/ 452 h 774"/>
                <a:gd name="T20" fmla="*/ 98 w 1044"/>
                <a:gd name="T21" fmla="*/ 338 h 774"/>
                <a:gd name="T22" fmla="*/ 128 w 1044"/>
                <a:gd name="T23" fmla="*/ 230 h 774"/>
                <a:gd name="T24" fmla="*/ 186 w 1044"/>
                <a:gd name="T25" fmla="*/ 136 h 774"/>
                <a:gd name="T26" fmla="*/ 268 w 1044"/>
                <a:gd name="T27" fmla="*/ 62 h 774"/>
                <a:gd name="T28" fmla="*/ 374 w 1044"/>
                <a:gd name="T29" fmla="*/ 14 h 774"/>
                <a:gd name="T30" fmla="*/ 374 w 1044"/>
                <a:gd name="T31" fmla="*/ 14 h 774"/>
                <a:gd name="T32" fmla="*/ 486 w 1044"/>
                <a:gd name="T33" fmla="*/ 0 h 774"/>
                <a:gd name="T34" fmla="*/ 596 w 1044"/>
                <a:gd name="T35" fmla="*/ 18 h 774"/>
                <a:gd name="T36" fmla="*/ 692 w 1044"/>
                <a:gd name="T37" fmla="*/ 64 h 774"/>
                <a:gd name="T38" fmla="*/ 774 w 1044"/>
                <a:gd name="T39" fmla="*/ 136 h 774"/>
                <a:gd name="T40" fmla="*/ 834 w 1044"/>
                <a:gd name="T41" fmla="*/ 230 h 774"/>
                <a:gd name="T42" fmla="*/ 920 w 1044"/>
                <a:gd name="T43" fmla="*/ 328 h 774"/>
                <a:gd name="T44" fmla="*/ 1036 w 1044"/>
                <a:gd name="T45" fmla="*/ 424 h 774"/>
                <a:gd name="T46" fmla="*/ 1042 w 1044"/>
                <a:gd name="T47" fmla="*/ 452 h 774"/>
                <a:gd name="T48" fmla="*/ 1036 w 1044"/>
                <a:gd name="T49" fmla="*/ 462 h 774"/>
                <a:gd name="T50" fmla="*/ 1006 w 1044"/>
                <a:gd name="T51" fmla="*/ 472 h 774"/>
                <a:gd name="T52" fmla="*/ 884 w 1044"/>
                <a:gd name="T53" fmla="*/ 376 h 774"/>
                <a:gd name="T54" fmla="*/ 796 w 1044"/>
                <a:gd name="T55" fmla="*/ 296 h 774"/>
                <a:gd name="T56" fmla="*/ 792 w 1044"/>
                <a:gd name="T57" fmla="*/ 290 h 774"/>
                <a:gd name="T58" fmla="*/ 750 w 1044"/>
                <a:gd name="T59" fmla="*/ 202 h 774"/>
                <a:gd name="T60" fmla="*/ 688 w 1044"/>
                <a:gd name="T61" fmla="*/ 134 h 774"/>
                <a:gd name="T62" fmla="*/ 608 w 1044"/>
                <a:gd name="T63" fmla="*/ 84 h 774"/>
                <a:gd name="T64" fmla="*/ 518 w 1044"/>
                <a:gd name="T65" fmla="*/ 60 h 774"/>
                <a:gd name="T66" fmla="*/ 422 w 1044"/>
                <a:gd name="T67" fmla="*/ 64 h 774"/>
                <a:gd name="T68" fmla="*/ 360 w 1044"/>
                <a:gd name="T69" fmla="*/ 82 h 774"/>
                <a:gd name="T70" fmla="*/ 276 w 1044"/>
                <a:gd name="T71" fmla="*/ 130 h 774"/>
                <a:gd name="T72" fmla="*/ 212 w 1044"/>
                <a:gd name="T73" fmla="*/ 200 h 774"/>
                <a:gd name="T74" fmla="*/ 170 w 1044"/>
                <a:gd name="T75" fmla="*/ 284 h 774"/>
                <a:gd name="T76" fmla="*/ 154 w 1044"/>
                <a:gd name="T77" fmla="*/ 378 h 774"/>
                <a:gd name="T78" fmla="*/ 168 w 1044"/>
                <a:gd name="T79" fmla="*/ 474 h 774"/>
                <a:gd name="T80" fmla="*/ 168 w 1044"/>
                <a:gd name="T81" fmla="*/ 474 h 774"/>
                <a:gd name="T82" fmla="*/ 182 w 1044"/>
                <a:gd name="T83" fmla="*/ 564 h 774"/>
                <a:gd name="T84" fmla="*/ 172 w 1044"/>
                <a:gd name="T85" fmla="*/ 638 h 774"/>
                <a:gd name="T86" fmla="*/ 146 w 1044"/>
                <a:gd name="T87" fmla="*/ 696 h 774"/>
                <a:gd name="T88" fmla="*/ 104 w 1044"/>
                <a:gd name="T89" fmla="*/ 740 h 774"/>
                <a:gd name="T90" fmla="*/ 56 w 1044"/>
                <a:gd name="T91" fmla="*/ 768 h 774"/>
                <a:gd name="T92" fmla="*/ 30 w 1044"/>
                <a:gd name="T93"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4" h="774">
                  <a:moveTo>
                    <a:pt x="30" y="774"/>
                  </a:moveTo>
                  <a:lnTo>
                    <a:pt x="30" y="774"/>
                  </a:lnTo>
                  <a:lnTo>
                    <a:pt x="24" y="774"/>
                  </a:lnTo>
                  <a:lnTo>
                    <a:pt x="18" y="772"/>
                  </a:lnTo>
                  <a:lnTo>
                    <a:pt x="10" y="766"/>
                  </a:lnTo>
                  <a:lnTo>
                    <a:pt x="2" y="756"/>
                  </a:lnTo>
                  <a:lnTo>
                    <a:pt x="2" y="752"/>
                  </a:lnTo>
                  <a:lnTo>
                    <a:pt x="0" y="746"/>
                  </a:lnTo>
                  <a:lnTo>
                    <a:pt x="0" y="746"/>
                  </a:lnTo>
                  <a:lnTo>
                    <a:pt x="2" y="736"/>
                  </a:lnTo>
                  <a:lnTo>
                    <a:pt x="6" y="728"/>
                  </a:lnTo>
                  <a:lnTo>
                    <a:pt x="12" y="722"/>
                  </a:lnTo>
                  <a:lnTo>
                    <a:pt x="22" y="718"/>
                  </a:lnTo>
                  <a:lnTo>
                    <a:pt x="22" y="718"/>
                  </a:lnTo>
                  <a:lnTo>
                    <a:pt x="36" y="712"/>
                  </a:lnTo>
                  <a:lnTo>
                    <a:pt x="56" y="702"/>
                  </a:lnTo>
                  <a:lnTo>
                    <a:pt x="66" y="694"/>
                  </a:lnTo>
                  <a:lnTo>
                    <a:pt x="76" y="686"/>
                  </a:lnTo>
                  <a:lnTo>
                    <a:pt x="86" y="676"/>
                  </a:lnTo>
                  <a:lnTo>
                    <a:pt x="96" y="664"/>
                  </a:lnTo>
                  <a:lnTo>
                    <a:pt x="104" y="650"/>
                  </a:lnTo>
                  <a:lnTo>
                    <a:pt x="112" y="634"/>
                  </a:lnTo>
                  <a:lnTo>
                    <a:pt x="118" y="616"/>
                  </a:lnTo>
                  <a:lnTo>
                    <a:pt x="122" y="596"/>
                  </a:lnTo>
                  <a:lnTo>
                    <a:pt x="122" y="574"/>
                  </a:lnTo>
                  <a:lnTo>
                    <a:pt x="122" y="548"/>
                  </a:lnTo>
                  <a:lnTo>
                    <a:pt x="118" y="522"/>
                  </a:lnTo>
                  <a:lnTo>
                    <a:pt x="110" y="490"/>
                  </a:lnTo>
                  <a:lnTo>
                    <a:pt x="110" y="490"/>
                  </a:lnTo>
                  <a:lnTo>
                    <a:pt x="102" y="452"/>
                  </a:lnTo>
                  <a:lnTo>
                    <a:pt x="96" y="414"/>
                  </a:lnTo>
                  <a:lnTo>
                    <a:pt x="96" y="376"/>
                  </a:lnTo>
                  <a:lnTo>
                    <a:pt x="98" y="338"/>
                  </a:lnTo>
                  <a:lnTo>
                    <a:pt x="104" y="302"/>
                  </a:lnTo>
                  <a:lnTo>
                    <a:pt x="114" y="266"/>
                  </a:lnTo>
                  <a:lnTo>
                    <a:pt x="128" y="230"/>
                  </a:lnTo>
                  <a:lnTo>
                    <a:pt x="144" y="198"/>
                  </a:lnTo>
                  <a:lnTo>
                    <a:pt x="162" y="166"/>
                  </a:lnTo>
                  <a:lnTo>
                    <a:pt x="186" y="136"/>
                  </a:lnTo>
                  <a:lnTo>
                    <a:pt x="210" y="110"/>
                  </a:lnTo>
                  <a:lnTo>
                    <a:pt x="238" y="84"/>
                  </a:lnTo>
                  <a:lnTo>
                    <a:pt x="268" y="62"/>
                  </a:lnTo>
                  <a:lnTo>
                    <a:pt x="302" y="42"/>
                  </a:lnTo>
                  <a:lnTo>
                    <a:pt x="336" y="26"/>
                  </a:lnTo>
                  <a:lnTo>
                    <a:pt x="374" y="14"/>
                  </a:lnTo>
                  <a:lnTo>
                    <a:pt x="374" y="14"/>
                  </a:lnTo>
                  <a:lnTo>
                    <a:pt x="374" y="14"/>
                  </a:lnTo>
                  <a:lnTo>
                    <a:pt x="374" y="14"/>
                  </a:lnTo>
                  <a:lnTo>
                    <a:pt x="412" y="6"/>
                  </a:lnTo>
                  <a:lnTo>
                    <a:pt x="450" y="0"/>
                  </a:lnTo>
                  <a:lnTo>
                    <a:pt x="486" y="0"/>
                  </a:lnTo>
                  <a:lnTo>
                    <a:pt x="524" y="2"/>
                  </a:lnTo>
                  <a:lnTo>
                    <a:pt x="560" y="8"/>
                  </a:lnTo>
                  <a:lnTo>
                    <a:pt x="596" y="18"/>
                  </a:lnTo>
                  <a:lnTo>
                    <a:pt x="630" y="30"/>
                  </a:lnTo>
                  <a:lnTo>
                    <a:pt x="662" y="46"/>
                  </a:lnTo>
                  <a:lnTo>
                    <a:pt x="692" y="64"/>
                  </a:lnTo>
                  <a:lnTo>
                    <a:pt x="722" y="86"/>
                  </a:lnTo>
                  <a:lnTo>
                    <a:pt x="750" y="110"/>
                  </a:lnTo>
                  <a:lnTo>
                    <a:pt x="774" y="136"/>
                  </a:lnTo>
                  <a:lnTo>
                    <a:pt x="798" y="166"/>
                  </a:lnTo>
                  <a:lnTo>
                    <a:pt x="818" y="196"/>
                  </a:lnTo>
                  <a:lnTo>
                    <a:pt x="834" y="230"/>
                  </a:lnTo>
                  <a:lnTo>
                    <a:pt x="848" y="266"/>
                  </a:lnTo>
                  <a:lnTo>
                    <a:pt x="848" y="266"/>
                  </a:lnTo>
                  <a:lnTo>
                    <a:pt x="920" y="328"/>
                  </a:lnTo>
                  <a:lnTo>
                    <a:pt x="1032" y="420"/>
                  </a:lnTo>
                  <a:lnTo>
                    <a:pt x="1032" y="420"/>
                  </a:lnTo>
                  <a:lnTo>
                    <a:pt x="1036" y="424"/>
                  </a:lnTo>
                  <a:lnTo>
                    <a:pt x="1040" y="430"/>
                  </a:lnTo>
                  <a:lnTo>
                    <a:pt x="1044" y="440"/>
                  </a:lnTo>
                  <a:lnTo>
                    <a:pt x="1042" y="452"/>
                  </a:lnTo>
                  <a:lnTo>
                    <a:pt x="1040" y="458"/>
                  </a:lnTo>
                  <a:lnTo>
                    <a:pt x="1036" y="462"/>
                  </a:lnTo>
                  <a:lnTo>
                    <a:pt x="1036" y="462"/>
                  </a:lnTo>
                  <a:lnTo>
                    <a:pt x="1028" y="470"/>
                  </a:lnTo>
                  <a:lnTo>
                    <a:pt x="1016" y="472"/>
                  </a:lnTo>
                  <a:lnTo>
                    <a:pt x="1006" y="472"/>
                  </a:lnTo>
                  <a:lnTo>
                    <a:pt x="996" y="466"/>
                  </a:lnTo>
                  <a:lnTo>
                    <a:pt x="996" y="466"/>
                  </a:lnTo>
                  <a:lnTo>
                    <a:pt x="884" y="376"/>
                  </a:lnTo>
                  <a:lnTo>
                    <a:pt x="826" y="326"/>
                  </a:lnTo>
                  <a:lnTo>
                    <a:pt x="802" y="304"/>
                  </a:lnTo>
                  <a:lnTo>
                    <a:pt x="796" y="296"/>
                  </a:lnTo>
                  <a:lnTo>
                    <a:pt x="796" y="296"/>
                  </a:lnTo>
                  <a:lnTo>
                    <a:pt x="792" y="290"/>
                  </a:lnTo>
                  <a:lnTo>
                    <a:pt x="792" y="290"/>
                  </a:lnTo>
                  <a:lnTo>
                    <a:pt x="782" y="258"/>
                  </a:lnTo>
                  <a:lnTo>
                    <a:pt x="768" y="230"/>
                  </a:lnTo>
                  <a:lnTo>
                    <a:pt x="750" y="202"/>
                  </a:lnTo>
                  <a:lnTo>
                    <a:pt x="732" y="176"/>
                  </a:lnTo>
                  <a:lnTo>
                    <a:pt x="710" y="154"/>
                  </a:lnTo>
                  <a:lnTo>
                    <a:pt x="688" y="134"/>
                  </a:lnTo>
                  <a:lnTo>
                    <a:pt x="662" y="114"/>
                  </a:lnTo>
                  <a:lnTo>
                    <a:pt x="636" y="98"/>
                  </a:lnTo>
                  <a:lnTo>
                    <a:pt x="608" y="84"/>
                  </a:lnTo>
                  <a:lnTo>
                    <a:pt x="580" y="74"/>
                  </a:lnTo>
                  <a:lnTo>
                    <a:pt x="550" y="66"/>
                  </a:lnTo>
                  <a:lnTo>
                    <a:pt x="518" y="60"/>
                  </a:lnTo>
                  <a:lnTo>
                    <a:pt x="486" y="58"/>
                  </a:lnTo>
                  <a:lnTo>
                    <a:pt x="454" y="60"/>
                  </a:lnTo>
                  <a:lnTo>
                    <a:pt x="422" y="64"/>
                  </a:lnTo>
                  <a:lnTo>
                    <a:pt x="390" y="70"/>
                  </a:lnTo>
                  <a:lnTo>
                    <a:pt x="390" y="70"/>
                  </a:lnTo>
                  <a:lnTo>
                    <a:pt x="360" y="82"/>
                  </a:lnTo>
                  <a:lnTo>
                    <a:pt x="330" y="96"/>
                  </a:lnTo>
                  <a:lnTo>
                    <a:pt x="302" y="112"/>
                  </a:lnTo>
                  <a:lnTo>
                    <a:pt x="276" y="130"/>
                  </a:lnTo>
                  <a:lnTo>
                    <a:pt x="252" y="152"/>
                  </a:lnTo>
                  <a:lnTo>
                    <a:pt x="230" y="174"/>
                  </a:lnTo>
                  <a:lnTo>
                    <a:pt x="212" y="200"/>
                  </a:lnTo>
                  <a:lnTo>
                    <a:pt x="196" y="226"/>
                  </a:lnTo>
                  <a:lnTo>
                    <a:pt x="182" y="254"/>
                  </a:lnTo>
                  <a:lnTo>
                    <a:pt x="170" y="284"/>
                  </a:lnTo>
                  <a:lnTo>
                    <a:pt x="162" y="314"/>
                  </a:lnTo>
                  <a:lnTo>
                    <a:pt x="156" y="346"/>
                  </a:lnTo>
                  <a:lnTo>
                    <a:pt x="154" y="378"/>
                  </a:lnTo>
                  <a:lnTo>
                    <a:pt x="156" y="410"/>
                  </a:lnTo>
                  <a:lnTo>
                    <a:pt x="160" y="442"/>
                  </a:lnTo>
                  <a:lnTo>
                    <a:pt x="168" y="474"/>
                  </a:lnTo>
                  <a:lnTo>
                    <a:pt x="168" y="474"/>
                  </a:lnTo>
                  <a:lnTo>
                    <a:pt x="168" y="474"/>
                  </a:lnTo>
                  <a:lnTo>
                    <a:pt x="168" y="474"/>
                  </a:lnTo>
                  <a:lnTo>
                    <a:pt x="176" y="506"/>
                  </a:lnTo>
                  <a:lnTo>
                    <a:pt x="180" y="536"/>
                  </a:lnTo>
                  <a:lnTo>
                    <a:pt x="182" y="564"/>
                  </a:lnTo>
                  <a:lnTo>
                    <a:pt x="182" y="592"/>
                  </a:lnTo>
                  <a:lnTo>
                    <a:pt x="178" y="616"/>
                  </a:lnTo>
                  <a:lnTo>
                    <a:pt x="172" y="638"/>
                  </a:lnTo>
                  <a:lnTo>
                    <a:pt x="166" y="660"/>
                  </a:lnTo>
                  <a:lnTo>
                    <a:pt x="156" y="680"/>
                  </a:lnTo>
                  <a:lnTo>
                    <a:pt x="146" y="696"/>
                  </a:lnTo>
                  <a:lnTo>
                    <a:pt x="132" y="712"/>
                  </a:lnTo>
                  <a:lnTo>
                    <a:pt x="120" y="726"/>
                  </a:lnTo>
                  <a:lnTo>
                    <a:pt x="104" y="740"/>
                  </a:lnTo>
                  <a:lnTo>
                    <a:pt x="88" y="750"/>
                  </a:lnTo>
                  <a:lnTo>
                    <a:pt x="72" y="760"/>
                  </a:lnTo>
                  <a:lnTo>
                    <a:pt x="56" y="768"/>
                  </a:lnTo>
                  <a:lnTo>
                    <a:pt x="40" y="774"/>
                  </a:lnTo>
                  <a:lnTo>
                    <a:pt x="40" y="774"/>
                  </a:lnTo>
                  <a:lnTo>
                    <a:pt x="30" y="7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256">
              <a:extLst>
                <a:ext uri="{FF2B5EF4-FFF2-40B4-BE49-F238E27FC236}">
                  <a16:creationId xmlns:a16="http://schemas.microsoft.com/office/drawing/2014/main" id="{E67AD4FD-B883-46BA-8EE8-709AA17F5E12}"/>
                </a:ext>
              </a:extLst>
            </p:cNvPr>
            <p:cNvSpPr>
              <a:spLocks/>
            </p:cNvSpPr>
            <p:nvPr/>
          </p:nvSpPr>
          <p:spPr bwMode="auto">
            <a:xfrm>
              <a:off x="13990638" y="2724150"/>
              <a:ext cx="1657350" cy="1228725"/>
            </a:xfrm>
            <a:custGeom>
              <a:avLst/>
              <a:gdLst>
                <a:gd name="T0" fmla="*/ 24 w 1044"/>
                <a:gd name="T1" fmla="*/ 774 h 774"/>
                <a:gd name="T2" fmla="*/ 2 w 1044"/>
                <a:gd name="T3" fmla="*/ 756 h 774"/>
                <a:gd name="T4" fmla="*/ 0 w 1044"/>
                <a:gd name="T5" fmla="*/ 746 h 774"/>
                <a:gd name="T6" fmla="*/ 12 w 1044"/>
                <a:gd name="T7" fmla="*/ 722 h 774"/>
                <a:gd name="T8" fmla="*/ 36 w 1044"/>
                <a:gd name="T9" fmla="*/ 712 h 774"/>
                <a:gd name="T10" fmla="*/ 76 w 1044"/>
                <a:gd name="T11" fmla="*/ 686 h 774"/>
                <a:gd name="T12" fmla="*/ 104 w 1044"/>
                <a:gd name="T13" fmla="*/ 650 h 774"/>
                <a:gd name="T14" fmla="*/ 122 w 1044"/>
                <a:gd name="T15" fmla="*/ 596 h 774"/>
                <a:gd name="T16" fmla="*/ 118 w 1044"/>
                <a:gd name="T17" fmla="*/ 522 h 774"/>
                <a:gd name="T18" fmla="*/ 102 w 1044"/>
                <a:gd name="T19" fmla="*/ 452 h 774"/>
                <a:gd name="T20" fmla="*/ 98 w 1044"/>
                <a:gd name="T21" fmla="*/ 338 h 774"/>
                <a:gd name="T22" fmla="*/ 128 w 1044"/>
                <a:gd name="T23" fmla="*/ 230 h 774"/>
                <a:gd name="T24" fmla="*/ 186 w 1044"/>
                <a:gd name="T25" fmla="*/ 136 h 774"/>
                <a:gd name="T26" fmla="*/ 268 w 1044"/>
                <a:gd name="T27" fmla="*/ 62 h 774"/>
                <a:gd name="T28" fmla="*/ 374 w 1044"/>
                <a:gd name="T29" fmla="*/ 14 h 774"/>
                <a:gd name="T30" fmla="*/ 374 w 1044"/>
                <a:gd name="T31" fmla="*/ 14 h 774"/>
                <a:gd name="T32" fmla="*/ 486 w 1044"/>
                <a:gd name="T33" fmla="*/ 0 h 774"/>
                <a:gd name="T34" fmla="*/ 596 w 1044"/>
                <a:gd name="T35" fmla="*/ 18 h 774"/>
                <a:gd name="T36" fmla="*/ 692 w 1044"/>
                <a:gd name="T37" fmla="*/ 64 h 774"/>
                <a:gd name="T38" fmla="*/ 774 w 1044"/>
                <a:gd name="T39" fmla="*/ 136 h 774"/>
                <a:gd name="T40" fmla="*/ 834 w 1044"/>
                <a:gd name="T41" fmla="*/ 230 h 774"/>
                <a:gd name="T42" fmla="*/ 920 w 1044"/>
                <a:gd name="T43" fmla="*/ 328 h 774"/>
                <a:gd name="T44" fmla="*/ 1036 w 1044"/>
                <a:gd name="T45" fmla="*/ 424 h 774"/>
                <a:gd name="T46" fmla="*/ 1042 w 1044"/>
                <a:gd name="T47" fmla="*/ 452 h 774"/>
                <a:gd name="T48" fmla="*/ 1036 w 1044"/>
                <a:gd name="T49" fmla="*/ 462 h 774"/>
                <a:gd name="T50" fmla="*/ 1006 w 1044"/>
                <a:gd name="T51" fmla="*/ 472 h 774"/>
                <a:gd name="T52" fmla="*/ 884 w 1044"/>
                <a:gd name="T53" fmla="*/ 376 h 774"/>
                <a:gd name="T54" fmla="*/ 796 w 1044"/>
                <a:gd name="T55" fmla="*/ 296 h 774"/>
                <a:gd name="T56" fmla="*/ 792 w 1044"/>
                <a:gd name="T57" fmla="*/ 290 h 774"/>
                <a:gd name="T58" fmla="*/ 750 w 1044"/>
                <a:gd name="T59" fmla="*/ 202 h 774"/>
                <a:gd name="T60" fmla="*/ 688 w 1044"/>
                <a:gd name="T61" fmla="*/ 134 h 774"/>
                <a:gd name="T62" fmla="*/ 608 w 1044"/>
                <a:gd name="T63" fmla="*/ 84 h 774"/>
                <a:gd name="T64" fmla="*/ 518 w 1044"/>
                <a:gd name="T65" fmla="*/ 60 h 774"/>
                <a:gd name="T66" fmla="*/ 422 w 1044"/>
                <a:gd name="T67" fmla="*/ 64 h 774"/>
                <a:gd name="T68" fmla="*/ 360 w 1044"/>
                <a:gd name="T69" fmla="*/ 82 h 774"/>
                <a:gd name="T70" fmla="*/ 276 w 1044"/>
                <a:gd name="T71" fmla="*/ 130 h 774"/>
                <a:gd name="T72" fmla="*/ 212 w 1044"/>
                <a:gd name="T73" fmla="*/ 200 h 774"/>
                <a:gd name="T74" fmla="*/ 170 w 1044"/>
                <a:gd name="T75" fmla="*/ 284 h 774"/>
                <a:gd name="T76" fmla="*/ 154 w 1044"/>
                <a:gd name="T77" fmla="*/ 378 h 774"/>
                <a:gd name="T78" fmla="*/ 168 w 1044"/>
                <a:gd name="T79" fmla="*/ 474 h 774"/>
                <a:gd name="T80" fmla="*/ 168 w 1044"/>
                <a:gd name="T81" fmla="*/ 474 h 774"/>
                <a:gd name="T82" fmla="*/ 182 w 1044"/>
                <a:gd name="T83" fmla="*/ 564 h 774"/>
                <a:gd name="T84" fmla="*/ 172 w 1044"/>
                <a:gd name="T85" fmla="*/ 638 h 774"/>
                <a:gd name="T86" fmla="*/ 146 w 1044"/>
                <a:gd name="T87" fmla="*/ 696 h 774"/>
                <a:gd name="T88" fmla="*/ 104 w 1044"/>
                <a:gd name="T89" fmla="*/ 740 h 774"/>
                <a:gd name="T90" fmla="*/ 56 w 1044"/>
                <a:gd name="T91" fmla="*/ 768 h 774"/>
                <a:gd name="T92" fmla="*/ 30 w 1044"/>
                <a:gd name="T93"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4" h="774">
                  <a:moveTo>
                    <a:pt x="30" y="774"/>
                  </a:moveTo>
                  <a:lnTo>
                    <a:pt x="30" y="774"/>
                  </a:lnTo>
                  <a:lnTo>
                    <a:pt x="24" y="774"/>
                  </a:lnTo>
                  <a:lnTo>
                    <a:pt x="18" y="772"/>
                  </a:lnTo>
                  <a:lnTo>
                    <a:pt x="10" y="766"/>
                  </a:lnTo>
                  <a:lnTo>
                    <a:pt x="2" y="756"/>
                  </a:lnTo>
                  <a:lnTo>
                    <a:pt x="2" y="752"/>
                  </a:lnTo>
                  <a:lnTo>
                    <a:pt x="0" y="746"/>
                  </a:lnTo>
                  <a:lnTo>
                    <a:pt x="0" y="746"/>
                  </a:lnTo>
                  <a:lnTo>
                    <a:pt x="2" y="736"/>
                  </a:lnTo>
                  <a:lnTo>
                    <a:pt x="6" y="728"/>
                  </a:lnTo>
                  <a:lnTo>
                    <a:pt x="12" y="722"/>
                  </a:lnTo>
                  <a:lnTo>
                    <a:pt x="22" y="718"/>
                  </a:lnTo>
                  <a:lnTo>
                    <a:pt x="22" y="718"/>
                  </a:lnTo>
                  <a:lnTo>
                    <a:pt x="36" y="712"/>
                  </a:lnTo>
                  <a:lnTo>
                    <a:pt x="56" y="702"/>
                  </a:lnTo>
                  <a:lnTo>
                    <a:pt x="66" y="694"/>
                  </a:lnTo>
                  <a:lnTo>
                    <a:pt x="76" y="686"/>
                  </a:lnTo>
                  <a:lnTo>
                    <a:pt x="86" y="676"/>
                  </a:lnTo>
                  <a:lnTo>
                    <a:pt x="96" y="664"/>
                  </a:lnTo>
                  <a:lnTo>
                    <a:pt x="104" y="650"/>
                  </a:lnTo>
                  <a:lnTo>
                    <a:pt x="112" y="634"/>
                  </a:lnTo>
                  <a:lnTo>
                    <a:pt x="118" y="616"/>
                  </a:lnTo>
                  <a:lnTo>
                    <a:pt x="122" y="596"/>
                  </a:lnTo>
                  <a:lnTo>
                    <a:pt x="122" y="574"/>
                  </a:lnTo>
                  <a:lnTo>
                    <a:pt x="122" y="548"/>
                  </a:lnTo>
                  <a:lnTo>
                    <a:pt x="118" y="522"/>
                  </a:lnTo>
                  <a:lnTo>
                    <a:pt x="110" y="490"/>
                  </a:lnTo>
                  <a:lnTo>
                    <a:pt x="110" y="490"/>
                  </a:lnTo>
                  <a:lnTo>
                    <a:pt x="102" y="452"/>
                  </a:lnTo>
                  <a:lnTo>
                    <a:pt x="96" y="414"/>
                  </a:lnTo>
                  <a:lnTo>
                    <a:pt x="96" y="376"/>
                  </a:lnTo>
                  <a:lnTo>
                    <a:pt x="98" y="338"/>
                  </a:lnTo>
                  <a:lnTo>
                    <a:pt x="104" y="302"/>
                  </a:lnTo>
                  <a:lnTo>
                    <a:pt x="114" y="266"/>
                  </a:lnTo>
                  <a:lnTo>
                    <a:pt x="128" y="230"/>
                  </a:lnTo>
                  <a:lnTo>
                    <a:pt x="144" y="198"/>
                  </a:lnTo>
                  <a:lnTo>
                    <a:pt x="162" y="166"/>
                  </a:lnTo>
                  <a:lnTo>
                    <a:pt x="186" y="136"/>
                  </a:lnTo>
                  <a:lnTo>
                    <a:pt x="210" y="110"/>
                  </a:lnTo>
                  <a:lnTo>
                    <a:pt x="238" y="84"/>
                  </a:lnTo>
                  <a:lnTo>
                    <a:pt x="268" y="62"/>
                  </a:lnTo>
                  <a:lnTo>
                    <a:pt x="302" y="42"/>
                  </a:lnTo>
                  <a:lnTo>
                    <a:pt x="336" y="26"/>
                  </a:lnTo>
                  <a:lnTo>
                    <a:pt x="374" y="14"/>
                  </a:lnTo>
                  <a:lnTo>
                    <a:pt x="374" y="14"/>
                  </a:lnTo>
                  <a:lnTo>
                    <a:pt x="374" y="14"/>
                  </a:lnTo>
                  <a:lnTo>
                    <a:pt x="374" y="14"/>
                  </a:lnTo>
                  <a:lnTo>
                    <a:pt x="412" y="6"/>
                  </a:lnTo>
                  <a:lnTo>
                    <a:pt x="450" y="0"/>
                  </a:lnTo>
                  <a:lnTo>
                    <a:pt x="486" y="0"/>
                  </a:lnTo>
                  <a:lnTo>
                    <a:pt x="524" y="2"/>
                  </a:lnTo>
                  <a:lnTo>
                    <a:pt x="560" y="8"/>
                  </a:lnTo>
                  <a:lnTo>
                    <a:pt x="596" y="18"/>
                  </a:lnTo>
                  <a:lnTo>
                    <a:pt x="630" y="30"/>
                  </a:lnTo>
                  <a:lnTo>
                    <a:pt x="662" y="46"/>
                  </a:lnTo>
                  <a:lnTo>
                    <a:pt x="692" y="64"/>
                  </a:lnTo>
                  <a:lnTo>
                    <a:pt x="722" y="86"/>
                  </a:lnTo>
                  <a:lnTo>
                    <a:pt x="750" y="110"/>
                  </a:lnTo>
                  <a:lnTo>
                    <a:pt x="774" y="136"/>
                  </a:lnTo>
                  <a:lnTo>
                    <a:pt x="798" y="166"/>
                  </a:lnTo>
                  <a:lnTo>
                    <a:pt x="818" y="196"/>
                  </a:lnTo>
                  <a:lnTo>
                    <a:pt x="834" y="230"/>
                  </a:lnTo>
                  <a:lnTo>
                    <a:pt x="848" y="266"/>
                  </a:lnTo>
                  <a:lnTo>
                    <a:pt x="848" y="266"/>
                  </a:lnTo>
                  <a:lnTo>
                    <a:pt x="920" y="328"/>
                  </a:lnTo>
                  <a:lnTo>
                    <a:pt x="1032" y="420"/>
                  </a:lnTo>
                  <a:lnTo>
                    <a:pt x="1032" y="420"/>
                  </a:lnTo>
                  <a:lnTo>
                    <a:pt x="1036" y="424"/>
                  </a:lnTo>
                  <a:lnTo>
                    <a:pt x="1040" y="430"/>
                  </a:lnTo>
                  <a:lnTo>
                    <a:pt x="1044" y="440"/>
                  </a:lnTo>
                  <a:lnTo>
                    <a:pt x="1042" y="452"/>
                  </a:lnTo>
                  <a:lnTo>
                    <a:pt x="1040" y="458"/>
                  </a:lnTo>
                  <a:lnTo>
                    <a:pt x="1036" y="462"/>
                  </a:lnTo>
                  <a:lnTo>
                    <a:pt x="1036" y="462"/>
                  </a:lnTo>
                  <a:lnTo>
                    <a:pt x="1028" y="470"/>
                  </a:lnTo>
                  <a:lnTo>
                    <a:pt x="1016" y="472"/>
                  </a:lnTo>
                  <a:lnTo>
                    <a:pt x="1006" y="472"/>
                  </a:lnTo>
                  <a:lnTo>
                    <a:pt x="996" y="466"/>
                  </a:lnTo>
                  <a:lnTo>
                    <a:pt x="996" y="466"/>
                  </a:lnTo>
                  <a:lnTo>
                    <a:pt x="884" y="376"/>
                  </a:lnTo>
                  <a:lnTo>
                    <a:pt x="826" y="326"/>
                  </a:lnTo>
                  <a:lnTo>
                    <a:pt x="802" y="304"/>
                  </a:lnTo>
                  <a:lnTo>
                    <a:pt x="796" y="296"/>
                  </a:lnTo>
                  <a:lnTo>
                    <a:pt x="796" y="296"/>
                  </a:lnTo>
                  <a:lnTo>
                    <a:pt x="792" y="290"/>
                  </a:lnTo>
                  <a:lnTo>
                    <a:pt x="792" y="290"/>
                  </a:lnTo>
                  <a:lnTo>
                    <a:pt x="782" y="258"/>
                  </a:lnTo>
                  <a:lnTo>
                    <a:pt x="768" y="230"/>
                  </a:lnTo>
                  <a:lnTo>
                    <a:pt x="750" y="202"/>
                  </a:lnTo>
                  <a:lnTo>
                    <a:pt x="732" y="176"/>
                  </a:lnTo>
                  <a:lnTo>
                    <a:pt x="710" y="154"/>
                  </a:lnTo>
                  <a:lnTo>
                    <a:pt x="688" y="134"/>
                  </a:lnTo>
                  <a:lnTo>
                    <a:pt x="662" y="114"/>
                  </a:lnTo>
                  <a:lnTo>
                    <a:pt x="636" y="98"/>
                  </a:lnTo>
                  <a:lnTo>
                    <a:pt x="608" y="84"/>
                  </a:lnTo>
                  <a:lnTo>
                    <a:pt x="580" y="74"/>
                  </a:lnTo>
                  <a:lnTo>
                    <a:pt x="550" y="66"/>
                  </a:lnTo>
                  <a:lnTo>
                    <a:pt x="518" y="60"/>
                  </a:lnTo>
                  <a:lnTo>
                    <a:pt x="486" y="58"/>
                  </a:lnTo>
                  <a:lnTo>
                    <a:pt x="454" y="60"/>
                  </a:lnTo>
                  <a:lnTo>
                    <a:pt x="422" y="64"/>
                  </a:lnTo>
                  <a:lnTo>
                    <a:pt x="390" y="70"/>
                  </a:lnTo>
                  <a:lnTo>
                    <a:pt x="390" y="70"/>
                  </a:lnTo>
                  <a:lnTo>
                    <a:pt x="360" y="82"/>
                  </a:lnTo>
                  <a:lnTo>
                    <a:pt x="330" y="96"/>
                  </a:lnTo>
                  <a:lnTo>
                    <a:pt x="302" y="112"/>
                  </a:lnTo>
                  <a:lnTo>
                    <a:pt x="276" y="130"/>
                  </a:lnTo>
                  <a:lnTo>
                    <a:pt x="252" y="152"/>
                  </a:lnTo>
                  <a:lnTo>
                    <a:pt x="230" y="174"/>
                  </a:lnTo>
                  <a:lnTo>
                    <a:pt x="212" y="200"/>
                  </a:lnTo>
                  <a:lnTo>
                    <a:pt x="196" y="226"/>
                  </a:lnTo>
                  <a:lnTo>
                    <a:pt x="182" y="254"/>
                  </a:lnTo>
                  <a:lnTo>
                    <a:pt x="170" y="284"/>
                  </a:lnTo>
                  <a:lnTo>
                    <a:pt x="162" y="314"/>
                  </a:lnTo>
                  <a:lnTo>
                    <a:pt x="156" y="346"/>
                  </a:lnTo>
                  <a:lnTo>
                    <a:pt x="154" y="378"/>
                  </a:lnTo>
                  <a:lnTo>
                    <a:pt x="156" y="410"/>
                  </a:lnTo>
                  <a:lnTo>
                    <a:pt x="160" y="442"/>
                  </a:lnTo>
                  <a:lnTo>
                    <a:pt x="168" y="474"/>
                  </a:lnTo>
                  <a:lnTo>
                    <a:pt x="168" y="474"/>
                  </a:lnTo>
                  <a:lnTo>
                    <a:pt x="168" y="474"/>
                  </a:lnTo>
                  <a:lnTo>
                    <a:pt x="168" y="474"/>
                  </a:lnTo>
                  <a:lnTo>
                    <a:pt x="176" y="506"/>
                  </a:lnTo>
                  <a:lnTo>
                    <a:pt x="180" y="536"/>
                  </a:lnTo>
                  <a:lnTo>
                    <a:pt x="182" y="564"/>
                  </a:lnTo>
                  <a:lnTo>
                    <a:pt x="182" y="592"/>
                  </a:lnTo>
                  <a:lnTo>
                    <a:pt x="178" y="616"/>
                  </a:lnTo>
                  <a:lnTo>
                    <a:pt x="172" y="638"/>
                  </a:lnTo>
                  <a:lnTo>
                    <a:pt x="166" y="660"/>
                  </a:lnTo>
                  <a:lnTo>
                    <a:pt x="156" y="680"/>
                  </a:lnTo>
                  <a:lnTo>
                    <a:pt x="146" y="696"/>
                  </a:lnTo>
                  <a:lnTo>
                    <a:pt x="132" y="712"/>
                  </a:lnTo>
                  <a:lnTo>
                    <a:pt x="120" y="726"/>
                  </a:lnTo>
                  <a:lnTo>
                    <a:pt x="104" y="740"/>
                  </a:lnTo>
                  <a:lnTo>
                    <a:pt x="88" y="750"/>
                  </a:lnTo>
                  <a:lnTo>
                    <a:pt x="72" y="760"/>
                  </a:lnTo>
                  <a:lnTo>
                    <a:pt x="56" y="768"/>
                  </a:lnTo>
                  <a:lnTo>
                    <a:pt x="40" y="774"/>
                  </a:lnTo>
                  <a:lnTo>
                    <a:pt x="40" y="774"/>
                  </a:lnTo>
                  <a:lnTo>
                    <a:pt x="30" y="77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257">
              <a:extLst>
                <a:ext uri="{FF2B5EF4-FFF2-40B4-BE49-F238E27FC236}">
                  <a16:creationId xmlns:a16="http://schemas.microsoft.com/office/drawing/2014/main" id="{C18E7816-8C8F-4CB2-AFB6-07126A324C76}"/>
                </a:ext>
              </a:extLst>
            </p:cNvPr>
            <p:cNvSpPr>
              <a:spLocks/>
            </p:cNvSpPr>
            <p:nvPr/>
          </p:nvSpPr>
          <p:spPr bwMode="auto">
            <a:xfrm>
              <a:off x="14143038" y="2911475"/>
              <a:ext cx="1457325" cy="1222375"/>
            </a:xfrm>
            <a:custGeom>
              <a:avLst/>
              <a:gdLst>
                <a:gd name="T0" fmla="*/ 22 w 918"/>
                <a:gd name="T1" fmla="*/ 770 h 770"/>
                <a:gd name="T2" fmla="*/ 2 w 918"/>
                <a:gd name="T3" fmla="*/ 752 h 770"/>
                <a:gd name="T4" fmla="*/ 0 w 918"/>
                <a:gd name="T5" fmla="*/ 740 h 770"/>
                <a:gd name="T6" fmla="*/ 12 w 918"/>
                <a:gd name="T7" fmla="*/ 716 h 770"/>
                <a:gd name="T8" fmla="*/ 42 w 918"/>
                <a:gd name="T9" fmla="*/ 704 h 770"/>
                <a:gd name="T10" fmla="*/ 98 w 918"/>
                <a:gd name="T11" fmla="*/ 676 h 770"/>
                <a:gd name="T12" fmla="*/ 134 w 918"/>
                <a:gd name="T13" fmla="*/ 632 h 770"/>
                <a:gd name="T14" fmla="*/ 152 w 918"/>
                <a:gd name="T15" fmla="*/ 566 h 770"/>
                <a:gd name="T16" fmla="*/ 150 w 918"/>
                <a:gd name="T17" fmla="*/ 470 h 770"/>
                <a:gd name="T18" fmla="*/ 128 w 918"/>
                <a:gd name="T19" fmla="*/ 338 h 770"/>
                <a:gd name="T20" fmla="*/ 120 w 918"/>
                <a:gd name="T21" fmla="*/ 286 h 770"/>
                <a:gd name="T22" fmla="*/ 126 w 918"/>
                <a:gd name="T23" fmla="*/ 208 h 770"/>
                <a:gd name="T24" fmla="*/ 154 w 918"/>
                <a:gd name="T25" fmla="*/ 138 h 770"/>
                <a:gd name="T26" fmla="*/ 200 w 918"/>
                <a:gd name="T27" fmla="*/ 76 h 770"/>
                <a:gd name="T28" fmla="*/ 262 w 918"/>
                <a:gd name="T29" fmla="*/ 30 h 770"/>
                <a:gd name="T30" fmla="*/ 310 w 918"/>
                <a:gd name="T31" fmla="*/ 10 h 770"/>
                <a:gd name="T32" fmla="*/ 390 w 918"/>
                <a:gd name="T33" fmla="*/ 0 h 770"/>
                <a:gd name="T34" fmla="*/ 466 w 918"/>
                <a:gd name="T35" fmla="*/ 12 h 770"/>
                <a:gd name="T36" fmla="*/ 536 w 918"/>
                <a:gd name="T37" fmla="*/ 46 h 770"/>
                <a:gd name="T38" fmla="*/ 592 w 918"/>
                <a:gd name="T39" fmla="*/ 98 h 770"/>
                <a:gd name="T40" fmla="*/ 632 w 918"/>
                <a:gd name="T41" fmla="*/ 166 h 770"/>
                <a:gd name="T42" fmla="*/ 646 w 918"/>
                <a:gd name="T43" fmla="*/ 204 h 770"/>
                <a:gd name="T44" fmla="*/ 694 w 918"/>
                <a:gd name="T45" fmla="*/ 266 h 770"/>
                <a:gd name="T46" fmla="*/ 832 w 918"/>
                <a:gd name="T47" fmla="*/ 390 h 770"/>
                <a:gd name="T48" fmla="*/ 912 w 918"/>
                <a:gd name="T49" fmla="*/ 454 h 770"/>
                <a:gd name="T50" fmla="*/ 918 w 918"/>
                <a:gd name="T51" fmla="*/ 482 h 770"/>
                <a:gd name="T52" fmla="*/ 912 w 918"/>
                <a:gd name="T53" fmla="*/ 492 h 770"/>
                <a:gd name="T54" fmla="*/ 894 w 918"/>
                <a:gd name="T55" fmla="*/ 504 h 770"/>
                <a:gd name="T56" fmla="*/ 872 w 918"/>
                <a:gd name="T57" fmla="*/ 498 h 770"/>
                <a:gd name="T58" fmla="*/ 870 w 918"/>
                <a:gd name="T59" fmla="*/ 496 h 770"/>
                <a:gd name="T60" fmla="*/ 676 w 918"/>
                <a:gd name="T61" fmla="*/ 332 h 770"/>
                <a:gd name="T62" fmla="*/ 600 w 918"/>
                <a:gd name="T63" fmla="*/ 244 h 770"/>
                <a:gd name="T64" fmla="*/ 584 w 918"/>
                <a:gd name="T65" fmla="*/ 208 h 770"/>
                <a:gd name="T66" fmla="*/ 558 w 918"/>
                <a:gd name="T67" fmla="*/ 152 h 770"/>
                <a:gd name="T68" fmla="*/ 518 w 918"/>
                <a:gd name="T69" fmla="*/ 108 h 770"/>
                <a:gd name="T70" fmla="*/ 468 w 918"/>
                <a:gd name="T71" fmla="*/ 76 h 770"/>
                <a:gd name="T72" fmla="*/ 410 w 918"/>
                <a:gd name="T73" fmla="*/ 60 h 770"/>
                <a:gd name="T74" fmla="*/ 348 w 918"/>
                <a:gd name="T75" fmla="*/ 62 h 770"/>
                <a:gd name="T76" fmla="*/ 308 w 918"/>
                <a:gd name="T77" fmla="*/ 74 h 770"/>
                <a:gd name="T78" fmla="*/ 256 w 918"/>
                <a:gd name="T79" fmla="*/ 106 h 770"/>
                <a:gd name="T80" fmla="*/ 214 w 918"/>
                <a:gd name="T81" fmla="*/ 150 h 770"/>
                <a:gd name="T82" fmla="*/ 188 w 918"/>
                <a:gd name="T83" fmla="*/ 204 h 770"/>
                <a:gd name="T84" fmla="*/ 178 w 918"/>
                <a:gd name="T85" fmla="*/ 264 h 770"/>
                <a:gd name="T86" fmla="*/ 186 w 918"/>
                <a:gd name="T87" fmla="*/ 326 h 770"/>
                <a:gd name="T88" fmla="*/ 204 w 918"/>
                <a:gd name="T89" fmla="*/ 422 h 770"/>
                <a:gd name="T90" fmla="*/ 212 w 918"/>
                <a:gd name="T91" fmla="*/ 540 h 770"/>
                <a:gd name="T92" fmla="*/ 198 w 918"/>
                <a:gd name="T93" fmla="*/ 632 h 770"/>
                <a:gd name="T94" fmla="*/ 160 w 918"/>
                <a:gd name="T95" fmla="*/ 698 h 770"/>
                <a:gd name="T96" fmla="*/ 96 w 918"/>
                <a:gd name="T97" fmla="*/ 746 h 770"/>
                <a:gd name="T98" fmla="*/ 38 w 918"/>
                <a:gd name="T99" fmla="*/ 768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8" h="770">
                  <a:moveTo>
                    <a:pt x="28" y="770"/>
                  </a:moveTo>
                  <a:lnTo>
                    <a:pt x="28" y="770"/>
                  </a:lnTo>
                  <a:lnTo>
                    <a:pt x="22" y="770"/>
                  </a:lnTo>
                  <a:lnTo>
                    <a:pt x="18" y="768"/>
                  </a:lnTo>
                  <a:lnTo>
                    <a:pt x="8" y="762"/>
                  </a:lnTo>
                  <a:lnTo>
                    <a:pt x="2" y="752"/>
                  </a:lnTo>
                  <a:lnTo>
                    <a:pt x="0" y="746"/>
                  </a:lnTo>
                  <a:lnTo>
                    <a:pt x="0" y="740"/>
                  </a:lnTo>
                  <a:lnTo>
                    <a:pt x="0" y="740"/>
                  </a:lnTo>
                  <a:lnTo>
                    <a:pt x="0" y="732"/>
                  </a:lnTo>
                  <a:lnTo>
                    <a:pt x="6" y="722"/>
                  </a:lnTo>
                  <a:lnTo>
                    <a:pt x="12" y="716"/>
                  </a:lnTo>
                  <a:lnTo>
                    <a:pt x="20" y="712"/>
                  </a:lnTo>
                  <a:lnTo>
                    <a:pt x="20" y="712"/>
                  </a:lnTo>
                  <a:lnTo>
                    <a:pt x="42" y="704"/>
                  </a:lnTo>
                  <a:lnTo>
                    <a:pt x="62" y="696"/>
                  </a:lnTo>
                  <a:lnTo>
                    <a:pt x="80" y="686"/>
                  </a:lnTo>
                  <a:lnTo>
                    <a:pt x="98" y="676"/>
                  </a:lnTo>
                  <a:lnTo>
                    <a:pt x="112" y="664"/>
                  </a:lnTo>
                  <a:lnTo>
                    <a:pt x="124" y="648"/>
                  </a:lnTo>
                  <a:lnTo>
                    <a:pt x="134" y="632"/>
                  </a:lnTo>
                  <a:lnTo>
                    <a:pt x="142" y="612"/>
                  </a:lnTo>
                  <a:lnTo>
                    <a:pt x="148" y="592"/>
                  </a:lnTo>
                  <a:lnTo>
                    <a:pt x="152" y="566"/>
                  </a:lnTo>
                  <a:lnTo>
                    <a:pt x="154" y="538"/>
                  </a:lnTo>
                  <a:lnTo>
                    <a:pt x="154" y="506"/>
                  </a:lnTo>
                  <a:lnTo>
                    <a:pt x="150" y="470"/>
                  </a:lnTo>
                  <a:lnTo>
                    <a:pt x="146" y="430"/>
                  </a:lnTo>
                  <a:lnTo>
                    <a:pt x="138" y="386"/>
                  </a:lnTo>
                  <a:lnTo>
                    <a:pt x="128" y="338"/>
                  </a:lnTo>
                  <a:lnTo>
                    <a:pt x="128" y="338"/>
                  </a:lnTo>
                  <a:lnTo>
                    <a:pt x="122" y="312"/>
                  </a:lnTo>
                  <a:lnTo>
                    <a:pt x="120" y="286"/>
                  </a:lnTo>
                  <a:lnTo>
                    <a:pt x="120" y="260"/>
                  </a:lnTo>
                  <a:lnTo>
                    <a:pt x="122" y="234"/>
                  </a:lnTo>
                  <a:lnTo>
                    <a:pt x="126" y="208"/>
                  </a:lnTo>
                  <a:lnTo>
                    <a:pt x="134" y="184"/>
                  </a:lnTo>
                  <a:lnTo>
                    <a:pt x="142" y="160"/>
                  </a:lnTo>
                  <a:lnTo>
                    <a:pt x="154" y="138"/>
                  </a:lnTo>
                  <a:lnTo>
                    <a:pt x="166" y="116"/>
                  </a:lnTo>
                  <a:lnTo>
                    <a:pt x="182" y="96"/>
                  </a:lnTo>
                  <a:lnTo>
                    <a:pt x="200" y="76"/>
                  </a:lnTo>
                  <a:lnTo>
                    <a:pt x="218" y="60"/>
                  </a:lnTo>
                  <a:lnTo>
                    <a:pt x="240" y="44"/>
                  </a:lnTo>
                  <a:lnTo>
                    <a:pt x="262" y="30"/>
                  </a:lnTo>
                  <a:lnTo>
                    <a:pt x="286" y="20"/>
                  </a:lnTo>
                  <a:lnTo>
                    <a:pt x="310" y="10"/>
                  </a:lnTo>
                  <a:lnTo>
                    <a:pt x="310" y="10"/>
                  </a:lnTo>
                  <a:lnTo>
                    <a:pt x="338" y="4"/>
                  </a:lnTo>
                  <a:lnTo>
                    <a:pt x="364" y="0"/>
                  </a:lnTo>
                  <a:lnTo>
                    <a:pt x="390" y="0"/>
                  </a:lnTo>
                  <a:lnTo>
                    <a:pt x="416" y="2"/>
                  </a:lnTo>
                  <a:lnTo>
                    <a:pt x="442" y="6"/>
                  </a:lnTo>
                  <a:lnTo>
                    <a:pt x="466" y="12"/>
                  </a:lnTo>
                  <a:lnTo>
                    <a:pt x="490" y="22"/>
                  </a:lnTo>
                  <a:lnTo>
                    <a:pt x="514" y="34"/>
                  </a:lnTo>
                  <a:lnTo>
                    <a:pt x="536" y="46"/>
                  </a:lnTo>
                  <a:lnTo>
                    <a:pt x="556" y="62"/>
                  </a:lnTo>
                  <a:lnTo>
                    <a:pt x="574" y="80"/>
                  </a:lnTo>
                  <a:lnTo>
                    <a:pt x="592" y="98"/>
                  </a:lnTo>
                  <a:lnTo>
                    <a:pt x="608" y="120"/>
                  </a:lnTo>
                  <a:lnTo>
                    <a:pt x="620" y="142"/>
                  </a:lnTo>
                  <a:lnTo>
                    <a:pt x="632" y="166"/>
                  </a:lnTo>
                  <a:lnTo>
                    <a:pt x="640" y="192"/>
                  </a:lnTo>
                  <a:lnTo>
                    <a:pt x="640" y="192"/>
                  </a:lnTo>
                  <a:lnTo>
                    <a:pt x="646" y="204"/>
                  </a:lnTo>
                  <a:lnTo>
                    <a:pt x="656" y="220"/>
                  </a:lnTo>
                  <a:lnTo>
                    <a:pt x="670" y="240"/>
                  </a:lnTo>
                  <a:lnTo>
                    <a:pt x="694" y="266"/>
                  </a:lnTo>
                  <a:lnTo>
                    <a:pt x="728" y="300"/>
                  </a:lnTo>
                  <a:lnTo>
                    <a:pt x="774" y="340"/>
                  </a:lnTo>
                  <a:lnTo>
                    <a:pt x="832" y="390"/>
                  </a:lnTo>
                  <a:lnTo>
                    <a:pt x="906" y="450"/>
                  </a:lnTo>
                  <a:lnTo>
                    <a:pt x="906" y="450"/>
                  </a:lnTo>
                  <a:lnTo>
                    <a:pt x="912" y="454"/>
                  </a:lnTo>
                  <a:lnTo>
                    <a:pt x="914" y="460"/>
                  </a:lnTo>
                  <a:lnTo>
                    <a:pt x="918" y="470"/>
                  </a:lnTo>
                  <a:lnTo>
                    <a:pt x="918" y="482"/>
                  </a:lnTo>
                  <a:lnTo>
                    <a:pt x="916" y="486"/>
                  </a:lnTo>
                  <a:lnTo>
                    <a:pt x="912" y="492"/>
                  </a:lnTo>
                  <a:lnTo>
                    <a:pt x="912" y="492"/>
                  </a:lnTo>
                  <a:lnTo>
                    <a:pt x="908" y="496"/>
                  </a:lnTo>
                  <a:lnTo>
                    <a:pt x="904" y="500"/>
                  </a:lnTo>
                  <a:lnTo>
                    <a:pt x="894" y="504"/>
                  </a:lnTo>
                  <a:lnTo>
                    <a:pt x="882" y="504"/>
                  </a:lnTo>
                  <a:lnTo>
                    <a:pt x="876" y="502"/>
                  </a:lnTo>
                  <a:lnTo>
                    <a:pt x="872" y="498"/>
                  </a:lnTo>
                  <a:lnTo>
                    <a:pt x="872" y="498"/>
                  </a:lnTo>
                  <a:lnTo>
                    <a:pt x="870" y="496"/>
                  </a:lnTo>
                  <a:lnTo>
                    <a:pt x="870" y="496"/>
                  </a:lnTo>
                  <a:lnTo>
                    <a:pt x="788" y="432"/>
                  </a:lnTo>
                  <a:lnTo>
                    <a:pt x="724" y="376"/>
                  </a:lnTo>
                  <a:lnTo>
                    <a:pt x="676" y="332"/>
                  </a:lnTo>
                  <a:lnTo>
                    <a:pt x="640" y="296"/>
                  </a:lnTo>
                  <a:lnTo>
                    <a:pt x="616" y="268"/>
                  </a:lnTo>
                  <a:lnTo>
                    <a:pt x="600" y="244"/>
                  </a:lnTo>
                  <a:lnTo>
                    <a:pt x="590" y="224"/>
                  </a:lnTo>
                  <a:lnTo>
                    <a:pt x="584" y="208"/>
                  </a:lnTo>
                  <a:lnTo>
                    <a:pt x="584" y="208"/>
                  </a:lnTo>
                  <a:lnTo>
                    <a:pt x="578" y="188"/>
                  </a:lnTo>
                  <a:lnTo>
                    <a:pt x="568" y="170"/>
                  </a:lnTo>
                  <a:lnTo>
                    <a:pt x="558" y="152"/>
                  </a:lnTo>
                  <a:lnTo>
                    <a:pt x="546" y="136"/>
                  </a:lnTo>
                  <a:lnTo>
                    <a:pt x="532" y="120"/>
                  </a:lnTo>
                  <a:lnTo>
                    <a:pt x="518" y="108"/>
                  </a:lnTo>
                  <a:lnTo>
                    <a:pt x="502" y="96"/>
                  </a:lnTo>
                  <a:lnTo>
                    <a:pt x="486" y="84"/>
                  </a:lnTo>
                  <a:lnTo>
                    <a:pt x="468" y="76"/>
                  </a:lnTo>
                  <a:lnTo>
                    <a:pt x="448" y="68"/>
                  </a:lnTo>
                  <a:lnTo>
                    <a:pt x="430" y="64"/>
                  </a:lnTo>
                  <a:lnTo>
                    <a:pt x="410" y="60"/>
                  </a:lnTo>
                  <a:lnTo>
                    <a:pt x="390" y="58"/>
                  </a:lnTo>
                  <a:lnTo>
                    <a:pt x="368" y="60"/>
                  </a:lnTo>
                  <a:lnTo>
                    <a:pt x="348" y="62"/>
                  </a:lnTo>
                  <a:lnTo>
                    <a:pt x="328" y="66"/>
                  </a:lnTo>
                  <a:lnTo>
                    <a:pt x="328" y="66"/>
                  </a:lnTo>
                  <a:lnTo>
                    <a:pt x="308" y="74"/>
                  </a:lnTo>
                  <a:lnTo>
                    <a:pt x="288" y="84"/>
                  </a:lnTo>
                  <a:lnTo>
                    <a:pt x="272" y="94"/>
                  </a:lnTo>
                  <a:lnTo>
                    <a:pt x="256" y="106"/>
                  </a:lnTo>
                  <a:lnTo>
                    <a:pt x="240" y="120"/>
                  </a:lnTo>
                  <a:lnTo>
                    <a:pt x="226" y="134"/>
                  </a:lnTo>
                  <a:lnTo>
                    <a:pt x="214" y="150"/>
                  </a:lnTo>
                  <a:lnTo>
                    <a:pt x="204" y="168"/>
                  </a:lnTo>
                  <a:lnTo>
                    <a:pt x="196" y="186"/>
                  </a:lnTo>
                  <a:lnTo>
                    <a:pt x="188" y="204"/>
                  </a:lnTo>
                  <a:lnTo>
                    <a:pt x="184" y="224"/>
                  </a:lnTo>
                  <a:lnTo>
                    <a:pt x="180" y="244"/>
                  </a:lnTo>
                  <a:lnTo>
                    <a:pt x="178" y="264"/>
                  </a:lnTo>
                  <a:lnTo>
                    <a:pt x="178" y="284"/>
                  </a:lnTo>
                  <a:lnTo>
                    <a:pt x="182" y="304"/>
                  </a:lnTo>
                  <a:lnTo>
                    <a:pt x="186" y="326"/>
                  </a:lnTo>
                  <a:lnTo>
                    <a:pt x="186" y="326"/>
                  </a:lnTo>
                  <a:lnTo>
                    <a:pt x="196" y="376"/>
                  </a:lnTo>
                  <a:lnTo>
                    <a:pt x="204" y="422"/>
                  </a:lnTo>
                  <a:lnTo>
                    <a:pt x="210" y="466"/>
                  </a:lnTo>
                  <a:lnTo>
                    <a:pt x="212" y="504"/>
                  </a:lnTo>
                  <a:lnTo>
                    <a:pt x="212" y="540"/>
                  </a:lnTo>
                  <a:lnTo>
                    <a:pt x="210" y="574"/>
                  </a:lnTo>
                  <a:lnTo>
                    <a:pt x="206" y="604"/>
                  </a:lnTo>
                  <a:lnTo>
                    <a:pt x="198" y="632"/>
                  </a:lnTo>
                  <a:lnTo>
                    <a:pt x="188" y="656"/>
                  </a:lnTo>
                  <a:lnTo>
                    <a:pt x="176" y="678"/>
                  </a:lnTo>
                  <a:lnTo>
                    <a:pt x="160" y="698"/>
                  </a:lnTo>
                  <a:lnTo>
                    <a:pt x="142" y="716"/>
                  </a:lnTo>
                  <a:lnTo>
                    <a:pt x="120" y="732"/>
                  </a:lnTo>
                  <a:lnTo>
                    <a:pt x="96" y="746"/>
                  </a:lnTo>
                  <a:lnTo>
                    <a:pt x="68" y="758"/>
                  </a:lnTo>
                  <a:lnTo>
                    <a:pt x="38" y="768"/>
                  </a:lnTo>
                  <a:lnTo>
                    <a:pt x="38" y="768"/>
                  </a:lnTo>
                  <a:lnTo>
                    <a:pt x="28" y="7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258">
              <a:extLst>
                <a:ext uri="{FF2B5EF4-FFF2-40B4-BE49-F238E27FC236}">
                  <a16:creationId xmlns:a16="http://schemas.microsoft.com/office/drawing/2014/main" id="{5FAA15A9-4C84-49FA-B003-F43F3F88D501}"/>
                </a:ext>
              </a:extLst>
            </p:cNvPr>
            <p:cNvSpPr>
              <a:spLocks/>
            </p:cNvSpPr>
            <p:nvPr/>
          </p:nvSpPr>
          <p:spPr bwMode="auto">
            <a:xfrm>
              <a:off x="14143038" y="2911475"/>
              <a:ext cx="1457325" cy="1222375"/>
            </a:xfrm>
            <a:custGeom>
              <a:avLst/>
              <a:gdLst>
                <a:gd name="T0" fmla="*/ 22 w 918"/>
                <a:gd name="T1" fmla="*/ 770 h 770"/>
                <a:gd name="T2" fmla="*/ 2 w 918"/>
                <a:gd name="T3" fmla="*/ 752 h 770"/>
                <a:gd name="T4" fmla="*/ 0 w 918"/>
                <a:gd name="T5" fmla="*/ 740 h 770"/>
                <a:gd name="T6" fmla="*/ 12 w 918"/>
                <a:gd name="T7" fmla="*/ 716 h 770"/>
                <a:gd name="T8" fmla="*/ 42 w 918"/>
                <a:gd name="T9" fmla="*/ 704 h 770"/>
                <a:gd name="T10" fmla="*/ 98 w 918"/>
                <a:gd name="T11" fmla="*/ 676 h 770"/>
                <a:gd name="T12" fmla="*/ 134 w 918"/>
                <a:gd name="T13" fmla="*/ 632 h 770"/>
                <a:gd name="T14" fmla="*/ 152 w 918"/>
                <a:gd name="T15" fmla="*/ 566 h 770"/>
                <a:gd name="T16" fmla="*/ 150 w 918"/>
                <a:gd name="T17" fmla="*/ 470 h 770"/>
                <a:gd name="T18" fmla="*/ 128 w 918"/>
                <a:gd name="T19" fmla="*/ 338 h 770"/>
                <a:gd name="T20" fmla="*/ 120 w 918"/>
                <a:gd name="T21" fmla="*/ 286 h 770"/>
                <a:gd name="T22" fmla="*/ 126 w 918"/>
                <a:gd name="T23" fmla="*/ 208 h 770"/>
                <a:gd name="T24" fmla="*/ 154 w 918"/>
                <a:gd name="T25" fmla="*/ 138 h 770"/>
                <a:gd name="T26" fmla="*/ 200 w 918"/>
                <a:gd name="T27" fmla="*/ 76 h 770"/>
                <a:gd name="T28" fmla="*/ 262 w 918"/>
                <a:gd name="T29" fmla="*/ 30 h 770"/>
                <a:gd name="T30" fmla="*/ 310 w 918"/>
                <a:gd name="T31" fmla="*/ 10 h 770"/>
                <a:gd name="T32" fmla="*/ 390 w 918"/>
                <a:gd name="T33" fmla="*/ 0 h 770"/>
                <a:gd name="T34" fmla="*/ 466 w 918"/>
                <a:gd name="T35" fmla="*/ 12 h 770"/>
                <a:gd name="T36" fmla="*/ 536 w 918"/>
                <a:gd name="T37" fmla="*/ 46 h 770"/>
                <a:gd name="T38" fmla="*/ 592 w 918"/>
                <a:gd name="T39" fmla="*/ 98 h 770"/>
                <a:gd name="T40" fmla="*/ 632 w 918"/>
                <a:gd name="T41" fmla="*/ 166 h 770"/>
                <a:gd name="T42" fmla="*/ 646 w 918"/>
                <a:gd name="T43" fmla="*/ 204 h 770"/>
                <a:gd name="T44" fmla="*/ 694 w 918"/>
                <a:gd name="T45" fmla="*/ 266 h 770"/>
                <a:gd name="T46" fmla="*/ 832 w 918"/>
                <a:gd name="T47" fmla="*/ 390 h 770"/>
                <a:gd name="T48" fmla="*/ 912 w 918"/>
                <a:gd name="T49" fmla="*/ 454 h 770"/>
                <a:gd name="T50" fmla="*/ 918 w 918"/>
                <a:gd name="T51" fmla="*/ 482 h 770"/>
                <a:gd name="T52" fmla="*/ 912 w 918"/>
                <a:gd name="T53" fmla="*/ 492 h 770"/>
                <a:gd name="T54" fmla="*/ 894 w 918"/>
                <a:gd name="T55" fmla="*/ 504 h 770"/>
                <a:gd name="T56" fmla="*/ 872 w 918"/>
                <a:gd name="T57" fmla="*/ 498 h 770"/>
                <a:gd name="T58" fmla="*/ 870 w 918"/>
                <a:gd name="T59" fmla="*/ 496 h 770"/>
                <a:gd name="T60" fmla="*/ 676 w 918"/>
                <a:gd name="T61" fmla="*/ 332 h 770"/>
                <a:gd name="T62" fmla="*/ 600 w 918"/>
                <a:gd name="T63" fmla="*/ 244 h 770"/>
                <a:gd name="T64" fmla="*/ 584 w 918"/>
                <a:gd name="T65" fmla="*/ 208 h 770"/>
                <a:gd name="T66" fmla="*/ 558 w 918"/>
                <a:gd name="T67" fmla="*/ 152 h 770"/>
                <a:gd name="T68" fmla="*/ 518 w 918"/>
                <a:gd name="T69" fmla="*/ 108 h 770"/>
                <a:gd name="T70" fmla="*/ 468 w 918"/>
                <a:gd name="T71" fmla="*/ 76 h 770"/>
                <a:gd name="T72" fmla="*/ 410 w 918"/>
                <a:gd name="T73" fmla="*/ 60 h 770"/>
                <a:gd name="T74" fmla="*/ 348 w 918"/>
                <a:gd name="T75" fmla="*/ 62 h 770"/>
                <a:gd name="T76" fmla="*/ 308 w 918"/>
                <a:gd name="T77" fmla="*/ 74 h 770"/>
                <a:gd name="T78" fmla="*/ 256 w 918"/>
                <a:gd name="T79" fmla="*/ 106 h 770"/>
                <a:gd name="T80" fmla="*/ 214 w 918"/>
                <a:gd name="T81" fmla="*/ 150 h 770"/>
                <a:gd name="T82" fmla="*/ 188 w 918"/>
                <a:gd name="T83" fmla="*/ 204 h 770"/>
                <a:gd name="T84" fmla="*/ 178 w 918"/>
                <a:gd name="T85" fmla="*/ 264 h 770"/>
                <a:gd name="T86" fmla="*/ 186 w 918"/>
                <a:gd name="T87" fmla="*/ 326 h 770"/>
                <a:gd name="T88" fmla="*/ 204 w 918"/>
                <a:gd name="T89" fmla="*/ 422 h 770"/>
                <a:gd name="T90" fmla="*/ 212 w 918"/>
                <a:gd name="T91" fmla="*/ 540 h 770"/>
                <a:gd name="T92" fmla="*/ 198 w 918"/>
                <a:gd name="T93" fmla="*/ 632 h 770"/>
                <a:gd name="T94" fmla="*/ 160 w 918"/>
                <a:gd name="T95" fmla="*/ 698 h 770"/>
                <a:gd name="T96" fmla="*/ 96 w 918"/>
                <a:gd name="T97" fmla="*/ 746 h 770"/>
                <a:gd name="T98" fmla="*/ 38 w 918"/>
                <a:gd name="T99" fmla="*/ 768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8" h="770">
                  <a:moveTo>
                    <a:pt x="28" y="770"/>
                  </a:moveTo>
                  <a:lnTo>
                    <a:pt x="28" y="770"/>
                  </a:lnTo>
                  <a:lnTo>
                    <a:pt x="22" y="770"/>
                  </a:lnTo>
                  <a:lnTo>
                    <a:pt x="18" y="768"/>
                  </a:lnTo>
                  <a:lnTo>
                    <a:pt x="8" y="762"/>
                  </a:lnTo>
                  <a:lnTo>
                    <a:pt x="2" y="752"/>
                  </a:lnTo>
                  <a:lnTo>
                    <a:pt x="0" y="746"/>
                  </a:lnTo>
                  <a:lnTo>
                    <a:pt x="0" y="740"/>
                  </a:lnTo>
                  <a:lnTo>
                    <a:pt x="0" y="740"/>
                  </a:lnTo>
                  <a:lnTo>
                    <a:pt x="0" y="732"/>
                  </a:lnTo>
                  <a:lnTo>
                    <a:pt x="6" y="722"/>
                  </a:lnTo>
                  <a:lnTo>
                    <a:pt x="12" y="716"/>
                  </a:lnTo>
                  <a:lnTo>
                    <a:pt x="20" y="712"/>
                  </a:lnTo>
                  <a:lnTo>
                    <a:pt x="20" y="712"/>
                  </a:lnTo>
                  <a:lnTo>
                    <a:pt x="42" y="704"/>
                  </a:lnTo>
                  <a:lnTo>
                    <a:pt x="62" y="696"/>
                  </a:lnTo>
                  <a:lnTo>
                    <a:pt x="80" y="686"/>
                  </a:lnTo>
                  <a:lnTo>
                    <a:pt x="98" y="676"/>
                  </a:lnTo>
                  <a:lnTo>
                    <a:pt x="112" y="664"/>
                  </a:lnTo>
                  <a:lnTo>
                    <a:pt x="124" y="648"/>
                  </a:lnTo>
                  <a:lnTo>
                    <a:pt x="134" y="632"/>
                  </a:lnTo>
                  <a:lnTo>
                    <a:pt x="142" y="612"/>
                  </a:lnTo>
                  <a:lnTo>
                    <a:pt x="148" y="592"/>
                  </a:lnTo>
                  <a:lnTo>
                    <a:pt x="152" y="566"/>
                  </a:lnTo>
                  <a:lnTo>
                    <a:pt x="154" y="538"/>
                  </a:lnTo>
                  <a:lnTo>
                    <a:pt x="154" y="506"/>
                  </a:lnTo>
                  <a:lnTo>
                    <a:pt x="150" y="470"/>
                  </a:lnTo>
                  <a:lnTo>
                    <a:pt x="146" y="430"/>
                  </a:lnTo>
                  <a:lnTo>
                    <a:pt x="138" y="386"/>
                  </a:lnTo>
                  <a:lnTo>
                    <a:pt x="128" y="338"/>
                  </a:lnTo>
                  <a:lnTo>
                    <a:pt x="128" y="338"/>
                  </a:lnTo>
                  <a:lnTo>
                    <a:pt x="122" y="312"/>
                  </a:lnTo>
                  <a:lnTo>
                    <a:pt x="120" y="286"/>
                  </a:lnTo>
                  <a:lnTo>
                    <a:pt x="120" y="260"/>
                  </a:lnTo>
                  <a:lnTo>
                    <a:pt x="122" y="234"/>
                  </a:lnTo>
                  <a:lnTo>
                    <a:pt x="126" y="208"/>
                  </a:lnTo>
                  <a:lnTo>
                    <a:pt x="134" y="184"/>
                  </a:lnTo>
                  <a:lnTo>
                    <a:pt x="142" y="160"/>
                  </a:lnTo>
                  <a:lnTo>
                    <a:pt x="154" y="138"/>
                  </a:lnTo>
                  <a:lnTo>
                    <a:pt x="166" y="116"/>
                  </a:lnTo>
                  <a:lnTo>
                    <a:pt x="182" y="96"/>
                  </a:lnTo>
                  <a:lnTo>
                    <a:pt x="200" y="76"/>
                  </a:lnTo>
                  <a:lnTo>
                    <a:pt x="218" y="60"/>
                  </a:lnTo>
                  <a:lnTo>
                    <a:pt x="240" y="44"/>
                  </a:lnTo>
                  <a:lnTo>
                    <a:pt x="262" y="30"/>
                  </a:lnTo>
                  <a:lnTo>
                    <a:pt x="286" y="20"/>
                  </a:lnTo>
                  <a:lnTo>
                    <a:pt x="310" y="10"/>
                  </a:lnTo>
                  <a:lnTo>
                    <a:pt x="310" y="10"/>
                  </a:lnTo>
                  <a:lnTo>
                    <a:pt x="338" y="4"/>
                  </a:lnTo>
                  <a:lnTo>
                    <a:pt x="364" y="0"/>
                  </a:lnTo>
                  <a:lnTo>
                    <a:pt x="390" y="0"/>
                  </a:lnTo>
                  <a:lnTo>
                    <a:pt x="416" y="2"/>
                  </a:lnTo>
                  <a:lnTo>
                    <a:pt x="442" y="6"/>
                  </a:lnTo>
                  <a:lnTo>
                    <a:pt x="466" y="12"/>
                  </a:lnTo>
                  <a:lnTo>
                    <a:pt x="490" y="22"/>
                  </a:lnTo>
                  <a:lnTo>
                    <a:pt x="514" y="34"/>
                  </a:lnTo>
                  <a:lnTo>
                    <a:pt x="536" y="46"/>
                  </a:lnTo>
                  <a:lnTo>
                    <a:pt x="556" y="62"/>
                  </a:lnTo>
                  <a:lnTo>
                    <a:pt x="574" y="80"/>
                  </a:lnTo>
                  <a:lnTo>
                    <a:pt x="592" y="98"/>
                  </a:lnTo>
                  <a:lnTo>
                    <a:pt x="608" y="120"/>
                  </a:lnTo>
                  <a:lnTo>
                    <a:pt x="620" y="142"/>
                  </a:lnTo>
                  <a:lnTo>
                    <a:pt x="632" y="166"/>
                  </a:lnTo>
                  <a:lnTo>
                    <a:pt x="640" y="192"/>
                  </a:lnTo>
                  <a:lnTo>
                    <a:pt x="640" y="192"/>
                  </a:lnTo>
                  <a:lnTo>
                    <a:pt x="646" y="204"/>
                  </a:lnTo>
                  <a:lnTo>
                    <a:pt x="656" y="220"/>
                  </a:lnTo>
                  <a:lnTo>
                    <a:pt x="670" y="240"/>
                  </a:lnTo>
                  <a:lnTo>
                    <a:pt x="694" y="266"/>
                  </a:lnTo>
                  <a:lnTo>
                    <a:pt x="728" y="300"/>
                  </a:lnTo>
                  <a:lnTo>
                    <a:pt x="774" y="340"/>
                  </a:lnTo>
                  <a:lnTo>
                    <a:pt x="832" y="390"/>
                  </a:lnTo>
                  <a:lnTo>
                    <a:pt x="906" y="450"/>
                  </a:lnTo>
                  <a:lnTo>
                    <a:pt x="906" y="450"/>
                  </a:lnTo>
                  <a:lnTo>
                    <a:pt x="912" y="454"/>
                  </a:lnTo>
                  <a:lnTo>
                    <a:pt x="914" y="460"/>
                  </a:lnTo>
                  <a:lnTo>
                    <a:pt x="918" y="470"/>
                  </a:lnTo>
                  <a:lnTo>
                    <a:pt x="918" y="482"/>
                  </a:lnTo>
                  <a:lnTo>
                    <a:pt x="916" y="486"/>
                  </a:lnTo>
                  <a:lnTo>
                    <a:pt x="912" y="492"/>
                  </a:lnTo>
                  <a:lnTo>
                    <a:pt x="912" y="492"/>
                  </a:lnTo>
                  <a:lnTo>
                    <a:pt x="908" y="496"/>
                  </a:lnTo>
                  <a:lnTo>
                    <a:pt x="904" y="500"/>
                  </a:lnTo>
                  <a:lnTo>
                    <a:pt x="894" y="504"/>
                  </a:lnTo>
                  <a:lnTo>
                    <a:pt x="882" y="504"/>
                  </a:lnTo>
                  <a:lnTo>
                    <a:pt x="876" y="502"/>
                  </a:lnTo>
                  <a:lnTo>
                    <a:pt x="872" y="498"/>
                  </a:lnTo>
                  <a:lnTo>
                    <a:pt x="872" y="498"/>
                  </a:lnTo>
                  <a:lnTo>
                    <a:pt x="870" y="496"/>
                  </a:lnTo>
                  <a:lnTo>
                    <a:pt x="870" y="496"/>
                  </a:lnTo>
                  <a:lnTo>
                    <a:pt x="788" y="432"/>
                  </a:lnTo>
                  <a:lnTo>
                    <a:pt x="724" y="376"/>
                  </a:lnTo>
                  <a:lnTo>
                    <a:pt x="676" y="332"/>
                  </a:lnTo>
                  <a:lnTo>
                    <a:pt x="640" y="296"/>
                  </a:lnTo>
                  <a:lnTo>
                    <a:pt x="616" y="268"/>
                  </a:lnTo>
                  <a:lnTo>
                    <a:pt x="600" y="244"/>
                  </a:lnTo>
                  <a:lnTo>
                    <a:pt x="590" y="224"/>
                  </a:lnTo>
                  <a:lnTo>
                    <a:pt x="584" y="208"/>
                  </a:lnTo>
                  <a:lnTo>
                    <a:pt x="584" y="208"/>
                  </a:lnTo>
                  <a:lnTo>
                    <a:pt x="578" y="188"/>
                  </a:lnTo>
                  <a:lnTo>
                    <a:pt x="568" y="170"/>
                  </a:lnTo>
                  <a:lnTo>
                    <a:pt x="558" y="152"/>
                  </a:lnTo>
                  <a:lnTo>
                    <a:pt x="546" y="136"/>
                  </a:lnTo>
                  <a:lnTo>
                    <a:pt x="532" y="120"/>
                  </a:lnTo>
                  <a:lnTo>
                    <a:pt x="518" y="108"/>
                  </a:lnTo>
                  <a:lnTo>
                    <a:pt x="502" y="96"/>
                  </a:lnTo>
                  <a:lnTo>
                    <a:pt x="486" y="84"/>
                  </a:lnTo>
                  <a:lnTo>
                    <a:pt x="468" y="76"/>
                  </a:lnTo>
                  <a:lnTo>
                    <a:pt x="448" y="68"/>
                  </a:lnTo>
                  <a:lnTo>
                    <a:pt x="430" y="64"/>
                  </a:lnTo>
                  <a:lnTo>
                    <a:pt x="410" y="60"/>
                  </a:lnTo>
                  <a:lnTo>
                    <a:pt x="390" y="58"/>
                  </a:lnTo>
                  <a:lnTo>
                    <a:pt x="368" y="60"/>
                  </a:lnTo>
                  <a:lnTo>
                    <a:pt x="348" y="62"/>
                  </a:lnTo>
                  <a:lnTo>
                    <a:pt x="328" y="66"/>
                  </a:lnTo>
                  <a:lnTo>
                    <a:pt x="328" y="66"/>
                  </a:lnTo>
                  <a:lnTo>
                    <a:pt x="308" y="74"/>
                  </a:lnTo>
                  <a:lnTo>
                    <a:pt x="288" y="84"/>
                  </a:lnTo>
                  <a:lnTo>
                    <a:pt x="272" y="94"/>
                  </a:lnTo>
                  <a:lnTo>
                    <a:pt x="256" y="106"/>
                  </a:lnTo>
                  <a:lnTo>
                    <a:pt x="240" y="120"/>
                  </a:lnTo>
                  <a:lnTo>
                    <a:pt x="226" y="134"/>
                  </a:lnTo>
                  <a:lnTo>
                    <a:pt x="214" y="150"/>
                  </a:lnTo>
                  <a:lnTo>
                    <a:pt x="204" y="168"/>
                  </a:lnTo>
                  <a:lnTo>
                    <a:pt x="196" y="186"/>
                  </a:lnTo>
                  <a:lnTo>
                    <a:pt x="188" y="204"/>
                  </a:lnTo>
                  <a:lnTo>
                    <a:pt x="184" y="224"/>
                  </a:lnTo>
                  <a:lnTo>
                    <a:pt x="180" y="244"/>
                  </a:lnTo>
                  <a:lnTo>
                    <a:pt x="178" y="264"/>
                  </a:lnTo>
                  <a:lnTo>
                    <a:pt x="178" y="284"/>
                  </a:lnTo>
                  <a:lnTo>
                    <a:pt x="182" y="304"/>
                  </a:lnTo>
                  <a:lnTo>
                    <a:pt x="186" y="326"/>
                  </a:lnTo>
                  <a:lnTo>
                    <a:pt x="186" y="326"/>
                  </a:lnTo>
                  <a:lnTo>
                    <a:pt x="196" y="376"/>
                  </a:lnTo>
                  <a:lnTo>
                    <a:pt x="204" y="422"/>
                  </a:lnTo>
                  <a:lnTo>
                    <a:pt x="210" y="466"/>
                  </a:lnTo>
                  <a:lnTo>
                    <a:pt x="212" y="504"/>
                  </a:lnTo>
                  <a:lnTo>
                    <a:pt x="212" y="540"/>
                  </a:lnTo>
                  <a:lnTo>
                    <a:pt x="210" y="574"/>
                  </a:lnTo>
                  <a:lnTo>
                    <a:pt x="206" y="604"/>
                  </a:lnTo>
                  <a:lnTo>
                    <a:pt x="198" y="632"/>
                  </a:lnTo>
                  <a:lnTo>
                    <a:pt x="188" y="656"/>
                  </a:lnTo>
                  <a:lnTo>
                    <a:pt x="176" y="678"/>
                  </a:lnTo>
                  <a:lnTo>
                    <a:pt x="160" y="698"/>
                  </a:lnTo>
                  <a:lnTo>
                    <a:pt x="142" y="716"/>
                  </a:lnTo>
                  <a:lnTo>
                    <a:pt x="120" y="732"/>
                  </a:lnTo>
                  <a:lnTo>
                    <a:pt x="96" y="746"/>
                  </a:lnTo>
                  <a:lnTo>
                    <a:pt x="68" y="758"/>
                  </a:lnTo>
                  <a:lnTo>
                    <a:pt x="38" y="768"/>
                  </a:lnTo>
                  <a:lnTo>
                    <a:pt x="38" y="768"/>
                  </a:lnTo>
                  <a:lnTo>
                    <a:pt x="28" y="77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259">
              <a:extLst>
                <a:ext uri="{FF2B5EF4-FFF2-40B4-BE49-F238E27FC236}">
                  <a16:creationId xmlns:a16="http://schemas.microsoft.com/office/drawing/2014/main" id="{3C4D9234-1071-4593-90BE-A7DE55105B02}"/>
                </a:ext>
              </a:extLst>
            </p:cNvPr>
            <p:cNvSpPr>
              <a:spLocks/>
            </p:cNvSpPr>
            <p:nvPr/>
          </p:nvSpPr>
          <p:spPr bwMode="auto">
            <a:xfrm>
              <a:off x="14705013" y="3286125"/>
              <a:ext cx="708025" cy="752475"/>
            </a:xfrm>
            <a:custGeom>
              <a:avLst/>
              <a:gdLst>
                <a:gd name="T0" fmla="*/ 416 w 446"/>
                <a:gd name="T1" fmla="*/ 474 h 474"/>
                <a:gd name="T2" fmla="*/ 416 w 446"/>
                <a:gd name="T3" fmla="*/ 474 h 474"/>
                <a:gd name="T4" fmla="*/ 404 w 446"/>
                <a:gd name="T5" fmla="*/ 472 h 474"/>
                <a:gd name="T6" fmla="*/ 396 w 446"/>
                <a:gd name="T7" fmla="*/ 466 h 474"/>
                <a:gd name="T8" fmla="*/ 396 w 446"/>
                <a:gd name="T9" fmla="*/ 466 h 474"/>
                <a:gd name="T10" fmla="*/ 364 w 446"/>
                <a:gd name="T11" fmla="*/ 440 h 474"/>
                <a:gd name="T12" fmla="*/ 332 w 446"/>
                <a:gd name="T13" fmla="*/ 416 h 474"/>
                <a:gd name="T14" fmla="*/ 332 w 446"/>
                <a:gd name="T15" fmla="*/ 416 h 474"/>
                <a:gd name="T16" fmla="*/ 290 w 446"/>
                <a:gd name="T17" fmla="*/ 384 h 474"/>
                <a:gd name="T18" fmla="*/ 242 w 446"/>
                <a:gd name="T19" fmla="*/ 346 h 474"/>
                <a:gd name="T20" fmla="*/ 194 w 446"/>
                <a:gd name="T21" fmla="*/ 304 h 474"/>
                <a:gd name="T22" fmla="*/ 146 w 446"/>
                <a:gd name="T23" fmla="*/ 258 h 474"/>
                <a:gd name="T24" fmla="*/ 122 w 446"/>
                <a:gd name="T25" fmla="*/ 234 h 474"/>
                <a:gd name="T26" fmla="*/ 100 w 446"/>
                <a:gd name="T27" fmla="*/ 208 h 474"/>
                <a:gd name="T28" fmla="*/ 78 w 446"/>
                <a:gd name="T29" fmla="*/ 182 h 474"/>
                <a:gd name="T30" fmla="*/ 58 w 446"/>
                <a:gd name="T31" fmla="*/ 154 h 474"/>
                <a:gd name="T32" fmla="*/ 40 w 446"/>
                <a:gd name="T33" fmla="*/ 126 h 474"/>
                <a:gd name="T34" fmla="*/ 26 w 446"/>
                <a:gd name="T35" fmla="*/ 98 h 474"/>
                <a:gd name="T36" fmla="*/ 12 w 446"/>
                <a:gd name="T37" fmla="*/ 68 h 474"/>
                <a:gd name="T38" fmla="*/ 2 w 446"/>
                <a:gd name="T39" fmla="*/ 38 h 474"/>
                <a:gd name="T40" fmla="*/ 2 w 446"/>
                <a:gd name="T41" fmla="*/ 38 h 474"/>
                <a:gd name="T42" fmla="*/ 0 w 446"/>
                <a:gd name="T43" fmla="*/ 32 h 474"/>
                <a:gd name="T44" fmla="*/ 0 w 446"/>
                <a:gd name="T45" fmla="*/ 26 h 474"/>
                <a:gd name="T46" fmla="*/ 4 w 446"/>
                <a:gd name="T47" fmla="*/ 16 h 474"/>
                <a:gd name="T48" fmla="*/ 12 w 446"/>
                <a:gd name="T49" fmla="*/ 6 h 474"/>
                <a:gd name="T50" fmla="*/ 16 w 446"/>
                <a:gd name="T51" fmla="*/ 4 h 474"/>
                <a:gd name="T52" fmla="*/ 22 w 446"/>
                <a:gd name="T53" fmla="*/ 2 h 474"/>
                <a:gd name="T54" fmla="*/ 22 w 446"/>
                <a:gd name="T55" fmla="*/ 2 h 474"/>
                <a:gd name="T56" fmla="*/ 28 w 446"/>
                <a:gd name="T57" fmla="*/ 0 h 474"/>
                <a:gd name="T58" fmla="*/ 34 w 446"/>
                <a:gd name="T59" fmla="*/ 0 h 474"/>
                <a:gd name="T60" fmla="*/ 44 w 446"/>
                <a:gd name="T61" fmla="*/ 4 h 474"/>
                <a:gd name="T62" fmla="*/ 54 w 446"/>
                <a:gd name="T63" fmla="*/ 10 h 474"/>
                <a:gd name="T64" fmla="*/ 56 w 446"/>
                <a:gd name="T65" fmla="*/ 16 h 474"/>
                <a:gd name="T66" fmla="*/ 58 w 446"/>
                <a:gd name="T67" fmla="*/ 22 h 474"/>
                <a:gd name="T68" fmla="*/ 58 w 446"/>
                <a:gd name="T69" fmla="*/ 22 h 474"/>
                <a:gd name="T70" fmla="*/ 60 w 446"/>
                <a:gd name="T71" fmla="*/ 22 h 474"/>
                <a:gd name="T72" fmla="*/ 60 w 446"/>
                <a:gd name="T73" fmla="*/ 22 h 474"/>
                <a:gd name="T74" fmla="*/ 68 w 446"/>
                <a:gd name="T75" fmla="*/ 48 h 474"/>
                <a:gd name="T76" fmla="*/ 80 w 446"/>
                <a:gd name="T77" fmla="*/ 76 h 474"/>
                <a:gd name="T78" fmla="*/ 94 w 446"/>
                <a:gd name="T79" fmla="*/ 100 h 474"/>
                <a:gd name="T80" fmla="*/ 110 w 446"/>
                <a:gd name="T81" fmla="*/ 126 h 474"/>
                <a:gd name="T82" fmla="*/ 130 w 446"/>
                <a:gd name="T83" fmla="*/ 150 h 474"/>
                <a:gd name="T84" fmla="*/ 148 w 446"/>
                <a:gd name="T85" fmla="*/ 174 h 474"/>
                <a:gd name="T86" fmla="*/ 170 w 446"/>
                <a:gd name="T87" fmla="*/ 198 h 474"/>
                <a:gd name="T88" fmla="*/ 192 w 446"/>
                <a:gd name="T89" fmla="*/ 220 h 474"/>
                <a:gd name="T90" fmla="*/ 238 w 446"/>
                <a:gd name="T91" fmla="*/ 264 h 474"/>
                <a:gd name="T92" fmla="*/ 284 w 446"/>
                <a:gd name="T93" fmla="*/ 302 h 474"/>
                <a:gd name="T94" fmla="*/ 328 w 446"/>
                <a:gd name="T95" fmla="*/ 338 h 474"/>
                <a:gd name="T96" fmla="*/ 368 w 446"/>
                <a:gd name="T97" fmla="*/ 370 h 474"/>
                <a:gd name="T98" fmla="*/ 368 w 446"/>
                <a:gd name="T99" fmla="*/ 370 h 474"/>
                <a:gd name="T100" fmla="*/ 404 w 446"/>
                <a:gd name="T101" fmla="*/ 396 h 474"/>
                <a:gd name="T102" fmla="*/ 436 w 446"/>
                <a:gd name="T103" fmla="*/ 424 h 474"/>
                <a:gd name="T104" fmla="*/ 436 w 446"/>
                <a:gd name="T105" fmla="*/ 424 h 474"/>
                <a:gd name="T106" fmla="*/ 440 w 446"/>
                <a:gd name="T107" fmla="*/ 428 h 474"/>
                <a:gd name="T108" fmla="*/ 444 w 446"/>
                <a:gd name="T109" fmla="*/ 434 h 474"/>
                <a:gd name="T110" fmla="*/ 446 w 446"/>
                <a:gd name="T111" fmla="*/ 446 h 474"/>
                <a:gd name="T112" fmla="*/ 444 w 446"/>
                <a:gd name="T113" fmla="*/ 456 h 474"/>
                <a:gd name="T114" fmla="*/ 440 w 446"/>
                <a:gd name="T115" fmla="*/ 462 h 474"/>
                <a:gd name="T116" fmla="*/ 436 w 446"/>
                <a:gd name="T117" fmla="*/ 466 h 474"/>
                <a:gd name="T118" fmla="*/ 436 w 446"/>
                <a:gd name="T119" fmla="*/ 466 h 474"/>
                <a:gd name="T120" fmla="*/ 428 w 446"/>
                <a:gd name="T121" fmla="*/ 472 h 474"/>
                <a:gd name="T122" fmla="*/ 416 w 446"/>
                <a:gd name="T123" fmla="*/ 47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6" h="474">
                  <a:moveTo>
                    <a:pt x="416" y="474"/>
                  </a:moveTo>
                  <a:lnTo>
                    <a:pt x="416" y="474"/>
                  </a:lnTo>
                  <a:lnTo>
                    <a:pt x="404" y="472"/>
                  </a:lnTo>
                  <a:lnTo>
                    <a:pt x="396" y="466"/>
                  </a:lnTo>
                  <a:lnTo>
                    <a:pt x="396" y="466"/>
                  </a:lnTo>
                  <a:lnTo>
                    <a:pt x="364" y="440"/>
                  </a:lnTo>
                  <a:lnTo>
                    <a:pt x="332" y="416"/>
                  </a:lnTo>
                  <a:lnTo>
                    <a:pt x="332" y="416"/>
                  </a:lnTo>
                  <a:lnTo>
                    <a:pt x="290" y="384"/>
                  </a:lnTo>
                  <a:lnTo>
                    <a:pt x="242" y="346"/>
                  </a:lnTo>
                  <a:lnTo>
                    <a:pt x="194" y="304"/>
                  </a:lnTo>
                  <a:lnTo>
                    <a:pt x="146" y="258"/>
                  </a:lnTo>
                  <a:lnTo>
                    <a:pt x="122" y="234"/>
                  </a:lnTo>
                  <a:lnTo>
                    <a:pt x="100" y="208"/>
                  </a:lnTo>
                  <a:lnTo>
                    <a:pt x="78" y="182"/>
                  </a:lnTo>
                  <a:lnTo>
                    <a:pt x="58" y="154"/>
                  </a:lnTo>
                  <a:lnTo>
                    <a:pt x="40" y="126"/>
                  </a:lnTo>
                  <a:lnTo>
                    <a:pt x="26" y="98"/>
                  </a:lnTo>
                  <a:lnTo>
                    <a:pt x="12" y="68"/>
                  </a:lnTo>
                  <a:lnTo>
                    <a:pt x="2" y="38"/>
                  </a:lnTo>
                  <a:lnTo>
                    <a:pt x="2" y="38"/>
                  </a:lnTo>
                  <a:lnTo>
                    <a:pt x="0" y="32"/>
                  </a:lnTo>
                  <a:lnTo>
                    <a:pt x="0" y="26"/>
                  </a:lnTo>
                  <a:lnTo>
                    <a:pt x="4" y="16"/>
                  </a:lnTo>
                  <a:lnTo>
                    <a:pt x="12" y="6"/>
                  </a:lnTo>
                  <a:lnTo>
                    <a:pt x="16" y="4"/>
                  </a:lnTo>
                  <a:lnTo>
                    <a:pt x="22" y="2"/>
                  </a:lnTo>
                  <a:lnTo>
                    <a:pt x="22" y="2"/>
                  </a:lnTo>
                  <a:lnTo>
                    <a:pt x="28" y="0"/>
                  </a:lnTo>
                  <a:lnTo>
                    <a:pt x="34" y="0"/>
                  </a:lnTo>
                  <a:lnTo>
                    <a:pt x="44" y="4"/>
                  </a:lnTo>
                  <a:lnTo>
                    <a:pt x="54" y="10"/>
                  </a:lnTo>
                  <a:lnTo>
                    <a:pt x="56" y="16"/>
                  </a:lnTo>
                  <a:lnTo>
                    <a:pt x="58" y="22"/>
                  </a:lnTo>
                  <a:lnTo>
                    <a:pt x="58" y="22"/>
                  </a:lnTo>
                  <a:lnTo>
                    <a:pt x="60" y="22"/>
                  </a:lnTo>
                  <a:lnTo>
                    <a:pt x="60" y="22"/>
                  </a:lnTo>
                  <a:lnTo>
                    <a:pt x="68" y="48"/>
                  </a:lnTo>
                  <a:lnTo>
                    <a:pt x="80" y="76"/>
                  </a:lnTo>
                  <a:lnTo>
                    <a:pt x="94" y="100"/>
                  </a:lnTo>
                  <a:lnTo>
                    <a:pt x="110" y="126"/>
                  </a:lnTo>
                  <a:lnTo>
                    <a:pt x="130" y="150"/>
                  </a:lnTo>
                  <a:lnTo>
                    <a:pt x="148" y="174"/>
                  </a:lnTo>
                  <a:lnTo>
                    <a:pt x="170" y="198"/>
                  </a:lnTo>
                  <a:lnTo>
                    <a:pt x="192" y="220"/>
                  </a:lnTo>
                  <a:lnTo>
                    <a:pt x="238" y="264"/>
                  </a:lnTo>
                  <a:lnTo>
                    <a:pt x="284" y="302"/>
                  </a:lnTo>
                  <a:lnTo>
                    <a:pt x="328" y="338"/>
                  </a:lnTo>
                  <a:lnTo>
                    <a:pt x="368" y="370"/>
                  </a:lnTo>
                  <a:lnTo>
                    <a:pt x="368" y="370"/>
                  </a:lnTo>
                  <a:lnTo>
                    <a:pt x="404" y="396"/>
                  </a:lnTo>
                  <a:lnTo>
                    <a:pt x="436" y="424"/>
                  </a:lnTo>
                  <a:lnTo>
                    <a:pt x="436" y="424"/>
                  </a:lnTo>
                  <a:lnTo>
                    <a:pt x="440" y="428"/>
                  </a:lnTo>
                  <a:lnTo>
                    <a:pt x="444" y="434"/>
                  </a:lnTo>
                  <a:lnTo>
                    <a:pt x="446" y="446"/>
                  </a:lnTo>
                  <a:lnTo>
                    <a:pt x="444" y="456"/>
                  </a:lnTo>
                  <a:lnTo>
                    <a:pt x="440" y="462"/>
                  </a:lnTo>
                  <a:lnTo>
                    <a:pt x="436" y="466"/>
                  </a:lnTo>
                  <a:lnTo>
                    <a:pt x="436" y="466"/>
                  </a:lnTo>
                  <a:lnTo>
                    <a:pt x="428" y="472"/>
                  </a:lnTo>
                  <a:lnTo>
                    <a:pt x="416" y="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260">
              <a:extLst>
                <a:ext uri="{FF2B5EF4-FFF2-40B4-BE49-F238E27FC236}">
                  <a16:creationId xmlns:a16="http://schemas.microsoft.com/office/drawing/2014/main" id="{81BE4629-7E18-44F3-BFF9-01DCBC2B5F8D}"/>
                </a:ext>
              </a:extLst>
            </p:cNvPr>
            <p:cNvSpPr>
              <a:spLocks/>
            </p:cNvSpPr>
            <p:nvPr/>
          </p:nvSpPr>
          <p:spPr bwMode="auto">
            <a:xfrm>
              <a:off x="14705013" y="3286125"/>
              <a:ext cx="708025" cy="752475"/>
            </a:xfrm>
            <a:custGeom>
              <a:avLst/>
              <a:gdLst>
                <a:gd name="T0" fmla="*/ 416 w 446"/>
                <a:gd name="T1" fmla="*/ 474 h 474"/>
                <a:gd name="T2" fmla="*/ 416 w 446"/>
                <a:gd name="T3" fmla="*/ 474 h 474"/>
                <a:gd name="T4" fmla="*/ 404 w 446"/>
                <a:gd name="T5" fmla="*/ 472 h 474"/>
                <a:gd name="T6" fmla="*/ 396 w 446"/>
                <a:gd name="T7" fmla="*/ 466 h 474"/>
                <a:gd name="T8" fmla="*/ 396 w 446"/>
                <a:gd name="T9" fmla="*/ 466 h 474"/>
                <a:gd name="T10" fmla="*/ 364 w 446"/>
                <a:gd name="T11" fmla="*/ 440 h 474"/>
                <a:gd name="T12" fmla="*/ 332 w 446"/>
                <a:gd name="T13" fmla="*/ 416 h 474"/>
                <a:gd name="T14" fmla="*/ 332 w 446"/>
                <a:gd name="T15" fmla="*/ 416 h 474"/>
                <a:gd name="T16" fmla="*/ 290 w 446"/>
                <a:gd name="T17" fmla="*/ 384 h 474"/>
                <a:gd name="T18" fmla="*/ 242 w 446"/>
                <a:gd name="T19" fmla="*/ 346 h 474"/>
                <a:gd name="T20" fmla="*/ 194 w 446"/>
                <a:gd name="T21" fmla="*/ 304 h 474"/>
                <a:gd name="T22" fmla="*/ 146 w 446"/>
                <a:gd name="T23" fmla="*/ 258 h 474"/>
                <a:gd name="T24" fmla="*/ 122 w 446"/>
                <a:gd name="T25" fmla="*/ 234 h 474"/>
                <a:gd name="T26" fmla="*/ 100 w 446"/>
                <a:gd name="T27" fmla="*/ 208 h 474"/>
                <a:gd name="T28" fmla="*/ 78 w 446"/>
                <a:gd name="T29" fmla="*/ 182 h 474"/>
                <a:gd name="T30" fmla="*/ 58 w 446"/>
                <a:gd name="T31" fmla="*/ 154 h 474"/>
                <a:gd name="T32" fmla="*/ 40 w 446"/>
                <a:gd name="T33" fmla="*/ 126 h 474"/>
                <a:gd name="T34" fmla="*/ 26 w 446"/>
                <a:gd name="T35" fmla="*/ 98 h 474"/>
                <a:gd name="T36" fmla="*/ 12 w 446"/>
                <a:gd name="T37" fmla="*/ 68 h 474"/>
                <a:gd name="T38" fmla="*/ 2 w 446"/>
                <a:gd name="T39" fmla="*/ 38 h 474"/>
                <a:gd name="T40" fmla="*/ 2 w 446"/>
                <a:gd name="T41" fmla="*/ 38 h 474"/>
                <a:gd name="T42" fmla="*/ 0 w 446"/>
                <a:gd name="T43" fmla="*/ 32 h 474"/>
                <a:gd name="T44" fmla="*/ 0 w 446"/>
                <a:gd name="T45" fmla="*/ 26 h 474"/>
                <a:gd name="T46" fmla="*/ 4 w 446"/>
                <a:gd name="T47" fmla="*/ 16 h 474"/>
                <a:gd name="T48" fmla="*/ 12 w 446"/>
                <a:gd name="T49" fmla="*/ 6 h 474"/>
                <a:gd name="T50" fmla="*/ 16 w 446"/>
                <a:gd name="T51" fmla="*/ 4 h 474"/>
                <a:gd name="T52" fmla="*/ 22 w 446"/>
                <a:gd name="T53" fmla="*/ 2 h 474"/>
                <a:gd name="T54" fmla="*/ 22 w 446"/>
                <a:gd name="T55" fmla="*/ 2 h 474"/>
                <a:gd name="T56" fmla="*/ 28 w 446"/>
                <a:gd name="T57" fmla="*/ 0 h 474"/>
                <a:gd name="T58" fmla="*/ 34 w 446"/>
                <a:gd name="T59" fmla="*/ 0 h 474"/>
                <a:gd name="T60" fmla="*/ 44 w 446"/>
                <a:gd name="T61" fmla="*/ 4 h 474"/>
                <a:gd name="T62" fmla="*/ 54 w 446"/>
                <a:gd name="T63" fmla="*/ 10 h 474"/>
                <a:gd name="T64" fmla="*/ 56 w 446"/>
                <a:gd name="T65" fmla="*/ 16 h 474"/>
                <a:gd name="T66" fmla="*/ 58 w 446"/>
                <a:gd name="T67" fmla="*/ 22 h 474"/>
                <a:gd name="T68" fmla="*/ 58 w 446"/>
                <a:gd name="T69" fmla="*/ 22 h 474"/>
                <a:gd name="T70" fmla="*/ 60 w 446"/>
                <a:gd name="T71" fmla="*/ 22 h 474"/>
                <a:gd name="T72" fmla="*/ 60 w 446"/>
                <a:gd name="T73" fmla="*/ 22 h 474"/>
                <a:gd name="T74" fmla="*/ 68 w 446"/>
                <a:gd name="T75" fmla="*/ 48 h 474"/>
                <a:gd name="T76" fmla="*/ 80 w 446"/>
                <a:gd name="T77" fmla="*/ 76 h 474"/>
                <a:gd name="T78" fmla="*/ 94 w 446"/>
                <a:gd name="T79" fmla="*/ 100 h 474"/>
                <a:gd name="T80" fmla="*/ 110 w 446"/>
                <a:gd name="T81" fmla="*/ 126 h 474"/>
                <a:gd name="T82" fmla="*/ 130 w 446"/>
                <a:gd name="T83" fmla="*/ 150 h 474"/>
                <a:gd name="T84" fmla="*/ 148 w 446"/>
                <a:gd name="T85" fmla="*/ 174 h 474"/>
                <a:gd name="T86" fmla="*/ 170 w 446"/>
                <a:gd name="T87" fmla="*/ 198 h 474"/>
                <a:gd name="T88" fmla="*/ 192 w 446"/>
                <a:gd name="T89" fmla="*/ 220 h 474"/>
                <a:gd name="T90" fmla="*/ 238 w 446"/>
                <a:gd name="T91" fmla="*/ 264 h 474"/>
                <a:gd name="T92" fmla="*/ 284 w 446"/>
                <a:gd name="T93" fmla="*/ 302 h 474"/>
                <a:gd name="T94" fmla="*/ 328 w 446"/>
                <a:gd name="T95" fmla="*/ 338 h 474"/>
                <a:gd name="T96" fmla="*/ 368 w 446"/>
                <a:gd name="T97" fmla="*/ 370 h 474"/>
                <a:gd name="T98" fmla="*/ 368 w 446"/>
                <a:gd name="T99" fmla="*/ 370 h 474"/>
                <a:gd name="T100" fmla="*/ 404 w 446"/>
                <a:gd name="T101" fmla="*/ 396 h 474"/>
                <a:gd name="T102" fmla="*/ 436 w 446"/>
                <a:gd name="T103" fmla="*/ 424 h 474"/>
                <a:gd name="T104" fmla="*/ 436 w 446"/>
                <a:gd name="T105" fmla="*/ 424 h 474"/>
                <a:gd name="T106" fmla="*/ 440 w 446"/>
                <a:gd name="T107" fmla="*/ 428 h 474"/>
                <a:gd name="T108" fmla="*/ 444 w 446"/>
                <a:gd name="T109" fmla="*/ 434 h 474"/>
                <a:gd name="T110" fmla="*/ 446 w 446"/>
                <a:gd name="T111" fmla="*/ 446 h 474"/>
                <a:gd name="T112" fmla="*/ 444 w 446"/>
                <a:gd name="T113" fmla="*/ 456 h 474"/>
                <a:gd name="T114" fmla="*/ 440 w 446"/>
                <a:gd name="T115" fmla="*/ 462 h 474"/>
                <a:gd name="T116" fmla="*/ 436 w 446"/>
                <a:gd name="T117" fmla="*/ 466 h 474"/>
                <a:gd name="T118" fmla="*/ 436 w 446"/>
                <a:gd name="T119" fmla="*/ 466 h 474"/>
                <a:gd name="T120" fmla="*/ 428 w 446"/>
                <a:gd name="T121" fmla="*/ 472 h 474"/>
                <a:gd name="T122" fmla="*/ 416 w 446"/>
                <a:gd name="T123" fmla="*/ 47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6" h="474">
                  <a:moveTo>
                    <a:pt x="416" y="474"/>
                  </a:moveTo>
                  <a:lnTo>
                    <a:pt x="416" y="474"/>
                  </a:lnTo>
                  <a:lnTo>
                    <a:pt x="404" y="472"/>
                  </a:lnTo>
                  <a:lnTo>
                    <a:pt x="396" y="466"/>
                  </a:lnTo>
                  <a:lnTo>
                    <a:pt x="396" y="466"/>
                  </a:lnTo>
                  <a:lnTo>
                    <a:pt x="364" y="440"/>
                  </a:lnTo>
                  <a:lnTo>
                    <a:pt x="332" y="416"/>
                  </a:lnTo>
                  <a:lnTo>
                    <a:pt x="332" y="416"/>
                  </a:lnTo>
                  <a:lnTo>
                    <a:pt x="290" y="384"/>
                  </a:lnTo>
                  <a:lnTo>
                    <a:pt x="242" y="346"/>
                  </a:lnTo>
                  <a:lnTo>
                    <a:pt x="194" y="304"/>
                  </a:lnTo>
                  <a:lnTo>
                    <a:pt x="146" y="258"/>
                  </a:lnTo>
                  <a:lnTo>
                    <a:pt x="122" y="234"/>
                  </a:lnTo>
                  <a:lnTo>
                    <a:pt x="100" y="208"/>
                  </a:lnTo>
                  <a:lnTo>
                    <a:pt x="78" y="182"/>
                  </a:lnTo>
                  <a:lnTo>
                    <a:pt x="58" y="154"/>
                  </a:lnTo>
                  <a:lnTo>
                    <a:pt x="40" y="126"/>
                  </a:lnTo>
                  <a:lnTo>
                    <a:pt x="26" y="98"/>
                  </a:lnTo>
                  <a:lnTo>
                    <a:pt x="12" y="68"/>
                  </a:lnTo>
                  <a:lnTo>
                    <a:pt x="2" y="38"/>
                  </a:lnTo>
                  <a:lnTo>
                    <a:pt x="2" y="38"/>
                  </a:lnTo>
                  <a:lnTo>
                    <a:pt x="0" y="32"/>
                  </a:lnTo>
                  <a:lnTo>
                    <a:pt x="0" y="26"/>
                  </a:lnTo>
                  <a:lnTo>
                    <a:pt x="4" y="16"/>
                  </a:lnTo>
                  <a:lnTo>
                    <a:pt x="12" y="6"/>
                  </a:lnTo>
                  <a:lnTo>
                    <a:pt x="16" y="4"/>
                  </a:lnTo>
                  <a:lnTo>
                    <a:pt x="22" y="2"/>
                  </a:lnTo>
                  <a:lnTo>
                    <a:pt x="22" y="2"/>
                  </a:lnTo>
                  <a:lnTo>
                    <a:pt x="28" y="0"/>
                  </a:lnTo>
                  <a:lnTo>
                    <a:pt x="34" y="0"/>
                  </a:lnTo>
                  <a:lnTo>
                    <a:pt x="44" y="4"/>
                  </a:lnTo>
                  <a:lnTo>
                    <a:pt x="54" y="10"/>
                  </a:lnTo>
                  <a:lnTo>
                    <a:pt x="56" y="16"/>
                  </a:lnTo>
                  <a:lnTo>
                    <a:pt x="58" y="22"/>
                  </a:lnTo>
                  <a:lnTo>
                    <a:pt x="58" y="22"/>
                  </a:lnTo>
                  <a:lnTo>
                    <a:pt x="60" y="22"/>
                  </a:lnTo>
                  <a:lnTo>
                    <a:pt x="60" y="22"/>
                  </a:lnTo>
                  <a:lnTo>
                    <a:pt x="68" y="48"/>
                  </a:lnTo>
                  <a:lnTo>
                    <a:pt x="80" y="76"/>
                  </a:lnTo>
                  <a:lnTo>
                    <a:pt x="94" y="100"/>
                  </a:lnTo>
                  <a:lnTo>
                    <a:pt x="110" y="126"/>
                  </a:lnTo>
                  <a:lnTo>
                    <a:pt x="130" y="150"/>
                  </a:lnTo>
                  <a:lnTo>
                    <a:pt x="148" y="174"/>
                  </a:lnTo>
                  <a:lnTo>
                    <a:pt x="170" y="198"/>
                  </a:lnTo>
                  <a:lnTo>
                    <a:pt x="192" y="220"/>
                  </a:lnTo>
                  <a:lnTo>
                    <a:pt x="238" y="264"/>
                  </a:lnTo>
                  <a:lnTo>
                    <a:pt x="284" y="302"/>
                  </a:lnTo>
                  <a:lnTo>
                    <a:pt x="328" y="338"/>
                  </a:lnTo>
                  <a:lnTo>
                    <a:pt x="368" y="370"/>
                  </a:lnTo>
                  <a:lnTo>
                    <a:pt x="368" y="370"/>
                  </a:lnTo>
                  <a:lnTo>
                    <a:pt x="404" y="396"/>
                  </a:lnTo>
                  <a:lnTo>
                    <a:pt x="436" y="424"/>
                  </a:lnTo>
                  <a:lnTo>
                    <a:pt x="436" y="424"/>
                  </a:lnTo>
                  <a:lnTo>
                    <a:pt x="440" y="428"/>
                  </a:lnTo>
                  <a:lnTo>
                    <a:pt x="444" y="434"/>
                  </a:lnTo>
                  <a:lnTo>
                    <a:pt x="446" y="446"/>
                  </a:lnTo>
                  <a:lnTo>
                    <a:pt x="444" y="456"/>
                  </a:lnTo>
                  <a:lnTo>
                    <a:pt x="440" y="462"/>
                  </a:lnTo>
                  <a:lnTo>
                    <a:pt x="436" y="466"/>
                  </a:lnTo>
                  <a:lnTo>
                    <a:pt x="436" y="466"/>
                  </a:lnTo>
                  <a:lnTo>
                    <a:pt x="428" y="472"/>
                  </a:lnTo>
                  <a:lnTo>
                    <a:pt x="416" y="47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261">
              <a:extLst>
                <a:ext uri="{FF2B5EF4-FFF2-40B4-BE49-F238E27FC236}">
                  <a16:creationId xmlns:a16="http://schemas.microsoft.com/office/drawing/2014/main" id="{0C60FA27-4ACB-41C4-A55C-F03206B77740}"/>
                </a:ext>
              </a:extLst>
            </p:cNvPr>
            <p:cNvSpPr>
              <a:spLocks/>
            </p:cNvSpPr>
            <p:nvPr/>
          </p:nvSpPr>
          <p:spPr bwMode="auto">
            <a:xfrm>
              <a:off x="14612938" y="4038600"/>
              <a:ext cx="469900" cy="377825"/>
            </a:xfrm>
            <a:custGeom>
              <a:avLst/>
              <a:gdLst>
                <a:gd name="T0" fmla="*/ 28 w 296"/>
                <a:gd name="T1" fmla="*/ 238 h 238"/>
                <a:gd name="T2" fmla="*/ 22 w 296"/>
                <a:gd name="T3" fmla="*/ 238 h 238"/>
                <a:gd name="T4" fmla="*/ 8 w 296"/>
                <a:gd name="T5" fmla="*/ 228 h 238"/>
                <a:gd name="T6" fmla="*/ 0 w 296"/>
                <a:gd name="T7" fmla="*/ 212 h 238"/>
                <a:gd name="T8" fmla="*/ 0 w 296"/>
                <a:gd name="T9" fmla="*/ 206 h 238"/>
                <a:gd name="T10" fmla="*/ 4 w 296"/>
                <a:gd name="T11" fmla="*/ 160 h 238"/>
                <a:gd name="T12" fmla="*/ 22 w 296"/>
                <a:gd name="T13" fmla="*/ 90 h 238"/>
                <a:gd name="T14" fmla="*/ 38 w 296"/>
                <a:gd name="T15" fmla="*/ 56 h 238"/>
                <a:gd name="T16" fmla="*/ 58 w 296"/>
                <a:gd name="T17" fmla="*/ 28 h 238"/>
                <a:gd name="T18" fmla="*/ 84 w 296"/>
                <a:gd name="T19" fmla="*/ 8 h 238"/>
                <a:gd name="T20" fmla="*/ 118 w 296"/>
                <a:gd name="T21" fmla="*/ 0 h 238"/>
                <a:gd name="T22" fmla="*/ 142 w 296"/>
                <a:gd name="T23" fmla="*/ 6 h 238"/>
                <a:gd name="T24" fmla="*/ 184 w 296"/>
                <a:gd name="T25" fmla="*/ 22 h 238"/>
                <a:gd name="T26" fmla="*/ 222 w 296"/>
                <a:gd name="T27" fmla="*/ 48 h 238"/>
                <a:gd name="T28" fmla="*/ 254 w 296"/>
                <a:gd name="T29" fmla="*/ 82 h 238"/>
                <a:gd name="T30" fmla="*/ 266 w 296"/>
                <a:gd name="T31" fmla="*/ 102 h 238"/>
                <a:gd name="T32" fmla="*/ 288 w 296"/>
                <a:gd name="T33" fmla="*/ 128 h 238"/>
                <a:gd name="T34" fmla="*/ 294 w 296"/>
                <a:gd name="T35" fmla="*/ 138 h 238"/>
                <a:gd name="T36" fmla="*/ 294 w 296"/>
                <a:gd name="T37" fmla="*/ 160 h 238"/>
                <a:gd name="T38" fmla="*/ 288 w 296"/>
                <a:gd name="T39" fmla="*/ 170 h 238"/>
                <a:gd name="T40" fmla="*/ 278 w 296"/>
                <a:gd name="T41" fmla="*/ 176 h 238"/>
                <a:gd name="T42" fmla="*/ 256 w 296"/>
                <a:gd name="T43" fmla="*/ 176 h 238"/>
                <a:gd name="T44" fmla="*/ 246 w 296"/>
                <a:gd name="T45" fmla="*/ 170 h 238"/>
                <a:gd name="T46" fmla="*/ 218 w 296"/>
                <a:gd name="T47" fmla="*/ 136 h 238"/>
                <a:gd name="T48" fmla="*/ 198 w 296"/>
                <a:gd name="T49" fmla="*/ 110 h 238"/>
                <a:gd name="T50" fmla="*/ 176 w 296"/>
                <a:gd name="T51" fmla="*/ 86 h 238"/>
                <a:gd name="T52" fmla="*/ 148 w 296"/>
                <a:gd name="T53" fmla="*/ 68 h 238"/>
                <a:gd name="T54" fmla="*/ 118 w 296"/>
                <a:gd name="T55" fmla="*/ 60 h 238"/>
                <a:gd name="T56" fmla="*/ 112 w 296"/>
                <a:gd name="T57" fmla="*/ 62 h 238"/>
                <a:gd name="T58" fmla="*/ 102 w 296"/>
                <a:gd name="T59" fmla="*/ 68 h 238"/>
                <a:gd name="T60" fmla="*/ 86 w 296"/>
                <a:gd name="T61" fmla="*/ 92 h 238"/>
                <a:gd name="T62" fmla="*/ 70 w 296"/>
                <a:gd name="T63" fmla="*/ 136 h 238"/>
                <a:gd name="T64" fmla="*/ 62 w 296"/>
                <a:gd name="T65" fmla="*/ 186 h 238"/>
                <a:gd name="T66" fmla="*/ 60 w 296"/>
                <a:gd name="T67" fmla="*/ 210 h 238"/>
                <a:gd name="T68" fmla="*/ 50 w 296"/>
                <a:gd name="T69" fmla="*/ 230 h 238"/>
                <a:gd name="T70" fmla="*/ 30 w 296"/>
                <a:gd name="T7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6" h="238">
                  <a:moveTo>
                    <a:pt x="30" y="238"/>
                  </a:moveTo>
                  <a:lnTo>
                    <a:pt x="28" y="238"/>
                  </a:lnTo>
                  <a:lnTo>
                    <a:pt x="28" y="238"/>
                  </a:lnTo>
                  <a:lnTo>
                    <a:pt x="22" y="238"/>
                  </a:lnTo>
                  <a:lnTo>
                    <a:pt x="16" y="234"/>
                  </a:lnTo>
                  <a:lnTo>
                    <a:pt x="8" y="228"/>
                  </a:lnTo>
                  <a:lnTo>
                    <a:pt x="2" y="218"/>
                  </a:lnTo>
                  <a:lnTo>
                    <a:pt x="0" y="212"/>
                  </a:lnTo>
                  <a:lnTo>
                    <a:pt x="0" y="206"/>
                  </a:lnTo>
                  <a:lnTo>
                    <a:pt x="0" y="206"/>
                  </a:lnTo>
                  <a:lnTo>
                    <a:pt x="2" y="188"/>
                  </a:lnTo>
                  <a:lnTo>
                    <a:pt x="4" y="160"/>
                  </a:lnTo>
                  <a:lnTo>
                    <a:pt x="12" y="126"/>
                  </a:lnTo>
                  <a:lnTo>
                    <a:pt x="22" y="90"/>
                  </a:lnTo>
                  <a:lnTo>
                    <a:pt x="28" y="74"/>
                  </a:lnTo>
                  <a:lnTo>
                    <a:pt x="38" y="56"/>
                  </a:lnTo>
                  <a:lnTo>
                    <a:pt x="46" y="42"/>
                  </a:lnTo>
                  <a:lnTo>
                    <a:pt x="58" y="28"/>
                  </a:lnTo>
                  <a:lnTo>
                    <a:pt x="70" y="16"/>
                  </a:lnTo>
                  <a:lnTo>
                    <a:pt x="84" y="8"/>
                  </a:lnTo>
                  <a:lnTo>
                    <a:pt x="100" y="2"/>
                  </a:lnTo>
                  <a:lnTo>
                    <a:pt x="118" y="0"/>
                  </a:lnTo>
                  <a:lnTo>
                    <a:pt x="118" y="0"/>
                  </a:lnTo>
                  <a:lnTo>
                    <a:pt x="142" y="6"/>
                  </a:lnTo>
                  <a:lnTo>
                    <a:pt x="164" y="12"/>
                  </a:lnTo>
                  <a:lnTo>
                    <a:pt x="184" y="22"/>
                  </a:lnTo>
                  <a:lnTo>
                    <a:pt x="204" y="34"/>
                  </a:lnTo>
                  <a:lnTo>
                    <a:pt x="222" y="48"/>
                  </a:lnTo>
                  <a:lnTo>
                    <a:pt x="240" y="64"/>
                  </a:lnTo>
                  <a:lnTo>
                    <a:pt x="254" y="82"/>
                  </a:lnTo>
                  <a:lnTo>
                    <a:pt x="266" y="102"/>
                  </a:lnTo>
                  <a:lnTo>
                    <a:pt x="266" y="102"/>
                  </a:lnTo>
                  <a:lnTo>
                    <a:pt x="288" y="128"/>
                  </a:lnTo>
                  <a:lnTo>
                    <a:pt x="288" y="128"/>
                  </a:lnTo>
                  <a:lnTo>
                    <a:pt x="292" y="132"/>
                  </a:lnTo>
                  <a:lnTo>
                    <a:pt x="294" y="138"/>
                  </a:lnTo>
                  <a:lnTo>
                    <a:pt x="296" y="150"/>
                  </a:lnTo>
                  <a:lnTo>
                    <a:pt x="294" y="160"/>
                  </a:lnTo>
                  <a:lnTo>
                    <a:pt x="290" y="166"/>
                  </a:lnTo>
                  <a:lnTo>
                    <a:pt x="288" y="170"/>
                  </a:lnTo>
                  <a:lnTo>
                    <a:pt x="288" y="170"/>
                  </a:lnTo>
                  <a:lnTo>
                    <a:pt x="278" y="176"/>
                  </a:lnTo>
                  <a:lnTo>
                    <a:pt x="266" y="178"/>
                  </a:lnTo>
                  <a:lnTo>
                    <a:pt x="256" y="176"/>
                  </a:lnTo>
                  <a:lnTo>
                    <a:pt x="246" y="170"/>
                  </a:lnTo>
                  <a:lnTo>
                    <a:pt x="246" y="170"/>
                  </a:lnTo>
                  <a:lnTo>
                    <a:pt x="232" y="154"/>
                  </a:lnTo>
                  <a:lnTo>
                    <a:pt x="218" y="136"/>
                  </a:lnTo>
                  <a:lnTo>
                    <a:pt x="218" y="136"/>
                  </a:lnTo>
                  <a:lnTo>
                    <a:pt x="198" y="110"/>
                  </a:lnTo>
                  <a:lnTo>
                    <a:pt x="188" y="98"/>
                  </a:lnTo>
                  <a:lnTo>
                    <a:pt x="176" y="86"/>
                  </a:lnTo>
                  <a:lnTo>
                    <a:pt x="162" y="76"/>
                  </a:lnTo>
                  <a:lnTo>
                    <a:pt x="148" y="68"/>
                  </a:lnTo>
                  <a:lnTo>
                    <a:pt x="134" y="62"/>
                  </a:lnTo>
                  <a:lnTo>
                    <a:pt x="118" y="60"/>
                  </a:lnTo>
                  <a:lnTo>
                    <a:pt x="118" y="60"/>
                  </a:lnTo>
                  <a:lnTo>
                    <a:pt x="112" y="62"/>
                  </a:lnTo>
                  <a:lnTo>
                    <a:pt x="106" y="64"/>
                  </a:lnTo>
                  <a:lnTo>
                    <a:pt x="102" y="68"/>
                  </a:lnTo>
                  <a:lnTo>
                    <a:pt x="96" y="74"/>
                  </a:lnTo>
                  <a:lnTo>
                    <a:pt x="86" y="92"/>
                  </a:lnTo>
                  <a:lnTo>
                    <a:pt x="78" y="112"/>
                  </a:lnTo>
                  <a:lnTo>
                    <a:pt x="70" y="136"/>
                  </a:lnTo>
                  <a:lnTo>
                    <a:pt x="66" y="160"/>
                  </a:lnTo>
                  <a:lnTo>
                    <a:pt x="62" y="186"/>
                  </a:lnTo>
                  <a:lnTo>
                    <a:pt x="60" y="210"/>
                  </a:lnTo>
                  <a:lnTo>
                    <a:pt x="60" y="210"/>
                  </a:lnTo>
                  <a:lnTo>
                    <a:pt x="56" y="222"/>
                  </a:lnTo>
                  <a:lnTo>
                    <a:pt x="50" y="230"/>
                  </a:lnTo>
                  <a:lnTo>
                    <a:pt x="40" y="236"/>
                  </a:lnTo>
                  <a:lnTo>
                    <a:pt x="30" y="2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262">
              <a:extLst>
                <a:ext uri="{FF2B5EF4-FFF2-40B4-BE49-F238E27FC236}">
                  <a16:creationId xmlns:a16="http://schemas.microsoft.com/office/drawing/2014/main" id="{5BC7B093-B736-4B3B-BA35-06AF531470EA}"/>
                </a:ext>
              </a:extLst>
            </p:cNvPr>
            <p:cNvSpPr>
              <a:spLocks/>
            </p:cNvSpPr>
            <p:nvPr/>
          </p:nvSpPr>
          <p:spPr bwMode="auto">
            <a:xfrm>
              <a:off x="14612938" y="4038600"/>
              <a:ext cx="469900" cy="377825"/>
            </a:xfrm>
            <a:custGeom>
              <a:avLst/>
              <a:gdLst>
                <a:gd name="T0" fmla="*/ 28 w 296"/>
                <a:gd name="T1" fmla="*/ 238 h 238"/>
                <a:gd name="T2" fmla="*/ 22 w 296"/>
                <a:gd name="T3" fmla="*/ 238 h 238"/>
                <a:gd name="T4" fmla="*/ 8 w 296"/>
                <a:gd name="T5" fmla="*/ 228 h 238"/>
                <a:gd name="T6" fmla="*/ 0 w 296"/>
                <a:gd name="T7" fmla="*/ 212 h 238"/>
                <a:gd name="T8" fmla="*/ 0 w 296"/>
                <a:gd name="T9" fmla="*/ 206 h 238"/>
                <a:gd name="T10" fmla="*/ 4 w 296"/>
                <a:gd name="T11" fmla="*/ 160 h 238"/>
                <a:gd name="T12" fmla="*/ 22 w 296"/>
                <a:gd name="T13" fmla="*/ 90 h 238"/>
                <a:gd name="T14" fmla="*/ 38 w 296"/>
                <a:gd name="T15" fmla="*/ 56 h 238"/>
                <a:gd name="T16" fmla="*/ 58 w 296"/>
                <a:gd name="T17" fmla="*/ 28 h 238"/>
                <a:gd name="T18" fmla="*/ 84 w 296"/>
                <a:gd name="T19" fmla="*/ 8 h 238"/>
                <a:gd name="T20" fmla="*/ 118 w 296"/>
                <a:gd name="T21" fmla="*/ 0 h 238"/>
                <a:gd name="T22" fmla="*/ 142 w 296"/>
                <a:gd name="T23" fmla="*/ 6 h 238"/>
                <a:gd name="T24" fmla="*/ 184 w 296"/>
                <a:gd name="T25" fmla="*/ 22 h 238"/>
                <a:gd name="T26" fmla="*/ 222 w 296"/>
                <a:gd name="T27" fmla="*/ 48 h 238"/>
                <a:gd name="T28" fmla="*/ 254 w 296"/>
                <a:gd name="T29" fmla="*/ 82 h 238"/>
                <a:gd name="T30" fmla="*/ 266 w 296"/>
                <a:gd name="T31" fmla="*/ 102 h 238"/>
                <a:gd name="T32" fmla="*/ 288 w 296"/>
                <a:gd name="T33" fmla="*/ 128 h 238"/>
                <a:gd name="T34" fmla="*/ 294 w 296"/>
                <a:gd name="T35" fmla="*/ 138 h 238"/>
                <a:gd name="T36" fmla="*/ 294 w 296"/>
                <a:gd name="T37" fmla="*/ 160 h 238"/>
                <a:gd name="T38" fmla="*/ 288 w 296"/>
                <a:gd name="T39" fmla="*/ 170 h 238"/>
                <a:gd name="T40" fmla="*/ 278 w 296"/>
                <a:gd name="T41" fmla="*/ 176 h 238"/>
                <a:gd name="T42" fmla="*/ 256 w 296"/>
                <a:gd name="T43" fmla="*/ 176 h 238"/>
                <a:gd name="T44" fmla="*/ 246 w 296"/>
                <a:gd name="T45" fmla="*/ 170 h 238"/>
                <a:gd name="T46" fmla="*/ 218 w 296"/>
                <a:gd name="T47" fmla="*/ 136 h 238"/>
                <a:gd name="T48" fmla="*/ 198 w 296"/>
                <a:gd name="T49" fmla="*/ 110 h 238"/>
                <a:gd name="T50" fmla="*/ 176 w 296"/>
                <a:gd name="T51" fmla="*/ 86 h 238"/>
                <a:gd name="T52" fmla="*/ 148 w 296"/>
                <a:gd name="T53" fmla="*/ 68 h 238"/>
                <a:gd name="T54" fmla="*/ 118 w 296"/>
                <a:gd name="T55" fmla="*/ 60 h 238"/>
                <a:gd name="T56" fmla="*/ 112 w 296"/>
                <a:gd name="T57" fmla="*/ 62 h 238"/>
                <a:gd name="T58" fmla="*/ 102 w 296"/>
                <a:gd name="T59" fmla="*/ 68 h 238"/>
                <a:gd name="T60" fmla="*/ 86 w 296"/>
                <a:gd name="T61" fmla="*/ 92 h 238"/>
                <a:gd name="T62" fmla="*/ 70 w 296"/>
                <a:gd name="T63" fmla="*/ 136 h 238"/>
                <a:gd name="T64" fmla="*/ 62 w 296"/>
                <a:gd name="T65" fmla="*/ 186 h 238"/>
                <a:gd name="T66" fmla="*/ 60 w 296"/>
                <a:gd name="T67" fmla="*/ 210 h 238"/>
                <a:gd name="T68" fmla="*/ 50 w 296"/>
                <a:gd name="T69" fmla="*/ 230 h 238"/>
                <a:gd name="T70" fmla="*/ 30 w 296"/>
                <a:gd name="T7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6" h="238">
                  <a:moveTo>
                    <a:pt x="30" y="238"/>
                  </a:moveTo>
                  <a:lnTo>
                    <a:pt x="28" y="238"/>
                  </a:lnTo>
                  <a:lnTo>
                    <a:pt x="28" y="238"/>
                  </a:lnTo>
                  <a:lnTo>
                    <a:pt x="22" y="238"/>
                  </a:lnTo>
                  <a:lnTo>
                    <a:pt x="16" y="234"/>
                  </a:lnTo>
                  <a:lnTo>
                    <a:pt x="8" y="228"/>
                  </a:lnTo>
                  <a:lnTo>
                    <a:pt x="2" y="218"/>
                  </a:lnTo>
                  <a:lnTo>
                    <a:pt x="0" y="212"/>
                  </a:lnTo>
                  <a:lnTo>
                    <a:pt x="0" y="206"/>
                  </a:lnTo>
                  <a:lnTo>
                    <a:pt x="0" y="206"/>
                  </a:lnTo>
                  <a:lnTo>
                    <a:pt x="2" y="188"/>
                  </a:lnTo>
                  <a:lnTo>
                    <a:pt x="4" y="160"/>
                  </a:lnTo>
                  <a:lnTo>
                    <a:pt x="12" y="126"/>
                  </a:lnTo>
                  <a:lnTo>
                    <a:pt x="22" y="90"/>
                  </a:lnTo>
                  <a:lnTo>
                    <a:pt x="28" y="74"/>
                  </a:lnTo>
                  <a:lnTo>
                    <a:pt x="38" y="56"/>
                  </a:lnTo>
                  <a:lnTo>
                    <a:pt x="46" y="42"/>
                  </a:lnTo>
                  <a:lnTo>
                    <a:pt x="58" y="28"/>
                  </a:lnTo>
                  <a:lnTo>
                    <a:pt x="70" y="16"/>
                  </a:lnTo>
                  <a:lnTo>
                    <a:pt x="84" y="8"/>
                  </a:lnTo>
                  <a:lnTo>
                    <a:pt x="100" y="2"/>
                  </a:lnTo>
                  <a:lnTo>
                    <a:pt x="118" y="0"/>
                  </a:lnTo>
                  <a:lnTo>
                    <a:pt x="118" y="0"/>
                  </a:lnTo>
                  <a:lnTo>
                    <a:pt x="142" y="6"/>
                  </a:lnTo>
                  <a:lnTo>
                    <a:pt x="164" y="12"/>
                  </a:lnTo>
                  <a:lnTo>
                    <a:pt x="184" y="22"/>
                  </a:lnTo>
                  <a:lnTo>
                    <a:pt x="204" y="34"/>
                  </a:lnTo>
                  <a:lnTo>
                    <a:pt x="222" y="48"/>
                  </a:lnTo>
                  <a:lnTo>
                    <a:pt x="240" y="64"/>
                  </a:lnTo>
                  <a:lnTo>
                    <a:pt x="254" y="82"/>
                  </a:lnTo>
                  <a:lnTo>
                    <a:pt x="266" y="102"/>
                  </a:lnTo>
                  <a:lnTo>
                    <a:pt x="266" y="102"/>
                  </a:lnTo>
                  <a:lnTo>
                    <a:pt x="288" y="128"/>
                  </a:lnTo>
                  <a:lnTo>
                    <a:pt x="288" y="128"/>
                  </a:lnTo>
                  <a:lnTo>
                    <a:pt x="292" y="132"/>
                  </a:lnTo>
                  <a:lnTo>
                    <a:pt x="294" y="138"/>
                  </a:lnTo>
                  <a:lnTo>
                    <a:pt x="296" y="150"/>
                  </a:lnTo>
                  <a:lnTo>
                    <a:pt x="294" y="160"/>
                  </a:lnTo>
                  <a:lnTo>
                    <a:pt x="290" y="166"/>
                  </a:lnTo>
                  <a:lnTo>
                    <a:pt x="288" y="170"/>
                  </a:lnTo>
                  <a:lnTo>
                    <a:pt x="288" y="170"/>
                  </a:lnTo>
                  <a:lnTo>
                    <a:pt x="278" y="176"/>
                  </a:lnTo>
                  <a:lnTo>
                    <a:pt x="266" y="178"/>
                  </a:lnTo>
                  <a:lnTo>
                    <a:pt x="256" y="176"/>
                  </a:lnTo>
                  <a:lnTo>
                    <a:pt x="246" y="170"/>
                  </a:lnTo>
                  <a:lnTo>
                    <a:pt x="246" y="170"/>
                  </a:lnTo>
                  <a:lnTo>
                    <a:pt x="232" y="154"/>
                  </a:lnTo>
                  <a:lnTo>
                    <a:pt x="218" y="136"/>
                  </a:lnTo>
                  <a:lnTo>
                    <a:pt x="218" y="136"/>
                  </a:lnTo>
                  <a:lnTo>
                    <a:pt x="198" y="110"/>
                  </a:lnTo>
                  <a:lnTo>
                    <a:pt x="188" y="98"/>
                  </a:lnTo>
                  <a:lnTo>
                    <a:pt x="176" y="86"/>
                  </a:lnTo>
                  <a:lnTo>
                    <a:pt x="162" y="76"/>
                  </a:lnTo>
                  <a:lnTo>
                    <a:pt x="148" y="68"/>
                  </a:lnTo>
                  <a:lnTo>
                    <a:pt x="134" y="62"/>
                  </a:lnTo>
                  <a:lnTo>
                    <a:pt x="118" y="60"/>
                  </a:lnTo>
                  <a:lnTo>
                    <a:pt x="118" y="60"/>
                  </a:lnTo>
                  <a:lnTo>
                    <a:pt x="112" y="62"/>
                  </a:lnTo>
                  <a:lnTo>
                    <a:pt x="106" y="64"/>
                  </a:lnTo>
                  <a:lnTo>
                    <a:pt x="102" y="68"/>
                  </a:lnTo>
                  <a:lnTo>
                    <a:pt x="96" y="74"/>
                  </a:lnTo>
                  <a:lnTo>
                    <a:pt x="86" y="92"/>
                  </a:lnTo>
                  <a:lnTo>
                    <a:pt x="78" y="112"/>
                  </a:lnTo>
                  <a:lnTo>
                    <a:pt x="70" y="136"/>
                  </a:lnTo>
                  <a:lnTo>
                    <a:pt x="66" y="160"/>
                  </a:lnTo>
                  <a:lnTo>
                    <a:pt x="62" y="186"/>
                  </a:lnTo>
                  <a:lnTo>
                    <a:pt x="60" y="210"/>
                  </a:lnTo>
                  <a:lnTo>
                    <a:pt x="60" y="210"/>
                  </a:lnTo>
                  <a:lnTo>
                    <a:pt x="56" y="222"/>
                  </a:lnTo>
                  <a:lnTo>
                    <a:pt x="50" y="230"/>
                  </a:lnTo>
                  <a:lnTo>
                    <a:pt x="40" y="236"/>
                  </a:lnTo>
                  <a:lnTo>
                    <a:pt x="30" y="23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263">
              <a:extLst>
                <a:ext uri="{FF2B5EF4-FFF2-40B4-BE49-F238E27FC236}">
                  <a16:creationId xmlns:a16="http://schemas.microsoft.com/office/drawing/2014/main" id="{26066DA3-E825-410A-B4E8-59474E958EE7}"/>
                </a:ext>
              </a:extLst>
            </p:cNvPr>
            <p:cNvSpPr>
              <a:spLocks/>
            </p:cNvSpPr>
            <p:nvPr/>
          </p:nvSpPr>
          <p:spPr bwMode="auto">
            <a:xfrm>
              <a:off x="14330363" y="3756025"/>
              <a:ext cx="295275" cy="565150"/>
            </a:xfrm>
            <a:custGeom>
              <a:avLst/>
              <a:gdLst>
                <a:gd name="T0" fmla="*/ 30 w 186"/>
                <a:gd name="T1" fmla="*/ 356 h 356"/>
                <a:gd name="T2" fmla="*/ 18 w 186"/>
                <a:gd name="T3" fmla="*/ 354 h 356"/>
                <a:gd name="T4" fmla="*/ 2 w 186"/>
                <a:gd name="T5" fmla="*/ 338 h 356"/>
                <a:gd name="T6" fmla="*/ 0 w 186"/>
                <a:gd name="T7" fmla="*/ 328 h 356"/>
                <a:gd name="T8" fmla="*/ 2 w 186"/>
                <a:gd name="T9" fmla="*/ 318 h 356"/>
                <a:gd name="T10" fmla="*/ 12 w 186"/>
                <a:gd name="T11" fmla="*/ 304 h 356"/>
                <a:gd name="T12" fmla="*/ 20 w 186"/>
                <a:gd name="T13" fmla="*/ 298 h 356"/>
                <a:gd name="T14" fmla="*/ 48 w 186"/>
                <a:gd name="T15" fmla="*/ 284 h 356"/>
                <a:gd name="T16" fmla="*/ 72 w 186"/>
                <a:gd name="T17" fmla="*/ 260 h 356"/>
                <a:gd name="T18" fmla="*/ 92 w 186"/>
                <a:gd name="T19" fmla="*/ 228 h 356"/>
                <a:gd name="T20" fmla="*/ 108 w 186"/>
                <a:gd name="T21" fmla="*/ 190 h 356"/>
                <a:gd name="T22" fmla="*/ 120 w 186"/>
                <a:gd name="T23" fmla="*/ 150 h 356"/>
                <a:gd name="T24" fmla="*/ 126 w 186"/>
                <a:gd name="T25" fmla="*/ 110 h 356"/>
                <a:gd name="T26" fmla="*/ 126 w 186"/>
                <a:gd name="T27" fmla="*/ 72 h 356"/>
                <a:gd name="T28" fmla="*/ 120 w 186"/>
                <a:gd name="T29" fmla="*/ 40 h 356"/>
                <a:gd name="T30" fmla="*/ 118 w 186"/>
                <a:gd name="T31" fmla="*/ 34 h 356"/>
                <a:gd name="T32" fmla="*/ 120 w 186"/>
                <a:gd name="T33" fmla="*/ 16 h 356"/>
                <a:gd name="T34" fmla="*/ 132 w 186"/>
                <a:gd name="T35" fmla="*/ 4 h 356"/>
                <a:gd name="T36" fmla="*/ 136 w 186"/>
                <a:gd name="T37" fmla="*/ 2 h 356"/>
                <a:gd name="T38" fmla="*/ 148 w 186"/>
                <a:gd name="T39" fmla="*/ 0 h 356"/>
                <a:gd name="T40" fmla="*/ 168 w 186"/>
                <a:gd name="T41" fmla="*/ 8 h 356"/>
                <a:gd name="T42" fmla="*/ 176 w 186"/>
                <a:gd name="T43" fmla="*/ 18 h 356"/>
                <a:gd name="T44" fmla="*/ 176 w 186"/>
                <a:gd name="T45" fmla="*/ 22 h 356"/>
                <a:gd name="T46" fmla="*/ 182 w 186"/>
                <a:gd name="T47" fmla="*/ 42 h 356"/>
                <a:gd name="T48" fmla="*/ 186 w 186"/>
                <a:gd name="T49" fmla="*/ 86 h 356"/>
                <a:gd name="T50" fmla="*/ 182 w 186"/>
                <a:gd name="T51" fmla="*/ 136 h 356"/>
                <a:gd name="T52" fmla="*/ 170 w 186"/>
                <a:gd name="T53" fmla="*/ 186 h 356"/>
                <a:gd name="T54" fmla="*/ 152 w 186"/>
                <a:gd name="T55" fmla="*/ 236 h 356"/>
                <a:gd name="T56" fmla="*/ 128 w 186"/>
                <a:gd name="T57" fmla="*/ 282 h 356"/>
                <a:gd name="T58" fmla="*/ 96 w 186"/>
                <a:gd name="T59" fmla="*/ 320 h 356"/>
                <a:gd name="T60" fmla="*/ 60 w 186"/>
                <a:gd name="T61" fmla="*/ 346 h 356"/>
                <a:gd name="T62" fmla="*/ 38 w 186"/>
                <a:gd name="T63"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6" h="356">
                  <a:moveTo>
                    <a:pt x="30" y="356"/>
                  </a:moveTo>
                  <a:lnTo>
                    <a:pt x="30" y="356"/>
                  </a:lnTo>
                  <a:lnTo>
                    <a:pt x="24" y="356"/>
                  </a:lnTo>
                  <a:lnTo>
                    <a:pt x="18" y="354"/>
                  </a:lnTo>
                  <a:lnTo>
                    <a:pt x="8" y="348"/>
                  </a:lnTo>
                  <a:lnTo>
                    <a:pt x="2" y="338"/>
                  </a:lnTo>
                  <a:lnTo>
                    <a:pt x="0" y="334"/>
                  </a:lnTo>
                  <a:lnTo>
                    <a:pt x="0" y="328"/>
                  </a:lnTo>
                  <a:lnTo>
                    <a:pt x="0" y="328"/>
                  </a:lnTo>
                  <a:lnTo>
                    <a:pt x="2" y="318"/>
                  </a:lnTo>
                  <a:lnTo>
                    <a:pt x="6" y="310"/>
                  </a:lnTo>
                  <a:lnTo>
                    <a:pt x="12" y="304"/>
                  </a:lnTo>
                  <a:lnTo>
                    <a:pt x="20" y="298"/>
                  </a:lnTo>
                  <a:lnTo>
                    <a:pt x="20" y="298"/>
                  </a:lnTo>
                  <a:lnTo>
                    <a:pt x="34" y="292"/>
                  </a:lnTo>
                  <a:lnTo>
                    <a:pt x="48" y="284"/>
                  </a:lnTo>
                  <a:lnTo>
                    <a:pt x="60" y="272"/>
                  </a:lnTo>
                  <a:lnTo>
                    <a:pt x="72" y="260"/>
                  </a:lnTo>
                  <a:lnTo>
                    <a:pt x="82" y="244"/>
                  </a:lnTo>
                  <a:lnTo>
                    <a:pt x="92" y="228"/>
                  </a:lnTo>
                  <a:lnTo>
                    <a:pt x="100" y="208"/>
                  </a:lnTo>
                  <a:lnTo>
                    <a:pt x="108" y="190"/>
                  </a:lnTo>
                  <a:lnTo>
                    <a:pt x="114" y="170"/>
                  </a:lnTo>
                  <a:lnTo>
                    <a:pt x="120" y="150"/>
                  </a:lnTo>
                  <a:lnTo>
                    <a:pt x="122" y="130"/>
                  </a:lnTo>
                  <a:lnTo>
                    <a:pt x="126" y="110"/>
                  </a:lnTo>
                  <a:lnTo>
                    <a:pt x="126" y="90"/>
                  </a:lnTo>
                  <a:lnTo>
                    <a:pt x="126" y="72"/>
                  </a:lnTo>
                  <a:lnTo>
                    <a:pt x="124" y="56"/>
                  </a:lnTo>
                  <a:lnTo>
                    <a:pt x="120" y="40"/>
                  </a:lnTo>
                  <a:lnTo>
                    <a:pt x="120" y="40"/>
                  </a:lnTo>
                  <a:lnTo>
                    <a:pt x="118" y="34"/>
                  </a:lnTo>
                  <a:lnTo>
                    <a:pt x="118" y="28"/>
                  </a:lnTo>
                  <a:lnTo>
                    <a:pt x="120" y="16"/>
                  </a:lnTo>
                  <a:lnTo>
                    <a:pt x="128" y="8"/>
                  </a:lnTo>
                  <a:lnTo>
                    <a:pt x="132" y="4"/>
                  </a:lnTo>
                  <a:lnTo>
                    <a:pt x="136" y="2"/>
                  </a:lnTo>
                  <a:lnTo>
                    <a:pt x="136" y="2"/>
                  </a:lnTo>
                  <a:lnTo>
                    <a:pt x="142" y="0"/>
                  </a:lnTo>
                  <a:lnTo>
                    <a:pt x="148" y="0"/>
                  </a:lnTo>
                  <a:lnTo>
                    <a:pt x="160" y="2"/>
                  </a:lnTo>
                  <a:lnTo>
                    <a:pt x="168" y="8"/>
                  </a:lnTo>
                  <a:lnTo>
                    <a:pt x="172" y="14"/>
                  </a:lnTo>
                  <a:lnTo>
                    <a:pt x="176" y="18"/>
                  </a:lnTo>
                  <a:lnTo>
                    <a:pt x="176" y="18"/>
                  </a:lnTo>
                  <a:lnTo>
                    <a:pt x="176" y="22"/>
                  </a:lnTo>
                  <a:lnTo>
                    <a:pt x="176" y="22"/>
                  </a:lnTo>
                  <a:lnTo>
                    <a:pt x="182" y="42"/>
                  </a:lnTo>
                  <a:lnTo>
                    <a:pt x="184" y="62"/>
                  </a:lnTo>
                  <a:lnTo>
                    <a:pt x="186" y="86"/>
                  </a:lnTo>
                  <a:lnTo>
                    <a:pt x="184" y="110"/>
                  </a:lnTo>
                  <a:lnTo>
                    <a:pt x="182" y="136"/>
                  </a:lnTo>
                  <a:lnTo>
                    <a:pt x="176" y="160"/>
                  </a:lnTo>
                  <a:lnTo>
                    <a:pt x="170" y="186"/>
                  </a:lnTo>
                  <a:lnTo>
                    <a:pt x="162" y="212"/>
                  </a:lnTo>
                  <a:lnTo>
                    <a:pt x="152" y="236"/>
                  </a:lnTo>
                  <a:lnTo>
                    <a:pt x="140" y="260"/>
                  </a:lnTo>
                  <a:lnTo>
                    <a:pt x="128" y="282"/>
                  </a:lnTo>
                  <a:lnTo>
                    <a:pt x="112" y="302"/>
                  </a:lnTo>
                  <a:lnTo>
                    <a:pt x="96" y="320"/>
                  </a:lnTo>
                  <a:lnTo>
                    <a:pt x="78" y="334"/>
                  </a:lnTo>
                  <a:lnTo>
                    <a:pt x="60" y="346"/>
                  </a:lnTo>
                  <a:lnTo>
                    <a:pt x="38" y="356"/>
                  </a:lnTo>
                  <a:lnTo>
                    <a:pt x="38" y="356"/>
                  </a:lnTo>
                  <a:lnTo>
                    <a:pt x="30"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264">
              <a:extLst>
                <a:ext uri="{FF2B5EF4-FFF2-40B4-BE49-F238E27FC236}">
                  <a16:creationId xmlns:a16="http://schemas.microsoft.com/office/drawing/2014/main" id="{8F705ACF-F804-47A0-A0FA-CE12BEF86157}"/>
                </a:ext>
              </a:extLst>
            </p:cNvPr>
            <p:cNvSpPr>
              <a:spLocks/>
            </p:cNvSpPr>
            <p:nvPr/>
          </p:nvSpPr>
          <p:spPr bwMode="auto">
            <a:xfrm>
              <a:off x="14330363" y="3756025"/>
              <a:ext cx="295275" cy="565150"/>
            </a:xfrm>
            <a:custGeom>
              <a:avLst/>
              <a:gdLst>
                <a:gd name="T0" fmla="*/ 30 w 186"/>
                <a:gd name="T1" fmla="*/ 356 h 356"/>
                <a:gd name="T2" fmla="*/ 18 w 186"/>
                <a:gd name="T3" fmla="*/ 354 h 356"/>
                <a:gd name="T4" fmla="*/ 2 w 186"/>
                <a:gd name="T5" fmla="*/ 338 h 356"/>
                <a:gd name="T6" fmla="*/ 0 w 186"/>
                <a:gd name="T7" fmla="*/ 328 h 356"/>
                <a:gd name="T8" fmla="*/ 2 w 186"/>
                <a:gd name="T9" fmla="*/ 318 h 356"/>
                <a:gd name="T10" fmla="*/ 12 w 186"/>
                <a:gd name="T11" fmla="*/ 304 h 356"/>
                <a:gd name="T12" fmla="*/ 20 w 186"/>
                <a:gd name="T13" fmla="*/ 298 h 356"/>
                <a:gd name="T14" fmla="*/ 48 w 186"/>
                <a:gd name="T15" fmla="*/ 284 h 356"/>
                <a:gd name="T16" fmla="*/ 72 w 186"/>
                <a:gd name="T17" fmla="*/ 260 h 356"/>
                <a:gd name="T18" fmla="*/ 92 w 186"/>
                <a:gd name="T19" fmla="*/ 228 h 356"/>
                <a:gd name="T20" fmla="*/ 108 w 186"/>
                <a:gd name="T21" fmla="*/ 190 h 356"/>
                <a:gd name="T22" fmla="*/ 120 w 186"/>
                <a:gd name="T23" fmla="*/ 150 h 356"/>
                <a:gd name="T24" fmla="*/ 126 w 186"/>
                <a:gd name="T25" fmla="*/ 110 h 356"/>
                <a:gd name="T26" fmla="*/ 126 w 186"/>
                <a:gd name="T27" fmla="*/ 72 h 356"/>
                <a:gd name="T28" fmla="*/ 120 w 186"/>
                <a:gd name="T29" fmla="*/ 40 h 356"/>
                <a:gd name="T30" fmla="*/ 118 w 186"/>
                <a:gd name="T31" fmla="*/ 34 h 356"/>
                <a:gd name="T32" fmla="*/ 120 w 186"/>
                <a:gd name="T33" fmla="*/ 16 h 356"/>
                <a:gd name="T34" fmla="*/ 132 w 186"/>
                <a:gd name="T35" fmla="*/ 4 h 356"/>
                <a:gd name="T36" fmla="*/ 136 w 186"/>
                <a:gd name="T37" fmla="*/ 2 h 356"/>
                <a:gd name="T38" fmla="*/ 148 w 186"/>
                <a:gd name="T39" fmla="*/ 0 h 356"/>
                <a:gd name="T40" fmla="*/ 168 w 186"/>
                <a:gd name="T41" fmla="*/ 8 h 356"/>
                <a:gd name="T42" fmla="*/ 176 w 186"/>
                <a:gd name="T43" fmla="*/ 18 h 356"/>
                <a:gd name="T44" fmla="*/ 176 w 186"/>
                <a:gd name="T45" fmla="*/ 22 h 356"/>
                <a:gd name="T46" fmla="*/ 182 w 186"/>
                <a:gd name="T47" fmla="*/ 42 h 356"/>
                <a:gd name="T48" fmla="*/ 186 w 186"/>
                <a:gd name="T49" fmla="*/ 86 h 356"/>
                <a:gd name="T50" fmla="*/ 182 w 186"/>
                <a:gd name="T51" fmla="*/ 136 h 356"/>
                <a:gd name="T52" fmla="*/ 170 w 186"/>
                <a:gd name="T53" fmla="*/ 186 h 356"/>
                <a:gd name="T54" fmla="*/ 152 w 186"/>
                <a:gd name="T55" fmla="*/ 236 h 356"/>
                <a:gd name="T56" fmla="*/ 128 w 186"/>
                <a:gd name="T57" fmla="*/ 282 h 356"/>
                <a:gd name="T58" fmla="*/ 96 w 186"/>
                <a:gd name="T59" fmla="*/ 320 h 356"/>
                <a:gd name="T60" fmla="*/ 60 w 186"/>
                <a:gd name="T61" fmla="*/ 346 h 356"/>
                <a:gd name="T62" fmla="*/ 38 w 186"/>
                <a:gd name="T63"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6" h="356">
                  <a:moveTo>
                    <a:pt x="30" y="356"/>
                  </a:moveTo>
                  <a:lnTo>
                    <a:pt x="30" y="356"/>
                  </a:lnTo>
                  <a:lnTo>
                    <a:pt x="24" y="356"/>
                  </a:lnTo>
                  <a:lnTo>
                    <a:pt x="18" y="354"/>
                  </a:lnTo>
                  <a:lnTo>
                    <a:pt x="8" y="348"/>
                  </a:lnTo>
                  <a:lnTo>
                    <a:pt x="2" y="338"/>
                  </a:lnTo>
                  <a:lnTo>
                    <a:pt x="0" y="334"/>
                  </a:lnTo>
                  <a:lnTo>
                    <a:pt x="0" y="328"/>
                  </a:lnTo>
                  <a:lnTo>
                    <a:pt x="0" y="328"/>
                  </a:lnTo>
                  <a:lnTo>
                    <a:pt x="2" y="318"/>
                  </a:lnTo>
                  <a:lnTo>
                    <a:pt x="6" y="310"/>
                  </a:lnTo>
                  <a:lnTo>
                    <a:pt x="12" y="304"/>
                  </a:lnTo>
                  <a:lnTo>
                    <a:pt x="20" y="298"/>
                  </a:lnTo>
                  <a:lnTo>
                    <a:pt x="20" y="298"/>
                  </a:lnTo>
                  <a:lnTo>
                    <a:pt x="34" y="292"/>
                  </a:lnTo>
                  <a:lnTo>
                    <a:pt x="48" y="284"/>
                  </a:lnTo>
                  <a:lnTo>
                    <a:pt x="60" y="272"/>
                  </a:lnTo>
                  <a:lnTo>
                    <a:pt x="72" y="260"/>
                  </a:lnTo>
                  <a:lnTo>
                    <a:pt x="82" y="244"/>
                  </a:lnTo>
                  <a:lnTo>
                    <a:pt x="92" y="228"/>
                  </a:lnTo>
                  <a:lnTo>
                    <a:pt x="100" y="208"/>
                  </a:lnTo>
                  <a:lnTo>
                    <a:pt x="108" y="190"/>
                  </a:lnTo>
                  <a:lnTo>
                    <a:pt x="114" y="170"/>
                  </a:lnTo>
                  <a:lnTo>
                    <a:pt x="120" y="150"/>
                  </a:lnTo>
                  <a:lnTo>
                    <a:pt x="122" y="130"/>
                  </a:lnTo>
                  <a:lnTo>
                    <a:pt x="126" y="110"/>
                  </a:lnTo>
                  <a:lnTo>
                    <a:pt x="126" y="90"/>
                  </a:lnTo>
                  <a:lnTo>
                    <a:pt x="126" y="72"/>
                  </a:lnTo>
                  <a:lnTo>
                    <a:pt x="124" y="56"/>
                  </a:lnTo>
                  <a:lnTo>
                    <a:pt x="120" y="40"/>
                  </a:lnTo>
                  <a:lnTo>
                    <a:pt x="120" y="40"/>
                  </a:lnTo>
                  <a:lnTo>
                    <a:pt x="118" y="34"/>
                  </a:lnTo>
                  <a:lnTo>
                    <a:pt x="118" y="28"/>
                  </a:lnTo>
                  <a:lnTo>
                    <a:pt x="120" y="16"/>
                  </a:lnTo>
                  <a:lnTo>
                    <a:pt x="128" y="8"/>
                  </a:lnTo>
                  <a:lnTo>
                    <a:pt x="132" y="4"/>
                  </a:lnTo>
                  <a:lnTo>
                    <a:pt x="136" y="2"/>
                  </a:lnTo>
                  <a:lnTo>
                    <a:pt x="136" y="2"/>
                  </a:lnTo>
                  <a:lnTo>
                    <a:pt x="142" y="0"/>
                  </a:lnTo>
                  <a:lnTo>
                    <a:pt x="148" y="0"/>
                  </a:lnTo>
                  <a:lnTo>
                    <a:pt x="160" y="2"/>
                  </a:lnTo>
                  <a:lnTo>
                    <a:pt x="168" y="8"/>
                  </a:lnTo>
                  <a:lnTo>
                    <a:pt x="172" y="14"/>
                  </a:lnTo>
                  <a:lnTo>
                    <a:pt x="176" y="18"/>
                  </a:lnTo>
                  <a:lnTo>
                    <a:pt x="176" y="18"/>
                  </a:lnTo>
                  <a:lnTo>
                    <a:pt x="176" y="22"/>
                  </a:lnTo>
                  <a:lnTo>
                    <a:pt x="176" y="22"/>
                  </a:lnTo>
                  <a:lnTo>
                    <a:pt x="182" y="42"/>
                  </a:lnTo>
                  <a:lnTo>
                    <a:pt x="184" y="62"/>
                  </a:lnTo>
                  <a:lnTo>
                    <a:pt x="186" y="86"/>
                  </a:lnTo>
                  <a:lnTo>
                    <a:pt x="184" y="110"/>
                  </a:lnTo>
                  <a:lnTo>
                    <a:pt x="182" y="136"/>
                  </a:lnTo>
                  <a:lnTo>
                    <a:pt x="176" y="160"/>
                  </a:lnTo>
                  <a:lnTo>
                    <a:pt x="170" y="186"/>
                  </a:lnTo>
                  <a:lnTo>
                    <a:pt x="162" y="212"/>
                  </a:lnTo>
                  <a:lnTo>
                    <a:pt x="152" y="236"/>
                  </a:lnTo>
                  <a:lnTo>
                    <a:pt x="140" y="260"/>
                  </a:lnTo>
                  <a:lnTo>
                    <a:pt x="128" y="282"/>
                  </a:lnTo>
                  <a:lnTo>
                    <a:pt x="112" y="302"/>
                  </a:lnTo>
                  <a:lnTo>
                    <a:pt x="96" y="320"/>
                  </a:lnTo>
                  <a:lnTo>
                    <a:pt x="78" y="334"/>
                  </a:lnTo>
                  <a:lnTo>
                    <a:pt x="60" y="346"/>
                  </a:lnTo>
                  <a:lnTo>
                    <a:pt x="38" y="356"/>
                  </a:lnTo>
                  <a:lnTo>
                    <a:pt x="38" y="356"/>
                  </a:lnTo>
                  <a:lnTo>
                    <a:pt x="30" y="3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265">
              <a:extLst>
                <a:ext uri="{FF2B5EF4-FFF2-40B4-BE49-F238E27FC236}">
                  <a16:creationId xmlns:a16="http://schemas.microsoft.com/office/drawing/2014/main" id="{B8188889-D3D5-40EE-9172-DAE7D6126A0C}"/>
                </a:ext>
              </a:extLst>
            </p:cNvPr>
            <p:cNvSpPr>
              <a:spLocks/>
            </p:cNvSpPr>
            <p:nvPr/>
          </p:nvSpPr>
          <p:spPr bwMode="auto">
            <a:xfrm>
              <a:off x="13952538" y="2533650"/>
              <a:ext cx="1695450" cy="847725"/>
            </a:xfrm>
            <a:custGeom>
              <a:avLst/>
              <a:gdLst>
                <a:gd name="T0" fmla="*/ 30 w 1068"/>
                <a:gd name="T1" fmla="*/ 534 h 534"/>
                <a:gd name="T2" fmla="*/ 18 w 1068"/>
                <a:gd name="T3" fmla="*/ 532 h 534"/>
                <a:gd name="T4" fmla="*/ 4 w 1068"/>
                <a:gd name="T5" fmla="*/ 516 h 534"/>
                <a:gd name="T6" fmla="*/ 0 w 1068"/>
                <a:gd name="T7" fmla="*/ 504 h 534"/>
                <a:gd name="T8" fmla="*/ 2 w 1068"/>
                <a:gd name="T9" fmla="*/ 478 h 534"/>
                <a:gd name="T10" fmla="*/ 6 w 1068"/>
                <a:gd name="T11" fmla="*/ 428 h 534"/>
                <a:gd name="T12" fmla="*/ 16 w 1068"/>
                <a:gd name="T13" fmla="*/ 378 h 534"/>
                <a:gd name="T14" fmla="*/ 32 w 1068"/>
                <a:gd name="T15" fmla="*/ 332 h 534"/>
                <a:gd name="T16" fmla="*/ 62 w 1068"/>
                <a:gd name="T17" fmla="*/ 264 h 534"/>
                <a:gd name="T18" fmla="*/ 116 w 1068"/>
                <a:gd name="T19" fmla="*/ 184 h 534"/>
                <a:gd name="T20" fmla="*/ 184 w 1068"/>
                <a:gd name="T21" fmla="*/ 116 h 534"/>
                <a:gd name="T22" fmla="*/ 264 w 1068"/>
                <a:gd name="T23" fmla="*/ 62 h 534"/>
                <a:gd name="T24" fmla="*/ 332 w 1068"/>
                <a:gd name="T25" fmla="*/ 32 h 534"/>
                <a:gd name="T26" fmla="*/ 378 w 1068"/>
                <a:gd name="T27" fmla="*/ 16 h 534"/>
                <a:gd name="T28" fmla="*/ 428 w 1068"/>
                <a:gd name="T29" fmla="*/ 6 h 534"/>
                <a:gd name="T30" fmla="*/ 478 w 1068"/>
                <a:gd name="T31" fmla="*/ 2 h 534"/>
                <a:gd name="T32" fmla="*/ 504 w 1068"/>
                <a:gd name="T33" fmla="*/ 0 h 534"/>
                <a:gd name="T34" fmla="*/ 600 w 1068"/>
                <a:gd name="T35" fmla="*/ 8 h 534"/>
                <a:gd name="T36" fmla="*/ 680 w 1068"/>
                <a:gd name="T37" fmla="*/ 26 h 534"/>
                <a:gd name="T38" fmla="*/ 746 w 1068"/>
                <a:gd name="T39" fmla="*/ 56 h 534"/>
                <a:gd name="T40" fmla="*/ 802 w 1068"/>
                <a:gd name="T41" fmla="*/ 94 h 534"/>
                <a:gd name="T42" fmla="*/ 848 w 1068"/>
                <a:gd name="T43" fmla="*/ 136 h 534"/>
                <a:gd name="T44" fmla="*/ 886 w 1068"/>
                <a:gd name="T45" fmla="*/ 182 h 534"/>
                <a:gd name="T46" fmla="*/ 948 w 1068"/>
                <a:gd name="T47" fmla="*/ 274 h 534"/>
                <a:gd name="T48" fmla="*/ 972 w 1068"/>
                <a:gd name="T49" fmla="*/ 312 h 534"/>
                <a:gd name="T50" fmla="*/ 1008 w 1068"/>
                <a:gd name="T51" fmla="*/ 360 h 534"/>
                <a:gd name="T52" fmla="*/ 1034 w 1068"/>
                <a:gd name="T53" fmla="*/ 380 h 534"/>
                <a:gd name="T54" fmla="*/ 1048 w 1068"/>
                <a:gd name="T55" fmla="*/ 388 h 534"/>
                <a:gd name="T56" fmla="*/ 1058 w 1068"/>
                <a:gd name="T57" fmla="*/ 392 h 534"/>
                <a:gd name="T58" fmla="*/ 1068 w 1068"/>
                <a:gd name="T59" fmla="*/ 412 h 534"/>
                <a:gd name="T60" fmla="*/ 1066 w 1068"/>
                <a:gd name="T61" fmla="*/ 424 h 534"/>
                <a:gd name="T62" fmla="*/ 1064 w 1068"/>
                <a:gd name="T63" fmla="*/ 430 h 534"/>
                <a:gd name="T64" fmla="*/ 1052 w 1068"/>
                <a:gd name="T65" fmla="*/ 442 h 534"/>
                <a:gd name="T66" fmla="*/ 1036 w 1068"/>
                <a:gd name="T67" fmla="*/ 444 h 534"/>
                <a:gd name="T68" fmla="*/ 1030 w 1068"/>
                <a:gd name="T69" fmla="*/ 444 h 534"/>
                <a:gd name="T70" fmla="*/ 1030 w 1068"/>
                <a:gd name="T71" fmla="*/ 444 h 534"/>
                <a:gd name="T72" fmla="*/ 990 w 1068"/>
                <a:gd name="T73" fmla="*/ 422 h 534"/>
                <a:gd name="T74" fmla="*/ 956 w 1068"/>
                <a:gd name="T75" fmla="*/ 392 h 534"/>
                <a:gd name="T76" fmla="*/ 926 w 1068"/>
                <a:gd name="T77" fmla="*/ 352 h 534"/>
                <a:gd name="T78" fmla="*/ 898 w 1068"/>
                <a:gd name="T79" fmla="*/ 304 h 534"/>
                <a:gd name="T80" fmla="*/ 842 w 1068"/>
                <a:gd name="T81" fmla="*/ 220 h 534"/>
                <a:gd name="T82" fmla="*/ 806 w 1068"/>
                <a:gd name="T83" fmla="*/ 180 h 534"/>
                <a:gd name="T84" fmla="*/ 766 w 1068"/>
                <a:gd name="T85" fmla="*/ 142 h 534"/>
                <a:gd name="T86" fmla="*/ 716 w 1068"/>
                <a:gd name="T87" fmla="*/ 108 h 534"/>
                <a:gd name="T88" fmla="*/ 658 w 1068"/>
                <a:gd name="T89" fmla="*/ 82 h 534"/>
                <a:gd name="T90" fmla="*/ 588 w 1068"/>
                <a:gd name="T91" fmla="*/ 66 h 534"/>
                <a:gd name="T92" fmla="*/ 504 w 1068"/>
                <a:gd name="T93" fmla="*/ 60 h 534"/>
                <a:gd name="T94" fmla="*/ 460 w 1068"/>
                <a:gd name="T95" fmla="*/ 62 h 534"/>
                <a:gd name="T96" fmla="*/ 372 w 1068"/>
                <a:gd name="T97" fmla="*/ 80 h 534"/>
                <a:gd name="T98" fmla="*/ 292 w 1068"/>
                <a:gd name="T99" fmla="*/ 114 h 534"/>
                <a:gd name="T100" fmla="*/ 222 w 1068"/>
                <a:gd name="T101" fmla="*/ 162 h 534"/>
                <a:gd name="T102" fmla="*/ 162 w 1068"/>
                <a:gd name="T103" fmla="*/ 222 h 534"/>
                <a:gd name="T104" fmla="*/ 114 w 1068"/>
                <a:gd name="T105" fmla="*/ 292 h 534"/>
                <a:gd name="T106" fmla="*/ 80 w 1068"/>
                <a:gd name="T107" fmla="*/ 372 h 534"/>
                <a:gd name="T108" fmla="*/ 62 w 1068"/>
                <a:gd name="T109" fmla="*/ 458 h 534"/>
                <a:gd name="T110" fmla="*/ 60 w 1068"/>
                <a:gd name="T111" fmla="*/ 504 h 534"/>
                <a:gd name="T112" fmla="*/ 58 w 1068"/>
                <a:gd name="T113" fmla="*/ 516 h 534"/>
                <a:gd name="T114" fmla="*/ 42 w 1068"/>
                <a:gd name="T115" fmla="*/ 532 h 534"/>
                <a:gd name="T116" fmla="*/ 30 w 1068"/>
                <a:gd name="T117"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8" h="534">
                  <a:moveTo>
                    <a:pt x="30" y="534"/>
                  </a:moveTo>
                  <a:lnTo>
                    <a:pt x="30" y="534"/>
                  </a:lnTo>
                  <a:lnTo>
                    <a:pt x="24" y="534"/>
                  </a:lnTo>
                  <a:lnTo>
                    <a:pt x="18" y="532"/>
                  </a:lnTo>
                  <a:lnTo>
                    <a:pt x="10" y="526"/>
                  </a:lnTo>
                  <a:lnTo>
                    <a:pt x="4" y="516"/>
                  </a:lnTo>
                  <a:lnTo>
                    <a:pt x="2" y="510"/>
                  </a:lnTo>
                  <a:lnTo>
                    <a:pt x="0" y="504"/>
                  </a:lnTo>
                  <a:lnTo>
                    <a:pt x="0" y="504"/>
                  </a:lnTo>
                  <a:lnTo>
                    <a:pt x="2" y="478"/>
                  </a:lnTo>
                  <a:lnTo>
                    <a:pt x="4" y="452"/>
                  </a:lnTo>
                  <a:lnTo>
                    <a:pt x="6" y="428"/>
                  </a:lnTo>
                  <a:lnTo>
                    <a:pt x="12" y="402"/>
                  </a:lnTo>
                  <a:lnTo>
                    <a:pt x="16" y="378"/>
                  </a:lnTo>
                  <a:lnTo>
                    <a:pt x="24" y="354"/>
                  </a:lnTo>
                  <a:lnTo>
                    <a:pt x="32" y="332"/>
                  </a:lnTo>
                  <a:lnTo>
                    <a:pt x="40" y="308"/>
                  </a:lnTo>
                  <a:lnTo>
                    <a:pt x="62" y="264"/>
                  </a:lnTo>
                  <a:lnTo>
                    <a:pt x="88" y="222"/>
                  </a:lnTo>
                  <a:lnTo>
                    <a:pt x="116" y="184"/>
                  </a:lnTo>
                  <a:lnTo>
                    <a:pt x="148" y="148"/>
                  </a:lnTo>
                  <a:lnTo>
                    <a:pt x="184" y="116"/>
                  </a:lnTo>
                  <a:lnTo>
                    <a:pt x="224" y="86"/>
                  </a:lnTo>
                  <a:lnTo>
                    <a:pt x="264" y="62"/>
                  </a:lnTo>
                  <a:lnTo>
                    <a:pt x="308" y="40"/>
                  </a:lnTo>
                  <a:lnTo>
                    <a:pt x="332" y="32"/>
                  </a:lnTo>
                  <a:lnTo>
                    <a:pt x="354" y="24"/>
                  </a:lnTo>
                  <a:lnTo>
                    <a:pt x="378" y="16"/>
                  </a:lnTo>
                  <a:lnTo>
                    <a:pt x="404" y="10"/>
                  </a:lnTo>
                  <a:lnTo>
                    <a:pt x="428" y="6"/>
                  </a:lnTo>
                  <a:lnTo>
                    <a:pt x="454" y="2"/>
                  </a:lnTo>
                  <a:lnTo>
                    <a:pt x="478" y="2"/>
                  </a:lnTo>
                  <a:lnTo>
                    <a:pt x="504" y="0"/>
                  </a:lnTo>
                  <a:lnTo>
                    <a:pt x="504" y="0"/>
                  </a:lnTo>
                  <a:lnTo>
                    <a:pt x="554" y="2"/>
                  </a:lnTo>
                  <a:lnTo>
                    <a:pt x="600" y="8"/>
                  </a:lnTo>
                  <a:lnTo>
                    <a:pt x="640" y="16"/>
                  </a:lnTo>
                  <a:lnTo>
                    <a:pt x="680" y="26"/>
                  </a:lnTo>
                  <a:lnTo>
                    <a:pt x="714" y="40"/>
                  </a:lnTo>
                  <a:lnTo>
                    <a:pt x="746" y="56"/>
                  </a:lnTo>
                  <a:lnTo>
                    <a:pt x="776" y="74"/>
                  </a:lnTo>
                  <a:lnTo>
                    <a:pt x="802" y="94"/>
                  </a:lnTo>
                  <a:lnTo>
                    <a:pt x="826" y="114"/>
                  </a:lnTo>
                  <a:lnTo>
                    <a:pt x="848" y="136"/>
                  </a:lnTo>
                  <a:lnTo>
                    <a:pt x="868" y="160"/>
                  </a:lnTo>
                  <a:lnTo>
                    <a:pt x="886" y="182"/>
                  </a:lnTo>
                  <a:lnTo>
                    <a:pt x="920" y="228"/>
                  </a:lnTo>
                  <a:lnTo>
                    <a:pt x="948" y="274"/>
                  </a:lnTo>
                  <a:lnTo>
                    <a:pt x="948" y="274"/>
                  </a:lnTo>
                  <a:lnTo>
                    <a:pt x="972" y="312"/>
                  </a:lnTo>
                  <a:lnTo>
                    <a:pt x="996" y="346"/>
                  </a:lnTo>
                  <a:lnTo>
                    <a:pt x="1008" y="360"/>
                  </a:lnTo>
                  <a:lnTo>
                    <a:pt x="1020" y="372"/>
                  </a:lnTo>
                  <a:lnTo>
                    <a:pt x="1034" y="380"/>
                  </a:lnTo>
                  <a:lnTo>
                    <a:pt x="1048" y="388"/>
                  </a:lnTo>
                  <a:lnTo>
                    <a:pt x="1048" y="388"/>
                  </a:lnTo>
                  <a:lnTo>
                    <a:pt x="1052" y="390"/>
                  </a:lnTo>
                  <a:lnTo>
                    <a:pt x="1058" y="392"/>
                  </a:lnTo>
                  <a:lnTo>
                    <a:pt x="1064" y="402"/>
                  </a:lnTo>
                  <a:lnTo>
                    <a:pt x="1068" y="412"/>
                  </a:lnTo>
                  <a:lnTo>
                    <a:pt x="1068" y="418"/>
                  </a:lnTo>
                  <a:lnTo>
                    <a:pt x="1066" y="424"/>
                  </a:lnTo>
                  <a:lnTo>
                    <a:pt x="1066" y="424"/>
                  </a:lnTo>
                  <a:lnTo>
                    <a:pt x="1064" y="430"/>
                  </a:lnTo>
                  <a:lnTo>
                    <a:pt x="1062" y="434"/>
                  </a:lnTo>
                  <a:lnTo>
                    <a:pt x="1052" y="442"/>
                  </a:lnTo>
                  <a:lnTo>
                    <a:pt x="1042" y="444"/>
                  </a:lnTo>
                  <a:lnTo>
                    <a:pt x="1036" y="444"/>
                  </a:lnTo>
                  <a:lnTo>
                    <a:pt x="1030" y="444"/>
                  </a:lnTo>
                  <a:lnTo>
                    <a:pt x="1030" y="444"/>
                  </a:lnTo>
                  <a:lnTo>
                    <a:pt x="1030" y="444"/>
                  </a:lnTo>
                  <a:lnTo>
                    <a:pt x="1030" y="444"/>
                  </a:lnTo>
                  <a:lnTo>
                    <a:pt x="1008" y="434"/>
                  </a:lnTo>
                  <a:lnTo>
                    <a:pt x="990" y="422"/>
                  </a:lnTo>
                  <a:lnTo>
                    <a:pt x="972" y="408"/>
                  </a:lnTo>
                  <a:lnTo>
                    <a:pt x="956" y="392"/>
                  </a:lnTo>
                  <a:lnTo>
                    <a:pt x="942" y="372"/>
                  </a:lnTo>
                  <a:lnTo>
                    <a:pt x="926" y="352"/>
                  </a:lnTo>
                  <a:lnTo>
                    <a:pt x="898" y="304"/>
                  </a:lnTo>
                  <a:lnTo>
                    <a:pt x="898" y="304"/>
                  </a:lnTo>
                  <a:lnTo>
                    <a:pt x="870" y="262"/>
                  </a:lnTo>
                  <a:lnTo>
                    <a:pt x="842" y="220"/>
                  </a:lnTo>
                  <a:lnTo>
                    <a:pt x="824" y="200"/>
                  </a:lnTo>
                  <a:lnTo>
                    <a:pt x="806" y="180"/>
                  </a:lnTo>
                  <a:lnTo>
                    <a:pt x="788" y="160"/>
                  </a:lnTo>
                  <a:lnTo>
                    <a:pt x="766" y="142"/>
                  </a:lnTo>
                  <a:lnTo>
                    <a:pt x="742" y="124"/>
                  </a:lnTo>
                  <a:lnTo>
                    <a:pt x="716" y="108"/>
                  </a:lnTo>
                  <a:lnTo>
                    <a:pt x="688" y="94"/>
                  </a:lnTo>
                  <a:lnTo>
                    <a:pt x="658" y="82"/>
                  </a:lnTo>
                  <a:lnTo>
                    <a:pt x="624" y="72"/>
                  </a:lnTo>
                  <a:lnTo>
                    <a:pt x="588" y="66"/>
                  </a:lnTo>
                  <a:lnTo>
                    <a:pt x="548" y="62"/>
                  </a:lnTo>
                  <a:lnTo>
                    <a:pt x="504" y="60"/>
                  </a:lnTo>
                  <a:lnTo>
                    <a:pt x="504" y="60"/>
                  </a:lnTo>
                  <a:lnTo>
                    <a:pt x="460" y="62"/>
                  </a:lnTo>
                  <a:lnTo>
                    <a:pt x="416" y="68"/>
                  </a:lnTo>
                  <a:lnTo>
                    <a:pt x="372" y="80"/>
                  </a:lnTo>
                  <a:lnTo>
                    <a:pt x="332" y="94"/>
                  </a:lnTo>
                  <a:lnTo>
                    <a:pt x="292" y="114"/>
                  </a:lnTo>
                  <a:lnTo>
                    <a:pt x="256" y="136"/>
                  </a:lnTo>
                  <a:lnTo>
                    <a:pt x="222" y="162"/>
                  </a:lnTo>
                  <a:lnTo>
                    <a:pt x="190" y="190"/>
                  </a:lnTo>
                  <a:lnTo>
                    <a:pt x="162" y="222"/>
                  </a:lnTo>
                  <a:lnTo>
                    <a:pt x="136" y="256"/>
                  </a:lnTo>
                  <a:lnTo>
                    <a:pt x="114" y="292"/>
                  </a:lnTo>
                  <a:lnTo>
                    <a:pt x="96" y="332"/>
                  </a:lnTo>
                  <a:lnTo>
                    <a:pt x="80" y="372"/>
                  </a:lnTo>
                  <a:lnTo>
                    <a:pt x="70" y="414"/>
                  </a:lnTo>
                  <a:lnTo>
                    <a:pt x="62" y="458"/>
                  </a:lnTo>
                  <a:lnTo>
                    <a:pt x="60" y="504"/>
                  </a:lnTo>
                  <a:lnTo>
                    <a:pt x="60" y="504"/>
                  </a:lnTo>
                  <a:lnTo>
                    <a:pt x="60" y="510"/>
                  </a:lnTo>
                  <a:lnTo>
                    <a:pt x="58" y="516"/>
                  </a:lnTo>
                  <a:lnTo>
                    <a:pt x="52" y="526"/>
                  </a:lnTo>
                  <a:lnTo>
                    <a:pt x="42" y="532"/>
                  </a:lnTo>
                  <a:lnTo>
                    <a:pt x="36" y="534"/>
                  </a:lnTo>
                  <a:lnTo>
                    <a:pt x="30" y="5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266">
              <a:extLst>
                <a:ext uri="{FF2B5EF4-FFF2-40B4-BE49-F238E27FC236}">
                  <a16:creationId xmlns:a16="http://schemas.microsoft.com/office/drawing/2014/main" id="{C40FA44A-7059-4C84-9A03-D3201A37C714}"/>
                </a:ext>
              </a:extLst>
            </p:cNvPr>
            <p:cNvSpPr>
              <a:spLocks/>
            </p:cNvSpPr>
            <p:nvPr/>
          </p:nvSpPr>
          <p:spPr bwMode="auto">
            <a:xfrm>
              <a:off x="13952538" y="2533650"/>
              <a:ext cx="1695450" cy="847725"/>
            </a:xfrm>
            <a:custGeom>
              <a:avLst/>
              <a:gdLst>
                <a:gd name="T0" fmla="*/ 30 w 1068"/>
                <a:gd name="T1" fmla="*/ 534 h 534"/>
                <a:gd name="T2" fmla="*/ 18 w 1068"/>
                <a:gd name="T3" fmla="*/ 532 h 534"/>
                <a:gd name="T4" fmla="*/ 4 w 1068"/>
                <a:gd name="T5" fmla="*/ 516 h 534"/>
                <a:gd name="T6" fmla="*/ 0 w 1068"/>
                <a:gd name="T7" fmla="*/ 504 h 534"/>
                <a:gd name="T8" fmla="*/ 2 w 1068"/>
                <a:gd name="T9" fmla="*/ 478 h 534"/>
                <a:gd name="T10" fmla="*/ 6 w 1068"/>
                <a:gd name="T11" fmla="*/ 428 h 534"/>
                <a:gd name="T12" fmla="*/ 16 w 1068"/>
                <a:gd name="T13" fmla="*/ 378 h 534"/>
                <a:gd name="T14" fmla="*/ 32 w 1068"/>
                <a:gd name="T15" fmla="*/ 332 h 534"/>
                <a:gd name="T16" fmla="*/ 62 w 1068"/>
                <a:gd name="T17" fmla="*/ 264 h 534"/>
                <a:gd name="T18" fmla="*/ 116 w 1068"/>
                <a:gd name="T19" fmla="*/ 184 h 534"/>
                <a:gd name="T20" fmla="*/ 184 w 1068"/>
                <a:gd name="T21" fmla="*/ 116 h 534"/>
                <a:gd name="T22" fmla="*/ 264 w 1068"/>
                <a:gd name="T23" fmla="*/ 62 h 534"/>
                <a:gd name="T24" fmla="*/ 332 w 1068"/>
                <a:gd name="T25" fmla="*/ 32 h 534"/>
                <a:gd name="T26" fmla="*/ 378 w 1068"/>
                <a:gd name="T27" fmla="*/ 16 h 534"/>
                <a:gd name="T28" fmla="*/ 428 w 1068"/>
                <a:gd name="T29" fmla="*/ 6 h 534"/>
                <a:gd name="T30" fmla="*/ 478 w 1068"/>
                <a:gd name="T31" fmla="*/ 2 h 534"/>
                <a:gd name="T32" fmla="*/ 504 w 1068"/>
                <a:gd name="T33" fmla="*/ 0 h 534"/>
                <a:gd name="T34" fmla="*/ 600 w 1068"/>
                <a:gd name="T35" fmla="*/ 8 h 534"/>
                <a:gd name="T36" fmla="*/ 680 w 1068"/>
                <a:gd name="T37" fmla="*/ 26 h 534"/>
                <a:gd name="T38" fmla="*/ 746 w 1068"/>
                <a:gd name="T39" fmla="*/ 56 h 534"/>
                <a:gd name="T40" fmla="*/ 802 w 1068"/>
                <a:gd name="T41" fmla="*/ 94 h 534"/>
                <a:gd name="T42" fmla="*/ 848 w 1068"/>
                <a:gd name="T43" fmla="*/ 136 h 534"/>
                <a:gd name="T44" fmla="*/ 886 w 1068"/>
                <a:gd name="T45" fmla="*/ 182 h 534"/>
                <a:gd name="T46" fmla="*/ 948 w 1068"/>
                <a:gd name="T47" fmla="*/ 274 h 534"/>
                <a:gd name="T48" fmla="*/ 972 w 1068"/>
                <a:gd name="T49" fmla="*/ 312 h 534"/>
                <a:gd name="T50" fmla="*/ 1008 w 1068"/>
                <a:gd name="T51" fmla="*/ 360 h 534"/>
                <a:gd name="T52" fmla="*/ 1034 w 1068"/>
                <a:gd name="T53" fmla="*/ 380 h 534"/>
                <a:gd name="T54" fmla="*/ 1048 w 1068"/>
                <a:gd name="T55" fmla="*/ 388 h 534"/>
                <a:gd name="T56" fmla="*/ 1058 w 1068"/>
                <a:gd name="T57" fmla="*/ 392 h 534"/>
                <a:gd name="T58" fmla="*/ 1068 w 1068"/>
                <a:gd name="T59" fmla="*/ 412 h 534"/>
                <a:gd name="T60" fmla="*/ 1066 w 1068"/>
                <a:gd name="T61" fmla="*/ 424 h 534"/>
                <a:gd name="T62" fmla="*/ 1064 w 1068"/>
                <a:gd name="T63" fmla="*/ 430 h 534"/>
                <a:gd name="T64" fmla="*/ 1052 w 1068"/>
                <a:gd name="T65" fmla="*/ 442 h 534"/>
                <a:gd name="T66" fmla="*/ 1036 w 1068"/>
                <a:gd name="T67" fmla="*/ 444 h 534"/>
                <a:gd name="T68" fmla="*/ 1030 w 1068"/>
                <a:gd name="T69" fmla="*/ 444 h 534"/>
                <a:gd name="T70" fmla="*/ 1030 w 1068"/>
                <a:gd name="T71" fmla="*/ 444 h 534"/>
                <a:gd name="T72" fmla="*/ 990 w 1068"/>
                <a:gd name="T73" fmla="*/ 422 h 534"/>
                <a:gd name="T74" fmla="*/ 956 w 1068"/>
                <a:gd name="T75" fmla="*/ 392 h 534"/>
                <a:gd name="T76" fmla="*/ 926 w 1068"/>
                <a:gd name="T77" fmla="*/ 352 h 534"/>
                <a:gd name="T78" fmla="*/ 898 w 1068"/>
                <a:gd name="T79" fmla="*/ 304 h 534"/>
                <a:gd name="T80" fmla="*/ 842 w 1068"/>
                <a:gd name="T81" fmla="*/ 220 h 534"/>
                <a:gd name="T82" fmla="*/ 806 w 1068"/>
                <a:gd name="T83" fmla="*/ 180 h 534"/>
                <a:gd name="T84" fmla="*/ 766 w 1068"/>
                <a:gd name="T85" fmla="*/ 142 h 534"/>
                <a:gd name="T86" fmla="*/ 716 w 1068"/>
                <a:gd name="T87" fmla="*/ 108 h 534"/>
                <a:gd name="T88" fmla="*/ 658 w 1068"/>
                <a:gd name="T89" fmla="*/ 82 h 534"/>
                <a:gd name="T90" fmla="*/ 588 w 1068"/>
                <a:gd name="T91" fmla="*/ 66 h 534"/>
                <a:gd name="T92" fmla="*/ 504 w 1068"/>
                <a:gd name="T93" fmla="*/ 60 h 534"/>
                <a:gd name="T94" fmla="*/ 460 w 1068"/>
                <a:gd name="T95" fmla="*/ 62 h 534"/>
                <a:gd name="T96" fmla="*/ 372 w 1068"/>
                <a:gd name="T97" fmla="*/ 80 h 534"/>
                <a:gd name="T98" fmla="*/ 292 w 1068"/>
                <a:gd name="T99" fmla="*/ 114 h 534"/>
                <a:gd name="T100" fmla="*/ 222 w 1068"/>
                <a:gd name="T101" fmla="*/ 162 h 534"/>
                <a:gd name="T102" fmla="*/ 162 w 1068"/>
                <a:gd name="T103" fmla="*/ 222 h 534"/>
                <a:gd name="T104" fmla="*/ 114 w 1068"/>
                <a:gd name="T105" fmla="*/ 292 h 534"/>
                <a:gd name="T106" fmla="*/ 80 w 1068"/>
                <a:gd name="T107" fmla="*/ 372 h 534"/>
                <a:gd name="T108" fmla="*/ 62 w 1068"/>
                <a:gd name="T109" fmla="*/ 458 h 534"/>
                <a:gd name="T110" fmla="*/ 60 w 1068"/>
                <a:gd name="T111" fmla="*/ 504 h 534"/>
                <a:gd name="T112" fmla="*/ 58 w 1068"/>
                <a:gd name="T113" fmla="*/ 516 h 534"/>
                <a:gd name="T114" fmla="*/ 42 w 1068"/>
                <a:gd name="T115" fmla="*/ 532 h 534"/>
                <a:gd name="T116" fmla="*/ 30 w 1068"/>
                <a:gd name="T117"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8" h="534">
                  <a:moveTo>
                    <a:pt x="30" y="534"/>
                  </a:moveTo>
                  <a:lnTo>
                    <a:pt x="30" y="534"/>
                  </a:lnTo>
                  <a:lnTo>
                    <a:pt x="24" y="534"/>
                  </a:lnTo>
                  <a:lnTo>
                    <a:pt x="18" y="532"/>
                  </a:lnTo>
                  <a:lnTo>
                    <a:pt x="10" y="526"/>
                  </a:lnTo>
                  <a:lnTo>
                    <a:pt x="4" y="516"/>
                  </a:lnTo>
                  <a:lnTo>
                    <a:pt x="2" y="510"/>
                  </a:lnTo>
                  <a:lnTo>
                    <a:pt x="0" y="504"/>
                  </a:lnTo>
                  <a:lnTo>
                    <a:pt x="0" y="504"/>
                  </a:lnTo>
                  <a:lnTo>
                    <a:pt x="2" y="478"/>
                  </a:lnTo>
                  <a:lnTo>
                    <a:pt x="4" y="452"/>
                  </a:lnTo>
                  <a:lnTo>
                    <a:pt x="6" y="428"/>
                  </a:lnTo>
                  <a:lnTo>
                    <a:pt x="12" y="402"/>
                  </a:lnTo>
                  <a:lnTo>
                    <a:pt x="16" y="378"/>
                  </a:lnTo>
                  <a:lnTo>
                    <a:pt x="24" y="354"/>
                  </a:lnTo>
                  <a:lnTo>
                    <a:pt x="32" y="332"/>
                  </a:lnTo>
                  <a:lnTo>
                    <a:pt x="40" y="308"/>
                  </a:lnTo>
                  <a:lnTo>
                    <a:pt x="62" y="264"/>
                  </a:lnTo>
                  <a:lnTo>
                    <a:pt x="88" y="222"/>
                  </a:lnTo>
                  <a:lnTo>
                    <a:pt x="116" y="184"/>
                  </a:lnTo>
                  <a:lnTo>
                    <a:pt x="148" y="148"/>
                  </a:lnTo>
                  <a:lnTo>
                    <a:pt x="184" y="116"/>
                  </a:lnTo>
                  <a:lnTo>
                    <a:pt x="224" y="86"/>
                  </a:lnTo>
                  <a:lnTo>
                    <a:pt x="264" y="62"/>
                  </a:lnTo>
                  <a:lnTo>
                    <a:pt x="308" y="40"/>
                  </a:lnTo>
                  <a:lnTo>
                    <a:pt x="332" y="32"/>
                  </a:lnTo>
                  <a:lnTo>
                    <a:pt x="354" y="24"/>
                  </a:lnTo>
                  <a:lnTo>
                    <a:pt x="378" y="16"/>
                  </a:lnTo>
                  <a:lnTo>
                    <a:pt x="404" y="10"/>
                  </a:lnTo>
                  <a:lnTo>
                    <a:pt x="428" y="6"/>
                  </a:lnTo>
                  <a:lnTo>
                    <a:pt x="454" y="2"/>
                  </a:lnTo>
                  <a:lnTo>
                    <a:pt x="478" y="2"/>
                  </a:lnTo>
                  <a:lnTo>
                    <a:pt x="504" y="0"/>
                  </a:lnTo>
                  <a:lnTo>
                    <a:pt x="504" y="0"/>
                  </a:lnTo>
                  <a:lnTo>
                    <a:pt x="554" y="2"/>
                  </a:lnTo>
                  <a:lnTo>
                    <a:pt x="600" y="8"/>
                  </a:lnTo>
                  <a:lnTo>
                    <a:pt x="640" y="16"/>
                  </a:lnTo>
                  <a:lnTo>
                    <a:pt x="680" y="26"/>
                  </a:lnTo>
                  <a:lnTo>
                    <a:pt x="714" y="40"/>
                  </a:lnTo>
                  <a:lnTo>
                    <a:pt x="746" y="56"/>
                  </a:lnTo>
                  <a:lnTo>
                    <a:pt x="776" y="74"/>
                  </a:lnTo>
                  <a:lnTo>
                    <a:pt x="802" y="94"/>
                  </a:lnTo>
                  <a:lnTo>
                    <a:pt x="826" y="114"/>
                  </a:lnTo>
                  <a:lnTo>
                    <a:pt x="848" y="136"/>
                  </a:lnTo>
                  <a:lnTo>
                    <a:pt x="868" y="160"/>
                  </a:lnTo>
                  <a:lnTo>
                    <a:pt x="886" y="182"/>
                  </a:lnTo>
                  <a:lnTo>
                    <a:pt x="920" y="228"/>
                  </a:lnTo>
                  <a:lnTo>
                    <a:pt x="948" y="274"/>
                  </a:lnTo>
                  <a:lnTo>
                    <a:pt x="948" y="274"/>
                  </a:lnTo>
                  <a:lnTo>
                    <a:pt x="972" y="312"/>
                  </a:lnTo>
                  <a:lnTo>
                    <a:pt x="996" y="346"/>
                  </a:lnTo>
                  <a:lnTo>
                    <a:pt x="1008" y="360"/>
                  </a:lnTo>
                  <a:lnTo>
                    <a:pt x="1020" y="372"/>
                  </a:lnTo>
                  <a:lnTo>
                    <a:pt x="1034" y="380"/>
                  </a:lnTo>
                  <a:lnTo>
                    <a:pt x="1048" y="388"/>
                  </a:lnTo>
                  <a:lnTo>
                    <a:pt x="1048" y="388"/>
                  </a:lnTo>
                  <a:lnTo>
                    <a:pt x="1052" y="390"/>
                  </a:lnTo>
                  <a:lnTo>
                    <a:pt x="1058" y="392"/>
                  </a:lnTo>
                  <a:lnTo>
                    <a:pt x="1064" y="402"/>
                  </a:lnTo>
                  <a:lnTo>
                    <a:pt x="1068" y="412"/>
                  </a:lnTo>
                  <a:lnTo>
                    <a:pt x="1068" y="418"/>
                  </a:lnTo>
                  <a:lnTo>
                    <a:pt x="1066" y="424"/>
                  </a:lnTo>
                  <a:lnTo>
                    <a:pt x="1066" y="424"/>
                  </a:lnTo>
                  <a:lnTo>
                    <a:pt x="1064" y="430"/>
                  </a:lnTo>
                  <a:lnTo>
                    <a:pt x="1062" y="434"/>
                  </a:lnTo>
                  <a:lnTo>
                    <a:pt x="1052" y="442"/>
                  </a:lnTo>
                  <a:lnTo>
                    <a:pt x="1042" y="444"/>
                  </a:lnTo>
                  <a:lnTo>
                    <a:pt x="1036" y="444"/>
                  </a:lnTo>
                  <a:lnTo>
                    <a:pt x="1030" y="444"/>
                  </a:lnTo>
                  <a:lnTo>
                    <a:pt x="1030" y="444"/>
                  </a:lnTo>
                  <a:lnTo>
                    <a:pt x="1030" y="444"/>
                  </a:lnTo>
                  <a:lnTo>
                    <a:pt x="1030" y="444"/>
                  </a:lnTo>
                  <a:lnTo>
                    <a:pt x="1008" y="434"/>
                  </a:lnTo>
                  <a:lnTo>
                    <a:pt x="990" y="422"/>
                  </a:lnTo>
                  <a:lnTo>
                    <a:pt x="972" y="408"/>
                  </a:lnTo>
                  <a:lnTo>
                    <a:pt x="956" y="392"/>
                  </a:lnTo>
                  <a:lnTo>
                    <a:pt x="942" y="372"/>
                  </a:lnTo>
                  <a:lnTo>
                    <a:pt x="926" y="352"/>
                  </a:lnTo>
                  <a:lnTo>
                    <a:pt x="898" y="304"/>
                  </a:lnTo>
                  <a:lnTo>
                    <a:pt x="898" y="304"/>
                  </a:lnTo>
                  <a:lnTo>
                    <a:pt x="870" y="262"/>
                  </a:lnTo>
                  <a:lnTo>
                    <a:pt x="842" y="220"/>
                  </a:lnTo>
                  <a:lnTo>
                    <a:pt x="824" y="200"/>
                  </a:lnTo>
                  <a:lnTo>
                    <a:pt x="806" y="180"/>
                  </a:lnTo>
                  <a:lnTo>
                    <a:pt x="788" y="160"/>
                  </a:lnTo>
                  <a:lnTo>
                    <a:pt x="766" y="142"/>
                  </a:lnTo>
                  <a:lnTo>
                    <a:pt x="742" y="124"/>
                  </a:lnTo>
                  <a:lnTo>
                    <a:pt x="716" y="108"/>
                  </a:lnTo>
                  <a:lnTo>
                    <a:pt x="688" y="94"/>
                  </a:lnTo>
                  <a:lnTo>
                    <a:pt x="658" y="82"/>
                  </a:lnTo>
                  <a:lnTo>
                    <a:pt x="624" y="72"/>
                  </a:lnTo>
                  <a:lnTo>
                    <a:pt x="588" y="66"/>
                  </a:lnTo>
                  <a:lnTo>
                    <a:pt x="548" y="62"/>
                  </a:lnTo>
                  <a:lnTo>
                    <a:pt x="504" y="60"/>
                  </a:lnTo>
                  <a:lnTo>
                    <a:pt x="504" y="60"/>
                  </a:lnTo>
                  <a:lnTo>
                    <a:pt x="460" y="62"/>
                  </a:lnTo>
                  <a:lnTo>
                    <a:pt x="416" y="68"/>
                  </a:lnTo>
                  <a:lnTo>
                    <a:pt x="372" y="80"/>
                  </a:lnTo>
                  <a:lnTo>
                    <a:pt x="332" y="94"/>
                  </a:lnTo>
                  <a:lnTo>
                    <a:pt x="292" y="114"/>
                  </a:lnTo>
                  <a:lnTo>
                    <a:pt x="256" y="136"/>
                  </a:lnTo>
                  <a:lnTo>
                    <a:pt x="222" y="162"/>
                  </a:lnTo>
                  <a:lnTo>
                    <a:pt x="190" y="190"/>
                  </a:lnTo>
                  <a:lnTo>
                    <a:pt x="162" y="222"/>
                  </a:lnTo>
                  <a:lnTo>
                    <a:pt x="136" y="256"/>
                  </a:lnTo>
                  <a:lnTo>
                    <a:pt x="114" y="292"/>
                  </a:lnTo>
                  <a:lnTo>
                    <a:pt x="96" y="332"/>
                  </a:lnTo>
                  <a:lnTo>
                    <a:pt x="80" y="372"/>
                  </a:lnTo>
                  <a:lnTo>
                    <a:pt x="70" y="414"/>
                  </a:lnTo>
                  <a:lnTo>
                    <a:pt x="62" y="458"/>
                  </a:lnTo>
                  <a:lnTo>
                    <a:pt x="60" y="504"/>
                  </a:lnTo>
                  <a:lnTo>
                    <a:pt x="60" y="504"/>
                  </a:lnTo>
                  <a:lnTo>
                    <a:pt x="60" y="510"/>
                  </a:lnTo>
                  <a:lnTo>
                    <a:pt x="58" y="516"/>
                  </a:lnTo>
                  <a:lnTo>
                    <a:pt x="52" y="526"/>
                  </a:lnTo>
                  <a:lnTo>
                    <a:pt x="42" y="532"/>
                  </a:lnTo>
                  <a:lnTo>
                    <a:pt x="36" y="534"/>
                  </a:lnTo>
                  <a:lnTo>
                    <a:pt x="30" y="5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267">
              <a:extLst>
                <a:ext uri="{FF2B5EF4-FFF2-40B4-BE49-F238E27FC236}">
                  <a16:creationId xmlns:a16="http://schemas.microsoft.com/office/drawing/2014/main" id="{C1656AE3-3B1F-4AF4-A2BB-28140021676C}"/>
                </a:ext>
              </a:extLst>
            </p:cNvPr>
            <p:cNvSpPr>
              <a:spLocks/>
            </p:cNvSpPr>
            <p:nvPr/>
          </p:nvSpPr>
          <p:spPr bwMode="auto">
            <a:xfrm>
              <a:off x="13952538" y="3476625"/>
              <a:ext cx="142875" cy="234950"/>
            </a:xfrm>
            <a:custGeom>
              <a:avLst/>
              <a:gdLst>
                <a:gd name="T0" fmla="*/ 60 w 90"/>
                <a:gd name="T1" fmla="*/ 148 h 148"/>
                <a:gd name="T2" fmla="*/ 60 w 90"/>
                <a:gd name="T3" fmla="*/ 148 h 148"/>
                <a:gd name="T4" fmla="*/ 52 w 90"/>
                <a:gd name="T5" fmla="*/ 146 h 148"/>
                <a:gd name="T6" fmla="*/ 44 w 90"/>
                <a:gd name="T7" fmla="*/ 142 h 148"/>
                <a:gd name="T8" fmla="*/ 38 w 90"/>
                <a:gd name="T9" fmla="*/ 138 h 148"/>
                <a:gd name="T10" fmla="*/ 34 w 90"/>
                <a:gd name="T11" fmla="*/ 130 h 148"/>
                <a:gd name="T12" fmla="*/ 34 w 90"/>
                <a:gd name="T13" fmla="*/ 130 h 148"/>
                <a:gd name="T14" fmla="*/ 22 w 90"/>
                <a:gd name="T15" fmla="*/ 106 h 148"/>
                <a:gd name="T16" fmla="*/ 12 w 90"/>
                <a:gd name="T17" fmla="*/ 82 h 148"/>
                <a:gd name="T18" fmla="*/ 6 w 90"/>
                <a:gd name="T19" fmla="*/ 56 h 148"/>
                <a:gd name="T20" fmla="*/ 0 w 90"/>
                <a:gd name="T21" fmla="*/ 28 h 148"/>
                <a:gd name="T22" fmla="*/ 0 w 90"/>
                <a:gd name="T23" fmla="*/ 28 h 148"/>
                <a:gd name="T24" fmla="*/ 2 w 90"/>
                <a:gd name="T25" fmla="*/ 22 h 148"/>
                <a:gd name="T26" fmla="*/ 4 w 90"/>
                <a:gd name="T27" fmla="*/ 18 h 148"/>
                <a:gd name="T28" fmla="*/ 10 w 90"/>
                <a:gd name="T29" fmla="*/ 8 h 148"/>
                <a:gd name="T30" fmla="*/ 18 w 90"/>
                <a:gd name="T31" fmla="*/ 2 h 148"/>
                <a:gd name="T32" fmla="*/ 24 w 90"/>
                <a:gd name="T33" fmla="*/ 0 h 148"/>
                <a:gd name="T34" fmla="*/ 30 w 90"/>
                <a:gd name="T35" fmla="*/ 0 h 148"/>
                <a:gd name="T36" fmla="*/ 30 w 90"/>
                <a:gd name="T37" fmla="*/ 0 h 148"/>
                <a:gd name="T38" fmla="*/ 36 w 90"/>
                <a:gd name="T39" fmla="*/ 0 h 148"/>
                <a:gd name="T40" fmla="*/ 42 w 90"/>
                <a:gd name="T41" fmla="*/ 2 h 148"/>
                <a:gd name="T42" fmla="*/ 52 w 90"/>
                <a:gd name="T43" fmla="*/ 8 h 148"/>
                <a:gd name="T44" fmla="*/ 58 w 90"/>
                <a:gd name="T45" fmla="*/ 18 h 148"/>
                <a:gd name="T46" fmla="*/ 60 w 90"/>
                <a:gd name="T47" fmla="*/ 22 h 148"/>
                <a:gd name="T48" fmla="*/ 60 w 90"/>
                <a:gd name="T49" fmla="*/ 28 h 148"/>
                <a:gd name="T50" fmla="*/ 60 w 90"/>
                <a:gd name="T51" fmla="*/ 28 h 148"/>
                <a:gd name="T52" fmla="*/ 64 w 90"/>
                <a:gd name="T53" fmla="*/ 48 h 148"/>
                <a:gd name="T54" fmla="*/ 70 w 90"/>
                <a:gd name="T55" fmla="*/ 68 h 148"/>
                <a:gd name="T56" fmla="*/ 78 w 90"/>
                <a:gd name="T57" fmla="*/ 86 h 148"/>
                <a:gd name="T58" fmla="*/ 86 w 90"/>
                <a:gd name="T59" fmla="*/ 104 h 148"/>
                <a:gd name="T60" fmla="*/ 86 w 90"/>
                <a:gd name="T61" fmla="*/ 104 h 148"/>
                <a:gd name="T62" fmla="*/ 88 w 90"/>
                <a:gd name="T63" fmla="*/ 110 h 148"/>
                <a:gd name="T64" fmla="*/ 90 w 90"/>
                <a:gd name="T65" fmla="*/ 116 h 148"/>
                <a:gd name="T66" fmla="*/ 88 w 90"/>
                <a:gd name="T67" fmla="*/ 128 h 148"/>
                <a:gd name="T68" fmla="*/ 82 w 90"/>
                <a:gd name="T69" fmla="*/ 136 h 148"/>
                <a:gd name="T70" fmla="*/ 78 w 90"/>
                <a:gd name="T71" fmla="*/ 140 h 148"/>
                <a:gd name="T72" fmla="*/ 74 w 90"/>
                <a:gd name="T73" fmla="*/ 144 h 148"/>
                <a:gd name="T74" fmla="*/ 74 w 90"/>
                <a:gd name="T75" fmla="*/ 144 h 148"/>
                <a:gd name="T76" fmla="*/ 66 w 90"/>
                <a:gd name="T77" fmla="*/ 146 h 148"/>
                <a:gd name="T78" fmla="*/ 60 w 90"/>
                <a:gd name="T7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 h="148">
                  <a:moveTo>
                    <a:pt x="60" y="148"/>
                  </a:moveTo>
                  <a:lnTo>
                    <a:pt x="60" y="148"/>
                  </a:lnTo>
                  <a:lnTo>
                    <a:pt x="52" y="146"/>
                  </a:lnTo>
                  <a:lnTo>
                    <a:pt x="44" y="142"/>
                  </a:lnTo>
                  <a:lnTo>
                    <a:pt x="38" y="138"/>
                  </a:lnTo>
                  <a:lnTo>
                    <a:pt x="34" y="130"/>
                  </a:lnTo>
                  <a:lnTo>
                    <a:pt x="34" y="130"/>
                  </a:lnTo>
                  <a:lnTo>
                    <a:pt x="22" y="106"/>
                  </a:lnTo>
                  <a:lnTo>
                    <a:pt x="12" y="82"/>
                  </a:lnTo>
                  <a:lnTo>
                    <a:pt x="6" y="56"/>
                  </a:lnTo>
                  <a:lnTo>
                    <a:pt x="0" y="28"/>
                  </a:lnTo>
                  <a:lnTo>
                    <a:pt x="0" y="28"/>
                  </a:lnTo>
                  <a:lnTo>
                    <a:pt x="2" y="22"/>
                  </a:lnTo>
                  <a:lnTo>
                    <a:pt x="4" y="18"/>
                  </a:lnTo>
                  <a:lnTo>
                    <a:pt x="10" y="8"/>
                  </a:lnTo>
                  <a:lnTo>
                    <a:pt x="18" y="2"/>
                  </a:lnTo>
                  <a:lnTo>
                    <a:pt x="24" y="0"/>
                  </a:lnTo>
                  <a:lnTo>
                    <a:pt x="30" y="0"/>
                  </a:lnTo>
                  <a:lnTo>
                    <a:pt x="30" y="0"/>
                  </a:lnTo>
                  <a:lnTo>
                    <a:pt x="36" y="0"/>
                  </a:lnTo>
                  <a:lnTo>
                    <a:pt x="42" y="2"/>
                  </a:lnTo>
                  <a:lnTo>
                    <a:pt x="52" y="8"/>
                  </a:lnTo>
                  <a:lnTo>
                    <a:pt x="58" y="18"/>
                  </a:lnTo>
                  <a:lnTo>
                    <a:pt x="60" y="22"/>
                  </a:lnTo>
                  <a:lnTo>
                    <a:pt x="60" y="28"/>
                  </a:lnTo>
                  <a:lnTo>
                    <a:pt x="60" y="28"/>
                  </a:lnTo>
                  <a:lnTo>
                    <a:pt x="64" y="48"/>
                  </a:lnTo>
                  <a:lnTo>
                    <a:pt x="70" y="68"/>
                  </a:lnTo>
                  <a:lnTo>
                    <a:pt x="78" y="86"/>
                  </a:lnTo>
                  <a:lnTo>
                    <a:pt x="86" y="104"/>
                  </a:lnTo>
                  <a:lnTo>
                    <a:pt x="86" y="104"/>
                  </a:lnTo>
                  <a:lnTo>
                    <a:pt x="88" y="110"/>
                  </a:lnTo>
                  <a:lnTo>
                    <a:pt x="90" y="116"/>
                  </a:lnTo>
                  <a:lnTo>
                    <a:pt x="88" y="128"/>
                  </a:lnTo>
                  <a:lnTo>
                    <a:pt x="82" y="136"/>
                  </a:lnTo>
                  <a:lnTo>
                    <a:pt x="78" y="140"/>
                  </a:lnTo>
                  <a:lnTo>
                    <a:pt x="74" y="144"/>
                  </a:lnTo>
                  <a:lnTo>
                    <a:pt x="74" y="144"/>
                  </a:lnTo>
                  <a:lnTo>
                    <a:pt x="66" y="146"/>
                  </a:lnTo>
                  <a:lnTo>
                    <a:pt x="60"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268">
              <a:extLst>
                <a:ext uri="{FF2B5EF4-FFF2-40B4-BE49-F238E27FC236}">
                  <a16:creationId xmlns:a16="http://schemas.microsoft.com/office/drawing/2014/main" id="{4D60880A-519C-4E43-B933-C26A9D70634D}"/>
                </a:ext>
              </a:extLst>
            </p:cNvPr>
            <p:cNvSpPr>
              <a:spLocks/>
            </p:cNvSpPr>
            <p:nvPr/>
          </p:nvSpPr>
          <p:spPr bwMode="auto">
            <a:xfrm>
              <a:off x="13952538" y="3476625"/>
              <a:ext cx="142875" cy="234950"/>
            </a:xfrm>
            <a:custGeom>
              <a:avLst/>
              <a:gdLst>
                <a:gd name="T0" fmla="*/ 60 w 90"/>
                <a:gd name="T1" fmla="*/ 148 h 148"/>
                <a:gd name="T2" fmla="*/ 60 w 90"/>
                <a:gd name="T3" fmla="*/ 148 h 148"/>
                <a:gd name="T4" fmla="*/ 52 w 90"/>
                <a:gd name="T5" fmla="*/ 146 h 148"/>
                <a:gd name="T6" fmla="*/ 44 w 90"/>
                <a:gd name="T7" fmla="*/ 142 h 148"/>
                <a:gd name="T8" fmla="*/ 38 w 90"/>
                <a:gd name="T9" fmla="*/ 138 h 148"/>
                <a:gd name="T10" fmla="*/ 34 w 90"/>
                <a:gd name="T11" fmla="*/ 130 h 148"/>
                <a:gd name="T12" fmla="*/ 34 w 90"/>
                <a:gd name="T13" fmla="*/ 130 h 148"/>
                <a:gd name="T14" fmla="*/ 22 w 90"/>
                <a:gd name="T15" fmla="*/ 106 h 148"/>
                <a:gd name="T16" fmla="*/ 12 w 90"/>
                <a:gd name="T17" fmla="*/ 82 h 148"/>
                <a:gd name="T18" fmla="*/ 6 w 90"/>
                <a:gd name="T19" fmla="*/ 56 h 148"/>
                <a:gd name="T20" fmla="*/ 0 w 90"/>
                <a:gd name="T21" fmla="*/ 28 h 148"/>
                <a:gd name="T22" fmla="*/ 0 w 90"/>
                <a:gd name="T23" fmla="*/ 28 h 148"/>
                <a:gd name="T24" fmla="*/ 2 w 90"/>
                <a:gd name="T25" fmla="*/ 22 h 148"/>
                <a:gd name="T26" fmla="*/ 4 w 90"/>
                <a:gd name="T27" fmla="*/ 18 h 148"/>
                <a:gd name="T28" fmla="*/ 10 w 90"/>
                <a:gd name="T29" fmla="*/ 8 h 148"/>
                <a:gd name="T30" fmla="*/ 18 w 90"/>
                <a:gd name="T31" fmla="*/ 2 h 148"/>
                <a:gd name="T32" fmla="*/ 24 w 90"/>
                <a:gd name="T33" fmla="*/ 0 h 148"/>
                <a:gd name="T34" fmla="*/ 30 w 90"/>
                <a:gd name="T35" fmla="*/ 0 h 148"/>
                <a:gd name="T36" fmla="*/ 30 w 90"/>
                <a:gd name="T37" fmla="*/ 0 h 148"/>
                <a:gd name="T38" fmla="*/ 36 w 90"/>
                <a:gd name="T39" fmla="*/ 0 h 148"/>
                <a:gd name="T40" fmla="*/ 42 w 90"/>
                <a:gd name="T41" fmla="*/ 2 h 148"/>
                <a:gd name="T42" fmla="*/ 52 w 90"/>
                <a:gd name="T43" fmla="*/ 8 h 148"/>
                <a:gd name="T44" fmla="*/ 58 w 90"/>
                <a:gd name="T45" fmla="*/ 18 h 148"/>
                <a:gd name="T46" fmla="*/ 60 w 90"/>
                <a:gd name="T47" fmla="*/ 22 h 148"/>
                <a:gd name="T48" fmla="*/ 60 w 90"/>
                <a:gd name="T49" fmla="*/ 28 h 148"/>
                <a:gd name="T50" fmla="*/ 60 w 90"/>
                <a:gd name="T51" fmla="*/ 28 h 148"/>
                <a:gd name="T52" fmla="*/ 64 w 90"/>
                <a:gd name="T53" fmla="*/ 48 h 148"/>
                <a:gd name="T54" fmla="*/ 70 w 90"/>
                <a:gd name="T55" fmla="*/ 68 h 148"/>
                <a:gd name="T56" fmla="*/ 78 w 90"/>
                <a:gd name="T57" fmla="*/ 86 h 148"/>
                <a:gd name="T58" fmla="*/ 86 w 90"/>
                <a:gd name="T59" fmla="*/ 104 h 148"/>
                <a:gd name="T60" fmla="*/ 86 w 90"/>
                <a:gd name="T61" fmla="*/ 104 h 148"/>
                <a:gd name="T62" fmla="*/ 88 w 90"/>
                <a:gd name="T63" fmla="*/ 110 h 148"/>
                <a:gd name="T64" fmla="*/ 90 w 90"/>
                <a:gd name="T65" fmla="*/ 116 h 148"/>
                <a:gd name="T66" fmla="*/ 88 w 90"/>
                <a:gd name="T67" fmla="*/ 128 h 148"/>
                <a:gd name="T68" fmla="*/ 82 w 90"/>
                <a:gd name="T69" fmla="*/ 136 h 148"/>
                <a:gd name="T70" fmla="*/ 78 w 90"/>
                <a:gd name="T71" fmla="*/ 140 h 148"/>
                <a:gd name="T72" fmla="*/ 74 w 90"/>
                <a:gd name="T73" fmla="*/ 144 h 148"/>
                <a:gd name="T74" fmla="*/ 74 w 90"/>
                <a:gd name="T75" fmla="*/ 144 h 148"/>
                <a:gd name="T76" fmla="*/ 66 w 90"/>
                <a:gd name="T77" fmla="*/ 146 h 148"/>
                <a:gd name="T78" fmla="*/ 60 w 90"/>
                <a:gd name="T7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 h="148">
                  <a:moveTo>
                    <a:pt x="60" y="148"/>
                  </a:moveTo>
                  <a:lnTo>
                    <a:pt x="60" y="148"/>
                  </a:lnTo>
                  <a:lnTo>
                    <a:pt x="52" y="146"/>
                  </a:lnTo>
                  <a:lnTo>
                    <a:pt x="44" y="142"/>
                  </a:lnTo>
                  <a:lnTo>
                    <a:pt x="38" y="138"/>
                  </a:lnTo>
                  <a:lnTo>
                    <a:pt x="34" y="130"/>
                  </a:lnTo>
                  <a:lnTo>
                    <a:pt x="34" y="130"/>
                  </a:lnTo>
                  <a:lnTo>
                    <a:pt x="22" y="106"/>
                  </a:lnTo>
                  <a:lnTo>
                    <a:pt x="12" y="82"/>
                  </a:lnTo>
                  <a:lnTo>
                    <a:pt x="6" y="56"/>
                  </a:lnTo>
                  <a:lnTo>
                    <a:pt x="0" y="28"/>
                  </a:lnTo>
                  <a:lnTo>
                    <a:pt x="0" y="28"/>
                  </a:lnTo>
                  <a:lnTo>
                    <a:pt x="2" y="22"/>
                  </a:lnTo>
                  <a:lnTo>
                    <a:pt x="4" y="18"/>
                  </a:lnTo>
                  <a:lnTo>
                    <a:pt x="10" y="8"/>
                  </a:lnTo>
                  <a:lnTo>
                    <a:pt x="18" y="2"/>
                  </a:lnTo>
                  <a:lnTo>
                    <a:pt x="24" y="0"/>
                  </a:lnTo>
                  <a:lnTo>
                    <a:pt x="30" y="0"/>
                  </a:lnTo>
                  <a:lnTo>
                    <a:pt x="30" y="0"/>
                  </a:lnTo>
                  <a:lnTo>
                    <a:pt x="36" y="0"/>
                  </a:lnTo>
                  <a:lnTo>
                    <a:pt x="42" y="2"/>
                  </a:lnTo>
                  <a:lnTo>
                    <a:pt x="52" y="8"/>
                  </a:lnTo>
                  <a:lnTo>
                    <a:pt x="58" y="18"/>
                  </a:lnTo>
                  <a:lnTo>
                    <a:pt x="60" y="22"/>
                  </a:lnTo>
                  <a:lnTo>
                    <a:pt x="60" y="28"/>
                  </a:lnTo>
                  <a:lnTo>
                    <a:pt x="60" y="28"/>
                  </a:lnTo>
                  <a:lnTo>
                    <a:pt x="64" y="48"/>
                  </a:lnTo>
                  <a:lnTo>
                    <a:pt x="70" y="68"/>
                  </a:lnTo>
                  <a:lnTo>
                    <a:pt x="78" y="86"/>
                  </a:lnTo>
                  <a:lnTo>
                    <a:pt x="86" y="104"/>
                  </a:lnTo>
                  <a:lnTo>
                    <a:pt x="86" y="104"/>
                  </a:lnTo>
                  <a:lnTo>
                    <a:pt x="88" y="110"/>
                  </a:lnTo>
                  <a:lnTo>
                    <a:pt x="90" y="116"/>
                  </a:lnTo>
                  <a:lnTo>
                    <a:pt x="88" y="128"/>
                  </a:lnTo>
                  <a:lnTo>
                    <a:pt x="82" y="136"/>
                  </a:lnTo>
                  <a:lnTo>
                    <a:pt x="78" y="140"/>
                  </a:lnTo>
                  <a:lnTo>
                    <a:pt x="74" y="144"/>
                  </a:lnTo>
                  <a:lnTo>
                    <a:pt x="74" y="144"/>
                  </a:lnTo>
                  <a:lnTo>
                    <a:pt x="66" y="146"/>
                  </a:lnTo>
                  <a:lnTo>
                    <a:pt x="60" y="14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269">
              <a:extLst>
                <a:ext uri="{FF2B5EF4-FFF2-40B4-BE49-F238E27FC236}">
                  <a16:creationId xmlns:a16="http://schemas.microsoft.com/office/drawing/2014/main" id="{2EAEFE3B-D231-4953-AFB9-02F90ABB74C9}"/>
                </a:ext>
              </a:extLst>
            </p:cNvPr>
            <p:cNvSpPr>
              <a:spLocks/>
            </p:cNvSpPr>
            <p:nvPr/>
          </p:nvSpPr>
          <p:spPr bwMode="auto">
            <a:xfrm>
              <a:off x="14000163" y="2346325"/>
              <a:ext cx="1457325" cy="377825"/>
            </a:xfrm>
            <a:custGeom>
              <a:avLst/>
              <a:gdLst>
                <a:gd name="T0" fmla="*/ 890 w 918"/>
                <a:gd name="T1" fmla="*/ 236 h 238"/>
                <a:gd name="T2" fmla="*/ 876 w 918"/>
                <a:gd name="T3" fmla="*/ 234 h 238"/>
                <a:gd name="T4" fmla="*/ 864 w 918"/>
                <a:gd name="T5" fmla="*/ 222 h 238"/>
                <a:gd name="T6" fmla="*/ 858 w 918"/>
                <a:gd name="T7" fmla="*/ 212 h 238"/>
                <a:gd name="T8" fmla="*/ 834 w 918"/>
                <a:gd name="T9" fmla="*/ 190 h 238"/>
                <a:gd name="T10" fmla="*/ 800 w 918"/>
                <a:gd name="T11" fmla="*/ 164 h 238"/>
                <a:gd name="T12" fmla="*/ 756 w 918"/>
                <a:gd name="T13" fmla="*/ 136 h 238"/>
                <a:gd name="T14" fmla="*/ 700 w 918"/>
                <a:gd name="T15" fmla="*/ 110 h 238"/>
                <a:gd name="T16" fmla="*/ 638 w 918"/>
                <a:gd name="T17" fmla="*/ 88 h 238"/>
                <a:gd name="T18" fmla="*/ 566 w 918"/>
                <a:gd name="T19" fmla="*/ 70 h 238"/>
                <a:gd name="T20" fmla="*/ 486 w 918"/>
                <a:gd name="T21" fmla="*/ 60 h 238"/>
                <a:gd name="T22" fmla="*/ 446 w 918"/>
                <a:gd name="T23" fmla="*/ 60 h 238"/>
                <a:gd name="T24" fmla="*/ 362 w 918"/>
                <a:gd name="T25" fmla="*/ 64 h 238"/>
                <a:gd name="T26" fmla="*/ 288 w 918"/>
                <a:gd name="T27" fmla="*/ 78 h 238"/>
                <a:gd name="T28" fmla="*/ 224 w 918"/>
                <a:gd name="T29" fmla="*/ 100 h 238"/>
                <a:gd name="T30" fmla="*/ 170 w 918"/>
                <a:gd name="T31" fmla="*/ 124 h 238"/>
                <a:gd name="T32" fmla="*/ 128 w 918"/>
                <a:gd name="T33" fmla="*/ 152 h 238"/>
                <a:gd name="T34" fmla="*/ 94 w 918"/>
                <a:gd name="T35" fmla="*/ 180 h 238"/>
                <a:gd name="T36" fmla="*/ 56 w 918"/>
                <a:gd name="T37" fmla="*/ 222 h 238"/>
                <a:gd name="T38" fmla="*/ 52 w 918"/>
                <a:gd name="T39" fmla="*/ 228 h 238"/>
                <a:gd name="T40" fmla="*/ 38 w 918"/>
                <a:gd name="T41" fmla="*/ 236 h 238"/>
                <a:gd name="T42" fmla="*/ 20 w 918"/>
                <a:gd name="T43" fmla="*/ 236 h 238"/>
                <a:gd name="T44" fmla="*/ 16 w 918"/>
                <a:gd name="T45" fmla="*/ 234 h 238"/>
                <a:gd name="T46" fmla="*/ 6 w 918"/>
                <a:gd name="T47" fmla="*/ 226 h 238"/>
                <a:gd name="T48" fmla="*/ 0 w 918"/>
                <a:gd name="T49" fmla="*/ 204 h 238"/>
                <a:gd name="T50" fmla="*/ 4 w 918"/>
                <a:gd name="T51" fmla="*/ 194 h 238"/>
                <a:gd name="T52" fmla="*/ 4 w 918"/>
                <a:gd name="T53" fmla="*/ 192 h 238"/>
                <a:gd name="T54" fmla="*/ 22 w 918"/>
                <a:gd name="T55" fmla="*/ 168 h 238"/>
                <a:gd name="T56" fmla="*/ 50 w 918"/>
                <a:gd name="T57" fmla="*/ 140 h 238"/>
                <a:gd name="T58" fmla="*/ 88 w 918"/>
                <a:gd name="T59" fmla="*/ 108 h 238"/>
                <a:gd name="T60" fmla="*/ 138 w 918"/>
                <a:gd name="T61" fmla="*/ 76 h 238"/>
                <a:gd name="T62" fmla="*/ 198 w 918"/>
                <a:gd name="T63" fmla="*/ 46 h 238"/>
                <a:gd name="T64" fmla="*/ 268 w 918"/>
                <a:gd name="T65" fmla="*/ 22 h 238"/>
                <a:gd name="T66" fmla="*/ 352 w 918"/>
                <a:gd name="T67" fmla="*/ 6 h 238"/>
                <a:gd name="T68" fmla="*/ 446 w 918"/>
                <a:gd name="T69" fmla="*/ 0 h 238"/>
                <a:gd name="T70" fmla="*/ 490 w 918"/>
                <a:gd name="T71" fmla="*/ 2 h 238"/>
                <a:gd name="T72" fmla="*/ 578 w 918"/>
                <a:gd name="T73" fmla="*/ 12 h 238"/>
                <a:gd name="T74" fmla="*/ 656 w 918"/>
                <a:gd name="T75" fmla="*/ 30 h 238"/>
                <a:gd name="T76" fmla="*/ 726 w 918"/>
                <a:gd name="T77" fmla="*/ 56 h 238"/>
                <a:gd name="T78" fmla="*/ 788 w 918"/>
                <a:gd name="T79" fmla="*/ 86 h 238"/>
                <a:gd name="T80" fmla="*/ 838 w 918"/>
                <a:gd name="T81" fmla="*/ 118 h 238"/>
                <a:gd name="T82" fmla="*/ 878 w 918"/>
                <a:gd name="T83" fmla="*/ 150 h 238"/>
                <a:gd name="T84" fmla="*/ 906 w 918"/>
                <a:gd name="T85" fmla="*/ 178 h 238"/>
                <a:gd name="T86" fmla="*/ 914 w 918"/>
                <a:gd name="T87" fmla="*/ 192 h 238"/>
                <a:gd name="T88" fmla="*/ 918 w 918"/>
                <a:gd name="T89" fmla="*/ 202 h 238"/>
                <a:gd name="T90" fmla="*/ 914 w 918"/>
                <a:gd name="T91" fmla="*/ 224 h 238"/>
                <a:gd name="T92" fmla="*/ 904 w 918"/>
                <a:gd name="T93" fmla="*/ 232 h 238"/>
                <a:gd name="T94" fmla="*/ 898 w 918"/>
                <a:gd name="T95" fmla="*/ 23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8" h="238">
                  <a:moveTo>
                    <a:pt x="890" y="236"/>
                  </a:moveTo>
                  <a:lnTo>
                    <a:pt x="890" y="236"/>
                  </a:lnTo>
                  <a:lnTo>
                    <a:pt x="882" y="236"/>
                  </a:lnTo>
                  <a:lnTo>
                    <a:pt x="876" y="234"/>
                  </a:lnTo>
                  <a:lnTo>
                    <a:pt x="870" y="228"/>
                  </a:lnTo>
                  <a:lnTo>
                    <a:pt x="864" y="222"/>
                  </a:lnTo>
                  <a:lnTo>
                    <a:pt x="864" y="222"/>
                  </a:lnTo>
                  <a:lnTo>
                    <a:pt x="858" y="212"/>
                  </a:lnTo>
                  <a:lnTo>
                    <a:pt x="848" y="202"/>
                  </a:lnTo>
                  <a:lnTo>
                    <a:pt x="834" y="190"/>
                  </a:lnTo>
                  <a:lnTo>
                    <a:pt x="818" y="176"/>
                  </a:lnTo>
                  <a:lnTo>
                    <a:pt x="800" y="164"/>
                  </a:lnTo>
                  <a:lnTo>
                    <a:pt x="778" y="150"/>
                  </a:lnTo>
                  <a:lnTo>
                    <a:pt x="756" y="136"/>
                  </a:lnTo>
                  <a:lnTo>
                    <a:pt x="730" y="122"/>
                  </a:lnTo>
                  <a:lnTo>
                    <a:pt x="700" y="110"/>
                  </a:lnTo>
                  <a:lnTo>
                    <a:pt x="670" y="98"/>
                  </a:lnTo>
                  <a:lnTo>
                    <a:pt x="638" y="88"/>
                  </a:lnTo>
                  <a:lnTo>
                    <a:pt x="602" y="78"/>
                  </a:lnTo>
                  <a:lnTo>
                    <a:pt x="566" y="70"/>
                  </a:lnTo>
                  <a:lnTo>
                    <a:pt x="528" y="64"/>
                  </a:lnTo>
                  <a:lnTo>
                    <a:pt x="486" y="60"/>
                  </a:lnTo>
                  <a:lnTo>
                    <a:pt x="446" y="60"/>
                  </a:lnTo>
                  <a:lnTo>
                    <a:pt x="446" y="60"/>
                  </a:lnTo>
                  <a:lnTo>
                    <a:pt x="402" y="60"/>
                  </a:lnTo>
                  <a:lnTo>
                    <a:pt x="362" y="64"/>
                  </a:lnTo>
                  <a:lnTo>
                    <a:pt x="324" y="70"/>
                  </a:lnTo>
                  <a:lnTo>
                    <a:pt x="288" y="78"/>
                  </a:lnTo>
                  <a:lnTo>
                    <a:pt x="254" y="88"/>
                  </a:lnTo>
                  <a:lnTo>
                    <a:pt x="224" y="100"/>
                  </a:lnTo>
                  <a:lnTo>
                    <a:pt x="196" y="112"/>
                  </a:lnTo>
                  <a:lnTo>
                    <a:pt x="170" y="124"/>
                  </a:lnTo>
                  <a:lnTo>
                    <a:pt x="148" y="138"/>
                  </a:lnTo>
                  <a:lnTo>
                    <a:pt x="128" y="152"/>
                  </a:lnTo>
                  <a:lnTo>
                    <a:pt x="110" y="166"/>
                  </a:lnTo>
                  <a:lnTo>
                    <a:pt x="94" y="180"/>
                  </a:lnTo>
                  <a:lnTo>
                    <a:pt x="70" y="204"/>
                  </a:lnTo>
                  <a:lnTo>
                    <a:pt x="56" y="222"/>
                  </a:lnTo>
                  <a:lnTo>
                    <a:pt x="56" y="222"/>
                  </a:lnTo>
                  <a:lnTo>
                    <a:pt x="52" y="228"/>
                  </a:lnTo>
                  <a:lnTo>
                    <a:pt x="48" y="232"/>
                  </a:lnTo>
                  <a:lnTo>
                    <a:pt x="38" y="236"/>
                  </a:lnTo>
                  <a:lnTo>
                    <a:pt x="26" y="238"/>
                  </a:lnTo>
                  <a:lnTo>
                    <a:pt x="20" y="236"/>
                  </a:lnTo>
                  <a:lnTo>
                    <a:pt x="16" y="234"/>
                  </a:lnTo>
                  <a:lnTo>
                    <a:pt x="16" y="234"/>
                  </a:lnTo>
                  <a:lnTo>
                    <a:pt x="10" y="230"/>
                  </a:lnTo>
                  <a:lnTo>
                    <a:pt x="6" y="226"/>
                  </a:lnTo>
                  <a:lnTo>
                    <a:pt x="0" y="216"/>
                  </a:lnTo>
                  <a:lnTo>
                    <a:pt x="0" y="204"/>
                  </a:lnTo>
                  <a:lnTo>
                    <a:pt x="2" y="200"/>
                  </a:lnTo>
                  <a:lnTo>
                    <a:pt x="4" y="194"/>
                  </a:lnTo>
                  <a:lnTo>
                    <a:pt x="4" y="194"/>
                  </a:lnTo>
                  <a:lnTo>
                    <a:pt x="4" y="192"/>
                  </a:lnTo>
                  <a:lnTo>
                    <a:pt x="4" y="192"/>
                  </a:lnTo>
                  <a:lnTo>
                    <a:pt x="22" y="168"/>
                  </a:lnTo>
                  <a:lnTo>
                    <a:pt x="34" y="154"/>
                  </a:lnTo>
                  <a:lnTo>
                    <a:pt x="50" y="140"/>
                  </a:lnTo>
                  <a:lnTo>
                    <a:pt x="68" y="124"/>
                  </a:lnTo>
                  <a:lnTo>
                    <a:pt x="88" y="108"/>
                  </a:lnTo>
                  <a:lnTo>
                    <a:pt x="112" y="92"/>
                  </a:lnTo>
                  <a:lnTo>
                    <a:pt x="138" y="76"/>
                  </a:lnTo>
                  <a:lnTo>
                    <a:pt x="166" y="60"/>
                  </a:lnTo>
                  <a:lnTo>
                    <a:pt x="198" y="46"/>
                  </a:lnTo>
                  <a:lnTo>
                    <a:pt x="232" y="34"/>
                  </a:lnTo>
                  <a:lnTo>
                    <a:pt x="268" y="22"/>
                  </a:lnTo>
                  <a:lnTo>
                    <a:pt x="308" y="12"/>
                  </a:lnTo>
                  <a:lnTo>
                    <a:pt x="352" y="6"/>
                  </a:lnTo>
                  <a:lnTo>
                    <a:pt x="396" y="2"/>
                  </a:lnTo>
                  <a:lnTo>
                    <a:pt x="446" y="0"/>
                  </a:lnTo>
                  <a:lnTo>
                    <a:pt x="446" y="0"/>
                  </a:lnTo>
                  <a:lnTo>
                    <a:pt x="490" y="2"/>
                  </a:lnTo>
                  <a:lnTo>
                    <a:pt x="536" y="6"/>
                  </a:lnTo>
                  <a:lnTo>
                    <a:pt x="578" y="12"/>
                  </a:lnTo>
                  <a:lnTo>
                    <a:pt x="618" y="20"/>
                  </a:lnTo>
                  <a:lnTo>
                    <a:pt x="656" y="30"/>
                  </a:lnTo>
                  <a:lnTo>
                    <a:pt x="692" y="42"/>
                  </a:lnTo>
                  <a:lnTo>
                    <a:pt x="726" y="56"/>
                  </a:lnTo>
                  <a:lnTo>
                    <a:pt x="758" y="70"/>
                  </a:lnTo>
                  <a:lnTo>
                    <a:pt x="788" y="86"/>
                  </a:lnTo>
                  <a:lnTo>
                    <a:pt x="814" y="102"/>
                  </a:lnTo>
                  <a:lnTo>
                    <a:pt x="838" y="118"/>
                  </a:lnTo>
                  <a:lnTo>
                    <a:pt x="860" y="134"/>
                  </a:lnTo>
                  <a:lnTo>
                    <a:pt x="878" y="150"/>
                  </a:lnTo>
                  <a:lnTo>
                    <a:pt x="894" y="164"/>
                  </a:lnTo>
                  <a:lnTo>
                    <a:pt x="906" y="178"/>
                  </a:lnTo>
                  <a:lnTo>
                    <a:pt x="914" y="192"/>
                  </a:lnTo>
                  <a:lnTo>
                    <a:pt x="914" y="192"/>
                  </a:lnTo>
                  <a:lnTo>
                    <a:pt x="918" y="198"/>
                  </a:lnTo>
                  <a:lnTo>
                    <a:pt x="918" y="202"/>
                  </a:lnTo>
                  <a:lnTo>
                    <a:pt x="918" y="214"/>
                  </a:lnTo>
                  <a:lnTo>
                    <a:pt x="914" y="224"/>
                  </a:lnTo>
                  <a:lnTo>
                    <a:pt x="910" y="230"/>
                  </a:lnTo>
                  <a:lnTo>
                    <a:pt x="904" y="232"/>
                  </a:lnTo>
                  <a:lnTo>
                    <a:pt x="904" y="232"/>
                  </a:lnTo>
                  <a:lnTo>
                    <a:pt x="898" y="236"/>
                  </a:lnTo>
                  <a:lnTo>
                    <a:pt x="890" y="2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270">
              <a:extLst>
                <a:ext uri="{FF2B5EF4-FFF2-40B4-BE49-F238E27FC236}">
                  <a16:creationId xmlns:a16="http://schemas.microsoft.com/office/drawing/2014/main" id="{5E2329A4-CADE-4877-9D3D-278B94F443CA}"/>
                </a:ext>
              </a:extLst>
            </p:cNvPr>
            <p:cNvSpPr>
              <a:spLocks/>
            </p:cNvSpPr>
            <p:nvPr/>
          </p:nvSpPr>
          <p:spPr bwMode="auto">
            <a:xfrm>
              <a:off x="14000163" y="2346325"/>
              <a:ext cx="1457325" cy="377825"/>
            </a:xfrm>
            <a:custGeom>
              <a:avLst/>
              <a:gdLst>
                <a:gd name="T0" fmla="*/ 890 w 918"/>
                <a:gd name="T1" fmla="*/ 236 h 238"/>
                <a:gd name="T2" fmla="*/ 876 w 918"/>
                <a:gd name="T3" fmla="*/ 234 h 238"/>
                <a:gd name="T4" fmla="*/ 864 w 918"/>
                <a:gd name="T5" fmla="*/ 222 h 238"/>
                <a:gd name="T6" fmla="*/ 858 w 918"/>
                <a:gd name="T7" fmla="*/ 212 h 238"/>
                <a:gd name="T8" fmla="*/ 834 w 918"/>
                <a:gd name="T9" fmla="*/ 190 h 238"/>
                <a:gd name="T10" fmla="*/ 800 w 918"/>
                <a:gd name="T11" fmla="*/ 164 h 238"/>
                <a:gd name="T12" fmla="*/ 756 w 918"/>
                <a:gd name="T13" fmla="*/ 136 h 238"/>
                <a:gd name="T14" fmla="*/ 700 w 918"/>
                <a:gd name="T15" fmla="*/ 110 h 238"/>
                <a:gd name="T16" fmla="*/ 638 w 918"/>
                <a:gd name="T17" fmla="*/ 88 h 238"/>
                <a:gd name="T18" fmla="*/ 566 w 918"/>
                <a:gd name="T19" fmla="*/ 70 h 238"/>
                <a:gd name="T20" fmla="*/ 486 w 918"/>
                <a:gd name="T21" fmla="*/ 60 h 238"/>
                <a:gd name="T22" fmla="*/ 446 w 918"/>
                <a:gd name="T23" fmla="*/ 60 h 238"/>
                <a:gd name="T24" fmla="*/ 362 w 918"/>
                <a:gd name="T25" fmla="*/ 64 h 238"/>
                <a:gd name="T26" fmla="*/ 288 w 918"/>
                <a:gd name="T27" fmla="*/ 78 h 238"/>
                <a:gd name="T28" fmla="*/ 224 w 918"/>
                <a:gd name="T29" fmla="*/ 100 h 238"/>
                <a:gd name="T30" fmla="*/ 170 w 918"/>
                <a:gd name="T31" fmla="*/ 124 h 238"/>
                <a:gd name="T32" fmla="*/ 128 w 918"/>
                <a:gd name="T33" fmla="*/ 152 h 238"/>
                <a:gd name="T34" fmla="*/ 94 w 918"/>
                <a:gd name="T35" fmla="*/ 180 h 238"/>
                <a:gd name="T36" fmla="*/ 56 w 918"/>
                <a:gd name="T37" fmla="*/ 222 h 238"/>
                <a:gd name="T38" fmla="*/ 52 w 918"/>
                <a:gd name="T39" fmla="*/ 228 h 238"/>
                <a:gd name="T40" fmla="*/ 38 w 918"/>
                <a:gd name="T41" fmla="*/ 236 h 238"/>
                <a:gd name="T42" fmla="*/ 20 w 918"/>
                <a:gd name="T43" fmla="*/ 236 h 238"/>
                <a:gd name="T44" fmla="*/ 16 w 918"/>
                <a:gd name="T45" fmla="*/ 234 h 238"/>
                <a:gd name="T46" fmla="*/ 6 w 918"/>
                <a:gd name="T47" fmla="*/ 226 h 238"/>
                <a:gd name="T48" fmla="*/ 0 w 918"/>
                <a:gd name="T49" fmla="*/ 204 h 238"/>
                <a:gd name="T50" fmla="*/ 4 w 918"/>
                <a:gd name="T51" fmla="*/ 194 h 238"/>
                <a:gd name="T52" fmla="*/ 4 w 918"/>
                <a:gd name="T53" fmla="*/ 192 h 238"/>
                <a:gd name="T54" fmla="*/ 22 w 918"/>
                <a:gd name="T55" fmla="*/ 168 h 238"/>
                <a:gd name="T56" fmla="*/ 50 w 918"/>
                <a:gd name="T57" fmla="*/ 140 h 238"/>
                <a:gd name="T58" fmla="*/ 88 w 918"/>
                <a:gd name="T59" fmla="*/ 108 h 238"/>
                <a:gd name="T60" fmla="*/ 138 w 918"/>
                <a:gd name="T61" fmla="*/ 76 h 238"/>
                <a:gd name="T62" fmla="*/ 198 w 918"/>
                <a:gd name="T63" fmla="*/ 46 h 238"/>
                <a:gd name="T64" fmla="*/ 268 w 918"/>
                <a:gd name="T65" fmla="*/ 22 h 238"/>
                <a:gd name="T66" fmla="*/ 352 w 918"/>
                <a:gd name="T67" fmla="*/ 6 h 238"/>
                <a:gd name="T68" fmla="*/ 446 w 918"/>
                <a:gd name="T69" fmla="*/ 0 h 238"/>
                <a:gd name="T70" fmla="*/ 490 w 918"/>
                <a:gd name="T71" fmla="*/ 2 h 238"/>
                <a:gd name="T72" fmla="*/ 578 w 918"/>
                <a:gd name="T73" fmla="*/ 12 h 238"/>
                <a:gd name="T74" fmla="*/ 656 w 918"/>
                <a:gd name="T75" fmla="*/ 30 h 238"/>
                <a:gd name="T76" fmla="*/ 726 w 918"/>
                <a:gd name="T77" fmla="*/ 56 h 238"/>
                <a:gd name="T78" fmla="*/ 788 w 918"/>
                <a:gd name="T79" fmla="*/ 86 h 238"/>
                <a:gd name="T80" fmla="*/ 838 w 918"/>
                <a:gd name="T81" fmla="*/ 118 h 238"/>
                <a:gd name="T82" fmla="*/ 878 w 918"/>
                <a:gd name="T83" fmla="*/ 150 h 238"/>
                <a:gd name="T84" fmla="*/ 906 w 918"/>
                <a:gd name="T85" fmla="*/ 178 h 238"/>
                <a:gd name="T86" fmla="*/ 914 w 918"/>
                <a:gd name="T87" fmla="*/ 192 h 238"/>
                <a:gd name="T88" fmla="*/ 918 w 918"/>
                <a:gd name="T89" fmla="*/ 202 h 238"/>
                <a:gd name="T90" fmla="*/ 914 w 918"/>
                <a:gd name="T91" fmla="*/ 224 h 238"/>
                <a:gd name="T92" fmla="*/ 904 w 918"/>
                <a:gd name="T93" fmla="*/ 232 h 238"/>
                <a:gd name="T94" fmla="*/ 898 w 918"/>
                <a:gd name="T95" fmla="*/ 23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8" h="238">
                  <a:moveTo>
                    <a:pt x="890" y="236"/>
                  </a:moveTo>
                  <a:lnTo>
                    <a:pt x="890" y="236"/>
                  </a:lnTo>
                  <a:lnTo>
                    <a:pt x="882" y="236"/>
                  </a:lnTo>
                  <a:lnTo>
                    <a:pt x="876" y="234"/>
                  </a:lnTo>
                  <a:lnTo>
                    <a:pt x="870" y="228"/>
                  </a:lnTo>
                  <a:lnTo>
                    <a:pt x="864" y="222"/>
                  </a:lnTo>
                  <a:lnTo>
                    <a:pt x="864" y="222"/>
                  </a:lnTo>
                  <a:lnTo>
                    <a:pt x="858" y="212"/>
                  </a:lnTo>
                  <a:lnTo>
                    <a:pt x="848" y="202"/>
                  </a:lnTo>
                  <a:lnTo>
                    <a:pt x="834" y="190"/>
                  </a:lnTo>
                  <a:lnTo>
                    <a:pt x="818" y="176"/>
                  </a:lnTo>
                  <a:lnTo>
                    <a:pt x="800" y="164"/>
                  </a:lnTo>
                  <a:lnTo>
                    <a:pt x="778" y="150"/>
                  </a:lnTo>
                  <a:lnTo>
                    <a:pt x="756" y="136"/>
                  </a:lnTo>
                  <a:lnTo>
                    <a:pt x="730" y="122"/>
                  </a:lnTo>
                  <a:lnTo>
                    <a:pt x="700" y="110"/>
                  </a:lnTo>
                  <a:lnTo>
                    <a:pt x="670" y="98"/>
                  </a:lnTo>
                  <a:lnTo>
                    <a:pt x="638" y="88"/>
                  </a:lnTo>
                  <a:lnTo>
                    <a:pt x="602" y="78"/>
                  </a:lnTo>
                  <a:lnTo>
                    <a:pt x="566" y="70"/>
                  </a:lnTo>
                  <a:lnTo>
                    <a:pt x="528" y="64"/>
                  </a:lnTo>
                  <a:lnTo>
                    <a:pt x="486" y="60"/>
                  </a:lnTo>
                  <a:lnTo>
                    <a:pt x="446" y="60"/>
                  </a:lnTo>
                  <a:lnTo>
                    <a:pt x="446" y="60"/>
                  </a:lnTo>
                  <a:lnTo>
                    <a:pt x="402" y="60"/>
                  </a:lnTo>
                  <a:lnTo>
                    <a:pt x="362" y="64"/>
                  </a:lnTo>
                  <a:lnTo>
                    <a:pt x="324" y="70"/>
                  </a:lnTo>
                  <a:lnTo>
                    <a:pt x="288" y="78"/>
                  </a:lnTo>
                  <a:lnTo>
                    <a:pt x="254" y="88"/>
                  </a:lnTo>
                  <a:lnTo>
                    <a:pt x="224" y="100"/>
                  </a:lnTo>
                  <a:lnTo>
                    <a:pt x="196" y="112"/>
                  </a:lnTo>
                  <a:lnTo>
                    <a:pt x="170" y="124"/>
                  </a:lnTo>
                  <a:lnTo>
                    <a:pt x="148" y="138"/>
                  </a:lnTo>
                  <a:lnTo>
                    <a:pt x="128" y="152"/>
                  </a:lnTo>
                  <a:lnTo>
                    <a:pt x="110" y="166"/>
                  </a:lnTo>
                  <a:lnTo>
                    <a:pt x="94" y="180"/>
                  </a:lnTo>
                  <a:lnTo>
                    <a:pt x="70" y="204"/>
                  </a:lnTo>
                  <a:lnTo>
                    <a:pt x="56" y="222"/>
                  </a:lnTo>
                  <a:lnTo>
                    <a:pt x="56" y="222"/>
                  </a:lnTo>
                  <a:lnTo>
                    <a:pt x="52" y="228"/>
                  </a:lnTo>
                  <a:lnTo>
                    <a:pt x="48" y="232"/>
                  </a:lnTo>
                  <a:lnTo>
                    <a:pt x="38" y="236"/>
                  </a:lnTo>
                  <a:lnTo>
                    <a:pt x="26" y="238"/>
                  </a:lnTo>
                  <a:lnTo>
                    <a:pt x="20" y="236"/>
                  </a:lnTo>
                  <a:lnTo>
                    <a:pt x="16" y="234"/>
                  </a:lnTo>
                  <a:lnTo>
                    <a:pt x="16" y="234"/>
                  </a:lnTo>
                  <a:lnTo>
                    <a:pt x="10" y="230"/>
                  </a:lnTo>
                  <a:lnTo>
                    <a:pt x="6" y="226"/>
                  </a:lnTo>
                  <a:lnTo>
                    <a:pt x="0" y="216"/>
                  </a:lnTo>
                  <a:lnTo>
                    <a:pt x="0" y="204"/>
                  </a:lnTo>
                  <a:lnTo>
                    <a:pt x="2" y="200"/>
                  </a:lnTo>
                  <a:lnTo>
                    <a:pt x="4" y="194"/>
                  </a:lnTo>
                  <a:lnTo>
                    <a:pt x="4" y="194"/>
                  </a:lnTo>
                  <a:lnTo>
                    <a:pt x="4" y="192"/>
                  </a:lnTo>
                  <a:lnTo>
                    <a:pt x="4" y="192"/>
                  </a:lnTo>
                  <a:lnTo>
                    <a:pt x="22" y="168"/>
                  </a:lnTo>
                  <a:lnTo>
                    <a:pt x="34" y="154"/>
                  </a:lnTo>
                  <a:lnTo>
                    <a:pt x="50" y="140"/>
                  </a:lnTo>
                  <a:lnTo>
                    <a:pt x="68" y="124"/>
                  </a:lnTo>
                  <a:lnTo>
                    <a:pt x="88" y="108"/>
                  </a:lnTo>
                  <a:lnTo>
                    <a:pt x="112" y="92"/>
                  </a:lnTo>
                  <a:lnTo>
                    <a:pt x="138" y="76"/>
                  </a:lnTo>
                  <a:lnTo>
                    <a:pt x="166" y="60"/>
                  </a:lnTo>
                  <a:lnTo>
                    <a:pt x="198" y="46"/>
                  </a:lnTo>
                  <a:lnTo>
                    <a:pt x="232" y="34"/>
                  </a:lnTo>
                  <a:lnTo>
                    <a:pt x="268" y="22"/>
                  </a:lnTo>
                  <a:lnTo>
                    <a:pt x="308" y="12"/>
                  </a:lnTo>
                  <a:lnTo>
                    <a:pt x="352" y="6"/>
                  </a:lnTo>
                  <a:lnTo>
                    <a:pt x="396" y="2"/>
                  </a:lnTo>
                  <a:lnTo>
                    <a:pt x="446" y="0"/>
                  </a:lnTo>
                  <a:lnTo>
                    <a:pt x="446" y="0"/>
                  </a:lnTo>
                  <a:lnTo>
                    <a:pt x="490" y="2"/>
                  </a:lnTo>
                  <a:lnTo>
                    <a:pt x="536" y="6"/>
                  </a:lnTo>
                  <a:lnTo>
                    <a:pt x="578" y="12"/>
                  </a:lnTo>
                  <a:lnTo>
                    <a:pt x="618" y="20"/>
                  </a:lnTo>
                  <a:lnTo>
                    <a:pt x="656" y="30"/>
                  </a:lnTo>
                  <a:lnTo>
                    <a:pt x="692" y="42"/>
                  </a:lnTo>
                  <a:lnTo>
                    <a:pt x="726" y="56"/>
                  </a:lnTo>
                  <a:lnTo>
                    <a:pt x="758" y="70"/>
                  </a:lnTo>
                  <a:lnTo>
                    <a:pt x="788" y="86"/>
                  </a:lnTo>
                  <a:lnTo>
                    <a:pt x="814" y="102"/>
                  </a:lnTo>
                  <a:lnTo>
                    <a:pt x="838" y="118"/>
                  </a:lnTo>
                  <a:lnTo>
                    <a:pt x="860" y="134"/>
                  </a:lnTo>
                  <a:lnTo>
                    <a:pt x="878" y="150"/>
                  </a:lnTo>
                  <a:lnTo>
                    <a:pt x="894" y="164"/>
                  </a:lnTo>
                  <a:lnTo>
                    <a:pt x="906" y="178"/>
                  </a:lnTo>
                  <a:lnTo>
                    <a:pt x="914" y="192"/>
                  </a:lnTo>
                  <a:lnTo>
                    <a:pt x="914" y="192"/>
                  </a:lnTo>
                  <a:lnTo>
                    <a:pt x="918" y="198"/>
                  </a:lnTo>
                  <a:lnTo>
                    <a:pt x="918" y="202"/>
                  </a:lnTo>
                  <a:lnTo>
                    <a:pt x="918" y="214"/>
                  </a:lnTo>
                  <a:lnTo>
                    <a:pt x="914" y="224"/>
                  </a:lnTo>
                  <a:lnTo>
                    <a:pt x="910" y="230"/>
                  </a:lnTo>
                  <a:lnTo>
                    <a:pt x="904" y="232"/>
                  </a:lnTo>
                  <a:lnTo>
                    <a:pt x="904" y="232"/>
                  </a:lnTo>
                  <a:lnTo>
                    <a:pt x="898" y="236"/>
                  </a:lnTo>
                  <a:lnTo>
                    <a:pt x="890" y="2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271">
              <a:extLst>
                <a:ext uri="{FF2B5EF4-FFF2-40B4-BE49-F238E27FC236}">
                  <a16:creationId xmlns:a16="http://schemas.microsoft.com/office/drawing/2014/main" id="{3751576E-0047-4258-B766-570487402FA9}"/>
                </a:ext>
              </a:extLst>
            </p:cNvPr>
            <p:cNvSpPr>
              <a:spLocks/>
            </p:cNvSpPr>
            <p:nvPr/>
          </p:nvSpPr>
          <p:spPr bwMode="auto">
            <a:xfrm>
              <a:off x="14235113" y="2155825"/>
              <a:ext cx="1038225" cy="190500"/>
            </a:xfrm>
            <a:custGeom>
              <a:avLst/>
              <a:gdLst>
                <a:gd name="T0" fmla="*/ 624 w 654"/>
                <a:gd name="T1" fmla="*/ 120 h 120"/>
                <a:gd name="T2" fmla="*/ 614 w 654"/>
                <a:gd name="T3" fmla="*/ 118 h 120"/>
                <a:gd name="T4" fmla="*/ 578 w 654"/>
                <a:gd name="T5" fmla="*/ 106 h 120"/>
                <a:gd name="T6" fmla="*/ 510 w 654"/>
                <a:gd name="T7" fmla="*/ 84 h 120"/>
                <a:gd name="T8" fmla="*/ 440 w 654"/>
                <a:gd name="T9" fmla="*/ 68 h 120"/>
                <a:gd name="T10" fmla="*/ 368 w 654"/>
                <a:gd name="T11" fmla="*/ 60 h 120"/>
                <a:gd name="T12" fmla="*/ 298 w 654"/>
                <a:gd name="T13" fmla="*/ 60 h 120"/>
                <a:gd name="T14" fmla="*/ 248 w 654"/>
                <a:gd name="T15" fmla="*/ 62 h 120"/>
                <a:gd name="T16" fmla="*/ 176 w 654"/>
                <a:gd name="T17" fmla="*/ 66 h 120"/>
                <a:gd name="T18" fmla="*/ 130 w 654"/>
                <a:gd name="T19" fmla="*/ 78 h 120"/>
                <a:gd name="T20" fmla="*/ 78 w 654"/>
                <a:gd name="T21" fmla="*/ 100 h 120"/>
                <a:gd name="T22" fmla="*/ 42 w 654"/>
                <a:gd name="T23" fmla="*/ 118 h 120"/>
                <a:gd name="T24" fmla="*/ 36 w 654"/>
                <a:gd name="T25" fmla="*/ 120 h 120"/>
                <a:gd name="T26" fmla="*/ 20 w 654"/>
                <a:gd name="T27" fmla="*/ 118 h 120"/>
                <a:gd name="T28" fmla="*/ 6 w 654"/>
                <a:gd name="T29" fmla="*/ 108 h 120"/>
                <a:gd name="T30" fmla="*/ 4 w 654"/>
                <a:gd name="T31" fmla="*/ 102 h 120"/>
                <a:gd name="T32" fmla="*/ 0 w 654"/>
                <a:gd name="T33" fmla="*/ 90 h 120"/>
                <a:gd name="T34" fmla="*/ 8 w 654"/>
                <a:gd name="T35" fmla="*/ 70 h 120"/>
                <a:gd name="T36" fmla="*/ 18 w 654"/>
                <a:gd name="T37" fmla="*/ 64 h 120"/>
                <a:gd name="T38" fmla="*/ 52 w 654"/>
                <a:gd name="T39" fmla="*/ 46 h 120"/>
                <a:gd name="T40" fmla="*/ 88 w 654"/>
                <a:gd name="T41" fmla="*/ 28 h 120"/>
                <a:gd name="T42" fmla="*/ 134 w 654"/>
                <a:gd name="T43" fmla="*/ 14 h 120"/>
                <a:gd name="T44" fmla="*/ 200 w 654"/>
                <a:gd name="T45" fmla="*/ 4 h 120"/>
                <a:gd name="T46" fmla="*/ 298 w 654"/>
                <a:gd name="T47" fmla="*/ 2 h 120"/>
                <a:gd name="T48" fmla="*/ 336 w 654"/>
                <a:gd name="T49" fmla="*/ 0 h 120"/>
                <a:gd name="T50" fmla="*/ 412 w 654"/>
                <a:gd name="T51" fmla="*/ 4 h 120"/>
                <a:gd name="T52" fmla="*/ 488 w 654"/>
                <a:gd name="T53" fmla="*/ 16 h 120"/>
                <a:gd name="T54" fmla="*/ 562 w 654"/>
                <a:gd name="T55" fmla="*/ 36 h 120"/>
                <a:gd name="T56" fmla="*/ 600 w 654"/>
                <a:gd name="T57" fmla="*/ 50 h 120"/>
                <a:gd name="T58" fmla="*/ 632 w 654"/>
                <a:gd name="T59" fmla="*/ 62 h 120"/>
                <a:gd name="T60" fmla="*/ 642 w 654"/>
                <a:gd name="T61" fmla="*/ 68 h 120"/>
                <a:gd name="T62" fmla="*/ 654 w 654"/>
                <a:gd name="T63" fmla="*/ 88 h 120"/>
                <a:gd name="T64" fmla="*/ 652 w 654"/>
                <a:gd name="T65" fmla="*/ 100 h 120"/>
                <a:gd name="T66" fmla="*/ 648 w 654"/>
                <a:gd name="T67" fmla="*/ 108 h 120"/>
                <a:gd name="T68" fmla="*/ 632 w 654"/>
                <a:gd name="T69" fmla="*/ 1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4" h="120">
                  <a:moveTo>
                    <a:pt x="624" y="120"/>
                  </a:moveTo>
                  <a:lnTo>
                    <a:pt x="624" y="120"/>
                  </a:lnTo>
                  <a:lnTo>
                    <a:pt x="614" y="118"/>
                  </a:lnTo>
                  <a:lnTo>
                    <a:pt x="614" y="118"/>
                  </a:lnTo>
                  <a:lnTo>
                    <a:pt x="578" y="106"/>
                  </a:lnTo>
                  <a:lnTo>
                    <a:pt x="578" y="106"/>
                  </a:lnTo>
                  <a:lnTo>
                    <a:pt x="544" y="94"/>
                  </a:lnTo>
                  <a:lnTo>
                    <a:pt x="510" y="84"/>
                  </a:lnTo>
                  <a:lnTo>
                    <a:pt x="476" y="74"/>
                  </a:lnTo>
                  <a:lnTo>
                    <a:pt x="440" y="68"/>
                  </a:lnTo>
                  <a:lnTo>
                    <a:pt x="404" y="64"/>
                  </a:lnTo>
                  <a:lnTo>
                    <a:pt x="368" y="60"/>
                  </a:lnTo>
                  <a:lnTo>
                    <a:pt x="334" y="60"/>
                  </a:lnTo>
                  <a:lnTo>
                    <a:pt x="298" y="60"/>
                  </a:lnTo>
                  <a:lnTo>
                    <a:pt x="298" y="60"/>
                  </a:lnTo>
                  <a:lnTo>
                    <a:pt x="248" y="62"/>
                  </a:lnTo>
                  <a:lnTo>
                    <a:pt x="210" y="64"/>
                  </a:lnTo>
                  <a:lnTo>
                    <a:pt x="176" y="66"/>
                  </a:lnTo>
                  <a:lnTo>
                    <a:pt x="150" y="72"/>
                  </a:lnTo>
                  <a:lnTo>
                    <a:pt x="130" y="78"/>
                  </a:lnTo>
                  <a:lnTo>
                    <a:pt x="112" y="84"/>
                  </a:lnTo>
                  <a:lnTo>
                    <a:pt x="78" y="100"/>
                  </a:lnTo>
                  <a:lnTo>
                    <a:pt x="78" y="100"/>
                  </a:lnTo>
                  <a:lnTo>
                    <a:pt x="42" y="118"/>
                  </a:lnTo>
                  <a:lnTo>
                    <a:pt x="42" y="118"/>
                  </a:lnTo>
                  <a:lnTo>
                    <a:pt x="36" y="120"/>
                  </a:lnTo>
                  <a:lnTo>
                    <a:pt x="30" y="120"/>
                  </a:lnTo>
                  <a:lnTo>
                    <a:pt x="20" y="118"/>
                  </a:lnTo>
                  <a:lnTo>
                    <a:pt x="10" y="112"/>
                  </a:lnTo>
                  <a:lnTo>
                    <a:pt x="6" y="108"/>
                  </a:lnTo>
                  <a:lnTo>
                    <a:pt x="4" y="102"/>
                  </a:lnTo>
                  <a:lnTo>
                    <a:pt x="4" y="102"/>
                  </a:lnTo>
                  <a:lnTo>
                    <a:pt x="2" y="96"/>
                  </a:lnTo>
                  <a:lnTo>
                    <a:pt x="0" y="90"/>
                  </a:lnTo>
                  <a:lnTo>
                    <a:pt x="2" y="80"/>
                  </a:lnTo>
                  <a:lnTo>
                    <a:pt x="8" y="70"/>
                  </a:lnTo>
                  <a:lnTo>
                    <a:pt x="14" y="66"/>
                  </a:lnTo>
                  <a:lnTo>
                    <a:pt x="18" y="64"/>
                  </a:lnTo>
                  <a:lnTo>
                    <a:pt x="18" y="64"/>
                  </a:lnTo>
                  <a:lnTo>
                    <a:pt x="52" y="46"/>
                  </a:lnTo>
                  <a:lnTo>
                    <a:pt x="52" y="46"/>
                  </a:lnTo>
                  <a:lnTo>
                    <a:pt x="88" y="28"/>
                  </a:lnTo>
                  <a:lnTo>
                    <a:pt x="110" y="22"/>
                  </a:lnTo>
                  <a:lnTo>
                    <a:pt x="134" y="14"/>
                  </a:lnTo>
                  <a:lnTo>
                    <a:pt x="164" y="8"/>
                  </a:lnTo>
                  <a:lnTo>
                    <a:pt x="200" y="4"/>
                  </a:lnTo>
                  <a:lnTo>
                    <a:pt x="244" y="2"/>
                  </a:lnTo>
                  <a:lnTo>
                    <a:pt x="298" y="2"/>
                  </a:lnTo>
                  <a:lnTo>
                    <a:pt x="298" y="2"/>
                  </a:lnTo>
                  <a:lnTo>
                    <a:pt x="336" y="0"/>
                  </a:lnTo>
                  <a:lnTo>
                    <a:pt x="374" y="2"/>
                  </a:lnTo>
                  <a:lnTo>
                    <a:pt x="412" y="4"/>
                  </a:lnTo>
                  <a:lnTo>
                    <a:pt x="450" y="10"/>
                  </a:lnTo>
                  <a:lnTo>
                    <a:pt x="488" y="16"/>
                  </a:lnTo>
                  <a:lnTo>
                    <a:pt x="526" y="26"/>
                  </a:lnTo>
                  <a:lnTo>
                    <a:pt x="562" y="36"/>
                  </a:lnTo>
                  <a:lnTo>
                    <a:pt x="600" y="50"/>
                  </a:lnTo>
                  <a:lnTo>
                    <a:pt x="600" y="50"/>
                  </a:lnTo>
                  <a:lnTo>
                    <a:pt x="632" y="62"/>
                  </a:lnTo>
                  <a:lnTo>
                    <a:pt x="632" y="62"/>
                  </a:lnTo>
                  <a:lnTo>
                    <a:pt x="638" y="64"/>
                  </a:lnTo>
                  <a:lnTo>
                    <a:pt x="642" y="68"/>
                  </a:lnTo>
                  <a:lnTo>
                    <a:pt x="650" y="76"/>
                  </a:lnTo>
                  <a:lnTo>
                    <a:pt x="654" y="88"/>
                  </a:lnTo>
                  <a:lnTo>
                    <a:pt x="654" y="94"/>
                  </a:lnTo>
                  <a:lnTo>
                    <a:pt x="652" y="100"/>
                  </a:lnTo>
                  <a:lnTo>
                    <a:pt x="652" y="100"/>
                  </a:lnTo>
                  <a:lnTo>
                    <a:pt x="648" y="108"/>
                  </a:lnTo>
                  <a:lnTo>
                    <a:pt x="640" y="114"/>
                  </a:lnTo>
                  <a:lnTo>
                    <a:pt x="632" y="118"/>
                  </a:lnTo>
                  <a:lnTo>
                    <a:pt x="624"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72">
              <a:extLst>
                <a:ext uri="{FF2B5EF4-FFF2-40B4-BE49-F238E27FC236}">
                  <a16:creationId xmlns:a16="http://schemas.microsoft.com/office/drawing/2014/main" id="{B98CF0C2-6899-4FDE-AF0D-5FF727A33688}"/>
                </a:ext>
              </a:extLst>
            </p:cNvPr>
            <p:cNvSpPr>
              <a:spLocks/>
            </p:cNvSpPr>
            <p:nvPr/>
          </p:nvSpPr>
          <p:spPr bwMode="auto">
            <a:xfrm>
              <a:off x="14235113" y="2155825"/>
              <a:ext cx="1038225" cy="190500"/>
            </a:xfrm>
            <a:custGeom>
              <a:avLst/>
              <a:gdLst>
                <a:gd name="T0" fmla="*/ 624 w 654"/>
                <a:gd name="T1" fmla="*/ 120 h 120"/>
                <a:gd name="T2" fmla="*/ 614 w 654"/>
                <a:gd name="T3" fmla="*/ 118 h 120"/>
                <a:gd name="T4" fmla="*/ 578 w 654"/>
                <a:gd name="T5" fmla="*/ 106 h 120"/>
                <a:gd name="T6" fmla="*/ 510 w 654"/>
                <a:gd name="T7" fmla="*/ 84 h 120"/>
                <a:gd name="T8" fmla="*/ 440 w 654"/>
                <a:gd name="T9" fmla="*/ 68 h 120"/>
                <a:gd name="T10" fmla="*/ 368 w 654"/>
                <a:gd name="T11" fmla="*/ 60 h 120"/>
                <a:gd name="T12" fmla="*/ 298 w 654"/>
                <a:gd name="T13" fmla="*/ 60 h 120"/>
                <a:gd name="T14" fmla="*/ 248 w 654"/>
                <a:gd name="T15" fmla="*/ 62 h 120"/>
                <a:gd name="T16" fmla="*/ 176 w 654"/>
                <a:gd name="T17" fmla="*/ 66 h 120"/>
                <a:gd name="T18" fmla="*/ 130 w 654"/>
                <a:gd name="T19" fmla="*/ 78 h 120"/>
                <a:gd name="T20" fmla="*/ 78 w 654"/>
                <a:gd name="T21" fmla="*/ 100 h 120"/>
                <a:gd name="T22" fmla="*/ 42 w 654"/>
                <a:gd name="T23" fmla="*/ 118 h 120"/>
                <a:gd name="T24" fmla="*/ 36 w 654"/>
                <a:gd name="T25" fmla="*/ 120 h 120"/>
                <a:gd name="T26" fmla="*/ 20 w 654"/>
                <a:gd name="T27" fmla="*/ 118 h 120"/>
                <a:gd name="T28" fmla="*/ 6 w 654"/>
                <a:gd name="T29" fmla="*/ 108 h 120"/>
                <a:gd name="T30" fmla="*/ 4 w 654"/>
                <a:gd name="T31" fmla="*/ 102 h 120"/>
                <a:gd name="T32" fmla="*/ 0 w 654"/>
                <a:gd name="T33" fmla="*/ 90 h 120"/>
                <a:gd name="T34" fmla="*/ 8 w 654"/>
                <a:gd name="T35" fmla="*/ 70 h 120"/>
                <a:gd name="T36" fmla="*/ 18 w 654"/>
                <a:gd name="T37" fmla="*/ 64 h 120"/>
                <a:gd name="T38" fmla="*/ 52 w 654"/>
                <a:gd name="T39" fmla="*/ 46 h 120"/>
                <a:gd name="T40" fmla="*/ 88 w 654"/>
                <a:gd name="T41" fmla="*/ 28 h 120"/>
                <a:gd name="T42" fmla="*/ 134 w 654"/>
                <a:gd name="T43" fmla="*/ 14 h 120"/>
                <a:gd name="T44" fmla="*/ 200 w 654"/>
                <a:gd name="T45" fmla="*/ 4 h 120"/>
                <a:gd name="T46" fmla="*/ 298 w 654"/>
                <a:gd name="T47" fmla="*/ 2 h 120"/>
                <a:gd name="T48" fmla="*/ 336 w 654"/>
                <a:gd name="T49" fmla="*/ 0 h 120"/>
                <a:gd name="T50" fmla="*/ 412 w 654"/>
                <a:gd name="T51" fmla="*/ 4 h 120"/>
                <a:gd name="T52" fmla="*/ 488 w 654"/>
                <a:gd name="T53" fmla="*/ 16 h 120"/>
                <a:gd name="T54" fmla="*/ 562 w 654"/>
                <a:gd name="T55" fmla="*/ 36 h 120"/>
                <a:gd name="T56" fmla="*/ 600 w 654"/>
                <a:gd name="T57" fmla="*/ 50 h 120"/>
                <a:gd name="T58" fmla="*/ 632 w 654"/>
                <a:gd name="T59" fmla="*/ 62 h 120"/>
                <a:gd name="T60" fmla="*/ 642 w 654"/>
                <a:gd name="T61" fmla="*/ 68 h 120"/>
                <a:gd name="T62" fmla="*/ 654 w 654"/>
                <a:gd name="T63" fmla="*/ 88 h 120"/>
                <a:gd name="T64" fmla="*/ 652 w 654"/>
                <a:gd name="T65" fmla="*/ 100 h 120"/>
                <a:gd name="T66" fmla="*/ 648 w 654"/>
                <a:gd name="T67" fmla="*/ 108 h 120"/>
                <a:gd name="T68" fmla="*/ 632 w 654"/>
                <a:gd name="T69" fmla="*/ 1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4" h="120">
                  <a:moveTo>
                    <a:pt x="624" y="120"/>
                  </a:moveTo>
                  <a:lnTo>
                    <a:pt x="624" y="120"/>
                  </a:lnTo>
                  <a:lnTo>
                    <a:pt x="614" y="118"/>
                  </a:lnTo>
                  <a:lnTo>
                    <a:pt x="614" y="118"/>
                  </a:lnTo>
                  <a:lnTo>
                    <a:pt x="578" y="106"/>
                  </a:lnTo>
                  <a:lnTo>
                    <a:pt x="578" y="106"/>
                  </a:lnTo>
                  <a:lnTo>
                    <a:pt x="544" y="94"/>
                  </a:lnTo>
                  <a:lnTo>
                    <a:pt x="510" y="84"/>
                  </a:lnTo>
                  <a:lnTo>
                    <a:pt x="476" y="74"/>
                  </a:lnTo>
                  <a:lnTo>
                    <a:pt x="440" y="68"/>
                  </a:lnTo>
                  <a:lnTo>
                    <a:pt x="404" y="64"/>
                  </a:lnTo>
                  <a:lnTo>
                    <a:pt x="368" y="60"/>
                  </a:lnTo>
                  <a:lnTo>
                    <a:pt x="334" y="60"/>
                  </a:lnTo>
                  <a:lnTo>
                    <a:pt x="298" y="60"/>
                  </a:lnTo>
                  <a:lnTo>
                    <a:pt x="298" y="60"/>
                  </a:lnTo>
                  <a:lnTo>
                    <a:pt x="248" y="62"/>
                  </a:lnTo>
                  <a:lnTo>
                    <a:pt x="210" y="64"/>
                  </a:lnTo>
                  <a:lnTo>
                    <a:pt x="176" y="66"/>
                  </a:lnTo>
                  <a:lnTo>
                    <a:pt x="150" y="72"/>
                  </a:lnTo>
                  <a:lnTo>
                    <a:pt x="130" y="78"/>
                  </a:lnTo>
                  <a:lnTo>
                    <a:pt x="112" y="84"/>
                  </a:lnTo>
                  <a:lnTo>
                    <a:pt x="78" y="100"/>
                  </a:lnTo>
                  <a:lnTo>
                    <a:pt x="78" y="100"/>
                  </a:lnTo>
                  <a:lnTo>
                    <a:pt x="42" y="118"/>
                  </a:lnTo>
                  <a:lnTo>
                    <a:pt x="42" y="118"/>
                  </a:lnTo>
                  <a:lnTo>
                    <a:pt x="36" y="120"/>
                  </a:lnTo>
                  <a:lnTo>
                    <a:pt x="30" y="120"/>
                  </a:lnTo>
                  <a:lnTo>
                    <a:pt x="20" y="118"/>
                  </a:lnTo>
                  <a:lnTo>
                    <a:pt x="10" y="112"/>
                  </a:lnTo>
                  <a:lnTo>
                    <a:pt x="6" y="108"/>
                  </a:lnTo>
                  <a:lnTo>
                    <a:pt x="4" y="102"/>
                  </a:lnTo>
                  <a:lnTo>
                    <a:pt x="4" y="102"/>
                  </a:lnTo>
                  <a:lnTo>
                    <a:pt x="2" y="96"/>
                  </a:lnTo>
                  <a:lnTo>
                    <a:pt x="0" y="90"/>
                  </a:lnTo>
                  <a:lnTo>
                    <a:pt x="2" y="80"/>
                  </a:lnTo>
                  <a:lnTo>
                    <a:pt x="8" y="70"/>
                  </a:lnTo>
                  <a:lnTo>
                    <a:pt x="14" y="66"/>
                  </a:lnTo>
                  <a:lnTo>
                    <a:pt x="18" y="64"/>
                  </a:lnTo>
                  <a:lnTo>
                    <a:pt x="18" y="64"/>
                  </a:lnTo>
                  <a:lnTo>
                    <a:pt x="52" y="46"/>
                  </a:lnTo>
                  <a:lnTo>
                    <a:pt x="52" y="46"/>
                  </a:lnTo>
                  <a:lnTo>
                    <a:pt x="88" y="28"/>
                  </a:lnTo>
                  <a:lnTo>
                    <a:pt x="110" y="22"/>
                  </a:lnTo>
                  <a:lnTo>
                    <a:pt x="134" y="14"/>
                  </a:lnTo>
                  <a:lnTo>
                    <a:pt x="164" y="8"/>
                  </a:lnTo>
                  <a:lnTo>
                    <a:pt x="200" y="4"/>
                  </a:lnTo>
                  <a:lnTo>
                    <a:pt x="244" y="2"/>
                  </a:lnTo>
                  <a:lnTo>
                    <a:pt x="298" y="2"/>
                  </a:lnTo>
                  <a:lnTo>
                    <a:pt x="298" y="2"/>
                  </a:lnTo>
                  <a:lnTo>
                    <a:pt x="336" y="0"/>
                  </a:lnTo>
                  <a:lnTo>
                    <a:pt x="374" y="2"/>
                  </a:lnTo>
                  <a:lnTo>
                    <a:pt x="412" y="4"/>
                  </a:lnTo>
                  <a:lnTo>
                    <a:pt x="450" y="10"/>
                  </a:lnTo>
                  <a:lnTo>
                    <a:pt x="488" y="16"/>
                  </a:lnTo>
                  <a:lnTo>
                    <a:pt x="526" y="26"/>
                  </a:lnTo>
                  <a:lnTo>
                    <a:pt x="562" y="36"/>
                  </a:lnTo>
                  <a:lnTo>
                    <a:pt x="600" y="50"/>
                  </a:lnTo>
                  <a:lnTo>
                    <a:pt x="600" y="50"/>
                  </a:lnTo>
                  <a:lnTo>
                    <a:pt x="632" y="62"/>
                  </a:lnTo>
                  <a:lnTo>
                    <a:pt x="632" y="62"/>
                  </a:lnTo>
                  <a:lnTo>
                    <a:pt x="638" y="64"/>
                  </a:lnTo>
                  <a:lnTo>
                    <a:pt x="642" y="68"/>
                  </a:lnTo>
                  <a:lnTo>
                    <a:pt x="650" y="76"/>
                  </a:lnTo>
                  <a:lnTo>
                    <a:pt x="654" y="88"/>
                  </a:lnTo>
                  <a:lnTo>
                    <a:pt x="654" y="94"/>
                  </a:lnTo>
                  <a:lnTo>
                    <a:pt x="652" y="100"/>
                  </a:lnTo>
                  <a:lnTo>
                    <a:pt x="652" y="100"/>
                  </a:lnTo>
                  <a:lnTo>
                    <a:pt x="648" y="108"/>
                  </a:lnTo>
                  <a:lnTo>
                    <a:pt x="640" y="114"/>
                  </a:lnTo>
                  <a:lnTo>
                    <a:pt x="632" y="118"/>
                  </a:lnTo>
                  <a:lnTo>
                    <a:pt x="624" y="12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273">
              <a:extLst>
                <a:ext uri="{FF2B5EF4-FFF2-40B4-BE49-F238E27FC236}">
                  <a16:creationId xmlns:a16="http://schemas.microsoft.com/office/drawing/2014/main" id="{7E4F2102-7427-4609-9903-CDA52E6F2FFB}"/>
                </a:ext>
              </a:extLst>
            </p:cNvPr>
            <p:cNvSpPr>
              <a:spLocks/>
            </p:cNvSpPr>
            <p:nvPr/>
          </p:nvSpPr>
          <p:spPr bwMode="auto">
            <a:xfrm>
              <a:off x="15460663" y="2724150"/>
              <a:ext cx="187325" cy="279400"/>
            </a:xfrm>
            <a:custGeom>
              <a:avLst/>
              <a:gdLst>
                <a:gd name="T0" fmla="*/ 88 w 118"/>
                <a:gd name="T1" fmla="*/ 176 h 176"/>
                <a:gd name="T2" fmla="*/ 88 w 118"/>
                <a:gd name="T3" fmla="*/ 176 h 176"/>
                <a:gd name="T4" fmla="*/ 78 w 118"/>
                <a:gd name="T5" fmla="*/ 176 h 176"/>
                <a:gd name="T6" fmla="*/ 70 w 118"/>
                <a:gd name="T7" fmla="*/ 172 h 176"/>
                <a:gd name="T8" fmla="*/ 64 w 118"/>
                <a:gd name="T9" fmla="*/ 164 h 176"/>
                <a:gd name="T10" fmla="*/ 60 w 118"/>
                <a:gd name="T11" fmla="*/ 156 h 176"/>
                <a:gd name="T12" fmla="*/ 60 w 118"/>
                <a:gd name="T13" fmla="*/ 156 h 176"/>
                <a:gd name="T14" fmla="*/ 48 w 118"/>
                <a:gd name="T15" fmla="*/ 128 h 176"/>
                <a:gd name="T16" fmla="*/ 34 w 118"/>
                <a:gd name="T17" fmla="*/ 98 h 176"/>
                <a:gd name="T18" fmla="*/ 20 w 118"/>
                <a:gd name="T19" fmla="*/ 72 h 176"/>
                <a:gd name="T20" fmla="*/ 4 w 118"/>
                <a:gd name="T21" fmla="*/ 44 h 176"/>
                <a:gd name="T22" fmla="*/ 4 w 118"/>
                <a:gd name="T23" fmla="*/ 44 h 176"/>
                <a:gd name="T24" fmla="*/ 2 w 118"/>
                <a:gd name="T25" fmla="*/ 38 h 176"/>
                <a:gd name="T26" fmla="*/ 0 w 118"/>
                <a:gd name="T27" fmla="*/ 34 h 176"/>
                <a:gd name="T28" fmla="*/ 0 w 118"/>
                <a:gd name="T29" fmla="*/ 22 h 176"/>
                <a:gd name="T30" fmla="*/ 4 w 118"/>
                <a:gd name="T31" fmla="*/ 12 h 176"/>
                <a:gd name="T32" fmla="*/ 8 w 118"/>
                <a:gd name="T33" fmla="*/ 6 h 176"/>
                <a:gd name="T34" fmla="*/ 14 w 118"/>
                <a:gd name="T35" fmla="*/ 4 h 176"/>
                <a:gd name="T36" fmla="*/ 14 w 118"/>
                <a:gd name="T37" fmla="*/ 4 h 176"/>
                <a:gd name="T38" fmla="*/ 18 w 118"/>
                <a:gd name="T39" fmla="*/ 0 h 176"/>
                <a:gd name="T40" fmla="*/ 24 w 118"/>
                <a:gd name="T41" fmla="*/ 0 h 176"/>
                <a:gd name="T42" fmla="*/ 36 w 118"/>
                <a:gd name="T43" fmla="*/ 0 h 176"/>
                <a:gd name="T44" fmla="*/ 46 w 118"/>
                <a:gd name="T45" fmla="*/ 4 h 176"/>
                <a:gd name="T46" fmla="*/ 50 w 118"/>
                <a:gd name="T47" fmla="*/ 8 h 176"/>
                <a:gd name="T48" fmla="*/ 54 w 118"/>
                <a:gd name="T49" fmla="*/ 14 h 176"/>
                <a:gd name="T50" fmla="*/ 54 w 118"/>
                <a:gd name="T51" fmla="*/ 14 h 176"/>
                <a:gd name="T52" fmla="*/ 72 w 118"/>
                <a:gd name="T53" fmla="*/ 44 h 176"/>
                <a:gd name="T54" fmla="*/ 88 w 118"/>
                <a:gd name="T55" fmla="*/ 74 h 176"/>
                <a:gd name="T56" fmla="*/ 104 w 118"/>
                <a:gd name="T57" fmla="*/ 106 h 176"/>
                <a:gd name="T58" fmla="*/ 116 w 118"/>
                <a:gd name="T59" fmla="*/ 138 h 176"/>
                <a:gd name="T60" fmla="*/ 116 w 118"/>
                <a:gd name="T61" fmla="*/ 138 h 176"/>
                <a:gd name="T62" fmla="*/ 118 w 118"/>
                <a:gd name="T63" fmla="*/ 144 h 176"/>
                <a:gd name="T64" fmla="*/ 118 w 118"/>
                <a:gd name="T65" fmla="*/ 150 h 176"/>
                <a:gd name="T66" fmla="*/ 114 w 118"/>
                <a:gd name="T67" fmla="*/ 160 h 176"/>
                <a:gd name="T68" fmla="*/ 108 w 118"/>
                <a:gd name="T69" fmla="*/ 170 h 176"/>
                <a:gd name="T70" fmla="*/ 102 w 118"/>
                <a:gd name="T71" fmla="*/ 172 h 176"/>
                <a:gd name="T72" fmla="*/ 98 w 118"/>
                <a:gd name="T73" fmla="*/ 176 h 176"/>
                <a:gd name="T74" fmla="*/ 98 w 118"/>
                <a:gd name="T75" fmla="*/ 176 h 176"/>
                <a:gd name="T76" fmla="*/ 88 w 118"/>
                <a:gd name="T7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 h="176">
                  <a:moveTo>
                    <a:pt x="88" y="176"/>
                  </a:moveTo>
                  <a:lnTo>
                    <a:pt x="88" y="176"/>
                  </a:lnTo>
                  <a:lnTo>
                    <a:pt x="78" y="176"/>
                  </a:lnTo>
                  <a:lnTo>
                    <a:pt x="70" y="172"/>
                  </a:lnTo>
                  <a:lnTo>
                    <a:pt x="64" y="164"/>
                  </a:lnTo>
                  <a:lnTo>
                    <a:pt x="60" y="156"/>
                  </a:lnTo>
                  <a:lnTo>
                    <a:pt x="60" y="156"/>
                  </a:lnTo>
                  <a:lnTo>
                    <a:pt x="48" y="128"/>
                  </a:lnTo>
                  <a:lnTo>
                    <a:pt x="34" y="98"/>
                  </a:lnTo>
                  <a:lnTo>
                    <a:pt x="20" y="72"/>
                  </a:lnTo>
                  <a:lnTo>
                    <a:pt x="4" y="44"/>
                  </a:lnTo>
                  <a:lnTo>
                    <a:pt x="4" y="44"/>
                  </a:lnTo>
                  <a:lnTo>
                    <a:pt x="2" y="38"/>
                  </a:lnTo>
                  <a:lnTo>
                    <a:pt x="0" y="34"/>
                  </a:lnTo>
                  <a:lnTo>
                    <a:pt x="0" y="22"/>
                  </a:lnTo>
                  <a:lnTo>
                    <a:pt x="4" y="12"/>
                  </a:lnTo>
                  <a:lnTo>
                    <a:pt x="8" y="6"/>
                  </a:lnTo>
                  <a:lnTo>
                    <a:pt x="14" y="4"/>
                  </a:lnTo>
                  <a:lnTo>
                    <a:pt x="14" y="4"/>
                  </a:lnTo>
                  <a:lnTo>
                    <a:pt x="18" y="0"/>
                  </a:lnTo>
                  <a:lnTo>
                    <a:pt x="24" y="0"/>
                  </a:lnTo>
                  <a:lnTo>
                    <a:pt x="36" y="0"/>
                  </a:lnTo>
                  <a:lnTo>
                    <a:pt x="46" y="4"/>
                  </a:lnTo>
                  <a:lnTo>
                    <a:pt x="50" y="8"/>
                  </a:lnTo>
                  <a:lnTo>
                    <a:pt x="54" y="14"/>
                  </a:lnTo>
                  <a:lnTo>
                    <a:pt x="54" y="14"/>
                  </a:lnTo>
                  <a:lnTo>
                    <a:pt x="72" y="44"/>
                  </a:lnTo>
                  <a:lnTo>
                    <a:pt x="88" y="74"/>
                  </a:lnTo>
                  <a:lnTo>
                    <a:pt x="104" y="106"/>
                  </a:lnTo>
                  <a:lnTo>
                    <a:pt x="116" y="138"/>
                  </a:lnTo>
                  <a:lnTo>
                    <a:pt x="116" y="138"/>
                  </a:lnTo>
                  <a:lnTo>
                    <a:pt x="118" y="144"/>
                  </a:lnTo>
                  <a:lnTo>
                    <a:pt x="118" y="150"/>
                  </a:lnTo>
                  <a:lnTo>
                    <a:pt x="114" y="160"/>
                  </a:lnTo>
                  <a:lnTo>
                    <a:pt x="108" y="170"/>
                  </a:lnTo>
                  <a:lnTo>
                    <a:pt x="102" y="172"/>
                  </a:lnTo>
                  <a:lnTo>
                    <a:pt x="98" y="176"/>
                  </a:lnTo>
                  <a:lnTo>
                    <a:pt x="98" y="176"/>
                  </a:lnTo>
                  <a:lnTo>
                    <a:pt x="88" y="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274">
              <a:extLst>
                <a:ext uri="{FF2B5EF4-FFF2-40B4-BE49-F238E27FC236}">
                  <a16:creationId xmlns:a16="http://schemas.microsoft.com/office/drawing/2014/main" id="{07FC5232-1476-4DAE-B934-DD9852FAC2AA}"/>
                </a:ext>
              </a:extLst>
            </p:cNvPr>
            <p:cNvSpPr>
              <a:spLocks/>
            </p:cNvSpPr>
            <p:nvPr/>
          </p:nvSpPr>
          <p:spPr bwMode="auto">
            <a:xfrm>
              <a:off x="15460663" y="2724150"/>
              <a:ext cx="187325" cy="279400"/>
            </a:xfrm>
            <a:custGeom>
              <a:avLst/>
              <a:gdLst>
                <a:gd name="T0" fmla="*/ 88 w 118"/>
                <a:gd name="T1" fmla="*/ 176 h 176"/>
                <a:gd name="T2" fmla="*/ 88 w 118"/>
                <a:gd name="T3" fmla="*/ 176 h 176"/>
                <a:gd name="T4" fmla="*/ 78 w 118"/>
                <a:gd name="T5" fmla="*/ 176 h 176"/>
                <a:gd name="T6" fmla="*/ 70 w 118"/>
                <a:gd name="T7" fmla="*/ 172 h 176"/>
                <a:gd name="T8" fmla="*/ 64 w 118"/>
                <a:gd name="T9" fmla="*/ 164 h 176"/>
                <a:gd name="T10" fmla="*/ 60 w 118"/>
                <a:gd name="T11" fmla="*/ 156 h 176"/>
                <a:gd name="T12" fmla="*/ 60 w 118"/>
                <a:gd name="T13" fmla="*/ 156 h 176"/>
                <a:gd name="T14" fmla="*/ 48 w 118"/>
                <a:gd name="T15" fmla="*/ 128 h 176"/>
                <a:gd name="T16" fmla="*/ 34 w 118"/>
                <a:gd name="T17" fmla="*/ 98 h 176"/>
                <a:gd name="T18" fmla="*/ 20 w 118"/>
                <a:gd name="T19" fmla="*/ 72 h 176"/>
                <a:gd name="T20" fmla="*/ 4 w 118"/>
                <a:gd name="T21" fmla="*/ 44 h 176"/>
                <a:gd name="T22" fmla="*/ 4 w 118"/>
                <a:gd name="T23" fmla="*/ 44 h 176"/>
                <a:gd name="T24" fmla="*/ 2 w 118"/>
                <a:gd name="T25" fmla="*/ 38 h 176"/>
                <a:gd name="T26" fmla="*/ 0 w 118"/>
                <a:gd name="T27" fmla="*/ 34 h 176"/>
                <a:gd name="T28" fmla="*/ 0 w 118"/>
                <a:gd name="T29" fmla="*/ 22 h 176"/>
                <a:gd name="T30" fmla="*/ 4 w 118"/>
                <a:gd name="T31" fmla="*/ 12 h 176"/>
                <a:gd name="T32" fmla="*/ 8 w 118"/>
                <a:gd name="T33" fmla="*/ 6 h 176"/>
                <a:gd name="T34" fmla="*/ 14 w 118"/>
                <a:gd name="T35" fmla="*/ 4 h 176"/>
                <a:gd name="T36" fmla="*/ 14 w 118"/>
                <a:gd name="T37" fmla="*/ 4 h 176"/>
                <a:gd name="T38" fmla="*/ 18 w 118"/>
                <a:gd name="T39" fmla="*/ 0 h 176"/>
                <a:gd name="T40" fmla="*/ 24 w 118"/>
                <a:gd name="T41" fmla="*/ 0 h 176"/>
                <a:gd name="T42" fmla="*/ 36 w 118"/>
                <a:gd name="T43" fmla="*/ 0 h 176"/>
                <a:gd name="T44" fmla="*/ 46 w 118"/>
                <a:gd name="T45" fmla="*/ 4 h 176"/>
                <a:gd name="T46" fmla="*/ 50 w 118"/>
                <a:gd name="T47" fmla="*/ 8 h 176"/>
                <a:gd name="T48" fmla="*/ 54 w 118"/>
                <a:gd name="T49" fmla="*/ 14 h 176"/>
                <a:gd name="T50" fmla="*/ 54 w 118"/>
                <a:gd name="T51" fmla="*/ 14 h 176"/>
                <a:gd name="T52" fmla="*/ 72 w 118"/>
                <a:gd name="T53" fmla="*/ 44 h 176"/>
                <a:gd name="T54" fmla="*/ 88 w 118"/>
                <a:gd name="T55" fmla="*/ 74 h 176"/>
                <a:gd name="T56" fmla="*/ 104 w 118"/>
                <a:gd name="T57" fmla="*/ 106 h 176"/>
                <a:gd name="T58" fmla="*/ 116 w 118"/>
                <a:gd name="T59" fmla="*/ 138 h 176"/>
                <a:gd name="T60" fmla="*/ 116 w 118"/>
                <a:gd name="T61" fmla="*/ 138 h 176"/>
                <a:gd name="T62" fmla="*/ 118 w 118"/>
                <a:gd name="T63" fmla="*/ 144 h 176"/>
                <a:gd name="T64" fmla="*/ 118 w 118"/>
                <a:gd name="T65" fmla="*/ 150 h 176"/>
                <a:gd name="T66" fmla="*/ 114 w 118"/>
                <a:gd name="T67" fmla="*/ 160 h 176"/>
                <a:gd name="T68" fmla="*/ 108 w 118"/>
                <a:gd name="T69" fmla="*/ 170 h 176"/>
                <a:gd name="T70" fmla="*/ 102 w 118"/>
                <a:gd name="T71" fmla="*/ 172 h 176"/>
                <a:gd name="T72" fmla="*/ 98 w 118"/>
                <a:gd name="T73" fmla="*/ 176 h 176"/>
                <a:gd name="T74" fmla="*/ 98 w 118"/>
                <a:gd name="T75" fmla="*/ 176 h 176"/>
                <a:gd name="T76" fmla="*/ 88 w 118"/>
                <a:gd name="T7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 h="176">
                  <a:moveTo>
                    <a:pt x="88" y="176"/>
                  </a:moveTo>
                  <a:lnTo>
                    <a:pt x="88" y="176"/>
                  </a:lnTo>
                  <a:lnTo>
                    <a:pt x="78" y="176"/>
                  </a:lnTo>
                  <a:lnTo>
                    <a:pt x="70" y="172"/>
                  </a:lnTo>
                  <a:lnTo>
                    <a:pt x="64" y="164"/>
                  </a:lnTo>
                  <a:lnTo>
                    <a:pt x="60" y="156"/>
                  </a:lnTo>
                  <a:lnTo>
                    <a:pt x="60" y="156"/>
                  </a:lnTo>
                  <a:lnTo>
                    <a:pt x="48" y="128"/>
                  </a:lnTo>
                  <a:lnTo>
                    <a:pt x="34" y="98"/>
                  </a:lnTo>
                  <a:lnTo>
                    <a:pt x="20" y="72"/>
                  </a:lnTo>
                  <a:lnTo>
                    <a:pt x="4" y="44"/>
                  </a:lnTo>
                  <a:lnTo>
                    <a:pt x="4" y="44"/>
                  </a:lnTo>
                  <a:lnTo>
                    <a:pt x="2" y="38"/>
                  </a:lnTo>
                  <a:lnTo>
                    <a:pt x="0" y="34"/>
                  </a:lnTo>
                  <a:lnTo>
                    <a:pt x="0" y="22"/>
                  </a:lnTo>
                  <a:lnTo>
                    <a:pt x="4" y="12"/>
                  </a:lnTo>
                  <a:lnTo>
                    <a:pt x="8" y="6"/>
                  </a:lnTo>
                  <a:lnTo>
                    <a:pt x="14" y="4"/>
                  </a:lnTo>
                  <a:lnTo>
                    <a:pt x="14" y="4"/>
                  </a:lnTo>
                  <a:lnTo>
                    <a:pt x="18" y="0"/>
                  </a:lnTo>
                  <a:lnTo>
                    <a:pt x="24" y="0"/>
                  </a:lnTo>
                  <a:lnTo>
                    <a:pt x="36" y="0"/>
                  </a:lnTo>
                  <a:lnTo>
                    <a:pt x="46" y="4"/>
                  </a:lnTo>
                  <a:lnTo>
                    <a:pt x="50" y="8"/>
                  </a:lnTo>
                  <a:lnTo>
                    <a:pt x="54" y="14"/>
                  </a:lnTo>
                  <a:lnTo>
                    <a:pt x="54" y="14"/>
                  </a:lnTo>
                  <a:lnTo>
                    <a:pt x="72" y="44"/>
                  </a:lnTo>
                  <a:lnTo>
                    <a:pt x="88" y="74"/>
                  </a:lnTo>
                  <a:lnTo>
                    <a:pt x="104" y="106"/>
                  </a:lnTo>
                  <a:lnTo>
                    <a:pt x="116" y="138"/>
                  </a:lnTo>
                  <a:lnTo>
                    <a:pt x="116" y="138"/>
                  </a:lnTo>
                  <a:lnTo>
                    <a:pt x="118" y="144"/>
                  </a:lnTo>
                  <a:lnTo>
                    <a:pt x="118" y="150"/>
                  </a:lnTo>
                  <a:lnTo>
                    <a:pt x="114" y="160"/>
                  </a:lnTo>
                  <a:lnTo>
                    <a:pt x="108" y="170"/>
                  </a:lnTo>
                  <a:lnTo>
                    <a:pt x="102" y="172"/>
                  </a:lnTo>
                  <a:lnTo>
                    <a:pt x="98" y="176"/>
                  </a:lnTo>
                  <a:lnTo>
                    <a:pt x="98" y="176"/>
                  </a:lnTo>
                  <a:lnTo>
                    <a:pt x="88" y="17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3" name="Freeform 275">
            <a:extLst>
              <a:ext uri="{FF2B5EF4-FFF2-40B4-BE49-F238E27FC236}">
                <a16:creationId xmlns:a16="http://schemas.microsoft.com/office/drawing/2014/main" id="{BA52D8E2-0B02-4557-B2BD-6463C029842B}"/>
              </a:ext>
            </a:extLst>
          </p:cNvPr>
          <p:cNvSpPr>
            <a:spLocks noEditPoints="1"/>
          </p:cNvSpPr>
          <p:nvPr/>
        </p:nvSpPr>
        <p:spPr bwMode="auto">
          <a:xfrm>
            <a:off x="9529766" y="2535881"/>
            <a:ext cx="364944" cy="365292"/>
          </a:xfrm>
          <a:custGeom>
            <a:avLst/>
            <a:gdLst>
              <a:gd name="T0" fmla="*/ 1546 w 2094"/>
              <a:gd name="T1" fmla="*/ 1018 h 2096"/>
              <a:gd name="T2" fmla="*/ 1236 w 2094"/>
              <a:gd name="T3" fmla="*/ 686 h 2096"/>
              <a:gd name="T4" fmla="*/ 592 w 2094"/>
              <a:gd name="T5" fmla="*/ 946 h 2096"/>
              <a:gd name="T6" fmla="*/ 524 w 2094"/>
              <a:gd name="T7" fmla="*/ 976 h 2096"/>
              <a:gd name="T8" fmla="*/ 1066 w 2094"/>
              <a:gd name="T9" fmla="*/ 576 h 2096"/>
              <a:gd name="T10" fmla="*/ 1546 w 2094"/>
              <a:gd name="T11" fmla="*/ 954 h 2096"/>
              <a:gd name="T12" fmla="*/ 1570 w 2094"/>
              <a:gd name="T13" fmla="*/ 1160 h 2096"/>
              <a:gd name="T14" fmla="*/ 1144 w 2094"/>
              <a:gd name="T15" fmla="*/ 778 h 2096"/>
              <a:gd name="T16" fmla="*/ 744 w 2094"/>
              <a:gd name="T17" fmla="*/ 900 h 2096"/>
              <a:gd name="T18" fmla="*/ 692 w 2094"/>
              <a:gd name="T19" fmla="*/ 1376 h 2096"/>
              <a:gd name="T20" fmla="*/ 548 w 2094"/>
              <a:gd name="T21" fmla="*/ 1462 h 2096"/>
              <a:gd name="T22" fmla="*/ 548 w 2094"/>
              <a:gd name="T23" fmla="*/ 1418 h 2096"/>
              <a:gd name="T24" fmla="*/ 634 w 2094"/>
              <a:gd name="T25" fmla="*/ 1118 h 2096"/>
              <a:gd name="T26" fmla="*/ 910 w 2094"/>
              <a:gd name="T27" fmla="*/ 708 h 2096"/>
              <a:gd name="T28" fmla="*/ 1570 w 2094"/>
              <a:gd name="T29" fmla="*/ 1114 h 2096"/>
              <a:gd name="T30" fmla="*/ 1272 w 2094"/>
              <a:gd name="T31" fmla="*/ 1108 h 2096"/>
              <a:gd name="T32" fmla="*/ 960 w 2094"/>
              <a:gd name="T33" fmla="*/ 878 h 2096"/>
              <a:gd name="T34" fmla="*/ 846 w 2094"/>
              <a:gd name="T35" fmla="*/ 1316 h 2096"/>
              <a:gd name="T36" fmla="*/ 654 w 2094"/>
              <a:gd name="T37" fmla="*/ 1580 h 2096"/>
              <a:gd name="T38" fmla="*/ 634 w 2094"/>
              <a:gd name="T39" fmla="*/ 1540 h 2096"/>
              <a:gd name="T40" fmla="*/ 784 w 2094"/>
              <a:gd name="T41" fmla="*/ 1392 h 2096"/>
              <a:gd name="T42" fmla="*/ 894 w 2094"/>
              <a:gd name="T43" fmla="*/ 842 h 2096"/>
              <a:gd name="T44" fmla="*/ 1274 w 2094"/>
              <a:gd name="T45" fmla="*/ 1004 h 2096"/>
              <a:gd name="T46" fmla="*/ 1488 w 2094"/>
              <a:gd name="T47" fmla="*/ 1426 h 2096"/>
              <a:gd name="T48" fmla="*/ 1092 w 2094"/>
              <a:gd name="T49" fmla="*/ 1030 h 2096"/>
              <a:gd name="T50" fmla="*/ 972 w 2094"/>
              <a:gd name="T51" fmla="*/ 1196 h 2096"/>
              <a:gd name="T52" fmla="*/ 1322 w 2094"/>
              <a:gd name="T53" fmla="*/ 1618 h 2096"/>
              <a:gd name="T54" fmla="*/ 940 w 2094"/>
              <a:gd name="T55" fmla="*/ 1254 h 2096"/>
              <a:gd name="T56" fmla="*/ 898 w 2094"/>
              <a:gd name="T57" fmla="*/ 1000 h 2096"/>
              <a:gd name="T58" fmla="*/ 1006 w 2094"/>
              <a:gd name="T59" fmla="*/ 938 h 2096"/>
              <a:gd name="T60" fmla="*/ 1142 w 2094"/>
              <a:gd name="T61" fmla="*/ 1002 h 2096"/>
              <a:gd name="T62" fmla="*/ 1498 w 2094"/>
              <a:gd name="T63" fmla="*/ 1402 h 2096"/>
              <a:gd name="T64" fmla="*/ 1086 w 2094"/>
              <a:gd name="T65" fmla="*/ 1256 h 2096"/>
              <a:gd name="T66" fmla="*/ 1046 w 2094"/>
              <a:gd name="T67" fmla="*/ 1070 h 2096"/>
              <a:gd name="T68" fmla="*/ 1428 w 2094"/>
              <a:gd name="T69" fmla="*/ 1476 h 2096"/>
              <a:gd name="T70" fmla="*/ 1092 w 2094"/>
              <a:gd name="T71" fmla="*/ 1598 h 2096"/>
              <a:gd name="T72" fmla="*/ 950 w 2094"/>
              <a:gd name="T73" fmla="*/ 1760 h 2096"/>
              <a:gd name="T74" fmla="*/ 1030 w 2094"/>
              <a:gd name="T75" fmla="*/ 1524 h 2096"/>
              <a:gd name="T76" fmla="*/ 1216 w 2094"/>
              <a:gd name="T77" fmla="*/ 1692 h 2096"/>
              <a:gd name="T78" fmla="*/ 750 w 2094"/>
              <a:gd name="T79" fmla="*/ 1674 h 2096"/>
              <a:gd name="T80" fmla="*/ 810 w 2094"/>
              <a:gd name="T81" fmla="*/ 1616 h 2096"/>
              <a:gd name="T82" fmla="*/ 910 w 2094"/>
              <a:gd name="T83" fmla="*/ 1346 h 2096"/>
              <a:gd name="T84" fmla="*/ 892 w 2094"/>
              <a:gd name="T85" fmla="*/ 1600 h 2096"/>
              <a:gd name="T86" fmla="*/ 586 w 2094"/>
              <a:gd name="T87" fmla="*/ 1312 h 2096"/>
              <a:gd name="T88" fmla="*/ 550 w 2094"/>
              <a:gd name="T89" fmla="*/ 1168 h 2096"/>
              <a:gd name="T90" fmla="*/ 560 w 2094"/>
              <a:gd name="T91" fmla="*/ 630 h 2096"/>
              <a:gd name="T92" fmla="*/ 1190 w 2094"/>
              <a:gd name="T93" fmla="*/ 484 h 2096"/>
              <a:gd name="T94" fmla="*/ 1438 w 2094"/>
              <a:gd name="T95" fmla="*/ 692 h 2096"/>
              <a:gd name="T96" fmla="*/ 1244 w 2094"/>
              <a:gd name="T97" fmla="*/ 566 h 2096"/>
              <a:gd name="T98" fmla="*/ 598 w 2094"/>
              <a:gd name="T99" fmla="*/ 678 h 2096"/>
              <a:gd name="T100" fmla="*/ 800 w 2094"/>
              <a:gd name="T101" fmla="*/ 358 h 2096"/>
              <a:gd name="T102" fmla="*/ 1338 w 2094"/>
              <a:gd name="T103" fmla="*/ 408 h 2096"/>
              <a:gd name="T104" fmla="*/ 1314 w 2094"/>
              <a:gd name="T105" fmla="*/ 456 h 2096"/>
              <a:gd name="T106" fmla="*/ 770 w 2094"/>
              <a:gd name="T107" fmla="*/ 436 h 2096"/>
              <a:gd name="T108" fmla="*/ 708 w 2094"/>
              <a:gd name="T109" fmla="*/ 400 h 2096"/>
              <a:gd name="T110" fmla="*/ 1550 w 2094"/>
              <a:gd name="T111" fmla="*/ 870 h 2096"/>
              <a:gd name="T112" fmla="*/ 1048 w 2094"/>
              <a:gd name="T113" fmla="*/ 0 h 2096"/>
              <a:gd name="T114" fmla="*/ 126 w 2094"/>
              <a:gd name="T115" fmla="*/ 548 h 2096"/>
              <a:gd name="T116" fmla="*/ 150 w 2094"/>
              <a:gd name="T117" fmla="*/ 1590 h 2096"/>
              <a:gd name="T118" fmla="*/ 1048 w 2094"/>
              <a:gd name="T119" fmla="*/ 2096 h 2096"/>
              <a:gd name="T120" fmla="*/ 1968 w 2094"/>
              <a:gd name="T121" fmla="*/ 1546 h 2096"/>
              <a:gd name="T122" fmla="*/ 1942 w 2094"/>
              <a:gd name="T123" fmla="*/ 504 h 2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94" h="2096">
                <a:moveTo>
                  <a:pt x="1580" y="994"/>
                </a:moveTo>
                <a:lnTo>
                  <a:pt x="1580" y="994"/>
                </a:lnTo>
                <a:lnTo>
                  <a:pt x="1580" y="998"/>
                </a:lnTo>
                <a:lnTo>
                  <a:pt x="1580" y="998"/>
                </a:lnTo>
                <a:lnTo>
                  <a:pt x="1580" y="998"/>
                </a:lnTo>
                <a:lnTo>
                  <a:pt x="1580" y="998"/>
                </a:lnTo>
                <a:lnTo>
                  <a:pt x="1580" y="998"/>
                </a:lnTo>
                <a:lnTo>
                  <a:pt x="1580" y="998"/>
                </a:lnTo>
                <a:lnTo>
                  <a:pt x="1576" y="1004"/>
                </a:lnTo>
                <a:lnTo>
                  <a:pt x="1576" y="1004"/>
                </a:lnTo>
                <a:lnTo>
                  <a:pt x="1574" y="1008"/>
                </a:lnTo>
                <a:lnTo>
                  <a:pt x="1574" y="1008"/>
                </a:lnTo>
                <a:lnTo>
                  <a:pt x="1568" y="1014"/>
                </a:lnTo>
                <a:lnTo>
                  <a:pt x="1568" y="1014"/>
                </a:lnTo>
                <a:lnTo>
                  <a:pt x="1564" y="1016"/>
                </a:lnTo>
                <a:lnTo>
                  <a:pt x="1564" y="1016"/>
                </a:lnTo>
                <a:lnTo>
                  <a:pt x="1556" y="1018"/>
                </a:lnTo>
                <a:lnTo>
                  <a:pt x="1556" y="1018"/>
                </a:lnTo>
                <a:lnTo>
                  <a:pt x="1554" y="1018"/>
                </a:lnTo>
                <a:lnTo>
                  <a:pt x="1554" y="1018"/>
                </a:lnTo>
                <a:lnTo>
                  <a:pt x="1546" y="1018"/>
                </a:lnTo>
                <a:lnTo>
                  <a:pt x="1546" y="1018"/>
                </a:lnTo>
                <a:lnTo>
                  <a:pt x="1542" y="1018"/>
                </a:lnTo>
                <a:lnTo>
                  <a:pt x="1542" y="1018"/>
                </a:lnTo>
                <a:lnTo>
                  <a:pt x="1542" y="1018"/>
                </a:lnTo>
                <a:lnTo>
                  <a:pt x="1542" y="1018"/>
                </a:lnTo>
                <a:lnTo>
                  <a:pt x="1542" y="1018"/>
                </a:lnTo>
                <a:lnTo>
                  <a:pt x="1542" y="1018"/>
                </a:lnTo>
                <a:lnTo>
                  <a:pt x="1522" y="1008"/>
                </a:lnTo>
                <a:lnTo>
                  <a:pt x="1502" y="998"/>
                </a:lnTo>
                <a:lnTo>
                  <a:pt x="1486" y="982"/>
                </a:lnTo>
                <a:lnTo>
                  <a:pt x="1470" y="966"/>
                </a:lnTo>
                <a:lnTo>
                  <a:pt x="1454" y="946"/>
                </a:lnTo>
                <a:lnTo>
                  <a:pt x="1440" y="926"/>
                </a:lnTo>
                <a:lnTo>
                  <a:pt x="1410" y="878"/>
                </a:lnTo>
                <a:lnTo>
                  <a:pt x="1410" y="878"/>
                </a:lnTo>
                <a:lnTo>
                  <a:pt x="1390" y="848"/>
                </a:lnTo>
                <a:lnTo>
                  <a:pt x="1370" y="816"/>
                </a:lnTo>
                <a:lnTo>
                  <a:pt x="1346" y="784"/>
                </a:lnTo>
                <a:lnTo>
                  <a:pt x="1320" y="754"/>
                </a:lnTo>
                <a:lnTo>
                  <a:pt x="1290" y="724"/>
                </a:lnTo>
                <a:lnTo>
                  <a:pt x="1272" y="710"/>
                </a:lnTo>
                <a:lnTo>
                  <a:pt x="1254" y="698"/>
                </a:lnTo>
                <a:lnTo>
                  <a:pt x="1236" y="686"/>
                </a:lnTo>
                <a:lnTo>
                  <a:pt x="1216" y="676"/>
                </a:lnTo>
                <a:lnTo>
                  <a:pt x="1194" y="666"/>
                </a:lnTo>
                <a:lnTo>
                  <a:pt x="1170" y="656"/>
                </a:lnTo>
                <a:lnTo>
                  <a:pt x="1170" y="656"/>
                </a:lnTo>
                <a:lnTo>
                  <a:pt x="1138" y="646"/>
                </a:lnTo>
                <a:lnTo>
                  <a:pt x="1100" y="640"/>
                </a:lnTo>
                <a:lnTo>
                  <a:pt x="1060" y="636"/>
                </a:lnTo>
                <a:lnTo>
                  <a:pt x="1018" y="634"/>
                </a:lnTo>
                <a:lnTo>
                  <a:pt x="1018" y="634"/>
                </a:lnTo>
                <a:lnTo>
                  <a:pt x="972" y="636"/>
                </a:lnTo>
                <a:lnTo>
                  <a:pt x="928" y="642"/>
                </a:lnTo>
                <a:lnTo>
                  <a:pt x="886" y="654"/>
                </a:lnTo>
                <a:lnTo>
                  <a:pt x="844" y="668"/>
                </a:lnTo>
                <a:lnTo>
                  <a:pt x="806" y="688"/>
                </a:lnTo>
                <a:lnTo>
                  <a:pt x="768" y="710"/>
                </a:lnTo>
                <a:lnTo>
                  <a:pt x="734" y="736"/>
                </a:lnTo>
                <a:lnTo>
                  <a:pt x="704" y="764"/>
                </a:lnTo>
                <a:lnTo>
                  <a:pt x="674" y="796"/>
                </a:lnTo>
                <a:lnTo>
                  <a:pt x="648" y="830"/>
                </a:lnTo>
                <a:lnTo>
                  <a:pt x="626" y="866"/>
                </a:lnTo>
                <a:lnTo>
                  <a:pt x="608" y="906"/>
                </a:lnTo>
                <a:lnTo>
                  <a:pt x="592" y="946"/>
                </a:lnTo>
                <a:lnTo>
                  <a:pt x="582" y="988"/>
                </a:lnTo>
                <a:lnTo>
                  <a:pt x="576" y="1032"/>
                </a:lnTo>
                <a:lnTo>
                  <a:pt x="572" y="1078"/>
                </a:lnTo>
                <a:lnTo>
                  <a:pt x="572" y="1078"/>
                </a:lnTo>
                <a:lnTo>
                  <a:pt x="572" y="1084"/>
                </a:lnTo>
                <a:lnTo>
                  <a:pt x="570" y="1090"/>
                </a:lnTo>
                <a:lnTo>
                  <a:pt x="564" y="1100"/>
                </a:lnTo>
                <a:lnTo>
                  <a:pt x="554" y="1106"/>
                </a:lnTo>
                <a:lnTo>
                  <a:pt x="550" y="1108"/>
                </a:lnTo>
                <a:lnTo>
                  <a:pt x="544" y="1108"/>
                </a:lnTo>
                <a:lnTo>
                  <a:pt x="544" y="1108"/>
                </a:lnTo>
                <a:lnTo>
                  <a:pt x="538" y="1108"/>
                </a:lnTo>
                <a:lnTo>
                  <a:pt x="532" y="1106"/>
                </a:lnTo>
                <a:lnTo>
                  <a:pt x="522" y="1100"/>
                </a:lnTo>
                <a:lnTo>
                  <a:pt x="516" y="1090"/>
                </a:lnTo>
                <a:lnTo>
                  <a:pt x="514" y="1084"/>
                </a:lnTo>
                <a:lnTo>
                  <a:pt x="514" y="1078"/>
                </a:lnTo>
                <a:lnTo>
                  <a:pt x="514" y="1078"/>
                </a:lnTo>
                <a:lnTo>
                  <a:pt x="514" y="1052"/>
                </a:lnTo>
                <a:lnTo>
                  <a:pt x="516" y="1026"/>
                </a:lnTo>
                <a:lnTo>
                  <a:pt x="520" y="1002"/>
                </a:lnTo>
                <a:lnTo>
                  <a:pt x="524" y="976"/>
                </a:lnTo>
                <a:lnTo>
                  <a:pt x="530" y="952"/>
                </a:lnTo>
                <a:lnTo>
                  <a:pt x="536" y="928"/>
                </a:lnTo>
                <a:lnTo>
                  <a:pt x="544" y="906"/>
                </a:lnTo>
                <a:lnTo>
                  <a:pt x="554" y="882"/>
                </a:lnTo>
                <a:lnTo>
                  <a:pt x="574" y="838"/>
                </a:lnTo>
                <a:lnTo>
                  <a:pt x="600" y="796"/>
                </a:lnTo>
                <a:lnTo>
                  <a:pt x="628" y="758"/>
                </a:lnTo>
                <a:lnTo>
                  <a:pt x="662" y="722"/>
                </a:lnTo>
                <a:lnTo>
                  <a:pt x="696" y="690"/>
                </a:lnTo>
                <a:lnTo>
                  <a:pt x="736" y="660"/>
                </a:lnTo>
                <a:lnTo>
                  <a:pt x="778" y="636"/>
                </a:lnTo>
                <a:lnTo>
                  <a:pt x="822" y="614"/>
                </a:lnTo>
                <a:lnTo>
                  <a:pt x="844" y="606"/>
                </a:lnTo>
                <a:lnTo>
                  <a:pt x="868" y="598"/>
                </a:lnTo>
                <a:lnTo>
                  <a:pt x="892" y="590"/>
                </a:lnTo>
                <a:lnTo>
                  <a:pt x="916" y="584"/>
                </a:lnTo>
                <a:lnTo>
                  <a:pt x="940" y="580"/>
                </a:lnTo>
                <a:lnTo>
                  <a:pt x="966" y="578"/>
                </a:lnTo>
                <a:lnTo>
                  <a:pt x="992" y="576"/>
                </a:lnTo>
                <a:lnTo>
                  <a:pt x="1018" y="574"/>
                </a:lnTo>
                <a:lnTo>
                  <a:pt x="1018" y="574"/>
                </a:lnTo>
                <a:lnTo>
                  <a:pt x="1066" y="576"/>
                </a:lnTo>
                <a:lnTo>
                  <a:pt x="1112" y="582"/>
                </a:lnTo>
                <a:lnTo>
                  <a:pt x="1154" y="590"/>
                </a:lnTo>
                <a:lnTo>
                  <a:pt x="1192" y="600"/>
                </a:lnTo>
                <a:lnTo>
                  <a:pt x="1192" y="600"/>
                </a:lnTo>
                <a:lnTo>
                  <a:pt x="1218" y="610"/>
                </a:lnTo>
                <a:lnTo>
                  <a:pt x="1244" y="622"/>
                </a:lnTo>
                <a:lnTo>
                  <a:pt x="1266" y="634"/>
                </a:lnTo>
                <a:lnTo>
                  <a:pt x="1288" y="648"/>
                </a:lnTo>
                <a:lnTo>
                  <a:pt x="1308" y="662"/>
                </a:lnTo>
                <a:lnTo>
                  <a:pt x="1326" y="678"/>
                </a:lnTo>
                <a:lnTo>
                  <a:pt x="1344" y="694"/>
                </a:lnTo>
                <a:lnTo>
                  <a:pt x="1360" y="710"/>
                </a:lnTo>
                <a:lnTo>
                  <a:pt x="1390" y="744"/>
                </a:lnTo>
                <a:lnTo>
                  <a:pt x="1416" y="780"/>
                </a:lnTo>
                <a:lnTo>
                  <a:pt x="1440" y="814"/>
                </a:lnTo>
                <a:lnTo>
                  <a:pt x="1460" y="848"/>
                </a:lnTo>
                <a:lnTo>
                  <a:pt x="1460" y="848"/>
                </a:lnTo>
                <a:lnTo>
                  <a:pt x="1484" y="886"/>
                </a:lnTo>
                <a:lnTo>
                  <a:pt x="1508" y="920"/>
                </a:lnTo>
                <a:lnTo>
                  <a:pt x="1522" y="934"/>
                </a:lnTo>
                <a:lnTo>
                  <a:pt x="1534" y="946"/>
                </a:lnTo>
                <a:lnTo>
                  <a:pt x="1546" y="954"/>
                </a:lnTo>
                <a:lnTo>
                  <a:pt x="1560" y="962"/>
                </a:lnTo>
                <a:lnTo>
                  <a:pt x="1560" y="962"/>
                </a:lnTo>
                <a:lnTo>
                  <a:pt x="1560" y="962"/>
                </a:lnTo>
                <a:lnTo>
                  <a:pt x="1560" y="962"/>
                </a:lnTo>
                <a:lnTo>
                  <a:pt x="1560" y="962"/>
                </a:lnTo>
                <a:lnTo>
                  <a:pt x="1560" y="962"/>
                </a:lnTo>
                <a:lnTo>
                  <a:pt x="1564" y="962"/>
                </a:lnTo>
                <a:lnTo>
                  <a:pt x="1564" y="962"/>
                </a:lnTo>
                <a:lnTo>
                  <a:pt x="1570" y="968"/>
                </a:lnTo>
                <a:lnTo>
                  <a:pt x="1570" y="968"/>
                </a:lnTo>
                <a:lnTo>
                  <a:pt x="1574" y="970"/>
                </a:lnTo>
                <a:lnTo>
                  <a:pt x="1574" y="970"/>
                </a:lnTo>
                <a:lnTo>
                  <a:pt x="1578" y="976"/>
                </a:lnTo>
                <a:lnTo>
                  <a:pt x="1578" y="976"/>
                </a:lnTo>
                <a:lnTo>
                  <a:pt x="1578" y="980"/>
                </a:lnTo>
                <a:lnTo>
                  <a:pt x="1578" y="980"/>
                </a:lnTo>
                <a:lnTo>
                  <a:pt x="1580" y="986"/>
                </a:lnTo>
                <a:lnTo>
                  <a:pt x="1580" y="986"/>
                </a:lnTo>
                <a:lnTo>
                  <a:pt x="1580" y="994"/>
                </a:lnTo>
                <a:close/>
                <a:moveTo>
                  <a:pt x="1574" y="1156"/>
                </a:moveTo>
                <a:lnTo>
                  <a:pt x="1574" y="1156"/>
                </a:lnTo>
                <a:lnTo>
                  <a:pt x="1570" y="1160"/>
                </a:lnTo>
                <a:lnTo>
                  <a:pt x="1564" y="1164"/>
                </a:lnTo>
                <a:lnTo>
                  <a:pt x="1554" y="1168"/>
                </a:lnTo>
                <a:lnTo>
                  <a:pt x="1542" y="1166"/>
                </a:lnTo>
                <a:lnTo>
                  <a:pt x="1538" y="1164"/>
                </a:lnTo>
                <a:lnTo>
                  <a:pt x="1532" y="1160"/>
                </a:lnTo>
                <a:lnTo>
                  <a:pt x="1532" y="1160"/>
                </a:lnTo>
                <a:lnTo>
                  <a:pt x="1420" y="1070"/>
                </a:lnTo>
                <a:lnTo>
                  <a:pt x="1362" y="1020"/>
                </a:lnTo>
                <a:lnTo>
                  <a:pt x="1338" y="998"/>
                </a:lnTo>
                <a:lnTo>
                  <a:pt x="1332" y="990"/>
                </a:lnTo>
                <a:lnTo>
                  <a:pt x="1332" y="990"/>
                </a:lnTo>
                <a:lnTo>
                  <a:pt x="1330" y="984"/>
                </a:lnTo>
                <a:lnTo>
                  <a:pt x="1330" y="984"/>
                </a:lnTo>
                <a:lnTo>
                  <a:pt x="1318" y="952"/>
                </a:lnTo>
                <a:lnTo>
                  <a:pt x="1304" y="924"/>
                </a:lnTo>
                <a:lnTo>
                  <a:pt x="1288" y="896"/>
                </a:lnTo>
                <a:lnTo>
                  <a:pt x="1268" y="870"/>
                </a:lnTo>
                <a:lnTo>
                  <a:pt x="1248" y="848"/>
                </a:lnTo>
                <a:lnTo>
                  <a:pt x="1224" y="828"/>
                </a:lnTo>
                <a:lnTo>
                  <a:pt x="1200" y="808"/>
                </a:lnTo>
                <a:lnTo>
                  <a:pt x="1172" y="792"/>
                </a:lnTo>
                <a:lnTo>
                  <a:pt x="1144" y="778"/>
                </a:lnTo>
                <a:lnTo>
                  <a:pt x="1116" y="768"/>
                </a:lnTo>
                <a:lnTo>
                  <a:pt x="1086" y="760"/>
                </a:lnTo>
                <a:lnTo>
                  <a:pt x="1054" y="754"/>
                </a:lnTo>
                <a:lnTo>
                  <a:pt x="1024" y="752"/>
                </a:lnTo>
                <a:lnTo>
                  <a:pt x="992" y="754"/>
                </a:lnTo>
                <a:lnTo>
                  <a:pt x="960" y="758"/>
                </a:lnTo>
                <a:lnTo>
                  <a:pt x="928" y="764"/>
                </a:lnTo>
                <a:lnTo>
                  <a:pt x="928" y="764"/>
                </a:lnTo>
                <a:lnTo>
                  <a:pt x="908" y="772"/>
                </a:lnTo>
                <a:lnTo>
                  <a:pt x="908" y="772"/>
                </a:lnTo>
                <a:lnTo>
                  <a:pt x="896" y="776"/>
                </a:lnTo>
                <a:lnTo>
                  <a:pt x="896" y="776"/>
                </a:lnTo>
                <a:lnTo>
                  <a:pt x="872" y="786"/>
                </a:lnTo>
                <a:lnTo>
                  <a:pt x="872" y="786"/>
                </a:lnTo>
                <a:lnTo>
                  <a:pt x="866" y="790"/>
                </a:lnTo>
                <a:lnTo>
                  <a:pt x="866" y="790"/>
                </a:lnTo>
                <a:lnTo>
                  <a:pt x="842" y="804"/>
                </a:lnTo>
                <a:lnTo>
                  <a:pt x="818" y="820"/>
                </a:lnTo>
                <a:lnTo>
                  <a:pt x="798" y="838"/>
                </a:lnTo>
                <a:lnTo>
                  <a:pt x="778" y="856"/>
                </a:lnTo>
                <a:lnTo>
                  <a:pt x="760" y="878"/>
                </a:lnTo>
                <a:lnTo>
                  <a:pt x="744" y="900"/>
                </a:lnTo>
                <a:lnTo>
                  <a:pt x="730" y="924"/>
                </a:lnTo>
                <a:lnTo>
                  <a:pt x="718" y="948"/>
                </a:lnTo>
                <a:lnTo>
                  <a:pt x="708" y="974"/>
                </a:lnTo>
                <a:lnTo>
                  <a:pt x="700" y="1000"/>
                </a:lnTo>
                <a:lnTo>
                  <a:pt x="696" y="1028"/>
                </a:lnTo>
                <a:lnTo>
                  <a:pt x="692" y="1056"/>
                </a:lnTo>
                <a:lnTo>
                  <a:pt x="692" y="1084"/>
                </a:lnTo>
                <a:lnTo>
                  <a:pt x="692" y="1112"/>
                </a:lnTo>
                <a:lnTo>
                  <a:pt x="698" y="1140"/>
                </a:lnTo>
                <a:lnTo>
                  <a:pt x="704" y="1168"/>
                </a:lnTo>
                <a:lnTo>
                  <a:pt x="704" y="1168"/>
                </a:lnTo>
                <a:lnTo>
                  <a:pt x="704" y="1168"/>
                </a:lnTo>
                <a:lnTo>
                  <a:pt x="712" y="1200"/>
                </a:lnTo>
                <a:lnTo>
                  <a:pt x="716" y="1230"/>
                </a:lnTo>
                <a:lnTo>
                  <a:pt x="716" y="1230"/>
                </a:lnTo>
                <a:lnTo>
                  <a:pt x="718" y="1256"/>
                </a:lnTo>
                <a:lnTo>
                  <a:pt x="718" y="1278"/>
                </a:lnTo>
                <a:lnTo>
                  <a:pt x="716" y="1300"/>
                </a:lnTo>
                <a:lnTo>
                  <a:pt x="712" y="1322"/>
                </a:lnTo>
                <a:lnTo>
                  <a:pt x="706" y="1340"/>
                </a:lnTo>
                <a:lnTo>
                  <a:pt x="700" y="1358"/>
                </a:lnTo>
                <a:lnTo>
                  <a:pt x="692" y="1376"/>
                </a:lnTo>
                <a:lnTo>
                  <a:pt x="682" y="1390"/>
                </a:lnTo>
                <a:lnTo>
                  <a:pt x="672" y="1406"/>
                </a:lnTo>
                <a:lnTo>
                  <a:pt x="660" y="1418"/>
                </a:lnTo>
                <a:lnTo>
                  <a:pt x="646" y="1430"/>
                </a:lnTo>
                <a:lnTo>
                  <a:pt x="634" y="1440"/>
                </a:lnTo>
                <a:lnTo>
                  <a:pt x="620" y="1448"/>
                </a:lnTo>
                <a:lnTo>
                  <a:pt x="606" y="1456"/>
                </a:lnTo>
                <a:lnTo>
                  <a:pt x="590" y="1462"/>
                </a:lnTo>
                <a:lnTo>
                  <a:pt x="576" y="1468"/>
                </a:lnTo>
                <a:lnTo>
                  <a:pt x="576" y="1468"/>
                </a:lnTo>
                <a:lnTo>
                  <a:pt x="572" y="1468"/>
                </a:lnTo>
                <a:lnTo>
                  <a:pt x="572" y="1468"/>
                </a:lnTo>
                <a:lnTo>
                  <a:pt x="566" y="1468"/>
                </a:lnTo>
                <a:lnTo>
                  <a:pt x="566" y="1468"/>
                </a:lnTo>
                <a:lnTo>
                  <a:pt x="566" y="1468"/>
                </a:lnTo>
                <a:lnTo>
                  <a:pt x="566" y="1468"/>
                </a:lnTo>
                <a:lnTo>
                  <a:pt x="558" y="1468"/>
                </a:lnTo>
                <a:lnTo>
                  <a:pt x="558" y="1468"/>
                </a:lnTo>
                <a:lnTo>
                  <a:pt x="554" y="1466"/>
                </a:lnTo>
                <a:lnTo>
                  <a:pt x="554" y="1466"/>
                </a:lnTo>
                <a:lnTo>
                  <a:pt x="548" y="1462"/>
                </a:lnTo>
                <a:lnTo>
                  <a:pt x="548" y="1462"/>
                </a:lnTo>
                <a:lnTo>
                  <a:pt x="546" y="1460"/>
                </a:lnTo>
                <a:lnTo>
                  <a:pt x="546" y="1460"/>
                </a:lnTo>
                <a:lnTo>
                  <a:pt x="542" y="1456"/>
                </a:lnTo>
                <a:lnTo>
                  <a:pt x="542" y="1456"/>
                </a:lnTo>
                <a:lnTo>
                  <a:pt x="540" y="1450"/>
                </a:lnTo>
                <a:lnTo>
                  <a:pt x="540" y="1450"/>
                </a:lnTo>
                <a:lnTo>
                  <a:pt x="538" y="1448"/>
                </a:lnTo>
                <a:lnTo>
                  <a:pt x="538" y="1448"/>
                </a:lnTo>
                <a:lnTo>
                  <a:pt x="538" y="1444"/>
                </a:lnTo>
                <a:lnTo>
                  <a:pt x="538" y="1444"/>
                </a:lnTo>
                <a:lnTo>
                  <a:pt x="538" y="1440"/>
                </a:lnTo>
                <a:lnTo>
                  <a:pt x="538" y="1440"/>
                </a:lnTo>
                <a:lnTo>
                  <a:pt x="538" y="1438"/>
                </a:lnTo>
                <a:lnTo>
                  <a:pt x="538" y="1438"/>
                </a:lnTo>
                <a:lnTo>
                  <a:pt x="538" y="1436"/>
                </a:lnTo>
                <a:lnTo>
                  <a:pt x="538" y="1436"/>
                </a:lnTo>
                <a:lnTo>
                  <a:pt x="540" y="1426"/>
                </a:lnTo>
                <a:lnTo>
                  <a:pt x="540" y="1426"/>
                </a:lnTo>
                <a:lnTo>
                  <a:pt x="542" y="1426"/>
                </a:lnTo>
                <a:lnTo>
                  <a:pt x="542" y="1426"/>
                </a:lnTo>
                <a:lnTo>
                  <a:pt x="548" y="1418"/>
                </a:lnTo>
                <a:lnTo>
                  <a:pt x="548" y="1418"/>
                </a:lnTo>
                <a:lnTo>
                  <a:pt x="548" y="1416"/>
                </a:lnTo>
                <a:lnTo>
                  <a:pt x="548" y="1416"/>
                </a:lnTo>
                <a:lnTo>
                  <a:pt x="552" y="1414"/>
                </a:lnTo>
                <a:lnTo>
                  <a:pt x="558" y="1412"/>
                </a:lnTo>
                <a:lnTo>
                  <a:pt x="558" y="1412"/>
                </a:lnTo>
                <a:lnTo>
                  <a:pt x="574" y="1406"/>
                </a:lnTo>
                <a:lnTo>
                  <a:pt x="592" y="1396"/>
                </a:lnTo>
                <a:lnTo>
                  <a:pt x="604" y="1388"/>
                </a:lnTo>
                <a:lnTo>
                  <a:pt x="614" y="1380"/>
                </a:lnTo>
                <a:lnTo>
                  <a:pt x="624" y="1370"/>
                </a:lnTo>
                <a:lnTo>
                  <a:pt x="634" y="1358"/>
                </a:lnTo>
                <a:lnTo>
                  <a:pt x="642" y="1344"/>
                </a:lnTo>
                <a:lnTo>
                  <a:pt x="648" y="1328"/>
                </a:lnTo>
                <a:lnTo>
                  <a:pt x="654" y="1310"/>
                </a:lnTo>
                <a:lnTo>
                  <a:pt x="658" y="1290"/>
                </a:lnTo>
                <a:lnTo>
                  <a:pt x="660" y="1268"/>
                </a:lnTo>
                <a:lnTo>
                  <a:pt x="658" y="1242"/>
                </a:lnTo>
                <a:lnTo>
                  <a:pt x="654" y="1216"/>
                </a:lnTo>
                <a:lnTo>
                  <a:pt x="646" y="1184"/>
                </a:lnTo>
                <a:lnTo>
                  <a:pt x="646" y="1184"/>
                </a:lnTo>
                <a:lnTo>
                  <a:pt x="638" y="1152"/>
                </a:lnTo>
                <a:lnTo>
                  <a:pt x="634" y="1118"/>
                </a:lnTo>
                <a:lnTo>
                  <a:pt x="632" y="1084"/>
                </a:lnTo>
                <a:lnTo>
                  <a:pt x="632" y="1050"/>
                </a:lnTo>
                <a:lnTo>
                  <a:pt x="636" y="1018"/>
                </a:lnTo>
                <a:lnTo>
                  <a:pt x="642" y="986"/>
                </a:lnTo>
                <a:lnTo>
                  <a:pt x="652" y="956"/>
                </a:lnTo>
                <a:lnTo>
                  <a:pt x="664" y="924"/>
                </a:lnTo>
                <a:lnTo>
                  <a:pt x="678" y="896"/>
                </a:lnTo>
                <a:lnTo>
                  <a:pt x="694" y="868"/>
                </a:lnTo>
                <a:lnTo>
                  <a:pt x="714" y="842"/>
                </a:lnTo>
                <a:lnTo>
                  <a:pt x="734" y="816"/>
                </a:lnTo>
                <a:lnTo>
                  <a:pt x="758" y="794"/>
                </a:lnTo>
                <a:lnTo>
                  <a:pt x="782" y="772"/>
                </a:lnTo>
                <a:lnTo>
                  <a:pt x="810" y="754"/>
                </a:lnTo>
                <a:lnTo>
                  <a:pt x="838" y="736"/>
                </a:lnTo>
                <a:lnTo>
                  <a:pt x="838" y="736"/>
                </a:lnTo>
                <a:lnTo>
                  <a:pt x="844" y="734"/>
                </a:lnTo>
                <a:lnTo>
                  <a:pt x="844" y="734"/>
                </a:lnTo>
                <a:lnTo>
                  <a:pt x="874" y="720"/>
                </a:lnTo>
                <a:lnTo>
                  <a:pt x="874" y="720"/>
                </a:lnTo>
                <a:lnTo>
                  <a:pt x="888" y="716"/>
                </a:lnTo>
                <a:lnTo>
                  <a:pt x="888" y="716"/>
                </a:lnTo>
                <a:lnTo>
                  <a:pt x="910" y="708"/>
                </a:lnTo>
                <a:lnTo>
                  <a:pt x="910" y="708"/>
                </a:lnTo>
                <a:lnTo>
                  <a:pt x="910" y="708"/>
                </a:lnTo>
                <a:lnTo>
                  <a:pt x="910" y="708"/>
                </a:lnTo>
                <a:lnTo>
                  <a:pt x="948" y="700"/>
                </a:lnTo>
                <a:lnTo>
                  <a:pt x="986" y="694"/>
                </a:lnTo>
                <a:lnTo>
                  <a:pt x="1024" y="694"/>
                </a:lnTo>
                <a:lnTo>
                  <a:pt x="1060" y="696"/>
                </a:lnTo>
                <a:lnTo>
                  <a:pt x="1096" y="702"/>
                </a:lnTo>
                <a:lnTo>
                  <a:pt x="1132" y="712"/>
                </a:lnTo>
                <a:lnTo>
                  <a:pt x="1166" y="724"/>
                </a:lnTo>
                <a:lnTo>
                  <a:pt x="1198" y="740"/>
                </a:lnTo>
                <a:lnTo>
                  <a:pt x="1230" y="758"/>
                </a:lnTo>
                <a:lnTo>
                  <a:pt x="1258" y="780"/>
                </a:lnTo>
                <a:lnTo>
                  <a:pt x="1286" y="804"/>
                </a:lnTo>
                <a:lnTo>
                  <a:pt x="1312" y="830"/>
                </a:lnTo>
                <a:lnTo>
                  <a:pt x="1334" y="860"/>
                </a:lnTo>
                <a:lnTo>
                  <a:pt x="1354" y="890"/>
                </a:lnTo>
                <a:lnTo>
                  <a:pt x="1370" y="924"/>
                </a:lnTo>
                <a:lnTo>
                  <a:pt x="1384" y="960"/>
                </a:lnTo>
                <a:lnTo>
                  <a:pt x="1384" y="960"/>
                </a:lnTo>
                <a:lnTo>
                  <a:pt x="1456" y="1022"/>
                </a:lnTo>
                <a:lnTo>
                  <a:pt x="1570" y="1114"/>
                </a:lnTo>
                <a:lnTo>
                  <a:pt x="1570" y="1114"/>
                </a:lnTo>
                <a:lnTo>
                  <a:pt x="1574" y="1118"/>
                </a:lnTo>
                <a:lnTo>
                  <a:pt x="1578" y="1124"/>
                </a:lnTo>
                <a:lnTo>
                  <a:pt x="1580" y="1134"/>
                </a:lnTo>
                <a:lnTo>
                  <a:pt x="1580" y="1146"/>
                </a:lnTo>
                <a:lnTo>
                  <a:pt x="1578" y="1152"/>
                </a:lnTo>
                <a:lnTo>
                  <a:pt x="1574" y="1156"/>
                </a:lnTo>
                <a:close/>
                <a:moveTo>
                  <a:pt x="1546" y="1304"/>
                </a:moveTo>
                <a:lnTo>
                  <a:pt x="1546" y="1304"/>
                </a:lnTo>
                <a:lnTo>
                  <a:pt x="1542" y="1308"/>
                </a:lnTo>
                <a:lnTo>
                  <a:pt x="1536" y="1312"/>
                </a:lnTo>
                <a:lnTo>
                  <a:pt x="1526" y="1316"/>
                </a:lnTo>
                <a:lnTo>
                  <a:pt x="1514" y="1316"/>
                </a:lnTo>
                <a:lnTo>
                  <a:pt x="1510" y="1314"/>
                </a:lnTo>
                <a:lnTo>
                  <a:pt x="1504" y="1310"/>
                </a:lnTo>
                <a:lnTo>
                  <a:pt x="1504" y="1310"/>
                </a:lnTo>
                <a:lnTo>
                  <a:pt x="1502" y="1308"/>
                </a:lnTo>
                <a:lnTo>
                  <a:pt x="1502" y="1308"/>
                </a:lnTo>
                <a:lnTo>
                  <a:pt x="1422" y="1244"/>
                </a:lnTo>
                <a:lnTo>
                  <a:pt x="1358" y="1188"/>
                </a:lnTo>
                <a:lnTo>
                  <a:pt x="1308" y="1144"/>
                </a:lnTo>
                <a:lnTo>
                  <a:pt x="1272" y="1108"/>
                </a:lnTo>
                <a:lnTo>
                  <a:pt x="1248" y="1080"/>
                </a:lnTo>
                <a:lnTo>
                  <a:pt x="1232" y="1056"/>
                </a:lnTo>
                <a:lnTo>
                  <a:pt x="1222" y="1036"/>
                </a:lnTo>
                <a:lnTo>
                  <a:pt x="1216" y="1020"/>
                </a:lnTo>
                <a:lnTo>
                  <a:pt x="1216" y="1020"/>
                </a:lnTo>
                <a:lnTo>
                  <a:pt x="1210" y="1004"/>
                </a:lnTo>
                <a:lnTo>
                  <a:pt x="1204" y="986"/>
                </a:lnTo>
                <a:lnTo>
                  <a:pt x="1194" y="970"/>
                </a:lnTo>
                <a:lnTo>
                  <a:pt x="1184" y="956"/>
                </a:lnTo>
                <a:lnTo>
                  <a:pt x="1174" y="942"/>
                </a:lnTo>
                <a:lnTo>
                  <a:pt x="1162" y="930"/>
                </a:lnTo>
                <a:lnTo>
                  <a:pt x="1148" y="918"/>
                </a:lnTo>
                <a:lnTo>
                  <a:pt x="1134" y="908"/>
                </a:lnTo>
                <a:lnTo>
                  <a:pt x="1134" y="908"/>
                </a:lnTo>
                <a:lnTo>
                  <a:pt x="1116" y="896"/>
                </a:lnTo>
                <a:lnTo>
                  <a:pt x="1096" y="886"/>
                </a:lnTo>
                <a:lnTo>
                  <a:pt x="1074" y="878"/>
                </a:lnTo>
                <a:lnTo>
                  <a:pt x="1052" y="874"/>
                </a:lnTo>
                <a:lnTo>
                  <a:pt x="1030" y="872"/>
                </a:lnTo>
                <a:lnTo>
                  <a:pt x="1006" y="872"/>
                </a:lnTo>
                <a:lnTo>
                  <a:pt x="984" y="874"/>
                </a:lnTo>
                <a:lnTo>
                  <a:pt x="960" y="878"/>
                </a:lnTo>
                <a:lnTo>
                  <a:pt x="960" y="878"/>
                </a:lnTo>
                <a:lnTo>
                  <a:pt x="940" y="886"/>
                </a:lnTo>
                <a:lnTo>
                  <a:pt x="922" y="896"/>
                </a:lnTo>
                <a:lnTo>
                  <a:pt x="904" y="906"/>
                </a:lnTo>
                <a:lnTo>
                  <a:pt x="888" y="918"/>
                </a:lnTo>
                <a:lnTo>
                  <a:pt x="874" y="932"/>
                </a:lnTo>
                <a:lnTo>
                  <a:pt x="860" y="946"/>
                </a:lnTo>
                <a:lnTo>
                  <a:pt x="848" y="962"/>
                </a:lnTo>
                <a:lnTo>
                  <a:pt x="838" y="980"/>
                </a:lnTo>
                <a:lnTo>
                  <a:pt x="830" y="998"/>
                </a:lnTo>
                <a:lnTo>
                  <a:pt x="822" y="1016"/>
                </a:lnTo>
                <a:lnTo>
                  <a:pt x="816" y="1036"/>
                </a:lnTo>
                <a:lnTo>
                  <a:pt x="814" y="1056"/>
                </a:lnTo>
                <a:lnTo>
                  <a:pt x="812" y="1076"/>
                </a:lnTo>
                <a:lnTo>
                  <a:pt x="812" y="1096"/>
                </a:lnTo>
                <a:lnTo>
                  <a:pt x="814" y="1116"/>
                </a:lnTo>
                <a:lnTo>
                  <a:pt x="818" y="1138"/>
                </a:lnTo>
                <a:lnTo>
                  <a:pt x="818" y="1138"/>
                </a:lnTo>
                <a:lnTo>
                  <a:pt x="830" y="1188"/>
                </a:lnTo>
                <a:lnTo>
                  <a:pt x="836" y="1234"/>
                </a:lnTo>
                <a:lnTo>
                  <a:pt x="842" y="1276"/>
                </a:lnTo>
                <a:lnTo>
                  <a:pt x="846" y="1316"/>
                </a:lnTo>
                <a:lnTo>
                  <a:pt x="846" y="1352"/>
                </a:lnTo>
                <a:lnTo>
                  <a:pt x="844" y="1386"/>
                </a:lnTo>
                <a:lnTo>
                  <a:pt x="840" y="1416"/>
                </a:lnTo>
                <a:lnTo>
                  <a:pt x="832" y="1444"/>
                </a:lnTo>
                <a:lnTo>
                  <a:pt x="822" y="1468"/>
                </a:lnTo>
                <a:lnTo>
                  <a:pt x="808" y="1490"/>
                </a:lnTo>
                <a:lnTo>
                  <a:pt x="794" y="1510"/>
                </a:lnTo>
                <a:lnTo>
                  <a:pt x="774" y="1528"/>
                </a:lnTo>
                <a:lnTo>
                  <a:pt x="754" y="1544"/>
                </a:lnTo>
                <a:lnTo>
                  <a:pt x="728" y="1558"/>
                </a:lnTo>
                <a:lnTo>
                  <a:pt x="702" y="1570"/>
                </a:lnTo>
                <a:lnTo>
                  <a:pt x="670" y="1580"/>
                </a:lnTo>
                <a:lnTo>
                  <a:pt x="670" y="1580"/>
                </a:lnTo>
                <a:lnTo>
                  <a:pt x="670" y="1580"/>
                </a:lnTo>
                <a:lnTo>
                  <a:pt x="670" y="1580"/>
                </a:lnTo>
                <a:lnTo>
                  <a:pt x="670" y="1580"/>
                </a:lnTo>
                <a:lnTo>
                  <a:pt x="670" y="1580"/>
                </a:lnTo>
                <a:lnTo>
                  <a:pt x="662" y="1582"/>
                </a:lnTo>
                <a:lnTo>
                  <a:pt x="662" y="1582"/>
                </a:lnTo>
                <a:lnTo>
                  <a:pt x="660" y="1582"/>
                </a:lnTo>
                <a:lnTo>
                  <a:pt x="660" y="1582"/>
                </a:lnTo>
                <a:lnTo>
                  <a:pt x="654" y="1580"/>
                </a:lnTo>
                <a:lnTo>
                  <a:pt x="654" y="1580"/>
                </a:lnTo>
                <a:lnTo>
                  <a:pt x="650" y="1580"/>
                </a:lnTo>
                <a:lnTo>
                  <a:pt x="650" y="1580"/>
                </a:lnTo>
                <a:lnTo>
                  <a:pt x="644" y="1576"/>
                </a:lnTo>
                <a:lnTo>
                  <a:pt x="644" y="1576"/>
                </a:lnTo>
                <a:lnTo>
                  <a:pt x="640" y="1572"/>
                </a:lnTo>
                <a:lnTo>
                  <a:pt x="640" y="1572"/>
                </a:lnTo>
                <a:lnTo>
                  <a:pt x="638" y="1568"/>
                </a:lnTo>
                <a:lnTo>
                  <a:pt x="638" y="1568"/>
                </a:lnTo>
                <a:lnTo>
                  <a:pt x="634" y="1562"/>
                </a:lnTo>
                <a:lnTo>
                  <a:pt x="634" y="1562"/>
                </a:lnTo>
                <a:lnTo>
                  <a:pt x="634" y="1562"/>
                </a:lnTo>
                <a:lnTo>
                  <a:pt x="634" y="1562"/>
                </a:lnTo>
                <a:lnTo>
                  <a:pt x="632" y="1556"/>
                </a:lnTo>
                <a:lnTo>
                  <a:pt x="632" y="1556"/>
                </a:lnTo>
                <a:lnTo>
                  <a:pt x="632" y="1552"/>
                </a:lnTo>
                <a:lnTo>
                  <a:pt x="632" y="1552"/>
                </a:lnTo>
                <a:lnTo>
                  <a:pt x="632" y="1550"/>
                </a:lnTo>
                <a:lnTo>
                  <a:pt x="632" y="1550"/>
                </a:lnTo>
                <a:lnTo>
                  <a:pt x="632" y="1548"/>
                </a:lnTo>
                <a:lnTo>
                  <a:pt x="632" y="1548"/>
                </a:lnTo>
                <a:lnTo>
                  <a:pt x="634" y="1540"/>
                </a:lnTo>
                <a:lnTo>
                  <a:pt x="634" y="1540"/>
                </a:lnTo>
                <a:lnTo>
                  <a:pt x="636" y="1538"/>
                </a:lnTo>
                <a:lnTo>
                  <a:pt x="636" y="1538"/>
                </a:lnTo>
                <a:lnTo>
                  <a:pt x="640" y="1532"/>
                </a:lnTo>
                <a:lnTo>
                  <a:pt x="640" y="1532"/>
                </a:lnTo>
                <a:lnTo>
                  <a:pt x="644" y="1530"/>
                </a:lnTo>
                <a:lnTo>
                  <a:pt x="644" y="1530"/>
                </a:lnTo>
                <a:lnTo>
                  <a:pt x="652" y="1524"/>
                </a:lnTo>
                <a:lnTo>
                  <a:pt x="652" y="1524"/>
                </a:lnTo>
                <a:lnTo>
                  <a:pt x="652" y="1524"/>
                </a:lnTo>
                <a:lnTo>
                  <a:pt x="652" y="1524"/>
                </a:lnTo>
                <a:lnTo>
                  <a:pt x="674" y="1516"/>
                </a:lnTo>
                <a:lnTo>
                  <a:pt x="674" y="1516"/>
                </a:lnTo>
                <a:lnTo>
                  <a:pt x="694" y="1508"/>
                </a:lnTo>
                <a:lnTo>
                  <a:pt x="712" y="1500"/>
                </a:lnTo>
                <a:lnTo>
                  <a:pt x="726" y="1490"/>
                </a:lnTo>
                <a:lnTo>
                  <a:pt x="740" y="1478"/>
                </a:lnTo>
                <a:lnTo>
                  <a:pt x="752" y="1466"/>
                </a:lnTo>
                <a:lnTo>
                  <a:pt x="764" y="1450"/>
                </a:lnTo>
                <a:lnTo>
                  <a:pt x="772" y="1434"/>
                </a:lnTo>
                <a:lnTo>
                  <a:pt x="778" y="1414"/>
                </a:lnTo>
                <a:lnTo>
                  <a:pt x="784" y="1392"/>
                </a:lnTo>
                <a:lnTo>
                  <a:pt x="786" y="1368"/>
                </a:lnTo>
                <a:lnTo>
                  <a:pt x="786" y="1340"/>
                </a:lnTo>
                <a:lnTo>
                  <a:pt x="786" y="1310"/>
                </a:lnTo>
                <a:lnTo>
                  <a:pt x="782" y="1276"/>
                </a:lnTo>
                <a:lnTo>
                  <a:pt x="778" y="1238"/>
                </a:lnTo>
                <a:lnTo>
                  <a:pt x="770" y="1196"/>
                </a:lnTo>
                <a:lnTo>
                  <a:pt x="760" y="1150"/>
                </a:lnTo>
                <a:lnTo>
                  <a:pt x="760" y="1150"/>
                </a:lnTo>
                <a:lnTo>
                  <a:pt x="754" y="1124"/>
                </a:lnTo>
                <a:lnTo>
                  <a:pt x="752" y="1098"/>
                </a:lnTo>
                <a:lnTo>
                  <a:pt x="752" y="1072"/>
                </a:lnTo>
                <a:lnTo>
                  <a:pt x="754" y="1046"/>
                </a:lnTo>
                <a:lnTo>
                  <a:pt x="758" y="1020"/>
                </a:lnTo>
                <a:lnTo>
                  <a:pt x="766" y="996"/>
                </a:lnTo>
                <a:lnTo>
                  <a:pt x="774" y="972"/>
                </a:lnTo>
                <a:lnTo>
                  <a:pt x="786" y="950"/>
                </a:lnTo>
                <a:lnTo>
                  <a:pt x="800" y="928"/>
                </a:lnTo>
                <a:lnTo>
                  <a:pt x="814" y="908"/>
                </a:lnTo>
                <a:lnTo>
                  <a:pt x="832" y="888"/>
                </a:lnTo>
                <a:lnTo>
                  <a:pt x="852" y="872"/>
                </a:lnTo>
                <a:lnTo>
                  <a:pt x="872" y="856"/>
                </a:lnTo>
                <a:lnTo>
                  <a:pt x="894" y="842"/>
                </a:lnTo>
                <a:lnTo>
                  <a:pt x="918" y="832"/>
                </a:lnTo>
                <a:lnTo>
                  <a:pt x="944" y="822"/>
                </a:lnTo>
                <a:lnTo>
                  <a:pt x="944" y="822"/>
                </a:lnTo>
                <a:lnTo>
                  <a:pt x="964" y="818"/>
                </a:lnTo>
                <a:lnTo>
                  <a:pt x="964" y="818"/>
                </a:lnTo>
                <a:lnTo>
                  <a:pt x="990" y="814"/>
                </a:lnTo>
                <a:lnTo>
                  <a:pt x="1014" y="812"/>
                </a:lnTo>
                <a:lnTo>
                  <a:pt x="1040" y="812"/>
                </a:lnTo>
                <a:lnTo>
                  <a:pt x="1064" y="816"/>
                </a:lnTo>
                <a:lnTo>
                  <a:pt x="1088" y="822"/>
                </a:lnTo>
                <a:lnTo>
                  <a:pt x="1112" y="828"/>
                </a:lnTo>
                <a:lnTo>
                  <a:pt x="1134" y="838"/>
                </a:lnTo>
                <a:lnTo>
                  <a:pt x="1156" y="850"/>
                </a:lnTo>
                <a:lnTo>
                  <a:pt x="1176" y="864"/>
                </a:lnTo>
                <a:lnTo>
                  <a:pt x="1194" y="878"/>
                </a:lnTo>
                <a:lnTo>
                  <a:pt x="1212" y="896"/>
                </a:lnTo>
                <a:lnTo>
                  <a:pt x="1228" y="914"/>
                </a:lnTo>
                <a:lnTo>
                  <a:pt x="1242" y="934"/>
                </a:lnTo>
                <a:lnTo>
                  <a:pt x="1254" y="956"/>
                </a:lnTo>
                <a:lnTo>
                  <a:pt x="1266" y="980"/>
                </a:lnTo>
                <a:lnTo>
                  <a:pt x="1274" y="1004"/>
                </a:lnTo>
                <a:lnTo>
                  <a:pt x="1274" y="1004"/>
                </a:lnTo>
                <a:lnTo>
                  <a:pt x="1278" y="1016"/>
                </a:lnTo>
                <a:lnTo>
                  <a:pt x="1288" y="1032"/>
                </a:lnTo>
                <a:lnTo>
                  <a:pt x="1304" y="1052"/>
                </a:lnTo>
                <a:lnTo>
                  <a:pt x="1328" y="1078"/>
                </a:lnTo>
                <a:lnTo>
                  <a:pt x="1362" y="1112"/>
                </a:lnTo>
                <a:lnTo>
                  <a:pt x="1406" y="1152"/>
                </a:lnTo>
                <a:lnTo>
                  <a:pt x="1466" y="1202"/>
                </a:lnTo>
                <a:lnTo>
                  <a:pt x="1540" y="1262"/>
                </a:lnTo>
                <a:lnTo>
                  <a:pt x="1540" y="1262"/>
                </a:lnTo>
                <a:lnTo>
                  <a:pt x="1544" y="1268"/>
                </a:lnTo>
                <a:lnTo>
                  <a:pt x="1544" y="1268"/>
                </a:lnTo>
                <a:lnTo>
                  <a:pt x="1548" y="1272"/>
                </a:lnTo>
                <a:lnTo>
                  <a:pt x="1548" y="1272"/>
                </a:lnTo>
                <a:lnTo>
                  <a:pt x="1548" y="1274"/>
                </a:lnTo>
                <a:lnTo>
                  <a:pt x="1548" y="1274"/>
                </a:lnTo>
                <a:lnTo>
                  <a:pt x="1550" y="1280"/>
                </a:lnTo>
                <a:lnTo>
                  <a:pt x="1552" y="1288"/>
                </a:lnTo>
                <a:lnTo>
                  <a:pt x="1550" y="1296"/>
                </a:lnTo>
                <a:lnTo>
                  <a:pt x="1546" y="1304"/>
                </a:lnTo>
                <a:close/>
                <a:moveTo>
                  <a:pt x="1492" y="1422"/>
                </a:moveTo>
                <a:lnTo>
                  <a:pt x="1492" y="1422"/>
                </a:lnTo>
                <a:lnTo>
                  <a:pt x="1488" y="1426"/>
                </a:lnTo>
                <a:lnTo>
                  <a:pt x="1484" y="1430"/>
                </a:lnTo>
                <a:lnTo>
                  <a:pt x="1472" y="1434"/>
                </a:lnTo>
                <a:lnTo>
                  <a:pt x="1460" y="1432"/>
                </a:lnTo>
                <a:lnTo>
                  <a:pt x="1456" y="1430"/>
                </a:lnTo>
                <a:lnTo>
                  <a:pt x="1450" y="1428"/>
                </a:lnTo>
                <a:lnTo>
                  <a:pt x="1450" y="1428"/>
                </a:lnTo>
                <a:lnTo>
                  <a:pt x="1448" y="1426"/>
                </a:lnTo>
                <a:lnTo>
                  <a:pt x="1448" y="1426"/>
                </a:lnTo>
                <a:lnTo>
                  <a:pt x="1392" y="1380"/>
                </a:lnTo>
                <a:lnTo>
                  <a:pt x="1334" y="1334"/>
                </a:lnTo>
                <a:lnTo>
                  <a:pt x="1280" y="1286"/>
                </a:lnTo>
                <a:lnTo>
                  <a:pt x="1230" y="1236"/>
                </a:lnTo>
                <a:lnTo>
                  <a:pt x="1186" y="1190"/>
                </a:lnTo>
                <a:lnTo>
                  <a:pt x="1166" y="1166"/>
                </a:lnTo>
                <a:lnTo>
                  <a:pt x="1148" y="1142"/>
                </a:lnTo>
                <a:lnTo>
                  <a:pt x="1134" y="1120"/>
                </a:lnTo>
                <a:lnTo>
                  <a:pt x="1120" y="1098"/>
                </a:lnTo>
                <a:lnTo>
                  <a:pt x="1110" y="1076"/>
                </a:lnTo>
                <a:lnTo>
                  <a:pt x="1102" y="1054"/>
                </a:lnTo>
                <a:lnTo>
                  <a:pt x="1102" y="1054"/>
                </a:lnTo>
                <a:lnTo>
                  <a:pt x="1098" y="1040"/>
                </a:lnTo>
                <a:lnTo>
                  <a:pt x="1092" y="1030"/>
                </a:lnTo>
                <a:lnTo>
                  <a:pt x="1084" y="1020"/>
                </a:lnTo>
                <a:lnTo>
                  <a:pt x="1074" y="1010"/>
                </a:lnTo>
                <a:lnTo>
                  <a:pt x="1064" y="1002"/>
                </a:lnTo>
                <a:lnTo>
                  <a:pt x="1052" y="996"/>
                </a:lnTo>
                <a:lnTo>
                  <a:pt x="1040" y="992"/>
                </a:lnTo>
                <a:lnTo>
                  <a:pt x="1028" y="990"/>
                </a:lnTo>
                <a:lnTo>
                  <a:pt x="1028" y="990"/>
                </a:lnTo>
                <a:lnTo>
                  <a:pt x="1010" y="990"/>
                </a:lnTo>
                <a:lnTo>
                  <a:pt x="992" y="992"/>
                </a:lnTo>
                <a:lnTo>
                  <a:pt x="992" y="992"/>
                </a:lnTo>
                <a:lnTo>
                  <a:pt x="976" y="1000"/>
                </a:lnTo>
                <a:lnTo>
                  <a:pt x="962" y="1010"/>
                </a:lnTo>
                <a:lnTo>
                  <a:pt x="950" y="1022"/>
                </a:lnTo>
                <a:lnTo>
                  <a:pt x="940" y="1036"/>
                </a:lnTo>
                <a:lnTo>
                  <a:pt x="932" y="1050"/>
                </a:lnTo>
                <a:lnTo>
                  <a:pt x="930" y="1068"/>
                </a:lnTo>
                <a:lnTo>
                  <a:pt x="928" y="1086"/>
                </a:lnTo>
                <a:lnTo>
                  <a:pt x="932" y="1102"/>
                </a:lnTo>
                <a:lnTo>
                  <a:pt x="932" y="1102"/>
                </a:lnTo>
                <a:lnTo>
                  <a:pt x="942" y="1134"/>
                </a:lnTo>
                <a:lnTo>
                  <a:pt x="956" y="1166"/>
                </a:lnTo>
                <a:lnTo>
                  <a:pt x="972" y="1196"/>
                </a:lnTo>
                <a:lnTo>
                  <a:pt x="992" y="1228"/>
                </a:lnTo>
                <a:lnTo>
                  <a:pt x="1014" y="1258"/>
                </a:lnTo>
                <a:lnTo>
                  <a:pt x="1036" y="1288"/>
                </a:lnTo>
                <a:lnTo>
                  <a:pt x="1062" y="1318"/>
                </a:lnTo>
                <a:lnTo>
                  <a:pt x="1090" y="1346"/>
                </a:lnTo>
                <a:lnTo>
                  <a:pt x="1148" y="1404"/>
                </a:lnTo>
                <a:lnTo>
                  <a:pt x="1210" y="1460"/>
                </a:lnTo>
                <a:lnTo>
                  <a:pt x="1274" y="1514"/>
                </a:lnTo>
                <a:lnTo>
                  <a:pt x="1340" y="1566"/>
                </a:lnTo>
                <a:lnTo>
                  <a:pt x="1340" y="1566"/>
                </a:lnTo>
                <a:lnTo>
                  <a:pt x="1344" y="1570"/>
                </a:lnTo>
                <a:lnTo>
                  <a:pt x="1346" y="1576"/>
                </a:lnTo>
                <a:lnTo>
                  <a:pt x="1350" y="1586"/>
                </a:lnTo>
                <a:lnTo>
                  <a:pt x="1350" y="1598"/>
                </a:lnTo>
                <a:lnTo>
                  <a:pt x="1348" y="1602"/>
                </a:lnTo>
                <a:lnTo>
                  <a:pt x="1344" y="1608"/>
                </a:lnTo>
                <a:lnTo>
                  <a:pt x="1344" y="1608"/>
                </a:lnTo>
                <a:lnTo>
                  <a:pt x="1340" y="1612"/>
                </a:lnTo>
                <a:lnTo>
                  <a:pt x="1334" y="1616"/>
                </a:lnTo>
                <a:lnTo>
                  <a:pt x="1328" y="1618"/>
                </a:lnTo>
                <a:lnTo>
                  <a:pt x="1322" y="1618"/>
                </a:lnTo>
                <a:lnTo>
                  <a:pt x="1322" y="1618"/>
                </a:lnTo>
                <a:lnTo>
                  <a:pt x="1320" y="1618"/>
                </a:lnTo>
                <a:lnTo>
                  <a:pt x="1320" y="1618"/>
                </a:lnTo>
                <a:lnTo>
                  <a:pt x="1320" y="1620"/>
                </a:lnTo>
                <a:lnTo>
                  <a:pt x="1320" y="1618"/>
                </a:lnTo>
                <a:lnTo>
                  <a:pt x="1320" y="1618"/>
                </a:lnTo>
                <a:lnTo>
                  <a:pt x="1320" y="1618"/>
                </a:lnTo>
                <a:lnTo>
                  <a:pt x="1320" y="1618"/>
                </a:lnTo>
                <a:lnTo>
                  <a:pt x="1316" y="1618"/>
                </a:lnTo>
                <a:lnTo>
                  <a:pt x="1316" y="1618"/>
                </a:lnTo>
                <a:lnTo>
                  <a:pt x="1312" y="1618"/>
                </a:lnTo>
                <a:lnTo>
                  <a:pt x="1312" y="1618"/>
                </a:lnTo>
                <a:lnTo>
                  <a:pt x="1302" y="1612"/>
                </a:lnTo>
                <a:lnTo>
                  <a:pt x="1302" y="1612"/>
                </a:lnTo>
                <a:lnTo>
                  <a:pt x="1234" y="1558"/>
                </a:lnTo>
                <a:lnTo>
                  <a:pt x="1168" y="1502"/>
                </a:lnTo>
                <a:lnTo>
                  <a:pt x="1102" y="1444"/>
                </a:lnTo>
                <a:lnTo>
                  <a:pt x="1072" y="1414"/>
                </a:lnTo>
                <a:lnTo>
                  <a:pt x="1042" y="1382"/>
                </a:lnTo>
                <a:lnTo>
                  <a:pt x="1014" y="1352"/>
                </a:lnTo>
                <a:lnTo>
                  <a:pt x="986" y="1320"/>
                </a:lnTo>
                <a:lnTo>
                  <a:pt x="962" y="1288"/>
                </a:lnTo>
                <a:lnTo>
                  <a:pt x="940" y="1254"/>
                </a:lnTo>
                <a:lnTo>
                  <a:pt x="918" y="1222"/>
                </a:lnTo>
                <a:lnTo>
                  <a:pt x="902" y="1188"/>
                </a:lnTo>
                <a:lnTo>
                  <a:pt x="886" y="1154"/>
                </a:lnTo>
                <a:lnTo>
                  <a:pt x="876" y="1120"/>
                </a:lnTo>
                <a:lnTo>
                  <a:pt x="876" y="1120"/>
                </a:lnTo>
                <a:lnTo>
                  <a:pt x="872" y="1104"/>
                </a:lnTo>
                <a:lnTo>
                  <a:pt x="872" y="1090"/>
                </a:lnTo>
                <a:lnTo>
                  <a:pt x="872" y="1090"/>
                </a:lnTo>
                <a:lnTo>
                  <a:pt x="872" y="1080"/>
                </a:lnTo>
                <a:lnTo>
                  <a:pt x="872" y="1080"/>
                </a:lnTo>
                <a:lnTo>
                  <a:pt x="872" y="1062"/>
                </a:lnTo>
                <a:lnTo>
                  <a:pt x="872" y="1062"/>
                </a:lnTo>
                <a:lnTo>
                  <a:pt x="876" y="1050"/>
                </a:lnTo>
                <a:lnTo>
                  <a:pt x="876" y="1050"/>
                </a:lnTo>
                <a:lnTo>
                  <a:pt x="880" y="1036"/>
                </a:lnTo>
                <a:lnTo>
                  <a:pt x="880" y="1036"/>
                </a:lnTo>
                <a:lnTo>
                  <a:pt x="884" y="1024"/>
                </a:lnTo>
                <a:lnTo>
                  <a:pt x="884" y="1024"/>
                </a:lnTo>
                <a:lnTo>
                  <a:pt x="892" y="1010"/>
                </a:lnTo>
                <a:lnTo>
                  <a:pt x="892" y="1010"/>
                </a:lnTo>
                <a:lnTo>
                  <a:pt x="898" y="1000"/>
                </a:lnTo>
                <a:lnTo>
                  <a:pt x="898" y="1000"/>
                </a:lnTo>
                <a:lnTo>
                  <a:pt x="908" y="988"/>
                </a:lnTo>
                <a:lnTo>
                  <a:pt x="908" y="988"/>
                </a:lnTo>
                <a:lnTo>
                  <a:pt x="916" y="978"/>
                </a:lnTo>
                <a:lnTo>
                  <a:pt x="916" y="978"/>
                </a:lnTo>
                <a:lnTo>
                  <a:pt x="928" y="968"/>
                </a:lnTo>
                <a:lnTo>
                  <a:pt x="928" y="968"/>
                </a:lnTo>
                <a:lnTo>
                  <a:pt x="938" y="962"/>
                </a:lnTo>
                <a:lnTo>
                  <a:pt x="938" y="962"/>
                </a:lnTo>
                <a:lnTo>
                  <a:pt x="952" y="954"/>
                </a:lnTo>
                <a:lnTo>
                  <a:pt x="952" y="954"/>
                </a:lnTo>
                <a:lnTo>
                  <a:pt x="964" y="948"/>
                </a:lnTo>
                <a:lnTo>
                  <a:pt x="964" y="948"/>
                </a:lnTo>
                <a:lnTo>
                  <a:pt x="972" y="944"/>
                </a:lnTo>
                <a:lnTo>
                  <a:pt x="972" y="944"/>
                </a:lnTo>
                <a:lnTo>
                  <a:pt x="978" y="942"/>
                </a:lnTo>
                <a:lnTo>
                  <a:pt x="978" y="942"/>
                </a:lnTo>
                <a:lnTo>
                  <a:pt x="984" y="940"/>
                </a:lnTo>
                <a:lnTo>
                  <a:pt x="984" y="940"/>
                </a:lnTo>
                <a:lnTo>
                  <a:pt x="994" y="940"/>
                </a:lnTo>
                <a:lnTo>
                  <a:pt x="994" y="940"/>
                </a:lnTo>
                <a:lnTo>
                  <a:pt x="1006" y="938"/>
                </a:lnTo>
                <a:lnTo>
                  <a:pt x="1006" y="938"/>
                </a:lnTo>
                <a:lnTo>
                  <a:pt x="1022" y="936"/>
                </a:lnTo>
                <a:lnTo>
                  <a:pt x="1022" y="936"/>
                </a:lnTo>
                <a:lnTo>
                  <a:pt x="1034" y="938"/>
                </a:lnTo>
                <a:lnTo>
                  <a:pt x="1034" y="938"/>
                </a:lnTo>
                <a:lnTo>
                  <a:pt x="1050" y="940"/>
                </a:lnTo>
                <a:lnTo>
                  <a:pt x="1050" y="940"/>
                </a:lnTo>
                <a:lnTo>
                  <a:pt x="1062" y="944"/>
                </a:lnTo>
                <a:lnTo>
                  <a:pt x="1062" y="944"/>
                </a:lnTo>
                <a:lnTo>
                  <a:pt x="1076" y="948"/>
                </a:lnTo>
                <a:lnTo>
                  <a:pt x="1076" y="948"/>
                </a:lnTo>
                <a:lnTo>
                  <a:pt x="1088" y="954"/>
                </a:lnTo>
                <a:lnTo>
                  <a:pt x="1088" y="954"/>
                </a:lnTo>
                <a:lnTo>
                  <a:pt x="1100" y="962"/>
                </a:lnTo>
                <a:lnTo>
                  <a:pt x="1100" y="962"/>
                </a:lnTo>
                <a:lnTo>
                  <a:pt x="1110" y="968"/>
                </a:lnTo>
                <a:lnTo>
                  <a:pt x="1110" y="968"/>
                </a:lnTo>
                <a:lnTo>
                  <a:pt x="1122" y="980"/>
                </a:lnTo>
                <a:lnTo>
                  <a:pt x="1122" y="980"/>
                </a:lnTo>
                <a:lnTo>
                  <a:pt x="1132" y="988"/>
                </a:lnTo>
                <a:lnTo>
                  <a:pt x="1132" y="988"/>
                </a:lnTo>
                <a:lnTo>
                  <a:pt x="1142" y="1002"/>
                </a:lnTo>
                <a:lnTo>
                  <a:pt x="1142" y="1002"/>
                </a:lnTo>
                <a:lnTo>
                  <a:pt x="1148" y="1010"/>
                </a:lnTo>
                <a:lnTo>
                  <a:pt x="1148" y="1010"/>
                </a:lnTo>
                <a:lnTo>
                  <a:pt x="1154" y="1024"/>
                </a:lnTo>
                <a:lnTo>
                  <a:pt x="1160" y="1038"/>
                </a:lnTo>
                <a:lnTo>
                  <a:pt x="1160" y="1038"/>
                </a:lnTo>
                <a:lnTo>
                  <a:pt x="1168" y="1058"/>
                </a:lnTo>
                <a:lnTo>
                  <a:pt x="1180" y="1080"/>
                </a:lnTo>
                <a:lnTo>
                  <a:pt x="1194" y="1104"/>
                </a:lnTo>
                <a:lnTo>
                  <a:pt x="1212" y="1128"/>
                </a:lnTo>
                <a:lnTo>
                  <a:pt x="1234" y="1152"/>
                </a:lnTo>
                <a:lnTo>
                  <a:pt x="1256" y="1178"/>
                </a:lnTo>
                <a:lnTo>
                  <a:pt x="1304" y="1226"/>
                </a:lnTo>
                <a:lnTo>
                  <a:pt x="1356" y="1272"/>
                </a:lnTo>
                <a:lnTo>
                  <a:pt x="1406" y="1316"/>
                </a:lnTo>
                <a:lnTo>
                  <a:pt x="1486" y="1380"/>
                </a:lnTo>
                <a:lnTo>
                  <a:pt x="1486" y="1380"/>
                </a:lnTo>
                <a:lnTo>
                  <a:pt x="1492" y="1388"/>
                </a:lnTo>
                <a:lnTo>
                  <a:pt x="1496" y="1396"/>
                </a:lnTo>
                <a:lnTo>
                  <a:pt x="1496" y="1396"/>
                </a:lnTo>
                <a:lnTo>
                  <a:pt x="1498" y="1400"/>
                </a:lnTo>
                <a:lnTo>
                  <a:pt x="1498" y="1400"/>
                </a:lnTo>
                <a:lnTo>
                  <a:pt x="1498" y="1402"/>
                </a:lnTo>
                <a:lnTo>
                  <a:pt x="1498" y="1402"/>
                </a:lnTo>
                <a:lnTo>
                  <a:pt x="1496" y="1412"/>
                </a:lnTo>
                <a:lnTo>
                  <a:pt x="1492" y="1422"/>
                </a:lnTo>
                <a:close/>
                <a:moveTo>
                  <a:pt x="1424" y="1514"/>
                </a:moveTo>
                <a:lnTo>
                  <a:pt x="1424" y="1514"/>
                </a:lnTo>
                <a:lnTo>
                  <a:pt x="1414" y="1520"/>
                </a:lnTo>
                <a:lnTo>
                  <a:pt x="1402" y="1522"/>
                </a:lnTo>
                <a:lnTo>
                  <a:pt x="1402" y="1522"/>
                </a:lnTo>
                <a:lnTo>
                  <a:pt x="1392" y="1520"/>
                </a:lnTo>
                <a:lnTo>
                  <a:pt x="1382" y="1514"/>
                </a:lnTo>
                <a:lnTo>
                  <a:pt x="1382" y="1514"/>
                </a:lnTo>
                <a:lnTo>
                  <a:pt x="1370" y="1504"/>
                </a:lnTo>
                <a:lnTo>
                  <a:pt x="1370" y="1504"/>
                </a:lnTo>
                <a:lnTo>
                  <a:pt x="1344" y="1484"/>
                </a:lnTo>
                <a:lnTo>
                  <a:pt x="1320" y="1464"/>
                </a:lnTo>
                <a:lnTo>
                  <a:pt x="1320" y="1464"/>
                </a:lnTo>
                <a:lnTo>
                  <a:pt x="1276" y="1432"/>
                </a:lnTo>
                <a:lnTo>
                  <a:pt x="1230" y="1394"/>
                </a:lnTo>
                <a:lnTo>
                  <a:pt x="1180" y="1352"/>
                </a:lnTo>
                <a:lnTo>
                  <a:pt x="1132" y="1306"/>
                </a:lnTo>
                <a:lnTo>
                  <a:pt x="1108" y="1282"/>
                </a:lnTo>
                <a:lnTo>
                  <a:pt x="1086" y="1256"/>
                </a:lnTo>
                <a:lnTo>
                  <a:pt x="1064" y="1230"/>
                </a:lnTo>
                <a:lnTo>
                  <a:pt x="1046" y="1202"/>
                </a:lnTo>
                <a:lnTo>
                  <a:pt x="1028" y="1174"/>
                </a:lnTo>
                <a:lnTo>
                  <a:pt x="1012" y="1146"/>
                </a:lnTo>
                <a:lnTo>
                  <a:pt x="998" y="1116"/>
                </a:lnTo>
                <a:lnTo>
                  <a:pt x="988" y="1086"/>
                </a:lnTo>
                <a:lnTo>
                  <a:pt x="988" y="1086"/>
                </a:lnTo>
                <a:lnTo>
                  <a:pt x="988" y="1084"/>
                </a:lnTo>
                <a:lnTo>
                  <a:pt x="988" y="1084"/>
                </a:lnTo>
                <a:lnTo>
                  <a:pt x="988" y="1074"/>
                </a:lnTo>
                <a:lnTo>
                  <a:pt x="992" y="1064"/>
                </a:lnTo>
                <a:lnTo>
                  <a:pt x="998" y="1054"/>
                </a:lnTo>
                <a:lnTo>
                  <a:pt x="1008" y="1050"/>
                </a:lnTo>
                <a:lnTo>
                  <a:pt x="1008" y="1050"/>
                </a:lnTo>
                <a:lnTo>
                  <a:pt x="1014" y="1048"/>
                </a:lnTo>
                <a:lnTo>
                  <a:pt x="1020" y="1048"/>
                </a:lnTo>
                <a:lnTo>
                  <a:pt x="1032" y="1052"/>
                </a:lnTo>
                <a:lnTo>
                  <a:pt x="1040" y="1058"/>
                </a:lnTo>
                <a:lnTo>
                  <a:pt x="1044" y="1064"/>
                </a:lnTo>
                <a:lnTo>
                  <a:pt x="1046" y="1070"/>
                </a:lnTo>
                <a:lnTo>
                  <a:pt x="1046" y="1070"/>
                </a:lnTo>
                <a:lnTo>
                  <a:pt x="1046" y="1070"/>
                </a:lnTo>
                <a:lnTo>
                  <a:pt x="1046" y="1070"/>
                </a:lnTo>
                <a:lnTo>
                  <a:pt x="1054" y="1096"/>
                </a:lnTo>
                <a:lnTo>
                  <a:pt x="1066" y="1124"/>
                </a:lnTo>
                <a:lnTo>
                  <a:pt x="1082" y="1148"/>
                </a:lnTo>
                <a:lnTo>
                  <a:pt x="1098" y="1174"/>
                </a:lnTo>
                <a:lnTo>
                  <a:pt x="1116" y="1198"/>
                </a:lnTo>
                <a:lnTo>
                  <a:pt x="1136" y="1222"/>
                </a:lnTo>
                <a:lnTo>
                  <a:pt x="1156" y="1246"/>
                </a:lnTo>
                <a:lnTo>
                  <a:pt x="1178" y="1268"/>
                </a:lnTo>
                <a:lnTo>
                  <a:pt x="1224" y="1312"/>
                </a:lnTo>
                <a:lnTo>
                  <a:pt x="1270" y="1350"/>
                </a:lnTo>
                <a:lnTo>
                  <a:pt x="1314" y="1386"/>
                </a:lnTo>
                <a:lnTo>
                  <a:pt x="1356" y="1418"/>
                </a:lnTo>
                <a:lnTo>
                  <a:pt x="1356" y="1418"/>
                </a:lnTo>
                <a:lnTo>
                  <a:pt x="1390" y="1444"/>
                </a:lnTo>
                <a:lnTo>
                  <a:pt x="1424" y="1472"/>
                </a:lnTo>
                <a:lnTo>
                  <a:pt x="1424" y="1472"/>
                </a:lnTo>
                <a:lnTo>
                  <a:pt x="1424" y="1472"/>
                </a:lnTo>
                <a:lnTo>
                  <a:pt x="1424" y="1472"/>
                </a:lnTo>
                <a:lnTo>
                  <a:pt x="1424" y="1472"/>
                </a:lnTo>
                <a:lnTo>
                  <a:pt x="1424" y="1472"/>
                </a:lnTo>
                <a:lnTo>
                  <a:pt x="1428" y="1476"/>
                </a:lnTo>
                <a:lnTo>
                  <a:pt x="1430" y="1482"/>
                </a:lnTo>
                <a:lnTo>
                  <a:pt x="1432" y="1494"/>
                </a:lnTo>
                <a:lnTo>
                  <a:pt x="1430" y="1504"/>
                </a:lnTo>
                <a:lnTo>
                  <a:pt x="1428" y="1510"/>
                </a:lnTo>
                <a:lnTo>
                  <a:pt x="1424" y="1514"/>
                </a:lnTo>
                <a:close/>
                <a:moveTo>
                  <a:pt x="1216" y="1692"/>
                </a:moveTo>
                <a:lnTo>
                  <a:pt x="1216" y="1692"/>
                </a:lnTo>
                <a:lnTo>
                  <a:pt x="1208" y="1698"/>
                </a:lnTo>
                <a:lnTo>
                  <a:pt x="1200" y="1700"/>
                </a:lnTo>
                <a:lnTo>
                  <a:pt x="1192" y="1700"/>
                </a:lnTo>
                <a:lnTo>
                  <a:pt x="1184" y="1698"/>
                </a:lnTo>
                <a:lnTo>
                  <a:pt x="1184" y="1698"/>
                </a:lnTo>
                <a:lnTo>
                  <a:pt x="1178" y="1696"/>
                </a:lnTo>
                <a:lnTo>
                  <a:pt x="1174" y="1692"/>
                </a:lnTo>
                <a:lnTo>
                  <a:pt x="1174" y="1692"/>
                </a:lnTo>
                <a:lnTo>
                  <a:pt x="1160" y="1676"/>
                </a:lnTo>
                <a:lnTo>
                  <a:pt x="1148" y="1658"/>
                </a:lnTo>
                <a:lnTo>
                  <a:pt x="1148" y="1658"/>
                </a:lnTo>
                <a:lnTo>
                  <a:pt x="1128" y="1632"/>
                </a:lnTo>
                <a:lnTo>
                  <a:pt x="1116" y="1620"/>
                </a:lnTo>
                <a:lnTo>
                  <a:pt x="1104" y="1608"/>
                </a:lnTo>
                <a:lnTo>
                  <a:pt x="1092" y="1598"/>
                </a:lnTo>
                <a:lnTo>
                  <a:pt x="1078" y="1590"/>
                </a:lnTo>
                <a:lnTo>
                  <a:pt x="1062" y="1584"/>
                </a:lnTo>
                <a:lnTo>
                  <a:pt x="1046" y="1582"/>
                </a:lnTo>
                <a:lnTo>
                  <a:pt x="1046" y="1582"/>
                </a:lnTo>
                <a:lnTo>
                  <a:pt x="1042" y="1584"/>
                </a:lnTo>
                <a:lnTo>
                  <a:pt x="1036" y="1586"/>
                </a:lnTo>
                <a:lnTo>
                  <a:pt x="1030" y="1590"/>
                </a:lnTo>
                <a:lnTo>
                  <a:pt x="1024" y="1596"/>
                </a:lnTo>
                <a:lnTo>
                  <a:pt x="1016" y="1614"/>
                </a:lnTo>
                <a:lnTo>
                  <a:pt x="1006" y="1634"/>
                </a:lnTo>
                <a:lnTo>
                  <a:pt x="1000" y="1658"/>
                </a:lnTo>
                <a:lnTo>
                  <a:pt x="994" y="1682"/>
                </a:lnTo>
                <a:lnTo>
                  <a:pt x="990" y="1708"/>
                </a:lnTo>
                <a:lnTo>
                  <a:pt x="988" y="1732"/>
                </a:lnTo>
                <a:lnTo>
                  <a:pt x="988" y="1732"/>
                </a:lnTo>
                <a:lnTo>
                  <a:pt x="984" y="1744"/>
                </a:lnTo>
                <a:lnTo>
                  <a:pt x="978" y="1752"/>
                </a:lnTo>
                <a:lnTo>
                  <a:pt x="970" y="1758"/>
                </a:lnTo>
                <a:lnTo>
                  <a:pt x="958" y="1760"/>
                </a:lnTo>
                <a:lnTo>
                  <a:pt x="956" y="1760"/>
                </a:lnTo>
                <a:lnTo>
                  <a:pt x="956" y="1760"/>
                </a:lnTo>
                <a:lnTo>
                  <a:pt x="950" y="1760"/>
                </a:lnTo>
                <a:lnTo>
                  <a:pt x="944" y="1756"/>
                </a:lnTo>
                <a:lnTo>
                  <a:pt x="936" y="1750"/>
                </a:lnTo>
                <a:lnTo>
                  <a:pt x="930" y="1740"/>
                </a:lnTo>
                <a:lnTo>
                  <a:pt x="928" y="1734"/>
                </a:lnTo>
                <a:lnTo>
                  <a:pt x="928" y="1728"/>
                </a:lnTo>
                <a:lnTo>
                  <a:pt x="928" y="1728"/>
                </a:lnTo>
                <a:lnTo>
                  <a:pt x="928" y="1728"/>
                </a:lnTo>
                <a:lnTo>
                  <a:pt x="928" y="1728"/>
                </a:lnTo>
                <a:lnTo>
                  <a:pt x="928" y="1726"/>
                </a:lnTo>
                <a:lnTo>
                  <a:pt x="928" y="1726"/>
                </a:lnTo>
                <a:lnTo>
                  <a:pt x="930" y="1706"/>
                </a:lnTo>
                <a:lnTo>
                  <a:pt x="934" y="1678"/>
                </a:lnTo>
                <a:lnTo>
                  <a:pt x="940" y="1646"/>
                </a:lnTo>
                <a:lnTo>
                  <a:pt x="950" y="1612"/>
                </a:lnTo>
                <a:lnTo>
                  <a:pt x="950" y="1612"/>
                </a:lnTo>
                <a:lnTo>
                  <a:pt x="958" y="1596"/>
                </a:lnTo>
                <a:lnTo>
                  <a:pt x="966" y="1578"/>
                </a:lnTo>
                <a:lnTo>
                  <a:pt x="976" y="1564"/>
                </a:lnTo>
                <a:lnTo>
                  <a:pt x="986" y="1550"/>
                </a:lnTo>
                <a:lnTo>
                  <a:pt x="998" y="1538"/>
                </a:lnTo>
                <a:lnTo>
                  <a:pt x="1012" y="1530"/>
                </a:lnTo>
                <a:lnTo>
                  <a:pt x="1030" y="1524"/>
                </a:lnTo>
                <a:lnTo>
                  <a:pt x="1046" y="1522"/>
                </a:lnTo>
                <a:lnTo>
                  <a:pt x="1046" y="1522"/>
                </a:lnTo>
                <a:lnTo>
                  <a:pt x="1070" y="1528"/>
                </a:lnTo>
                <a:lnTo>
                  <a:pt x="1092" y="1534"/>
                </a:lnTo>
                <a:lnTo>
                  <a:pt x="1092" y="1534"/>
                </a:lnTo>
                <a:lnTo>
                  <a:pt x="1108" y="1540"/>
                </a:lnTo>
                <a:lnTo>
                  <a:pt x="1124" y="1548"/>
                </a:lnTo>
                <a:lnTo>
                  <a:pt x="1138" y="1558"/>
                </a:lnTo>
                <a:lnTo>
                  <a:pt x="1152" y="1570"/>
                </a:lnTo>
                <a:lnTo>
                  <a:pt x="1164" y="1580"/>
                </a:lnTo>
                <a:lnTo>
                  <a:pt x="1176" y="1594"/>
                </a:lnTo>
                <a:lnTo>
                  <a:pt x="1186" y="1608"/>
                </a:lnTo>
                <a:lnTo>
                  <a:pt x="1196" y="1624"/>
                </a:lnTo>
                <a:lnTo>
                  <a:pt x="1196" y="1624"/>
                </a:lnTo>
                <a:lnTo>
                  <a:pt x="1216" y="1650"/>
                </a:lnTo>
                <a:lnTo>
                  <a:pt x="1216" y="1650"/>
                </a:lnTo>
                <a:lnTo>
                  <a:pt x="1220" y="1654"/>
                </a:lnTo>
                <a:lnTo>
                  <a:pt x="1222" y="1660"/>
                </a:lnTo>
                <a:lnTo>
                  <a:pt x="1224" y="1672"/>
                </a:lnTo>
                <a:lnTo>
                  <a:pt x="1222" y="1682"/>
                </a:lnTo>
                <a:lnTo>
                  <a:pt x="1220" y="1688"/>
                </a:lnTo>
                <a:lnTo>
                  <a:pt x="1216" y="1692"/>
                </a:lnTo>
                <a:close/>
                <a:moveTo>
                  <a:pt x="790" y="1700"/>
                </a:moveTo>
                <a:lnTo>
                  <a:pt x="790" y="1700"/>
                </a:lnTo>
                <a:lnTo>
                  <a:pt x="780" y="1700"/>
                </a:lnTo>
                <a:lnTo>
                  <a:pt x="780" y="1700"/>
                </a:lnTo>
                <a:lnTo>
                  <a:pt x="778" y="1700"/>
                </a:lnTo>
                <a:lnTo>
                  <a:pt x="778" y="1700"/>
                </a:lnTo>
                <a:lnTo>
                  <a:pt x="774" y="1700"/>
                </a:lnTo>
                <a:lnTo>
                  <a:pt x="774" y="1700"/>
                </a:lnTo>
                <a:lnTo>
                  <a:pt x="768" y="1698"/>
                </a:lnTo>
                <a:lnTo>
                  <a:pt x="768" y="1698"/>
                </a:lnTo>
                <a:lnTo>
                  <a:pt x="762" y="1694"/>
                </a:lnTo>
                <a:lnTo>
                  <a:pt x="762" y="1694"/>
                </a:lnTo>
                <a:lnTo>
                  <a:pt x="758" y="1692"/>
                </a:lnTo>
                <a:lnTo>
                  <a:pt x="758" y="1692"/>
                </a:lnTo>
                <a:lnTo>
                  <a:pt x="754" y="1686"/>
                </a:lnTo>
                <a:lnTo>
                  <a:pt x="754" y="1686"/>
                </a:lnTo>
                <a:lnTo>
                  <a:pt x="752" y="1682"/>
                </a:lnTo>
                <a:lnTo>
                  <a:pt x="752" y="1682"/>
                </a:lnTo>
                <a:lnTo>
                  <a:pt x="752" y="1680"/>
                </a:lnTo>
                <a:lnTo>
                  <a:pt x="752" y="1680"/>
                </a:lnTo>
                <a:lnTo>
                  <a:pt x="750" y="1674"/>
                </a:lnTo>
                <a:lnTo>
                  <a:pt x="750" y="1674"/>
                </a:lnTo>
                <a:lnTo>
                  <a:pt x="750" y="1672"/>
                </a:lnTo>
                <a:lnTo>
                  <a:pt x="750" y="1672"/>
                </a:lnTo>
                <a:lnTo>
                  <a:pt x="750" y="1670"/>
                </a:lnTo>
                <a:lnTo>
                  <a:pt x="750" y="1670"/>
                </a:lnTo>
                <a:lnTo>
                  <a:pt x="752" y="1664"/>
                </a:lnTo>
                <a:lnTo>
                  <a:pt x="752" y="1664"/>
                </a:lnTo>
                <a:lnTo>
                  <a:pt x="752" y="1660"/>
                </a:lnTo>
                <a:lnTo>
                  <a:pt x="752" y="1660"/>
                </a:lnTo>
                <a:lnTo>
                  <a:pt x="756" y="1654"/>
                </a:lnTo>
                <a:lnTo>
                  <a:pt x="756" y="1654"/>
                </a:lnTo>
                <a:lnTo>
                  <a:pt x="758" y="1652"/>
                </a:lnTo>
                <a:lnTo>
                  <a:pt x="758" y="1652"/>
                </a:lnTo>
                <a:lnTo>
                  <a:pt x="762" y="1648"/>
                </a:lnTo>
                <a:lnTo>
                  <a:pt x="762" y="1648"/>
                </a:lnTo>
                <a:lnTo>
                  <a:pt x="766" y="1646"/>
                </a:lnTo>
                <a:lnTo>
                  <a:pt x="766" y="1646"/>
                </a:lnTo>
                <a:lnTo>
                  <a:pt x="772" y="1642"/>
                </a:lnTo>
                <a:lnTo>
                  <a:pt x="772" y="1642"/>
                </a:lnTo>
                <a:lnTo>
                  <a:pt x="782" y="1638"/>
                </a:lnTo>
                <a:lnTo>
                  <a:pt x="792" y="1632"/>
                </a:lnTo>
                <a:lnTo>
                  <a:pt x="802" y="1626"/>
                </a:lnTo>
                <a:lnTo>
                  <a:pt x="810" y="1616"/>
                </a:lnTo>
                <a:lnTo>
                  <a:pt x="828" y="1596"/>
                </a:lnTo>
                <a:lnTo>
                  <a:pt x="842" y="1570"/>
                </a:lnTo>
                <a:lnTo>
                  <a:pt x="842" y="1570"/>
                </a:lnTo>
                <a:lnTo>
                  <a:pt x="852" y="1548"/>
                </a:lnTo>
                <a:lnTo>
                  <a:pt x="862" y="1524"/>
                </a:lnTo>
                <a:lnTo>
                  <a:pt x="868" y="1498"/>
                </a:lnTo>
                <a:lnTo>
                  <a:pt x="874" y="1474"/>
                </a:lnTo>
                <a:lnTo>
                  <a:pt x="876" y="1450"/>
                </a:lnTo>
                <a:lnTo>
                  <a:pt x="876" y="1426"/>
                </a:lnTo>
                <a:lnTo>
                  <a:pt x="876" y="1404"/>
                </a:lnTo>
                <a:lnTo>
                  <a:pt x="870" y="1384"/>
                </a:lnTo>
                <a:lnTo>
                  <a:pt x="870" y="1384"/>
                </a:lnTo>
                <a:lnTo>
                  <a:pt x="868" y="1378"/>
                </a:lnTo>
                <a:lnTo>
                  <a:pt x="868" y="1372"/>
                </a:lnTo>
                <a:lnTo>
                  <a:pt x="872" y="1360"/>
                </a:lnTo>
                <a:lnTo>
                  <a:pt x="878" y="1352"/>
                </a:lnTo>
                <a:lnTo>
                  <a:pt x="882" y="1348"/>
                </a:lnTo>
                <a:lnTo>
                  <a:pt x="888" y="1346"/>
                </a:lnTo>
                <a:lnTo>
                  <a:pt x="888" y="1346"/>
                </a:lnTo>
                <a:lnTo>
                  <a:pt x="894" y="1344"/>
                </a:lnTo>
                <a:lnTo>
                  <a:pt x="900" y="1344"/>
                </a:lnTo>
                <a:lnTo>
                  <a:pt x="910" y="1346"/>
                </a:lnTo>
                <a:lnTo>
                  <a:pt x="920" y="1352"/>
                </a:lnTo>
                <a:lnTo>
                  <a:pt x="924" y="1358"/>
                </a:lnTo>
                <a:lnTo>
                  <a:pt x="926" y="1362"/>
                </a:lnTo>
                <a:lnTo>
                  <a:pt x="926" y="1362"/>
                </a:lnTo>
                <a:lnTo>
                  <a:pt x="926" y="1366"/>
                </a:lnTo>
                <a:lnTo>
                  <a:pt x="926" y="1366"/>
                </a:lnTo>
                <a:lnTo>
                  <a:pt x="928" y="1366"/>
                </a:lnTo>
                <a:lnTo>
                  <a:pt x="928" y="1366"/>
                </a:lnTo>
                <a:lnTo>
                  <a:pt x="932" y="1386"/>
                </a:lnTo>
                <a:lnTo>
                  <a:pt x="934" y="1406"/>
                </a:lnTo>
                <a:lnTo>
                  <a:pt x="936" y="1430"/>
                </a:lnTo>
                <a:lnTo>
                  <a:pt x="934" y="1454"/>
                </a:lnTo>
                <a:lnTo>
                  <a:pt x="932" y="1480"/>
                </a:lnTo>
                <a:lnTo>
                  <a:pt x="928" y="1504"/>
                </a:lnTo>
                <a:lnTo>
                  <a:pt x="920" y="1530"/>
                </a:lnTo>
                <a:lnTo>
                  <a:pt x="912" y="1556"/>
                </a:lnTo>
                <a:lnTo>
                  <a:pt x="912" y="1556"/>
                </a:lnTo>
                <a:lnTo>
                  <a:pt x="908" y="1568"/>
                </a:lnTo>
                <a:lnTo>
                  <a:pt x="908" y="1568"/>
                </a:lnTo>
                <a:lnTo>
                  <a:pt x="902" y="1580"/>
                </a:lnTo>
                <a:lnTo>
                  <a:pt x="902" y="1580"/>
                </a:lnTo>
                <a:lnTo>
                  <a:pt x="892" y="1600"/>
                </a:lnTo>
                <a:lnTo>
                  <a:pt x="882" y="1620"/>
                </a:lnTo>
                <a:lnTo>
                  <a:pt x="870" y="1638"/>
                </a:lnTo>
                <a:lnTo>
                  <a:pt x="856" y="1654"/>
                </a:lnTo>
                <a:lnTo>
                  <a:pt x="840" y="1670"/>
                </a:lnTo>
                <a:lnTo>
                  <a:pt x="824" y="1682"/>
                </a:lnTo>
                <a:lnTo>
                  <a:pt x="808" y="1692"/>
                </a:lnTo>
                <a:lnTo>
                  <a:pt x="790" y="1700"/>
                </a:lnTo>
                <a:close/>
                <a:moveTo>
                  <a:pt x="602" y="1286"/>
                </a:moveTo>
                <a:lnTo>
                  <a:pt x="602" y="1286"/>
                </a:lnTo>
                <a:lnTo>
                  <a:pt x="602" y="1290"/>
                </a:lnTo>
                <a:lnTo>
                  <a:pt x="602" y="1290"/>
                </a:lnTo>
                <a:lnTo>
                  <a:pt x="600" y="1296"/>
                </a:lnTo>
                <a:lnTo>
                  <a:pt x="600" y="1296"/>
                </a:lnTo>
                <a:lnTo>
                  <a:pt x="598" y="1302"/>
                </a:lnTo>
                <a:lnTo>
                  <a:pt x="598" y="1302"/>
                </a:lnTo>
                <a:lnTo>
                  <a:pt x="594" y="1306"/>
                </a:lnTo>
                <a:lnTo>
                  <a:pt x="594" y="1306"/>
                </a:lnTo>
                <a:lnTo>
                  <a:pt x="590" y="1310"/>
                </a:lnTo>
                <a:lnTo>
                  <a:pt x="590" y="1310"/>
                </a:lnTo>
                <a:lnTo>
                  <a:pt x="586" y="1312"/>
                </a:lnTo>
                <a:lnTo>
                  <a:pt x="586" y="1312"/>
                </a:lnTo>
                <a:lnTo>
                  <a:pt x="586" y="1312"/>
                </a:lnTo>
                <a:lnTo>
                  <a:pt x="586" y="1312"/>
                </a:lnTo>
                <a:lnTo>
                  <a:pt x="580" y="1314"/>
                </a:lnTo>
                <a:lnTo>
                  <a:pt x="572" y="1316"/>
                </a:lnTo>
                <a:lnTo>
                  <a:pt x="572" y="1316"/>
                </a:lnTo>
                <a:lnTo>
                  <a:pt x="564" y="1314"/>
                </a:lnTo>
                <a:lnTo>
                  <a:pt x="558" y="1310"/>
                </a:lnTo>
                <a:lnTo>
                  <a:pt x="550" y="1306"/>
                </a:lnTo>
                <a:lnTo>
                  <a:pt x="546" y="1298"/>
                </a:lnTo>
                <a:lnTo>
                  <a:pt x="546" y="1298"/>
                </a:lnTo>
                <a:lnTo>
                  <a:pt x="534" y="1274"/>
                </a:lnTo>
                <a:lnTo>
                  <a:pt x="526" y="1250"/>
                </a:lnTo>
                <a:lnTo>
                  <a:pt x="518" y="1224"/>
                </a:lnTo>
                <a:lnTo>
                  <a:pt x="514" y="1196"/>
                </a:lnTo>
                <a:lnTo>
                  <a:pt x="514" y="1196"/>
                </a:lnTo>
                <a:lnTo>
                  <a:pt x="514" y="1190"/>
                </a:lnTo>
                <a:lnTo>
                  <a:pt x="516" y="1186"/>
                </a:lnTo>
                <a:lnTo>
                  <a:pt x="522" y="1176"/>
                </a:lnTo>
                <a:lnTo>
                  <a:pt x="532" y="1170"/>
                </a:lnTo>
                <a:lnTo>
                  <a:pt x="538" y="1168"/>
                </a:lnTo>
                <a:lnTo>
                  <a:pt x="544" y="1168"/>
                </a:lnTo>
                <a:lnTo>
                  <a:pt x="544" y="1168"/>
                </a:lnTo>
                <a:lnTo>
                  <a:pt x="550" y="1168"/>
                </a:lnTo>
                <a:lnTo>
                  <a:pt x="554" y="1170"/>
                </a:lnTo>
                <a:lnTo>
                  <a:pt x="564" y="1176"/>
                </a:lnTo>
                <a:lnTo>
                  <a:pt x="570" y="1186"/>
                </a:lnTo>
                <a:lnTo>
                  <a:pt x="572" y="1190"/>
                </a:lnTo>
                <a:lnTo>
                  <a:pt x="572" y="1196"/>
                </a:lnTo>
                <a:lnTo>
                  <a:pt x="572" y="1196"/>
                </a:lnTo>
                <a:lnTo>
                  <a:pt x="578" y="1216"/>
                </a:lnTo>
                <a:lnTo>
                  <a:pt x="584" y="1236"/>
                </a:lnTo>
                <a:lnTo>
                  <a:pt x="590" y="1254"/>
                </a:lnTo>
                <a:lnTo>
                  <a:pt x="600" y="1272"/>
                </a:lnTo>
                <a:lnTo>
                  <a:pt x="600" y="1272"/>
                </a:lnTo>
                <a:lnTo>
                  <a:pt x="602" y="1278"/>
                </a:lnTo>
                <a:lnTo>
                  <a:pt x="602" y="1284"/>
                </a:lnTo>
                <a:lnTo>
                  <a:pt x="602" y="1284"/>
                </a:lnTo>
                <a:lnTo>
                  <a:pt x="602" y="1286"/>
                </a:lnTo>
                <a:close/>
                <a:moveTo>
                  <a:pt x="546" y="650"/>
                </a:moveTo>
                <a:lnTo>
                  <a:pt x="546" y="650"/>
                </a:lnTo>
                <a:lnTo>
                  <a:pt x="548" y="648"/>
                </a:lnTo>
                <a:lnTo>
                  <a:pt x="548" y="648"/>
                </a:lnTo>
                <a:lnTo>
                  <a:pt x="548" y="648"/>
                </a:lnTo>
                <a:lnTo>
                  <a:pt x="548" y="648"/>
                </a:lnTo>
                <a:lnTo>
                  <a:pt x="560" y="630"/>
                </a:lnTo>
                <a:lnTo>
                  <a:pt x="578" y="610"/>
                </a:lnTo>
                <a:lnTo>
                  <a:pt x="578" y="610"/>
                </a:lnTo>
                <a:lnTo>
                  <a:pt x="596" y="592"/>
                </a:lnTo>
                <a:lnTo>
                  <a:pt x="620" y="572"/>
                </a:lnTo>
                <a:lnTo>
                  <a:pt x="648" y="552"/>
                </a:lnTo>
                <a:lnTo>
                  <a:pt x="680" y="532"/>
                </a:lnTo>
                <a:lnTo>
                  <a:pt x="716" y="514"/>
                </a:lnTo>
                <a:lnTo>
                  <a:pt x="756" y="496"/>
                </a:lnTo>
                <a:lnTo>
                  <a:pt x="802" y="480"/>
                </a:lnTo>
                <a:lnTo>
                  <a:pt x="852" y="468"/>
                </a:lnTo>
                <a:lnTo>
                  <a:pt x="852" y="468"/>
                </a:lnTo>
                <a:lnTo>
                  <a:pt x="882" y="464"/>
                </a:lnTo>
                <a:lnTo>
                  <a:pt x="916" y="460"/>
                </a:lnTo>
                <a:lnTo>
                  <a:pt x="952" y="456"/>
                </a:lnTo>
                <a:lnTo>
                  <a:pt x="988" y="456"/>
                </a:lnTo>
                <a:lnTo>
                  <a:pt x="988" y="456"/>
                </a:lnTo>
                <a:lnTo>
                  <a:pt x="1034" y="458"/>
                </a:lnTo>
                <a:lnTo>
                  <a:pt x="1078" y="462"/>
                </a:lnTo>
                <a:lnTo>
                  <a:pt x="1120" y="468"/>
                </a:lnTo>
                <a:lnTo>
                  <a:pt x="1160" y="476"/>
                </a:lnTo>
                <a:lnTo>
                  <a:pt x="1160" y="476"/>
                </a:lnTo>
                <a:lnTo>
                  <a:pt x="1190" y="484"/>
                </a:lnTo>
                <a:lnTo>
                  <a:pt x="1218" y="492"/>
                </a:lnTo>
                <a:lnTo>
                  <a:pt x="1270" y="512"/>
                </a:lnTo>
                <a:lnTo>
                  <a:pt x="1316" y="534"/>
                </a:lnTo>
                <a:lnTo>
                  <a:pt x="1356" y="558"/>
                </a:lnTo>
                <a:lnTo>
                  <a:pt x="1392" y="582"/>
                </a:lnTo>
                <a:lnTo>
                  <a:pt x="1420" y="606"/>
                </a:lnTo>
                <a:lnTo>
                  <a:pt x="1442" y="628"/>
                </a:lnTo>
                <a:lnTo>
                  <a:pt x="1458" y="648"/>
                </a:lnTo>
                <a:lnTo>
                  <a:pt x="1458" y="648"/>
                </a:lnTo>
                <a:lnTo>
                  <a:pt x="1460" y="654"/>
                </a:lnTo>
                <a:lnTo>
                  <a:pt x="1462" y="658"/>
                </a:lnTo>
                <a:lnTo>
                  <a:pt x="1462" y="670"/>
                </a:lnTo>
                <a:lnTo>
                  <a:pt x="1462" y="670"/>
                </a:lnTo>
                <a:lnTo>
                  <a:pt x="1460" y="672"/>
                </a:lnTo>
                <a:lnTo>
                  <a:pt x="1460" y="672"/>
                </a:lnTo>
                <a:lnTo>
                  <a:pt x="1456" y="680"/>
                </a:lnTo>
                <a:lnTo>
                  <a:pt x="1456" y="680"/>
                </a:lnTo>
                <a:lnTo>
                  <a:pt x="1452" y="686"/>
                </a:lnTo>
                <a:lnTo>
                  <a:pt x="1448" y="688"/>
                </a:lnTo>
                <a:lnTo>
                  <a:pt x="1448" y="688"/>
                </a:lnTo>
                <a:lnTo>
                  <a:pt x="1438" y="692"/>
                </a:lnTo>
                <a:lnTo>
                  <a:pt x="1438" y="692"/>
                </a:lnTo>
                <a:lnTo>
                  <a:pt x="1436" y="692"/>
                </a:lnTo>
                <a:lnTo>
                  <a:pt x="1436" y="692"/>
                </a:lnTo>
                <a:lnTo>
                  <a:pt x="1432" y="692"/>
                </a:lnTo>
                <a:lnTo>
                  <a:pt x="1432" y="692"/>
                </a:lnTo>
                <a:lnTo>
                  <a:pt x="1430" y="692"/>
                </a:lnTo>
                <a:lnTo>
                  <a:pt x="1430" y="692"/>
                </a:lnTo>
                <a:lnTo>
                  <a:pt x="1420" y="690"/>
                </a:lnTo>
                <a:lnTo>
                  <a:pt x="1420" y="690"/>
                </a:lnTo>
                <a:lnTo>
                  <a:pt x="1416" y="688"/>
                </a:lnTo>
                <a:lnTo>
                  <a:pt x="1416" y="688"/>
                </a:lnTo>
                <a:lnTo>
                  <a:pt x="1412" y="684"/>
                </a:lnTo>
                <a:lnTo>
                  <a:pt x="1406" y="678"/>
                </a:lnTo>
                <a:lnTo>
                  <a:pt x="1406" y="678"/>
                </a:lnTo>
                <a:lnTo>
                  <a:pt x="1400" y="668"/>
                </a:lnTo>
                <a:lnTo>
                  <a:pt x="1390" y="658"/>
                </a:lnTo>
                <a:lnTo>
                  <a:pt x="1376" y="646"/>
                </a:lnTo>
                <a:lnTo>
                  <a:pt x="1362" y="632"/>
                </a:lnTo>
                <a:lnTo>
                  <a:pt x="1342" y="620"/>
                </a:lnTo>
                <a:lnTo>
                  <a:pt x="1322" y="606"/>
                </a:lnTo>
                <a:lnTo>
                  <a:pt x="1298" y="592"/>
                </a:lnTo>
                <a:lnTo>
                  <a:pt x="1272" y="578"/>
                </a:lnTo>
                <a:lnTo>
                  <a:pt x="1244" y="566"/>
                </a:lnTo>
                <a:lnTo>
                  <a:pt x="1212" y="554"/>
                </a:lnTo>
                <a:lnTo>
                  <a:pt x="1180" y="544"/>
                </a:lnTo>
                <a:lnTo>
                  <a:pt x="1146" y="534"/>
                </a:lnTo>
                <a:lnTo>
                  <a:pt x="1108" y="526"/>
                </a:lnTo>
                <a:lnTo>
                  <a:pt x="1070" y="520"/>
                </a:lnTo>
                <a:lnTo>
                  <a:pt x="1030" y="516"/>
                </a:lnTo>
                <a:lnTo>
                  <a:pt x="988" y="516"/>
                </a:lnTo>
                <a:lnTo>
                  <a:pt x="988" y="516"/>
                </a:lnTo>
                <a:lnTo>
                  <a:pt x="944" y="516"/>
                </a:lnTo>
                <a:lnTo>
                  <a:pt x="904" y="520"/>
                </a:lnTo>
                <a:lnTo>
                  <a:pt x="866" y="526"/>
                </a:lnTo>
                <a:lnTo>
                  <a:pt x="830" y="534"/>
                </a:lnTo>
                <a:lnTo>
                  <a:pt x="830" y="534"/>
                </a:lnTo>
                <a:lnTo>
                  <a:pt x="806" y="542"/>
                </a:lnTo>
                <a:lnTo>
                  <a:pt x="782" y="550"/>
                </a:lnTo>
                <a:lnTo>
                  <a:pt x="740" y="568"/>
                </a:lnTo>
                <a:lnTo>
                  <a:pt x="702" y="588"/>
                </a:lnTo>
                <a:lnTo>
                  <a:pt x="670" y="608"/>
                </a:lnTo>
                <a:lnTo>
                  <a:pt x="644" y="628"/>
                </a:lnTo>
                <a:lnTo>
                  <a:pt x="624" y="648"/>
                </a:lnTo>
                <a:lnTo>
                  <a:pt x="608" y="664"/>
                </a:lnTo>
                <a:lnTo>
                  <a:pt x="598" y="678"/>
                </a:lnTo>
                <a:lnTo>
                  <a:pt x="598" y="678"/>
                </a:lnTo>
                <a:lnTo>
                  <a:pt x="598" y="678"/>
                </a:lnTo>
                <a:lnTo>
                  <a:pt x="598" y="678"/>
                </a:lnTo>
                <a:lnTo>
                  <a:pt x="596" y="680"/>
                </a:lnTo>
                <a:lnTo>
                  <a:pt x="596" y="680"/>
                </a:lnTo>
                <a:lnTo>
                  <a:pt x="590" y="688"/>
                </a:lnTo>
                <a:lnTo>
                  <a:pt x="580" y="692"/>
                </a:lnTo>
                <a:lnTo>
                  <a:pt x="568" y="694"/>
                </a:lnTo>
                <a:lnTo>
                  <a:pt x="558" y="690"/>
                </a:lnTo>
                <a:lnTo>
                  <a:pt x="558" y="690"/>
                </a:lnTo>
                <a:lnTo>
                  <a:pt x="552" y="686"/>
                </a:lnTo>
                <a:lnTo>
                  <a:pt x="548" y="682"/>
                </a:lnTo>
                <a:lnTo>
                  <a:pt x="544" y="672"/>
                </a:lnTo>
                <a:lnTo>
                  <a:pt x="542" y="660"/>
                </a:lnTo>
                <a:lnTo>
                  <a:pt x="544" y="656"/>
                </a:lnTo>
                <a:lnTo>
                  <a:pt x="546" y="650"/>
                </a:lnTo>
                <a:close/>
                <a:moveTo>
                  <a:pt x="708" y="400"/>
                </a:moveTo>
                <a:lnTo>
                  <a:pt x="708" y="400"/>
                </a:lnTo>
                <a:lnTo>
                  <a:pt x="742" y="382"/>
                </a:lnTo>
                <a:lnTo>
                  <a:pt x="742" y="382"/>
                </a:lnTo>
                <a:lnTo>
                  <a:pt x="780" y="366"/>
                </a:lnTo>
                <a:lnTo>
                  <a:pt x="800" y="358"/>
                </a:lnTo>
                <a:lnTo>
                  <a:pt x="824" y="350"/>
                </a:lnTo>
                <a:lnTo>
                  <a:pt x="854" y="344"/>
                </a:lnTo>
                <a:lnTo>
                  <a:pt x="890" y="340"/>
                </a:lnTo>
                <a:lnTo>
                  <a:pt x="934" y="338"/>
                </a:lnTo>
                <a:lnTo>
                  <a:pt x="988" y="338"/>
                </a:lnTo>
                <a:lnTo>
                  <a:pt x="988" y="338"/>
                </a:lnTo>
                <a:lnTo>
                  <a:pt x="1026" y="336"/>
                </a:lnTo>
                <a:lnTo>
                  <a:pt x="1064" y="338"/>
                </a:lnTo>
                <a:lnTo>
                  <a:pt x="1104" y="340"/>
                </a:lnTo>
                <a:lnTo>
                  <a:pt x="1142" y="346"/>
                </a:lnTo>
                <a:lnTo>
                  <a:pt x="1180" y="352"/>
                </a:lnTo>
                <a:lnTo>
                  <a:pt x="1216" y="362"/>
                </a:lnTo>
                <a:lnTo>
                  <a:pt x="1254" y="374"/>
                </a:lnTo>
                <a:lnTo>
                  <a:pt x="1290" y="386"/>
                </a:lnTo>
                <a:lnTo>
                  <a:pt x="1290" y="386"/>
                </a:lnTo>
                <a:lnTo>
                  <a:pt x="1324" y="398"/>
                </a:lnTo>
                <a:lnTo>
                  <a:pt x="1324" y="398"/>
                </a:lnTo>
                <a:lnTo>
                  <a:pt x="1328" y="400"/>
                </a:lnTo>
                <a:lnTo>
                  <a:pt x="1328" y="400"/>
                </a:lnTo>
                <a:lnTo>
                  <a:pt x="1332" y="402"/>
                </a:lnTo>
                <a:lnTo>
                  <a:pt x="1332" y="402"/>
                </a:lnTo>
                <a:lnTo>
                  <a:pt x="1338" y="408"/>
                </a:lnTo>
                <a:lnTo>
                  <a:pt x="1338" y="408"/>
                </a:lnTo>
                <a:lnTo>
                  <a:pt x="1338" y="410"/>
                </a:lnTo>
                <a:lnTo>
                  <a:pt x="1338" y="410"/>
                </a:lnTo>
                <a:lnTo>
                  <a:pt x="1342" y="416"/>
                </a:lnTo>
                <a:lnTo>
                  <a:pt x="1342" y="416"/>
                </a:lnTo>
                <a:lnTo>
                  <a:pt x="1342" y="418"/>
                </a:lnTo>
                <a:lnTo>
                  <a:pt x="1342" y="418"/>
                </a:lnTo>
                <a:lnTo>
                  <a:pt x="1344" y="426"/>
                </a:lnTo>
                <a:lnTo>
                  <a:pt x="1342" y="436"/>
                </a:lnTo>
                <a:lnTo>
                  <a:pt x="1342" y="436"/>
                </a:lnTo>
                <a:lnTo>
                  <a:pt x="1340" y="442"/>
                </a:lnTo>
                <a:lnTo>
                  <a:pt x="1334" y="448"/>
                </a:lnTo>
                <a:lnTo>
                  <a:pt x="1334" y="448"/>
                </a:lnTo>
                <a:lnTo>
                  <a:pt x="1334" y="448"/>
                </a:lnTo>
                <a:lnTo>
                  <a:pt x="1334" y="448"/>
                </a:lnTo>
                <a:lnTo>
                  <a:pt x="1326" y="454"/>
                </a:lnTo>
                <a:lnTo>
                  <a:pt x="1326" y="454"/>
                </a:lnTo>
                <a:lnTo>
                  <a:pt x="1324" y="454"/>
                </a:lnTo>
                <a:lnTo>
                  <a:pt x="1324" y="454"/>
                </a:lnTo>
                <a:lnTo>
                  <a:pt x="1320" y="456"/>
                </a:lnTo>
                <a:lnTo>
                  <a:pt x="1314" y="456"/>
                </a:lnTo>
                <a:lnTo>
                  <a:pt x="1314" y="456"/>
                </a:lnTo>
                <a:lnTo>
                  <a:pt x="1304" y="454"/>
                </a:lnTo>
                <a:lnTo>
                  <a:pt x="1304" y="454"/>
                </a:lnTo>
                <a:lnTo>
                  <a:pt x="1270" y="442"/>
                </a:lnTo>
                <a:lnTo>
                  <a:pt x="1270" y="442"/>
                </a:lnTo>
                <a:lnTo>
                  <a:pt x="1236" y="430"/>
                </a:lnTo>
                <a:lnTo>
                  <a:pt x="1202" y="420"/>
                </a:lnTo>
                <a:lnTo>
                  <a:pt x="1166" y="410"/>
                </a:lnTo>
                <a:lnTo>
                  <a:pt x="1130" y="404"/>
                </a:lnTo>
                <a:lnTo>
                  <a:pt x="1096" y="400"/>
                </a:lnTo>
                <a:lnTo>
                  <a:pt x="1060" y="396"/>
                </a:lnTo>
                <a:lnTo>
                  <a:pt x="1024" y="396"/>
                </a:lnTo>
                <a:lnTo>
                  <a:pt x="988" y="396"/>
                </a:lnTo>
                <a:lnTo>
                  <a:pt x="988" y="396"/>
                </a:lnTo>
                <a:lnTo>
                  <a:pt x="962" y="396"/>
                </a:lnTo>
                <a:lnTo>
                  <a:pt x="962" y="396"/>
                </a:lnTo>
                <a:lnTo>
                  <a:pt x="920" y="398"/>
                </a:lnTo>
                <a:lnTo>
                  <a:pt x="886" y="400"/>
                </a:lnTo>
                <a:lnTo>
                  <a:pt x="858" y="404"/>
                </a:lnTo>
                <a:lnTo>
                  <a:pt x="836" y="408"/>
                </a:lnTo>
                <a:lnTo>
                  <a:pt x="816" y="414"/>
                </a:lnTo>
                <a:lnTo>
                  <a:pt x="800" y="420"/>
                </a:lnTo>
                <a:lnTo>
                  <a:pt x="770" y="436"/>
                </a:lnTo>
                <a:lnTo>
                  <a:pt x="770" y="436"/>
                </a:lnTo>
                <a:lnTo>
                  <a:pt x="734" y="454"/>
                </a:lnTo>
                <a:lnTo>
                  <a:pt x="734" y="454"/>
                </a:lnTo>
                <a:lnTo>
                  <a:pt x="732" y="454"/>
                </a:lnTo>
                <a:lnTo>
                  <a:pt x="732" y="454"/>
                </a:lnTo>
                <a:lnTo>
                  <a:pt x="730" y="454"/>
                </a:lnTo>
                <a:lnTo>
                  <a:pt x="730" y="454"/>
                </a:lnTo>
                <a:lnTo>
                  <a:pt x="724" y="456"/>
                </a:lnTo>
                <a:lnTo>
                  <a:pt x="724" y="456"/>
                </a:lnTo>
                <a:lnTo>
                  <a:pt x="722" y="456"/>
                </a:lnTo>
                <a:lnTo>
                  <a:pt x="722" y="456"/>
                </a:lnTo>
                <a:lnTo>
                  <a:pt x="712" y="456"/>
                </a:lnTo>
                <a:lnTo>
                  <a:pt x="704" y="452"/>
                </a:lnTo>
                <a:lnTo>
                  <a:pt x="696" y="446"/>
                </a:lnTo>
                <a:lnTo>
                  <a:pt x="692" y="438"/>
                </a:lnTo>
                <a:lnTo>
                  <a:pt x="692" y="438"/>
                </a:lnTo>
                <a:lnTo>
                  <a:pt x="690" y="432"/>
                </a:lnTo>
                <a:lnTo>
                  <a:pt x="690" y="426"/>
                </a:lnTo>
                <a:lnTo>
                  <a:pt x="692" y="414"/>
                </a:lnTo>
                <a:lnTo>
                  <a:pt x="698" y="406"/>
                </a:lnTo>
                <a:lnTo>
                  <a:pt x="704" y="402"/>
                </a:lnTo>
                <a:lnTo>
                  <a:pt x="708" y="400"/>
                </a:lnTo>
                <a:close/>
                <a:moveTo>
                  <a:pt x="1476" y="698"/>
                </a:moveTo>
                <a:lnTo>
                  <a:pt x="1476" y="698"/>
                </a:lnTo>
                <a:lnTo>
                  <a:pt x="1482" y="694"/>
                </a:lnTo>
                <a:lnTo>
                  <a:pt x="1488" y="694"/>
                </a:lnTo>
                <a:lnTo>
                  <a:pt x="1498" y="694"/>
                </a:lnTo>
                <a:lnTo>
                  <a:pt x="1508" y="698"/>
                </a:lnTo>
                <a:lnTo>
                  <a:pt x="1514" y="702"/>
                </a:lnTo>
                <a:lnTo>
                  <a:pt x="1516" y="708"/>
                </a:lnTo>
                <a:lnTo>
                  <a:pt x="1516" y="708"/>
                </a:lnTo>
                <a:lnTo>
                  <a:pt x="1534" y="738"/>
                </a:lnTo>
                <a:lnTo>
                  <a:pt x="1550" y="768"/>
                </a:lnTo>
                <a:lnTo>
                  <a:pt x="1566" y="800"/>
                </a:lnTo>
                <a:lnTo>
                  <a:pt x="1580" y="832"/>
                </a:lnTo>
                <a:lnTo>
                  <a:pt x="1580" y="832"/>
                </a:lnTo>
                <a:lnTo>
                  <a:pt x="1580" y="838"/>
                </a:lnTo>
                <a:lnTo>
                  <a:pt x="1580" y="844"/>
                </a:lnTo>
                <a:lnTo>
                  <a:pt x="1578" y="854"/>
                </a:lnTo>
                <a:lnTo>
                  <a:pt x="1570" y="864"/>
                </a:lnTo>
                <a:lnTo>
                  <a:pt x="1566" y="866"/>
                </a:lnTo>
                <a:lnTo>
                  <a:pt x="1560" y="870"/>
                </a:lnTo>
                <a:lnTo>
                  <a:pt x="1560" y="870"/>
                </a:lnTo>
                <a:lnTo>
                  <a:pt x="1550" y="870"/>
                </a:lnTo>
                <a:lnTo>
                  <a:pt x="1550" y="870"/>
                </a:lnTo>
                <a:lnTo>
                  <a:pt x="1542" y="870"/>
                </a:lnTo>
                <a:lnTo>
                  <a:pt x="1534" y="866"/>
                </a:lnTo>
                <a:lnTo>
                  <a:pt x="1528" y="858"/>
                </a:lnTo>
                <a:lnTo>
                  <a:pt x="1522" y="850"/>
                </a:lnTo>
                <a:lnTo>
                  <a:pt x="1522" y="850"/>
                </a:lnTo>
                <a:lnTo>
                  <a:pt x="1522" y="850"/>
                </a:lnTo>
                <a:lnTo>
                  <a:pt x="1522" y="850"/>
                </a:lnTo>
                <a:lnTo>
                  <a:pt x="1510" y="822"/>
                </a:lnTo>
                <a:lnTo>
                  <a:pt x="1496" y="792"/>
                </a:lnTo>
                <a:lnTo>
                  <a:pt x="1482" y="766"/>
                </a:lnTo>
                <a:lnTo>
                  <a:pt x="1466" y="738"/>
                </a:lnTo>
                <a:lnTo>
                  <a:pt x="1466" y="738"/>
                </a:lnTo>
                <a:lnTo>
                  <a:pt x="1464" y="732"/>
                </a:lnTo>
                <a:lnTo>
                  <a:pt x="1462" y="728"/>
                </a:lnTo>
                <a:lnTo>
                  <a:pt x="1462" y="716"/>
                </a:lnTo>
                <a:lnTo>
                  <a:pt x="1462" y="716"/>
                </a:lnTo>
                <a:lnTo>
                  <a:pt x="1468" y="706"/>
                </a:lnTo>
                <a:lnTo>
                  <a:pt x="1472" y="700"/>
                </a:lnTo>
                <a:lnTo>
                  <a:pt x="1476" y="698"/>
                </a:lnTo>
                <a:close/>
                <a:moveTo>
                  <a:pt x="1048" y="0"/>
                </a:moveTo>
                <a:lnTo>
                  <a:pt x="1048" y="0"/>
                </a:lnTo>
                <a:lnTo>
                  <a:pt x="994" y="2"/>
                </a:lnTo>
                <a:lnTo>
                  <a:pt x="940" y="6"/>
                </a:lnTo>
                <a:lnTo>
                  <a:pt x="888" y="12"/>
                </a:lnTo>
                <a:lnTo>
                  <a:pt x="836" y="22"/>
                </a:lnTo>
                <a:lnTo>
                  <a:pt x="784" y="34"/>
                </a:lnTo>
                <a:lnTo>
                  <a:pt x="734" y="48"/>
                </a:lnTo>
                <a:lnTo>
                  <a:pt x="686" y="64"/>
                </a:lnTo>
                <a:lnTo>
                  <a:pt x="638" y="82"/>
                </a:lnTo>
                <a:lnTo>
                  <a:pt x="592" y="104"/>
                </a:lnTo>
                <a:lnTo>
                  <a:pt x="546" y="126"/>
                </a:lnTo>
                <a:lnTo>
                  <a:pt x="502" y="152"/>
                </a:lnTo>
                <a:lnTo>
                  <a:pt x="460" y="178"/>
                </a:lnTo>
                <a:lnTo>
                  <a:pt x="420" y="208"/>
                </a:lnTo>
                <a:lnTo>
                  <a:pt x="380" y="238"/>
                </a:lnTo>
                <a:lnTo>
                  <a:pt x="342" y="272"/>
                </a:lnTo>
                <a:lnTo>
                  <a:pt x="306" y="306"/>
                </a:lnTo>
                <a:lnTo>
                  <a:pt x="270" y="342"/>
                </a:lnTo>
                <a:lnTo>
                  <a:pt x="238" y="380"/>
                </a:lnTo>
                <a:lnTo>
                  <a:pt x="206" y="420"/>
                </a:lnTo>
                <a:lnTo>
                  <a:pt x="178" y="462"/>
                </a:lnTo>
                <a:lnTo>
                  <a:pt x="150" y="504"/>
                </a:lnTo>
                <a:lnTo>
                  <a:pt x="126" y="548"/>
                </a:lnTo>
                <a:lnTo>
                  <a:pt x="102" y="592"/>
                </a:lnTo>
                <a:lnTo>
                  <a:pt x="82" y="640"/>
                </a:lnTo>
                <a:lnTo>
                  <a:pt x="62" y="686"/>
                </a:lnTo>
                <a:lnTo>
                  <a:pt x="46" y="736"/>
                </a:lnTo>
                <a:lnTo>
                  <a:pt x="32" y="786"/>
                </a:lnTo>
                <a:lnTo>
                  <a:pt x="20" y="836"/>
                </a:lnTo>
                <a:lnTo>
                  <a:pt x="12" y="888"/>
                </a:lnTo>
                <a:lnTo>
                  <a:pt x="4" y="940"/>
                </a:lnTo>
                <a:lnTo>
                  <a:pt x="0" y="994"/>
                </a:lnTo>
                <a:lnTo>
                  <a:pt x="0" y="1048"/>
                </a:lnTo>
                <a:lnTo>
                  <a:pt x="0" y="1048"/>
                </a:lnTo>
                <a:lnTo>
                  <a:pt x="0" y="1102"/>
                </a:lnTo>
                <a:lnTo>
                  <a:pt x="4" y="1156"/>
                </a:lnTo>
                <a:lnTo>
                  <a:pt x="12" y="1208"/>
                </a:lnTo>
                <a:lnTo>
                  <a:pt x="20" y="1258"/>
                </a:lnTo>
                <a:lnTo>
                  <a:pt x="32" y="1310"/>
                </a:lnTo>
                <a:lnTo>
                  <a:pt x="46" y="1360"/>
                </a:lnTo>
                <a:lnTo>
                  <a:pt x="62" y="1408"/>
                </a:lnTo>
                <a:lnTo>
                  <a:pt x="82" y="1456"/>
                </a:lnTo>
                <a:lnTo>
                  <a:pt x="102" y="1502"/>
                </a:lnTo>
                <a:lnTo>
                  <a:pt x="126" y="1546"/>
                </a:lnTo>
                <a:lnTo>
                  <a:pt x="150" y="1590"/>
                </a:lnTo>
                <a:lnTo>
                  <a:pt x="178" y="1634"/>
                </a:lnTo>
                <a:lnTo>
                  <a:pt x="206" y="1674"/>
                </a:lnTo>
                <a:lnTo>
                  <a:pt x="238" y="1714"/>
                </a:lnTo>
                <a:lnTo>
                  <a:pt x="270" y="1752"/>
                </a:lnTo>
                <a:lnTo>
                  <a:pt x="306" y="1788"/>
                </a:lnTo>
                <a:lnTo>
                  <a:pt x="342" y="1824"/>
                </a:lnTo>
                <a:lnTo>
                  <a:pt x="380" y="1856"/>
                </a:lnTo>
                <a:lnTo>
                  <a:pt x="420" y="1888"/>
                </a:lnTo>
                <a:lnTo>
                  <a:pt x="460" y="1916"/>
                </a:lnTo>
                <a:lnTo>
                  <a:pt x="502" y="1944"/>
                </a:lnTo>
                <a:lnTo>
                  <a:pt x="546" y="1970"/>
                </a:lnTo>
                <a:lnTo>
                  <a:pt x="592" y="1992"/>
                </a:lnTo>
                <a:lnTo>
                  <a:pt x="638" y="2014"/>
                </a:lnTo>
                <a:lnTo>
                  <a:pt x="686" y="2032"/>
                </a:lnTo>
                <a:lnTo>
                  <a:pt x="734" y="2048"/>
                </a:lnTo>
                <a:lnTo>
                  <a:pt x="784" y="2062"/>
                </a:lnTo>
                <a:lnTo>
                  <a:pt x="836" y="2074"/>
                </a:lnTo>
                <a:lnTo>
                  <a:pt x="888" y="2084"/>
                </a:lnTo>
                <a:lnTo>
                  <a:pt x="940" y="2090"/>
                </a:lnTo>
                <a:lnTo>
                  <a:pt x="994" y="2094"/>
                </a:lnTo>
                <a:lnTo>
                  <a:pt x="1048" y="2096"/>
                </a:lnTo>
                <a:lnTo>
                  <a:pt x="1048" y="2096"/>
                </a:lnTo>
                <a:lnTo>
                  <a:pt x="1100" y="2094"/>
                </a:lnTo>
                <a:lnTo>
                  <a:pt x="1154" y="2090"/>
                </a:lnTo>
                <a:lnTo>
                  <a:pt x="1206" y="2084"/>
                </a:lnTo>
                <a:lnTo>
                  <a:pt x="1258" y="2074"/>
                </a:lnTo>
                <a:lnTo>
                  <a:pt x="1308" y="2062"/>
                </a:lnTo>
                <a:lnTo>
                  <a:pt x="1358" y="2048"/>
                </a:lnTo>
                <a:lnTo>
                  <a:pt x="1406" y="2032"/>
                </a:lnTo>
                <a:lnTo>
                  <a:pt x="1454" y="2014"/>
                </a:lnTo>
                <a:lnTo>
                  <a:pt x="1500" y="1992"/>
                </a:lnTo>
                <a:lnTo>
                  <a:pt x="1546" y="1970"/>
                </a:lnTo>
                <a:lnTo>
                  <a:pt x="1590" y="1944"/>
                </a:lnTo>
                <a:lnTo>
                  <a:pt x="1632" y="1916"/>
                </a:lnTo>
                <a:lnTo>
                  <a:pt x="1674" y="1888"/>
                </a:lnTo>
                <a:lnTo>
                  <a:pt x="1714" y="1856"/>
                </a:lnTo>
                <a:lnTo>
                  <a:pt x="1752" y="1824"/>
                </a:lnTo>
                <a:lnTo>
                  <a:pt x="1788" y="1788"/>
                </a:lnTo>
                <a:lnTo>
                  <a:pt x="1822" y="1752"/>
                </a:lnTo>
                <a:lnTo>
                  <a:pt x="1856" y="1714"/>
                </a:lnTo>
                <a:lnTo>
                  <a:pt x="1886" y="1674"/>
                </a:lnTo>
                <a:lnTo>
                  <a:pt x="1916" y="1634"/>
                </a:lnTo>
                <a:lnTo>
                  <a:pt x="1942" y="1590"/>
                </a:lnTo>
                <a:lnTo>
                  <a:pt x="1968" y="1546"/>
                </a:lnTo>
                <a:lnTo>
                  <a:pt x="1992" y="1502"/>
                </a:lnTo>
                <a:lnTo>
                  <a:pt x="2012" y="1456"/>
                </a:lnTo>
                <a:lnTo>
                  <a:pt x="2032" y="1408"/>
                </a:lnTo>
                <a:lnTo>
                  <a:pt x="2048" y="1360"/>
                </a:lnTo>
                <a:lnTo>
                  <a:pt x="2062" y="1310"/>
                </a:lnTo>
                <a:lnTo>
                  <a:pt x="2074" y="1258"/>
                </a:lnTo>
                <a:lnTo>
                  <a:pt x="2082" y="1208"/>
                </a:lnTo>
                <a:lnTo>
                  <a:pt x="2090" y="1156"/>
                </a:lnTo>
                <a:lnTo>
                  <a:pt x="2094" y="1102"/>
                </a:lnTo>
                <a:lnTo>
                  <a:pt x="2094" y="1048"/>
                </a:lnTo>
                <a:lnTo>
                  <a:pt x="2094" y="1048"/>
                </a:lnTo>
                <a:lnTo>
                  <a:pt x="2094" y="994"/>
                </a:lnTo>
                <a:lnTo>
                  <a:pt x="2090" y="940"/>
                </a:lnTo>
                <a:lnTo>
                  <a:pt x="2082" y="888"/>
                </a:lnTo>
                <a:lnTo>
                  <a:pt x="2074" y="836"/>
                </a:lnTo>
                <a:lnTo>
                  <a:pt x="2062" y="786"/>
                </a:lnTo>
                <a:lnTo>
                  <a:pt x="2048" y="736"/>
                </a:lnTo>
                <a:lnTo>
                  <a:pt x="2032" y="686"/>
                </a:lnTo>
                <a:lnTo>
                  <a:pt x="2012" y="640"/>
                </a:lnTo>
                <a:lnTo>
                  <a:pt x="1992" y="592"/>
                </a:lnTo>
                <a:lnTo>
                  <a:pt x="1968" y="548"/>
                </a:lnTo>
                <a:lnTo>
                  <a:pt x="1942" y="504"/>
                </a:lnTo>
                <a:lnTo>
                  <a:pt x="1916" y="462"/>
                </a:lnTo>
                <a:lnTo>
                  <a:pt x="1886" y="420"/>
                </a:lnTo>
                <a:lnTo>
                  <a:pt x="1856" y="380"/>
                </a:lnTo>
                <a:lnTo>
                  <a:pt x="1822" y="342"/>
                </a:lnTo>
                <a:lnTo>
                  <a:pt x="1788" y="306"/>
                </a:lnTo>
                <a:lnTo>
                  <a:pt x="1752" y="272"/>
                </a:lnTo>
                <a:lnTo>
                  <a:pt x="1714" y="238"/>
                </a:lnTo>
                <a:lnTo>
                  <a:pt x="1674" y="208"/>
                </a:lnTo>
                <a:lnTo>
                  <a:pt x="1632" y="178"/>
                </a:lnTo>
                <a:lnTo>
                  <a:pt x="1590" y="152"/>
                </a:lnTo>
                <a:lnTo>
                  <a:pt x="1546" y="126"/>
                </a:lnTo>
                <a:lnTo>
                  <a:pt x="1500" y="104"/>
                </a:lnTo>
                <a:lnTo>
                  <a:pt x="1454" y="82"/>
                </a:lnTo>
                <a:lnTo>
                  <a:pt x="1406" y="64"/>
                </a:lnTo>
                <a:lnTo>
                  <a:pt x="1358" y="48"/>
                </a:lnTo>
                <a:lnTo>
                  <a:pt x="1308" y="34"/>
                </a:lnTo>
                <a:lnTo>
                  <a:pt x="1258" y="22"/>
                </a:lnTo>
                <a:lnTo>
                  <a:pt x="1206" y="12"/>
                </a:lnTo>
                <a:lnTo>
                  <a:pt x="1154" y="6"/>
                </a:lnTo>
                <a:lnTo>
                  <a:pt x="1100" y="2"/>
                </a:lnTo>
                <a:lnTo>
                  <a:pt x="1048"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334" name="TextBox 333">
            <a:extLst>
              <a:ext uri="{FF2B5EF4-FFF2-40B4-BE49-F238E27FC236}">
                <a16:creationId xmlns:a16="http://schemas.microsoft.com/office/drawing/2014/main" id="{58E0DA45-D26C-486B-9968-1E817BB4E777}"/>
              </a:ext>
            </a:extLst>
          </p:cNvPr>
          <p:cNvSpPr txBox="1"/>
          <p:nvPr/>
        </p:nvSpPr>
        <p:spPr>
          <a:xfrm>
            <a:off x="9506997" y="2953196"/>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Fingerprint</a:t>
            </a:r>
          </a:p>
        </p:txBody>
      </p:sp>
      <p:sp>
        <p:nvSpPr>
          <p:cNvPr id="335" name="Freeform 5">
            <a:extLst>
              <a:ext uri="{FF2B5EF4-FFF2-40B4-BE49-F238E27FC236}">
                <a16:creationId xmlns:a16="http://schemas.microsoft.com/office/drawing/2014/main" id="{0687DF5B-1047-4091-849C-8BE7B6CA9DFA}"/>
              </a:ext>
            </a:extLst>
          </p:cNvPr>
          <p:cNvSpPr>
            <a:spLocks noEditPoints="1"/>
          </p:cNvSpPr>
          <p:nvPr/>
        </p:nvSpPr>
        <p:spPr bwMode="auto">
          <a:xfrm>
            <a:off x="10446750" y="2527372"/>
            <a:ext cx="365760" cy="365760"/>
          </a:xfrm>
          <a:custGeom>
            <a:avLst/>
            <a:gdLst>
              <a:gd name="T0" fmla="*/ 791 w 791"/>
              <a:gd name="T1" fmla="*/ 396 h 792"/>
              <a:gd name="T2" fmla="*/ 0 w 791"/>
              <a:gd name="T3" fmla="*/ 396 h 792"/>
              <a:gd name="T4" fmla="*/ 791 w 791"/>
              <a:gd name="T5" fmla="*/ 396 h 792"/>
              <a:gd name="T6" fmla="*/ 514 w 791"/>
              <a:gd name="T7" fmla="*/ 399 h 792"/>
              <a:gd name="T8" fmla="*/ 482 w 791"/>
              <a:gd name="T9" fmla="*/ 286 h 792"/>
              <a:gd name="T10" fmla="*/ 376 w 791"/>
              <a:gd name="T11" fmla="*/ 252 h 792"/>
              <a:gd name="T12" fmla="*/ 238 w 791"/>
              <a:gd name="T13" fmla="*/ 176 h 792"/>
              <a:gd name="T14" fmla="*/ 352 w 791"/>
              <a:gd name="T15" fmla="*/ 528 h 792"/>
              <a:gd name="T16" fmla="*/ 227 w 791"/>
              <a:gd name="T17" fmla="*/ 560 h 792"/>
              <a:gd name="T18" fmla="*/ 207 w 791"/>
              <a:gd name="T19" fmla="*/ 165 h 792"/>
              <a:gd name="T20" fmla="*/ 410 w 791"/>
              <a:gd name="T21" fmla="*/ 145 h 792"/>
              <a:gd name="T22" fmla="*/ 514 w 791"/>
              <a:gd name="T23" fmla="*/ 399 h 792"/>
              <a:gd name="T24" fmla="*/ 455 w 791"/>
              <a:gd name="T25" fmla="*/ 380 h 792"/>
              <a:gd name="T26" fmla="*/ 442 w 791"/>
              <a:gd name="T27" fmla="*/ 394 h 792"/>
              <a:gd name="T28" fmla="*/ 262 w 791"/>
              <a:gd name="T29" fmla="*/ 380 h 792"/>
              <a:gd name="T30" fmla="*/ 442 w 791"/>
              <a:gd name="T31" fmla="*/ 366 h 792"/>
              <a:gd name="T32" fmla="*/ 442 w 791"/>
              <a:gd name="T33" fmla="*/ 338 h 792"/>
              <a:gd name="T34" fmla="*/ 276 w 791"/>
              <a:gd name="T35" fmla="*/ 338 h 792"/>
              <a:gd name="T36" fmla="*/ 276 w 791"/>
              <a:gd name="T37" fmla="*/ 311 h 792"/>
              <a:gd name="T38" fmla="*/ 455 w 791"/>
              <a:gd name="T39" fmla="*/ 325 h 792"/>
              <a:gd name="T40" fmla="*/ 388 w 791"/>
              <a:gd name="T41" fmla="*/ 423 h 792"/>
              <a:gd name="T42" fmla="*/ 367 w 791"/>
              <a:gd name="T43" fmla="*/ 450 h 792"/>
              <a:gd name="T44" fmla="*/ 262 w 791"/>
              <a:gd name="T45" fmla="*/ 437 h 792"/>
              <a:gd name="T46" fmla="*/ 388 w 791"/>
              <a:gd name="T47" fmla="*/ 423 h 792"/>
              <a:gd name="T48" fmla="*/ 276 w 791"/>
              <a:gd name="T49" fmla="*/ 477 h 792"/>
              <a:gd name="T50" fmla="*/ 355 w 791"/>
              <a:gd name="T51" fmla="*/ 477 h 792"/>
              <a:gd name="T52" fmla="*/ 276 w 791"/>
              <a:gd name="T53" fmla="*/ 504 h 792"/>
              <a:gd name="T54" fmla="*/ 276 w 791"/>
              <a:gd name="T55" fmla="*/ 477 h 792"/>
              <a:gd name="T56" fmla="*/ 616 w 791"/>
              <a:gd name="T57" fmla="*/ 657 h 792"/>
              <a:gd name="T58" fmla="*/ 536 w 791"/>
              <a:gd name="T59" fmla="*/ 595 h 792"/>
              <a:gd name="T60" fmla="*/ 470 w 791"/>
              <a:gd name="T61" fmla="*/ 617 h 792"/>
              <a:gd name="T62" fmla="*/ 470 w 791"/>
              <a:gd name="T63" fmla="*/ 404 h 792"/>
              <a:gd name="T64" fmla="*/ 558 w 791"/>
              <a:gd name="T65" fmla="*/ 571 h 792"/>
              <a:gd name="T66" fmla="*/ 616 w 791"/>
              <a:gd name="T67" fmla="*/ 638 h 792"/>
              <a:gd name="T68" fmla="*/ 552 w 791"/>
              <a:gd name="T69" fmla="*/ 513 h 792"/>
              <a:gd name="T70" fmla="*/ 470 w 791"/>
              <a:gd name="T71" fmla="*/ 432 h 792"/>
              <a:gd name="T72" fmla="*/ 470 w 791"/>
              <a:gd name="T73" fmla="*/ 595 h 792"/>
              <a:gd name="T74" fmla="*/ 455 w 791"/>
              <a:gd name="T75" fmla="*/ 494 h 792"/>
              <a:gd name="T76" fmla="*/ 442 w 791"/>
              <a:gd name="T77" fmla="*/ 507 h 792"/>
              <a:gd name="T78" fmla="*/ 411 w 791"/>
              <a:gd name="T79" fmla="*/ 480 h 792"/>
              <a:gd name="T80" fmla="*/ 455 w 791"/>
              <a:gd name="T81" fmla="*/ 494 h 792"/>
              <a:gd name="T82" fmla="*/ 514 w 791"/>
              <a:gd name="T83" fmla="*/ 542 h 792"/>
              <a:gd name="T84" fmla="*/ 423 w 791"/>
              <a:gd name="T85" fmla="*/ 563 h 792"/>
              <a:gd name="T86" fmla="*/ 482 w 791"/>
              <a:gd name="T87" fmla="*/ 531 h 792"/>
              <a:gd name="T88" fmla="*/ 514 w 791"/>
              <a:gd name="T89" fmla="*/ 462 h 792"/>
              <a:gd name="T90" fmla="*/ 514 w 791"/>
              <a:gd name="T91" fmla="*/ 542 h 792"/>
              <a:gd name="T92" fmla="*/ 410 w 791"/>
              <a:gd name="T93" fmla="*/ 261 h 792"/>
              <a:gd name="T94" fmla="*/ 403 w 791"/>
              <a:gd name="T95" fmla="*/ 185 h 792"/>
              <a:gd name="T96" fmla="*/ 410 w 791"/>
              <a:gd name="T97" fmla="*/ 261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91" h="792">
                <a:moveTo>
                  <a:pt x="791" y="396"/>
                </a:moveTo>
                <a:lnTo>
                  <a:pt x="791" y="396"/>
                </a:lnTo>
                <a:cubicBezTo>
                  <a:pt x="791" y="178"/>
                  <a:pt x="614" y="0"/>
                  <a:pt x="395" y="0"/>
                </a:cubicBezTo>
                <a:cubicBezTo>
                  <a:pt x="177" y="0"/>
                  <a:pt x="0" y="178"/>
                  <a:pt x="0" y="396"/>
                </a:cubicBezTo>
                <a:cubicBezTo>
                  <a:pt x="0" y="615"/>
                  <a:pt x="177" y="792"/>
                  <a:pt x="395" y="792"/>
                </a:cubicBezTo>
                <a:cubicBezTo>
                  <a:pt x="614" y="792"/>
                  <a:pt x="791" y="615"/>
                  <a:pt x="791" y="396"/>
                </a:cubicBezTo>
                <a:close/>
                <a:moveTo>
                  <a:pt x="514" y="399"/>
                </a:moveTo>
                <a:lnTo>
                  <a:pt x="514" y="399"/>
                </a:lnTo>
                <a:cubicBezTo>
                  <a:pt x="504" y="395"/>
                  <a:pt x="493" y="393"/>
                  <a:pt x="482" y="392"/>
                </a:cubicBezTo>
                <a:lnTo>
                  <a:pt x="482" y="286"/>
                </a:lnTo>
                <a:lnTo>
                  <a:pt x="410" y="286"/>
                </a:lnTo>
                <a:cubicBezTo>
                  <a:pt x="391" y="286"/>
                  <a:pt x="376" y="270"/>
                  <a:pt x="376" y="252"/>
                </a:cubicBezTo>
                <a:lnTo>
                  <a:pt x="376" y="176"/>
                </a:lnTo>
                <a:lnTo>
                  <a:pt x="238" y="176"/>
                </a:lnTo>
                <a:lnTo>
                  <a:pt x="238" y="528"/>
                </a:lnTo>
                <a:lnTo>
                  <a:pt x="352" y="528"/>
                </a:lnTo>
                <a:cubicBezTo>
                  <a:pt x="353" y="540"/>
                  <a:pt x="356" y="550"/>
                  <a:pt x="361" y="560"/>
                </a:cubicBezTo>
                <a:lnTo>
                  <a:pt x="227" y="560"/>
                </a:lnTo>
                <a:cubicBezTo>
                  <a:pt x="216" y="560"/>
                  <a:pt x="207" y="551"/>
                  <a:pt x="207" y="540"/>
                </a:cubicBezTo>
                <a:lnTo>
                  <a:pt x="207" y="165"/>
                </a:lnTo>
                <a:cubicBezTo>
                  <a:pt x="207" y="154"/>
                  <a:pt x="216" y="145"/>
                  <a:pt x="227" y="145"/>
                </a:cubicBezTo>
                <a:lnTo>
                  <a:pt x="410" y="145"/>
                </a:lnTo>
                <a:lnTo>
                  <a:pt x="514" y="249"/>
                </a:lnTo>
                <a:lnTo>
                  <a:pt x="514" y="399"/>
                </a:lnTo>
                <a:lnTo>
                  <a:pt x="514" y="399"/>
                </a:lnTo>
                <a:close/>
                <a:moveTo>
                  <a:pt x="455" y="380"/>
                </a:moveTo>
                <a:lnTo>
                  <a:pt x="455" y="380"/>
                </a:lnTo>
                <a:cubicBezTo>
                  <a:pt x="455" y="387"/>
                  <a:pt x="449" y="394"/>
                  <a:pt x="442" y="394"/>
                </a:cubicBezTo>
                <a:lnTo>
                  <a:pt x="276" y="394"/>
                </a:lnTo>
                <a:cubicBezTo>
                  <a:pt x="268" y="394"/>
                  <a:pt x="262" y="387"/>
                  <a:pt x="262" y="380"/>
                </a:cubicBezTo>
                <a:cubicBezTo>
                  <a:pt x="262" y="372"/>
                  <a:pt x="268" y="366"/>
                  <a:pt x="276" y="366"/>
                </a:cubicBezTo>
                <a:lnTo>
                  <a:pt x="442" y="366"/>
                </a:lnTo>
                <a:cubicBezTo>
                  <a:pt x="449" y="366"/>
                  <a:pt x="455" y="372"/>
                  <a:pt x="455" y="380"/>
                </a:cubicBezTo>
                <a:close/>
                <a:moveTo>
                  <a:pt x="442" y="338"/>
                </a:moveTo>
                <a:lnTo>
                  <a:pt x="442" y="338"/>
                </a:lnTo>
                <a:lnTo>
                  <a:pt x="276" y="338"/>
                </a:lnTo>
                <a:cubicBezTo>
                  <a:pt x="268" y="338"/>
                  <a:pt x="262" y="332"/>
                  <a:pt x="262" y="325"/>
                </a:cubicBezTo>
                <a:cubicBezTo>
                  <a:pt x="262" y="317"/>
                  <a:pt x="268" y="311"/>
                  <a:pt x="276" y="311"/>
                </a:cubicBezTo>
                <a:lnTo>
                  <a:pt x="442" y="311"/>
                </a:lnTo>
                <a:cubicBezTo>
                  <a:pt x="449" y="311"/>
                  <a:pt x="455" y="317"/>
                  <a:pt x="455" y="325"/>
                </a:cubicBezTo>
                <a:cubicBezTo>
                  <a:pt x="455" y="332"/>
                  <a:pt x="449" y="338"/>
                  <a:pt x="442" y="338"/>
                </a:cubicBezTo>
                <a:close/>
                <a:moveTo>
                  <a:pt x="388" y="423"/>
                </a:moveTo>
                <a:lnTo>
                  <a:pt x="388" y="423"/>
                </a:lnTo>
                <a:cubicBezTo>
                  <a:pt x="380" y="431"/>
                  <a:pt x="373" y="440"/>
                  <a:pt x="367" y="450"/>
                </a:cubicBezTo>
                <a:lnTo>
                  <a:pt x="276" y="450"/>
                </a:lnTo>
                <a:cubicBezTo>
                  <a:pt x="268" y="450"/>
                  <a:pt x="262" y="444"/>
                  <a:pt x="262" y="437"/>
                </a:cubicBezTo>
                <a:cubicBezTo>
                  <a:pt x="262" y="429"/>
                  <a:pt x="268" y="423"/>
                  <a:pt x="276" y="423"/>
                </a:cubicBezTo>
                <a:lnTo>
                  <a:pt x="388" y="423"/>
                </a:lnTo>
                <a:lnTo>
                  <a:pt x="388" y="423"/>
                </a:lnTo>
                <a:close/>
                <a:moveTo>
                  <a:pt x="276" y="477"/>
                </a:moveTo>
                <a:lnTo>
                  <a:pt x="276" y="477"/>
                </a:lnTo>
                <a:lnTo>
                  <a:pt x="355" y="477"/>
                </a:lnTo>
                <a:cubicBezTo>
                  <a:pt x="353" y="486"/>
                  <a:pt x="351" y="495"/>
                  <a:pt x="350" y="504"/>
                </a:cubicBezTo>
                <a:lnTo>
                  <a:pt x="276" y="504"/>
                </a:lnTo>
                <a:cubicBezTo>
                  <a:pt x="268" y="504"/>
                  <a:pt x="262" y="498"/>
                  <a:pt x="262" y="491"/>
                </a:cubicBezTo>
                <a:cubicBezTo>
                  <a:pt x="262" y="483"/>
                  <a:pt x="268" y="477"/>
                  <a:pt x="276" y="477"/>
                </a:cubicBezTo>
                <a:close/>
                <a:moveTo>
                  <a:pt x="616" y="657"/>
                </a:moveTo>
                <a:lnTo>
                  <a:pt x="616" y="657"/>
                </a:lnTo>
                <a:cubicBezTo>
                  <a:pt x="611" y="662"/>
                  <a:pt x="602" y="662"/>
                  <a:pt x="597" y="657"/>
                </a:cubicBezTo>
                <a:lnTo>
                  <a:pt x="536" y="595"/>
                </a:lnTo>
                <a:lnTo>
                  <a:pt x="531" y="598"/>
                </a:lnTo>
                <a:cubicBezTo>
                  <a:pt x="513" y="611"/>
                  <a:pt x="492" y="617"/>
                  <a:pt x="470" y="617"/>
                </a:cubicBezTo>
                <a:cubicBezTo>
                  <a:pt x="411" y="617"/>
                  <a:pt x="363" y="570"/>
                  <a:pt x="363" y="511"/>
                </a:cubicBezTo>
                <a:cubicBezTo>
                  <a:pt x="363" y="452"/>
                  <a:pt x="411" y="404"/>
                  <a:pt x="470" y="404"/>
                </a:cubicBezTo>
                <a:cubicBezTo>
                  <a:pt x="529" y="404"/>
                  <a:pt x="577" y="452"/>
                  <a:pt x="577" y="511"/>
                </a:cubicBezTo>
                <a:cubicBezTo>
                  <a:pt x="577" y="532"/>
                  <a:pt x="570" y="553"/>
                  <a:pt x="558" y="571"/>
                </a:cubicBezTo>
                <a:lnTo>
                  <a:pt x="555" y="575"/>
                </a:lnTo>
                <a:lnTo>
                  <a:pt x="616" y="638"/>
                </a:lnTo>
                <a:cubicBezTo>
                  <a:pt x="621" y="643"/>
                  <a:pt x="621" y="652"/>
                  <a:pt x="616" y="657"/>
                </a:cubicBezTo>
                <a:close/>
                <a:moveTo>
                  <a:pt x="552" y="513"/>
                </a:moveTo>
                <a:lnTo>
                  <a:pt x="552" y="513"/>
                </a:lnTo>
                <a:cubicBezTo>
                  <a:pt x="552" y="468"/>
                  <a:pt x="515" y="432"/>
                  <a:pt x="470" y="432"/>
                </a:cubicBezTo>
                <a:cubicBezTo>
                  <a:pt x="425" y="432"/>
                  <a:pt x="388" y="468"/>
                  <a:pt x="388" y="513"/>
                </a:cubicBezTo>
                <a:cubicBezTo>
                  <a:pt x="388" y="559"/>
                  <a:pt x="425" y="595"/>
                  <a:pt x="470" y="595"/>
                </a:cubicBezTo>
                <a:cubicBezTo>
                  <a:pt x="515" y="595"/>
                  <a:pt x="552" y="559"/>
                  <a:pt x="552" y="513"/>
                </a:cubicBezTo>
                <a:close/>
                <a:moveTo>
                  <a:pt x="455" y="494"/>
                </a:moveTo>
                <a:lnTo>
                  <a:pt x="455" y="494"/>
                </a:lnTo>
                <a:cubicBezTo>
                  <a:pt x="455" y="501"/>
                  <a:pt x="449" y="507"/>
                  <a:pt x="442" y="507"/>
                </a:cubicBezTo>
                <a:lnTo>
                  <a:pt x="403" y="507"/>
                </a:lnTo>
                <a:cubicBezTo>
                  <a:pt x="403" y="497"/>
                  <a:pt x="406" y="488"/>
                  <a:pt x="411" y="480"/>
                </a:cubicBezTo>
                <a:lnTo>
                  <a:pt x="442" y="480"/>
                </a:lnTo>
                <a:cubicBezTo>
                  <a:pt x="449" y="480"/>
                  <a:pt x="455" y="486"/>
                  <a:pt x="455" y="494"/>
                </a:cubicBezTo>
                <a:close/>
                <a:moveTo>
                  <a:pt x="514" y="542"/>
                </a:moveTo>
                <a:lnTo>
                  <a:pt x="514" y="542"/>
                </a:lnTo>
                <a:cubicBezTo>
                  <a:pt x="514" y="554"/>
                  <a:pt x="505" y="563"/>
                  <a:pt x="494" y="563"/>
                </a:cubicBezTo>
                <a:lnTo>
                  <a:pt x="423" y="563"/>
                </a:lnTo>
                <a:cubicBezTo>
                  <a:pt x="414" y="554"/>
                  <a:pt x="408" y="543"/>
                  <a:pt x="405" y="531"/>
                </a:cubicBezTo>
                <a:lnTo>
                  <a:pt x="482" y="531"/>
                </a:lnTo>
                <a:lnTo>
                  <a:pt x="482" y="446"/>
                </a:lnTo>
                <a:cubicBezTo>
                  <a:pt x="494" y="449"/>
                  <a:pt x="505" y="454"/>
                  <a:pt x="514" y="462"/>
                </a:cubicBezTo>
                <a:lnTo>
                  <a:pt x="514" y="542"/>
                </a:lnTo>
                <a:lnTo>
                  <a:pt x="514" y="542"/>
                </a:lnTo>
                <a:close/>
                <a:moveTo>
                  <a:pt x="410" y="261"/>
                </a:moveTo>
                <a:lnTo>
                  <a:pt x="410" y="261"/>
                </a:lnTo>
                <a:lnTo>
                  <a:pt x="479" y="261"/>
                </a:lnTo>
                <a:lnTo>
                  <a:pt x="403" y="185"/>
                </a:lnTo>
                <a:lnTo>
                  <a:pt x="403" y="254"/>
                </a:lnTo>
                <a:cubicBezTo>
                  <a:pt x="403" y="258"/>
                  <a:pt x="406" y="261"/>
                  <a:pt x="410" y="261"/>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6">
            <a:extLst>
              <a:ext uri="{FF2B5EF4-FFF2-40B4-BE49-F238E27FC236}">
                <a16:creationId xmlns:a16="http://schemas.microsoft.com/office/drawing/2014/main" id="{A134BBEE-8F7F-4969-A996-603B2A24B211}"/>
              </a:ext>
            </a:extLst>
          </p:cNvPr>
          <p:cNvSpPr>
            <a:spLocks noEditPoints="1"/>
          </p:cNvSpPr>
          <p:nvPr/>
        </p:nvSpPr>
        <p:spPr bwMode="auto">
          <a:xfrm>
            <a:off x="10874724" y="2520373"/>
            <a:ext cx="365760" cy="365760"/>
          </a:xfrm>
          <a:custGeom>
            <a:avLst/>
            <a:gdLst>
              <a:gd name="T0" fmla="*/ 780 w 780"/>
              <a:gd name="T1" fmla="*/ 390 h 780"/>
              <a:gd name="T2" fmla="*/ 0 w 780"/>
              <a:gd name="T3" fmla="*/ 390 h 780"/>
              <a:gd name="T4" fmla="*/ 780 w 780"/>
              <a:gd name="T5" fmla="*/ 390 h 780"/>
              <a:gd name="T6" fmla="*/ 746 w 780"/>
              <a:gd name="T7" fmla="*/ 390 h 780"/>
              <a:gd name="T8" fmla="*/ 32 w 780"/>
              <a:gd name="T9" fmla="*/ 390 h 780"/>
              <a:gd name="T10" fmla="*/ 746 w 780"/>
              <a:gd name="T11" fmla="*/ 390 h 780"/>
              <a:gd name="T12" fmla="*/ 625 w 780"/>
              <a:gd name="T13" fmla="*/ 645 h 780"/>
              <a:gd name="T14" fmla="*/ 563 w 780"/>
              <a:gd name="T15" fmla="*/ 564 h 780"/>
              <a:gd name="T16" fmla="*/ 479 w 780"/>
              <a:gd name="T17" fmla="*/ 390 h 780"/>
              <a:gd name="T18" fmla="*/ 479 w 780"/>
              <a:gd name="T19" fmla="*/ 606 h 780"/>
              <a:gd name="T20" fmla="*/ 606 w 780"/>
              <a:gd name="T21" fmla="*/ 645 h 780"/>
              <a:gd name="T22" fmla="*/ 625 w 780"/>
              <a:gd name="T23" fmla="*/ 645 h 780"/>
              <a:gd name="T24" fmla="*/ 559 w 780"/>
              <a:gd name="T25" fmla="*/ 498 h 780"/>
              <a:gd name="T26" fmla="*/ 398 w 780"/>
              <a:gd name="T27" fmla="*/ 498 h 780"/>
              <a:gd name="T28" fmla="*/ 559 w 780"/>
              <a:gd name="T29" fmla="*/ 498 h 780"/>
              <a:gd name="T30" fmla="*/ 512 w 780"/>
              <a:gd name="T31" fmla="*/ 528 h 780"/>
              <a:gd name="T32" fmla="*/ 485 w 780"/>
              <a:gd name="T33" fmla="*/ 433 h 780"/>
              <a:gd name="T34" fmla="*/ 414 w 780"/>
              <a:gd name="T35" fmla="*/ 513 h 780"/>
              <a:gd name="T36" fmla="*/ 498 w 780"/>
              <a:gd name="T37" fmla="*/ 542 h 780"/>
              <a:gd name="T38" fmla="*/ 455 w 780"/>
              <a:gd name="T39" fmla="*/ 473 h 780"/>
              <a:gd name="T40" fmla="*/ 442 w 780"/>
              <a:gd name="T41" fmla="*/ 460 h 780"/>
              <a:gd name="T42" fmla="*/ 413 w 780"/>
              <a:gd name="T43" fmla="*/ 487 h 780"/>
              <a:gd name="T44" fmla="*/ 455 w 780"/>
              <a:gd name="T45" fmla="*/ 473 h 780"/>
              <a:gd name="T46" fmla="*/ 263 w 780"/>
              <a:gd name="T47" fmla="*/ 473 h 780"/>
              <a:gd name="T48" fmla="*/ 360 w 780"/>
              <a:gd name="T49" fmla="*/ 487 h 780"/>
              <a:gd name="T50" fmla="*/ 277 w 780"/>
              <a:gd name="T51" fmla="*/ 460 h 780"/>
              <a:gd name="T52" fmla="*/ 407 w 780"/>
              <a:gd name="T53" fmla="*/ 402 h 780"/>
              <a:gd name="T54" fmla="*/ 277 w 780"/>
              <a:gd name="T55" fmla="*/ 402 h 780"/>
              <a:gd name="T56" fmla="*/ 277 w 780"/>
              <a:gd name="T57" fmla="*/ 430 h 780"/>
              <a:gd name="T58" fmla="*/ 407 w 780"/>
              <a:gd name="T59" fmla="*/ 402 h 780"/>
              <a:gd name="T60" fmla="*/ 455 w 780"/>
              <a:gd name="T61" fmla="*/ 306 h 780"/>
              <a:gd name="T62" fmla="*/ 277 w 780"/>
              <a:gd name="T63" fmla="*/ 293 h 780"/>
              <a:gd name="T64" fmla="*/ 277 w 780"/>
              <a:gd name="T65" fmla="*/ 320 h 780"/>
              <a:gd name="T66" fmla="*/ 455 w 780"/>
              <a:gd name="T67" fmla="*/ 306 h 780"/>
              <a:gd name="T68" fmla="*/ 455 w 780"/>
              <a:gd name="T69" fmla="*/ 361 h 780"/>
              <a:gd name="T70" fmla="*/ 277 w 780"/>
              <a:gd name="T71" fmla="*/ 347 h 780"/>
              <a:gd name="T72" fmla="*/ 277 w 780"/>
              <a:gd name="T73" fmla="*/ 375 h 780"/>
              <a:gd name="T74" fmla="*/ 455 w 780"/>
              <a:gd name="T75" fmla="*/ 361 h 780"/>
              <a:gd name="T76" fmla="*/ 485 w 780"/>
              <a:gd name="T77" fmla="*/ 378 h 780"/>
              <a:gd name="T78" fmla="*/ 512 w 780"/>
              <a:gd name="T79" fmla="*/ 238 h 780"/>
              <a:gd name="T80" fmla="*/ 508 w 780"/>
              <a:gd name="T81" fmla="*/ 228 h 780"/>
              <a:gd name="T82" fmla="*/ 408 w 780"/>
              <a:gd name="T83" fmla="*/ 128 h 780"/>
              <a:gd name="T84" fmla="*/ 208 w 780"/>
              <a:gd name="T85" fmla="*/ 141 h 780"/>
              <a:gd name="T86" fmla="*/ 223 w 780"/>
              <a:gd name="T87" fmla="*/ 542 h 780"/>
              <a:gd name="T88" fmla="*/ 361 w 780"/>
              <a:gd name="T89" fmla="*/ 513 h 780"/>
              <a:gd name="T90" fmla="*/ 237 w 780"/>
              <a:gd name="T91" fmla="*/ 155 h 780"/>
              <a:gd name="T92" fmla="*/ 388 w 780"/>
              <a:gd name="T93" fmla="*/ 238 h 780"/>
              <a:gd name="T94" fmla="*/ 485 w 780"/>
              <a:gd name="T95" fmla="*/ 252 h 780"/>
              <a:gd name="T96" fmla="*/ 485 w 780"/>
              <a:gd name="T97" fmla="*/ 378 h 780"/>
              <a:gd name="T98" fmla="*/ 466 w 780"/>
              <a:gd name="T99" fmla="*/ 224 h 780"/>
              <a:gd name="T100" fmla="*/ 415 w 780"/>
              <a:gd name="T101" fmla="*/ 175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0" h="780">
                <a:moveTo>
                  <a:pt x="780" y="390"/>
                </a:moveTo>
                <a:lnTo>
                  <a:pt x="780" y="390"/>
                </a:lnTo>
                <a:cubicBezTo>
                  <a:pt x="780" y="174"/>
                  <a:pt x="605" y="0"/>
                  <a:pt x="390" y="0"/>
                </a:cubicBezTo>
                <a:cubicBezTo>
                  <a:pt x="174" y="0"/>
                  <a:pt x="0" y="174"/>
                  <a:pt x="0" y="390"/>
                </a:cubicBezTo>
                <a:cubicBezTo>
                  <a:pt x="0" y="604"/>
                  <a:pt x="174" y="780"/>
                  <a:pt x="390" y="780"/>
                </a:cubicBezTo>
                <a:cubicBezTo>
                  <a:pt x="605" y="780"/>
                  <a:pt x="780" y="604"/>
                  <a:pt x="780" y="390"/>
                </a:cubicBezTo>
                <a:close/>
                <a:moveTo>
                  <a:pt x="746" y="390"/>
                </a:moveTo>
                <a:lnTo>
                  <a:pt x="746" y="390"/>
                </a:lnTo>
                <a:cubicBezTo>
                  <a:pt x="746" y="586"/>
                  <a:pt x="587" y="746"/>
                  <a:pt x="390" y="746"/>
                </a:cubicBezTo>
                <a:cubicBezTo>
                  <a:pt x="192" y="746"/>
                  <a:pt x="32" y="586"/>
                  <a:pt x="32" y="390"/>
                </a:cubicBezTo>
                <a:cubicBezTo>
                  <a:pt x="32" y="192"/>
                  <a:pt x="192" y="32"/>
                  <a:pt x="390" y="32"/>
                </a:cubicBezTo>
                <a:cubicBezTo>
                  <a:pt x="587" y="32"/>
                  <a:pt x="746" y="192"/>
                  <a:pt x="746" y="390"/>
                </a:cubicBezTo>
                <a:close/>
                <a:moveTo>
                  <a:pt x="625" y="645"/>
                </a:moveTo>
                <a:lnTo>
                  <a:pt x="625" y="645"/>
                </a:lnTo>
                <a:cubicBezTo>
                  <a:pt x="631" y="639"/>
                  <a:pt x="631" y="631"/>
                  <a:pt x="625" y="625"/>
                </a:cubicBezTo>
                <a:lnTo>
                  <a:pt x="563" y="564"/>
                </a:lnTo>
                <a:cubicBezTo>
                  <a:pt x="578" y="546"/>
                  <a:pt x="587" y="523"/>
                  <a:pt x="587" y="498"/>
                </a:cubicBezTo>
                <a:cubicBezTo>
                  <a:pt x="587" y="438"/>
                  <a:pt x="538" y="390"/>
                  <a:pt x="479" y="390"/>
                </a:cubicBezTo>
                <a:cubicBezTo>
                  <a:pt x="419" y="390"/>
                  <a:pt x="371" y="438"/>
                  <a:pt x="371" y="498"/>
                </a:cubicBezTo>
                <a:cubicBezTo>
                  <a:pt x="371" y="557"/>
                  <a:pt x="419" y="606"/>
                  <a:pt x="479" y="606"/>
                </a:cubicBezTo>
                <a:cubicBezTo>
                  <a:pt x="503" y="606"/>
                  <a:pt x="526" y="597"/>
                  <a:pt x="544" y="583"/>
                </a:cubicBezTo>
                <a:lnTo>
                  <a:pt x="606" y="645"/>
                </a:lnTo>
                <a:cubicBezTo>
                  <a:pt x="609" y="647"/>
                  <a:pt x="612" y="649"/>
                  <a:pt x="616" y="649"/>
                </a:cubicBezTo>
                <a:cubicBezTo>
                  <a:pt x="619" y="649"/>
                  <a:pt x="623" y="647"/>
                  <a:pt x="625" y="645"/>
                </a:cubicBezTo>
                <a:close/>
                <a:moveTo>
                  <a:pt x="559" y="498"/>
                </a:moveTo>
                <a:lnTo>
                  <a:pt x="559" y="498"/>
                </a:lnTo>
                <a:cubicBezTo>
                  <a:pt x="559" y="543"/>
                  <a:pt x="523" y="579"/>
                  <a:pt x="479" y="579"/>
                </a:cubicBezTo>
                <a:cubicBezTo>
                  <a:pt x="434" y="579"/>
                  <a:pt x="398" y="543"/>
                  <a:pt x="398" y="498"/>
                </a:cubicBezTo>
                <a:cubicBezTo>
                  <a:pt x="398" y="453"/>
                  <a:pt x="434" y="417"/>
                  <a:pt x="479" y="417"/>
                </a:cubicBezTo>
                <a:cubicBezTo>
                  <a:pt x="523" y="417"/>
                  <a:pt x="559" y="453"/>
                  <a:pt x="559" y="498"/>
                </a:cubicBezTo>
                <a:close/>
                <a:moveTo>
                  <a:pt x="512" y="528"/>
                </a:moveTo>
                <a:lnTo>
                  <a:pt x="512" y="528"/>
                </a:lnTo>
                <a:lnTo>
                  <a:pt x="512" y="441"/>
                </a:lnTo>
                <a:cubicBezTo>
                  <a:pt x="504" y="437"/>
                  <a:pt x="495" y="434"/>
                  <a:pt x="485" y="433"/>
                </a:cubicBezTo>
                <a:lnTo>
                  <a:pt x="485" y="513"/>
                </a:lnTo>
                <a:lnTo>
                  <a:pt x="414" y="513"/>
                </a:lnTo>
                <a:cubicBezTo>
                  <a:pt x="417" y="524"/>
                  <a:pt x="422" y="534"/>
                  <a:pt x="429" y="542"/>
                </a:cubicBezTo>
                <a:lnTo>
                  <a:pt x="498" y="542"/>
                </a:lnTo>
                <a:cubicBezTo>
                  <a:pt x="506" y="542"/>
                  <a:pt x="512" y="535"/>
                  <a:pt x="512" y="528"/>
                </a:cubicBezTo>
                <a:close/>
                <a:moveTo>
                  <a:pt x="455" y="473"/>
                </a:moveTo>
                <a:lnTo>
                  <a:pt x="455" y="473"/>
                </a:lnTo>
                <a:cubicBezTo>
                  <a:pt x="455" y="465"/>
                  <a:pt x="450" y="460"/>
                  <a:pt x="442" y="460"/>
                </a:cubicBezTo>
                <a:lnTo>
                  <a:pt x="425" y="460"/>
                </a:lnTo>
                <a:cubicBezTo>
                  <a:pt x="419" y="468"/>
                  <a:pt x="415" y="477"/>
                  <a:pt x="413" y="487"/>
                </a:cubicBezTo>
                <a:lnTo>
                  <a:pt x="442" y="487"/>
                </a:lnTo>
                <a:cubicBezTo>
                  <a:pt x="450" y="487"/>
                  <a:pt x="455" y="480"/>
                  <a:pt x="455" y="473"/>
                </a:cubicBezTo>
                <a:close/>
                <a:moveTo>
                  <a:pt x="263" y="473"/>
                </a:moveTo>
                <a:lnTo>
                  <a:pt x="263" y="473"/>
                </a:lnTo>
                <a:cubicBezTo>
                  <a:pt x="263" y="480"/>
                  <a:pt x="270" y="487"/>
                  <a:pt x="277" y="487"/>
                </a:cubicBezTo>
                <a:lnTo>
                  <a:pt x="360" y="487"/>
                </a:lnTo>
                <a:cubicBezTo>
                  <a:pt x="361" y="478"/>
                  <a:pt x="363" y="468"/>
                  <a:pt x="366" y="460"/>
                </a:cubicBezTo>
                <a:lnTo>
                  <a:pt x="277" y="460"/>
                </a:lnTo>
                <a:cubicBezTo>
                  <a:pt x="270" y="460"/>
                  <a:pt x="263" y="465"/>
                  <a:pt x="263" y="473"/>
                </a:cubicBezTo>
                <a:close/>
                <a:moveTo>
                  <a:pt x="407" y="402"/>
                </a:moveTo>
                <a:lnTo>
                  <a:pt x="407" y="402"/>
                </a:lnTo>
                <a:lnTo>
                  <a:pt x="277" y="402"/>
                </a:lnTo>
                <a:cubicBezTo>
                  <a:pt x="270" y="402"/>
                  <a:pt x="263" y="409"/>
                  <a:pt x="263" y="417"/>
                </a:cubicBezTo>
                <a:cubicBezTo>
                  <a:pt x="263" y="424"/>
                  <a:pt x="270" y="430"/>
                  <a:pt x="277" y="430"/>
                </a:cubicBezTo>
                <a:lnTo>
                  <a:pt x="380" y="430"/>
                </a:lnTo>
                <a:cubicBezTo>
                  <a:pt x="387" y="419"/>
                  <a:pt x="397" y="410"/>
                  <a:pt x="407" y="402"/>
                </a:cubicBezTo>
                <a:close/>
                <a:moveTo>
                  <a:pt x="455" y="306"/>
                </a:moveTo>
                <a:lnTo>
                  <a:pt x="455" y="306"/>
                </a:lnTo>
                <a:cubicBezTo>
                  <a:pt x="455" y="298"/>
                  <a:pt x="450" y="293"/>
                  <a:pt x="442" y="293"/>
                </a:cubicBezTo>
                <a:lnTo>
                  <a:pt x="277" y="293"/>
                </a:lnTo>
                <a:cubicBezTo>
                  <a:pt x="270" y="293"/>
                  <a:pt x="263" y="298"/>
                  <a:pt x="263" y="306"/>
                </a:cubicBezTo>
                <a:cubicBezTo>
                  <a:pt x="263" y="313"/>
                  <a:pt x="270" y="320"/>
                  <a:pt x="277" y="320"/>
                </a:cubicBezTo>
                <a:lnTo>
                  <a:pt x="442" y="320"/>
                </a:lnTo>
                <a:cubicBezTo>
                  <a:pt x="450" y="320"/>
                  <a:pt x="455" y="313"/>
                  <a:pt x="455" y="306"/>
                </a:cubicBezTo>
                <a:close/>
                <a:moveTo>
                  <a:pt x="455" y="361"/>
                </a:moveTo>
                <a:lnTo>
                  <a:pt x="455" y="361"/>
                </a:lnTo>
                <a:cubicBezTo>
                  <a:pt x="455" y="354"/>
                  <a:pt x="450" y="347"/>
                  <a:pt x="442" y="347"/>
                </a:cubicBezTo>
                <a:lnTo>
                  <a:pt x="277" y="347"/>
                </a:lnTo>
                <a:cubicBezTo>
                  <a:pt x="270" y="347"/>
                  <a:pt x="263" y="354"/>
                  <a:pt x="263" y="361"/>
                </a:cubicBezTo>
                <a:cubicBezTo>
                  <a:pt x="263" y="369"/>
                  <a:pt x="270" y="375"/>
                  <a:pt x="277" y="375"/>
                </a:cubicBezTo>
                <a:lnTo>
                  <a:pt x="442" y="375"/>
                </a:lnTo>
                <a:cubicBezTo>
                  <a:pt x="450" y="375"/>
                  <a:pt x="455" y="369"/>
                  <a:pt x="455" y="361"/>
                </a:cubicBezTo>
                <a:close/>
                <a:moveTo>
                  <a:pt x="485" y="378"/>
                </a:moveTo>
                <a:lnTo>
                  <a:pt x="485" y="378"/>
                </a:lnTo>
                <a:cubicBezTo>
                  <a:pt x="495" y="379"/>
                  <a:pt x="504" y="380"/>
                  <a:pt x="512" y="383"/>
                </a:cubicBezTo>
                <a:lnTo>
                  <a:pt x="512" y="238"/>
                </a:lnTo>
                <a:cubicBezTo>
                  <a:pt x="512" y="237"/>
                  <a:pt x="512" y="234"/>
                  <a:pt x="511" y="233"/>
                </a:cubicBezTo>
                <a:cubicBezTo>
                  <a:pt x="511" y="232"/>
                  <a:pt x="510" y="229"/>
                  <a:pt x="508" y="228"/>
                </a:cubicBezTo>
                <a:lnTo>
                  <a:pt x="411" y="132"/>
                </a:lnTo>
                <a:cubicBezTo>
                  <a:pt x="410" y="131"/>
                  <a:pt x="409" y="130"/>
                  <a:pt x="408" y="128"/>
                </a:cubicBezTo>
                <a:lnTo>
                  <a:pt x="223" y="128"/>
                </a:lnTo>
                <a:cubicBezTo>
                  <a:pt x="215" y="128"/>
                  <a:pt x="208" y="133"/>
                  <a:pt x="208" y="141"/>
                </a:cubicBezTo>
                <a:lnTo>
                  <a:pt x="208" y="528"/>
                </a:lnTo>
                <a:cubicBezTo>
                  <a:pt x="208" y="535"/>
                  <a:pt x="215" y="542"/>
                  <a:pt x="223" y="542"/>
                </a:cubicBezTo>
                <a:lnTo>
                  <a:pt x="368" y="542"/>
                </a:lnTo>
                <a:cubicBezTo>
                  <a:pt x="364" y="533"/>
                  <a:pt x="362" y="523"/>
                  <a:pt x="361" y="513"/>
                </a:cubicBezTo>
                <a:lnTo>
                  <a:pt x="237" y="513"/>
                </a:lnTo>
                <a:lnTo>
                  <a:pt x="237" y="155"/>
                </a:lnTo>
                <a:lnTo>
                  <a:pt x="388" y="155"/>
                </a:lnTo>
                <a:lnTo>
                  <a:pt x="388" y="238"/>
                </a:lnTo>
                <a:cubicBezTo>
                  <a:pt x="388" y="246"/>
                  <a:pt x="395" y="252"/>
                  <a:pt x="402" y="252"/>
                </a:cubicBezTo>
                <a:lnTo>
                  <a:pt x="485" y="252"/>
                </a:lnTo>
                <a:lnTo>
                  <a:pt x="485" y="378"/>
                </a:lnTo>
                <a:lnTo>
                  <a:pt x="485" y="378"/>
                </a:lnTo>
                <a:close/>
                <a:moveTo>
                  <a:pt x="466" y="224"/>
                </a:moveTo>
                <a:lnTo>
                  <a:pt x="466" y="224"/>
                </a:lnTo>
                <a:lnTo>
                  <a:pt x="415" y="224"/>
                </a:lnTo>
                <a:lnTo>
                  <a:pt x="415" y="175"/>
                </a:lnTo>
                <a:lnTo>
                  <a:pt x="466" y="224"/>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TextBox 336">
            <a:extLst>
              <a:ext uri="{FF2B5EF4-FFF2-40B4-BE49-F238E27FC236}">
                <a16:creationId xmlns:a16="http://schemas.microsoft.com/office/drawing/2014/main" id="{7BED90F8-C981-4EB9-9A57-987BA7A0CF50}"/>
              </a:ext>
            </a:extLst>
          </p:cNvPr>
          <p:cNvSpPr txBox="1"/>
          <p:nvPr/>
        </p:nvSpPr>
        <p:spPr>
          <a:xfrm>
            <a:off x="10421397" y="2953196"/>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ocument</a:t>
            </a:r>
            <a:br>
              <a:rPr lang="en-US" sz="1000" dirty="0">
                <a:solidFill>
                  <a:srgbClr val="313131"/>
                </a:solidFill>
              </a:rPr>
            </a:br>
            <a:r>
              <a:rPr lang="en-US" sz="1000" dirty="0">
                <a:solidFill>
                  <a:srgbClr val="313131"/>
                </a:solidFill>
              </a:rPr>
              <a:t>Review</a:t>
            </a:r>
          </a:p>
        </p:txBody>
      </p:sp>
      <p:sp>
        <p:nvSpPr>
          <p:cNvPr id="338" name="TextBox 337">
            <a:extLst>
              <a:ext uri="{FF2B5EF4-FFF2-40B4-BE49-F238E27FC236}">
                <a16:creationId xmlns:a16="http://schemas.microsoft.com/office/drawing/2014/main" id="{6B157A82-82E0-4B81-BF42-D0DC66678655}"/>
              </a:ext>
            </a:extLst>
          </p:cNvPr>
          <p:cNvSpPr txBox="1"/>
          <p:nvPr/>
        </p:nvSpPr>
        <p:spPr>
          <a:xfrm>
            <a:off x="3892315" y="2947129"/>
            <a:ext cx="1053977"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Data Security 2</a:t>
            </a:r>
          </a:p>
        </p:txBody>
      </p:sp>
    </p:spTree>
    <p:extLst>
      <p:ext uri="{BB962C8B-B14F-4D97-AF65-F5344CB8AC3E}">
        <p14:creationId xmlns:p14="http://schemas.microsoft.com/office/powerpoint/2010/main" val="160285285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Influencing chevrons</a:t>
            </a:r>
            <a:endParaRPr lang="en-US" dirty="0"/>
          </a:p>
        </p:txBody>
      </p:sp>
      <p:sp>
        <p:nvSpPr>
          <p:cNvPr id="3" name="Title 2"/>
          <p:cNvSpPr>
            <a:spLocks noGrp="1"/>
          </p:cNvSpPr>
          <p:nvPr>
            <p:ph type="title"/>
          </p:nvPr>
        </p:nvSpPr>
        <p:spPr/>
        <p:txBody>
          <a:bodyPr/>
          <a:lstStyle/>
          <a:p>
            <a:r>
              <a:rPr lang="en-US" altLang="ja-JP" dirty="0"/>
              <a:t>Text boxes</a:t>
            </a:r>
            <a:endParaRPr lang="en-US" dirty="0"/>
          </a:p>
        </p:txBody>
      </p:sp>
      <p:sp>
        <p:nvSpPr>
          <p:cNvPr id="14" name="Rectangle 13"/>
          <p:cNvSpPr>
            <a:spLocks noChangeArrowheads="1"/>
          </p:cNvSpPr>
          <p:nvPr>
            <p:custDataLst>
              <p:tags r:id="rId1"/>
            </p:custDataLst>
          </p:nvPr>
        </p:nvSpPr>
        <p:spPr bwMode="auto">
          <a:xfrm>
            <a:off x="4209040" y="1611785"/>
            <a:ext cx="3757861" cy="4445000"/>
          </a:xfrm>
          <a:prstGeom prst="rect">
            <a:avLst/>
          </a:prstGeom>
          <a:noFill/>
          <a:ln w="6350" algn="ctr">
            <a:solidFill>
              <a:srgbClr val="BBBCBC"/>
            </a:solidFill>
            <a:miter lim="800000"/>
            <a:headEnd/>
            <a:tailEnd/>
          </a:ln>
        </p:spPr>
        <p:txBody>
          <a:bodyPr lIns="88900" tIns="88900" rIns="88900" bIns="88900" anchor="ctr"/>
          <a:lstStyle/>
          <a:p>
            <a:pPr algn="ctr">
              <a:defRPr/>
            </a:pPr>
            <a:r>
              <a:rPr lang="en-US" altLang="ja-JP" sz="2400" dirty="0">
                <a:ea typeface="ＭＳ Ｐゴシック" pitchFamily="50" charset="-128"/>
              </a:rPr>
              <a:t>Text</a:t>
            </a:r>
          </a:p>
        </p:txBody>
      </p:sp>
      <p:sp>
        <p:nvSpPr>
          <p:cNvPr id="15" name="Text Placeholder 5"/>
          <p:cNvSpPr txBox="1">
            <a:spLocks/>
          </p:cNvSpPr>
          <p:nvPr/>
        </p:nvSpPr>
        <p:spPr>
          <a:xfrm>
            <a:off x="501650" y="1710839"/>
            <a:ext cx="4547057" cy="1330325"/>
          </a:xfrm>
          <a:prstGeom prst="homePlate">
            <a:avLst>
              <a:gd name="adj" fmla="val 22028"/>
            </a:avLst>
          </a:prstGeom>
          <a:solidFill>
            <a:schemeClr val="tx1"/>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16" name="Text Placeholder 5"/>
          <p:cNvSpPr txBox="1">
            <a:spLocks/>
          </p:cNvSpPr>
          <p:nvPr/>
        </p:nvSpPr>
        <p:spPr>
          <a:xfrm>
            <a:off x="501650" y="3171810"/>
            <a:ext cx="4547057" cy="1330325"/>
          </a:xfrm>
          <a:prstGeom prst="homePlate">
            <a:avLst>
              <a:gd name="adj" fmla="val 22028"/>
            </a:avLst>
          </a:prstGeom>
          <a:solidFill>
            <a:schemeClr val="tx1"/>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17" name="Text Placeholder 5"/>
          <p:cNvSpPr txBox="1">
            <a:spLocks/>
          </p:cNvSpPr>
          <p:nvPr/>
        </p:nvSpPr>
        <p:spPr>
          <a:xfrm>
            <a:off x="501650" y="4632781"/>
            <a:ext cx="4547057" cy="1330325"/>
          </a:xfrm>
          <a:prstGeom prst="homePlate">
            <a:avLst>
              <a:gd name="adj" fmla="val 22028"/>
            </a:avLst>
          </a:prstGeom>
          <a:solidFill>
            <a:schemeClr val="tx1"/>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18" name="Text Placeholder 5"/>
          <p:cNvSpPr txBox="1">
            <a:spLocks/>
          </p:cNvSpPr>
          <p:nvPr/>
        </p:nvSpPr>
        <p:spPr>
          <a:xfrm flipH="1">
            <a:off x="7143293" y="1710839"/>
            <a:ext cx="4547057" cy="1330325"/>
          </a:xfrm>
          <a:prstGeom prst="homePlate">
            <a:avLst>
              <a:gd name="adj" fmla="val 22028"/>
            </a:avLst>
          </a:prstGeom>
          <a:solidFill>
            <a:schemeClr val="accent2"/>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19" name="Text Placeholder 5"/>
          <p:cNvSpPr txBox="1">
            <a:spLocks/>
          </p:cNvSpPr>
          <p:nvPr/>
        </p:nvSpPr>
        <p:spPr>
          <a:xfrm flipH="1">
            <a:off x="7143293" y="3171810"/>
            <a:ext cx="4547057" cy="1330325"/>
          </a:xfrm>
          <a:prstGeom prst="homePlate">
            <a:avLst>
              <a:gd name="adj" fmla="val 22028"/>
            </a:avLst>
          </a:prstGeom>
          <a:solidFill>
            <a:schemeClr val="accent2"/>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
        <p:nvSpPr>
          <p:cNvPr id="20" name="Text Placeholder 5"/>
          <p:cNvSpPr txBox="1">
            <a:spLocks/>
          </p:cNvSpPr>
          <p:nvPr>
            <p:custDataLst>
              <p:tags r:id="rId2"/>
            </p:custDataLst>
          </p:nvPr>
        </p:nvSpPr>
        <p:spPr>
          <a:xfrm flipH="1">
            <a:off x="7143293" y="4632781"/>
            <a:ext cx="4547057" cy="1330325"/>
          </a:xfrm>
          <a:prstGeom prst="homePlate">
            <a:avLst>
              <a:gd name="adj" fmla="val 22028"/>
            </a:avLst>
          </a:prstGeom>
          <a:solidFill>
            <a:schemeClr val="accent2"/>
          </a:solidFill>
          <a:ln>
            <a:no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rgbClr val="000000"/>
              </a:buClr>
              <a:buSzPct val="8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a:p>
            <a:pPr marL="393700" lvl="3" indent="-114300">
              <a:spcBef>
                <a:spcPts val="600"/>
              </a:spcBef>
              <a:buSzPct val="100000"/>
              <a:buFont typeface="Arial"/>
              <a:buChar char="◦"/>
            </a:pPr>
            <a:r>
              <a:rPr lang="en-US" sz="1300" dirty="0">
                <a:solidFill>
                  <a:schemeClr val="bg1"/>
                </a:solidFill>
                <a:cs typeface="Arial" charset="0"/>
              </a:rPr>
              <a:t>This is a level 3 bullet</a:t>
            </a:r>
          </a:p>
        </p:txBody>
      </p:sp>
    </p:spTree>
    <p:extLst>
      <p:ext uri="{BB962C8B-B14F-4D97-AF65-F5344CB8AC3E}">
        <p14:creationId xmlns:p14="http://schemas.microsoft.com/office/powerpoint/2010/main" val="1225603327"/>
      </p:ext>
    </p:extLst>
  </p:cSld>
  <p:clrMapOvr>
    <a:masterClrMapping/>
  </p:clrMapOvr>
  <p:transition>
    <p:fade/>
  </p:transition>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Public Sector/Office</a:t>
            </a:r>
          </a:p>
        </p:txBody>
      </p:sp>
      <p:sp>
        <p:nvSpPr>
          <p:cNvPr id="4" name="Title 3"/>
          <p:cNvSpPr>
            <a:spLocks noGrp="1"/>
          </p:cNvSpPr>
          <p:nvPr>
            <p:ph type="title"/>
          </p:nvPr>
        </p:nvSpPr>
        <p:spPr/>
        <p:txBody>
          <a:bodyPr/>
          <a:lstStyle/>
          <a:p>
            <a:r>
              <a:rPr lang="en-GB" dirty="0"/>
              <a:t>Iconography</a:t>
            </a:r>
          </a:p>
        </p:txBody>
      </p:sp>
      <p:sp>
        <p:nvSpPr>
          <p:cNvPr id="202" name="TextBox 201">
            <a:extLst>
              <a:ext uri="{FF2B5EF4-FFF2-40B4-BE49-F238E27FC236}">
                <a16:creationId xmlns:a16="http://schemas.microsoft.com/office/drawing/2014/main" id="{2096FF7D-0D1E-46A6-8382-C5086F9A70D4}"/>
              </a:ext>
            </a:extLst>
          </p:cNvPr>
          <p:cNvSpPr txBox="1"/>
          <p:nvPr/>
        </p:nvSpPr>
        <p:spPr>
          <a:xfrm>
            <a:off x="6584800" y="2099791"/>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oman, man, man</a:t>
            </a:r>
          </a:p>
        </p:txBody>
      </p:sp>
      <p:sp>
        <p:nvSpPr>
          <p:cNvPr id="203" name="TextBox 202">
            <a:extLst>
              <a:ext uri="{FF2B5EF4-FFF2-40B4-BE49-F238E27FC236}">
                <a16:creationId xmlns:a16="http://schemas.microsoft.com/office/drawing/2014/main" id="{BF164305-315B-453C-AB55-439E740B196D}"/>
              </a:ext>
            </a:extLst>
          </p:cNvPr>
          <p:cNvSpPr txBox="1"/>
          <p:nvPr/>
        </p:nvSpPr>
        <p:spPr>
          <a:xfrm>
            <a:off x="3950961" y="2099791"/>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n, woman</a:t>
            </a:r>
          </a:p>
        </p:txBody>
      </p:sp>
      <p:sp>
        <p:nvSpPr>
          <p:cNvPr id="204" name="TextBox 203">
            <a:extLst>
              <a:ext uri="{FF2B5EF4-FFF2-40B4-BE49-F238E27FC236}">
                <a16:creationId xmlns:a16="http://schemas.microsoft.com/office/drawing/2014/main" id="{CF50EAFC-857E-4F08-AAB6-A542D429E5E4}"/>
              </a:ext>
            </a:extLst>
          </p:cNvPr>
          <p:cNvSpPr txBox="1"/>
          <p:nvPr/>
        </p:nvSpPr>
        <p:spPr>
          <a:xfrm>
            <a:off x="1329822"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oman</a:t>
            </a:r>
          </a:p>
        </p:txBody>
      </p:sp>
      <p:sp>
        <p:nvSpPr>
          <p:cNvPr id="209" name="TextBox 208">
            <a:extLst>
              <a:ext uri="{FF2B5EF4-FFF2-40B4-BE49-F238E27FC236}">
                <a16:creationId xmlns:a16="http://schemas.microsoft.com/office/drawing/2014/main" id="{A3B8BE50-B161-4BAE-9607-E2AFECFA55AA}"/>
              </a:ext>
            </a:extLst>
          </p:cNvPr>
          <p:cNvSpPr txBox="1"/>
          <p:nvPr/>
        </p:nvSpPr>
        <p:spPr>
          <a:xfrm>
            <a:off x="5704737" y="2099791"/>
            <a:ext cx="83714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oman, woman, man</a:t>
            </a:r>
          </a:p>
        </p:txBody>
      </p:sp>
      <p:sp>
        <p:nvSpPr>
          <p:cNvPr id="210" name="TextBox 209">
            <a:extLst>
              <a:ext uri="{FF2B5EF4-FFF2-40B4-BE49-F238E27FC236}">
                <a16:creationId xmlns:a16="http://schemas.microsoft.com/office/drawing/2014/main" id="{0436C5B1-3946-4B69-B34E-945629F9E551}"/>
              </a:ext>
            </a:extLst>
          </p:cNvPr>
          <p:cNvSpPr txBox="1"/>
          <p:nvPr/>
        </p:nvSpPr>
        <p:spPr>
          <a:xfrm>
            <a:off x="4800538"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ie</a:t>
            </a:r>
          </a:p>
        </p:txBody>
      </p:sp>
      <p:sp>
        <p:nvSpPr>
          <p:cNvPr id="211" name="TextBox 210">
            <a:extLst>
              <a:ext uri="{FF2B5EF4-FFF2-40B4-BE49-F238E27FC236}">
                <a16:creationId xmlns:a16="http://schemas.microsoft.com/office/drawing/2014/main" id="{F869E082-F058-40ED-8484-F9079F099601}"/>
              </a:ext>
            </a:extLst>
          </p:cNvPr>
          <p:cNvSpPr txBox="1"/>
          <p:nvPr/>
        </p:nvSpPr>
        <p:spPr>
          <a:xfrm>
            <a:off x="3077248"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emale</a:t>
            </a:r>
          </a:p>
        </p:txBody>
      </p:sp>
      <p:sp>
        <p:nvSpPr>
          <p:cNvPr id="212" name="TextBox 211">
            <a:extLst>
              <a:ext uri="{FF2B5EF4-FFF2-40B4-BE49-F238E27FC236}">
                <a16:creationId xmlns:a16="http://schemas.microsoft.com/office/drawing/2014/main" id="{80D6F5B8-B292-4353-B2D9-D353D8C74522}"/>
              </a:ext>
            </a:extLst>
          </p:cNvPr>
          <p:cNvSpPr txBox="1"/>
          <p:nvPr/>
        </p:nvSpPr>
        <p:spPr>
          <a:xfrm>
            <a:off x="5674070"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Users</a:t>
            </a:r>
          </a:p>
        </p:txBody>
      </p:sp>
      <p:sp>
        <p:nvSpPr>
          <p:cNvPr id="213" name="TextBox 212">
            <a:extLst>
              <a:ext uri="{FF2B5EF4-FFF2-40B4-BE49-F238E27FC236}">
                <a16:creationId xmlns:a16="http://schemas.microsoft.com/office/drawing/2014/main" id="{FA3EC049-76BC-477D-8197-CD53FD4EAA9F}"/>
              </a:ext>
            </a:extLst>
          </p:cNvPr>
          <p:cNvSpPr txBox="1"/>
          <p:nvPr/>
        </p:nvSpPr>
        <p:spPr>
          <a:xfrm>
            <a:off x="3053474"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Quote marks</a:t>
            </a:r>
          </a:p>
        </p:txBody>
      </p:sp>
      <p:sp>
        <p:nvSpPr>
          <p:cNvPr id="214" name="TextBox 213">
            <a:extLst>
              <a:ext uri="{FF2B5EF4-FFF2-40B4-BE49-F238E27FC236}">
                <a16:creationId xmlns:a16="http://schemas.microsoft.com/office/drawing/2014/main" id="{4DE0CA4D-6C15-428C-9C4E-8BA71D6DF659}"/>
              </a:ext>
            </a:extLst>
          </p:cNvPr>
          <p:cNvSpPr txBox="1"/>
          <p:nvPr/>
        </p:nvSpPr>
        <p:spPr>
          <a:xfrm>
            <a:off x="2179942"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eeting</a:t>
            </a:r>
          </a:p>
        </p:txBody>
      </p:sp>
      <p:sp>
        <p:nvSpPr>
          <p:cNvPr id="215" name="TextBox 214">
            <a:extLst>
              <a:ext uri="{FF2B5EF4-FFF2-40B4-BE49-F238E27FC236}">
                <a16:creationId xmlns:a16="http://schemas.microsoft.com/office/drawing/2014/main" id="{4EFE9DB6-F25D-4936-986D-DBFDE4AD9863}"/>
              </a:ext>
            </a:extLst>
          </p:cNvPr>
          <p:cNvSpPr txBox="1"/>
          <p:nvPr/>
        </p:nvSpPr>
        <p:spPr>
          <a:xfrm>
            <a:off x="1306410"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cales</a:t>
            </a:r>
          </a:p>
        </p:txBody>
      </p:sp>
      <p:sp>
        <p:nvSpPr>
          <p:cNvPr id="216" name="TextBox 215">
            <a:extLst>
              <a:ext uri="{FF2B5EF4-FFF2-40B4-BE49-F238E27FC236}">
                <a16:creationId xmlns:a16="http://schemas.microsoft.com/office/drawing/2014/main" id="{C4034054-4FD8-4660-9E1C-157D2D7811FD}"/>
              </a:ext>
            </a:extLst>
          </p:cNvPr>
          <p:cNvSpPr txBox="1"/>
          <p:nvPr/>
        </p:nvSpPr>
        <p:spPr>
          <a:xfrm>
            <a:off x="7446871" y="2099791"/>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Like</a:t>
            </a:r>
          </a:p>
        </p:txBody>
      </p:sp>
      <p:sp>
        <p:nvSpPr>
          <p:cNvPr id="217" name="TextBox 216">
            <a:extLst>
              <a:ext uri="{FF2B5EF4-FFF2-40B4-BE49-F238E27FC236}">
                <a16:creationId xmlns:a16="http://schemas.microsoft.com/office/drawing/2014/main" id="{350A38AB-EADB-4534-B5B2-2E326CC8F3B6}"/>
              </a:ext>
            </a:extLst>
          </p:cNvPr>
          <p:cNvSpPr txBox="1"/>
          <p:nvPr/>
        </p:nvSpPr>
        <p:spPr>
          <a:xfrm>
            <a:off x="6547602" y="294016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lder</a:t>
            </a:r>
          </a:p>
        </p:txBody>
      </p:sp>
      <p:sp>
        <p:nvSpPr>
          <p:cNvPr id="218" name="TextBox 217">
            <a:extLst>
              <a:ext uri="{FF2B5EF4-FFF2-40B4-BE49-F238E27FC236}">
                <a16:creationId xmlns:a16="http://schemas.microsoft.com/office/drawing/2014/main" id="{1F3F4990-ADF5-4773-87C7-089A13069642}"/>
              </a:ext>
            </a:extLst>
          </p:cNvPr>
          <p:cNvSpPr txBox="1"/>
          <p:nvPr/>
        </p:nvSpPr>
        <p:spPr>
          <a:xfrm>
            <a:off x="456109"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n</a:t>
            </a:r>
          </a:p>
        </p:txBody>
      </p:sp>
      <p:sp>
        <p:nvSpPr>
          <p:cNvPr id="219" name="TextBox 218">
            <a:extLst>
              <a:ext uri="{FF2B5EF4-FFF2-40B4-BE49-F238E27FC236}">
                <a16:creationId xmlns:a16="http://schemas.microsoft.com/office/drawing/2014/main" id="{0FC201BB-EA53-493F-8698-B22ADA3154D3}"/>
              </a:ext>
            </a:extLst>
          </p:cNvPr>
          <p:cNvSpPr txBox="1"/>
          <p:nvPr/>
        </p:nvSpPr>
        <p:spPr>
          <a:xfrm>
            <a:off x="10044726" y="2099791"/>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ech bubble</a:t>
            </a:r>
          </a:p>
        </p:txBody>
      </p:sp>
      <p:sp>
        <p:nvSpPr>
          <p:cNvPr id="220" name="TextBox 219">
            <a:extLst>
              <a:ext uri="{FF2B5EF4-FFF2-40B4-BE49-F238E27FC236}">
                <a16:creationId xmlns:a16="http://schemas.microsoft.com/office/drawing/2014/main" id="{1152A750-62B6-442E-BC07-750C4BD47A1E}"/>
              </a:ext>
            </a:extLst>
          </p:cNvPr>
          <p:cNvSpPr txBox="1"/>
          <p:nvPr/>
        </p:nvSpPr>
        <p:spPr>
          <a:xfrm>
            <a:off x="2203535"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le</a:t>
            </a:r>
          </a:p>
        </p:txBody>
      </p:sp>
      <p:sp>
        <p:nvSpPr>
          <p:cNvPr id="221" name="TextBox 220">
            <a:extLst>
              <a:ext uri="{FF2B5EF4-FFF2-40B4-BE49-F238E27FC236}">
                <a16:creationId xmlns:a16="http://schemas.microsoft.com/office/drawing/2014/main" id="{36E55FAD-D713-4628-B7EC-32C2FC1C1CCF}"/>
              </a:ext>
            </a:extLst>
          </p:cNvPr>
          <p:cNvSpPr txBox="1"/>
          <p:nvPr/>
        </p:nvSpPr>
        <p:spPr>
          <a:xfrm>
            <a:off x="10918433"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rg chart</a:t>
            </a:r>
          </a:p>
        </p:txBody>
      </p:sp>
      <p:sp>
        <p:nvSpPr>
          <p:cNvPr id="222" name="TextBox 221">
            <a:extLst>
              <a:ext uri="{FF2B5EF4-FFF2-40B4-BE49-F238E27FC236}">
                <a16:creationId xmlns:a16="http://schemas.microsoft.com/office/drawing/2014/main" id="{4B9A5D78-5D7E-4E88-9205-CFA93A69C321}"/>
              </a:ext>
            </a:extLst>
          </p:cNvPr>
          <p:cNvSpPr txBox="1"/>
          <p:nvPr/>
        </p:nvSpPr>
        <p:spPr>
          <a:xfrm>
            <a:off x="1353132" y="365257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lip chart</a:t>
            </a:r>
          </a:p>
        </p:txBody>
      </p:sp>
      <p:sp>
        <p:nvSpPr>
          <p:cNvPr id="223" name="TextBox 222">
            <a:extLst>
              <a:ext uri="{FF2B5EF4-FFF2-40B4-BE49-F238E27FC236}">
                <a16:creationId xmlns:a16="http://schemas.microsoft.com/office/drawing/2014/main" id="{429508E6-6C94-4281-A093-C85BC7D6640B}"/>
              </a:ext>
            </a:extLst>
          </p:cNvPr>
          <p:cNvSpPr txBox="1"/>
          <p:nvPr/>
        </p:nvSpPr>
        <p:spPr>
          <a:xfrm>
            <a:off x="8308942" y="2099791"/>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slike</a:t>
            </a:r>
          </a:p>
        </p:txBody>
      </p:sp>
      <p:sp>
        <p:nvSpPr>
          <p:cNvPr id="224" name="TextBox 223">
            <a:extLst>
              <a:ext uri="{FF2B5EF4-FFF2-40B4-BE49-F238E27FC236}">
                <a16:creationId xmlns:a16="http://schemas.microsoft.com/office/drawing/2014/main" id="{2E336841-0C62-4B06-947D-1E621A29BACE}"/>
              </a:ext>
            </a:extLst>
          </p:cNvPr>
          <p:cNvSpPr txBox="1"/>
          <p:nvPr/>
        </p:nvSpPr>
        <p:spPr>
          <a:xfrm>
            <a:off x="483095" y="3652579"/>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ye</a:t>
            </a:r>
          </a:p>
        </p:txBody>
      </p:sp>
      <p:sp>
        <p:nvSpPr>
          <p:cNvPr id="225" name="TextBox 224">
            <a:extLst>
              <a:ext uri="{FF2B5EF4-FFF2-40B4-BE49-F238E27FC236}">
                <a16:creationId xmlns:a16="http://schemas.microsoft.com/office/drawing/2014/main" id="{FA14B1E7-AB7E-45EB-93FD-4F0A52EC7747}"/>
              </a:ext>
            </a:extLst>
          </p:cNvPr>
          <p:cNvSpPr txBox="1"/>
          <p:nvPr/>
        </p:nvSpPr>
        <p:spPr>
          <a:xfrm>
            <a:off x="2223169" y="3652579"/>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avel</a:t>
            </a:r>
          </a:p>
        </p:txBody>
      </p:sp>
      <p:sp>
        <p:nvSpPr>
          <p:cNvPr id="226" name="TextBox 225">
            <a:extLst>
              <a:ext uri="{FF2B5EF4-FFF2-40B4-BE49-F238E27FC236}">
                <a16:creationId xmlns:a16="http://schemas.microsoft.com/office/drawing/2014/main" id="{5CAA41FB-B096-43A0-9018-A7D117265284}"/>
              </a:ext>
            </a:extLst>
          </p:cNvPr>
          <p:cNvSpPr txBox="1"/>
          <p:nvPr/>
        </p:nvSpPr>
        <p:spPr>
          <a:xfrm>
            <a:off x="3081564" y="3652579"/>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rchive box</a:t>
            </a:r>
          </a:p>
        </p:txBody>
      </p:sp>
      <p:sp>
        <p:nvSpPr>
          <p:cNvPr id="227" name="TextBox 226">
            <a:extLst>
              <a:ext uri="{FF2B5EF4-FFF2-40B4-BE49-F238E27FC236}">
                <a16:creationId xmlns:a16="http://schemas.microsoft.com/office/drawing/2014/main" id="{63DA6C53-DBB0-4C1F-BFC8-E9D4B5156F36}"/>
              </a:ext>
            </a:extLst>
          </p:cNvPr>
          <p:cNvSpPr txBox="1"/>
          <p:nvPr/>
        </p:nvSpPr>
        <p:spPr>
          <a:xfrm>
            <a:off x="8297841"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cument</a:t>
            </a:r>
          </a:p>
        </p:txBody>
      </p:sp>
      <p:sp>
        <p:nvSpPr>
          <p:cNvPr id="228" name="TextBox 227">
            <a:extLst>
              <a:ext uri="{FF2B5EF4-FFF2-40B4-BE49-F238E27FC236}">
                <a16:creationId xmlns:a16="http://schemas.microsoft.com/office/drawing/2014/main" id="{1C6C4363-2997-439C-847E-5357CA31D8B3}"/>
              </a:ext>
            </a:extLst>
          </p:cNvPr>
          <p:cNvSpPr txBox="1"/>
          <p:nvPr/>
        </p:nvSpPr>
        <p:spPr>
          <a:xfrm>
            <a:off x="7424309"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pen folder</a:t>
            </a:r>
          </a:p>
        </p:txBody>
      </p:sp>
      <p:sp>
        <p:nvSpPr>
          <p:cNvPr id="229" name="TextBox 228">
            <a:extLst>
              <a:ext uri="{FF2B5EF4-FFF2-40B4-BE49-F238E27FC236}">
                <a16:creationId xmlns:a16="http://schemas.microsoft.com/office/drawing/2014/main" id="{BC2AB579-DE6F-4ACC-91A6-976197810CF7}"/>
              </a:ext>
            </a:extLst>
          </p:cNvPr>
          <p:cNvSpPr txBox="1"/>
          <p:nvPr/>
        </p:nvSpPr>
        <p:spPr>
          <a:xfrm>
            <a:off x="10918433"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esenting</a:t>
            </a:r>
          </a:p>
        </p:txBody>
      </p:sp>
      <p:sp>
        <p:nvSpPr>
          <p:cNvPr id="230" name="TextBox 229">
            <a:extLst>
              <a:ext uri="{FF2B5EF4-FFF2-40B4-BE49-F238E27FC236}">
                <a16:creationId xmlns:a16="http://schemas.microsoft.com/office/drawing/2014/main" id="{F96314B5-97E3-4602-BE00-5FA0CFBAC0C1}"/>
              </a:ext>
            </a:extLst>
          </p:cNvPr>
          <p:cNvSpPr txBox="1"/>
          <p:nvPr/>
        </p:nvSpPr>
        <p:spPr>
          <a:xfrm>
            <a:off x="10044905"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w tie</a:t>
            </a:r>
          </a:p>
        </p:txBody>
      </p:sp>
      <p:sp>
        <p:nvSpPr>
          <p:cNvPr id="231" name="TextBox 230">
            <a:extLst>
              <a:ext uri="{FF2B5EF4-FFF2-40B4-BE49-F238E27FC236}">
                <a16:creationId xmlns:a16="http://schemas.microsoft.com/office/drawing/2014/main" id="{BFF7D9DA-13BC-4FDF-BDC9-BDC386826EA6}"/>
              </a:ext>
            </a:extLst>
          </p:cNvPr>
          <p:cNvSpPr txBox="1"/>
          <p:nvPr/>
        </p:nvSpPr>
        <p:spPr>
          <a:xfrm>
            <a:off x="9171373"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odium</a:t>
            </a:r>
          </a:p>
        </p:txBody>
      </p:sp>
      <p:sp>
        <p:nvSpPr>
          <p:cNvPr id="232" name="TextBox 231">
            <a:extLst>
              <a:ext uri="{FF2B5EF4-FFF2-40B4-BE49-F238E27FC236}">
                <a16:creationId xmlns:a16="http://schemas.microsoft.com/office/drawing/2014/main" id="{2CA4D882-3C91-4198-A563-A6EFE6566169}"/>
              </a:ext>
            </a:extLst>
          </p:cNvPr>
          <p:cNvSpPr txBox="1"/>
          <p:nvPr/>
        </p:nvSpPr>
        <p:spPr>
          <a:xfrm>
            <a:off x="444520" y="294016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tchel</a:t>
            </a:r>
          </a:p>
        </p:txBody>
      </p:sp>
      <p:sp>
        <p:nvSpPr>
          <p:cNvPr id="233" name="TextBox 232">
            <a:extLst>
              <a:ext uri="{FF2B5EF4-FFF2-40B4-BE49-F238E27FC236}">
                <a16:creationId xmlns:a16="http://schemas.microsoft.com/office/drawing/2014/main" id="{484A2197-1BB5-4D90-B043-13287F85A639}"/>
              </a:ext>
            </a:extLst>
          </p:cNvPr>
          <p:cNvSpPr txBox="1"/>
          <p:nvPr/>
        </p:nvSpPr>
        <p:spPr>
          <a:xfrm>
            <a:off x="4827849" y="2099791"/>
            <a:ext cx="833967"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n, man, woman</a:t>
            </a:r>
          </a:p>
        </p:txBody>
      </p:sp>
      <p:grpSp>
        <p:nvGrpSpPr>
          <p:cNvPr id="234" name="Group 795">
            <a:extLst>
              <a:ext uri="{FF2B5EF4-FFF2-40B4-BE49-F238E27FC236}">
                <a16:creationId xmlns:a16="http://schemas.microsoft.com/office/drawing/2014/main" id="{5A46C082-D089-4499-8106-D9263443D4DF}"/>
              </a:ext>
            </a:extLst>
          </p:cNvPr>
          <p:cNvGrpSpPr>
            <a:grpSpLocks noChangeAspect="1"/>
          </p:cNvGrpSpPr>
          <p:nvPr/>
        </p:nvGrpSpPr>
        <p:grpSpPr bwMode="auto">
          <a:xfrm>
            <a:off x="6141778" y="1700213"/>
            <a:ext cx="369676" cy="369676"/>
            <a:chOff x="7361" y="3009"/>
            <a:chExt cx="340" cy="340"/>
          </a:xfrm>
          <a:solidFill>
            <a:schemeClr val="accent6"/>
          </a:solidFill>
        </p:grpSpPr>
        <p:sp>
          <p:nvSpPr>
            <p:cNvPr id="235" name="Freeform 796">
              <a:extLst>
                <a:ext uri="{FF2B5EF4-FFF2-40B4-BE49-F238E27FC236}">
                  <a16:creationId xmlns:a16="http://schemas.microsoft.com/office/drawing/2014/main" id="{31D0CD00-86A1-43C1-B321-A0F59EFF233C}"/>
                </a:ext>
              </a:extLst>
            </p:cNvPr>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6" name="Freeform 797">
              <a:extLst>
                <a:ext uri="{FF2B5EF4-FFF2-40B4-BE49-F238E27FC236}">
                  <a16:creationId xmlns:a16="http://schemas.microsoft.com/office/drawing/2014/main" id="{F72B5B66-43E2-42C4-9A2E-FE9B235C7673}"/>
                </a:ext>
              </a:extLst>
            </p:cNvPr>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7" name="Freeform 798">
              <a:extLst>
                <a:ext uri="{FF2B5EF4-FFF2-40B4-BE49-F238E27FC236}">
                  <a16:creationId xmlns:a16="http://schemas.microsoft.com/office/drawing/2014/main" id="{5407412E-0E92-4180-8E37-FF4B1A359398}"/>
                </a:ext>
              </a:extLst>
            </p:cNvPr>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8" name="Freeform 799">
              <a:extLst>
                <a:ext uri="{FF2B5EF4-FFF2-40B4-BE49-F238E27FC236}">
                  <a16:creationId xmlns:a16="http://schemas.microsoft.com/office/drawing/2014/main" id="{C990A9A2-88CD-4E19-A79A-642F1CDC292B}"/>
                </a:ext>
              </a:extLst>
            </p:cNvPr>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9" name="Freeform 800">
              <a:extLst>
                <a:ext uri="{FF2B5EF4-FFF2-40B4-BE49-F238E27FC236}">
                  <a16:creationId xmlns:a16="http://schemas.microsoft.com/office/drawing/2014/main" id="{216DBA0F-1753-460C-99F2-857900B66ED6}"/>
                </a:ext>
              </a:extLst>
            </p:cNvPr>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0" name="Freeform 801">
              <a:extLst>
                <a:ext uri="{FF2B5EF4-FFF2-40B4-BE49-F238E27FC236}">
                  <a16:creationId xmlns:a16="http://schemas.microsoft.com/office/drawing/2014/main" id="{AB90C398-9B3B-49CD-AA00-908F63A7276B}"/>
                </a:ext>
              </a:extLst>
            </p:cNvPr>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1" name="Freeform 802">
              <a:extLst>
                <a:ext uri="{FF2B5EF4-FFF2-40B4-BE49-F238E27FC236}">
                  <a16:creationId xmlns:a16="http://schemas.microsoft.com/office/drawing/2014/main" id="{C2747AE7-D051-434F-B9FD-0C6BA145C2ED}"/>
                </a:ext>
              </a:extLst>
            </p:cNvPr>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2" name="Freeform 806">
            <a:extLst>
              <a:ext uri="{FF2B5EF4-FFF2-40B4-BE49-F238E27FC236}">
                <a16:creationId xmlns:a16="http://schemas.microsoft.com/office/drawing/2014/main" id="{65866689-D372-45A6-B216-53B20B189C8F}"/>
              </a:ext>
            </a:extLst>
          </p:cNvPr>
          <p:cNvSpPr>
            <a:spLocks noChangeAspect="1" noEditPoints="1"/>
          </p:cNvSpPr>
          <p:nvPr/>
        </p:nvSpPr>
        <p:spPr bwMode="auto">
          <a:xfrm>
            <a:off x="5706476" y="1700213"/>
            <a:ext cx="369676" cy="369676"/>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3" name="Group 809">
            <a:extLst>
              <a:ext uri="{FF2B5EF4-FFF2-40B4-BE49-F238E27FC236}">
                <a16:creationId xmlns:a16="http://schemas.microsoft.com/office/drawing/2014/main" id="{2D44CD9F-3D3A-49E1-B3CA-2FF95F730313}"/>
              </a:ext>
            </a:extLst>
          </p:cNvPr>
          <p:cNvGrpSpPr>
            <a:grpSpLocks noChangeAspect="1"/>
          </p:cNvGrpSpPr>
          <p:nvPr/>
        </p:nvGrpSpPr>
        <p:grpSpPr bwMode="auto">
          <a:xfrm>
            <a:off x="3522516" y="1700213"/>
            <a:ext cx="369676" cy="369676"/>
            <a:chOff x="6589" y="3004"/>
            <a:chExt cx="340" cy="340"/>
          </a:xfrm>
          <a:solidFill>
            <a:schemeClr val="accent1"/>
          </a:solidFill>
        </p:grpSpPr>
        <p:sp>
          <p:nvSpPr>
            <p:cNvPr id="244" name="Freeform 810">
              <a:extLst>
                <a:ext uri="{FF2B5EF4-FFF2-40B4-BE49-F238E27FC236}">
                  <a16:creationId xmlns:a16="http://schemas.microsoft.com/office/drawing/2014/main" id="{972AFCD6-30E1-4BA2-BFA4-D496730ED6A0}"/>
                </a:ext>
              </a:extLst>
            </p:cNvPr>
            <p:cNvSpPr>
              <a:spLocks noEditPoints="1"/>
            </p:cNvSpPr>
            <p:nvPr/>
          </p:nvSpPr>
          <p:spPr bwMode="auto">
            <a:xfrm>
              <a:off x="6589" y="30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5" name="Freeform 811">
              <a:extLst>
                <a:ext uri="{FF2B5EF4-FFF2-40B4-BE49-F238E27FC236}">
                  <a16:creationId xmlns:a16="http://schemas.microsoft.com/office/drawing/2014/main" id="{96B5841C-8D4B-4B5F-A84B-0FC9822E616A}"/>
                </a:ext>
              </a:extLst>
            </p:cNvPr>
            <p:cNvSpPr>
              <a:spLocks noEditPoints="1"/>
            </p:cNvSpPr>
            <p:nvPr/>
          </p:nvSpPr>
          <p:spPr bwMode="auto">
            <a:xfrm>
              <a:off x="6666" y="3067"/>
              <a:ext cx="185" cy="186"/>
            </a:xfrm>
            <a:custGeom>
              <a:avLst/>
              <a:gdLst>
                <a:gd name="T0" fmla="*/ 227 w 279"/>
                <a:gd name="T1" fmla="*/ 247 h 280"/>
                <a:gd name="T2" fmla="*/ 191 w 279"/>
                <a:gd name="T3" fmla="*/ 225 h 280"/>
                <a:gd name="T4" fmla="*/ 267 w 279"/>
                <a:gd name="T5" fmla="*/ 218 h 280"/>
                <a:gd name="T6" fmla="*/ 236 w 279"/>
                <a:gd name="T7" fmla="*/ 97 h 280"/>
                <a:gd name="T8" fmla="*/ 170 w 279"/>
                <a:gd name="T9" fmla="*/ 5 h 280"/>
                <a:gd name="T10" fmla="*/ 140 w 279"/>
                <a:gd name="T11" fmla="*/ 1 h 280"/>
                <a:gd name="T12" fmla="*/ 106 w 279"/>
                <a:gd name="T13" fmla="*/ 6 h 280"/>
                <a:gd name="T14" fmla="*/ 44 w 279"/>
                <a:gd name="T15" fmla="*/ 97 h 280"/>
                <a:gd name="T16" fmla="*/ 12 w 279"/>
                <a:gd name="T17" fmla="*/ 218 h 280"/>
                <a:gd name="T18" fmla="*/ 88 w 279"/>
                <a:gd name="T19" fmla="*/ 225 h 280"/>
                <a:gd name="T20" fmla="*/ 53 w 279"/>
                <a:gd name="T21" fmla="*/ 247 h 280"/>
                <a:gd name="T22" fmla="*/ 3 w 279"/>
                <a:gd name="T23" fmla="*/ 273 h 280"/>
                <a:gd name="T24" fmla="*/ 55 w 279"/>
                <a:gd name="T25" fmla="*/ 268 h 280"/>
                <a:gd name="T26" fmla="*/ 112 w 279"/>
                <a:gd name="T27" fmla="*/ 220 h 280"/>
                <a:gd name="T28" fmla="*/ 85 w 279"/>
                <a:gd name="T29" fmla="*/ 122 h 280"/>
                <a:gd name="T30" fmla="*/ 140 w 279"/>
                <a:gd name="T31" fmla="*/ 53 h 280"/>
                <a:gd name="T32" fmla="*/ 194 w 279"/>
                <a:gd name="T33" fmla="*/ 122 h 280"/>
                <a:gd name="T34" fmla="*/ 167 w 279"/>
                <a:gd name="T35" fmla="*/ 220 h 280"/>
                <a:gd name="T36" fmla="*/ 224 w 279"/>
                <a:gd name="T37" fmla="*/ 268 h 280"/>
                <a:gd name="T38" fmla="*/ 267 w 279"/>
                <a:gd name="T39" fmla="*/ 278 h 280"/>
                <a:gd name="T40" fmla="*/ 273 w 279"/>
                <a:gd name="T41" fmla="*/ 258 h 280"/>
                <a:gd name="T42" fmla="*/ 93 w 279"/>
                <a:gd name="T43" fmla="*/ 203 h 280"/>
                <a:gd name="T44" fmla="*/ 64 w 279"/>
                <a:gd name="T45" fmla="*/ 126 h 280"/>
                <a:gd name="T46" fmla="*/ 93 w 279"/>
                <a:gd name="T47" fmla="*/ 194 h 280"/>
                <a:gd name="T48" fmla="*/ 93 w 279"/>
                <a:gd name="T49" fmla="*/ 40 h 280"/>
                <a:gd name="T50" fmla="*/ 128 w 279"/>
                <a:gd name="T51" fmla="*/ 23 h 280"/>
                <a:gd name="T52" fmla="*/ 151 w 279"/>
                <a:gd name="T53" fmla="*/ 23 h 280"/>
                <a:gd name="T54" fmla="*/ 186 w 279"/>
                <a:gd name="T55" fmla="*/ 40 h 280"/>
                <a:gd name="T56" fmla="*/ 151 w 279"/>
                <a:gd name="T57" fmla="*/ 23 h 280"/>
                <a:gd name="T58" fmla="*/ 215 w 279"/>
                <a:gd name="T59" fmla="*/ 127 h 280"/>
                <a:gd name="T60" fmla="*/ 237 w 279"/>
                <a:gd name="T61" fmla="*/ 203 h 280"/>
                <a:gd name="T62" fmla="*/ 186 w 279"/>
                <a:gd name="T63" fmla="*/ 19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9" h="280">
                  <a:moveTo>
                    <a:pt x="273" y="258"/>
                  </a:moveTo>
                  <a:cubicBezTo>
                    <a:pt x="259" y="250"/>
                    <a:pt x="242" y="249"/>
                    <a:pt x="227" y="247"/>
                  </a:cubicBezTo>
                  <a:cubicBezTo>
                    <a:pt x="217" y="246"/>
                    <a:pt x="207" y="245"/>
                    <a:pt x="203" y="243"/>
                  </a:cubicBezTo>
                  <a:cubicBezTo>
                    <a:pt x="198" y="240"/>
                    <a:pt x="194" y="233"/>
                    <a:pt x="191" y="225"/>
                  </a:cubicBezTo>
                  <a:cubicBezTo>
                    <a:pt x="257" y="225"/>
                    <a:pt x="257" y="225"/>
                    <a:pt x="257" y="225"/>
                  </a:cubicBezTo>
                  <a:cubicBezTo>
                    <a:pt x="261" y="225"/>
                    <a:pt x="265" y="222"/>
                    <a:pt x="267" y="218"/>
                  </a:cubicBezTo>
                  <a:cubicBezTo>
                    <a:pt x="269" y="214"/>
                    <a:pt x="267" y="209"/>
                    <a:pt x="264" y="206"/>
                  </a:cubicBezTo>
                  <a:cubicBezTo>
                    <a:pt x="264" y="206"/>
                    <a:pt x="236" y="177"/>
                    <a:pt x="236" y="97"/>
                  </a:cubicBezTo>
                  <a:cubicBezTo>
                    <a:pt x="236" y="68"/>
                    <a:pt x="227" y="44"/>
                    <a:pt x="210" y="28"/>
                  </a:cubicBezTo>
                  <a:cubicBezTo>
                    <a:pt x="197" y="15"/>
                    <a:pt x="182" y="9"/>
                    <a:pt x="170" y="5"/>
                  </a:cubicBezTo>
                  <a:cubicBezTo>
                    <a:pt x="154" y="0"/>
                    <a:pt x="141" y="1"/>
                    <a:pt x="140" y="1"/>
                  </a:cubicBezTo>
                  <a:cubicBezTo>
                    <a:pt x="140" y="1"/>
                    <a:pt x="140" y="1"/>
                    <a:pt x="140" y="1"/>
                  </a:cubicBezTo>
                  <a:cubicBezTo>
                    <a:pt x="139" y="1"/>
                    <a:pt x="139" y="1"/>
                    <a:pt x="138" y="1"/>
                  </a:cubicBezTo>
                  <a:cubicBezTo>
                    <a:pt x="136" y="1"/>
                    <a:pt x="122" y="0"/>
                    <a:pt x="106" y="6"/>
                  </a:cubicBezTo>
                  <a:cubicBezTo>
                    <a:pt x="94" y="10"/>
                    <a:pt x="81" y="16"/>
                    <a:pt x="70" y="28"/>
                  </a:cubicBezTo>
                  <a:cubicBezTo>
                    <a:pt x="52" y="44"/>
                    <a:pt x="44" y="68"/>
                    <a:pt x="44" y="97"/>
                  </a:cubicBezTo>
                  <a:cubicBezTo>
                    <a:pt x="44" y="177"/>
                    <a:pt x="15" y="206"/>
                    <a:pt x="15" y="206"/>
                  </a:cubicBezTo>
                  <a:cubicBezTo>
                    <a:pt x="12" y="209"/>
                    <a:pt x="11" y="214"/>
                    <a:pt x="12" y="218"/>
                  </a:cubicBezTo>
                  <a:cubicBezTo>
                    <a:pt x="14" y="222"/>
                    <a:pt x="18" y="225"/>
                    <a:pt x="22" y="225"/>
                  </a:cubicBezTo>
                  <a:cubicBezTo>
                    <a:pt x="88" y="225"/>
                    <a:pt x="88" y="225"/>
                    <a:pt x="88" y="225"/>
                  </a:cubicBezTo>
                  <a:cubicBezTo>
                    <a:pt x="85" y="233"/>
                    <a:pt x="81" y="240"/>
                    <a:pt x="77" y="243"/>
                  </a:cubicBezTo>
                  <a:cubicBezTo>
                    <a:pt x="72" y="245"/>
                    <a:pt x="62" y="246"/>
                    <a:pt x="53" y="247"/>
                  </a:cubicBezTo>
                  <a:cubicBezTo>
                    <a:pt x="37" y="249"/>
                    <a:pt x="20" y="250"/>
                    <a:pt x="7" y="258"/>
                  </a:cubicBezTo>
                  <a:cubicBezTo>
                    <a:pt x="2" y="261"/>
                    <a:pt x="0" y="267"/>
                    <a:pt x="3" y="273"/>
                  </a:cubicBezTo>
                  <a:cubicBezTo>
                    <a:pt x="5" y="278"/>
                    <a:pt x="12" y="280"/>
                    <a:pt x="17" y="277"/>
                  </a:cubicBezTo>
                  <a:cubicBezTo>
                    <a:pt x="27" y="271"/>
                    <a:pt x="42" y="270"/>
                    <a:pt x="55" y="268"/>
                  </a:cubicBezTo>
                  <a:cubicBezTo>
                    <a:pt x="67" y="267"/>
                    <a:pt x="78" y="266"/>
                    <a:pt x="86" y="262"/>
                  </a:cubicBezTo>
                  <a:cubicBezTo>
                    <a:pt x="102" y="253"/>
                    <a:pt x="109" y="230"/>
                    <a:pt x="112" y="220"/>
                  </a:cubicBezTo>
                  <a:cubicBezTo>
                    <a:pt x="114" y="211"/>
                    <a:pt x="117" y="193"/>
                    <a:pt x="111" y="183"/>
                  </a:cubicBezTo>
                  <a:cubicBezTo>
                    <a:pt x="100" y="167"/>
                    <a:pt x="89" y="142"/>
                    <a:pt x="85" y="122"/>
                  </a:cubicBezTo>
                  <a:cubicBezTo>
                    <a:pt x="82" y="112"/>
                    <a:pt x="81" y="103"/>
                    <a:pt x="80" y="95"/>
                  </a:cubicBezTo>
                  <a:cubicBezTo>
                    <a:pt x="106" y="91"/>
                    <a:pt x="127" y="75"/>
                    <a:pt x="140" y="53"/>
                  </a:cubicBezTo>
                  <a:cubicBezTo>
                    <a:pt x="152" y="74"/>
                    <a:pt x="173" y="90"/>
                    <a:pt x="199" y="95"/>
                  </a:cubicBezTo>
                  <a:cubicBezTo>
                    <a:pt x="198" y="103"/>
                    <a:pt x="197" y="112"/>
                    <a:pt x="194" y="122"/>
                  </a:cubicBezTo>
                  <a:cubicBezTo>
                    <a:pt x="190" y="142"/>
                    <a:pt x="179" y="167"/>
                    <a:pt x="168" y="183"/>
                  </a:cubicBezTo>
                  <a:cubicBezTo>
                    <a:pt x="162" y="193"/>
                    <a:pt x="165" y="210"/>
                    <a:pt x="167" y="220"/>
                  </a:cubicBezTo>
                  <a:cubicBezTo>
                    <a:pt x="170" y="230"/>
                    <a:pt x="177" y="253"/>
                    <a:pt x="193" y="262"/>
                  </a:cubicBezTo>
                  <a:cubicBezTo>
                    <a:pt x="201" y="266"/>
                    <a:pt x="212" y="267"/>
                    <a:pt x="224" y="268"/>
                  </a:cubicBezTo>
                  <a:cubicBezTo>
                    <a:pt x="237" y="270"/>
                    <a:pt x="252" y="271"/>
                    <a:pt x="262" y="277"/>
                  </a:cubicBezTo>
                  <a:cubicBezTo>
                    <a:pt x="264" y="278"/>
                    <a:pt x="266" y="278"/>
                    <a:pt x="267" y="278"/>
                  </a:cubicBezTo>
                  <a:cubicBezTo>
                    <a:pt x="271" y="278"/>
                    <a:pt x="275" y="276"/>
                    <a:pt x="277" y="273"/>
                  </a:cubicBezTo>
                  <a:cubicBezTo>
                    <a:pt x="279" y="267"/>
                    <a:pt x="278" y="261"/>
                    <a:pt x="273" y="258"/>
                  </a:cubicBezTo>
                  <a:close/>
                  <a:moveTo>
                    <a:pt x="93" y="194"/>
                  </a:moveTo>
                  <a:cubicBezTo>
                    <a:pt x="94" y="196"/>
                    <a:pt x="94" y="199"/>
                    <a:pt x="93" y="203"/>
                  </a:cubicBezTo>
                  <a:cubicBezTo>
                    <a:pt x="43" y="203"/>
                    <a:pt x="43" y="203"/>
                    <a:pt x="43" y="203"/>
                  </a:cubicBezTo>
                  <a:cubicBezTo>
                    <a:pt x="51" y="188"/>
                    <a:pt x="60" y="164"/>
                    <a:pt x="64" y="126"/>
                  </a:cubicBezTo>
                  <a:cubicBezTo>
                    <a:pt x="64" y="126"/>
                    <a:pt x="64" y="126"/>
                    <a:pt x="64" y="127"/>
                  </a:cubicBezTo>
                  <a:cubicBezTo>
                    <a:pt x="69" y="150"/>
                    <a:pt x="81" y="177"/>
                    <a:pt x="93" y="194"/>
                  </a:cubicBezTo>
                  <a:close/>
                  <a:moveTo>
                    <a:pt x="80" y="73"/>
                  </a:moveTo>
                  <a:cubicBezTo>
                    <a:pt x="82" y="60"/>
                    <a:pt x="86" y="49"/>
                    <a:pt x="93" y="40"/>
                  </a:cubicBezTo>
                  <a:cubicBezTo>
                    <a:pt x="99" y="33"/>
                    <a:pt x="107" y="29"/>
                    <a:pt x="114" y="26"/>
                  </a:cubicBezTo>
                  <a:cubicBezTo>
                    <a:pt x="119" y="25"/>
                    <a:pt x="124" y="24"/>
                    <a:pt x="128" y="23"/>
                  </a:cubicBezTo>
                  <a:cubicBezTo>
                    <a:pt x="123" y="48"/>
                    <a:pt x="104" y="67"/>
                    <a:pt x="80" y="73"/>
                  </a:cubicBezTo>
                  <a:close/>
                  <a:moveTo>
                    <a:pt x="151" y="23"/>
                  </a:moveTo>
                  <a:cubicBezTo>
                    <a:pt x="155" y="23"/>
                    <a:pt x="159" y="24"/>
                    <a:pt x="163" y="25"/>
                  </a:cubicBezTo>
                  <a:cubicBezTo>
                    <a:pt x="171" y="28"/>
                    <a:pt x="179" y="33"/>
                    <a:pt x="186" y="40"/>
                  </a:cubicBezTo>
                  <a:cubicBezTo>
                    <a:pt x="193" y="49"/>
                    <a:pt x="197" y="60"/>
                    <a:pt x="199" y="73"/>
                  </a:cubicBezTo>
                  <a:cubicBezTo>
                    <a:pt x="175" y="67"/>
                    <a:pt x="156" y="48"/>
                    <a:pt x="151" y="23"/>
                  </a:cubicBezTo>
                  <a:close/>
                  <a:moveTo>
                    <a:pt x="186" y="195"/>
                  </a:moveTo>
                  <a:cubicBezTo>
                    <a:pt x="198" y="177"/>
                    <a:pt x="210" y="150"/>
                    <a:pt x="215" y="127"/>
                  </a:cubicBezTo>
                  <a:cubicBezTo>
                    <a:pt x="215" y="126"/>
                    <a:pt x="215" y="125"/>
                    <a:pt x="216" y="125"/>
                  </a:cubicBezTo>
                  <a:cubicBezTo>
                    <a:pt x="219" y="163"/>
                    <a:pt x="228" y="188"/>
                    <a:pt x="237" y="203"/>
                  </a:cubicBezTo>
                  <a:cubicBezTo>
                    <a:pt x="186" y="203"/>
                    <a:pt x="186" y="203"/>
                    <a:pt x="186" y="203"/>
                  </a:cubicBezTo>
                  <a:cubicBezTo>
                    <a:pt x="185" y="200"/>
                    <a:pt x="185" y="196"/>
                    <a:pt x="186" y="1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6" name="Freeform 815">
            <a:extLst>
              <a:ext uri="{FF2B5EF4-FFF2-40B4-BE49-F238E27FC236}">
                <a16:creationId xmlns:a16="http://schemas.microsoft.com/office/drawing/2014/main" id="{4F611CCB-42AB-41EE-8BD2-6E03CEF2873E}"/>
              </a:ext>
            </a:extLst>
          </p:cNvPr>
          <p:cNvSpPr>
            <a:spLocks noChangeAspect="1" noEditPoints="1"/>
          </p:cNvSpPr>
          <p:nvPr/>
        </p:nvSpPr>
        <p:spPr bwMode="auto">
          <a:xfrm>
            <a:off x="3087214" y="1700213"/>
            <a:ext cx="369676" cy="369676"/>
          </a:xfrm>
          <a:custGeom>
            <a:avLst/>
            <a:gdLst>
              <a:gd name="T0" fmla="*/ 244 w 512"/>
              <a:gd name="T1" fmla="*/ 118 h 512"/>
              <a:gd name="T2" fmla="*/ 209 w 512"/>
              <a:gd name="T3" fmla="*/ 135 h 512"/>
              <a:gd name="T4" fmla="*/ 180 w 512"/>
              <a:gd name="T5" fmla="*/ 221 h 512"/>
              <a:gd name="T6" fmla="*/ 209 w 512"/>
              <a:gd name="T7" fmla="*/ 298 h 512"/>
              <a:gd name="T8" fmla="*/ 180 w 512"/>
              <a:gd name="T9" fmla="*/ 222 h 512"/>
              <a:gd name="T10" fmla="*/ 279 w 512"/>
              <a:gd name="T11" fmla="*/ 120 h 512"/>
              <a:gd name="T12" fmla="*/ 315 w 512"/>
              <a:gd name="T13" fmla="*/ 168 h 512"/>
              <a:gd name="T14" fmla="*/ 279 w 512"/>
              <a:gd name="T15" fmla="*/ 120 h 512"/>
              <a:gd name="T16" fmla="*/ 331 w 512"/>
              <a:gd name="T17" fmla="*/ 222 h 512"/>
              <a:gd name="T18" fmla="*/ 302 w 512"/>
              <a:gd name="T19" fmla="*/ 298 h 512"/>
              <a:gd name="T20" fmla="*/ 332 w 512"/>
              <a:gd name="T21" fmla="*/ 220 h 512"/>
              <a:gd name="T22" fmla="*/ 256 w 512"/>
              <a:gd name="T23" fmla="*/ 512 h 512"/>
              <a:gd name="T24" fmla="*/ 256 w 512"/>
              <a:gd name="T25" fmla="*/ 0 h 512"/>
              <a:gd name="T26" fmla="*/ 389 w 512"/>
              <a:gd name="T27" fmla="*/ 353 h 512"/>
              <a:gd name="T28" fmla="*/ 319 w 512"/>
              <a:gd name="T29" fmla="*/ 338 h 512"/>
              <a:gd name="T30" fmla="*/ 373 w 512"/>
              <a:gd name="T31" fmla="*/ 320 h 512"/>
              <a:gd name="T32" fmla="*/ 380 w 512"/>
              <a:gd name="T33" fmla="*/ 301 h 512"/>
              <a:gd name="T34" fmla="*/ 326 w 512"/>
              <a:gd name="T35" fmla="*/ 123 h 512"/>
              <a:gd name="T36" fmla="*/ 256 w 512"/>
              <a:gd name="T37" fmla="*/ 96 h 512"/>
              <a:gd name="T38" fmla="*/ 254 w 512"/>
              <a:gd name="T39" fmla="*/ 96 h 512"/>
              <a:gd name="T40" fmla="*/ 186 w 512"/>
              <a:gd name="T41" fmla="*/ 123 h 512"/>
              <a:gd name="T42" fmla="*/ 131 w 512"/>
              <a:gd name="T43" fmla="*/ 301 h 512"/>
              <a:gd name="T44" fmla="*/ 138 w 512"/>
              <a:gd name="T45" fmla="*/ 320 h 512"/>
              <a:gd name="T46" fmla="*/ 193 w 512"/>
              <a:gd name="T47" fmla="*/ 338 h 512"/>
              <a:gd name="T48" fmla="*/ 123 w 512"/>
              <a:gd name="T49" fmla="*/ 353 h 512"/>
              <a:gd name="T50" fmla="*/ 133 w 512"/>
              <a:gd name="T51" fmla="*/ 372 h 512"/>
              <a:gd name="T52" fmla="*/ 202 w 512"/>
              <a:gd name="T53" fmla="*/ 357 h 512"/>
              <a:gd name="T54" fmla="*/ 227 w 512"/>
              <a:gd name="T55" fmla="*/ 278 h 512"/>
              <a:gd name="T56" fmla="*/ 196 w 512"/>
              <a:gd name="T57" fmla="*/ 190 h 512"/>
              <a:gd name="T58" fmla="*/ 315 w 512"/>
              <a:gd name="T59" fmla="*/ 190 h 512"/>
              <a:gd name="T60" fmla="*/ 284 w 512"/>
              <a:gd name="T61" fmla="*/ 278 h 512"/>
              <a:gd name="T62" fmla="*/ 309 w 512"/>
              <a:gd name="T63" fmla="*/ 357 h 512"/>
              <a:gd name="T64" fmla="*/ 378 w 512"/>
              <a:gd name="T65" fmla="*/ 372 h 512"/>
              <a:gd name="T66" fmla="*/ 393 w 512"/>
              <a:gd name="T6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30" y="121"/>
                </a:moveTo>
                <a:cubicBezTo>
                  <a:pt x="235" y="120"/>
                  <a:pt x="240" y="119"/>
                  <a:pt x="244" y="118"/>
                </a:cubicBezTo>
                <a:cubicBezTo>
                  <a:pt x="239" y="143"/>
                  <a:pt x="220" y="162"/>
                  <a:pt x="196" y="168"/>
                </a:cubicBezTo>
                <a:cubicBezTo>
                  <a:pt x="198" y="155"/>
                  <a:pt x="202" y="144"/>
                  <a:pt x="209" y="135"/>
                </a:cubicBezTo>
                <a:cubicBezTo>
                  <a:pt x="215" y="128"/>
                  <a:pt x="223" y="124"/>
                  <a:pt x="230" y="121"/>
                </a:cubicBezTo>
                <a:close/>
                <a:moveTo>
                  <a:pt x="180" y="221"/>
                </a:moveTo>
                <a:cubicBezTo>
                  <a:pt x="176" y="259"/>
                  <a:pt x="167" y="283"/>
                  <a:pt x="159" y="298"/>
                </a:cubicBezTo>
                <a:cubicBezTo>
                  <a:pt x="209" y="298"/>
                  <a:pt x="209" y="298"/>
                  <a:pt x="209" y="298"/>
                </a:cubicBezTo>
                <a:cubicBezTo>
                  <a:pt x="210" y="294"/>
                  <a:pt x="210" y="291"/>
                  <a:pt x="209" y="289"/>
                </a:cubicBezTo>
                <a:cubicBezTo>
                  <a:pt x="197" y="272"/>
                  <a:pt x="185" y="245"/>
                  <a:pt x="180" y="222"/>
                </a:cubicBezTo>
                <a:cubicBezTo>
                  <a:pt x="180" y="221"/>
                  <a:pt x="180" y="221"/>
                  <a:pt x="180" y="221"/>
                </a:cubicBezTo>
                <a:close/>
                <a:moveTo>
                  <a:pt x="279" y="120"/>
                </a:moveTo>
                <a:cubicBezTo>
                  <a:pt x="275" y="119"/>
                  <a:pt x="271" y="118"/>
                  <a:pt x="267" y="118"/>
                </a:cubicBezTo>
                <a:cubicBezTo>
                  <a:pt x="272" y="143"/>
                  <a:pt x="291" y="162"/>
                  <a:pt x="315" y="168"/>
                </a:cubicBezTo>
                <a:cubicBezTo>
                  <a:pt x="313" y="155"/>
                  <a:pt x="309" y="144"/>
                  <a:pt x="302" y="135"/>
                </a:cubicBezTo>
                <a:cubicBezTo>
                  <a:pt x="295" y="128"/>
                  <a:pt x="287" y="123"/>
                  <a:pt x="279" y="120"/>
                </a:cubicBezTo>
                <a:close/>
                <a:moveTo>
                  <a:pt x="332" y="220"/>
                </a:moveTo>
                <a:cubicBezTo>
                  <a:pt x="331" y="220"/>
                  <a:pt x="331" y="221"/>
                  <a:pt x="331" y="222"/>
                </a:cubicBezTo>
                <a:cubicBezTo>
                  <a:pt x="326" y="245"/>
                  <a:pt x="314" y="272"/>
                  <a:pt x="302" y="290"/>
                </a:cubicBezTo>
                <a:cubicBezTo>
                  <a:pt x="301" y="291"/>
                  <a:pt x="301" y="295"/>
                  <a:pt x="302" y="298"/>
                </a:cubicBezTo>
                <a:cubicBezTo>
                  <a:pt x="353" y="298"/>
                  <a:pt x="353" y="298"/>
                  <a:pt x="353" y="298"/>
                </a:cubicBezTo>
                <a:cubicBezTo>
                  <a:pt x="344" y="283"/>
                  <a:pt x="335" y="258"/>
                  <a:pt x="332" y="2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14" y="335"/>
                  <a:pt x="310" y="328"/>
                  <a:pt x="307" y="320"/>
                </a:cubicBezTo>
                <a:cubicBezTo>
                  <a:pt x="373" y="320"/>
                  <a:pt x="373" y="320"/>
                  <a:pt x="373" y="320"/>
                </a:cubicBezTo>
                <a:cubicBezTo>
                  <a:pt x="377" y="320"/>
                  <a:pt x="381" y="317"/>
                  <a:pt x="383" y="313"/>
                </a:cubicBezTo>
                <a:cubicBezTo>
                  <a:pt x="385" y="309"/>
                  <a:pt x="383" y="304"/>
                  <a:pt x="380" y="301"/>
                </a:cubicBezTo>
                <a:cubicBezTo>
                  <a:pt x="380" y="301"/>
                  <a:pt x="352" y="272"/>
                  <a:pt x="352" y="192"/>
                </a:cubicBezTo>
                <a:cubicBezTo>
                  <a:pt x="352" y="163"/>
                  <a:pt x="343" y="139"/>
                  <a:pt x="326" y="123"/>
                </a:cubicBezTo>
                <a:cubicBezTo>
                  <a:pt x="313" y="110"/>
                  <a:pt x="298" y="104"/>
                  <a:pt x="286" y="100"/>
                </a:cubicBezTo>
                <a:cubicBezTo>
                  <a:pt x="270" y="95"/>
                  <a:pt x="257" y="96"/>
                  <a:pt x="256" y="96"/>
                </a:cubicBezTo>
                <a:cubicBezTo>
                  <a:pt x="256" y="96"/>
                  <a:pt x="256" y="96"/>
                  <a:pt x="256" y="96"/>
                </a:cubicBezTo>
                <a:cubicBezTo>
                  <a:pt x="255" y="96"/>
                  <a:pt x="255" y="96"/>
                  <a:pt x="254" y="96"/>
                </a:cubicBezTo>
                <a:cubicBezTo>
                  <a:pt x="252" y="96"/>
                  <a:pt x="238" y="95"/>
                  <a:pt x="222" y="101"/>
                </a:cubicBezTo>
                <a:cubicBezTo>
                  <a:pt x="210" y="105"/>
                  <a:pt x="197" y="111"/>
                  <a:pt x="186" y="123"/>
                </a:cubicBezTo>
                <a:cubicBezTo>
                  <a:pt x="168" y="139"/>
                  <a:pt x="160" y="163"/>
                  <a:pt x="160" y="192"/>
                </a:cubicBezTo>
                <a:cubicBezTo>
                  <a:pt x="160" y="272"/>
                  <a:pt x="131" y="301"/>
                  <a:pt x="131" y="301"/>
                </a:cubicBezTo>
                <a:cubicBezTo>
                  <a:pt x="128" y="304"/>
                  <a:pt x="127" y="309"/>
                  <a:pt x="128" y="313"/>
                </a:cubicBezTo>
                <a:cubicBezTo>
                  <a:pt x="130" y="317"/>
                  <a:pt x="134" y="320"/>
                  <a:pt x="138" y="320"/>
                </a:cubicBezTo>
                <a:cubicBezTo>
                  <a:pt x="204" y="320"/>
                  <a:pt x="204" y="320"/>
                  <a:pt x="204" y="320"/>
                </a:cubicBezTo>
                <a:cubicBezTo>
                  <a:pt x="201" y="328"/>
                  <a:pt x="197" y="335"/>
                  <a:pt x="193" y="338"/>
                </a:cubicBezTo>
                <a:cubicBezTo>
                  <a:pt x="188" y="340"/>
                  <a:pt x="178" y="341"/>
                  <a:pt x="169" y="342"/>
                </a:cubicBezTo>
                <a:cubicBezTo>
                  <a:pt x="153" y="344"/>
                  <a:pt x="136" y="345"/>
                  <a:pt x="123" y="353"/>
                </a:cubicBezTo>
                <a:cubicBezTo>
                  <a:pt x="118" y="356"/>
                  <a:pt x="116" y="362"/>
                  <a:pt x="119"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2"/>
                  <a:pt x="205" y="237"/>
                  <a:pt x="201" y="217"/>
                </a:cubicBezTo>
                <a:cubicBezTo>
                  <a:pt x="198" y="207"/>
                  <a:pt x="197" y="198"/>
                  <a:pt x="196" y="190"/>
                </a:cubicBezTo>
                <a:cubicBezTo>
                  <a:pt x="222" y="186"/>
                  <a:pt x="243" y="170"/>
                  <a:pt x="256" y="148"/>
                </a:cubicBezTo>
                <a:cubicBezTo>
                  <a:pt x="268" y="169"/>
                  <a:pt x="289" y="185"/>
                  <a:pt x="315" y="190"/>
                </a:cubicBezTo>
                <a:cubicBezTo>
                  <a:pt x="314" y="198"/>
                  <a:pt x="313" y="207"/>
                  <a:pt x="310" y="217"/>
                </a:cubicBezTo>
                <a:cubicBezTo>
                  <a:pt x="306" y="237"/>
                  <a:pt x="295" y="262"/>
                  <a:pt x="284" y="278"/>
                </a:cubicBezTo>
                <a:cubicBezTo>
                  <a:pt x="278" y="288"/>
                  <a:pt x="281" y="305"/>
                  <a:pt x="283" y="315"/>
                </a:cubicBezTo>
                <a:cubicBezTo>
                  <a:pt x="286" y="325"/>
                  <a:pt x="293" y="348"/>
                  <a:pt x="309" y="357"/>
                </a:cubicBezTo>
                <a:cubicBezTo>
                  <a:pt x="317" y="361"/>
                  <a:pt x="328" y="362"/>
                  <a:pt x="340" y="363"/>
                </a:cubicBezTo>
                <a:cubicBezTo>
                  <a:pt x="353" y="365"/>
                  <a:pt x="368" y="366"/>
                  <a:pt x="378" y="372"/>
                </a:cubicBezTo>
                <a:cubicBezTo>
                  <a:pt x="380" y="373"/>
                  <a:pt x="382" y="373"/>
                  <a:pt x="383" y="373"/>
                </a:cubicBezTo>
                <a:cubicBezTo>
                  <a:pt x="387" y="373"/>
                  <a:pt x="391" y="371"/>
                  <a:pt x="393" y="368"/>
                </a:cubicBezTo>
                <a:cubicBezTo>
                  <a:pt x="395" y="362"/>
                  <a:pt x="394" y="356"/>
                  <a:pt x="389" y="35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7" name="Group 818">
            <a:extLst>
              <a:ext uri="{FF2B5EF4-FFF2-40B4-BE49-F238E27FC236}">
                <a16:creationId xmlns:a16="http://schemas.microsoft.com/office/drawing/2014/main" id="{5E3D3FAF-5B0D-48C0-82C6-5651FE901116}"/>
              </a:ext>
            </a:extLst>
          </p:cNvPr>
          <p:cNvGrpSpPr>
            <a:grpSpLocks noChangeAspect="1"/>
          </p:cNvGrpSpPr>
          <p:nvPr/>
        </p:nvGrpSpPr>
        <p:grpSpPr bwMode="auto">
          <a:xfrm>
            <a:off x="1786578" y="1700213"/>
            <a:ext cx="369676" cy="369676"/>
            <a:chOff x="5841" y="3004"/>
            <a:chExt cx="340" cy="340"/>
          </a:xfrm>
          <a:solidFill>
            <a:schemeClr val="accent3"/>
          </a:solidFill>
        </p:grpSpPr>
        <p:sp>
          <p:nvSpPr>
            <p:cNvPr id="248" name="Freeform 819">
              <a:extLst>
                <a:ext uri="{FF2B5EF4-FFF2-40B4-BE49-F238E27FC236}">
                  <a16:creationId xmlns:a16="http://schemas.microsoft.com/office/drawing/2014/main" id="{47439959-242F-4F66-8CE0-1B8C1D9CB040}"/>
                </a:ext>
              </a:extLst>
            </p:cNvPr>
            <p:cNvSpPr>
              <a:spLocks noEditPoints="1"/>
            </p:cNvSpPr>
            <p:nvPr/>
          </p:nvSpPr>
          <p:spPr bwMode="auto">
            <a:xfrm>
              <a:off x="5975" y="3124"/>
              <a:ext cx="71" cy="156"/>
            </a:xfrm>
            <a:custGeom>
              <a:avLst/>
              <a:gdLst>
                <a:gd name="T0" fmla="*/ 75 w 107"/>
                <a:gd name="T1" fmla="*/ 8 h 235"/>
                <a:gd name="T2" fmla="*/ 64 w 107"/>
                <a:gd name="T3" fmla="*/ 0 h 235"/>
                <a:gd name="T4" fmla="*/ 43 w 107"/>
                <a:gd name="T5" fmla="*/ 0 h 235"/>
                <a:gd name="T6" fmla="*/ 33 w 107"/>
                <a:gd name="T7" fmla="*/ 8 h 235"/>
                <a:gd name="T8" fmla="*/ 1 w 107"/>
                <a:gd name="T9" fmla="*/ 136 h 235"/>
                <a:gd name="T10" fmla="*/ 3 w 107"/>
                <a:gd name="T11" fmla="*/ 145 h 235"/>
                <a:gd name="T12" fmla="*/ 11 w 107"/>
                <a:gd name="T13" fmla="*/ 149 h 235"/>
                <a:gd name="T14" fmla="*/ 22 w 107"/>
                <a:gd name="T15" fmla="*/ 149 h 235"/>
                <a:gd name="T16" fmla="*/ 22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6 w 107"/>
                <a:gd name="T31" fmla="*/ 224 h 235"/>
                <a:gd name="T32" fmla="*/ 86 w 107"/>
                <a:gd name="T33" fmla="*/ 149 h 235"/>
                <a:gd name="T34" fmla="*/ 96 w 107"/>
                <a:gd name="T35" fmla="*/ 149 h 235"/>
                <a:gd name="T36" fmla="*/ 105 w 107"/>
                <a:gd name="T37" fmla="*/ 145 h 235"/>
                <a:gd name="T38" fmla="*/ 107 w 107"/>
                <a:gd name="T39" fmla="*/ 136 h 235"/>
                <a:gd name="T40" fmla="*/ 75 w 107"/>
                <a:gd name="T41" fmla="*/ 8 h 235"/>
                <a:gd name="T42" fmla="*/ 51 w 107"/>
                <a:gd name="T43" fmla="*/ 21 h 235"/>
                <a:gd name="T44" fmla="*/ 56 w 107"/>
                <a:gd name="T45" fmla="*/ 21 h 235"/>
                <a:gd name="T46" fmla="*/ 83 w 107"/>
                <a:gd name="T47" fmla="*/ 128 h 235"/>
                <a:gd name="T48" fmla="*/ 25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5" y="8"/>
                  </a:moveTo>
                  <a:cubicBezTo>
                    <a:pt x="73" y="3"/>
                    <a:pt x="69" y="0"/>
                    <a:pt x="64" y="0"/>
                  </a:cubicBezTo>
                  <a:cubicBezTo>
                    <a:pt x="43" y="0"/>
                    <a:pt x="43" y="0"/>
                    <a:pt x="43" y="0"/>
                  </a:cubicBezTo>
                  <a:cubicBezTo>
                    <a:pt x="38" y="0"/>
                    <a:pt x="34" y="3"/>
                    <a:pt x="33" y="8"/>
                  </a:cubicBezTo>
                  <a:cubicBezTo>
                    <a:pt x="1" y="136"/>
                    <a:pt x="1" y="136"/>
                    <a:pt x="1" y="136"/>
                  </a:cubicBezTo>
                  <a:cubicBezTo>
                    <a:pt x="0" y="139"/>
                    <a:pt x="1" y="143"/>
                    <a:pt x="3" y="145"/>
                  </a:cubicBezTo>
                  <a:cubicBezTo>
                    <a:pt x="5" y="148"/>
                    <a:pt x="8" y="149"/>
                    <a:pt x="11" y="149"/>
                  </a:cubicBezTo>
                  <a:cubicBezTo>
                    <a:pt x="22" y="149"/>
                    <a:pt x="22" y="149"/>
                    <a:pt x="22" y="149"/>
                  </a:cubicBezTo>
                  <a:cubicBezTo>
                    <a:pt x="22" y="224"/>
                    <a:pt x="22" y="224"/>
                    <a:pt x="22" y="224"/>
                  </a:cubicBezTo>
                  <a:cubicBezTo>
                    <a:pt x="22"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6" y="230"/>
                    <a:pt x="86" y="224"/>
                  </a:cubicBezTo>
                  <a:cubicBezTo>
                    <a:pt x="86" y="149"/>
                    <a:pt x="86" y="149"/>
                    <a:pt x="86" y="149"/>
                  </a:cubicBezTo>
                  <a:cubicBezTo>
                    <a:pt x="96" y="149"/>
                    <a:pt x="96" y="149"/>
                    <a:pt x="96" y="149"/>
                  </a:cubicBezTo>
                  <a:cubicBezTo>
                    <a:pt x="100" y="149"/>
                    <a:pt x="103" y="148"/>
                    <a:pt x="105" y="145"/>
                  </a:cubicBezTo>
                  <a:cubicBezTo>
                    <a:pt x="107" y="143"/>
                    <a:pt x="107" y="139"/>
                    <a:pt x="107" y="136"/>
                  </a:cubicBezTo>
                  <a:lnTo>
                    <a:pt x="75" y="8"/>
                  </a:lnTo>
                  <a:close/>
                  <a:moveTo>
                    <a:pt x="51" y="21"/>
                  </a:moveTo>
                  <a:cubicBezTo>
                    <a:pt x="56" y="21"/>
                    <a:pt x="56" y="21"/>
                    <a:pt x="56" y="21"/>
                  </a:cubicBezTo>
                  <a:cubicBezTo>
                    <a:pt x="83" y="128"/>
                    <a:pt x="83" y="128"/>
                    <a:pt x="83" y="128"/>
                  </a:cubicBezTo>
                  <a:cubicBezTo>
                    <a:pt x="25" y="128"/>
                    <a:pt x="25" y="128"/>
                    <a:pt x="25"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9" name="Freeform 820">
              <a:extLst>
                <a:ext uri="{FF2B5EF4-FFF2-40B4-BE49-F238E27FC236}">
                  <a16:creationId xmlns:a16="http://schemas.microsoft.com/office/drawing/2014/main" id="{68D308CC-B047-4E30-B7F4-2B691E097A05}"/>
                </a:ext>
              </a:extLst>
            </p:cNvPr>
            <p:cNvSpPr>
              <a:spLocks noEditPoints="1"/>
            </p:cNvSpPr>
            <p:nvPr/>
          </p:nvSpPr>
          <p:spPr bwMode="auto">
            <a:xfrm>
              <a:off x="5990" y="3068"/>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0" name="Freeform 821">
              <a:extLst>
                <a:ext uri="{FF2B5EF4-FFF2-40B4-BE49-F238E27FC236}">
                  <a16:creationId xmlns:a16="http://schemas.microsoft.com/office/drawing/2014/main" id="{9E686A05-C3F4-435B-8341-4E1ED24F4A28}"/>
                </a:ext>
              </a:extLst>
            </p:cNvPr>
            <p:cNvSpPr>
              <a:spLocks noEditPoints="1"/>
            </p:cNvSpPr>
            <p:nvPr/>
          </p:nvSpPr>
          <p:spPr bwMode="auto">
            <a:xfrm>
              <a:off x="5841" y="300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51" name="Freeform 825">
            <a:extLst>
              <a:ext uri="{FF2B5EF4-FFF2-40B4-BE49-F238E27FC236}">
                <a16:creationId xmlns:a16="http://schemas.microsoft.com/office/drawing/2014/main" id="{674912A6-6A2B-40DA-BC3F-426D733F2849}"/>
              </a:ext>
            </a:extLst>
          </p:cNvPr>
          <p:cNvSpPr>
            <a:spLocks noChangeAspect="1" noEditPoints="1"/>
          </p:cNvSpPr>
          <p:nvPr/>
        </p:nvSpPr>
        <p:spPr bwMode="auto">
          <a:xfrm>
            <a:off x="1351276" y="1700213"/>
            <a:ext cx="369676" cy="369676"/>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53 w 512"/>
              <a:gd name="T11" fmla="*/ 202 h 512"/>
              <a:gd name="T12" fmla="*/ 227 w 512"/>
              <a:gd name="T13" fmla="*/ 309 h 512"/>
              <a:gd name="T14" fmla="*/ 285 w 512"/>
              <a:gd name="T15" fmla="*/ 309 h 512"/>
              <a:gd name="T16" fmla="*/ 258 w 512"/>
              <a:gd name="T17" fmla="*/ 202 h 512"/>
              <a:gd name="T18" fmla="*/ 253 w 512"/>
              <a:gd name="T19" fmla="*/ 202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24 w 512"/>
              <a:gd name="T31" fmla="*/ 128 h 512"/>
              <a:gd name="T32" fmla="*/ 256 w 512"/>
              <a:gd name="T33" fmla="*/ 160 h 512"/>
              <a:gd name="T34" fmla="*/ 288 w 512"/>
              <a:gd name="T35" fmla="*/ 128 h 512"/>
              <a:gd name="T36" fmla="*/ 256 w 512"/>
              <a:gd name="T37" fmla="*/ 96 h 512"/>
              <a:gd name="T38" fmla="*/ 224 w 512"/>
              <a:gd name="T39" fmla="*/ 128 h 512"/>
              <a:gd name="T40" fmla="*/ 309 w 512"/>
              <a:gd name="T41" fmla="*/ 317 h 512"/>
              <a:gd name="T42" fmla="*/ 277 w 512"/>
              <a:gd name="T43" fmla="*/ 189 h 512"/>
              <a:gd name="T44" fmla="*/ 266 w 512"/>
              <a:gd name="T45" fmla="*/ 181 h 512"/>
              <a:gd name="T46" fmla="*/ 245 w 512"/>
              <a:gd name="T47" fmla="*/ 181 h 512"/>
              <a:gd name="T48" fmla="*/ 235 w 512"/>
              <a:gd name="T49" fmla="*/ 189 h 512"/>
              <a:gd name="T50" fmla="*/ 203 w 512"/>
              <a:gd name="T51" fmla="*/ 317 h 512"/>
              <a:gd name="T52" fmla="*/ 205 w 512"/>
              <a:gd name="T53" fmla="*/ 326 h 512"/>
              <a:gd name="T54" fmla="*/ 213 w 512"/>
              <a:gd name="T55" fmla="*/ 330 h 512"/>
              <a:gd name="T56" fmla="*/ 224 w 512"/>
              <a:gd name="T57" fmla="*/ 330 h 512"/>
              <a:gd name="T58" fmla="*/ 224 w 512"/>
              <a:gd name="T59" fmla="*/ 405 h 512"/>
              <a:gd name="T60" fmla="*/ 234 w 512"/>
              <a:gd name="T61" fmla="*/ 416 h 512"/>
              <a:gd name="T62" fmla="*/ 245 w 512"/>
              <a:gd name="T63" fmla="*/ 405 h 512"/>
              <a:gd name="T64" fmla="*/ 245 w 512"/>
              <a:gd name="T65" fmla="*/ 330 h 512"/>
              <a:gd name="T66" fmla="*/ 266 w 512"/>
              <a:gd name="T67" fmla="*/ 330 h 512"/>
              <a:gd name="T68" fmla="*/ 266 w 512"/>
              <a:gd name="T69" fmla="*/ 405 h 512"/>
              <a:gd name="T70" fmla="*/ 277 w 512"/>
              <a:gd name="T71" fmla="*/ 416 h 512"/>
              <a:gd name="T72" fmla="*/ 288 w 512"/>
              <a:gd name="T73" fmla="*/ 405 h 512"/>
              <a:gd name="T74" fmla="*/ 288 w 512"/>
              <a:gd name="T75" fmla="*/ 330 h 512"/>
              <a:gd name="T76" fmla="*/ 298 w 512"/>
              <a:gd name="T77" fmla="*/ 330 h 512"/>
              <a:gd name="T78" fmla="*/ 307 w 512"/>
              <a:gd name="T79" fmla="*/ 326 h 512"/>
              <a:gd name="T80" fmla="*/ 309 w 512"/>
              <a:gd name="T81"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53" y="202"/>
                </a:moveTo>
                <a:cubicBezTo>
                  <a:pt x="227" y="309"/>
                  <a:pt x="227" y="309"/>
                  <a:pt x="227" y="309"/>
                </a:cubicBezTo>
                <a:cubicBezTo>
                  <a:pt x="285" y="309"/>
                  <a:pt x="285" y="309"/>
                  <a:pt x="285" y="309"/>
                </a:cubicBezTo>
                <a:cubicBezTo>
                  <a:pt x="258" y="202"/>
                  <a:pt x="258" y="202"/>
                  <a:pt x="258" y="202"/>
                </a:cubicBezTo>
                <a:lnTo>
                  <a:pt x="25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309" y="317"/>
                </a:moveTo>
                <a:cubicBezTo>
                  <a:pt x="277" y="189"/>
                  <a:pt x="277" y="189"/>
                  <a:pt x="277" y="189"/>
                </a:cubicBezTo>
                <a:cubicBezTo>
                  <a:pt x="275" y="184"/>
                  <a:pt x="271" y="181"/>
                  <a:pt x="266" y="181"/>
                </a:cubicBezTo>
                <a:cubicBezTo>
                  <a:pt x="245" y="181"/>
                  <a:pt x="245" y="181"/>
                  <a:pt x="245" y="181"/>
                </a:cubicBezTo>
                <a:cubicBezTo>
                  <a:pt x="240" y="181"/>
                  <a:pt x="236" y="184"/>
                  <a:pt x="235" y="189"/>
                </a:cubicBezTo>
                <a:cubicBezTo>
                  <a:pt x="203" y="317"/>
                  <a:pt x="203" y="317"/>
                  <a:pt x="203" y="317"/>
                </a:cubicBezTo>
                <a:cubicBezTo>
                  <a:pt x="202" y="320"/>
                  <a:pt x="203" y="324"/>
                  <a:pt x="205" y="326"/>
                </a:cubicBezTo>
                <a:cubicBezTo>
                  <a:pt x="207" y="329"/>
                  <a:pt x="210" y="330"/>
                  <a:pt x="213" y="330"/>
                </a:cubicBezTo>
                <a:cubicBezTo>
                  <a:pt x="224" y="330"/>
                  <a:pt x="224" y="330"/>
                  <a:pt x="224" y="330"/>
                </a:cubicBezTo>
                <a:cubicBezTo>
                  <a:pt x="224" y="405"/>
                  <a:pt x="224" y="405"/>
                  <a:pt x="224" y="405"/>
                </a:cubicBezTo>
                <a:cubicBezTo>
                  <a:pt x="224" y="411"/>
                  <a:pt x="228" y="416"/>
                  <a:pt x="234" y="416"/>
                </a:cubicBezTo>
                <a:cubicBezTo>
                  <a:pt x="240" y="416"/>
                  <a:pt x="245" y="411"/>
                  <a:pt x="245" y="405"/>
                </a:cubicBezTo>
                <a:cubicBezTo>
                  <a:pt x="245" y="330"/>
                  <a:pt x="245" y="330"/>
                  <a:pt x="245" y="330"/>
                </a:cubicBezTo>
                <a:cubicBezTo>
                  <a:pt x="266" y="330"/>
                  <a:pt x="266" y="330"/>
                  <a:pt x="266" y="330"/>
                </a:cubicBezTo>
                <a:cubicBezTo>
                  <a:pt x="266" y="405"/>
                  <a:pt x="266" y="405"/>
                  <a:pt x="266" y="405"/>
                </a:cubicBezTo>
                <a:cubicBezTo>
                  <a:pt x="266" y="411"/>
                  <a:pt x="271" y="416"/>
                  <a:pt x="277" y="416"/>
                </a:cubicBezTo>
                <a:cubicBezTo>
                  <a:pt x="283" y="416"/>
                  <a:pt x="288" y="411"/>
                  <a:pt x="288" y="405"/>
                </a:cubicBezTo>
                <a:cubicBezTo>
                  <a:pt x="288" y="330"/>
                  <a:pt x="288" y="330"/>
                  <a:pt x="288" y="330"/>
                </a:cubicBezTo>
                <a:cubicBezTo>
                  <a:pt x="298" y="330"/>
                  <a:pt x="298" y="330"/>
                  <a:pt x="298" y="330"/>
                </a:cubicBezTo>
                <a:cubicBezTo>
                  <a:pt x="302" y="330"/>
                  <a:pt x="305" y="329"/>
                  <a:pt x="307" y="326"/>
                </a:cubicBezTo>
                <a:cubicBezTo>
                  <a:pt x="309" y="324"/>
                  <a:pt x="309" y="320"/>
                  <a:pt x="309" y="3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52" name="Group 828">
            <a:extLst>
              <a:ext uri="{FF2B5EF4-FFF2-40B4-BE49-F238E27FC236}">
                <a16:creationId xmlns:a16="http://schemas.microsoft.com/office/drawing/2014/main" id="{988910E6-B416-479F-A5D5-44E6F7FFA7B6}"/>
              </a:ext>
            </a:extLst>
          </p:cNvPr>
          <p:cNvGrpSpPr>
            <a:grpSpLocks noChangeAspect="1"/>
          </p:cNvGrpSpPr>
          <p:nvPr/>
        </p:nvGrpSpPr>
        <p:grpSpPr bwMode="auto">
          <a:xfrm>
            <a:off x="4393120" y="1700213"/>
            <a:ext cx="370763" cy="369676"/>
            <a:chOff x="5042" y="3019"/>
            <a:chExt cx="341" cy="340"/>
          </a:xfrm>
          <a:solidFill>
            <a:schemeClr val="accent3"/>
          </a:solidFill>
        </p:grpSpPr>
        <p:sp>
          <p:nvSpPr>
            <p:cNvPr id="253" name="Freeform 829">
              <a:extLst>
                <a:ext uri="{FF2B5EF4-FFF2-40B4-BE49-F238E27FC236}">
                  <a16:creationId xmlns:a16="http://schemas.microsoft.com/office/drawing/2014/main" id="{07836776-62FC-4F1B-A03C-928F58C85B0B}"/>
                </a:ext>
              </a:extLst>
            </p:cNvPr>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4" name="Freeform 830">
              <a:extLst>
                <a:ext uri="{FF2B5EF4-FFF2-40B4-BE49-F238E27FC236}">
                  <a16:creationId xmlns:a16="http://schemas.microsoft.com/office/drawing/2014/main" id="{D9F5D4C9-EB36-4F9C-AF86-F6979107C4F3}"/>
                </a:ext>
              </a:extLst>
            </p:cNvPr>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5" name="Freeform 831">
              <a:extLst>
                <a:ext uri="{FF2B5EF4-FFF2-40B4-BE49-F238E27FC236}">
                  <a16:creationId xmlns:a16="http://schemas.microsoft.com/office/drawing/2014/main" id="{BA3F05AE-D1C1-4142-B177-888BE752F774}"/>
                </a:ext>
              </a:extLst>
            </p:cNvPr>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1" name="Freeform 832">
              <a:extLst>
                <a:ext uri="{FF2B5EF4-FFF2-40B4-BE49-F238E27FC236}">
                  <a16:creationId xmlns:a16="http://schemas.microsoft.com/office/drawing/2014/main" id="{CD0E67D4-5C34-4ED4-B63A-0698B678A004}"/>
                </a:ext>
              </a:extLst>
            </p:cNvPr>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2" name="Freeform 833">
              <a:extLst>
                <a:ext uri="{FF2B5EF4-FFF2-40B4-BE49-F238E27FC236}">
                  <a16:creationId xmlns:a16="http://schemas.microsoft.com/office/drawing/2014/main" id="{7F4CDFEF-DE36-4205-9FD3-62D6CD275247}"/>
                </a:ext>
              </a:extLst>
            </p:cNvPr>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43" name="Group 836">
            <a:extLst>
              <a:ext uri="{FF2B5EF4-FFF2-40B4-BE49-F238E27FC236}">
                <a16:creationId xmlns:a16="http://schemas.microsoft.com/office/drawing/2014/main" id="{7222C48B-B092-4E47-81E3-466E0B8A0CC5}"/>
              </a:ext>
            </a:extLst>
          </p:cNvPr>
          <p:cNvGrpSpPr>
            <a:grpSpLocks noChangeAspect="1"/>
          </p:cNvGrpSpPr>
          <p:nvPr/>
        </p:nvGrpSpPr>
        <p:grpSpPr bwMode="auto">
          <a:xfrm>
            <a:off x="3957818" y="1700213"/>
            <a:ext cx="369676" cy="369676"/>
            <a:chOff x="4676" y="3030"/>
            <a:chExt cx="340" cy="340"/>
          </a:xfrm>
          <a:solidFill>
            <a:schemeClr val="accent3"/>
          </a:solidFill>
        </p:grpSpPr>
        <p:sp>
          <p:nvSpPr>
            <p:cNvPr id="344" name="Oval 837">
              <a:extLst>
                <a:ext uri="{FF2B5EF4-FFF2-40B4-BE49-F238E27FC236}">
                  <a16:creationId xmlns:a16="http://schemas.microsoft.com/office/drawing/2014/main" id="{FE4001D6-D65C-4ADB-AA7C-B29C3DE2AEE2}"/>
                </a:ext>
              </a:extLst>
            </p:cNvPr>
            <p:cNvSpPr>
              <a:spLocks noChangeArrowheads="1"/>
            </p:cNvSpPr>
            <p:nvPr/>
          </p:nvSpPr>
          <p:spPr bwMode="auto">
            <a:xfrm>
              <a:off x="4888" y="31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5" name="Oval 838">
              <a:extLst>
                <a:ext uri="{FF2B5EF4-FFF2-40B4-BE49-F238E27FC236}">
                  <a16:creationId xmlns:a16="http://schemas.microsoft.com/office/drawing/2014/main" id="{73356442-0CBD-42A6-8770-078A5CD17D71}"/>
                </a:ext>
              </a:extLst>
            </p:cNvPr>
            <p:cNvSpPr>
              <a:spLocks noChangeArrowheads="1"/>
            </p:cNvSpPr>
            <p:nvPr/>
          </p:nvSpPr>
          <p:spPr bwMode="auto">
            <a:xfrm>
              <a:off x="4789" y="31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6" name="Freeform 839">
              <a:extLst>
                <a:ext uri="{FF2B5EF4-FFF2-40B4-BE49-F238E27FC236}">
                  <a16:creationId xmlns:a16="http://schemas.microsoft.com/office/drawing/2014/main" id="{CF8E6AA4-2147-4B1B-9DE0-E9EE3B667D1A}"/>
                </a:ext>
              </a:extLst>
            </p:cNvPr>
            <p:cNvSpPr>
              <a:spLocks/>
            </p:cNvSpPr>
            <p:nvPr/>
          </p:nvSpPr>
          <p:spPr bwMode="auto">
            <a:xfrm>
              <a:off x="4876" y="3164"/>
              <a:ext cx="38" cy="71"/>
            </a:xfrm>
            <a:custGeom>
              <a:avLst/>
              <a:gdLst>
                <a:gd name="T0" fmla="*/ 18 w 38"/>
                <a:gd name="T1" fmla="*/ 0 h 71"/>
                <a:gd name="T2" fmla="*/ 0 w 38"/>
                <a:gd name="T3" fmla="*/ 71 h 71"/>
                <a:gd name="T4" fmla="*/ 38 w 38"/>
                <a:gd name="T5" fmla="*/ 71 h 71"/>
                <a:gd name="T6" fmla="*/ 21 w 38"/>
                <a:gd name="T7" fmla="*/ 0 h 71"/>
                <a:gd name="T8" fmla="*/ 18 w 38"/>
                <a:gd name="T9" fmla="*/ 0 h 71"/>
              </a:gdLst>
              <a:ahLst/>
              <a:cxnLst>
                <a:cxn ang="0">
                  <a:pos x="T0" y="T1"/>
                </a:cxn>
                <a:cxn ang="0">
                  <a:pos x="T2" y="T3"/>
                </a:cxn>
                <a:cxn ang="0">
                  <a:pos x="T4" y="T5"/>
                </a:cxn>
                <a:cxn ang="0">
                  <a:pos x="T6" y="T7"/>
                </a:cxn>
                <a:cxn ang="0">
                  <a:pos x="T8" y="T9"/>
                </a:cxn>
              </a:cxnLst>
              <a:rect l="0" t="0" r="r" b="b"/>
              <a:pathLst>
                <a:path w="38" h="71">
                  <a:moveTo>
                    <a:pt x="18" y="0"/>
                  </a:moveTo>
                  <a:lnTo>
                    <a:pt x="0" y="71"/>
                  </a:lnTo>
                  <a:lnTo>
                    <a:pt x="38" y="71"/>
                  </a:lnTo>
                  <a:lnTo>
                    <a:pt x="21" y="0"/>
                  </a:lnTo>
                  <a:lnTo>
                    <a:pt x="1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7" name="Freeform 840">
              <a:extLst>
                <a:ext uri="{FF2B5EF4-FFF2-40B4-BE49-F238E27FC236}">
                  <a16:creationId xmlns:a16="http://schemas.microsoft.com/office/drawing/2014/main" id="{FDDB45D9-0715-4461-A456-7A7A60116357}"/>
                </a:ext>
              </a:extLst>
            </p:cNvPr>
            <p:cNvSpPr>
              <a:spLocks noEditPoints="1"/>
            </p:cNvSpPr>
            <p:nvPr/>
          </p:nvSpPr>
          <p:spPr bwMode="auto">
            <a:xfrm>
              <a:off x="4676" y="303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96 h 512"/>
                <a:gd name="T12" fmla="*/ 213 w 512"/>
                <a:gd name="T13" fmla="*/ 128 h 512"/>
                <a:gd name="T14" fmla="*/ 181 w 512"/>
                <a:gd name="T15" fmla="*/ 160 h 512"/>
                <a:gd name="T16" fmla="*/ 149 w 512"/>
                <a:gd name="T17" fmla="*/ 128 h 512"/>
                <a:gd name="T18" fmla="*/ 181 w 512"/>
                <a:gd name="T19" fmla="*/ 96 h 512"/>
                <a:gd name="T20" fmla="*/ 234 w 512"/>
                <a:gd name="T21" fmla="*/ 298 h 512"/>
                <a:gd name="T22" fmla="*/ 224 w 512"/>
                <a:gd name="T23" fmla="*/ 309 h 512"/>
                <a:gd name="T24" fmla="*/ 213 w 512"/>
                <a:gd name="T25" fmla="*/ 309 h 512"/>
                <a:gd name="T26" fmla="*/ 213 w 512"/>
                <a:gd name="T27" fmla="*/ 405 h 512"/>
                <a:gd name="T28" fmla="*/ 202 w 512"/>
                <a:gd name="T29" fmla="*/ 416 h 512"/>
                <a:gd name="T30" fmla="*/ 192 w 512"/>
                <a:gd name="T31" fmla="*/ 405 h 512"/>
                <a:gd name="T32" fmla="*/ 192 w 512"/>
                <a:gd name="T33" fmla="*/ 309 h 512"/>
                <a:gd name="T34" fmla="*/ 170 w 512"/>
                <a:gd name="T35" fmla="*/ 309 h 512"/>
                <a:gd name="T36" fmla="*/ 170 w 512"/>
                <a:gd name="T37" fmla="*/ 405 h 512"/>
                <a:gd name="T38" fmla="*/ 160 w 512"/>
                <a:gd name="T39" fmla="*/ 416 h 512"/>
                <a:gd name="T40" fmla="*/ 149 w 512"/>
                <a:gd name="T41" fmla="*/ 405 h 512"/>
                <a:gd name="T42" fmla="*/ 149 w 512"/>
                <a:gd name="T43" fmla="*/ 309 h 512"/>
                <a:gd name="T44" fmla="*/ 138 w 512"/>
                <a:gd name="T45" fmla="*/ 309 h 512"/>
                <a:gd name="T46" fmla="*/ 128 w 512"/>
                <a:gd name="T47" fmla="*/ 298 h 512"/>
                <a:gd name="T48" fmla="*/ 128 w 512"/>
                <a:gd name="T49" fmla="*/ 192 h 512"/>
                <a:gd name="T50" fmla="*/ 138 w 512"/>
                <a:gd name="T51" fmla="*/ 181 h 512"/>
                <a:gd name="T52" fmla="*/ 224 w 512"/>
                <a:gd name="T53" fmla="*/ 181 h 512"/>
                <a:gd name="T54" fmla="*/ 234 w 512"/>
                <a:gd name="T55" fmla="*/ 192 h 512"/>
                <a:gd name="T56" fmla="*/ 234 w 512"/>
                <a:gd name="T57" fmla="*/ 298 h 512"/>
                <a:gd name="T58" fmla="*/ 330 w 512"/>
                <a:gd name="T59" fmla="*/ 96 h 512"/>
                <a:gd name="T60" fmla="*/ 362 w 512"/>
                <a:gd name="T61" fmla="*/ 128 h 512"/>
                <a:gd name="T62" fmla="*/ 330 w 512"/>
                <a:gd name="T63" fmla="*/ 160 h 512"/>
                <a:gd name="T64" fmla="*/ 298 w 512"/>
                <a:gd name="T65" fmla="*/ 128 h 512"/>
                <a:gd name="T66" fmla="*/ 330 w 512"/>
                <a:gd name="T67" fmla="*/ 96 h 512"/>
                <a:gd name="T68" fmla="*/ 381 w 512"/>
                <a:gd name="T69" fmla="*/ 326 h 512"/>
                <a:gd name="T70" fmla="*/ 373 w 512"/>
                <a:gd name="T71" fmla="*/ 330 h 512"/>
                <a:gd name="T72" fmla="*/ 362 w 512"/>
                <a:gd name="T73" fmla="*/ 330 h 512"/>
                <a:gd name="T74" fmla="*/ 362 w 512"/>
                <a:gd name="T75" fmla="*/ 405 h 512"/>
                <a:gd name="T76" fmla="*/ 352 w 512"/>
                <a:gd name="T77" fmla="*/ 416 h 512"/>
                <a:gd name="T78" fmla="*/ 341 w 512"/>
                <a:gd name="T79" fmla="*/ 405 h 512"/>
                <a:gd name="T80" fmla="*/ 341 w 512"/>
                <a:gd name="T81" fmla="*/ 330 h 512"/>
                <a:gd name="T82" fmla="*/ 320 w 512"/>
                <a:gd name="T83" fmla="*/ 330 h 512"/>
                <a:gd name="T84" fmla="*/ 320 w 512"/>
                <a:gd name="T85" fmla="*/ 405 h 512"/>
                <a:gd name="T86" fmla="*/ 309 w 512"/>
                <a:gd name="T87" fmla="*/ 416 h 512"/>
                <a:gd name="T88" fmla="*/ 298 w 512"/>
                <a:gd name="T89" fmla="*/ 405 h 512"/>
                <a:gd name="T90" fmla="*/ 298 w 512"/>
                <a:gd name="T91" fmla="*/ 330 h 512"/>
                <a:gd name="T92" fmla="*/ 288 w 512"/>
                <a:gd name="T93" fmla="*/ 330 h 512"/>
                <a:gd name="T94" fmla="*/ 279 w 512"/>
                <a:gd name="T95" fmla="*/ 326 h 512"/>
                <a:gd name="T96" fmla="*/ 277 w 512"/>
                <a:gd name="T97" fmla="*/ 317 h 512"/>
                <a:gd name="T98" fmla="*/ 309 w 512"/>
                <a:gd name="T99" fmla="*/ 189 h 512"/>
                <a:gd name="T100" fmla="*/ 320 w 512"/>
                <a:gd name="T101" fmla="*/ 181 h 512"/>
                <a:gd name="T102" fmla="*/ 341 w 512"/>
                <a:gd name="T103" fmla="*/ 181 h 512"/>
                <a:gd name="T104" fmla="*/ 351 w 512"/>
                <a:gd name="T105" fmla="*/ 189 h 512"/>
                <a:gd name="T106" fmla="*/ 383 w 512"/>
                <a:gd name="T107" fmla="*/ 317 h 512"/>
                <a:gd name="T108" fmla="*/ 381 w 512"/>
                <a:gd name="T109" fmla="*/ 32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96"/>
                  </a:moveTo>
                  <a:cubicBezTo>
                    <a:pt x="199" y="96"/>
                    <a:pt x="213" y="110"/>
                    <a:pt x="213" y="128"/>
                  </a:cubicBezTo>
                  <a:cubicBezTo>
                    <a:pt x="213" y="145"/>
                    <a:pt x="199" y="160"/>
                    <a:pt x="181" y="160"/>
                  </a:cubicBezTo>
                  <a:cubicBezTo>
                    <a:pt x="163" y="160"/>
                    <a:pt x="149" y="145"/>
                    <a:pt x="149" y="128"/>
                  </a:cubicBezTo>
                  <a:cubicBezTo>
                    <a:pt x="149" y="110"/>
                    <a:pt x="163" y="96"/>
                    <a:pt x="181" y="96"/>
                  </a:cubicBezTo>
                  <a:close/>
                  <a:moveTo>
                    <a:pt x="234" y="298"/>
                  </a:moveTo>
                  <a:cubicBezTo>
                    <a:pt x="234" y="304"/>
                    <a:pt x="230" y="309"/>
                    <a:pt x="224" y="309"/>
                  </a:cubicBezTo>
                  <a:cubicBezTo>
                    <a:pt x="213" y="309"/>
                    <a:pt x="213" y="309"/>
                    <a:pt x="213" y="309"/>
                  </a:cubicBezTo>
                  <a:cubicBezTo>
                    <a:pt x="213" y="405"/>
                    <a:pt x="213" y="405"/>
                    <a:pt x="213" y="405"/>
                  </a:cubicBezTo>
                  <a:cubicBezTo>
                    <a:pt x="213" y="411"/>
                    <a:pt x="208" y="416"/>
                    <a:pt x="202" y="416"/>
                  </a:cubicBezTo>
                  <a:cubicBezTo>
                    <a:pt x="196" y="416"/>
                    <a:pt x="192" y="411"/>
                    <a:pt x="192" y="405"/>
                  </a:cubicBezTo>
                  <a:cubicBezTo>
                    <a:pt x="192" y="309"/>
                    <a:pt x="192" y="309"/>
                    <a:pt x="192" y="309"/>
                  </a:cubicBezTo>
                  <a:cubicBezTo>
                    <a:pt x="170" y="309"/>
                    <a:pt x="170" y="309"/>
                    <a:pt x="170" y="309"/>
                  </a:cubicBezTo>
                  <a:cubicBezTo>
                    <a:pt x="170" y="405"/>
                    <a:pt x="170" y="405"/>
                    <a:pt x="170" y="405"/>
                  </a:cubicBezTo>
                  <a:cubicBezTo>
                    <a:pt x="170" y="411"/>
                    <a:pt x="166" y="416"/>
                    <a:pt x="160" y="416"/>
                  </a:cubicBezTo>
                  <a:cubicBezTo>
                    <a:pt x="154" y="416"/>
                    <a:pt x="149" y="411"/>
                    <a:pt x="149" y="405"/>
                  </a:cubicBezTo>
                  <a:cubicBezTo>
                    <a:pt x="149" y="309"/>
                    <a:pt x="149" y="309"/>
                    <a:pt x="149" y="309"/>
                  </a:cubicBezTo>
                  <a:cubicBezTo>
                    <a:pt x="138" y="309"/>
                    <a:pt x="138" y="309"/>
                    <a:pt x="138" y="309"/>
                  </a:cubicBezTo>
                  <a:cubicBezTo>
                    <a:pt x="132" y="309"/>
                    <a:pt x="128" y="304"/>
                    <a:pt x="128" y="298"/>
                  </a:cubicBezTo>
                  <a:cubicBezTo>
                    <a:pt x="128" y="192"/>
                    <a:pt x="128" y="192"/>
                    <a:pt x="128" y="192"/>
                  </a:cubicBezTo>
                  <a:cubicBezTo>
                    <a:pt x="128" y="186"/>
                    <a:pt x="132" y="181"/>
                    <a:pt x="138" y="181"/>
                  </a:cubicBezTo>
                  <a:cubicBezTo>
                    <a:pt x="224" y="181"/>
                    <a:pt x="224" y="181"/>
                    <a:pt x="224" y="181"/>
                  </a:cubicBezTo>
                  <a:cubicBezTo>
                    <a:pt x="230" y="181"/>
                    <a:pt x="234" y="186"/>
                    <a:pt x="234" y="192"/>
                  </a:cubicBezTo>
                  <a:lnTo>
                    <a:pt x="234" y="298"/>
                  </a:lnTo>
                  <a:close/>
                  <a:moveTo>
                    <a:pt x="330" y="96"/>
                  </a:moveTo>
                  <a:cubicBezTo>
                    <a:pt x="348" y="96"/>
                    <a:pt x="362" y="110"/>
                    <a:pt x="362" y="128"/>
                  </a:cubicBezTo>
                  <a:cubicBezTo>
                    <a:pt x="362" y="145"/>
                    <a:pt x="348" y="160"/>
                    <a:pt x="330" y="160"/>
                  </a:cubicBezTo>
                  <a:cubicBezTo>
                    <a:pt x="313" y="160"/>
                    <a:pt x="298" y="145"/>
                    <a:pt x="298" y="128"/>
                  </a:cubicBezTo>
                  <a:cubicBezTo>
                    <a:pt x="298" y="110"/>
                    <a:pt x="313" y="96"/>
                    <a:pt x="330" y="96"/>
                  </a:cubicBezTo>
                  <a:close/>
                  <a:moveTo>
                    <a:pt x="381" y="326"/>
                  </a:moveTo>
                  <a:cubicBezTo>
                    <a:pt x="379" y="329"/>
                    <a:pt x="376" y="330"/>
                    <a:pt x="373" y="330"/>
                  </a:cubicBezTo>
                  <a:cubicBezTo>
                    <a:pt x="362" y="330"/>
                    <a:pt x="362" y="330"/>
                    <a:pt x="362" y="330"/>
                  </a:cubicBezTo>
                  <a:cubicBezTo>
                    <a:pt x="362" y="405"/>
                    <a:pt x="362" y="405"/>
                    <a:pt x="362" y="405"/>
                  </a:cubicBezTo>
                  <a:cubicBezTo>
                    <a:pt x="362" y="411"/>
                    <a:pt x="358" y="416"/>
                    <a:pt x="352" y="416"/>
                  </a:cubicBezTo>
                  <a:cubicBezTo>
                    <a:pt x="346" y="416"/>
                    <a:pt x="341" y="411"/>
                    <a:pt x="341" y="405"/>
                  </a:cubicBezTo>
                  <a:cubicBezTo>
                    <a:pt x="341" y="330"/>
                    <a:pt x="341" y="330"/>
                    <a:pt x="341" y="330"/>
                  </a:cubicBezTo>
                  <a:cubicBezTo>
                    <a:pt x="320" y="330"/>
                    <a:pt x="320" y="330"/>
                    <a:pt x="320" y="330"/>
                  </a:cubicBezTo>
                  <a:cubicBezTo>
                    <a:pt x="320" y="405"/>
                    <a:pt x="320" y="405"/>
                    <a:pt x="320" y="405"/>
                  </a:cubicBezTo>
                  <a:cubicBezTo>
                    <a:pt x="320" y="411"/>
                    <a:pt x="315" y="416"/>
                    <a:pt x="309" y="416"/>
                  </a:cubicBezTo>
                  <a:cubicBezTo>
                    <a:pt x="303" y="416"/>
                    <a:pt x="298" y="411"/>
                    <a:pt x="298" y="405"/>
                  </a:cubicBezTo>
                  <a:cubicBezTo>
                    <a:pt x="298" y="330"/>
                    <a:pt x="298" y="330"/>
                    <a:pt x="298" y="330"/>
                  </a:cubicBezTo>
                  <a:cubicBezTo>
                    <a:pt x="288" y="330"/>
                    <a:pt x="288" y="330"/>
                    <a:pt x="288" y="330"/>
                  </a:cubicBezTo>
                  <a:cubicBezTo>
                    <a:pt x="284" y="330"/>
                    <a:pt x="281" y="329"/>
                    <a:pt x="279" y="326"/>
                  </a:cubicBezTo>
                  <a:cubicBezTo>
                    <a:pt x="277" y="324"/>
                    <a:pt x="277" y="320"/>
                    <a:pt x="277" y="317"/>
                  </a:cubicBezTo>
                  <a:cubicBezTo>
                    <a:pt x="309" y="189"/>
                    <a:pt x="309" y="189"/>
                    <a:pt x="309" y="189"/>
                  </a:cubicBezTo>
                  <a:cubicBezTo>
                    <a:pt x="311" y="184"/>
                    <a:pt x="315" y="181"/>
                    <a:pt x="320" y="181"/>
                  </a:cubicBezTo>
                  <a:cubicBezTo>
                    <a:pt x="341" y="181"/>
                    <a:pt x="341" y="181"/>
                    <a:pt x="341" y="181"/>
                  </a:cubicBezTo>
                  <a:cubicBezTo>
                    <a:pt x="346" y="181"/>
                    <a:pt x="350" y="184"/>
                    <a:pt x="351" y="189"/>
                  </a:cubicBezTo>
                  <a:cubicBezTo>
                    <a:pt x="383" y="317"/>
                    <a:pt x="383" y="317"/>
                    <a:pt x="383" y="317"/>
                  </a:cubicBezTo>
                  <a:cubicBezTo>
                    <a:pt x="384" y="320"/>
                    <a:pt x="383" y="324"/>
                    <a:pt x="381" y="3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3" name="Rectangle 841">
              <a:extLst>
                <a:ext uri="{FF2B5EF4-FFF2-40B4-BE49-F238E27FC236}">
                  <a16:creationId xmlns:a16="http://schemas.microsoft.com/office/drawing/2014/main" id="{E1953E1F-CE3B-4983-8290-319E587C3570}"/>
                </a:ext>
              </a:extLst>
            </p:cNvPr>
            <p:cNvSpPr>
              <a:spLocks noChangeArrowheads="1"/>
            </p:cNvSpPr>
            <p:nvPr/>
          </p:nvSpPr>
          <p:spPr bwMode="auto">
            <a:xfrm>
              <a:off x="4775" y="3164"/>
              <a:ext cx="42" cy="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84" name="Group 844">
            <a:extLst>
              <a:ext uri="{FF2B5EF4-FFF2-40B4-BE49-F238E27FC236}">
                <a16:creationId xmlns:a16="http://schemas.microsoft.com/office/drawing/2014/main" id="{15DD2D06-7605-413D-9486-6B34C9F12976}"/>
              </a:ext>
            </a:extLst>
          </p:cNvPr>
          <p:cNvGrpSpPr>
            <a:grpSpLocks noChangeAspect="1"/>
          </p:cNvGrpSpPr>
          <p:nvPr/>
        </p:nvGrpSpPr>
        <p:grpSpPr bwMode="auto">
          <a:xfrm>
            <a:off x="7012382" y="1700213"/>
            <a:ext cx="369676" cy="369676"/>
            <a:chOff x="4301" y="3046"/>
            <a:chExt cx="340" cy="340"/>
          </a:xfrm>
          <a:solidFill>
            <a:schemeClr val="accent3"/>
          </a:solidFill>
        </p:grpSpPr>
        <p:sp>
          <p:nvSpPr>
            <p:cNvPr id="385" name="Freeform 845">
              <a:extLst>
                <a:ext uri="{FF2B5EF4-FFF2-40B4-BE49-F238E27FC236}">
                  <a16:creationId xmlns:a16="http://schemas.microsoft.com/office/drawing/2014/main" id="{C25E2781-893B-42C3-85F7-A51852ADD65B}"/>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6" name="Freeform 846">
              <a:extLst>
                <a:ext uri="{FF2B5EF4-FFF2-40B4-BE49-F238E27FC236}">
                  <a16:creationId xmlns:a16="http://schemas.microsoft.com/office/drawing/2014/main" id="{679638B1-66A5-4984-8B8D-1FCA86C9ABA4}"/>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Freeform 847">
              <a:extLst>
                <a:ext uri="{FF2B5EF4-FFF2-40B4-BE49-F238E27FC236}">
                  <a16:creationId xmlns:a16="http://schemas.microsoft.com/office/drawing/2014/main" id="{5A880F9F-83B5-4B9D-BF1C-4457D9F92407}"/>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5" name="Freeform 848">
              <a:extLst>
                <a:ext uri="{FF2B5EF4-FFF2-40B4-BE49-F238E27FC236}">
                  <a16:creationId xmlns:a16="http://schemas.microsoft.com/office/drawing/2014/main" id="{3F1951AD-2330-48BB-9CCE-C606FB29227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6" name="Freeform 849">
              <a:extLst>
                <a:ext uri="{FF2B5EF4-FFF2-40B4-BE49-F238E27FC236}">
                  <a16:creationId xmlns:a16="http://schemas.microsoft.com/office/drawing/2014/main" id="{A9A15737-C575-45A8-B665-FFBFD9015A7C}"/>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7" name="Freeform 850">
              <a:extLst>
                <a:ext uri="{FF2B5EF4-FFF2-40B4-BE49-F238E27FC236}">
                  <a16:creationId xmlns:a16="http://schemas.microsoft.com/office/drawing/2014/main" id="{516EC18C-560B-4227-B7C7-0EEF8C13C4B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0" name="Freeform 851">
              <a:extLst>
                <a:ext uri="{FF2B5EF4-FFF2-40B4-BE49-F238E27FC236}">
                  <a16:creationId xmlns:a16="http://schemas.microsoft.com/office/drawing/2014/main" id="{F2CA3F3F-E019-469C-83B5-E1592224ABBF}"/>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21" name="Group 854">
            <a:extLst>
              <a:ext uri="{FF2B5EF4-FFF2-40B4-BE49-F238E27FC236}">
                <a16:creationId xmlns:a16="http://schemas.microsoft.com/office/drawing/2014/main" id="{35F074D9-F6B7-4FFC-8B11-7BDC6A1B2E2D}"/>
              </a:ext>
            </a:extLst>
          </p:cNvPr>
          <p:cNvGrpSpPr>
            <a:grpSpLocks noChangeAspect="1"/>
          </p:cNvGrpSpPr>
          <p:nvPr/>
        </p:nvGrpSpPr>
        <p:grpSpPr bwMode="auto">
          <a:xfrm>
            <a:off x="6577080" y="1700213"/>
            <a:ext cx="369676" cy="369676"/>
            <a:chOff x="3903" y="3039"/>
            <a:chExt cx="340" cy="340"/>
          </a:xfrm>
          <a:solidFill>
            <a:schemeClr val="accent3"/>
          </a:solidFill>
        </p:grpSpPr>
        <p:sp>
          <p:nvSpPr>
            <p:cNvPr id="432" name="Oval 855">
              <a:extLst>
                <a:ext uri="{FF2B5EF4-FFF2-40B4-BE49-F238E27FC236}">
                  <a16:creationId xmlns:a16="http://schemas.microsoft.com/office/drawing/2014/main" id="{68ADE341-4914-4322-B191-18274E8E4FEF}"/>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3" name="Rectangle 856">
              <a:extLst>
                <a:ext uri="{FF2B5EF4-FFF2-40B4-BE49-F238E27FC236}">
                  <a16:creationId xmlns:a16="http://schemas.microsoft.com/office/drawing/2014/main" id="{B0E6ABB6-91C3-4A9D-B35B-FCC3A988E918}"/>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4" name="Freeform 857">
              <a:extLst>
                <a:ext uri="{FF2B5EF4-FFF2-40B4-BE49-F238E27FC236}">
                  <a16:creationId xmlns:a16="http://schemas.microsoft.com/office/drawing/2014/main" id="{DD0CE2EE-26FC-4D47-BD14-111ED0E44D1E}"/>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5" name="Oval 858">
              <a:extLst>
                <a:ext uri="{FF2B5EF4-FFF2-40B4-BE49-F238E27FC236}">
                  <a16:creationId xmlns:a16="http://schemas.microsoft.com/office/drawing/2014/main" id="{6A2C4C84-601E-4EDB-8535-04AE48074C54}"/>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6" name="Oval 859">
              <a:extLst>
                <a:ext uri="{FF2B5EF4-FFF2-40B4-BE49-F238E27FC236}">
                  <a16:creationId xmlns:a16="http://schemas.microsoft.com/office/drawing/2014/main" id="{5A3E5BD1-AED4-420F-B34E-D6AA08C2631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7" name="Rectangle 860">
              <a:extLst>
                <a:ext uri="{FF2B5EF4-FFF2-40B4-BE49-F238E27FC236}">
                  <a16:creationId xmlns:a16="http://schemas.microsoft.com/office/drawing/2014/main" id="{32C13687-BF30-41BE-A0EB-A961CFA76C99}"/>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8" name="Freeform 861">
              <a:extLst>
                <a:ext uri="{FF2B5EF4-FFF2-40B4-BE49-F238E27FC236}">
                  <a16:creationId xmlns:a16="http://schemas.microsoft.com/office/drawing/2014/main" id="{77973B05-5C92-4436-8E1E-8446EF810276}"/>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39" name="Group 583">
            <a:extLst>
              <a:ext uri="{FF2B5EF4-FFF2-40B4-BE49-F238E27FC236}">
                <a16:creationId xmlns:a16="http://schemas.microsoft.com/office/drawing/2014/main" id="{92C5DF21-B2F4-4DB8-9FA5-CFF42BEB9F27}"/>
              </a:ext>
            </a:extLst>
          </p:cNvPr>
          <p:cNvGrpSpPr>
            <a:grpSpLocks noChangeAspect="1"/>
          </p:cNvGrpSpPr>
          <p:nvPr/>
        </p:nvGrpSpPr>
        <p:grpSpPr bwMode="auto">
          <a:xfrm>
            <a:off x="5281207" y="2531576"/>
            <a:ext cx="370763" cy="369676"/>
            <a:chOff x="1138" y="1953"/>
            <a:chExt cx="341" cy="340"/>
          </a:xfrm>
          <a:solidFill>
            <a:schemeClr val="accent6"/>
          </a:solidFill>
        </p:grpSpPr>
        <p:sp>
          <p:nvSpPr>
            <p:cNvPr id="440" name="Freeform 584">
              <a:extLst>
                <a:ext uri="{FF2B5EF4-FFF2-40B4-BE49-F238E27FC236}">
                  <a16:creationId xmlns:a16="http://schemas.microsoft.com/office/drawing/2014/main" id="{77012469-EA34-42B5-BF5C-B89E6B4F0B69}"/>
                </a:ext>
              </a:extLst>
            </p:cNvPr>
            <p:cNvSpPr>
              <a:spLocks noEditPoints="1"/>
            </p:cNvSpPr>
            <p:nvPr/>
          </p:nvSpPr>
          <p:spPr bwMode="auto">
            <a:xfrm>
              <a:off x="1138" y="195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1" name="Freeform 585">
              <a:extLst>
                <a:ext uri="{FF2B5EF4-FFF2-40B4-BE49-F238E27FC236}">
                  <a16:creationId xmlns:a16="http://schemas.microsoft.com/office/drawing/2014/main" id="{962AC6B3-B7BD-4BD1-A342-680C717296FE}"/>
                </a:ext>
              </a:extLst>
            </p:cNvPr>
            <p:cNvSpPr>
              <a:spLocks noEditPoints="1"/>
            </p:cNvSpPr>
            <p:nvPr/>
          </p:nvSpPr>
          <p:spPr bwMode="auto">
            <a:xfrm>
              <a:off x="1273" y="2017"/>
              <a:ext cx="71" cy="212"/>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2" name="Freeform 589">
            <a:extLst>
              <a:ext uri="{FF2B5EF4-FFF2-40B4-BE49-F238E27FC236}">
                <a16:creationId xmlns:a16="http://schemas.microsoft.com/office/drawing/2014/main" id="{D0D54088-EFC4-466B-824E-FCA52A5786EF}"/>
              </a:ext>
            </a:extLst>
          </p:cNvPr>
          <p:cNvSpPr>
            <a:spLocks noChangeAspect="1" noEditPoints="1"/>
          </p:cNvSpPr>
          <p:nvPr/>
        </p:nvSpPr>
        <p:spPr bwMode="auto">
          <a:xfrm>
            <a:off x="4845525" y="2531576"/>
            <a:ext cx="370763" cy="369676"/>
          </a:xfrm>
          <a:custGeom>
            <a:avLst/>
            <a:gdLst>
              <a:gd name="T0" fmla="*/ 267 w 512"/>
              <a:gd name="T1" fmla="*/ 160 h 512"/>
              <a:gd name="T2" fmla="*/ 287 w 512"/>
              <a:gd name="T3" fmla="*/ 348 h 512"/>
              <a:gd name="T4" fmla="*/ 256 w 512"/>
              <a:gd name="T5" fmla="*/ 388 h 512"/>
              <a:gd name="T6" fmla="*/ 224 w 512"/>
              <a:gd name="T7" fmla="*/ 348 h 512"/>
              <a:gd name="T8" fmla="*/ 244 w 512"/>
              <a:gd name="T9" fmla="*/ 160 h 512"/>
              <a:gd name="T10" fmla="*/ 267 w 512"/>
              <a:gd name="T11" fmla="*/ 160 h 512"/>
              <a:gd name="T12" fmla="*/ 269 w 512"/>
              <a:gd name="T13" fmla="*/ 138 h 512"/>
              <a:gd name="T14" fmla="*/ 274 w 512"/>
              <a:gd name="T15" fmla="*/ 117 h 512"/>
              <a:gd name="T16" fmla="*/ 237 w 512"/>
              <a:gd name="T17" fmla="*/ 117 h 512"/>
              <a:gd name="T18" fmla="*/ 243 w 512"/>
              <a:gd name="T19" fmla="*/ 138 h 512"/>
              <a:gd name="T20" fmla="*/ 269 w 512"/>
              <a:gd name="T21" fmla="*/ 138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9 w 512"/>
              <a:gd name="T33" fmla="*/ 351 h 512"/>
              <a:gd name="T34" fmla="*/ 288 w 512"/>
              <a:gd name="T35" fmla="*/ 150 h 512"/>
              <a:gd name="T36" fmla="*/ 298 w 512"/>
              <a:gd name="T37" fmla="*/ 109 h 512"/>
              <a:gd name="T38" fmla="*/ 296 w 512"/>
              <a:gd name="T39" fmla="*/ 100 h 512"/>
              <a:gd name="T40" fmla="*/ 288 w 512"/>
              <a:gd name="T41" fmla="*/ 96 h 512"/>
              <a:gd name="T42" fmla="*/ 224 w 512"/>
              <a:gd name="T43" fmla="*/ 96 h 512"/>
              <a:gd name="T44" fmla="*/ 215 w 512"/>
              <a:gd name="T45" fmla="*/ 100 h 512"/>
              <a:gd name="T46" fmla="*/ 213 w 512"/>
              <a:gd name="T47" fmla="*/ 109 h 512"/>
              <a:gd name="T48" fmla="*/ 224 w 512"/>
              <a:gd name="T49" fmla="*/ 150 h 512"/>
              <a:gd name="T50" fmla="*/ 202 w 512"/>
              <a:gd name="T51" fmla="*/ 351 h 512"/>
              <a:gd name="T52" fmla="*/ 205 w 512"/>
              <a:gd name="T53" fmla="*/ 358 h 512"/>
              <a:gd name="T54" fmla="*/ 247 w 512"/>
              <a:gd name="T55" fmla="*/ 412 h 512"/>
              <a:gd name="T56" fmla="*/ 256 w 512"/>
              <a:gd name="T57" fmla="*/ 416 h 512"/>
              <a:gd name="T58" fmla="*/ 264 w 512"/>
              <a:gd name="T59" fmla="*/ 412 h 512"/>
              <a:gd name="T60" fmla="*/ 307 w 512"/>
              <a:gd name="T61" fmla="*/ 358 h 512"/>
              <a:gd name="T62" fmla="*/ 309 w 512"/>
              <a:gd name="T6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67" y="160"/>
                </a:moveTo>
                <a:cubicBezTo>
                  <a:pt x="287" y="348"/>
                  <a:pt x="287" y="348"/>
                  <a:pt x="287" y="348"/>
                </a:cubicBezTo>
                <a:cubicBezTo>
                  <a:pt x="256" y="388"/>
                  <a:pt x="256" y="388"/>
                  <a:pt x="256" y="388"/>
                </a:cubicBezTo>
                <a:cubicBezTo>
                  <a:pt x="224" y="348"/>
                  <a:pt x="224" y="348"/>
                  <a:pt x="224" y="348"/>
                </a:cubicBezTo>
                <a:cubicBezTo>
                  <a:pt x="244" y="160"/>
                  <a:pt x="244" y="160"/>
                  <a:pt x="244" y="160"/>
                </a:cubicBezTo>
                <a:lnTo>
                  <a:pt x="267" y="160"/>
                </a:lnTo>
                <a:close/>
                <a:moveTo>
                  <a:pt x="269" y="138"/>
                </a:moveTo>
                <a:cubicBezTo>
                  <a:pt x="274" y="117"/>
                  <a:pt x="274" y="117"/>
                  <a:pt x="274" y="117"/>
                </a:cubicBezTo>
                <a:cubicBezTo>
                  <a:pt x="237" y="117"/>
                  <a:pt x="237" y="117"/>
                  <a:pt x="237" y="117"/>
                </a:cubicBezTo>
                <a:cubicBezTo>
                  <a:pt x="243" y="138"/>
                  <a:pt x="243" y="138"/>
                  <a:pt x="243" y="138"/>
                </a:cubicBezTo>
                <a:lnTo>
                  <a:pt x="269"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9" y="351"/>
                </a:moveTo>
                <a:cubicBezTo>
                  <a:pt x="288" y="150"/>
                  <a:pt x="288" y="150"/>
                  <a:pt x="288" y="150"/>
                </a:cubicBezTo>
                <a:cubicBezTo>
                  <a:pt x="298" y="109"/>
                  <a:pt x="298" y="109"/>
                  <a:pt x="298" y="109"/>
                </a:cubicBezTo>
                <a:cubicBezTo>
                  <a:pt x="299" y="106"/>
                  <a:pt x="298" y="102"/>
                  <a:pt x="296" y="100"/>
                </a:cubicBezTo>
                <a:cubicBezTo>
                  <a:pt x="294" y="97"/>
                  <a:pt x="291" y="96"/>
                  <a:pt x="288" y="96"/>
                </a:cubicBezTo>
                <a:cubicBezTo>
                  <a:pt x="224" y="96"/>
                  <a:pt x="224" y="96"/>
                  <a:pt x="224" y="96"/>
                </a:cubicBezTo>
                <a:cubicBezTo>
                  <a:pt x="220" y="96"/>
                  <a:pt x="217" y="97"/>
                  <a:pt x="215" y="100"/>
                </a:cubicBezTo>
                <a:cubicBezTo>
                  <a:pt x="213" y="102"/>
                  <a:pt x="213" y="106"/>
                  <a:pt x="213" y="109"/>
                </a:cubicBezTo>
                <a:cubicBezTo>
                  <a:pt x="224" y="150"/>
                  <a:pt x="224" y="150"/>
                  <a:pt x="224" y="150"/>
                </a:cubicBezTo>
                <a:cubicBezTo>
                  <a:pt x="202" y="351"/>
                  <a:pt x="202" y="351"/>
                  <a:pt x="202" y="351"/>
                </a:cubicBezTo>
                <a:cubicBezTo>
                  <a:pt x="202" y="353"/>
                  <a:pt x="203" y="356"/>
                  <a:pt x="205" y="358"/>
                </a:cubicBezTo>
                <a:cubicBezTo>
                  <a:pt x="247" y="412"/>
                  <a:pt x="247" y="412"/>
                  <a:pt x="247" y="412"/>
                </a:cubicBezTo>
                <a:cubicBezTo>
                  <a:pt x="249" y="414"/>
                  <a:pt x="252" y="416"/>
                  <a:pt x="256" y="416"/>
                </a:cubicBezTo>
                <a:cubicBezTo>
                  <a:pt x="259" y="416"/>
                  <a:pt x="262" y="414"/>
                  <a:pt x="264" y="412"/>
                </a:cubicBezTo>
                <a:cubicBezTo>
                  <a:pt x="307" y="358"/>
                  <a:pt x="307" y="358"/>
                  <a:pt x="307" y="358"/>
                </a:cubicBezTo>
                <a:cubicBezTo>
                  <a:pt x="308" y="356"/>
                  <a:pt x="309" y="353"/>
                  <a:pt x="309" y="35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3" name="Group 749">
            <a:extLst>
              <a:ext uri="{FF2B5EF4-FFF2-40B4-BE49-F238E27FC236}">
                <a16:creationId xmlns:a16="http://schemas.microsoft.com/office/drawing/2014/main" id="{5EF0D25C-475D-4104-924C-20970E1C6146}"/>
              </a:ext>
            </a:extLst>
          </p:cNvPr>
          <p:cNvGrpSpPr>
            <a:grpSpLocks noChangeAspect="1"/>
          </p:cNvGrpSpPr>
          <p:nvPr/>
        </p:nvGrpSpPr>
        <p:grpSpPr bwMode="auto">
          <a:xfrm>
            <a:off x="6151484" y="2531576"/>
            <a:ext cx="369676" cy="369676"/>
            <a:chOff x="3520" y="2686"/>
            <a:chExt cx="340" cy="340"/>
          </a:xfrm>
          <a:solidFill>
            <a:schemeClr val="accent2"/>
          </a:solidFill>
        </p:grpSpPr>
        <p:sp>
          <p:nvSpPr>
            <p:cNvPr id="444" name="Freeform 750">
              <a:extLst>
                <a:ext uri="{FF2B5EF4-FFF2-40B4-BE49-F238E27FC236}">
                  <a16:creationId xmlns:a16="http://schemas.microsoft.com/office/drawing/2014/main" id="{FFFAB9B6-6BC4-4A5A-88AD-AAEE77E76EAB}"/>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5" name="Freeform 751">
              <a:extLst>
                <a:ext uri="{FF2B5EF4-FFF2-40B4-BE49-F238E27FC236}">
                  <a16:creationId xmlns:a16="http://schemas.microsoft.com/office/drawing/2014/main" id="{636036E4-A91C-47ED-81AA-81F864B31FFD}"/>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6" name="Freeform 752">
              <a:extLst>
                <a:ext uri="{FF2B5EF4-FFF2-40B4-BE49-F238E27FC236}">
                  <a16:creationId xmlns:a16="http://schemas.microsoft.com/office/drawing/2014/main" id="{77E1413F-C30C-4ABD-9273-204874EB26DF}"/>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7" name="Freeform 756">
            <a:extLst>
              <a:ext uri="{FF2B5EF4-FFF2-40B4-BE49-F238E27FC236}">
                <a16:creationId xmlns:a16="http://schemas.microsoft.com/office/drawing/2014/main" id="{578D39BC-947B-45F6-B893-0BDBCAB4D9A6}"/>
              </a:ext>
            </a:extLst>
          </p:cNvPr>
          <p:cNvSpPr>
            <a:spLocks noChangeAspect="1" noEditPoints="1"/>
          </p:cNvSpPr>
          <p:nvPr/>
        </p:nvSpPr>
        <p:spPr bwMode="auto">
          <a:xfrm>
            <a:off x="5716889" y="2531576"/>
            <a:ext cx="369676" cy="369676"/>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8" name="Group 934">
            <a:extLst>
              <a:ext uri="{FF2B5EF4-FFF2-40B4-BE49-F238E27FC236}">
                <a16:creationId xmlns:a16="http://schemas.microsoft.com/office/drawing/2014/main" id="{68CAA3CF-AE60-4ADB-A094-9DAE9F69414E}"/>
              </a:ext>
            </a:extLst>
          </p:cNvPr>
          <p:cNvGrpSpPr>
            <a:grpSpLocks noChangeAspect="1"/>
          </p:cNvGrpSpPr>
          <p:nvPr/>
        </p:nvGrpSpPr>
        <p:grpSpPr bwMode="auto">
          <a:xfrm>
            <a:off x="1800591" y="2531576"/>
            <a:ext cx="369021" cy="369021"/>
            <a:chOff x="1155" y="3472"/>
            <a:chExt cx="340" cy="340"/>
          </a:xfrm>
          <a:solidFill>
            <a:schemeClr val="accent4"/>
          </a:solidFill>
        </p:grpSpPr>
        <p:sp>
          <p:nvSpPr>
            <p:cNvPr id="449" name="Freeform 935">
              <a:extLst>
                <a:ext uri="{FF2B5EF4-FFF2-40B4-BE49-F238E27FC236}">
                  <a16:creationId xmlns:a16="http://schemas.microsoft.com/office/drawing/2014/main" id="{01A72F0A-FD90-4398-B66F-0F90FBA337FD}"/>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0" name="Freeform 936">
              <a:extLst>
                <a:ext uri="{FF2B5EF4-FFF2-40B4-BE49-F238E27FC236}">
                  <a16:creationId xmlns:a16="http://schemas.microsoft.com/office/drawing/2014/main" id="{217FFF3D-199F-42A8-9AA3-252EC1B0C01D}"/>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1" name="Freeform 940">
            <a:extLst>
              <a:ext uri="{FF2B5EF4-FFF2-40B4-BE49-F238E27FC236}">
                <a16:creationId xmlns:a16="http://schemas.microsoft.com/office/drawing/2014/main" id="{165F3FAE-BEF8-4D18-ADE1-B0050257B475}"/>
              </a:ext>
            </a:extLst>
          </p:cNvPr>
          <p:cNvSpPr>
            <a:spLocks noChangeAspect="1" noEditPoints="1"/>
          </p:cNvSpPr>
          <p:nvPr/>
        </p:nvSpPr>
        <p:spPr bwMode="auto">
          <a:xfrm>
            <a:off x="1366651" y="2531576"/>
            <a:ext cx="369021" cy="369021"/>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2" name="Freeform 813">
            <a:extLst>
              <a:ext uri="{FF2B5EF4-FFF2-40B4-BE49-F238E27FC236}">
                <a16:creationId xmlns:a16="http://schemas.microsoft.com/office/drawing/2014/main" id="{E939BDAE-D779-403A-80EE-403343BCC819}"/>
              </a:ext>
            </a:extLst>
          </p:cNvPr>
          <p:cNvSpPr>
            <a:spLocks noChangeAspect="1" noEditPoints="1"/>
          </p:cNvSpPr>
          <p:nvPr/>
        </p:nvSpPr>
        <p:spPr bwMode="auto">
          <a:xfrm>
            <a:off x="2234531" y="2531576"/>
            <a:ext cx="367041" cy="367041"/>
          </a:xfrm>
          <a:custGeom>
            <a:avLst/>
            <a:gdLst>
              <a:gd name="T0" fmla="*/ 352 w 512"/>
              <a:gd name="T1" fmla="*/ 245 h 512"/>
              <a:gd name="T2" fmla="*/ 288 w 512"/>
              <a:gd name="T3" fmla="*/ 245 h 512"/>
              <a:gd name="T4" fmla="*/ 288 w 512"/>
              <a:gd name="T5" fmla="*/ 202 h 512"/>
              <a:gd name="T6" fmla="*/ 352 w 512"/>
              <a:gd name="T7" fmla="*/ 202 h 512"/>
              <a:gd name="T8" fmla="*/ 352 w 512"/>
              <a:gd name="T9" fmla="*/ 245 h 512"/>
              <a:gd name="T10" fmla="*/ 224 w 512"/>
              <a:gd name="T11" fmla="*/ 202 h 512"/>
              <a:gd name="T12" fmla="*/ 160 w 512"/>
              <a:gd name="T13" fmla="*/ 202 h 512"/>
              <a:gd name="T14" fmla="*/ 160 w 512"/>
              <a:gd name="T15" fmla="*/ 245 h 512"/>
              <a:gd name="T16" fmla="*/ 224 w 512"/>
              <a:gd name="T17" fmla="*/ 245 h 512"/>
              <a:gd name="T18" fmla="*/ 224 w 512"/>
              <a:gd name="T19" fmla="*/ 202 h 512"/>
              <a:gd name="T20" fmla="*/ 320 w 512"/>
              <a:gd name="T21" fmla="*/ 138 h 512"/>
              <a:gd name="T22" fmla="*/ 330 w 512"/>
              <a:gd name="T23" fmla="*/ 128 h 512"/>
              <a:gd name="T24" fmla="*/ 320 w 512"/>
              <a:gd name="T25" fmla="*/ 117 h 512"/>
              <a:gd name="T26" fmla="*/ 309 w 512"/>
              <a:gd name="T27" fmla="*/ 128 h 512"/>
              <a:gd name="T28" fmla="*/ 320 w 512"/>
              <a:gd name="T29" fmla="*/ 138 h 512"/>
              <a:gd name="T30" fmla="*/ 192 w 512"/>
              <a:gd name="T31" fmla="*/ 138 h 512"/>
              <a:gd name="T32" fmla="*/ 202 w 512"/>
              <a:gd name="T33" fmla="*/ 128 h 512"/>
              <a:gd name="T34" fmla="*/ 192 w 512"/>
              <a:gd name="T35" fmla="*/ 117 h 512"/>
              <a:gd name="T36" fmla="*/ 181 w 512"/>
              <a:gd name="T37" fmla="*/ 128 h 512"/>
              <a:gd name="T38" fmla="*/ 192 w 512"/>
              <a:gd name="T39" fmla="*/ 138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288 w 512"/>
              <a:gd name="T51" fmla="*/ 128 h 512"/>
              <a:gd name="T52" fmla="*/ 320 w 512"/>
              <a:gd name="T53" fmla="*/ 160 h 512"/>
              <a:gd name="T54" fmla="*/ 352 w 512"/>
              <a:gd name="T55" fmla="*/ 128 h 512"/>
              <a:gd name="T56" fmla="*/ 320 w 512"/>
              <a:gd name="T57" fmla="*/ 96 h 512"/>
              <a:gd name="T58" fmla="*/ 288 w 512"/>
              <a:gd name="T59" fmla="*/ 128 h 512"/>
              <a:gd name="T60" fmla="*/ 160 w 512"/>
              <a:gd name="T61" fmla="*/ 128 h 512"/>
              <a:gd name="T62" fmla="*/ 192 w 512"/>
              <a:gd name="T63" fmla="*/ 160 h 512"/>
              <a:gd name="T64" fmla="*/ 224 w 512"/>
              <a:gd name="T65" fmla="*/ 128 h 512"/>
              <a:gd name="T66" fmla="*/ 192 w 512"/>
              <a:gd name="T67" fmla="*/ 96 h 512"/>
              <a:gd name="T68" fmla="*/ 160 w 512"/>
              <a:gd name="T69" fmla="*/ 128 h 512"/>
              <a:gd name="T70" fmla="*/ 405 w 512"/>
              <a:gd name="T71" fmla="*/ 256 h 512"/>
              <a:gd name="T72" fmla="*/ 394 w 512"/>
              <a:gd name="T73" fmla="*/ 245 h 512"/>
              <a:gd name="T74" fmla="*/ 373 w 512"/>
              <a:gd name="T75" fmla="*/ 245 h 512"/>
              <a:gd name="T76" fmla="*/ 373 w 512"/>
              <a:gd name="T77" fmla="*/ 192 h 512"/>
              <a:gd name="T78" fmla="*/ 362 w 512"/>
              <a:gd name="T79" fmla="*/ 181 h 512"/>
              <a:gd name="T80" fmla="*/ 277 w 512"/>
              <a:gd name="T81" fmla="*/ 181 h 512"/>
              <a:gd name="T82" fmla="*/ 266 w 512"/>
              <a:gd name="T83" fmla="*/ 192 h 512"/>
              <a:gd name="T84" fmla="*/ 266 w 512"/>
              <a:gd name="T85" fmla="*/ 245 h 512"/>
              <a:gd name="T86" fmla="*/ 245 w 512"/>
              <a:gd name="T87" fmla="*/ 245 h 512"/>
              <a:gd name="T88" fmla="*/ 245 w 512"/>
              <a:gd name="T89" fmla="*/ 192 h 512"/>
              <a:gd name="T90" fmla="*/ 234 w 512"/>
              <a:gd name="T91" fmla="*/ 181 h 512"/>
              <a:gd name="T92" fmla="*/ 149 w 512"/>
              <a:gd name="T93" fmla="*/ 181 h 512"/>
              <a:gd name="T94" fmla="*/ 138 w 512"/>
              <a:gd name="T95" fmla="*/ 192 h 512"/>
              <a:gd name="T96" fmla="*/ 138 w 512"/>
              <a:gd name="T97" fmla="*/ 245 h 512"/>
              <a:gd name="T98" fmla="*/ 117 w 512"/>
              <a:gd name="T99" fmla="*/ 245 h 512"/>
              <a:gd name="T100" fmla="*/ 106 w 512"/>
              <a:gd name="T101" fmla="*/ 256 h 512"/>
              <a:gd name="T102" fmla="*/ 117 w 512"/>
              <a:gd name="T103" fmla="*/ 266 h 512"/>
              <a:gd name="T104" fmla="*/ 117 w 512"/>
              <a:gd name="T105" fmla="*/ 384 h 512"/>
              <a:gd name="T106" fmla="*/ 128 w 512"/>
              <a:gd name="T107" fmla="*/ 394 h 512"/>
              <a:gd name="T108" fmla="*/ 384 w 512"/>
              <a:gd name="T109" fmla="*/ 394 h 512"/>
              <a:gd name="T110" fmla="*/ 394 w 512"/>
              <a:gd name="T111" fmla="*/ 384 h 512"/>
              <a:gd name="T112" fmla="*/ 394 w 512"/>
              <a:gd name="T113" fmla="*/ 266 h 512"/>
              <a:gd name="T114" fmla="*/ 405 w 512"/>
              <a:gd name="T115" fmla="*/ 256 h 512"/>
              <a:gd name="T116" fmla="*/ 138 w 512"/>
              <a:gd name="T117" fmla="*/ 373 h 512"/>
              <a:gd name="T118" fmla="*/ 373 w 512"/>
              <a:gd name="T119" fmla="*/ 373 h 512"/>
              <a:gd name="T120" fmla="*/ 373 w 512"/>
              <a:gd name="T121" fmla="*/ 266 h 512"/>
              <a:gd name="T122" fmla="*/ 138 w 512"/>
              <a:gd name="T123" fmla="*/ 266 h 512"/>
              <a:gd name="T124" fmla="*/ 138 w 512"/>
              <a:gd name="T12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52" y="245"/>
                </a:moveTo>
                <a:cubicBezTo>
                  <a:pt x="288" y="245"/>
                  <a:pt x="288" y="245"/>
                  <a:pt x="288" y="245"/>
                </a:cubicBezTo>
                <a:cubicBezTo>
                  <a:pt x="288" y="202"/>
                  <a:pt x="288" y="202"/>
                  <a:pt x="288" y="202"/>
                </a:cubicBezTo>
                <a:cubicBezTo>
                  <a:pt x="352" y="202"/>
                  <a:pt x="352" y="202"/>
                  <a:pt x="352" y="202"/>
                </a:cubicBezTo>
                <a:lnTo>
                  <a:pt x="352" y="245"/>
                </a:lnTo>
                <a:close/>
                <a:moveTo>
                  <a:pt x="224" y="202"/>
                </a:moveTo>
                <a:cubicBezTo>
                  <a:pt x="160" y="202"/>
                  <a:pt x="160" y="202"/>
                  <a:pt x="160" y="202"/>
                </a:cubicBezTo>
                <a:cubicBezTo>
                  <a:pt x="160" y="245"/>
                  <a:pt x="160" y="245"/>
                  <a:pt x="160" y="245"/>
                </a:cubicBezTo>
                <a:cubicBezTo>
                  <a:pt x="224" y="245"/>
                  <a:pt x="224" y="245"/>
                  <a:pt x="224" y="245"/>
                </a:cubicBezTo>
                <a:lnTo>
                  <a:pt x="224" y="202"/>
                </a:lnTo>
                <a:close/>
                <a:moveTo>
                  <a:pt x="320" y="138"/>
                </a:moveTo>
                <a:cubicBezTo>
                  <a:pt x="326" y="138"/>
                  <a:pt x="330" y="134"/>
                  <a:pt x="330" y="128"/>
                </a:cubicBezTo>
                <a:cubicBezTo>
                  <a:pt x="330" y="122"/>
                  <a:pt x="326" y="117"/>
                  <a:pt x="320" y="117"/>
                </a:cubicBezTo>
                <a:cubicBezTo>
                  <a:pt x="314" y="117"/>
                  <a:pt x="309" y="122"/>
                  <a:pt x="309" y="128"/>
                </a:cubicBezTo>
                <a:cubicBezTo>
                  <a:pt x="309" y="134"/>
                  <a:pt x="314" y="138"/>
                  <a:pt x="320" y="138"/>
                </a:cubicBezTo>
                <a:close/>
                <a:moveTo>
                  <a:pt x="192" y="138"/>
                </a:moveTo>
                <a:cubicBezTo>
                  <a:pt x="198" y="138"/>
                  <a:pt x="202" y="134"/>
                  <a:pt x="202" y="128"/>
                </a:cubicBezTo>
                <a:cubicBezTo>
                  <a:pt x="202" y="122"/>
                  <a:pt x="198" y="117"/>
                  <a:pt x="192" y="117"/>
                </a:cubicBezTo>
                <a:cubicBezTo>
                  <a:pt x="186" y="117"/>
                  <a:pt x="181" y="122"/>
                  <a:pt x="181" y="128"/>
                </a:cubicBezTo>
                <a:cubicBezTo>
                  <a:pt x="181" y="134"/>
                  <a:pt x="186" y="138"/>
                  <a:pt x="19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128"/>
                </a:moveTo>
                <a:cubicBezTo>
                  <a:pt x="288" y="145"/>
                  <a:pt x="302" y="160"/>
                  <a:pt x="320" y="160"/>
                </a:cubicBezTo>
                <a:cubicBezTo>
                  <a:pt x="337" y="160"/>
                  <a:pt x="352" y="145"/>
                  <a:pt x="352" y="128"/>
                </a:cubicBezTo>
                <a:cubicBezTo>
                  <a:pt x="352" y="110"/>
                  <a:pt x="337" y="96"/>
                  <a:pt x="320" y="96"/>
                </a:cubicBezTo>
                <a:cubicBezTo>
                  <a:pt x="302" y="96"/>
                  <a:pt x="288" y="110"/>
                  <a:pt x="288" y="128"/>
                </a:cubicBezTo>
                <a:close/>
                <a:moveTo>
                  <a:pt x="160" y="128"/>
                </a:moveTo>
                <a:cubicBezTo>
                  <a:pt x="160" y="145"/>
                  <a:pt x="174" y="160"/>
                  <a:pt x="192" y="160"/>
                </a:cubicBezTo>
                <a:cubicBezTo>
                  <a:pt x="209" y="160"/>
                  <a:pt x="224" y="145"/>
                  <a:pt x="224" y="128"/>
                </a:cubicBezTo>
                <a:cubicBezTo>
                  <a:pt x="224" y="110"/>
                  <a:pt x="209" y="96"/>
                  <a:pt x="192" y="96"/>
                </a:cubicBezTo>
                <a:cubicBezTo>
                  <a:pt x="174" y="96"/>
                  <a:pt x="160" y="110"/>
                  <a:pt x="160" y="128"/>
                </a:cubicBezTo>
                <a:close/>
                <a:moveTo>
                  <a:pt x="405" y="256"/>
                </a:moveTo>
                <a:cubicBezTo>
                  <a:pt x="405" y="250"/>
                  <a:pt x="400" y="245"/>
                  <a:pt x="394" y="245"/>
                </a:cubicBezTo>
                <a:cubicBezTo>
                  <a:pt x="373" y="245"/>
                  <a:pt x="373" y="245"/>
                  <a:pt x="373" y="245"/>
                </a:cubicBezTo>
                <a:cubicBezTo>
                  <a:pt x="373" y="192"/>
                  <a:pt x="373" y="192"/>
                  <a:pt x="373" y="192"/>
                </a:cubicBezTo>
                <a:cubicBezTo>
                  <a:pt x="373" y="186"/>
                  <a:pt x="368" y="181"/>
                  <a:pt x="362" y="181"/>
                </a:cubicBezTo>
                <a:cubicBezTo>
                  <a:pt x="277" y="181"/>
                  <a:pt x="277" y="181"/>
                  <a:pt x="277" y="181"/>
                </a:cubicBezTo>
                <a:cubicBezTo>
                  <a:pt x="271" y="181"/>
                  <a:pt x="266" y="186"/>
                  <a:pt x="266" y="192"/>
                </a:cubicBezTo>
                <a:cubicBezTo>
                  <a:pt x="266" y="245"/>
                  <a:pt x="266" y="245"/>
                  <a:pt x="266" y="245"/>
                </a:cubicBezTo>
                <a:cubicBezTo>
                  <a:pt x="245" y="245"/>
                  <a:pt x="245" y="245"/>
                  <a:pt x="245" y="245"/>
                </a:cubicBezTo>
                <a:cubicBezTo>
                  <a:pt x="245" y="192"/>
                  <a:pt x="245" y="192"/>
                  <a:pt x="245" y="192"/>
                </a:cubicBezTo>
                <a:cubicBezTo>
                  <a:pt x="245" y="186"/>
                  <a:pt x="240" y="181"/>
                  <a:pt x="234" y="181"/>
                </a:cubicBezTo>
                <a:cubicBezTo>
                  <a:pt x="149" y="181"/>
                  <a:pt x="149" y="181"/>
                  <a:pt x="149" y="181"/>
                </a:cubicBezTo>
                <a:cubicBezTo>
                  <a:pt x="143" y="181"/>
                  <a:pt x="138" y="186"/>
                  <a:pt x="138" y="192"/>
                </a:cubicBezTo>
                <a:cubicBezTo>
                  <a:pt x="138" y="245"/>
                  <a:pt x="138" y="245"/>
                  <a:pt x="138" y="245"/>
                </a:cubicBezTo>
                <a:cubicBezTo>
                  <a:pt x="117" y="245"/>
                  <a:pt x="117" y="245"/>
                  <a:pt x="117" y="245"/>
                </a:cubicBezTo>
                <a:cubicBezTo>
                  <a:pt x="111" y="245"/>
                  <a:pt x="106" y="250"/>
                  <a:pt x="106" y="256"/>
                </a:cubicBezTo>
                <a:cubicBezTo>
                  <a:pt x="106" y="262"/>
                  <a:pt x="112" y="266"/>
                  <a:pt x="117" y="266"/>
                </a:cubicBezTo>
                <a:cubicBezTo>
                  <a:pt x="117" y="384"/>
                  <a:pt x="117" y="384"/>
                  <a:pt x="117" y="384"/>
                </a:cubicBezTo>
                <a:cubicBezTo>
                  <a:pt x="117" y="390"/>
                  <a:pt x="122" y="394"/>
                  <a:pt x="128" y="394"/>
                </a:cubicBezTo>
                <a:cubicBezTo>
                  <a:pt x="384" y="394"/>
                  <a:pt x="384" y="394"/>
                  <a:pt x="384" y="394"/>
                </a:cubicBezTo>
                <a:cubicBezTo>
                  <a:pt x="390" y="394"/>
                  <a:pt x="394" y="390"/>
                  <a:pt x="394" y="384"/>
                </a:cubicBezTo>
                <a:cubicBezTo>
                  <a:pt x="394" y="266"/>
                  <a:pt x="394" y="266"/>
                  <a:pt x="394" y="266"/>
                </a:cubicBezTo>
                <a:cubicBezTo>
                  <a:pt x="400" y="266"/>
                  <a:pt x="405" y="262"/>
                  <a:pt x="405" y="256"/>
                </a:cubicBezTo>
                <a:close/>
                <a:moveTo>
                  <a:pt x="138" y="373"/>
                </a:moveTo>
                <a:cubicBezTo>
                  <a:pt x="373" y="373"/>
                  <a:pt x="373" y="373"/>
                  <a:pt x="373" y="373"/>
                </a:cubicBezTo>
                <a:cubicBezTo>
                  <a:pt x="373" y="266"/>
                  <a:pt x="373" y="266"/>
                  <a:pt x="373" y="266"/>
                </a:cubicBezTo>
                <a:cubicBezTo>
                  <a:pt x="138" y="266"/>
                  <a:pt x="138" y="266"/>
                  <a:pt x="138" y="266"/>
                </a:cubicBezTo>
                <a:lnTo>
                  <a:pt x="138" y="37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3" name="Group 816">
            <a:extLst>
              <a:ext uri="{FF2B5EF4-FFF2-40B4-BE49-F238E27FC236}">
                <a16:creationId xmlns:a16="http://schemas.microsoft.com/office/drawing/2014/main" id="{9ADEA108-E888-4165-9158-4CB8788C87B6}"/>
              </a:ext>
            </a:extLst>
          </p:cNvPr>
          <p:cNvGrpSpPr>
            <a:grpSpLocks noChangeAspect="1"/>
          </p:cNvGrpSpPr>
          <p:nvPr/>
        </p:nvGrpSpPr>
        <p:grpSpPr bwMode="auto">
          <a:xfrm>
            <a:off x="2666491" y="2531576"/>
            <a:ext cx="367041" cy="367041"/>
            <a:chOff x="4518" y="3391"/>
            <a:chExt cx="340" cy="340"/>
          </a:xfrm>
          <a:solidFill>
            <a:schemeClr val="accent3"/>
          </a:solidFill>
        </p:grpSpPr>
        <p:sp>
          <p:nvSpPr>
            <p:cNvPr id="454" name="Freeform 817">
              <a:extLst>
                <a:ext uri="{FF2B5EF4-FFF2-40B4-BE49-F238E27FC236}">
                  <a16:creationId xmlns:a16="http://schemas.microsoft.com/office/drawing/2014/main" id="{10EB7F48-75EF-4140-8D1C-D4843868FFAD}"/>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5" name="Freeform 818">
              <a:extLst>
                <a:ext uri="{FF2B5EF4-FFF2-40B4-BE49-F238E27FC236}">
                  <a16:creationId xmlns:a16="http://schemas.microsoft.com/office/drawing/2014/main" id="{B1414C9C-6007-48E0-9247-4744C914C0C5}"/>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6" name="Group 656">
            <a:extLst>
              <a:ext uri="{FF2B5EF4-FFF2-40B4-BE49-F238E27FC236}">
                <a16:creationId xmlns:a16="http://schemas.microsoft.com/office/drawing/2014/main" id="{A0C6EE2C-28C8-48E3-8FC1-CD6A86BD6FC7}"/>
              </a:ext>
            </a:extLst>
          </p:cNvPr>
          <p:cNvGrpSpPr>
            <a:grpSpLocks noChangeAspect="1"/>
          </p:cNvGrpSpPr>
          <p:nvPr/>
        </p:nvGrpSpPr>
        <p:grpSpPr bwMode="auto">
          <a:xfrm>
            <a:off x="3532391" y="2531576"/>
            <a:ext cx="369021" cy="370106"/>
            <a:chOff x="389" y="2339"/>
            <a:chExt cx="340" cy="341"/>
          </a:xfrm>
          <a:solidFill>
            <a:schemeClr val="accent1"/>
          </a:solidFill>
        </p:grpSpPr>
        <p:sp>
          <p:nvSpPr>
            <p:cNvPr id="457" name="Freeform 657">
              <a:extLst>
                <a:ext uri="{FF2B5EF4-FFF2-40B4-BE49-F238E27FC236}">
                  <a16:creationId xmlns:a16="http://schemas.microsoft.com/office/drawing/2014/main" id="{99EFC638-FA88-4A65-933F-C83BD6DF5920}"/>
                </a:ext>
              </a:extLst>
            </p:cNvPr>
            <p:cNvSpPr>
              <a:spLocks noEditPoints="1"/>
            </p:cNvSpPr>
            <p:nvPr/>
          </p:nvSpPr>
          <p:spPr bwMode="auto">
            <a:xfrm>
              <a:off x="481"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8" name="Freeform 658">
              <a:extLst>
                <a:ext uri="{FF2B5EF4-FFF2-40B4-BE49-F238E27FC236}">
                  <a16:creationId xmlns:a16="http://schemas.microsoft.com/office/drawing/2014/main" id="{8CB65869-B78B-4DD2-B176-8C43FBFD24BA}"/>
                </a:ext>
              </a:extLst>
            </p:cNvPr>
            <p:cNvSpPr>
              <a:spLocks noEditPoints="1"/>
            </p:cNvSpPr>
            <p:nvPr/>
          </p:nvSpPr>
          <p:spPr bwMode="auto">
            <a:xfrm>
              <a:off x="566"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9" name="Freeform 659">
              <a:extLst>
                <a:ext uri="{FF2B5EF4-FFF2-40B4-BE49-F238E27FC236}">
                  <a16:creationId xmlns:a16="http://schemas.microsoft.com/office/drawing/2014/main" id="{0A5D20C7-EF52-4F8E-AEC7-D82C2282E039}"/>
                </a:ext>
              </a:extLst>
            </p:cNvPr>
            <p:cNvSpPr>
              <a:spLocks noEditPoints="1"/>
            </p:cNvSpPr>
            <p:nvPr/>
          </p:nvSpPr>
          <p:spPr bwMode="auto">
            <a:xfrm>
              <a:off x="389" y="233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0" name="Freeform 663">
            <a:extLst>
              <a:ext uri="{FF2B5EF4-FFF2-40B4-BE49-F238E27FC236}">
                <a16:creationId xmlns:a16="http://schemas.microsoft.com/office/drawing/2014/main" id="{DE2CFA5F-90D4-4F1A-AD1A-F47E96CF9A3F}"/>
              </a:ext>
            </a:extLst>
          </p:cNvPr>
          <p:cNvSpPr>
            <a:spLocks noChangeAspect="1" noEditPoints="1"/>
          </p:cNvSpPr>
          <p:nvPr/>
        </p:nvSpPr>
        <p:spPr bwMode="auto">
          <a:xfrm>
            <a:off x="3098451" y="2531576"/>
            <a:ext cx="369021" cy="3690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1" name="Freeform 575">
            <a:extLst>
              <a:ext uri="{FF2B5EF4-FFF2-40B4-BE49-F238E27FC236}">
                <a16:creationId xmlns:a16="http://schemas.microsoft.com/office/drawing/2014/main" id="{982A6EC4-923A-48F7-ABD7-6143A25ADC24}"/>
              </a:ext>
            </a:extLst>
          </p:cNvPr>
          <p:cNvSpPr>
            <a:spLocks noChangeAspect="1" noEditPoints="1"/>
          </p:cNvSpPr>
          <p:nvPr/>
        </p:nvSpPr>
        <p:spPr bwMode="auto">
          <a:xfrm>
            <a:off x="7447684" y="1700213"/>
            <a:ext cx="36812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62 h 512"/>
              <a:gd name="T12" fmla="*/ 320 w 512"/>
              <a:gd name="T13" fmla="*/ 384 h 512"/>
              <a:gd name="T14" fmla="*/ 224 w 512"/>
              <a:gd name="T15" fmla="*/ 384 h 512"/>
              <a:gd name="T16" fmla="*/ 191 w 512"/>
              <a:gd name="T17" fmla="*/ 373 h 512"/>
              <a:gd name="T18" fmla="*/ 106 w 512"/>
              <a:gd name="T19" fmla="*/ 373 h 512"/>
              <a:gd name="T20" fmla="*/ 96 w 512"/>
              <a:gd name="T21" fmla="*/ 362 h 512"/>
              <a:gd name="T22" fmla="*/ 96 w 512"/>
              <a:gd name="T23" fmla="*/ 245 h 512"/>
              <a:gd name="T24" fmla="*/ 106 w 512"/>
              <a:gd name="T25" fmla="*/ 234 h 512"/>
              <a:gd name="T26" fmla="*/ 175 w 512"/>
              <a:gd name="T27" fmla="*/ 234 h 512"/>
              <a:gd name="T28" fmla="*/ 184 w 512"/>
              <a:gd name="T29" fmla="*/ 220 h 512"/>
              <a:gd name="T30" fmla="*/ 185 w 512"/>
              <a:gd name="T31" fmla="*/ 218 h 512"/>
              <a:gd name="T32" fmla="*/ 280 w 512"/>
              <a:gd name="T33" fmla="*/ 110 h 512"/>
              <a:gd name="T34" fmla="*/ 287 w 512"/>
              <a:gd name="T35" fmla="*/ 106 h 512"/>
              <a:gd name="T36" fmla="*/ 295 w 512"/>
              <a:gd name="T37" fmla="*/ 109 h 512"/>
              <a:gd name="T38" fmla="*/ 309 w 512"/>
              <a:gd name="T39" fmla="*/ 152 h 512"/>
              <a:gd name="T40" fmla="*/ 292 w 512"/>
              <a:gd name="T41" fmla="*/ 202 h 512"/>
              <a:gd name="T42" fmla="*/ 330 w 512"/>
              <a:gd name="T43" fmla="*/ 202 h 512"/>
              <a:gd name="T44" fmla="*/ 394 w 512"/>
              <a:gd name="T45" fmla="*/ 266 h 512"/>
              <a:gd name="T46" fmla="*/ 370 w 512"/>
              <a:gd name="T47" fmla="*/ 362 h 512"/>
              <a:gd name="T48" fmla="*/ 170 w 512"/>
              <a:gd name="T49" fmla="*/ 330 h 512"/>
              <a:gd name="T50" fmla="*/ 174 w 512"/>
              <a:gd name="T51" fmla="*/ 352 h 512"/>
              <a:gd name="T52" fmla="*/ 117 w 512"/>
              <a:gd name="T53" fmla="*/ 352 h 512"/>
              <a:gd name="T54" fmla="*/ 117 w 512"/>
              <a:gd name="T55" fmla="*/ 256 h 512"/>
              <a:gd name="T56" fmla="*/ 170 w 512"/>
              <a:gd name="T57" fmla="*/ 256 h 512"/>
              <a:gd name="T58" fmla="*/ 170 w 512"/>
              <a:gd name="T59" fmla="*/ 256 h 512"/>
              <a:gd name="T60" fmla="*/ 170 w 512"/>
              <a:gd name="T61" fmla="*/ 330 h 512"/>
              <a:gd name="T62" fmla="*/ 373 w 512"/>
              <a:gd name="T63" fmla="*/ 267 h 512"/>
              <a:gd name="T64" fmla="*/ 354 w 512"/>
              <a:gd name="T65" fmla="*/ 348 h 512"/>
              <a:gd name="T66" fmla="*/ 320 w 512"/>
              <a:gd name="T67" fmla="*/ 362 h 512"/>
              <a:gd name="T68" fmla="*/ 224 w 512"/>
              <a:gd name="T69" fmla="*/ 362 h 512"/>
              <a:gd name="T70" fmla="*/ 192 w 512"/>
              <a:gd name="T71" fmla="*/ 330 h 512"/>
              <a:gd name="T72" fmla="*/ 192 w 512"/>
              <a:gd name="T73" fmla="*/ 256 h 512"/>
              <a:gd name="T74" fmla="*/ 200 w 512"/>
              <a:gd name="T75" fmla="*/ 233 h 512"/>
              <a:gd name="T76" fmla="*/ 201 w 512"/>
              <a:gd name="T77" fmla="*/ 233 h 512"/>
              <a:gd name="T78" fmla="*/ 287 w 512"/>
              <a:gd name="T79" fmla="*/ 134 h 512"/>
              <a:gd name="T80" fmla="*/ 288 w 512"/>
              <a:gd name="T81" fmla="*/ 146 h 512"/>
              <a:gd name="T82" fmla="*/ 267 w 512"/>
              <a:gd name="T83" fmla="*/ 210 h 512"/>
              <a:gd name="T84" fmla="*/ 267 w 512"/>
              <a:gd name="T85" fmla="*/ 210 h 512"/>
              <a:gd name="T86" fmla="*/ 266 w 512"/>
              <a:gd name="T87" fmla="*/ 213 h 512"/>
              <a:gd name="T88" fmla="*/ 277 w 512"/>
              <a:gd name="T89" fmla="*/ 224 h 512"/>
              <a:gd name="T90" fmla="*/ 330 w 512"/>
              <a:gd name="T91" fmla="*/ 224 h 512"/>
              <a:gd name="T92" fmla="*/ 373 w 512"/>
              <a:gd name="T93" fmla="*/ 2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62"/>
                </a:moveTo>
                <a:cubicBezTo>
                  <a:pt x="357" y="377"/>
                  <a:pt x="340" y="384"/>
                  <a:pt x="320" y="384"/>
                </a:cubicBezTo>
                <a:cubicBezTo>
                  <a:pt x="224" y="384"/>
                  <a:pt x="224" y="384"/>
                  <a:pt x="224" y="384"/>
                </a:cubicBezTo>
                <a:cubicBezTo>
                  <a:pt x="211" y="384"/>
                  <a:pt x="200" y="380"/>
                  <a:pt x="191" y="373"/>
                </a:cubicBezTo>
                <a:cubicBezTo>
                  <a:pt x="106" y="373"/>
                  <a:pt x="106" y="373"/>
                  <a:pt x="106" y="373"/>
                </a:cubicBezTo>
                <a:cubicBezTo>
                  <a:pt x="100" y="373"/>
                  <a:pt x="96" y="368"/>
                  <a:pt x="96" y="362"/>
                </a:cubicBezTo>
                <a:cubicBezTo>
                  <a:pt x="96" y="245"/>
                  <a:pt x="96" y="245"/>
                  <a:pt x="96" y="245"/>
                </a:cubicBezTo>
                <a:cubicBezTo>
                  <a:pt x="96" y="239"/>
                  <a:pt x="100" y="234"/>
                  <a:pt x="106" y="234"/>
                </a:cubicBezTo>
                <a:cubicBezTo>
                  <a:pt x="175" y="234"/>
                  <a:pt x="175" y="234"/>
                  <a:pt x="175" y="234"/>
                </a:cubicBezTo>
                <a:cubicBezTo>
                  <a:pt x="177" y="229"/>
                  <a:pt x="180" y="224"/>
                  <a:pt x="184" y="220"/>
                </a:cubicBezTo>
                <a:cubicBezTo>
                  <a:pt x="185" y="218"/>
                  <a:pt x="185" y="218"/>
                  <a:pt x="185" y="218"/>
                </a:cubicBezTo>
                <a:cubicBezTo>
                  <a:pt x="280" y="110"/>
                  <a:pt x="280" y="110"/>
                  <a:pt x="280" y="110"/>
                </a:cubicBezTo>
                <a:cubicBezTo>
                  <a:pt x="282" y="108"/>
                  <a:pt x="284" y="106"/>
                  <a:pt x="287" y="106"/>
                </a:cubicBezTo>
                <a:cubicBezTo>
                  <a:pt x="290" y="106"/>
                  <a:pt x="293" y="107"/>
                  <a:pt x="295" y="109"/>
                </a:cubicBezTo>
                <a:cubicBezTo>
                  <a:pt x="296" y="110"/>
                  <a:pt x="315" y="129"/>
                  <a:pt x="309" y="152"/>
                </a:cubicBezTo>
                <a:cubicBezTo>
                  <a:pt x="292" y="202"/>
                  <a:pt x="292" y="202"/>
                  <a:pt x="292" y="202"/>
                </a:cubicBezTo>
                <a:cubicBezTo>
                  <a:pt x="330" y="202"/>
                  <a:pt x="330" y="202"/>
                  <a:pt x="330" y="202"/>
                </a:cubicBezTo>
                <a:cubicBezTo>
                  <a:pt x="361" y="202"/>
                  <a:pt x="394" y="235"/>
                  <a:pt x="394" y="266"/>
                </a:cubicBezTo>
                <a:cubicBezTo>
                  <a:pt x="395" y="268"/>
                  <a:pt x="400" y="329"/>
                  <a:pt x="370" y="362"/>
                </a:cubicBezTo>
                <a:close/>
                <a:moveTo>
                  <a:pt x="170" y="330"/>
                </a:moveTo>
                <a:cubicBezTo>
                  <a:pt x="170" y="338"/>
                  <a:pt x="172" y="345"/>
                  <a:pt x="174" y="352"/>
                </a:cubicBezTo>
                <a:cubicBezTo>
                  <a:pt x="117" y="352"/>
                  <a:pt x="117" y="352"/>
                  <a:pt x="117" y="352"/>
                </a:cubicBezTo>
                <a:cubicBezTo>
                  <a:pt x="117" y="256"/>
                  <a:pt x="117" y="256"/>
                  <a:pt x="117" y="256"/>
                </a:cubicBezTo>
                <a:cubicBezTo>
                  <a:pt x="170" y="256"/>
                  <a:pt x="170" y="256"/>
                  <a:pt x="170" y="256"/>
                </a:cubicBezTo>
                <a:cubicBezTo>
                  <a:pt x="170" y="256"/>
                  <a:pt x="170" y="256"/>
                  <a:pt x="170" y="256"/>
                </a:cubicBezTo>
                <a:lnTo>
                  <a:pt x="170" y="330"/>
                </a:lnTo>
                <a:close/>
                <a:moveTo>
                  <a:pt x="373" y="267"/>
                </a:moveTo>
                <a:cubicBezTo>
                  <a:pt x="373" y="268"/>
                  <a:pt x="378" y="322"/>
                  <a:pt x="354" y="348"/>
                </a:cubicBezTo>
                <a:cubicBezTo>
                  <a:pt x="346" y="358"/>
                  <a:pt x="334" y="362"/>
                  <a:pt x="320" y="362"/>
                </a:cubicBezTo>
                <a:cubicBezTo>
                  <a:pt x="224" y="362"/>
                  <a:pt x="224" y="362"/>
                  <a:pt x="224" y="362"/>
                </a:cubicBezTo>
                <a:cubicBezTo>
                  <a:pt x="205" y="362"/>
                  <a:pt x="192" y="349"/>
                  <a:pt x="192" y="330"/>
                </a:cubicBezTo>
                <a:cubicBezTo>
                  <a:pt x="192" y="256"/>
                  <a:pt x="192" y="256"/>
                  <a:pt x="192" y="256"/>
                </a:cubicBezTo>
                <a:cubicBezTo>
                  <a:pt x="192" y="248"/>
                  <a:pt x="195" y="240"/>
                  <a:pt x="200" y="233"/>
                </a:cubicBezTo>
                <a:cubicBezTo>
                  <a:pt x="201" y="233"/>
                  <a:pt x="201" y="233"/>
                  <a:pt x="201" y="233"/>
                </a:cubicBezTo>
                <a:cubicBezTo>
                  <a:pt x="287" y="134"/>
                  <a:pt x="287" y="134"/>
                  <a:pt x="287" y="134"/>
                </a:cubicBezTo>
                <a:cubicBezTo>
                  <a:pt x="288" y="138"/>
                  <a:pt x="289" y="142"/>
                  <a:pt x="288" y="146"/>
                </a:cubicBezTo>
                <a:cubicBezTo>
                  <a:pt x="267" y="210"/>
                  <a:pt x="267" y="210"/>
                  <a:pt x="267" y="210"/>
                </a:cubicBezTo>
                <a:cubicBezTo>
                  <a:pt x="267" y="210"/>
                  <a:pt x="267" y="210"/>
                  <a:pt x="267" y="210"/>
                </a:cubicBezTo>
                <a:cubicBezTo>
                  <a:pt x="267" y="211"/>
                  <a:pt x="266" y="212"/>
                  <a:pt x="266" y="213"/>
                </a:cubicBezTo>
                <a:cubicBezTo>
                  <a:pt x="266" y="219"/>
                  <a:pt x="271" y="224"/>
                  <a:pt x="277" y="224"/>
                </a:cubicBezTo>
                <a:cubicBezTo>
                  <a:pt x="330" y="224"/>
                  <a:pt x="330" y="224"/>
                  <a:pt x="330" y="224"/>
                </a:cubicBezTo>
                <a:cubicBezTo>
                  <a:pt x="349" y="224"/>
                  <a:pt x="373" y="247"/>
                  <a:pt x="373" y="2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2" name="Group 578">
            <a:extLst>
              <a:ext uri="{FF2B5EF4-FFF2-40B4-BE49-F238E27FC236}">
                <a16:creationId xmlns:a16="http://schemas.microsoft.com/office/drawing/2014/main" id="{01D73422-AA31-40B4-9EC4-1FBABBA6C3F7}"/>
              </a:ext>
            </a:extLst>
          </p:cNvPr>
          <p:cNvGrpSpPr>
            <a:grpSpLocks noChangeAspect="1"/>
          </p:cNvGrpSpPr>
          <p:nvPr/>
        </p:nvGrpSpPr>
        <p:grpSpPr bwMode="auto">
          <a:xfrm>
            <a:off x="7881431" y="1700213"/>
            <a:ext cx="367041" cy="367041"/>
            <a:chOff x="1932" y="2478"/>
            <a:chExt cx="340" cy="340"/>
          </a:xfrm>
          <a:solidFill>
            <a:schemeClr val="accent1"/>
          </a:solidFill>
        </p:grpSpPr>
        <p:sp>
          <p:nvSpPr>
            <p:cNvPr id="463" name="Freeform 579">
              <a:extLst>
                <a:ext uri="{FF2B5EF4-FFF2-40B4-BE49-F238E27FC236}">
                  <a16:creationId xmlns:a16="http://schemas.microsoft.com/office/drawing/2014/main" id="{BF7B7B39-EEDE-4B06-BD80-5F1DA66C8E37}"/>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580">
              <a:extLst>
                <a:ext uri="{FF2B5EF4-FFF2-40B4-BE49-F238E27FC236}">
                  <a16:creationId xmlns:a16="http://schemas.microsoft.com/office/drawing/2014/main" id="{6EBEED3B-7E54-490A-A0CC-9767457C6CC2}"/>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5" name="Freeform 893">
            <a:extLst>
              <a:ext uri="{FF2B5EF4-FFF2-40B4-BE49-F238E27FC236}">
                <a16:creationId xmlns:a16="http://schemas.microsoft.com/office/drawing/2014/main" id="{41B1ACDC-1D36-4DA2-ACB6-57E10E5DA1D0}"/>
              </a:ext>
            </a:extLst>
          </p:cNvPr>
          <p:cNvSpPr>
            <a:spLocks noChangeAspect="1" noEditPoints="1"/>
          </p:cNvSpPr>
          <p:nvPr/>
        </p:nvSpPr>
        <p:spPr bwMode="auto">
          <a:xfrm>
            <a:off x="6586079" y="2531576"/>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05 w 512"/>
              <a:gd name="T13" fmla="*/ 373 h 512"/>
              <a:gd name="T14" fmla="*/ 106 w 512"/>
              <a:gd name="T15" fmla="*/ 373 h 512"/>
              <a:gd name="T16" fmla="*/ 96 w 512"/>
              <a:gd name="T17" fmla="*/ 362 h 512"/>
              <a:gd name="T18" fmla="*/ 96 w 512"/>
              <a:gd name="T19" fmla="*/ 149 h 512"/>
              <a:gd name="T20" fmla="*/ 106 w 512"/>
              <a:gd name="T21" fmla="*/ 138 h 512"/>
              <a:gd name="T22" fmla="*/ 192 w 512"/>
              <a:gd name="T23" fmla="*/ 138 h 512"/>
              <a:gd name="T24" fmla="*/ 201 w 512"/>
              <a:gd name="T25" fmla="*/ 143 h 512"/>
              <a:gd name="T26" fmla="*/ 219 w 512"/>
              <a:gd name="T27" fmla="*/ 170 h 512"/>
              <a:gd name="T28" fmla="*/ 405 w 512"/>
              <a:gd name="T29" fmla="*/ 170 h 512"/>
              <a:gd name="T30" fmla="*/ 416 w 512"/>
              <a:gd name="T31" fmla="*/ 181 h 512"/>
              <a:gd name="T32" fmla="*/ 416 w 512"/>
              <a:gd name="T33" fmla="*/ 362 h 512"/>
              <a:gd name="T34" fmla="*/ 213 w 512"/>
              <a:gd name="T35" fmla="*/ 192 h 512"/>
              <a:gd name="T36" fmla="*/ 394 w 512"/>
              <a:gd name="T37" fmla="*/ 192 h 512"/>
              <a:gd name="T38" fmla="*/ 394 w 512"/>
              <a:gd name="T39" fmla="*/ 352 h 512"/>
              <a:gd name="T40" fmla="*/ 117 w 512"/>
              <a:gd name="T41" fmla="*/ 352 h 512"/>
              <a:gd name="T42" fmla="*/ 117 w 512"/>
              <a:gd name="T43" fmla="*/ 160 h 512"/>
              <a:gd name="T44" fmla="*/ 186 w 512"/>
              <a:gd name="T45" fmla="*/ 160 h 512"/>
              <a:gd name="T46" fmla="*/ 204 w 512"/>
              <a:gd name="T47" fmla="*/ 187 h 512"/>
              <a:gd name="T48" fmla="*/ 213 w 512"/>
              <a:gd name="T4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192" y="138"/>
                  <a:pt x="192" y="138"/>
                  <a:pt x="192" y="138"/>
                </a:cubicBezTo>
                <a:cubicBezTo>
                  <a:pt x="195" y="138"/>
                  <a:pt x="199" y="140"/>
                  <a:pt x="201" y="143"/>
                </a:cubicBezTo>
                <a:cubicBezTo>
                  <a:pt x="219" y="170"/>
                  <a:pt x="219" y="170"/>
                  <a:pt x="219" y="170"/>
                </a:cubicBezTo>
                <a:cubicBezTo>
                  <a:pt x="405" y="170"/>
                  <a:pt x="405" y="170"/>
                  <a:pt x="405" y="170"/>
                </a:cubicBezTo>
                <a:cubicBezTo>
                  <a:pt x="411" y="170"/>
                  <a:pt x="416" y="175"/>
                  <a:pt x="416" y="181"/>
                </a:cubicBezTo>
                <a:lnTo>
                  <a:pt x="416" y="362"/>
                </a:lnTo>
                <a:close/>
                <a:moveTo>
                  <a:pt x="213" y="192"/>
                </a:moveTo>
                <a:cubicBezTo>
                  <a:pt x="394" y="192"/>
                  <a:pt x="394" y="192"/>
                  <a:pt x="394" y="192"/>
                </a:cubicBezTo>
                <a:cubicBezTo>
                  <a:pt x="394" y="352"/>
                  <a:pt x="394" y="352"/>
                  <a:pt x="394" y="352"/>
                </a:cubicBezTo>
                <a:cubicBezTo>
                  <a:pt x="117" y="352"/>
                  <a:pt x="117" y="352"/>
                  <a:pt x="117" y="352"/>
                </a:cubicBezTo>
                <a:cubicBezTo>
                  <a:pt x="117" y="160"/>
                  <a:pt x="117" y="160"/>
                  <a:pt x="117" y="160"/>
                </a:cubicBezTo>
                <a:cubicBezTo>
                  <a:pt x="186" y="160"/>
                  <a:pt x="186" y="160"/>
                  <a:pt x="186" y="160"/>
                </a:cubicBezTo>
                <a:cubicBezTo>
                  <a:pt x="204" y="187"/>
                  <a:pt x="204" y="187"/>
                  <a:pt x="204" y="187"/>
                </a:cubicBezTo>
                <a:cubicBezTo>
                  <a:pt x="206" y="190"/>
                  <a:pt x="209" y="192"/>
                  <a:pt x="213" y="19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6" name="Group 908">
            <a:extLst>
              <a:ext uri="{FF2B5EF4-FFF2-40B4-BE49-F238E27FC236}">
                <a16:creationId xmlns:a16="http://schemas.microsoft.com/office/drawing/2014/main" id="{2E8067AE-ABE2-46C5-8F17-5D32AD6AA71C}"/>
              </a:ext>
            </a:extLst>
          </p:cNvPr>
          <p:cNvGrpSpPr>
            <a:grpSpLocks noChangeAspect="1"/>
          </p:cNvGrpSpPr>
          <p:nvPr/>
        </p:nvGrpSpPr>
        <p:grpSpPr bwMode="auto">
          <a:xfrm>
            <a:off x="7018629" y="2531576"/>
            <a:ext cx="367631" cy="367631"/>
            <a:chOff x="1142" y="3585"/>
            <a:chExt cx="340" cy="340"/>
          </a:xfrm>
          <a:solidFill>
            <a:schemeClr val="accent4"/>
          </a:solidFill>
        </p:grpSpPr>
        <p:sp>
          <p:nvSpPr>
            <p:cNvPr id="467" name="Freeform 909">
              <a:extLst>
                <a:ext uri="{FF2B5EF4-FFF2-40B4-BE49-F238E27FC236}">
                  <a16:creationId xmlns:a16="http://schemas.microsoft.com/office/drawing/2014/main" id="{784D1B4F-39AA-427B-AAE9-DBD060CE89A5}"/>
                </a:ext>
              </a:extLst>
            </p:cNvPr>
            <p:cNvSpPr>
              <a:spLocks noEditPoints="1"/>
            </p:cNvSpPr>
            <p:nvPr/>
          </p:nvSpPr>
          <p:spPr bwMode="auto">
            <a:xfrm>
              <a:off x="1206" y="3677"/>
              <a:ext cx="212" cy="156"/>
            </a:xfrm>
            <a:custGeom>
              <a:avLst/>
              <a:gdLst>
                <a:gd name="T0" fmla="*/ 309 w 320"/>
                <a:gd name="T1" fmla="*/ 235 h 235"/>
                <a:gd name="T2" fmla="*/ 10 w 320"/>
                <a:gd name="T3" fmla="*/ 235 h 235"/>
                <a:gd name="T4" fmla="*/ 0 w 320"/>
                <a:gd name="T5" fmla="*/ 224 h 235"/>
                <a:gd name="T6" fmla="*/ 0 w 320"/>
                <a:gd name="T7" fmla="*/ 11 h 235"/>
                <a:gd name="T8" fmla="*/ 10 w 320"/>
                <a:gd name="T9" fmla="*/ 0 h 235"/>
                <a:gd name="T10" fmla="*/ 96 w 320"/>
                <a:gd name="T11" fmla="*/ 0 h 235"/>
                <a:gd name="T12" fmla="*/ 105 w 320"/>
                <a:gd name="T13" fmla="*/ 5 h 235"/>
                <a:gd name="T14" fmla="*/ 123 w 320"/>
                <a:gd name="T15" fmla="*/ 32 h 235"/>
                <a:gd name="T16" fmla="*/ 309 w 320"/>
                <a:gd name="T17" fmla="*/ 32 h 235"/>
                <a:gd name="T18" fmla="*/ 320 w 320"/>
                <a:gd name="T19" fmla="*/ 43 h 235"/>
                <a:gd name="T20" fmla="*/ 320 w 320"/>
                <a:gd name="T21" fmla="*/ 224 h 235"/>
                <a:gd name="T22" fmla="*/ 309 w 320"/>
                <a:gd name="T23" fmla="*/ 235 h 235"/>
                <a:gd name="T24" fmla="*/ 21 w 320"/>
                <a:gd name="T25" fmla="*/ 214 h 235"/>
                <a:gd name="T26" fmla="*/ 298 w 320"/>
                <a:gd name="T27" fmla="*/ 214 h 235"/>
                <a:gd name="T28" fmla="*/ 298 w 320"/>
                <a:gd name="T29" fmla="*/ 54 h 235"/>
                <a:gd name="T30" fmla="*/ 117 w 320"/>
                <a:gd name="T31" fmla="*/ 54 h 235"/>
                <a:gd name="T32" fmla="*/ 108 w 320"/>
                <a:gd name="T33" fmla="*/ 49 h 235"/>
                <a:gd name="T34" fmla="*/ 90 w 320"/>
                <a:gd name="T35" fmla="*/ 22 h 235"/>
                <a:gd name="T36" fmla="*/ 21 w 320"/>
                <a:gd name="T37" fmla="*/ 22 h 235"/>
                <a:gd name="T38" fmla="*/ 21 w 320"/>
                <a:gd name="T3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235"/>
                  </a:moveTo>
                  <a:cubicBezTo>
                    <a:pt x="10" y="235"/>
                    <a:pt x="10" y="235"/>
                    <a:pt x="10" y="235"/>
                  </a:cubicBezTo>
                  <a:cubicBezTo>
                    <a:pt x="4" y="235"/>
                    <a:pt x="0" y="230"/>
                    <a:pt x="0" y="224"/>
                  </a:cubicBezTo>
                  <a:cubicBezTo>
                    <a:pt x="0" y="11"/>
                    <a:pt x="0" y="11"/>
                    <a:pt x="0" y="11"/>
                  </a:cubicBezTo>
                  <a:cubicBezTo>
                    <a:pt x="0" y="5"/>
                    <a:pt x="4" y="0"/>
                    <a:pt x="10" y="0"/>
                  </a:cubicBezTo>
                  <a:cubicBezTo>
                    <a:pt x="96" y="0"/>
                    <a:pt x="96" y="0"/>
                    <a:pt x="96" y="0"/>
                  </a:cubicBezTo>
                  <a:cubicBezTo>
                    <a:pt x="99" y="0"/>
                    <a:pt x="103" y="2"/>
                    <a:pt x="105" y="5"/>
                  </a:cubicBezTo>
                  <a:cubicBezTo>
                    <a:pt x="123" y="32"/>
                    <a:pt x="123" y="32"/>
                    <a:pt x="123" y="32"/>
                  </a:cubicBezTo>
                  <a:cubicBezTo>
                    <a:pt x="309" y="32"/>
                    <a:pt x="309" y="32"/>
                    <a:pt x="309" y="32"/>
                  </a:cubicBezTo>
                  <a:cubicBezTo>
                    <a:pt x="315" y="32"/>
                    <a:pt x="320" y="37"/>
                    <a:pt x="320" y="43"/>
                  </a:cubicBezTo>
                  <a:cubicBezTo>
                    <a:pt x="320" y="224"/>
                    <a:pt x="320" y="224"/>
                    <a:pt x="320" y="224"/>
                  </a:cubicBezTo>
                  <a:cubicBezTo>
                    <a:pt x="320" y="230"/>
                    <a:pt x="315" y="235"/>
                    <a:pt x="309" y="235"/>
                  </a:cubicBezTo>
                  <a:close/>
                  <a:moveTo>
                    <a:pt x="21" y="214"/>
                  </a:moveTo>
                  <a:cubicBezTo>
                    <a:pt x="298" y="214"/>
                    <a:pt x="298" y="214"/>
                    <a:pt x="298" y="214"/>
                  </a:cubicBezTo>
                  <a:cubicBezTo>
                    <a:pt x="298" y="54"/>
                    <a:pt x="298" y="54"/>
                    <a:pt x="298" y="54"/>
                  </a:cubicBezTo>
                  <a:cubicBezTo>
                    <a:pt x="117" y="54"/>
                    <a:pt x="117" y="54"/>
                    <a:pt x="117" y="54"/>
                  </a:cubicBezTo>
                  <a:cubicBezTo>
                    <a:pt x="113" y="54"/>
                    <a:pt x="110" y="52"/>
                    <a:pt x="108" y="49"/>
                  </a:cubicBezTo>
                  <a:cubicBezTo>
                    <a:pt x="90" y="22"/>
                    <a:pt x="90" y="22"/>
                    <a:pt x="90" y="22"/>
                  </a:cubicBezTo>
                  <a:cubicBezTo>
                    <a:pt x="21" y="22"/>
                    <a:pt x="21" y="22"/>
                    <a:pt x="21" y="22"/>
                  </a:cubicBezTo>
                  <a:lnTo>
                    <a:pt x="21"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8" name="Freeform 910">
              <a:extLst>
                <a:ext uri="{FF2B5EF4-FFF2-40B4-BE49-F238E27FC236}">
                  <a16:creationId xmlns:a16="http://schemas.microsoft.com/office/drawing/2014/main" id="{8C53A053-AB8A-4DDF-BDDB-5C8D9D14CBB6}"/>
                </a:ext>
              </a:extLst>
            </p:cNvPr>
            <p:cNvSpPr>
              <a:spLocks noEditPoints="1"/>
            </p:cNvSpPr>
            <p:nvPr/>
          </p:nvSpPr>
          <p:spPr bwMode="auto">
            <a:xfrm>
              <a:off x="1142" y="35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9" name="Freeform 737">
            <a:extLst>
              <a:ext uri="{FF2B5EF4-FFF2-40B4-BE49-F238E27FC236}">
                <a16:creationId xmlns:a16="http://schemas.microsoft.com/office/drawing/2014/main" id="{8ECB4B23-FCD5-4CDF-B7A9-D8A909BE638A}"/>
              </a:ext>
            </a:extLst>
          </p:cNvPr>
          <p:cNvSpPr>
            <a:spLocks noChangeAspect="1" noEditPoints="1"/>
          </p:cNvSpPr>
          <p:nvPr/>
        </p:nvSpPr>
        <p:spPr bwMode="auto">
          <a:xfrm>
            <a:off x="485942" y="1700213"/>
            <a:ext cx="367041" cy="3681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70" name="Group 740">
            <a:extLst>
              <a:ext uri="{FF2B5EF4-FFF2-40B4-BE49-F238E27FC236}">
                <a16:creationId xmlns:a16="http://schemas.microsoft.com/office/drawing/2014/main" id="{C0D9EB48-0317-451B-9823-1B66046AFF0F}"/>
              </a:ext>
            </a:extLst>
          </p:cNvPr>
          <p:cNvGrpSpPr>
            <a:grpSpLocks noChangeAspect="1"/>
          </p:cNvGrpSpPr>
          <p:nvPr/>
        </p:nvGrpSpPr>
        <p:grpSpPr bwMode="auto">
          <a:xfrm>
            <a:off x="918609" y="1700213"/>
            <a:ext cx="367041" cy="367041"/>
            <a:chOff x="5857" y="3295"/>
            <a:chExt cx="340" cy="340"/>
          </a:xfrm>
          <a:solidFill>
            <a:schemeClr val="accent2"/>
          </a:solidFill>
        </p:grpSpPr>
        <p:sp>
          <p:nvSpPr>
            <p:cNvPr id="471" name="Freeform 741">
              <a:extLst>
                <a:ext uri="{FF2B5EF4-FFF2-40B4-BE49-F238E27FC236}">
                  <a16:creationId xmlns:a16="http://schemas.microsoft.com/office/drawing/2014/main" id="{E4C0B52F-3395-4729-B08C-307A74DAC637}"/>
                </a:ext>
              </a:extLst>
            </p:cNvPr>
            <p:cNvSpPr>
              <a:spLocks noEditPoints="1"/>
            </p:cNvSpPr>
            <p:nvPr/>
          </p:nvSpPr>
          <p:spPr bwMode="auto">
            <a:xfrm>
              <a:off x="5991" y="3415"/>
              <a:ext cx="71" cy="156"/>
            </a:xfrm>
            <a:custGeom>
              <a:avLst/>
              <a:gdLst>
                <a:gd name="T0" fmla="*/ 96 w 107"/>
                <a:gd name="T1" fmla="*/ 0 h 235"/>
                <a:gd name="T2" fmla="*/ 11 w 107"/>
                <a:gd name="T3" fmla="*/ 0 h 235"/>
                <a:gd name="T4" fmla="*/ 0 w 107"/>
                <a:gd name="T5" fmla="*/ 11 h 235"/>
                <a:gd name="T6" fmla="*/ 0 w 107"/>
                <a:gd name="T7" fmla="*/ 117 h 235"/>
                <a:gd name="T8" fmla="*/ 11 w 107"/>
                <a:gd name="T9" fmla="*/ 128 h 235"/>
                <a:gd name="T10" fmla="*/ 22 w 107"/>
                <a:gd name="T11" fmla="*/ 128 h 235"/>
                <a:gd name="T12" fmla="*/ 22 w 107"/>
                <a:gd name="T13" fmla="*/ 224 h 235"/>
                <a:gd name="T14" fmla="*/ 32 w 107"/>
                <a:gd name="T15" fmla="*/ 235 h 235"/>
                <a:gd name="T16" fmla="*/ 43 w 107"/>
                <a:gd name="T17" fmla="*/ 224 h 235"/>
                <a:gd name="T18" fmla="*/ 43 w 107"/>
                <a:gd name="T19" fmla="*/ 128 h 235"/>
                <a:gd name="T20" fmla="*/ 64 w 107"/>
                <a:gd name="T21" fmla="*/ 128 h 235"/>
                <a:gd name="T22" fmla="*/ 64 w 107"/>
                <a:gd name="T23" fmla="*/ 224 h 235"/>
                <a:gd name="T24" fmla="*/ 75 w 107"/>
                <a:gd name="T25" fmla="*/ 235 h 235"/>
                <a:gd name="T26" fmla="*/ 86 w 107"/>
                <a:gd name="T27" fmla="*/ 224 h 235"/>
                <a:gd name="T28" fmla="*/ 86 w 107"/>
                <a:gd name="T29" fmla="*/ 128 h 235"/>
                <a:gd name="T30" fmla="*/ 96 w 107"/>
                <a:gd name="T31" fmla="*/ 128 h 235"/>
                <a:gd name="T32" fmla="*/ 107 w 107"/>
                <a:gd name="T33" fmla="*/ 117 h 235"/>
                <a:gd name="T34" fmla="*/ 107 w 107"/>
                <a:gd name="T35" fmla="*/ 11 h 235"/>
                <a:gd name="T36" fmla="*/ 96 w 107"/>
                <a:gd name="T37" fmla="*/ 0 h 235"/>
                <a:gd name="T38" fmla="*/ 86 w 107"/>
                <a:gd name="T39" fmla="*/ 107 h 235"/>
                <a:gd name="T40" fmla="*/ 22 w 107"/>
                <a:gd name="T41" fmla="*/ 107 h 235"/>
                <a:gd name="T42" fmla="*/ 22 w 107"/>
                <a:gd name="T43" fmla="*/ 21 h 235"/>
                <a:gd name="T44" fmla="*/ 86 w 107"/>
                <a:gd name="T45" fmla="*/ 21 h 235"/>
                <a:gd name="T46" fmla="*/ 86 w 107"/>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235">
                  <a:moveTo>
                    <a:pt x="96" y="0"/>
                  </a:moveTo>
                  <a:cubicBezTo>
                    <a:pt x="11" y="0"/>
                    <a:pt x="11" y="0"/>
                    <a:pt x="11" y="0"/>
                  </a:cubicBezTo>
                  <a:cubicBezTo>
                    <a:pt x="5" y="0"/>
                    <a:pt x="0" y="5"/>
                    <a:pt x="0" y="11"/>
                  </a:cubicBezTo>
                  <a:cubicBezTo>
                    <a:pt x="0" y="117"/>
                    <a:pt x="0" y="117"/>
                    <a:pt x="0" y="117"/>
                  </a:cubicBezTo>
                  <a:cubicBezTo>
                    <a:pt x="0" y="123"/>
                    <a:pt x="5" y="128"/>
                    <a:pt x="11" y="128"/>
                  </a:cubicBezTo>
                  <a:cubicBezTo>
                    <a:pt x="22" y="128"/>
                    <a:pt x="22" y="128"/>
                    <a:pt x="22" y="128"/>
                  </a:cubicBezTo>
                  <a:cubicBezTo>
                    <a:pt x="22" y="224"/>
                    <a:pt x="22" y="224"/>
                    <a:pt x="22" y="224"/>
                  </a:cubicBezTo>
                  <a:cubicBezTo>
                    <a:pt x="22" y="230"/>
                    <a:pt x="26" y="235"/>
                    <a:pt x="32" y="235"/>
                  </a:cubicBezTo>
                  <a:cubicBezTo>
                    <a:pt x="38" y="235"/>
                    <a:pt x="43" y="230"/>
                    <a:pt x="43" y="224"/>
                  </a:cubicBezTo>
                  <a:cubicBezTo>
                    <a:pt x="43" y="128"/>
                    <a:pt x="43" y="128"/>
                    <a:pt x="43" y="128"/>
                  </a:cubicBezTo>
                  <a:cubicBezTo>
                    <a:pt x="64" y="128"/>
                    <a:pt x="64" y="128"/>
                    <a:pt x="64" y="128"/>
                  </a:cubicBezTo>
                  <a:cubicBezTo>
                    <a:pt x="64" y="224"/>
                    <a:pt x="64" y="224"/>
                    <a:pt x="64" y="224"/>
                  </a:cubicBezTo>
                  <a:cubicBezTo>
                    <a:pt x="64" y="230"/>
                    <a:pt x="69" y="235"/>
                    <a:pt x="75" y="235"/>
                  </a:cubicBezTo>
                  <a:cubicBezTo>
                    <a:pt x="81" y="235"/>
                    <a:pt x="86" y="230"/>
                    <a:pt x="86" y="224"/>
                  </a:cubicBezTo>
                  <a:cubicBezTo>
                    <a:pt x="86" y="128"/>
                    <a:pt x="86" y="128"/>
                    <a:pt x="86" y="128"/>
                  </a:cubicBezTo>
                  <a:cubicBezTo>
                    <a:pt x="96" y="128"/>
                    <a:pt x="96" y="128"/>
                    <a:pt x="96" y="128"/>
                  </a:cubicBezTo>
                  <a:cubicBezTo>
                    <a:pt x="102" y="128"/>
                    <a:pt x="107" y="123"/>
                    <a:pt x="107" y="117"/>
                  </a:cubicBezTo>
                  <a:cubicBezTo>
                    <a:pt x="107" y="11"/>
                    <a:pt x="107" y="11"/>
                    <a:pt x="107" y="11"/>
                  </a:cubicBezTo>
                  <a:cubicBezTo>
                    <a:pt x="107" y="5"/>
                    <a:pt x="102" y="0"/>
                    <a:pt x="96" y="0"/>
                  </a:cubicBezTo>
                  <a:close/>
                  <a:moveTo>
                    <a:pt x="86" y="107"/>
                  </a:moveTo>
                  <a:cubicBezTo>
                    <a:pt x="22" y="107"/>
                    <a:pt x="22" y="107"/>
                    <a:pt x="22" y="107"/>
                  </a:cubicBezTo>
                  <a:cubicBezTo>
                    <a:pt x="22" y="21"/>
                    <a:pt x="22" y="21"/>
                    <a:pt x="22" y="21"/>
                  </a:cubicBezTo>
                  <a:cubicBezTo>
                    <a:pt x="86" y="21"/>
                    <a:pt x="86" y="21"/>
                    <a:pt x="86" y="21"/>
                  </a:cubicBezTo>
                  <a:lnTo>
                    <a:pt x="86"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5" name="Freeform 742">
              <a:extLst>
                <a:ext uri="{FF2B5EF4-FFF2-40B4-BE49-F238E27FC236}">
                  <a16:creationId xmlns:a16="http://schemas.microsoft.com/office/drawing/2014/main" id="{9815F4C2-AF40-4419-B3F4-5D4798F365A1}"/>
                </a:ext>
              </a:extLst>
            </p:cNvPr>
            <p:cNvSpPr>
              <a:spLocks noEditPoints="1"/>
            </p:cNvSpPr>
            <p:nvPr/>
          </p:nvSpPr>
          <p:spPr bwMode="auto">
            <a:xfrm>
              <a:off x="6006" y="3359"/>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2" name="Freeform 743">
              <a:extLst>
                <a:ext uri="{FF2B5EF4-FFF2-40B4-BE49-F238E27FC236}">
                  <a16:creationId xmlns:a16="http://schemas.microsoft.com/office/drawing/2014/main" id="{A19F1E9A-5AF8-4261-A202-A5687476CCA6}"/>
                </a:ext>
              </a:extLst>
            </p:cNvPr>
            <p:cNvSpPr>
              <a:spLocks noEditPoints="1"/>
            </p:cNvSpPr>
            <p:nvPr/>
          </p:nvSpPr>
          <p:spPr bwMode="auto">
            <a:xfrm>
              <a:off x="5857" y="32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3" name="Freeform 747">
            <a:extLst>
              <a:ext uri="{FF2B5EF4-FFF2-40B4-BE49-F238E27FC236}">
                <a16:creationId xmlns:a16="http://schemas.microsoft.com/office/drawing/2014/main" id="{F2509E86-A157-4DD4-AF07-DDB06F6EEC18}"/>
              </a:ext>
            </a:extLst>
          </p:cNvPr>
          <p:cNvSpPr>
            <a:spLocks noChangeAspect="1" noEditPoints="1"/>
          </p:cNvSpPr>
          <p:nvPr/>
        </p:nvSpPr>
        <p:spPr bwMode="auto">
          <a:xfrm>
            <a:off x="2221880" y="1700213"/>
            <a:ext cx="367041" cy="367041"/>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84" name="Group 750">
            <a:extLst>
              <a:ext uri="{FF2B5EF4-FFF2-40B4-BE49-F238E27FC236}">
                <a16:creationId xmlns:a16="http://schemas.microsoft.com/office/drawing/2014/main" id="{703B5666-A539-46E8-8AAA-56B0569ACFCE}"/>
              </a:ext>
            </a:extLst>
          </p:cNvPr>
          <p:cNvGrpSpPr>
            <a:grpSpLocks noChangeAspect="1"/>
          </p:cNvGrpSpPr>
          <p:nvPr/>
        </p:nvGrpSpPr>
        <p:grpSpPr bwMode="auto">
          <a:xfrm>
            <a:off x="2654547" y="1700213"/>
            <a:ext cx="367041" cy="367041"/>
            <a:chOff x="6961" y="3142"/>
            <a:chExt cx="340" cy="340"/>
          </a:xfrm>
          <a:solidFill>
            <a:schemeClr val="accent2"/>
          </a:solidFill>
        </p:grpSpPr>
        <p:sp>
          <p:nvSpPr>
            <p:cNvPr id="485" name="Freeform 751">
              <a:extLst>
                <a:ext uri="{FF2B5EF4-FFF2-40B4-BE49-F238E27FC236}">
                  <a16:creationId xmlns:a16="http://schemas.microsoft.com/office/drawing/2014/main" id="{DF81BEB2-96C5-4B66-81AE-081F5527FF02}"/>
                </a:ext>
              </a:extLst>
            </p:cNvPr>
            <p:cNvSpPr>
              <a:spLocks noEditPoints="1"/>
            </p:cNvSpPr>
            <p:nvPr/>
          </p:nvSpPr>
          <p:spPr bwMode="auto">
            <a:xfrm>
              <a:off x="6961" y="31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6" name="Freeform 752">
              <a:extLst>
                <a:ext uri="{FF2B5EF4-FFF2-40B4-BE49-F238E27FC236}">
                  <a16:creationId xmlns:a16="http://schemas.microsoft.com/office/drawing/2014/main" id="{922AA2A7-25FA-4AA7-AEAB-822A53621FD3}"/>
                </a:ext>
              </a:extLst>
            </p:cNvPr>
            <p:cNvSpPr>
              <a:spLocks noEditPoints="1"/>
            </p:cNvSpPr>
            <p:nvPr/>
          </p:nvSpPr>
          <p:spPr bwMode="auto">
            <a:xfrm>
              <a:off x="7037" y="3206"/>
              <a:ext cx="187" cy="185"/>
            </a:xfrm>
            <a:custGeom>
              <a:avLst/>
              <a:gdLst>
                <a:gd name="T0" fmla="*/ 274 w 281"/>
                <a:gd name="T1" fmla="*/ 257 h 279"/>
                <a:gd name="T2" fmla="*/ 228 w 281"/>
                <a:gd name="T3" fmla="*/ 246 h 279"/>
                <a:gd name="T4" fmla="*/ 204 w 281"/>
                <a:gd name="T5" fmla="*/ 242 h 279"/>
                <a:gd name="T6" fmla="*/ 187 w 281"/>
                <a:gd name="T7" fmla="*/ 194 h 279"/>
                <a:gd name="T8" fmla="*/ 217 w 281"/>
                <a:gd name="T9" fmla="*/ 126 h 279"/>
                <a:gd name="T10" fmla="*/ 209 w 281"/>
                <a:gd name="T11" fmla="*/ 28 h 279"/>
                <a:gd name="T12" fmla="*/ 141 w 281"/>
                <a:gd name="T13" fmla="*/ 0 h 279"/>
                <a:gd name="T14" fmla="*/ 72 w 281"/>
                <a:gd name="T15" fmla="*/ 28 h 279"/>
                <a:gd name="T16" fmla="*/ 65 w 281"/>
                <a:gd name="T17" fmla="*/ 126 h 279"/>
                <a:gd name="T18" fmla="*/ 94 w 281"/>
                <a:gd name="T19" fmla="*/ 193 h 279"/>
                <a:gd name="T20" fmla="*/ 77 w 281"/>
                <a:gd name="T21" fmla="*/ 242 h 279"/>
                <a:gd name="T22" fmla="*/ 53 w 281"/>
                <a:gd name="T23" fmla="*/ 246 h 279"/>
                <a:gd name="T24" fmla="*/ 7 w 281"/>
                <a:gd name="T25" fmla="*/ 257 h 279"/>
                <a:gd name="T26" fmla="*/ 3 w 281"/>
                <a:gd name="T27" fmla="*/ 272 h 279"/>
                <a:gd name="T28" fmla="*/ 18 w 281"/>
                <a:gd name="T29" fmla="*/ 276 h 279"/>
                <a:gd name="T30" fmla="*/ 56 w 281"/>
                <a:gd name="T31" fmla="*/ 267 h 279"/>
                <a:gd name="T32" fmla="*/ 87 w 281"/>
                <a:gd name="T33" fmla="*/ 261 h 279"/>
                <a:gd name="T34" fmla="*/ 113 w 281"/>
                <a:gd name="T35" fmla="*/ 219 h 279"/>
                <a:gd name="T36" fmla="*/ 112 w 281"/>
                <a:gd name="T37" fmla="*/ 182 h 279"/>
                <a:gd name="T38" fmla="*/ 85 w 281"/>
                <a:gd name="T39" fmla="*/ 120 h 279"/>
                <a:gd name="T40" fmla="*/ 80 w 281"/>
                <a:gd name="T41" fmla="*/ 63 h 279"/>
                <a:gd name="T42" fmla="*/ 125 w 281"/>
                <a:gd name="T43" fmla="*/ 79 h 279"/>
                <a:gd name="T44" fmla="*/ 155 w 281"/>
                <a:gd name="T45" fmla="*/ 74 h 279"/>
                <a:gd name="T46" fmla="*/ 159 w 281"/>
                <a:gd name="T47" fmla="*/ 71 h 279"/>
                <a:gd name="T48" fmla="*/ 162 w 281"/>
                <a:gd name="T49" fmla="*/ 68 h 279"/>
                <a:gd name="T50" fmla="*/ 165 w 281"/>
                <a:gd name="T51" fmla="*/ 71 h 279"/>
                <a:gd name="T52" fmla="*/ 172 w 281"/>
                <a:gd name="T53" fmla="*/ 74 h 279"/>
                <a:gd name="T54" fmla="*/ 201 w 281"/>
                <a:gd name="T55" fmla="*/ 63 h 279"/>
                <a:gd name="T56" fmla="*/ 196 w 281"/>
                <a:gd name="T57" fmla="*/ 120 h 279"/>
                <a:gd name="T58" fmla="*/ 170 w 281"/>
                <a:gd name="T59" fmla="*/ 182 h 279"/>
                <a:gd name="T60" fmla="*/ 169 w 281"/>
                <a:gd name="T61" fmla="*/ 219 h 279"/>
                <a:gd name="T62" fmla="*/ 194 w 281"/>
                <a:gd name="T63" fmla="*/ 261 h 279"/>
                <a:gd name="T64" fmla="*/ 226 w 281"/>
                <a:gd name="T65" fmla="*/ 267 h 279"/>
                <a:gd name="T66" fmla="*/ 263 w 281"/>
                <a:gd name="T67" fmla="*/ 276 h 279"/>
                <a:gd name="T68" fmla="*/ 269 w 281"/>
                <a:gd name="T69" fmla="*/ 277 h 279"/>
                <a:gd name="T70" fmla="*/ 278 w 281"/>
                <a:gd name="T71" fmla="*/ 272 h 279"/>
                <a:gd name="T72" fmla="*/ 274 w 281"/>
                <a:gd name="T73" fmla="*/ 257 h 279"/>
                <a:gd name="T74" fmla="*/ 177 w 281"/>
                <a:gd name="T75" fmla="*/ 53 h 279"/>
                <a:gd name="T76" fmla="*/ 170 w 281"/>
                <a:gd name="T77" fmla="*/ 45 h 279"/>
                <a:gd name="T78" fmla="*/ 154 w 281"/>
                <a:gd name="T79" fmla="*/ 45 h 279"/>
                <a:gd name="T80" fmla="*/ 146 w 281"/>
                <a:gd name="T81" fmla="*/ 54 h 279"/>
                <a:gd name="T82" fmla="*/ 89 w 281"/>
                <a:gd name="T83" fmla="*/ 41 h 279"/>
                <a:gd name="T84" fmla="*/ 89 w 281"/>
                <a:gd name="T85" fmla="*/ 41 h 279"/>
                <a:gd name="T86" fmla="*/ 141 w 281"/>
                <a:gd name="T87" fmla="*/ 21 h 279"/>
                <a:gd name="T88" fmla="*/ 192 w 281"/>
                <a:gd name="T89" fmla="*/ 41 h 279"/>
                <a:gd name="T90" fmla="*/ 193 w 281"/>
                <a:gd name="T91" fmla="*/ 41 h 279"/>
                <a:gd name="T92" fmla="*/ 177 w 281"/>
                <a:gd name="T93" fmla="*/ 5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79">
                  <a:moveTo>
                    <a:pt x="274" y="257"/>
                  </a:moveTo>
                  <a:cubicBezTo>
                    <a:pt x="260" y="249"/>
                    <a:pt x="243" y="248"/>
                    <a:pt x="228" y="246"/>
                  </a:cubicBezTo>
                  <a:cubicBezTo>
                    <a:pt x="218" y="245"/>
                    <a:pt x="208" y="244"/>
                    <a:pt x="204" y="242"/>
                  </a:cubicBezTo>
                  <a:cubicBezTo>
                    <a:pt x="193" y="236"/>
                    <a:pt x="184" y="201"/>
                    <a:pt x="187" y="194"/>
                  </a:cubicBezTo>
                  <a:cubicBezTo>
                    <a:pt x="200" y="176"/>
                    <a:pt x="212" y="144"/>
                    <a:pt x="217" y="126"/>
                  </a:cubicBezTo>
                  <a:cubicBezTo>
                    <a:pt x="223" y="102"/>
                    <a:pt x="232" y="58"/>
                    <a:pt x="209" y="28"/>
                  </a:cubicBezTo>
                  <a:cubicBezTo>
                    <a:pt x="195" y="9"/>
                    <a:pt x="172" y="0"/>
                    <a:pt x="141" y="0"/>
                  </a:cubicBezTo>
                  <a:cubicBezTo>
                    <a:pt x="109" y="0"/>
                    <a:pt x="86" y="9"/>
                    <a:pt x="72" y="28"/>
                  </a:cubicBezTo>
                  <a:cubicBezTo>
                    <a:pt x="50" y="58"/>
                    <a:pt x="58" y="102"/>
                    <a:pt x="65" y="126"/>
                  </a:cubicBezTo>
                  <a:cubicBezTo>
                    <a:pt x="70" y="144"/>
                    <a:pt x="82" y="176"/>
                    <a:pt x="94" y="193"/>
                  </a:cubicBezTo>
                  <a:cubicBezTo>
                    <a:pt x="97" y="201"/>
                    <a:pt x="88" y="236"/>
                    <a:pt x="77" y="242"/>
                  </a:cubicBezTo>
                  <a:cubicBezTo>
                    <a:pt x="73" y="244"/>
                    <a:pt x="63" y="245"/>
                    <a:pt x="53" y="246"/>
                  </a:cubicBezTo>
                  <a:cubicBezTo>
                    <a:pt x="38" y="248"/>
                    <a:pt x="21" y="249"/>
                    <a:pt x="7" y="257"/>
                  </a:cubicBezTo>
                  <a:cubicBezTo>
                    <a:pt x="2" y="260"/>
                    <a:pt x="0" y="266"/>
                    <a:pt x="3" y="272"/>
                  </a:cubicBezTo>
                  <a:cubicBezTo>
                    <a:pt x="6" y="277"/>
                    <a:pt x="13" y="279"/>
                    <a:pt x="18" y="276"/>
                  </a:cubicBezTo>
                  <a:cubicBezTo>
                    <a:pt x="28" y="270"/>
                    <a:pt x="43" y="269"/>
                    <a:pt x="56" y="267"/>
                  </a:cubicBezTo>
                  <a:cubicBezTo>
                    <a:pt x="68" y="266"/>
                    <a:pt x="79" y="265"/>
                    <a:pt x="87" y="261"/>
                  </a:cubicBezTo>
                  <a:cubicBezTo>
                    <a:pt x="103" y="252"/>
                    <a:pt x="110" y="229"/>
                    <a:pt x="113" y="219"/>
                  </a:cubicBezTo>
                  <a:cubicBezTo>
                    <a:pt x="115" y="210"/>
                    <a:pt x="118" y="192"/>
                    <a:pt x="112" y="182"/>
                  </a:cubicBezTo>
                  <a:cubicBezTo>
                    <a:pt x="101" y="167"/>
                    <a:pt x="90" y="137"/>
                    <a:pt x="85" y="120"/>
                  </a:cubicBezTo>
                  <a:cubicBezTo>
                    <a:pt x="82" y="109"/>
                    <a:pt x="76" y="84"/>
                    <a:pt x="80" y="63"/>
                  </a:cubicBezTo>
                  <a:cubicBezTo>
                    <a:pt x="94" y="75"/>
                    <a:pt x="110" y="79"/>
                    <a:pt x="125" y="79"/>
                  </a:cubicBezTo>
                  <a:cubicBezTo>
                    <a:pt x="137" y="79"/>
                    <a:pt x="148" y="76"/>
                    <a:pt x="155" y="74"/>
                  </a:cubicBezTo>
                  <a:cubicBezTo>
                    <a:pt x="156" y="73"/>
                    <a:pt x="158" y="72"/>
                    <a:pt x="159" y="71"/>
                  </a:cubicBezTo>
                  <a:cubicBezTo>
                    <a:pt x="162" y="68"/>
                    <a:pt x="162" y="68"/>
                    <a:pt x="162" y="68"/>
                  </a:cubicBezTo>
                  <a:cubicBezTo>
                    <a:pt x="165" y="71"/>
                    <a:pt x="165" y="71"/>
                    <a:pt x="165" y="71"/>
                  </a:cubicBezTo>
                  <a:cubicBezTo>
                    <a:pt x="167" y="73"/>
                    <a:pt x="169" y="74"/>
                    <a:pt x="172" y="74"/>
                  </a:cubicBezTo>
                  <a:cubicBezTo>
                    <a:pt x="173" y="74"/>
                    <a:pt x="187" y="75"/>
                    <a:pt x="201" y="63"/>
                  </a:cubicBezTo>
                  <a:cubicBezTo>
                    <a:pt x="205" y="84"/>
                    <a:pt x="199" y="109"/>
                    <a:pt x="196" y="120"/>
                  </a:cubicBezTo>
                  <a:cubicBezTo>
                    <a:pt x="191" y="137"/>
                    <a:pt x="180" y="167"/>
                    <a:pt x="170" y="182"/>
                  </a:cubicBezTo>
                  <a:cubicBezTo>
                    <a:pt x="163" y="192"/>
                    <a:pt x="166" y="210"/>
                    <a:pt x="169" y="219"/>
                  </a:cubicBezTo>
                  <a:cubicBezTo>
                    <a:pt x="171" y="229"/>
                    <a:pt x="178" y="252"/>
                    <a:pt x="194" y="261"/>
                  </a:cubicBezTo>
                  <a:cubicBezTo>
                    <a:pt x="202" y="265"/>
                    <a:pt x="213" y="266"/>
                    <a:pt x="226" y="267"/>
                  </a:cubicBezTo>
                  <a:cubicBezTo>
                    <a:pt x="239" y="269"/>
                    <a:pt x="254" y="270"/>
                    <a:pt x="263" y="276"/>
                  </a:cubicBezTo>
                  <a:cubicBezTo>
                    <a:pt x="265" y="277"/>
                    <a:pt x="267" y="277"/>
                    <a:pt x="269" y="277"/>
                  </a:cubicBezTo>
                  <a:cubicBezTo>
                    <a:pt x="272" y="277"/>
                    <a:pt x="276" y="275"/>
                    <a:pt x="278" y="272"/>
                  </a:cubicBezTo>
                  <a:cubicBezTo>
                    <a:pt x="281" y="266"/>
                    <a:pt x="279" y="260"/>
                    <a:pt x="274" y="257"/>
                  </a:cubicBezTo>
                  <a:close/>
                  <a:moveTo>
                    <a:pt x="177" y="53"/>
                  </a:moveTo>
                  <a:cubicBezTo>
                    <a:pt x="170" y="45"/>
                    <a:pt x="170" y="45"/>
                    <a:pt x="170" y="45"/>
                  </a:cubicBezTo>
                  <a:cubicBezTo>
                    <a:pt x="165" y="41"/>
                    <a:pt x="159" y="41"/>
                    <a:pt x="154" y="45"/>
                  </a:cubicBezTo>
                  <a:cubicBezTo>
                    <a:pt x="146" y="54"/>
                    <a:pt x="146" y="54"/>
                    <a:pt x="146" y="54"/>
                  </a:cubicBezTo>
                  <a:cubicBezTo>
                    <a:pt x="137" y="57"/>
                    <a:pt x="106" y="64"/>
                    <a:pt x="89" y="41"/>
                  </a:cubicBezTo>
                  <a:cubicBezTo>
                    <a:pt x="89" y="41"/>
                    <a:pt x="89" y="41"/>
                    <a:pt x="89" y="41"/>
                  </a:cubicBezTo>
                  <a:cubicBezTo>
                    <a:pt x="99" y="28"/>
                    <a:pt x="116" y="21"/>
                    <a:pt x="141" y="21"/>
                  </a:cubicBezTo>
                  <a:cubicBezTo>
                    <a:pt x="165" y="21"/>
                    <a:pt x="182" y="28"/>
                    <a:pt x="192" y="41"/>
                  </a:cubicBezTo>
                  <a:cubicBezTo>
                    <a:pt x="192" y="41"/>
                    <a:pt x="192" y="41"/>
                    <a:pt x="193" y="41"/>
                  </a:cubicBezTo>
                  <a:cubicBezTo>
                    <a:pt x="187" y="49"/>
                    <a:pt x="180" y="52"/>
                    <a:pt x="177"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7" name="Group 235">
            <a:extLst>
              <a:ext uri="{FF2B5EF4-FFF2-40B4-BE49-F238E27FC236}">
                <a16:creationId xmlns:a16="http://schemas.microsoft.com/office/drawing/2014/main" id="{023E69EB-E7C1-406F-8F5A-C1876A490504}"/>
              </a:ext>
            </a:extLst>
          </p:cNvPr>
          <p:cNvGrpSpPr>
            <a:grpSpLocks noChangeAspect="1"/>
          </p:cNvGrpSpPr>
          <p:nvPr/>
        </p:nvGrpSpPr>
        <p:grpSpPr bwMode="auto">
          <a:xfrm>
            <a:off x="10483131" y="1700213"/>
            <a:ext cx="369676" cy="369676"/>
            <a:chOff x="4264" y="792"/>
            <a:chExt cx="340" cy="340"/>
          </a:xfrm>
          <a:solidFill>
            <a:schemeClr val="accent3"/>
          </a:solidFill>
        </p:grpSpPr>
        <p:sp>
          <p:nvSpPr>
            <p:cNvPr id="488" name="Freeform 236">
              <a:extLst>
                <a:ext uri="{FF2B5EF4-FFF2-40B4-BE49-F238E27FC236}">
                  <a16:creationId xmlns:a16="http://schemas.microsoft.com/office/drawing/2014/main" id="{B0DD09B4-68B4-47D4-9F2E-36B2BC7E7D95}"/>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9" name="Freeform 237">
              <a:extLst>
                <a:ext uri="{FF2B5EF4-FFF2-40B4-BE49-F238E27FC236}">
                  <a16:creationId xmlns:a16="http://schemas.microsoft.com/office/drawing/2014/main" id="{F33A61E2-DDA6-4C31-B324-4751DF5536D2}"/>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0" name="Freeform 238">
              <a:extLst>
                <a:ext uri="{FF2B5EF4-FFF2-40B4-BE49-F238E27FC236}">
                  <a16:creationId xmlns:a16="http://schemas.microsoft.com/office/drawing/2014/main" id="{966B6C6F-0DFE-49F4-95A8-360A7CA39400}"/>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1" name="Freeform 242">
            <a:extLst>
              <a:ext uri="{FF2B5EF4-FFF2-40B4-BE49-F238E27FC236}">
                <a16:creationId xmlns:a16="http://schemas.microsoft.com/office/drawing/2014/main" id="{DAD6F97C-8994-4DF1-9A5E-6BCC44CA670E}"/>
              </a:ext>
            </a:extLst>
          </p:cNvPr>
          <p:cNvSpPr>
            <a:spLocks noChangeAspect="1" noEditPoints="1"/>
          </p:cNvSpPr>
          <p:nvPr/>
        </p:nvSpPr>
        <p:spPr bwMode="auto">
          <a:xfrm>
            <a:off x="10047829" y="1700213"/>
            <a:ext cx="369676" cy="369676"/>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2" name="Freeform 109">
            <a:extLst>
              <a:ext uri="{FF2B5EF4-FFF2-40B4-BE49-F238E27FC236}">
                <a16:creationId xmlns:a16="http://schemas.microsoft.com/office/drawing/2014/main" id="{B554BAF9-C640-41FD-B661-5CD7ABEF3EAE}"/>
              </a:ext>
            </a:extLst>
          </p:cNvPr>
          <p:cNvSpPr>
            <a:spLocks noChangeAspect="1" noEditPoints="1"/>
          </p:cNvSpPr>
          <p:nvPr/>
        </p:nvSpPr>
        <p:spPr bwMode="auto">
          <a:xfrm>
            <a:off x="10918433" y="1700213"/>
            <a:ext cx="369021" cy="369021"/>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3" name="Group 112">
            <a:extLst>
              <a:ext uri="{FF2B5EF4-FFF2-40B4-BE49-F238E27FC236}">
                <a16:creationId xmlns:a16="http://schemas.microsoft.com/office/drawing/2014/main" id="{0D344038-7161-4BAA-8A76-91B79199FE8C}"/>
              </a:ext>
            </a:extLst>
          </p:cNvPr>
          <p:cNvGrpSpPr>
            <a:grpSpLocks noChangeAspect="1"/>
          </p:cNvGrpSpPr>
          <p:nvPr/>
        </p:nvGrpSpPr>
        <p:grpSpPr bwMode="auto">
          <a:xfrm>
            <a:off x="11353079" y="1700213"/>
            <a:ext cx="369021" cy="369021"/>
            <a:chOff x="1157" y="393"/>
            <a:chExt cx="340" cy="340"/>
          </a:xfrm>
          <a:solidFill>
            <a:schemeClr val="accent2"/>
          </a:solidFill>
        </p:grpSpPr>
        <p:sp>
          <p:nvSpPr>
            <p:cNvPr id="494" name="Freeform 113">
              <a:extLst>
                <a:ext uri="{FF2B5EF4-FFF2-40B4-BE49-F238E27FC236}">
                  <a16:creationId xmlns:a16="http://schemas.microsoft.com/office/drawing/2014/main" id="{6659DF91-F3E2-41A5-A871-AEC856C02C89}"/>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5" name="Freeform 114">
              <a:extLst>
                <a:ext uri="{FF2B5EF4-FFF2-40B4-BE49-F238E27FC236}">
                  <a16:creationId xmlns:a16="http://schemas.microsoft.com/office/drawing/2014/main" id="{AF010DFE-EA06-4533-B567-AD6BE0DD25E8}"/>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6" name="Freeform 547">
            <a:extLst>
              <a:ext uri="{FF2B5EF4-FFF2-40B4-BE49-F238E27FC236}">
                <a16:creationId xmlns:a16="http://schemas.microsoft.com/office/drawing/2014/main" id="{6DF816AD-8BB6-440F-95EF-97B47F680D82}"/>
              </a:ext>
            </a:extLst>
          </p:cNvPr>
          <p:cNvSpPr>
            <a:spLocks noChangeAspect="1" noEditPoints="1"/>
          </p:cNvSpPr>
          <p:nvPr/>
        </p:nvSpPr>
        <p:spPr bwMode="auto">
          <a:xfrm>
            <a:off x="491243" y="3249537"/>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7" name="Group 550">
            <a:extLst>
              <a:ext uri="{FF2B5EF4-FFF2-40B4-BE49-F238E27FC236}">
                <a16:creationId xmlns:a16="http://schemas.microsoft.com/office/drawing/2014/main" id="{CCE346F5-8285-46E6-92D1-7EDCBF40C9B3}"/>
              </a:ext>
            </a:extLst>
          </p:cNvPr>
          <p:cNvGrpSpPr>
            <a:grpSpLocks noChangeAspect="1"/>
          </p:cNvGrpSpPr>
          <p:nvPr/>
        </p:nvGrpSpPr>
        <p:grpSpPr bwMode="auto">
          <a:xfrm>
            <a:off x="925419" y="3249537"/>
            <a:ext cx="367631" cy="367631"/>
            <a:chOff x="5799" y="1983"/>
            <a:chExt cx="340" cy="340"/>
          </a:xfrm>
          <a:solidFill>
            <a:schemeClr val="accent6"/>
          </a:solidFill>
        </p:grpSpPr>
        <p:sp>
          <p:nvSpPr>
            <p:cNvPr id="498" name="Freeform 551">
              <a:extLst>
                <a:ext uri="{FF2B5EF4-FFF2-40B4-BE49-F238E27FC236}">
                  <a16:creationId xmlns:a16="http://schemas.microsoft.com/office/drawing/2014/main" id="{D52DC789-0D95-42D7-B22E-C5FB70CF6FB3}"/>
                </a:ext>
              </a:extLst>
            </p:cNvPr>
            <p:cNvSpPr>
              <a:spLocks noEditPoints="1"/>
            </p:cNvSpPr>
            <p:nvPr/>
          </p:nvSpPr>
          <p:spPr bwMode="auto">
            <a:xfrm>
              <a:off x="5864" y="2089"/>
              <a:ext cx="211" cy="128"/>
            </a:xfrm>
            <a:custGeom>
              <a:avLst/>
              <a:gdLst>
                <a:gd name="T0" fmla="*/ 316 w 318"/>
                <a:gd name="T1" fmla="*/ 90 h 192"/>
                <a:gd name="T2" fmla="*/ 159 w 318"/>
                <a:gd name="T3" fmla="*/ 0 h 192"/>
                <a:gd name="T4" fmla="*/ 1 w 318"/>
                <a:gd name="T5" fmla="*/ 89 h 192"/>
                <a:gd name="T6" fmla="*/ 0 w 318"/>
                <a:gd name="T7" fmla="*/ 96 h 192"/>
                <a:gd name="T8" fmla="*/ 1 w 318"/>
                <a:gd name="T9" fmla="*/ 101 h 192"/>
                <a:gd name="T10" fmla="*/ 159 w 318"/>
                <a:gd name="T11" fmla="*/ 192 h 192"/>
                <a:gd name="T12" fmla="*/ 316 w 318"/>
                <a:gd name="T13" fmla="*/ 102 h 192"/>
                <a:gd name="T14" fmla="*/ 317 w 318"/>
                <a:gd name="T15" fmla="*/ 95 h 192"/>
                <a:gd name="T16" fmla="*/ 316 w 318"/>
                <a:gd name="T17" fmla="*/ 90 h 192"/>
                <a:gd name="T18" fmla="*/ 159 w 318"/>
                <a:gd name="T19" fmla="*/ 170 h 192"/>
                <a:gd name="T20" fmla="*/ 23 w 318"/>
                <a:gd name="T21" fmla="*/ 96 h 192"/>
                <a:gd name="T22" fmla="*/ 159 w 318"/>
                <a:gd name="T23" fmla="*/ 21 h 192"/>
                <a:gd name="T24" fmla="*/ 294 w 318"/>
                <a:gd name="T25" fmla="*/ 96 h 192"/>
                <a:gd name="T26" fmla="*/ 159 w 318"/>
                <a:gd name="T2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192">
                  <a:moveTo>
                    <a:pt x="316" y="90"/>
                  </a:moveTo>
                  <a:cubicBezTo>
                    <a:pt x="294" y="56"/>
                    <a:pt x="236" y="0"/>
                    <a:pt x="159" y="0"/>
                  </a:cubicBezTo>
                  <a:cubicBezTo>
                    <a:pt x="88" y="0"/>
                    <a:pt x="31" y="46"/>
                    <a:pt x="1" y="89"/>
                  </a:cubicBezTo>
                  <a:cubicBezTo>
                    <a:pt x="0" y="91"/>
                    <a:pt x="0" y="94"/>
                    <a:pt x="0" y="96"/>
                  </a:cubicBezTo>
                  <a:cubicBezTo>
                    <a:pt x="0" y="98"/>
                    <a:pt x="0" y="100"/>
                    <a:pt x="1" y="101"/>
                  </a:cubicBezTo>
                  <a:cubicBezTo>
                    <a:pt x="23" y="135"/>
                    <a:pt x="81" y="192"/>
                    <a:pt x="159" y="192"/>
                  </a:cubicBezTo>
                  <a:cubicBezTo>
                    <a:pt x="229" y="192"/>
                    <a:pt x="286" y="145"/>
                    <a:pt x="316" y="102"/>
                  </a:cubicBezTo>
                  <a:cubicBezTo>
                    <a:pt x="317" y="100"/>
                    <a:pt x="318" y="98"/>
                    <a:pt x="317" y="95"/>
                  </a:cubicBezTo>
                  <a:cubicBezTo>
                    <a:pt x="317" y="94"/>
                    <a:pt x="317" y="92"/>
                    <a:pt x="316" y="90"/>
                  </a:cubicBezTo>
                  <a:close/>
                  <a:moveTo>
                    <a:pt x="159" y="170"/>
                  </a:moveTo>
                  <a:cubicBezTo>
                    <a:pt x="94" y="170"/>
                    <a:pt x="45" y="126"/>
                    <a:pt x="23" y="96"/>
                  </a:cubicBezTo>
                  <a:cubicBezTo>
                    <a:pt x="50" y="58"/>
                    <a:pt x="99" y="21"/>
                    <a:pt x="159" y="21"/>
                  </a:cubicBezTo>
                  <a:cubicBezTo>
                    <a:pt x="223" y="21"/>
                    <a:pt x="272" y="66"/>
                    <a:pt x="294" y="96"/>
                  </a:cubicBezTo>
                  <a:cubicBezTo>
                    <a:pt x="267" y="133"/>
                    <a:pt x="218" y="170"/>
                    <a:pt x="159"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9" name="Freeform 552">
              <a:extLst>
                <a:ext uri="{FF2B5EF4-FFF2-40B4-BE49-F238E27FC236}">
                  <a16:creationId xmlns:a16="http://schemas.microsoft.com/office/drawing/2014/main" id="{85638833-FA0F-49B1-B759-B070A57B325E}"/>
                </a:ext>
              </a:extLst>
            </p:cNvPr>
            <p:cNvSpPr>
              <a:spLocks noEditPoints="1"/>
            </p:cNvSpPr>
            <p:nvPr/>
          </p:nvSpPr>
          <p:spPr bwMode="auto">
            <a:xfrm>
              <a:off x="5933" y="2117"/>
              <a:ext cx="71" cy="71"/>
            </a:xfrm>
            <a:custGeom>
              <a:avLst/>
              <a:gdLst>
                <a:gd name="T0" fmla="*/ 54 w 107"/>
                <a:gd name="T1" fmla="*/ 0 h 107"/>
                <a:gd name="T2" fmla="*/ 0 w 107"/>
                <a:gd name="T3" fmla="*/ 54 h 107"/>
                <a:gd name="T4" fmla="*/ 54 w 107"/>
                <a:gd name="T5" fmla="*/ 107 h 107"/>
                <a:gd name="T6" fmla="*/ 107 w 107"/>
                <a:gd name="T7" fmla="*/ 54 h 107"/>
                <a:gd name="T8" fmla="*/ 54 w 107"/>
                <a:gd name="T9" fmla="*/ 0 h 107"/>
                <a:gd name="T10" fmla="*/ 54 w 107"/>
                <a:gd name="T11" fmla="*/ 86 h 107"/>
                <a:gd name="T12" fmla="*/ 22 w 107"/>
                <a:gd name="T13" fmla="*/ 54 h 107"/>
                <a:gd name="T14" fmla="*/ 54 w 107"/>
                <a:gd name="T15" fmla="*/ 22 h 107"/>
                <a:gd name="T16" fmla="*/ 86 w 107"/>
                <a:gd name="T17" fmla="*/ 54 h 107"/>
                <a:gd name="T18" fmla="*/ 54 w 107"/>
                <a:gd name="T1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4" y="0"/>
                  </a:moveTo>
                  <a:cubicBezTo>
                    <a:pt x="24" y="0"/>
                    <a:pt x="0" y="24"/>
                    <a:pt x="0" y="54"/>
                  </a:cubicBezTo>
                  <a:cubicBezTo>
                    <a:pt x="0" y="83"/>
                    <a:pt x="24" y="107"/>
                    <a:pt x="54" y="107"/>
                  </a:cubicBezTo>
                  <a:cubicBezTo>
                    <a:pt x="83" y="107"/>
                    <a:pt x="107" y="83"/>
                    <a:pt x="107" y="54"/>
                  </a:cubicBezTo>
                  <a:cubicBezTo>
                    <a:pt x="107" y="24"/>
                    <a:pt x="83" y="0"/>
                    <a:pt x="54" y="0"/>
                  </a:cubicBezTo>
                  <a:close/>
                  <a:moveTo>
                    <a:pt x="54" y="86"/>
                  </a:moveTo>
                  <a:cubicBezTo>
                    <a:pt x="36" y="86"/>
                    <a:pt x="22" y="71"/>
                    <a:pt x="22" y="54"/>
                  </a:cubicBezTo>
                  <a:cubicBezTo>
                    <a:pt x="22" y="36"/>
                    <a:pt x="36" y="22"/>
                    <a:pt x="54" y="22"/>
                  </a:cubicBezTo>
                  <a:cubicBezTo>
                    <a:pt x="71" y="22"/>
                    <a:pt x="86" y="36"/>
                    <a:pt x="86" y="54"/>
                  </a:cubicBezTo>
                  <a:cubicBezTo>
                    <a:pt x="86" y="71"/>
                    <a:pt x="71" y="86"/>
                    <a:pt x="54"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0" name="Freeform 553">
              <a:extLst>
                <a:ext uri="{FF2B5EF4-FFF2-40B4-BE49-F238E27FC236}">
                  <a16:creationId xmlns:a16="http://schemas.microsoft.com/office/drawing/2014/main" id="{2AAD7889-1FF8-4281-8450-BF402B4C4BFA}"/>
                </a:ext>
              </a:extLst>
            </p:cNvPr>
            <p:cNvSpPr>
              <a:spLocks noEditPoints="1"/>
            </p:cNvSpPr>
            <p:nvPr/>
          </p:nvSpPr>
          <p:spPr bwMode="auto">
            <a:xfrm>
              <a:off x="5799" y="1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1" name="Freeform 286">
            <a:extLst>
              <a:ext uri="{FF2B5EF4-FFF2-40B4-BE49-F238E27FC236}">
                <a16:creationId xmlns:a16="http://schemas.microsoft.com/office/drawing/2014/main" id="{1B3534DF-9F63-4D18-BD0A-FD7A2B71C9C7}"/>
              </a:ext>
            </a:extLst>
          </p:cNvPr>
          <p:cNvSpPr>
            <a:spLocks noChangeAspect="1" noEditPoints="1"/>
          </p:cNvSpPr>
          <p:nvPr/>
        </p:nvSpPr>
        <p:spPr bwMode="auto">
          <a:xfrm>
            <a:off x="8314098" y="1700213"/>
            <a:ext cx="367632" cy="367631"/>
          </a:xfrm>
          <a:custGeom>
            <a:avLst/>
            <a:gdLst>
              <a:gd name="T0" fmla="*/ 298 w 512"/>
              <a:gd name="T1" fmla="*/ 192 h 512"/>
              <a:gd name="T2" fmla="*/ 298 w 512"/>
              <a:gd name="T3" fmla="*/ 266 h 512"/>
              <a:gd name="T4" fmla="*/ 290 w 512"/>
              <a:gd name="T5" fmla="*/ 288 h 512"/>
              <a:gd name="T6" fmla="*/ 204 w 512"/>
              <a:gd name="T7" fmla="*/ 388 h 512"/>
              <a:gd name="T8" fmla="*/ 202 w 512"/>
              <a:gd name="T9" fmla="*/ 376 h 512"/>
              <a:gd name="T10" fmla="*/ 223 w 512"/>
              <a:gd name="T11" fmla="*/ 312 h 512"/>
              <a:gd name="T12" fmla="*/ 223 w 512"/>
              <a:gd name="T13" fmla="*/ 312 h 512"/>
              <a:gd name="T14" fmla="*/ 224 w 512"/>
              <a:gd name="T15" fmla="*/ 309 h 512"/>
              <a:gd name="T16" fmla="*/ 213 w 512"/>
              <a:gd name="T17" fmla="*/ 298 h 512"/>
              <a:gd name="T18" fmla="*/ 160 w 512"/>
              <a:gd name="T19" fmla="*/ 298 h 512"/>
              <a:gd name="T20" fmla="*/ 117 w 512"/>
              <a:gd name="T21" fmla="*/ 255 h 512"/>
              <a:gd name="T22" fmla="*/ 136 w 512"/>
              <a:gd name="T23" fmla="*/ 174 h 512"/>
              <a:gd name="T24" fmla="*/ 171 w 512"/>
              <a:gd name="T25" fmla="*/ 160 h 512"/>
              <a:gd name="T26" fmla="*/ 267 w 512"/>
              <a:gd name="T27" fmla="*/ 160 h 512"/>
              <a:gd name="T28" fmla="*/ 298 w 512"/>
              <a:gd name="T29" fmla="*/ 192 h 512"/>
              <a:gd name="T30" fmla="*/ 320 w 512"/>
              <a:gd name="T31" fmla="*/ 192 h 512"/>
              <a:gd name="T32" fmla="*/ 320 w 512"/>
              <a:gd name="T33" fmla="*/ 266 h 512"/>
              <a:gd name="T34" fmla="*/ 320 w 512"/>
              <a:gd name="T35" fmla="*/ 266 h 512"/>
              <a:gd name="T36" fmla="*/ 373 w 512"/>
              <a:gd name="T37" fmla="*/ 266 h 512"/>
              <a:gd name="T38" fmla="*/ 373 w 512"/>
              <a:gd name="T39" fmla="*/ 170 h 512"/>
              <a:gd name="T40" fmla="*/ 316 w 512"/>
              <a:gd name="T41" fmla="*/ 170 h 512"/>
              <a:gd name="T42" fmla="*/ 320 w 512"/>
              <a:gd name="T43" fmla="*/ 19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94 w 512"/>
              <a:gd name="T55" fmla="*/ 160 h 512"/>
              <a:gd name="T56" fmla="*/ 384 w 512"/>
              <a:gd name="T57" fmla="*/ 149 h 512"/>
              <a:gd name="T58" fmla="*/ 299 w 512"/>
              <a:gd name="T59" fmla="*/ 149 h 512"/>
              <a:gd name="T60" fmla="*/ 267 w 512"/>
              <a:gd name="T61" fmla="*/ 138 h 512"/>
              <a:gd name="T62" fmla="*/ 171 w 512"/>
              <a:gd name="T63" fmla="*/ 138 h 512"/>
              <a:gd name="T64" fmla="*/ 121 w 512"/>
              <a:gd name="T65" fmla="*/ 160 h 512"/>
              <a:gd name="T66" fmla="*/ 96 w 512"/>
              <a:gd name="T67" fmla="*/ 256 h 512"/>
              <a:gd name="T68" fmla="*/ 160 w 512"/>
              <a:gd name="T69" fmla="*/ 320 h 512"/>
              <a:gd name="T70" fmla="*/ 198 w 512"/>
              <a:gd name="T71" fmla="*/ 320 h 512"/>
              <a:gd name="T72" fmla="*/ 182 w 512"/>
              <a:gd name="T73" fmla="*/ 370 h 512"/>
              <a:gd name="T74" fmla="*/ 195 w 512"/>
              <a:gd name="T75" fmla="*/ 413 h 512"/>
              <a:gd name="T76" fmla="*/ 203 w 512"/>
              <a:gd name="T77" fmla="*/ 416 h 512"/>
              <a:gd name="T78" fmla="*/ 203 w 512"/>
              <a:gd name="T79" fmla="*/ 416 h 512"/>
              <a:gd name="T80" fmla="*/ 211 w 512"/>
              <a:gd name="T81" fmla="*/ 412 h 512"/>
              <a:gd name="T82" fmla="*/ 306 w 512"/>
              <a:gd name="T83" fmla="*/ 302 h 512"/>
              <a:gd name="T84" fmla="*/ 306 w 512"/>
              <a:gd name="T85" fmla="*/ 302 h 512"/>
              <a:gd name="T86" fmla="*/ 306 w 512"/>
              <a:gd name="T87" fmla="*/ 302 h 512"/>
              <a:gd name="T88" fmla="*/ 315 w 512"/>
              <a:gd name="T89" fmla="*/ 288 h 512"/>
              <a:gd name="T90" fmla="*/ 384 w 512"/>
              <a:gd name="T91" fmla="*/ 288 h 512"/>
              <a:gd name="T92" fmla="*/ 394 w 512"/>
              <a:gd name="T93" fmla="*/ 277 h 512"/>
              <a:gd name="T94" fmla="*/ 394 w 512"/>
              <a:gd name="T95"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98" y="192"/>
                </a:moveTo>
                <a:cubicBezTo>
                  <a:pt x="298" y="266"/>
                  <a:pt x="298" y="266"/>
                  <a:pt x="298" y="266"/>
                </a:cubicBezTo>
                <a:cubicBezTo>
                  <a:pt x="298" y="274"/>
                  <a:pt x="295" y="282"/>
                  <a:pt x="290" y="288"/>
                </a:cubicBezTo>
                <a:cubicBezTo>
                  <a:pt x="204" y="388"/>
                  <a:pt x="204" y="388"/>
                  <a:pt x="204" y="388"/>
                </a:cubicBezTo>
                <a:cubicBezTo>
                  <a:pt x="202" y="384"/>
                  <a:pt x="201" y="380"/>
                  <a:pt x="202" y="376"/>
                </a:cubicBezTo>
                <a:cubicBezTo>
                  <a:pt x="223" y="312"/>
                  <a:pt x="223" y="312"/>
                  <a:pt x="223" y="312"/>
                </a:cubicBezTo>
                <a:cubicBezTo>
                  <a:pt x="223" y="312"/>
                  <a:pt x="223" y="312"/>
                  <a:pt x="223" y="312"/>
                </a:cubicBezTo>
                <a:cubicBezTo>
                  <a:pt x="223" y="311"/>
                  <a:pt x="224" y="310"/>
                  <a:pt x="224" y="309"/>
                </a:cubicBezTo>
                <a:cubicBezTo>
                  <a:pt x="224" y="303"/>
                  <a:pt x="219" y="298"/>
                  <a:pt x="213" y="298"/>
                </a:cubicBezTo>
                <a:cubicBezTo>
                  <a:pt x="160" y="298"/>
                  <a:pt x="160" y="298"/>
                  <a:pt x="160" y="298"/>
                </a:cubicBezTo>
                <a:cubicBezTo>
                  <a:pt x="141" y="298"/>
                  <a:pt x="118" y="275"/>
                  <a:pt x="117" y="255"/>
                </a:cubicBezTo>
                <a:cubicBezTo>
                  <a:pt x="117" y="254"/>
                  <a:pt x="112" y="200"/>
                  <a:pt x="136" y="174"/>
                </a:cubicBezTo>
                <a:cubicBezTo>
                  <a:pt x="145" y="164"/>
                  <a:pt x="156" y="160"/>
                  <a:pt x="171" y="160"/>
                </a:cubicBezTo>
                <a:cubicBezTo>
                  <a:pt x="267" y="160"/>
                  <a:pt x="267" y="160"/>
                  <a:pt x="267" y="160"/>
                </a:cubicBezTo>
                <a:cubicBezTo>
                  <a:pt x="286" y="160"/>
                  <a:pt x="298" y="172"/>
                  <a:pt x="298" y="192"/>
                </a:cubicBezTo>
                <a:close/>
                <a:moveTo>
                  <a:pt x="320" y="192"/>
                </a:moveTo>
                <a:cubicBezTo>
                  <a:pt x="320" y="266"/>
                  <a:pt x="320" y="266"/>
                  <a:pt x="320" y="266"/>
                </a:cubicBezTo>
                <a:cubicBezTo>
                  <a:pt x="320" y="266"/>
                  <a:pt x="320" y="266"/>
                  <a:pt x="320" y="266"/>
                </a:cubicBezTo>
                <a:cubicBezTo>
                  <a:pt x="373" y="266"/>
                  <a:pt x="373" y="266"/>
                  <a:pt x="373" y="266"/>
                </a:cubicBezTo>
                <a:cubicBezTo>
                  <a:pt x="373" y="170"/>
                  <a:pt x="373" y="170"/>
                  <a:pt x="373" y="170"/>
                </a:cubicBezTo>
                <a:cubicBezTo>
                  <a:pt x="316" y="170"/>
                  <a:pt x="316" y="170"/>
                  <a:pt x="316" y="170"/>
                </a:cubicBezTo>
                <a:cubicBezTo>
                  <a:pt x="318" y="177"/>
                  <a:pt x="320" y="184"/>
                  <a:pt x="320" y="19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60"/>
                </a:moveTo>
                <a:cubicBezTo>
                  <a:pt x="394" y="154"/>
                  <a:pt x="390" y="149"/>
                  <a:pt x="384" y="149"/>
                </a:cubicBezTo>
                <a:cubicBezTo>
                  <a:pt x="299" y="149"/>
                  <a:pt x="299" y="149"/>
                  <a:pt x="299" y="149"/>
                </a:cubicBezTo>
                <a:cubicBezTo>
                  <a:pt x="291" y="142"/>
                  <a:pt x="280" y="138"/>
                  <a:pt x="267" y="138"/>
                </a:cubicBezTo>
                <a:cubicBezTo>
                  <a:pt x="171" y="138"/>
                  <a:pt x="171" y="138"/>
                  <a:pt x="171" y="138"/>
                </a:cubicBezTo>
                <a:cubicBezTo>
                  <a:pt x="150" y="138"/>
                  <a:pt x="133" y="145"/>
                  <a:pt x="121" y="160"/>
                </a:cubicBezTo>
                <a:cubicBezTo>
                  <a:pt x="90" y="193"/>
                  <a:pt x="96" y="254"/>
                  <a:pt x="96" y="256"/>
                </a:cubicBezTo>
                <a:cubicBezTo>
                  <a:pt x="96" y="287"/>
                  <a:pt x="129" y="320"/>
                  <a:pt x="160" y="320"/>
                </a:cubicBezTo>
                <a:cubicBezTo>
                  <a:pt x="198" y="320"/>
                  <a:pt x="198" y="320"/>
                  <a:pt x="198" y="320"/>
                </a:cubicBezTo>
                <a:cubicBezTo>
                  <a:pt x="182" y="370"/>
                  <a:pt x="182" y="370"/>
                  <a:pt x="182" y="370"/>
                </a:cubicBezTo>
                <a:cubicBezTo>
                  <a:pt x="176" y="393"/>
                  <a:pt x="195" y="412"/>
                  <a:pt x="195" y="413"/>
                </a:cubicBezTo>
                <a:cubicBezTo>
                  <a:pt x="197" y="415"/>
                  <a:pt x="200" y="416"/>
                  <a:pt x="203" y="416"/>
                </a:cubicBezTo>
                <a:cubicBezTo>
                  <a:pt x="203" y="416"/>
                  <a:pt x="203" y="416"/>
                  <a:pt x="203" y="416"/>
                </a:cubicBezTo>
                <a:cubicBezTo>
                  <a:pt x="206" y="416"/>
                  <a:pt x="209" y="414"/>
                  <a:pt x="211" y="412"/>
                </a:cubicBezTo>
                <a:cubicBezTo>
                  <a:pt x="306" y="302"/>
                  <a:pt x="306" y="302"/>
                  <a:pt x="306" y="302"/>
                </a:cubicBezTo>
                <a:cubicBezTo>
                  <a:pt x="306" y="302"/>
                  <a:pt x="306" y="302"/>
                  <a:pt x="306" y="302"/>
                </a:cubicBezTo>
                <a:cubicBezTo>
                  <a:pt x="306" y="302"/>
                  <a:pt x="306" y="302"/>
                  <a:pt x="306" y="302"/>
                </a:cubicBezTo>
                <a:cubicBezTo>
                  <a:pt x="310" y="298"/>
                  <a:pt x="313" y="293"/>
                  <a:pt x="315" y="288"/>
                </a:cubicBezTo>
                <a:cubicBezTo>
                  <a:pt x="384" y="288"/>
                  <a:pt x="384" y="288"/>
                  <a:pt x="384" y="288"/>
                </a:cubicBezTo>
                <a:cubicBezTo>
                  <a:pt x="390" y="288"/>
                  <a:pt x="394" y="283"/>
                  <a:pt x="394" y="277"/>
                </a:cubicBezTo>
                <a:lnTo>
                  <a:pt x="394" y="16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2" name="Group 289">
            <a:extLst>
              <a:ext uri="{FF2B5EF4-FFF2-40B4-BE49-F238E27FC236}">
                <a16:creationId xmlns:a16="http://schemas.microsoft.com/office/drawing/2014/main" id="{1A587273-4D9F-4EAA-86C8-7F36B28A016C}"/>
              </a:ext>
            </a:extLst>
          </p:cNvPr>
          <p:cNvGrpSpPr>
            <a:grpSpLocks noChangeAspect="1"/>
          </p:cNvGrpSpPr>
          <p:nvPr/>
        </p:nvGrpSpPr>
        <p:grpSpPr bwMode="auto">
          <a:xfrm>
            <a:off x="8747356" y="1700213"/>
            <a:ext cx="367631" cy="367631"/>
            <a:chOff x="399" y="1137"/>
            <a:chExt cx="340" cy="340"/>
          </a:xfrm>
          <a:solidFill>
            <a:schemeClr val="accent4"/>
          </a:solidFill>
        </p:grpSpPr>
        <p:sp>
          <p:nvSpPr>
            <p:cNvPr id="503" name="Freeform 290">
              <a:extLst>
                <a:ext uri="{FF2B5EF4-FFF2-40B4-BE49-F238E27FC236}">
                  <a16:creationId xmlns:a16="http://schemas.microsoft.com/office/drawing/2014/main" id="{7B96B700-5E23-409F-9C51-B29ABE10722B}"/>
                </a:ext>
              </a:extLst>
            </p:cNvPr>
            <p:cNvSpPr>
              <a:spLocks noEditPoints="1"/>
            </p:cNvSpPr>
            <p:nvPr/>
          </p:nvSpPr>
          <p:spPr bwMode="auto">
            <a:xfrm>
              <a:off x="459" y="1229"/>
              <a:ext cx="202" cy="184"/>
            </a:xfrm>
            <a:custGeom>
              <a:avLst/>
              <a:gdLst>
                <a:gd name="T0" fmla="*/ 294 w 304"/>
                <a:gd name="T1" fmla="*/ 11 h 278"/>
                <a:gd name="T2" fmla="*/ 209 w 304"/>
                <a:gd name="T3" fmla="*/ 11 h 278"/>
                <a:gd name="T4" fmla="*/ 177 w 304"/>
                <a:gd name="T5" fmla="*/ 0 h 278"/>
                <a:gd name="T6" fmla="*/ 81 w 304"/>
                <a:gd name="T7" fmla="*/ 0 h 278"/>
                <a:gd name="T8" fmla="*/ 31 w 304"/>
                <a:gd name="T9" fmla="*/ 22 h 278"/>
                <a:gd name="T10" fmla="*/ 6 w 304"/>
                <a:gd name="T11" fmla="*/ 118 h 278"/>
                <a:gd name="T12" fmla="*/ 70 w 304"/>
                <a:gd name="T13" fmla="*/ 182 h 278"/>
                <a:gd name="T14" fmla="*/ 108 w 304"/>
                <a:gd name="T15" fmla="*/ 182 h 278"/>
                <a:gd name="T16" fmla="*/ 92 w 304"/>
                <a:gd name="T17" fmla="*/ 232 h 278"/>
                <a:gd name="T18" fmla="*/ 105 w 304"/>
                <a:gd name="T19" fmla="*/ 275 h 278"/>
                <a:gd name="T20" fmla="*/ 113 w 304"/>
                <a:gd name="T21" fmla="*/ 278 h 278"/>
                <a:gd name="T22" fmla="*/ 113 w 304"/>
                <a:gd name="T23" fmla="*/ 278 h 278"/>
                <a:gd name="T24" fmla="*/ 121 w 304"/>
                <a:gd name="T25" fmla="*/ 274 h 278"/>
                <a:gd name="T26" fmla="*/ 216 w 304"/>
                <a:gd name="T27" fmla="*/ 164 h 278"/>
                <a:gd name="T28" fmla="*/ 216 w 304"/>
                <a:gd name="T29" fmla="*/ 164 h 278"/>
                <a:gd name="T30" fmla="*/ 216 w 304"/>
                <a:gd name="T31" fmla="*/ 164 h 278"/>
                <a:gd name="T32" fmla="*/ 225 w 304"/>
                <a:gd name="T33" fmla="*/ 150 h 278"/>
                <a:gd name="T34" fmla="*/ 294 w 304"/>
                <a:gd name="T35" fmla="*/ 150 h 278"/>
                <a:gd name="T36" fmla="*/ 304 w 304"/>
                <a:gd name="T37" fmla="*/ 139 h 278"/>
                <a:gd name="T38" fmla="*/ 304 w 304"/>
                <a:gd name="T39" fmla="*/ 22 h 278"/>
                <a:gd name="T40" fmla="*/ 294 w 304"/>
                <a:gd name="T41" fmla="*/ 11 h 278"/>
                <a:gd name="T42" fmla="*/ 114 w 304"/>
                <a:gd name="T43" fmla="*/ 250 h 278"/>
                <a:gd name="T44" fmla="*/ 112 w 304"/>
                <a:gd name="T45" fmla="*/ 238 h 278"/>
                <a:gd name="T46" fmla="*/ 133 w 304"/>
                <a:gd name="T47" fmla="*/ 174 h 278"/>
                <a:gd name="T48" fmla="*/ 133 w 304"/>
                <a:gd name="T49" fmla="*/ 174 h 278"/>
                <a:gd name="T50" fmla="*/ 134 w 304"/>
                <a:gd name="T51" fmla="*/ 171 h 278"/>
                <a:gd name="T52" fmla="*/ 123 w 304"/>
                <a:gd name="T53" fmla="*/ 160 h 278"/>
                <a:gd name="T54" fmla="*/ 70 w 304"/>
                <a:gd name="T55" fmla="*/ 160 h 278"/>
                <a:gd name="T56" fmla="*/ 27 w 304"/>
                <a:gd name="T57" fmla="*/ 117 h 278"/>
                <a:gd name="T58" fmla="*/ 46 w 304"/>
                <a:gd name="T59" fmla="*/ 36 h 278"/>
                <a:gd name="T60" fmla="*/ 81 w 304"/>
                <a:gd name="T61" fmla="*/ 22 h 278"/>
                <a:gd name="T62" fmla="*/ 177 w 304"/>
                <a:gd name="T63" fmla="*/ 22 h 278"/>
                <a:gd name="T64" fmla="*/ 208 w 304"/>
                <a:gd name="T65" fmla="*/ 54 h 278"/>
                <a:gd name="T66" fmla="*/ 208 w 304"/>
                <a:gd name="T67" fmla="*/ 128 h 278"/>
                <a:gd name="T68" fmla="*/ 200 w 304"/>
                <a:gd name="T69" fmla="*/ 150 h 278"/>
                <a:gd name="T70" fmla="*/ 114 w 304"/>
                <a:gd name="T71" fmla="*/ 250 h 278"/>
                <a:gd name="T72" fmla="*/ 283 w 304"/>
                <a:gd name="T73" fmla="*/ 128 h 278"/>
                <a:gd name="T74" fmla="*/ 230 w 304"/>
                <a:gd name="T75" fmla="*/ 128 h 278"/>
                <a:gd name="T76" fmla="*/ 230 w 304"/>
                <a:gd name="T77" fmla="*/ 128 h 278"/>
                <a:gd name="T78" fmla="*/ 230 w 304"/>
                <a:gd name="T79" fmla="*/ 54 h 278"/>
                <a:gd name="T80" fmla="*/ 226 w 304"/>
                <a:gd name="T81" fmla="*/ 32 h 278"/>
                <a:gd name="T82" fmla="*/ 283 w 304"/>
                <a:gd name="T83" fmla="*/ 32 h 278"/>
                <a:gd name="T84" fmla="*/ 283 w 304"/>
                <a:gd name="T85" fmla="*/ 12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4" h="278">
                  <a:moveTo>
                    <a:pt x="294" y="11"/>
                  </a:moveTo>
                  <a:cubicBezTo>
                    <a:pt x="209" y="11"/>
                    <a:pt x="209" y="11"/>
                    <a:pt x="209" y="11"/>
                  </a:cubicBezTo>
                  <a:cubicBezTo>
                    <a:pt x="201" y="4"/>
                    <a:pt x="190" y="0"/>
                    <a:pt x="177" y="0"/>
                  </a:cubicBezTo>
                  <a:cubicBezTo>
                    <a:pt x="81" y="0"/>
                    <a:pt x="81" y="0"/>
                    <a:pt x="81" y="0"/>
                  </a:cubicBezTo>
                  <a:cubicBezTo>
                    <a:pt x="60" y="0"/>
                    <a:pt x="43" y="7"/>
                    <a:pt x="31" y="22"/>
                  </a:cubicBezTo>
                  <a:cubicBezTo>
                    <a:pt x="0" y="55"/>
                    <a:pt x="6" y="116"/>
                    <a:pt x="6" y="118"/>
                  </a:cubicBezTo>
                  <a:cubicBezTo>
                    <a:pt x="6" y="149"/>
                    <a:pt x="39" y="182"/>
                    <a:pt x="70" y="182"/>
                  </a:cubicBezTo>
                  <a:cubicBezTo>
                    <a:pt x="108" y="182"/>
                    <a:pt x="108" y="182"/>
                    <a:pt x="108" y="182"/>
                  </a:cubicBezTo>
                  <a:cubicBezTo>
                    <a:pt x="92" y="232"/>
                    <a:pt x="92" y="232"/>
                    <a:pt x="92" y="232"/>
                  </a:cubicBezTo>
                  <a:cubicBezTo>
                    <a:pt x="86" y="255"/>
                    <a:pt x="105" y="274"/>
                    <a:pt x="105" y="275"/>
                  </a:cubicBezTo>
                  <a:cubicBezTo>
                    <a:pt x="107" y="277"/>
                    <a:pt x="110" y="278"/>
                    <a:pt x="113" y="278"/>
                  </a:cubicBezTo>
                  <a:cubicBezTo>
                    <a:pt x="113" y="278"/>
                    <a:pt x="113" y="278"/>
                    <a:pt x="113" y="278"/>
                  </a:cubicBezTo>
                  <a:cubicBezTo>
                    <a:pt x="116" y="278"/>
                    <a:pt x="119" y="276"/>
                    <a:pt x="121" y="274"/>
                  </a:cubicBezTo>
                  <a:cubicBezTo>
                    <a:pt x="216" y="164"/>
                    <a:pt x="216" y="164"/>
                    <a:pt x="216" y="164"/>
                  </a:cubicBezTo>
                  <a:cubicBezTo>
                    <a:pt x="216" y="164"/>
                    <a:pt x="216" y="164"/>
                    <a:pt x="216" y="164"/>
                  </a:cubicBezTo>
                  <a:cubicBezTo>
                    <a:pt x="216" y="164"/>
                    <a:pt x="216" y="164"/>
                    <a:pt x="216" y="164"/>
                  </a:cubicBezTo>
                  <a:cubicBezTo>
                    <a:pt x="220" y="160"/>
                    <a:pt x="223" y="155"/>
                    <a:pt x="225" y="150"/>
                  </a:cubicBezTo>
                  <a:cubicBezTo>
                    <a:pt x="294" y="150"/>
                    <a:pt x="294" y="150"/>
                    <a:pt x="294" y="150"/>
                  </a:cubicBezTo>
                  <a:cubicBezTo>
                    <a:pt x="300" y="150"/>
                    <a:pt x="304" y="145"/>
                    <a:pt x="304" y="139"/>
                  </a:cubicBezTo>
                  <a:cubicBezTo>
                    <a:pt x="304" y="22"/>
                    <a:pt x="304" y="22"/>
                    <a:pt x="304" y="22"/>
                  </a:cubicBezTo>
                  <a:cubicBezTo>
                    <a:pt x="304" y="16"/>
                    <a:pt x="300" y="11"/>
                    <a:pt x="294" y="11"/>
                  </a:cubicBezTo>
                  <a:close/>
                  <a:moveTo>
                    <a:pt x="114" y="250"/>
                  </a:moveTo>
                  <a:cubicBezTo>
                    <a:pt x="112" y="246"/>
                    <a:pt x="111" y="242"/>
                    <a:pt x="112" y="238"/>
                  </a:cubicBezTo>
                  <a:cubicBezTo>
                    <a:pt x="133" y="174"/>
                    <a:pt x="133" y="174"/>
                    <a:pt x="133" y="174"/>
                  </a:cubicBezTo>
                  <a:cubicBezTo>
                    <a:pt x="133" y="174"/>
                    <a:pt x="133" y="174"/>
                    <a:pt x="133" y="174"/>
                  </a:cubicBezTo>
                  <a:cubicBezTo>
                    <a:pt x="133" y="173"/>
                    <a:pt x="134" y="172"/>
                    <a:pt x="134" y="171"/>
                  </a:cubicBezTo>
                  <a:cubicBezTo>
                    <a:pt x="134" y="165"/>
                    <a:pt x="129" y="160"/>
                    <a:pt x="123" y="160"/>
                  </a:cubicBezTo>
                  <a:cubicBezTo>
                    <a:pt x="70" y="160"/>
                    <a:pt x="70" y="160"/>
                    <a:pt x="70" y="160"/>
                  </a:cubicBezTo>
                  <a:cubicBezTo>
                    <a:pt x="51" y="160"/>
                    <a:pt x="28" y="137"/>
                    <a:pt x="27" y="117"/>
                  </a:cubicBezTo>
                  <a:cubicBezTo>
                    <a:pt x="27" y="116"/>
                    <a:pt x="22" y="62"/>
                    <a:pt x="46" y="36"/>
                  </a:cubicBezTo>
                  <a:cubicBezTo>
                    <a:pt x="55" y="26"/>
                    <a:pt x="66" y="22"/>
                    <a:pt x="81" y="22"/>
                  </a:cubicBezTo>
                  <a:cubicBezTo>
                    <a:pt x="177" y="22"/>
                    <a:pt x="177" y="22"/>
                    <a:pt x="177" y="22"/>
                  </a:cubicBezTo>
                  <a:cubicBezTo>
                    <a:pt x="196" y="22"/>
                    <a:pt x="208" y="34"/>
                    <a:pt x="208" y="54"/>
                  </a:cubicBezTo>
                  <a:cubicBezTo>
                    <a:pt x="208" y="128"/>
                    <a:pt x="208" y="128"/>
                    <a:pt x="208" y="128"/>
                  </a:cubicBezTo>
                  <a:cubicBezTo>
                    <a:pt x="208" y="136"/>
                    <a:pt x="205" y="144"/>
                    <a:pt x="200" y="150"/>
                  </a:cubicBezTo>
                  <a:lnTo>
                    <a:pt x="114" y="250"/>
                  </a:lnTo>
                  <a:close/>
                  <a:moveTo>
                    <a:pt x="283" y="128"/>
                  </a:moveTo>
                  <a:cubicBezTo>
                    <a:pt x="230" y="128"/>
                    <a:pt x="230" y="128"/>
                    <a:pt x="230" y="128"/>
                  </a:cubicBezTo>
                  <a:cubicBezTo>
                    <a:pt x="230" y="128"/>
                    <a:pt x="230" y="128"/>
                    <a:pt x="230" y="128"/>
                  </a:cubicBezTo>
                  <a:cubicBezTo>
                    <a:pt x="230" y="54"/>
                    <a:pt x="230" y="54"/>
                    <a:pt x="230" y="54"/>
                  </a:cubicBezTo>
                  <a:cubicBezTo>
                    <a:pt x="230" y="46"/>
                    <a:pt x="228" y="39"/>
                    <a:pt x="226" y="32"/>
                  </a:cubicBezTo>
                  <a:cubicBezTo>
                    <a:pt x="283" y="32"/>
                    <a:pt x="283" y="32"/>
                    <a:pt x="283" y="32"/>
                  </a:cubicBezTo>
                  <a:lnTo>
                    <a:pt x="283" y="1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4" name="Freeform 291">
              <a:extLst>
                <a:ext uri="{FF2B5EF4-FFF2-40B4-BE49-F238E27FC236}">
                  <a16:creationId xmlns:a16="http://schemas.microsoft.com/office/drawing/2014/main" id="{BD545C3F-C8A4-43F6-84DC-457987837B68}"/>
                </a:ext>
              </a:extLst>
            </p:cNvPr>
            <p:cNvSpPr>
              <a:spLocks noEditPoints="1"/>
            </p:cNvSpPr>
            <p:nvPr/>
          </p:nvSpPr>
          <p:spPr bwMode="auto">
            <a:xfrm>
              <a:off x="39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5" name="Freeform 867">
            <a:extLst>
              <a:ext uri="{FF2B5EF4-FFF2-40B4-BE49-F238E27FC236}">
                <a16:creationId xmlns:a16="http://schemas.microsoft.com/office/drawing/2014/main" id="{A4C4EF50-BA8C-446C-9506-785A54EF6B97}"/>
              </a:ext>
            </a:extLst>
          </p:cNvPr>
          <p:cNvSpPr>
            <a:spLocks noChangeAspect="1" noEditPoints="1"/>
          </p:cNvSpPr>
          <p:nvPr/>
        </p:nvSpPr>
        <p:spPr bwMode="auto">
          <a:xfrm>
            <a:off x="1359595" y="3249537"/>
            <a:ext cx="368713" cy="368713"/>
          </a:xfrm>
          <a:custGeom>
            <a:avLst/>
            <a:gdLst>
              <a:gd name="T0" fmla="*/ 138 w 512"/>
              <a:gd name="T1" fmla="*/ 138 h 512"/>
              <a:gd name="T2" fmla="*/ 373 w 512"/>
              <a:gd name="T3" fmla="*/ 138 h 512"/>
              <a:gd name="T4" fmla="*/ 373 w 512"/>
              <a:gd name="T5" fmla="*/ 309 h 512"/>
              <a:gd name="T6" fmla="*/ 138 w 512"/>
              <a:gd name="T7" fmla="*/ 309 h 512"/>
              <a:gd name="T8" fmla="*/ 138 w 512"/>
              <a:gd name="T9" fmla="*/ 138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4 w 512"/>
              <a:gd name="T21" fmla="*/ 128 h 512"/>
              <a:gd name="T22" fmla="*/ 384 w 512"/>
              <a:gd name="T23" fmla="*/ 117 h 512"/>
              <a:gd name="T24" fmla="*/ 266 w 512"/>
              <a:gd name="T25" fmla="*/ 117 h 512"/>
              <a:gd name="T26" fmla="*/ 256 w 512"/>
              <a:gd name="T27" fmla="*/ 106 h 512"/>
              <a:gd name="T28" fmla="*/ 245 w 512"/>
              <a:gd name="T29" fmla="*/ 117 h 512"/>
              <a:gd name="T30" fmla="*/ 128 w 512"/>
              <a:gd name="T31" fmla="*/ 117 h 512"/>
              <a:gd name="T32" fmla="*/ 117 w 512"/>
              <a:gd name="T33" fmla="*/ 128 h 512"/>
              <a:gd name="T34" fmla="*/ 117 w 512"/>
              <a:gd name="T35" fmla="*/ 320 h 512"/>
              <a:gd name="T36" fmla="*/ 128 w 512"/>
              <a:gd name="T37" fmla="*/ 330 h 512"/>
              <a:gd name="T38" fmla="*/ 198 w 512"/>
              <a:gd name="T39" fmla="*/ 330 h 512"/>
              <a:gd name="T40" fmla="*/ 171 w 512"/>
              <a:gd name="T41" fmla="*/ 401 h 512"/>
              <a:gd name="T42" fmla="*/ 177 w 512"/>
              <a:gd name="T43" fmla="*/ 415 h 512"/>
              <a:gd name="T44" fmla="*/ 181 w 512"/>
              <a:gd name="T45" fmla="*/ 416 h 512"/>
              <a:gd name="T46" fmla="*/ 191 w 512"/>
              <a:gd name="T47" fmla="*/ 409 h 512"/>
              <a:gd name="T48" fmla="*/ 220 w 512"/>
              <a:gd name="T49" fmla="*/ 330 h 512"/>
              <a:gd name="T50" fmla="*/ 245 w 512"/>
              <a:gd name="T51" fmla="*/ 330 h 512"/>
              <a:gd name="T52" fmla="*/ 245 w 512"/>
              <a:gd name="T53" fmla="*/ 373 h 512"/>
              <a:gd name="T54" fmla="*/ 256 w 512"/>
              <a:gd name="T55" fmla="*/ 384 h 512"/>
              <a:gd name="T56" fmla="*/ 266 w 512"/>
              <a:gd name="T57" fmla="*/ 373 h 512"/>
              <a:gd name="T58" fmla="*/ 266 w 512"/>
              <a:gd name="T59" fmla="*/ 330 h 512"/>
              <a:gd name="T60" fmla="*/ 291 w 512"/>
              <a:gd name="T61" fmla="*/ 330 h 512"/>
              <a:gd name="T62" fmla="*/ 320 w 512"/>
              <a:gd name="T63" fmla="*/ 409 h 512"/>
              <a:gd name="T64" fmla="*/ 330 w 512"/>
              <a:gd name="T65" fmla="*/ 416 h 512"/>
              <a:gd name="T66" fmla="*/ 334 w 512"/>
              <a:gd name="T67" fmla="*/ 415 h 512"/>
              <a:gd name="T68" fmla="*/ 340 w 512"/>
              <a:gd name="T69" fmla="*/ 401 h 512"/>
              <a:gd name="T70" fmla="*/ 314 w 512"/>
              <a:gd name="T71" fmla="*/ 330 h 512"/>
              <a:gd name="T72" fmla="*/ 384 w 512"/>
              <a:gd name="T73" fmla="*/ 330 h 512"/>
              <a:gd name="T74" fmla="*/ 394 w 512"/>
              <a:gd name="T75" fmla="*/ 320 h 512"/>
              <a:gd name="T76" fmla="*/ 394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138" y="138"/>
                </a:moveTo>
                <a:cubicBezTo>
                  <a:pt x="373" y="138"/>
                  <a:pt x="373" y="138"/>
                  <a:pt x="373" y="138"/>
                </a:cubicBezTo>
                <a:cubicBezTo>
                  <a:pt x="373" y="309"/>
                  <a:pt x="373" y="309"/>
                  <a:pt x="373" y="309"/>
                </a:cubicBezTo>
                <a:cubicBezTo>
                  <a:pt x="138" y="309"/>
                  <a:pt x="138" y="309"/>
                  <a:pt x="138" y="309"/>
                </a:cubicBezTo>
                <a:lnTo>
                  <a:pt x="138"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266" y="117"/>
                  <a:pt x="266" y="117"/>
                  <a:pt x="266" y="117"/>
                </a:cubicBezTo>
                <a:cubicBezTo>
                  <a:pt x="266" y="111"/>
                  <a:pt x="262" y="106"/>
                  <a:pt x="256" y="106"/>
                </a:cubicBezTo>
                <a:cubicBezTo>
                  <a:pt x="250" y="106"/>
                  <a:pt x="245" y="111"/>
                  <a:pt x="245" y="117"/>
                </a:cubicBezTo>
                <a:cubicBezTo>
                  <a:pt x="128" y="117"/>
                  <a:pt x="128" y="117"/>
                  <a:pt x="128" y="117"/>
                </a:cubicBezTo>
                <a:cubicBezTo>
                  <a:pt x="122" y="117"/>
                  <a:pt x="117" y="122"/>
                  <a:pt x="117" y="128"/>
                </a:cubicBezTo>
                <a:cubicBezTo>
                  <a:pt x="117" y="320"/>
                  <a:pt x="117" y="320"/>
                  <a:pt x="117" y="320"/>
                </a:cubicBezTo>
                <a:cubicBezTo>
                  <a:pt x="117" y="326"/>
                  <a:pt x="122" y="330"/>
                  <a:pt x="128" y="330"/>
                </a:cubicBezTo>
                <a:cubicBezTo>
                  <a:pt x="198" y="330"/>
                  <a:pt x="198" y="330"/>
                  <a:pt x="198" y="330"/>
                </a:cubicBezTo>
                <a:cubicBezTo>
                  <a:pt x="171" y="401"/>
                  <a:pt x="171" y="401"/>
                  <a:pt x="171" y="401"/>
                </a:cubicBezTo>
                <a:cubicBezTo>
                  <a:pt x="169" y="407"/>
                  <a:pt x="172" y="413"/>
                  <a:pt x="177" y="415"/>
                </a:cubicBezTo>
                <a:cubicBezTo>
                  <a:pt x="178" y="415"/>
                  <a:pt x="180" y="416"/>
                  <a:pt x="181" y="416"/>
                </a:cubicBezTo>
                <a:cubicBezTo>
                  <a:pt x="185" y="416"/>
                  <a:pt x="189" y="413"/>
                  <a:pt x="191" y="409"/>
                </a:cubicBezTo>
                <a:cubicBezTo>
                  <a:pt x="220" y="330"/>
                  <a:pt x="220" y="330"/>
                  <a:pt x="220" y="330"/>
                </a:cubicBezTo>
                <a:cubicBezTo>
                  <a:pt x="245" y="330"/>
                  <a:pt x="245" y="330"/>
                  <a:pt x="245" y="330"/>
                </a:cubicBezTo>
                <a:cubicBezTo>
                  <a:pt x="245" y="373"/>
                  <a:pt x="245" y="373"/>
                  <a:pt x="245" y="373"/>
                </a:cubicBezTo>
                <a:cubicBezTo>
                  <a:pt x="245" y="379"/>
                  <a:pt x="250" y="384"/>
                  <a:pt x="256" y="384"/>
                </a:cubicBezTo>
                <a:cubicBezTo>
                  <a:pt x="262" y="384"/>
                  <a:pt x="266" y="379"/>
                  <a:pt x="266" y="373"/>
                </a:cubicBezTo>
                <a:cubicBezTo>
                  <a:pt x="266" y="330"/>
                  <a:pt x="266" y="330"/>
                  <a:pt x="266" y="330"/>
                </a:cubicBezTo>
                <a:cubicBezTo>
                  <a:pt x="291" y="330"/>
                  <a:pt x="291" y="330"/>
                  <a:pt x="291" y="330"/>
                </a:cubicBezTo>
                <a:cubicBezTo>
                  <a:pt x="320" y="409"/>
                  <a:pt x="320" y="409"/>
                  <a:pt x="320" y="409"/>
                </a:cubicBezTo>
                <a:cubicBezTo>
                  <a:pt x="322" y="413"/>
                  <a:pt x="326" y="416"/>
                  <a:pt x="330" y="416"/>
                </a:cubicBezTo>
                <a:cubicBezTo>
                  <a:pt x="332" y="416"/>
                  <a:pt x="333" y="415"/>
                  <a:pt x="334" y="415"/>
                </a:cubicBezTo>
                <a:cubicBezTo>
                  <a:pt x="340" y="413"/>
                  <a:pt x="342" y="407"/>
                  <a:pt x="340" y="401"/>
                </a:cubicBezTo>
                <a:cubicBezTo>
                  <a:pt x="314" y="330"/>
                  <a:pt x="314" y="330"/>
                  <a:pt x="314" y="330"/>
                </a:cubicBezTo>
                <a:cubicBezTo>
                  <a:pt x="384" y="330"/>
                  <a:pt x="384" y="330"/>
                  <a:pt x="384" y="330"/>
                </a:cubicBezTo>
                <a:cubicBezTo>
                  <a:pt x="390" y="330"/>
                  <a:pt x="394" y="326"/>
                  <a:pt x="394" y="320"/>
                </a:cubicBezTo>
                <a:lnTo>
                  <a:pt x="394" y="1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06" name="Group 870">
            <a:extLst>
              <a:ext uri="{FF2B5EF4-FFF2-40B4-BE49-F238E27FC236}">
                <a16:creationId xmlns:a16="http://schemas.microsoft.com/office/drawing/2014/main" id="{5C1E76EC-DD2C-4D53-88DD-ED32D7BF9EA2}"/>
              </a:ext>
            </a:extLst>
          </p:cNvPr>
          <p:cNvGrpSpPr>
            <a:grpSpLocks noChangeAspect="1"/>
          </p:cNvGrpSpPr>
          <p:nvPr/>
        </p:nvGrpSpPr>
        <p:grpSpPr bwMode="auto">
          <a:xfrm>
            <a:off x="1794853" y="3249537"/>
            <a:ext cx="368713" cy="367631"/>
            <a:chOff x="6610" y="3178"/>
            <a:chExt cx="341" cy="340"/>
          </a:xfrm>
          <a:solidFill>
            <a:schemeClr val="accent3"/>
          </a:solidFill>
        </p:grpSpPr>
        <p:sp>
          <p:nvSpPr>
            <p:cNvPr id="507" name="Freeform 871">
              <a:extLst>
                <a:ext uri="{FF2B5EF4-FFF2-40B4-BE49-F238E27FC236}">
                  <a16:creationId xmlns:a16="http://schemas.microsoft.com/office/drawing/2014/main" id="{586A90BE-3493-40B0-8404-42E2F4C4835B}"/>
                </a:ext>
              </a:extLst>
            </p:cNvPr>
            <p:cNvSpPr>
              <a:spLocks noEditPoints="1"/>
            </p:cNvSpPr>
            <p:nvPr/>
          </p:nvSpPr>
          <p:spPr bwMode="auto">
            <a:xfrm>
              <a:off x="6610" y="317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8" name="Freeform 872">
              <a:extLst>
                <a:ext uri="{FF2B5EF4-FFF2-40B4-BE49-F238E27FC236}">
                  <a16:creationId xmlns:a16="http://schemas.microsoft.com/office/drawing/2014/main" id="{D75939A5-30B8-402A-B81B-C05AF677892E}"/>
                </a:ext>
              </a:extLst>
            </p:cNvPr>
            <p:cNvSpPr>
              <a:spLocks noEditPoints="1"/>
            </p:cNvSpPr>
            <p:nvPr/>
          </p:nvSpPr>
          <p:spPr bwMode="auto">
            <a:xfrm>
              <a:off x="6688" y="3248"/>
              <a:ext cx="184" cy="20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9" name="Freeform 976">
            <a:extLst>
              <a:ext uri="{FF2B5EF4-FFF2-40B4-BE49-F238E27FC236}">
                <a16:creationId xmlns:a16="http://schemas.microsoft.com/office/drawing/2014/main" id="{997FFFB8-2CF6-40A7-AB00-4B922F3B9769}"/>
              </a:ext>
            </a:extLst>
          </p:cNvPr>
          <p:cNvSpPr>
            <a:spLocks noChangeAspect="1" noEditPoints="1"/>
          </p:cNvSpPr>
          <p:nvPr/>
        </p:nvSpPr>
        <p:spPr bwMode="auto">
          <a:xfrm>
            <a:off x="2230111" y="3249537"/>
            <a:ext cx="36763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0" name="Group 979">
            <a:extLst>
              <a:ext uri="{FF2B5EF4-FFF2-40B4-BE49-F238E27FC236}">
                <a16:creationId xmlns:a16="http://schemas.microsoft.com/office/drawing/2014/main" id="{0C88EC94-8126-430E-ADC6-B48E35C9210C}"/>
              </a:ext>
            </a:extLst>
          </p:cNvPr>
          <p:cNvGrpSpPr>
            <a:grpSpLocks noChangeAspect="1"/>
          </p:cNvGrpSpPr>
          <p:nvPr/>
        </p:nvGrpSpPr>
        <p:grpSpPr bwMode="auto">
          <a:xfrm>
            <a:off x="2664288" y="3249537"/>
            <a:ext cx="367631" cy="368712"/>
            <a:chOff x="2032" y="4237"/>
            <a:chExt cx="340" cy="341"/>
          </a:xfrm>
          <a:solidFill>
            <a:schemeClr val="accent5"/>
          </a:solidFill>
        </p:grpSpPr>
        <p:sp>
          <p:nvSpPr>
            <p:cNvPr id="511" name="Freeform 980">
              <a:extLst>
                <a:ext uri="{FF2B5EF4-FFF2-40B4-BE49-F238E27FC236}">
                  <a16:creationId xmlns:a16="http://schemas.microsoft.com/office/drawing/2014/main" id="{602C239B-EE36-44B8-9787-A4B765C87F6A}"/>
                </a:ext>
              </a:extLst>
            </p:cNvPr>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2" name="Freeform 981">
              <a:extLst>
                <a:ext uri="{FF2B5EF4-FFF2-40B4-BE49-F238E27FC236}">
                  <a16:creationId xmlns:a16="http://schemas.microsoft.com/office/drawing/2014/main" id="{09CBC023-9851-4BDC-A084-860B52333741}"/>
                </a:ext>
              </a:extLst>
            </p:cNvPr>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3" name="Freeform 982">
              <a:extLst>
                <a:ext uri="{FF2B5EF4-FFF2-40B4-BE49-F238E27FC236}">
                  <a16:creationId xmlns:a16="http://schemas.microsoft.com/office/drawing/2014/main" id="{8F6B6372-7863-4F1E-914A-D345198B7DD7}"/>
                </a:ext>
              </a:extLst>
            </p:cNvPr>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4" name="Freeform 73">
            <a:extLst>
              <a:ext uri="{FF2B5EF4-FFF2-40B4-BE49-F238E27FC236}">
                <a16:creationId xmlns:a16="http://schemas.microsoft.com/office/drawing/2014/main" id="{312E32AD-7B04-4131-9C0C-B5AB5C89AD8D}"/>
              </a:ext>
            </a:extLst>
          </p:cNvPr>
          <p:cNvSpPr>
            <a:spLocks noChangeAspect="1" noEditPoints="1"/>
          </p:cNvSpPr>
          <p:nvPr/>
        </p:nvSpPr>
        <p:spPr bwMode="auto">
          <a:xfrm>
            <a:off x="3098464" y="3249537"/>
            <a:ext cx="368254" cy="368152"/>
          </a:xfrm>
          <a:custGeom>
            <a:avLst/>
            <a:gdLst>
              <a:gd name="T0" fmla="*/ 138 w 512"/>
              <a:gd name="T1" fmla="*/ 373 h 512"/>
              <a:gd name="T2" fmla="*/ 373 w 512"/>
              <a:gd name="T3" fmla="*/ 373 h 512"/>
              <a:gd name="T4" fmla="*/ 373 w 512"/>
              <a:gd name="T5" fmla="*/ 202 h 512"/>
              <a:gd name="T6" fmla="*/ 138 w 512"/>
              <a:gd name="T7" fmla="*/ 202 h 512"/>
              <a:gd name="T8" fmla="*/ 138 w 512"/>
              <a:gd name="T9" fmla="*/ 373 h 512"/>
              <a:gd name="T10" fmla="*/ 224 w 512"/>
              <a:gd name="T11" fmla="*/ 234 h 512"/>
              <a:gd name="T12" fmla="*/ 288 w 512"/>
              <a:gd name="T13" fmla="*/ 234 h 512"/>
              <a:gd name="T14" fmla="*/ 298 w 512"/>
              <a:gd name="T15" fmla="*/ 245 h 512"/>
              <a:gd name="T16" fmla="*/ 288 w 512"/>
              <a:gd name="T17" fmla="*/ 256 h 512"/>
              <a:gd name="T18" fmla="*/ 224 w 512"/>
              <a:gd name="T19" fmla="*/ 256 h 512"/>
              <a:gd name="T20" fmla="*/ 213 w 512"/>
              <a:gd name="T21" fmla="*/ 245 h 512"/>
              <a:gd name="T22" fmla="*/ 224 w 512"/>
              <a:gd name="T23" fmla="*/ 234 h 512"/>
              <a:gd name="T24" fmla="*/ 117 w 512"/>
              <a:gd name="T25" fmla="*/ 160 h 512"/>
              <a:gd name="T26" fmla="*/ 394 w 512"/>
              <a:gd name="T27" fmla="*/ 160 h 512"/>
              <a:gd name="T28" fmla="*/ 394 w 512"/>
              <a:gd name="T29" fmla="*/ 181 h 512"/>
              <a:gd name="T30" fmla="*/ 117 w 512"/>
              <a:gd name="T31" fmla="*/ 181 h 512"/>
              <a:gd name="T32" fmla="*/ 117 w 512"/>
              <a:gd name="T33" fmla="*/ 160 h 512"/>
              <a:gd name="T34" fmla="*/ 256 w 512"/>
              <a:gd name="T35" fmla="*/ 0 h 512"/>
              <a:gd name="T36" fmla="*/ 0 w 512"/>
              <a:gd name="T37" fmla="*/ 256 h 512"/>
              <a:gd name="T38" fmla="*/ 256 w 512"/>
              <a:gd name="T39" fmla="*/ 512 h 512"/>
              <a:gd name="T40" fmla="*/ 512 w 512"/>
              <a:gd name="T41" fmla="*/ 256 h 512"/>
              <a:gd name="T42" fmla="*/ 256 w 512"/>
              <a:gd name="T43" fmla="*/ 0 h 512"/>
              <a:gd name="T44" fmla="*/ 416 w 512"/>
              <a:gd name="T45" fmla="*/ 192 h 512"/>
              <a:gd name="T46" fmla="*/ 405 w 512"/>
              <a:gd name="T47" fmla="*/ 202 h 512"/>
              <a:gd name="T48" fmla="*/ 394 w 512"/>
              <a:gd name="T49" fmla="*/ 202 h 512"/>
              <a:gd name="T50" fmla="*/ 394 w 512"/>
              <a:gd name="T51" fmla="*/ 384 h 512"/>
              <a:gd name="T52" fmla="*/ 384 w 512"/>
              <a:gd name="T53" fmla="*/ 394 h 512"/>
              <a:gd name="T54" fmla="*/ 128 w 512"/>
              <a:gd name="T55" fmla="*/ 394 h 512"/>
              <a:gd name="T56" fmla="*/ 117 w 512"/>
              <a:gd name="T57" fmla="*/ 384 h 512"/>
              <a:gd name="T58" fmla="*/ 117 w 512"/>
              <a:gd name="T59" fmla="*/ 202 h 512"/>
              <a:gd name="T60" fmla="*/ 106 w 512"/>
              <a:gd name="T61" fmla="*/ 202 h 512"/>
              <a:gd name="T62" fmla="*/ 96 w 512"/>
              <a:gd name="T63" fmla="*/ 192 h 512"/>
              <a:gd name="T64" fmla="*/ 96 w 512"/>
              <a:gd name="T65" fmla="*/ 149 h 512"/>
              <a:gd name="T66" fmla="*/ 106 w 512"/>
              <a:gd name="T67" fmla="*/ 138 h 512"/>
              <a:gd name="T68" fmla="*/ 405 w 512"/>
              <a:gd name="T69" fmla="*/ 138 h 512"/>
              <a:gd name="T70" fmla="*/ 416 w 512"/>
              <a:gd name="T71" fmla="*/ 149 h 512"/>
              <a:gd name="T72" fmla="*/ 416 w 512"/>
              <a:gd name="T7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38" y="373"/>
                </a:moveTo>
                <a:cubicBezTo>
                  <a:pt x="373" y="373"/>
                  <a:pt x="373" y="373"/>
                  <a:pt x="373" y="373"/>
                </a:cubicBezTo>
                <a:cubicBezTo>
                  <a:pt x="373" y="202"/>
                  <a:pt x="373" y="202"/>
                  <a:pt x="373" y="202"/>
                </a:cubicBezTo>
                <a:cubicBezTo>
                  <a:pt x="138" y="202"/>
                  <a:pt x="138" y="202"/>
                  <a:pt x="138" y="202"/>
                </a:cubicBezTo>
                <a:lnTo>
                  <a:pt x="138" y="373"/>
                </a:lnTo>
                <a:close/>
                <a:moveTo>
                  <a:pt x="224" y="234"/>
                </a:moveTo>
                <a:cubicBezTo>
                  <a:pt x="288" y="234"/>
                  <a:pt x="288" y="234"/>
                  <a:pt x="288" y="234"/>
                </a:cubicBezTo>
                <a:cubicBezTo>
                  <a:pt x="294" y="234"/>
                  <a:pt x="298" y="239"/>
                  <a:pt x="298" y="245"/>
                </a:cubicBezTo>
                <a:cubicBezTo>
                  <a:pt x="298" y="251"/>
                  <a:pt x="294" y="256"/>
                  <a:pt x="288" y="256"/>
                </a:cubicBezTo>
                <a:cubicBezTo>
                  <a:pt x="224" y="256"/>
                  <a:pt x="224" y="256"/>
                  <a:pt x="224" y="256"/>
                </a:cubicBezTo>
                <a:cubicBezTo>
                  <a:pt x="218" y="256"/>
                  <a:pt x="213" y="251"/>
                  <a:pt x="213" y="245"/>
                </a:cubicBezTo>
                <a:cubicBezTo>
                  <a:pt x="213" y="239"/>
                  <a:pt x="218" y="234"/>
                  <a:pt x="224" y="234"/>
                </a:cubicBezTo>
                <a:close/>
                <a:moveTo>
                  <a:pt x="117" y="160"/>
                </a:moveTo>
                <a:cubicBezTo>
                  <a:pt x="394" y="160"/>
                  <a:pt x="394" y="160"/>
                  <a:pt x="394" y="160"/>
                </a:cubicBezTo>
                <a:cubicBezTo>
                  <a:pt x="394" y="181"/>
                  <a:pt x="394" y="181"/>
                  <a:pt x="394" y="181"/>
                </a:cubicBezTo>
                <a:cubicBezTo>
                  <a:pt x="117" y="181"/>
                  <a:pt x="117" y="181"/>
                  <a:pt x="117" y="181"/>
                </a:cubicBezTo>
                <a:lnTo>
                  <a:pt x="117" y="160"/>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192"/>
                </a:moveTo>
                <a:cubicBezTo>
                  <a:pt x="416" y="198"/>
                  <a:pt x="411" y="202"/>
                  <a:pt x="405" y="202"/>
                </a:cubicBezTo>
                <a:cubicBezTo>
                  <a:pt x="394" y="202"/>
                  <a:pt x="394" y="202"/>
                  <a:pt x="394" y="202"/>
                </a:cubicBezTo>
                <a:cubicBezTo>
                  <a:pt x="394" y="384"/>
                  <a:pt x="394" y="384"/>
                  <a:pt x="394" y="384"/>
                </a:cubicBezTo>
                <a:cubicBezTo>
                  <a:pt x="394" y="390"/>
                  <a:pt x="390" y="394"/>
                  <a:pt x="384" y="394"/>
                </a:cubicBezTo>
                <a:cubicBezTo>
                  <a:pt x="128" y="394"/>
                  <a:pt x="128" y="394"/>
                  <a:pt x="128" y="394"/>
                </a:cubicBezTo>
                <a:cubicBezTo>
                  <a:pt x="122" y="394"/>
                  <a:pt x="117" y="390"/>
                  <a:pt x="117" y="384"/>
                </a:cubicBezTo>
                <a:cubicBezTo>
                  <a:pt x="117" y="202"/>
                  <a:pt x="117" y="202"/>
                  <a:pt x="117" y="202"/>
                </a:cubicBezTo>
                <a:cubicBezTo>
                  <a:pt x="106" y="202"/>
                  <a:pt x="106" y="202"/>
                  <a:pt x="106" y="202"/>
                </a:cubicBezTo>
                <a:cubicBezTo>
                  <a:pt x="100" y="202"/>
                  <a:pt x="96" y="198"/>
                  <a:pt x="96" y="19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1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5" name="Group 76">
            <a:extLst>
              <a:ext uri="{FF2B5EF4-FFF2-40B4-BE49-F238E27FC236}">
                <a16:creationId xmlns:a16="http://schemas.microsoft.com/office/drawing/2014/main" id="{B896B881-312F-4F0F-AE5A-60780BC8C46B}"/>
              </a:ext>
            </a:extLst>
          </p:cNvPr>
          <p:cNvGrpSpPr>
            <a:grpSpLocks noChangeAspect="1"/>
          </p:cNvGrpSpPr>
          <p:nvPr/>
        </p:nvGrpSpPr>
        <p:grpSpPr bwMode="auto">
          <a:xfrm>
            <a:off x="3533260" y="3249537"/>
            <a:ext cx="368152" cy="368152"/>
            <a:chOff x="2306" y="626"/>
            <a:chExt cx="3635" cy="3635"/>
          </a:xfrm>
          <a:solidFill>
            <a:schemeClr val="accent1"/>
          </a:solidFill>
        </p:grpSpPr>
        <p:sp>
          <p:nvSpPr>
            <p:cNvPr id="516" name="Freeform 77">
              <a:extLst>
                <a:ext uri="{FF2B5EF4-FFF2-40B4-BE49-F238E27FC236}">
                  <a16:creationId xmlns:a16="http://schemas.microsoft.com/office/drawing/2014/main" id="{D8FB50ED-9113-400D-A157-350F4D7F34E5}"/>
                </a:ext>
              </a:extLst>
            </p:cNvPr>
            <p:cNvSpPr>
              <a:spLocks noEditPoints="1"/>
            </p:cNvSpPr>
            <p:nvPr/>
          </p:nvSpPr>
          <p:spPr bwMode="auto">
            <a:xfrm>
              <a:off x="2306" y="626"/>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78">
              <a:extLst>
                <a:ext uri="{FF2B5EF4-FFF2-40B4-BE49-F238E27FC236}">
                  <a16:creationId xmlns:a16="http://schemas.microsoft.com/office/drawing/2014/main" id="{A61B4DBE-DBBB-4AD6-A03A-0CC94E7761E4}"/>
                </a:ext>
              </a:extLst>
            </p:cNvPr>
            <p:cNvSpPr>
              <a:spLocks noEditPoints="1"/>
            </p:cNvSpPr>
            <p:nvPr/>
          </p:nvSpPr>
          <p:spPr bwMode="auto">
            <a:xfrm>
              <a:off x="2987" y="1606"/>
              <a:ext cx="2272" cy="1817"/>
            </a:xfrm>
            <a:custGeom>
              <a:avLst/>
              <a:gdLst>
                <a:gd name="T0" fmla="*/ 309 w 320"/>
                <a:gd name="T1" fmla="*/ 0 h 256"/>
                <a:gd name="T2" fmla="*/ 10 w 320"/>
                <a:gd name="T3" fmla="*/ 0 h 256"/>
                <a:gd name="T4" fmla="*/ 0 w 320"/>
                <a:gd name="T5" fmla="*/ 11 h 256"/>
                <a:gd name="T6" fmla="*/ 0 w 320"/>
                <a:gd name="T7" fmla="*/ 54 h 256"/>
                <a:gd name="T8" fmla="*/ 10 w 320"/>
                <a:gd name="T9" fmla="*/ 64 h 256"/>
                <a:gd name="T10" fmla="*/ 21 w 320"/>
                <a:gd name="T11" fmla="*/ 64 h 256"/>
                <a:gd name="T12" fmla="*/ 21 w 320"/>
                <a:gd name="T13" fmla="*/ 246 h 256"/>
                <a:gd name="T14" fmla="*/ 32 w 320"/>
                <a:gd name="T15" fmla="*/ 256 h 256"/>
                <a:gd name="T16" fmla="*/ 288 w 320"/>
                <a:gd name="T17" fmla="*/ 256 h 256"/>
                <a:gd name="T18" fmla="*/ 298 w 320"/>
                <a:gd name="T19" fmla="*/ 246 h 256"/>
                <a:gd name="T20" fmla="*/ 298 w 320"/>
                <a:gd name="T21" fmla="*/ 64 h 256"/>
                <a:gd name="T22" fmla="*/ 309 w 320"/>
                <a:gd name="T23" fmla="*/ 64 h 256"/>
                <a:gd name="T24" fmla="*/ 320 w 320"/>
                <a:gd name="T25" fmla="*/ 54 h 256"/>
                <a:gd name="T26" fmla="*/ 320 w 320"/>
                <a:gd name="T27" fmla="*/ 11 h 256"/>
                <a:gd name="T28" fmla="*/ 309 w 320"/>
                <a:gd name="T29" fmla="*/ 0 h 256"/>
                <a:gd name="T30" fmla="*/ 277 w 320"/>
                <a:gd name="T31" fmla="*/ 235 h 256"/>
                <a:gd name="T32" fmla="*/ 42 w 320"/>
                <a:gd name="T33" fmla="*/ 235 h 256"/>
                <a:gd name="T34" fmla="*/ 42 w 320"/>
                <a:gd name="T35" fmla="*/ 64 h 256"/>
                <a:gd name="T36" fmla="*/ 277 w 320"/>
                <a:gd name="T37" fmla="*/ 64 h 256"/>
                <a:gd name="T38" fmla="*/ 277 w 320"/>
                <a:gd name="T39" fmla="*/ 235 h 256"/>
                <a:gd name="T40" fmla="*/ 298 w 320"/>
                <a:gd name="T41" fmla="*/ 43 h 256"/>
                <a:gd name="T42" fmla="*/ 21 w 320"/>
                <a:gd name="T43" fmla="*/ 43 h 256"/>
                <a:gd name="T44" fmla="*/ 21 w 320"/>
                <a:gd name="T45" fmla="*/ 22 h 256"/>
                <a:gd name="T46" fmla="*/ 298 w 320"/>
                <a:gd name="T47" fmla="*/ 22 h 256"/>
                <a:gd name="T48" fmla="*/ 298 w 320"/>
                <a:gd name="T49" fmla="*/ 43 h 256"/>
                <a:gd name="T50" fmla="*/ 117 w 320"/>
                <a:gd name="T51" fmla="*/ 107 h 256"/>
                <a:gd name="T52" fmla="*/ 128 w 320"/>
                <a:gd name="T53" fmla="*/ 96 h 256"/>
                <a:gd name="T54" fmla="*/ 192 w 320"/>
                <a:gd name="T55" fmla="*/ 96 h 256"/>
                <a:gd name="T56" fmla="*/ 202 w 320"/>
                <a:gd name="T57" fmla="*/ 107 h 256"/>
                <a:gd name="T58" fmla="*/ 192 w 320"/>
                <a:gd name="T59" fmla="*/ 118 h 256"/>
                <a:gd name="T60" fmla="*/ 128 w 320"/>
                <a:gd name="T61" fmla="*/ 118 h 256"/>
                <a:gd name="T62" fmla="*/ 117 w 320"/>
                <a:gd name="T63" fmla="*/ 10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256">
                  <a:moveTo>
                    <a:pt x="309" y="0"/>
                  </a:moveTo>
                  <a:cubicBezTo>
                    <a:pt x="10" y="0"/>
                    <a:pt x="10" y="0"/>
                    <a:pt x="10" y="0"/>
                  </a:cubicBezTo>
                  <a:cubicBezTo>
                    <a:pt x="4" y="0"/>
                    <a:pt x="0" y="5"/>
                    <a:pt x="0" y="11"/>
                  </a:cubicBezTo>
                  <a:cubicBezTo>
                    <a:pt x="0" y="54"/>
                    <a:pt x="0" y="54"/>
                    <a:pt x="0" y="54"/>
                  </a:cubicBezTo>
                  <a:cubicBezTo>
                    <a:pt x="0" y="60"/>
                    <a:pt x="4" y="64"/>
                    <a:pt x="10" y="64"/>
                  </a:cubicBezTo>
                  <a:cubicBezTo>
                    <a:pt x="21" y="64"/>
                    <a:pt x="21" y="64"/>
                    <a:pt x="21" y="64"/>
                  </a:cubicBezTo>
                  <a:cubicBezTo>
                    <a:pt x="21" y="246"/>
                    <a:pt x="21" y="246"/>
                    <a:pt x="21" y="246"/>
                  </a:cubicBezTo>
                  <a:cubicBezTo>
                    <a:pt x="21" y="252"/>
                    <a:pt x="26" y="256"/>
                    <a:pt x="32" y="256"/>
                  </a:cubicBezTo>
                  <a:cubicBezTo>
                    <a:pt x="288" y="256"/>
                    <a:pt x="288" y="256"/>
                    <a:pt x="288" y="256"/>
                  </a:cubicBezTo>
                  <a:cubicBezTo>
                    <a:pt x="294" y="256"/>
                    <a:pt x="298" y="252"/>
                    <a:pt x="298" y="246"/>
                  </a:cubicBezTo>
                  <a:cubicBezTo>
                    <a:pt x="298" y="64"/>
                    <a:pt x="298" y="64"/>
                    <a:pt x="298" y="64"/>
                  </a:cubicBezTo>
                  <a:cubicBezTo>
                    <a:pt x="309" y="64"/>
                    <a:pt x="309" y="64"/>
                    <a:pt x="309" y="64"/>
                  </a:cubicBezTo>
                  <a:cubicBezTo>
                    <a:pt x="315" y="64"/>
                    <a:pt x="320" y="60"/>
                    <a:pt x="320" y="54"/>
                  </a:cubicBezTo>
                  <a:cubicBezTo>
                    <a:pt x="320" y="11"/>
                    <a:pt x="320" y="11"/>
                    <a:pt x="320" y="11"/>
                  </a:cubicBezTo>
                  <a:cubicBezTo>
                    <a:pt x="320" y="5"/>
                    <a:pt x="315" y="0"/>
                    <a:pt x="309" y="0"/>
                  </a:cubicBezTo>
                  <a:close/>
                  <a:moveTo>
                    <a:pt x="277" y="235"/>
                  </a:moveTo>
                  <a:cubicBezTo>
                    <a:pt x="42" y="235"/>
                    <a:pt x="42" y="235"/>
                    <a:pt x="42" y="235"/>
                  </a:cubicBezTo>
                  <a:cubicBezTo>
                    <a:pt x="42" y="64"/>
                    <a:pt x="42" y="64"/>
                    <a:pt x="42" y="64"/>
                  </a:cubicBezTo>
                  <a:cubicBezTo>
                    <a:pt x="277" y="64"/>
                    <a:pt x="277" y="64"/>
                    <a:pt x="277" y="64"/>
                  </a:cubicBezTo>
                  <a:lnTo>
                    <a:pt x="277" y="235"/>
                  </a:lnTo>
                  <a:close/>
                  <a:moveTo>
                    <a:pt x="298" y="43"/>
                  </a:moveTo>
                  <a:cubicBezTo>
                    <a:pt x="21" y="43"/>
                    <a:pt x="21" y="43"/>
                    <a:pt x="21" y="43"/>
                  </a:cubicBezTo>
                  <a:cubicBezTo>
                    <a:pt x="21" y="22"/>
                    <a:pt x="21" y="22"/>
                    <a:pt x="21" y="22"/>
                  </a:cubicBezTo>
                  <a:cubicBezTo>
                    <a:pt x="298" y="22"/>
                    <a:pt x="298" y="22"/>
                    <a:pt x="298" y="22"/>
                  </a:cubicBezTo>
                  <a:lnTo>
                    <a:pt x="298" y="43"/>
                  </a:lnTo>
                  <a:close/>
                  <a:moveTo>
                    <a:pt x="117" y="107"/>
                  </a:moveTo>
                  <a:cubicBezTo>
                    <a:pt x="117" y="101"/>
                    <a:pt x="122" y="96"/>
                    <a:pt x="128" y="96"/>
                  </a:cubicBezTo>
                  <a:cubicBezTo>
                    <a:pt x="192" y="96"/>
                    <a:pt x="192" y="96"/>
                    <a:pt x="192" y="96"/>
                  </a:cubicBezTo>
                  <a:cubicBezTo>
                    <a:pt x="198" y="96"/>
                    <a:pt x="202" y="101"/>
                    <a:pt x="202" y="107"/>
                  </a:cubicBezTo>
                  <a:cubicBezTo>
                    <a:pt x="202" y="113"/>
                    <a:pt x="198" y="118"/>
                    <a:pt x="192" y="118"/>
                  </a:cubicBezTo>
                  <a:cubicBezTo>
                    <a:pt x="128" y="118"/>
                    <a:pt x="128" y="118"/>
                    <a:pt x="128" y="118"/>
                  </a:cubicBezTo>
                  <a:cubicBezTo>
                    <a:pt x="122" y="118"/>
                    <a:pt x="117" y="113"/>
                    <a:pt x="117"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8" name="Freeform 61">
            <a:extLst>
              <a:ext uri="{FF2B5EF4-FFF2-40B4-BE49-F238E27FC236}">
                <a16:creationId xmlns:a16="http://schemas.microsoft.com/office/drawing/2014/main" id="{4DABC206-92C0-4DF0-96C6-C390E6CBA349}"/>
              </a:ext>
            </a:extLst>
          </p:cNvPr>
          <p:cNvSpPr>
            <a:spLocks noChangeAspect="1" noEditPoints="1"/>
          </p:cNvSpPr>
          <p:nvPr/>
        </p:nvSpPr>
        <p:spPr bwMode="auto">
          <a:xfrm>
            <a:off x="7451179" y="2531576"/>
            <a:ext cx="369021" cy="370106"/>
          </a:xfrm>
          <a:custGeom>
            <a:avLst/>
            <a:gdLst>
              <a:gd name="T0" fmla="*/ 150 w 512"/>
              <a:gd name="T1" fmla="*/ 209 h 512"/>
              <a:gd name="T2" fmla="*/ 117 w 512"/>
              <a:gd name="T3" fmla="*/ 301 h 512"/>
              <a:gd name="T4" fmla="*/ 117 w 512"/>
              <a:gd name="T5" fmla="*/ 160 h 512"/>
              <a:gd name="T6" fmla="*/ 166 w 512"/>
              <a:gd name="T7" fmla="*/ 160 h 512"/>
              <a:gd name="T8" fmla="*/ 184 w 512"/>
              <a:gd name="T9" fmla="*/ 178 h 512"/>
              <a:gd name="T10" fmla="*/ 192 w 512"/>
              <a:gd name="T11" fmla="*/ 181 h 512"/>
              <a:gd name="T12" fmla="*/ 352 w 512"/>
              <a:gd name="T13" fmla="*/ 181 h 512"/>
              <a:gd name="T14" fmla="*/ 352 w 512"/>
              <a:gd name="T15" fmla="*/ 202 h 512"/>
              <a:gd name="T16" fmla="*/ 160 w 512"/>
              <a:gd name="T17" fmla="*/ 202 h 512"/>
              <a:gd name="T18" fmla="*/ 150 w 512"/>
              <a:gd name="T19" fmla="*/ 209 h 512"/>
              <a:gd name="T20" fmla="*/ 121 w 512"/>
              <a:gd name="T21" fmla="*/ 352 h 512"/>
              <a:gd name="T22" fmla="*/ 354 w 512"/>
              <a:gd name="T23" fmla="*/ 352 h 512"/>
              <a:gd name="T24" fmla="*/ 391 w 512"/>
              <a:gd name="T25" fmla="*/ 224 h 512"/>
              <a:gd name="T26" fmla="*/ 167 w 512"/>
              <a:gd name="T27" fmla="*/ 224 h 512"/>
              <a:gd name="T28" fmla="*/ 121 w 512"/>
              <a:gd name="T29" fmla="*/ 35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4 w 512"/>
              <a:gd name="T41" fmla="*/ 207 h 512"/>
              <a:gd name="T42" fmla="*/ 405 w 512"/>
              <a:gd name="T43" fmla="*/ 202 h 512"/>
              <a:gd name="T44" fmla="*/ 373 w 512"/>
              <a:gd name="T45" fmla="*/ 202 h 512"/>
              <a:gd name="T46" fmla="*/ 373 w 512"/>
              <a:gd name="T47" fmla="*/ 170 h 512"/>
              <a:gd name="T48" fmla="*/ 362 w 512"/>
              <a:gd name="T49" fmla="*/ 160 h 512"/>
              <a:gd name="T50" fmla="*/ 196 w 512"/>
              <a:gd name="T51" fmla="*/ 160 h 512"/>
              <a:gd name="T52" fmla="*/ 178 w 512"/>
              <a:gd name="T53" fmla="*/ 141 h 512"/>
              <a:gd name="T54" fmla="*/ 170 w 512"/>
              <a:gd name="T55" fmla="*/ 138 h 512"/>
              <a:gd name="T56" fmla="*/ 106 w 512"/>
              <a:gd name="T57" fmla="*/ 138 h 512"/>
              <a:gd name="T58" fmla="*/ 96 w 512"/>
              <a:gd name="T59" fmla="*/ 149 h 512"/>
              <a:gd name="T60" fmla="*/ 96 w 512"/>
              <a:gd name="T61" fmla="*/ 362 h 512"/>
              <a:gd name="T62" fmla="*/ 96 w 512"/>
              <a:gd name="T63" fmla="*/ 362 h 512"/>
              <a:gd name="T64" fmla="*/ 96 w 512"/>
              <a:gd name="T65" fmla="*/ 362 h 512"/>
              <a:gd name="T66" fmla="*/ 98 w 512"/>
              <a:gd name="T67" fmla="*/ 369 h 512"/>
              <a:gd name="T68" fmla="*/ 98 w 512"/>
              <a:gd name="T69" fmla="*/ 369 h 512"/>
              <a:gd name="T70" fmla="*/ 98 w 512"/>
              <a:gd name="T71" fmla="*/ 369 h 512"/>
              <a:gd name="T72" fmla="*/ 100 w 512"/>
              <a:gd name="T73" fmla="*/ 371 h 512"/>
              <a:gd name="T74" fmla="*/ 106 w 512"/>
              <a:gd name="T75" fmla="*/ 373 h 512"/>
              <a:gd name="T76" fmla="*/ 106 w 512"/>
              <a:gd name="T77" fmla="*/ 373 h 512"/>
              <a:gd name="T78" fmla="*/ 106 w 512"/>
              <a:gd name="T79" fmla="*/ 373 h 512"/>
              <a:gd name="T80" fmla="*/ 362 w 512"/>
              <a:gd name="T81" fmla="*/ 373 h 512"/>
              <a:gd name="T82" fmla="*/ 373 w 512"/>
              <a:gd name="T83" fmla="*/ 365 h 512"/>
              <a:gd name="T84" fmla="*/ 415 w 512"/>
              <a:gd name="T85" fmla="*/ 216 h 512"/>
              <a:gd name="T86" fmla="*/ 414 w 512"/>
              <a:gd name="T87" fmla="*/ 2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50" y="209"/>
                </a:moveTo>
                <a:cubicBezTo>
                  <a:pt x="117" y="301"/>
                  <a:pt x="117" y="301"/>
                  <a:pt x="117" y="301"/>
                </a:cubicBezTo>
                <a:cubicBezTo>
                  <a:pt x="117" y="160"/>
                  <a:pt x="117" y="160"/>
                  <a:pt x="117" y="160"/>
                </a:cubicBezTo>
                <a:cubicBezTo>
                  <a:pt x="166" y="160"/>
                  <a:pt x="166" y="160"/>
                  <a:pt x="166" y="160"/>
                </a:cubicBezTo>
                <a:cubicBezTo>
                  <a:pt x="184" y="178"/>
                  <a:pt x="184" y="178"/>
                  <a:pt x="184" y="178"/>
                </a:cubicBezTo>
                <a:cubicBezTo>
                  <a:pt x="186" y="180"/>
                  <a:pt x="189" y="181"/>
                  <a:pt x="192" y="181"/>
                </a:cubicBezTo>
                <a:cubicBezTo>
                  <a:pt x="352" y="181"/>
                  <a:pt x="352" y="181"/>
                  <a:pt x="352" y="181"/>
                </a:cubicBezTo>
                <a:cubicBezTo>
                  <a:pt x="352" y="202"/>
                  <a:pt x="352" y="202"/>
                  <a:pt x="352" y="202"/>
                </a:cubicBezTo>
                <a:cubicBezTo>
                  <a:pt x="160" y="202"/>
                  <a:pt x="160" y="202"/>
                  <a:pt x="160" y="202"/>
                </a:cubicBezTo>
                <a:cubicBezTo>
                  <a:pt x="155" y="202"/>
                  <a:pt x="151" y="205"/>
                  <a:pt x="150" y="209"/>
                </a:cubicBezTo>
                <a:close/>
                <a:moveTo>
                  <a:pt x="121" y="352"/>
                </a:moveTo>
                <a:cubicBezTo>
                  <a:pt x="354" y="352"/>
                  <a:pt x="354" y="352"/>
                  <a:pt x="354" y="352"/>
                </a:cubicBezTo>
                <a:cubicBezTo>
                  <a:pt x="391" y="224"/>
                  <a:pt x="391" y="224"/>
                  <a:pt x="391" y="224"/>
                </a:cubicBezTo>
                <a:cubicBezTo>
                  <a:pt x="167" y="224"/>
                  <a:pt x="167" y="224"/>
                  <a:pt x="167" y="224"/>
                </a:cubicBezTo>
                <a:lnTo>
                  <a:pt x="121"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07"/>
                </a:moveTo>
                <a:cubicBezTo>
                  <a:pt x="412" y="204"/>
                  <a:pt x="408" y="202"/>
                  <a:pt x="405" y="202"/>
                </a:cubicBezTo>
                <a:cubicBezTo>
                  <a:pt x="373" y="202"/>
                  <a:pt x="373" y="202"/>
                  <a:pt x="373" y="202"/>
                </a:cubicBezTo>
                <a:cubicBezTo>
                  <a:pt x="373" y="170"/>
                  <a:pt x="373" y="170"/>
                  <a:pt x="373" y="170"/>
                </a:cubicBezTo>
                <a:cubicBezTo>
                  <a:pt x="373" y="164"/>
                  <a:pt x="368" y="160"/>
                  <a:pt x="362" y="160"/>
                </a:cubicBezTo>
                <a:cubicBezTo>
                  <a:pt x="196" y="160"/>
                  <a:pt x="196" y="160"/>
                  <a:pt x="196" y="160"/>
                </a:cubicBezTo>
                <a:cubicBezTo>
                  <a:pt x="178" y="141"/>
                  <a:pt x="178" y="141"/>
                  <a:pt x="178" y="141"/>
                </a:cubicBezTo>
                <a:cubicBezTo>
                  <a:pt x="176" y="139"/>
                  <a:pt x="173" y="138"/>
                  <a:pt x="170" y="138"/>
                </a:cubicBezTo>
                <a:cubicBezTo>
                  <a:pt x="106" y="138"/>
                  <a:pt x="106" y="138"/>
                  <a:pt x="106" y="138"/>
                </a:cubicBezTo>
                <a:cubicBezTo>
                  <a:pt x="100" y="138"/>
                  <a:pt x="96" y="143"/>
                  <a:pt x="96" y="149"/>
                </a:cubicBezTo>
                <a:cubicBezTo>
                  <a:pt x="96" y="362"/>
                  <a:pt x="96" y="362"/>
                  <a:pt x="96" y="362"/>
                </a:cubicBezTo>
                <a:cubicBezTo>
                  <a:pt x="96" y="362"/>
                  <a:pt x="96" y="362"/>
                  <a:pt x="96" y="362"/>
                </a:cubicBezTo>
                <a:cubicBezTo>
                  <a:pt x="96" y="362"/>
                  <a:pt x="96" y="362"/>
                  <a:pt x="96" y="362"/>
                </a:cubicBezTo>
                <a:cubicBezTo>
                  <a:pt x="96" y="365"/>
                  <a:pt x="97" y="367"/>
                  <a:pt x="98" y="369"/>
                </a:cubicBezTo>
                <a:cubicBezTo>
                  <a:pt x="98" y="369"/>
                  <a:pt x="98" y="369"/>
                  <a:pt x="98" y="369"/>
                </a:cubicBezTo>
                <a:cubicBezTo>
                  <a:pt x="98" y="369"/>
                  <a:pt x="98" y="369"/>
                  <a:pt x="98" y="369"/>
                </a:cubicBezTo>
                <a:cubicBezTo>
                  <a:pt x="99" y="370"/>
                  <a:pt x="100" y="370"/>
                  <a:pt x="100" y="371"/>
                </a:cubicBezTo>
                <a:cubicBezTo>
                  <a:pt x="102" y="372"/>
                  <a:pt x="104" y="373"/>
                  <a:pt x="106" y="373"/>
                </a:cubicBezTo>
                <a:cubicBezTo>
                  <a:pt x="106" y="373"/>
                  <a:pt x="106" y="373"/>
                  <a:pt x="106" y="373"/>
                </a:cubicBezTo>
                <a:cubicBezTo>
                  <a:pt x="106" y="373"/>
                  <a:pt x="106" y="373"/>
                  <a:pt x="106" y="373"/>
                </a:cubicBezTo>
                <a:cubicBezTo>
                  <a:pt x="362" y="373"/>
                  <a:pt x="362" y="373"/>
                  <a:pt x="362" y="373"/>
                </a:cubicBezTo>
                <a:cubicBezTo>
                  <a:pt x="367" y="373"/>
                  <a:pt x="371" y="370"/>
                  <a:pt x="373" y="365"/>
                </a:cubicBezTo>
                <a:cubicBezTo>
                  <a:pt x="415" y="216"/>
                  <a:pt x="415" y="216"/>
                  <a:pt x="415" y="216"/>
                </a:cubicBezTo>
                <a:cubicBezTo>
                  <a:pt x="416" y="213"/>
                  <a:pt x="416" y="209"/>
                  <a:pt x="414" y="20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9" name="Group 64">
            <a:extLst>
              <a:ext uri="{FF2B5EF4-FFF2-40B4-BE49-F238E27FC236}">
                <a16:creationId xmlns:a16="http://schemas.microsoft.com/office/drawing/2014/main" id="{B52D28BB-692D-49BF-BF26-30282DE42D72}"/>
              </a:ext>
            </a:extLst>
          </p:cNvPr>
          <p:cNvGrpSpPr>
            <a:grpSpLocks noChangeAspect="1"/>
          </p:cNvGrpSpPr>
          <p:nvPr/>
        </p:nvGrpSpPr>
        <p:grpSpPr bwMode="auto">
          <a:xfrm>
            <a:off x="7885119" y="2531576"/>
            <a:ext cx="369021" cy="369021"/>
            <a:chOff x="5009" y="6"/>
            <a:chExt cx="340" cy="340"/>
          </a:xfrm>
          <a:solidFill>
            <a:schemeClr val="accent1"/>
          </a:solidFill>
        </p:grpSpPr>
        <p:sp>
          <p:nvSpPr>
            <p:cNvPr id="520" name="Freeform 65">
              <a:extLst>
                <a:ext uri="{FF2B5EF4-FFF2-40B4-BE49-F238E27FC236}">
                  <a16:creationId xmlns:a16="http://schemas.microsoft.com/office/drawing/2014/main" id="{B0159572-7382-4C28-AFF7-B115DA32E693}"/>
                </a:ext>
              </a:extLst>
            </p:cNvPr>
            <p:cNvSpPr>
              <a:spLocks noEditPoints="1"/>
            </p:cNvSpPr>
            <p:nvPr/>
          </p:nvSpPr>
          <p:spPr bwMode="auto">
            <a:xfrm>
              <a:off x="5009"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66">
              <a:extLst>
                <a:ext uri="{FF2B5EF4-FFF2-40B4-BE49-F238E27FC236}">
                  <a16:creationId xmlns:a16="http://schemas.microsoft.com/office/drawing/2014/main" id="{1D0C00E6-5157-4084-8456-63A590216E55}"/>
                </a:ext>
              </a:extLst>
            </p:cNvPr>
            <p:cNvSpPr>
              <a:spLocks noEditPoints="1"/>
            </p:cNvSpPr>
            <p:nvPr/>
          </p:nvSpPr>
          <p:spPr bwMode="auto">
            <a:xfrm>
              <a:off x="5073" y="98"/>
              <a:ext cx="212" cy="156"/>
            </a:xfrm>
            <a:custGeom>
              <a:avLst/>
              <a:gdLst>
                <a:gd name="T0" fmla="*/ 10 w 320"/>
                <a:gd name="T1" fmla="*/ 235 h 235"/>
                <a:gd name="T2" fmla="*/ 10 w 320"/>
                <a:gd name="T3" fmla="*/ 235 h 235"/>
                <a:gd name="T4" fmla="*/ 4 w 320"/>
                <a:gd name="T5" fmla="*/ 233 h 235"/>
                <a:gd name="T6" fmla="*/ 2 w 320"/>
                <a:gd name="T7" fmla="*/ 231 h 235"/>
                <a:gd name="T8" fmla="*/ 2 w 320"/>
                <a:gd name="T9" fmla="*/ 231 h 235"/>
                <a:gd name="T10" fmla="*/ 2 w 320"/>
                <a:gd name="T11" fmla="*/ 231 h 235"/>
                <a:gd name="T12" fmla="*/ 0 w 320"/>
                <a:gd name="T13" fmla="*/ 224 h 235"/>
                <a:gd name="T14" fmla="*/ 0 w 320"/>
                <a:gd name="T15" fmla="*/ 224 h 235"/>
                <a:gd name="T16" fmla="*/ 0 w 320"/>
                <a:gd name="T17" fmla="*/ 224 h 235"/>
                <a:gd name="T18" fmla="*/ 0 w 320"/>
                <a:gd name="T19" fmla="*/ 224 h 235"/>
                <a:gd name="T20" fmla="*/ 0 w 320"/>
                <a:gd name="T21" fmla="*/ 224 h 235"/>
                <a:gd name="T22" fmla="*/ 0 w 320"/>
                <a:gd name="T23" fmla="*/ 11 h 235"/>
                <a:gd name="T24" fmla="*/ 10 w 320"/>
                <a:gd name="T25" fmla="*/ 0 h 235"/>
                <a:gd name="T26" fmla="*/ 74 w 320"/>
                <a:gd name="T27" fmla="*/ 0 h 235"/>
                <a:gd name="T28" fmla="*/ 82 w 320"/>
                <a:gd name="T29" fmla="*/ 3 h 235"/>
                <a:gd name="T30" fmla="*/ 100 w 320"/>
                <a:gd name="T31" fmla="*/ 22 h 235"/>
                <a:gd name="T32" fmla="*/ 266 w 320"/>
                <a:gd name="T33" fmla="*/ 22 h 235"/>
                <a:gd name="T34" fmla="*/ 277 w 320"/>
                <a:gd name="T35" fmla="*/ 32 h 235"/>
                <a:gd name="T36" fmla="*/ 277 w 320"/>
                <a:gd name="T37" fmla="*/ 64 h 235"/>
                <a:gd name="T38" fmla="*/ 309 w 320"/>
                <a:gd name="T39" fmla="*/ 64 h 235"/>
                <a:gd name="T40" fmla="*/ 318 w 320"/>
                <a:gd name="T41" fmla="*/ 69 h 235"/>
                <a:gd name="T42" fmla="*/ 319 w 320"/>
                <a:gd name="T43" fmla="*/ 78 h 235"/>
                <a:gd name="T44" fmla="*/ 277 w 320"/>
                <a:gd name="T45" fmla="*/ 227 h 235"/>
                <a:gd name="T46" fmla="*/ 266 w 320"/>
                <a:gd name="T47" fmla="*/ 235 h 235"/>
                <a:gd name="T48" fmla="*/ 10 w 320"/>
                <a:gd name="T49" fmla="*/ 235 h 235"/>
                <a:gd name="T50" fmla="*/ 10 w 320"/>
                <a:gd name="T51" fmla="*/ 235 h 235"/>
                <a:gd name="T52" fmla="*/ 25 w 320"/>
                <a:gd name="T53" fmla="*/ 214 h 235"/>
                <a:gd name="T54" fmla="*/ 258 w 320"/>
                <a:gd name="T55" fmla="*/ 214 h 235"/>
                <a:gd name="T56" fmla="*/ 295 w 320"/>
                <a:gd name="T57" fmla="*/ 86 h 235"/>
                <a:gd name="T58" fmla="*/ 71 w 320"/>
                <a:gd name="T59" fmla="*/ 86 h 235"/>
                <a:gd name="T60" fmla="*/ 25 w 320"/>
                <a:gd name="T61" fmla="*/ 214 h 235"/>
                <a:gd name="T62" fmla="*/ 21 w 320"/>
                <a:gd name="T63" fmla="*/ 22 h 235"/>
                <a:gd name="T64" fmla="*/ 21 w 320"/>
                <a:gd name="T65" fmla="*/ 163 h 235"/>
                <a:gd name="T66" fmla="*/ 54 w 320"/>
                <a:gd name="T67" fmla="*/ 71 h 235"/>
                <a:gd name="T68" fmla="*/ 64 w 320"/>
                <a:gd name="T69" fmla="*/ 64 h 235"/>
                <a:gd name="T70" fmla="*/ 256 w 320"/>
                <a:gd name="T71" fmla="*/ 64 h 235"/>
                <a:gd name="T72" fmla="*/ 256 w 320"/>
                <a:gd name="T73" fmla="*/ 43 h 235"/>
                <a:gd name="T74" fmla="*/ 96 w 320"/>
                <a:gd name="T75" fmla="*/ 43 h 235"/>
                <a:gd name="T76" fmla="*/ 88 w 320"/>
                <a:gd name="T77" fmla="*/ 40 h 235"/>
                <a:gd name="T78" fmla="*/ 70 w 320"/>
                <a:gd name="T79" fmla="*/ 22 h 235"/>
                <a:gd name="T80" fmla="*/ 21 w 320"/>
                <a:gd name="T81"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35">
                  <a:moveTo>
                    <a:pt x="10" y="235"/>
                  </a:moveTo>
                  <a:cubicBezTo>
                    <a:pt x="10" y="235"/>
                    <a:pt x="10" y="235"/>
                    <a:pt x="10" y="235"/>
                  </a:cubicBezTo>
                  <a:cubicBezTo>
                    <a:pt x="8" y="235"/>
                    <a:pt x="6" y="234"/>
                    <a:pt x="4" y="233"/>
                  </a:cubicBezTo>
                  <a:cubicBezTo>
                    <a:pt x="4" y="232"/>
                    <a:pt x="3" y="232"/>
                    <a:pt x="2" y="231"/>
                  </a:cubicBezTo>
                  <a:cubicBezTo>
                    <a:pt x="2" y="231"/>
                    <a:pt x="2" y="231"/>
                    <a:pt x="2" y="231"/>
                  </a:cubicBezTo>
                  <a:cubicBezTo>
                    <a:pt x="2" y="231"/>
                    <a:pt x="2" y="231"/>
                    <a:pt x="2" y="231"/>
                  </a:cubicBezTo>
                  <a:cubicBezTo>
                    <a:pt x="1" y="229"/>
                    <a:pt x="0" y="227"/>
                    <a:pt x="0" y="224"/>
                  </a:cubicBezTo>
                  <a:cubicBezTo>
                    <a:pt x="0" y="224"/>
                    <a:pt x="0" y="224"/>
                    <a:pt x="0" y="224"/>
                  </a:cubicBezTo>
                  <a:cubicBezTo>
                    <a:pt x="0" y="224"/>
                    <a:pt x="0" y="224"/>
                    <a:pt x="0" y="224"/>
                  </a:cubicBezTo>
                  <a:cubicBezTo>
                    <a:pt x="0" y="224"/>
                    <a:pt x="0" y="224"/>
                    <a:pt x="0" y="224"/>
                  </a:cubicBezTo>
                  <a:cubicBezTo>
                    <a:pt x="0" y="224"/>
                    <a:pt x="0" y="224"/>
                    <a:pt x="0" y="224"/>
                  </a:cubicBezTo>
                  <a:cubicBezTo>
                    <a:pt x="0" y="11"/>
                    <a:pt x="0" y="11"/>
                    <a:pt x="0" y="11"/>
                  </a:cubicBezTo>
                  <a:cubicBezTo>
                    <a:pt x="0" y="5"/>
                    <a:pt x="4" y="0"/>
                    <a:pt x="10" y="0"/>
                  </a:cubicBezTo>
                  <a:cubicBezTo>
                    <a:pt x="74" y="0"/>
                    <a:pt x="74" y="0"/>
                    <a:pt x="74" y="0"/>
                  </a:cubicBezTo>
                  <a:cubicBezTo>
                    <a:pt x="77" y="0"/>
                    <a:pt x="80" y="1"/>
                    <a:pt x="82" y="3"/>
                  </a:cubicBezTo>
                  <a:cubicBezTo>
                    <a:pt x="100" y="22"/>
                    <a:pt x="100" y="22"/>
                    <a:pt x="100" y="22"/>
                  </a:cubicBezTo>
                  <a:cubicBezTo>
                    <a:pt x="266" y="22"/>
                    <a:pt x="266" y="22"/>
                    <a:pt x="266" y="22"/>
                  </a:cubicBezTo>
                  <a:cubicBezTo>
                    <a:pt x="272" y="22"/>
                    <a:pt x="277" y="26"/>
                    <a:pt x="277" y="32"/>
                  </a:cubicBezTo>
                  <a:cubicBezTo>
                    <a:pt x="277" y="64"/>
                    <a:pt x="277" y="64"/>
                    <a:pt x="277" y="64"/>
                  </a:cubicBezTo>
                  <a:cubicBezTo>
                    <a:pt x="309" y="64"/>
                    <a:pt x="309" y="64"/>
                    <a:pt x="309" y="64"/>
                  </a:cubicBezTo>
                  <a:cubicBezTo>
                    <a:pt x="312" y="64"/>
                    <a:pt x="316" y="66"/>
                    <a:pt x="318" y="69"/>
                  </a:cubicBezTo>
                  <a:cubicBezTo>
                    <a:pt x="320" y="71"/>
                    <a:pt x="320" y="75"/>
                    <a:pt x="319" y="78"/>
                  </a:cubicBezTo>
                  <a:cubicBezTo>
                    <a:pt x="277" y="227"/>
                    <a:pt x="277" y="227"/>
                    <a:pt x="277" y="227"/>
                  </a:cubicBezTo>
                  <a:cubicBezTo>
                    <a:pt x="275" y="232"/>
                    <a:pt x="271" y="235"/>
                    <a:pt x="266" y="235"/>
                  </a:cubicBezTo>
                  <a:cubicBezTo>
                    <a:pt x="10" y="235"/>
                    <a:pt x="10" y="235"/>
                    <a:pt x="10" y="235"/>
                  </a:cubicBezTo>
                  <a:cubicBezTo>
                    <a:pt x="10" y="235"/>
                    <a:pt x="10" y="235"/>
                    <a:pt x="10" y="235"/>
                  </a:cubicBezTo>
                  <a:close/>
                  <a:moveTo>
                    <a:pt x="25" y="214"/>
                  </a:moveTo>
                  <a:cubicBezTo>
                    <a:pt x="258" y="214"/>
                    <a:pt x="258" y="214"/>
                    <a:pt x="258" y="214"/>
                  </a:cubicBezTo>
                  <a:cubicBezTo>
                    <a:pt x="295" y="86"/>
                    <a:pt x="295" y="86"/>
                    <a:pt x="295" y="86"/>
                  </a:cubicBezTo>
                  <a:cubicBezTo>
                    <a:pt x="71" y="86"/>
                    <a:pt x="71" y="86"/>
                    <a:pt x="71" y="86"/>
                  </a:cubicBezTo>
                  <a:lnTo>
                    <a:pt x="25" y="214"/>
                  </a:lnTo>
                  <a:close/>
                  <a:moveTo>
                    <a:pt x="21" y="22"/>
                  </a:moveTo>
                  <a:cubicBezTo>
                    <a:pt x="21" y="163"/>
                    <a:pt x="21" y="163"/>
                    <a:pt x="21" y="163"/>
                  </a:cubicBezTo>
                  <a:cubicBezTo>
                    <a:pt x="54" y="71"/>
                    <a:pt x="54" y="71"/>
                    <a:pt x="54" y="71"/>
                  </a:cubicBezTo>
                  <a:cubicBezTo>
                    <a:pt x="55" y="67"/>
                    <a:pt x="59" y="64"/>
                    <a:pt x="64" y="64"/>
                  </a:cubicBezTo>
                  <a:cubicBezTo>
                    <a:pt x="256" y="64"/>
                    <a:pt x="256" y="64"/>
                    <a:pt x="256" y="64"/>
                  </a:cubicBezTo>
                  <a:cubicBezTo>
                    <a:pt x="256" y="43"/>
                    <a:pt x="256" y="43"/>
                    <a:pt x="256" y="43"/>
                  </a:cubicBezTo>
                  <a:cubicBezTo>
                    <a:pt x="96" y="43"/>
                    <a:pt x="96" y="43"/>
                    <a:pt x="96" y="43"/>
                  </a:cubicBezTo>
                  <a:cubicBezTo>
                    <a:pt x="93" y="43"/>
                    <a:pt x="90" y="42"/>
                    <a:pt x="88" y="40"/>
                  </a:cubicBezTo>
                  <a:cubicBezTo>
                    <a:pt x="70" y="22"/>
                    <a:pt x="70" y="22"/>
                    <a:pt x="70" y="22"/>
                  </a:cubicBezTo>
                  <a:lnTo>
                    <a:pt x="21"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24" name="Group 354">
            <a:extLst>
              <a:ext uri="{FF2B5EF4-FFF2-40B4-BE49-F238E27FC236}">
                <a16:creationId xmlns:a16="http://schemas.microsoft.com/office/drawing/2014/main" id="{19FBD678-AD0D-4437-93CD-E06281D0ED96}"/>
              </a:ext>
            </a:extLst>
          </p:cNvPr>
          <p:cNvGrpSpPr>
            <a:grpSpLocks noChangeAspect="1"/>
          </p:cNvGrpSpPr>
          <p:nvPr/>
        </p:nvGrpSpPr>
        <p:grpSpPr bwMode="auto">
          <a:xfrm>
            <a:off x="8319059" y="2531576"/>
            <a:ext cx="367631" cy="367631"/>
            <a:chOff x="5414" y="1190"/>
            <a:chExt cx="340" cy="340"/>
          </a:xfrm>
          <a:solidFill>
            <a:schemeClr val="accent4"/>
          </a:solidFill>
        </p:grpSpPr>
        <p:sp>
          <p:nvSpPr>
            <p:cNvPr id="525" name="Freeform 355">
              <a:extLst>
                <a:ext uri="{FF2B5EF4-FFF2-40B4-BE49-F238E27FC236}">
                  <a16:creationId xmlns:a16="http://schemas.microsoft.com/office/drawing/2014/main" id="{46379FD0-3BB8-44D3-89FB-CD89C5149F3A}"/>
                </a:ext>
              </a:extLst>
            </p:cNvPr>
            <p:cNvSpPr>
              <a:spLocks/>
            </p:cNvSpPr>
            <p:nvPr/>
          </p:nvSpPr>
          <p:spPr bwMode="auto">
            <a:xfrm>
              <a:off x="5520" y="1268"/>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8" name="Freeform 356">
              <a:extLst>
                <a:ext uri="{FF2B5EF4-FFF2-40B4-BE49-F238E27FC236}">
                  <a16:creationId xmlns:a16="http://schemas.microsoft.com/office/drawing/2014/main" id="{2242F94C-83CA-4E96-92CE-1C0A0912428C}"/>
                </a:ext>
              </a:extLst>
            </p:cNvPr>
            <p:cNvSpPr>
              <a:spLocks/>
            </p:cNvSpPr>
            <p:nvPr/>
          </p:nvSpPr>
          <p:spPr bwMode="auto">
            <a:xfrm>
              <a:off x="5612" y="127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2" name="Freeform 357">
              <a:extLst>
                <a:ext uri="{FF2B5EF4-FFF2-40B4-BE49-F238E27FC236}">
                  <a16:creationId xmlns:a16="http://schemas.microsoft.com/office/drawing/2014/main" id="{966ECC23-7591-4561-9992-91765502E96C}"/>
                </a:ext>
              </a:extLst>
            </p:cNvPr>
            <p:cNvSpPr>
              <a:spLocks noEditPoints="1"/>
            </p:cNvSpPr>
            <p:nvPr/>
          </p:nvSpPr>
          <p:spPr bwMode="auto">
            <a:xfrm>
              <a:off x="5414" y="119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3" name="Group 360">
            <a:extLst>
              <a:ext uri="{FF2B5EF4-FFF2-40B4-BE49-F238E27FC236}">
                <a16:creationId xmlns:a16="http://schemas.microsoft.com/office/drawing/2014/main" id="{01432A2C-67AE-499C-A8CA-CB40BFC69D01}"/>
              </a:ext>
            </a:extLst>
          </p:cNvPr>
          <p:cNvGrpSpPr>
            <a:grpSpLocks noChangeAspect="1"/>
          </p:cNvGrpSpPr>
          <p:nvPr/>
        </p:nvGrpSpPr>
        <p:grpSpPr bwMode="auto">
          <a:xfrm>
            <a:off x="8751609" y="2531576"/>
            <a:ext cx="367631" cy="367631"/>
            <a:chOff x="5799" y="1235"/>
            <a:chExt cx="340" cy="340"/>
          </a:xfrm>
          <a:solidFill>
            <a:schemeClr val="accent4"/>
          </a:solidFill>
        </p:grpSpPr>
        <p:sp>
          <p:nvSpPr>
            <p:cNvPr id="534" name="Freeform 361">
              <a:extLst>
                <a:ext uri="{FF2B5EF4-FFF2-40B4-BE49-F238E27FC236}">
                  <a16:creationId xmlns:a16="http://schemas.microsoft.com/office/drawing/2014/main" id="{8AA5A5C6-5ECC-4D8A-A79B-2675986DC011}"/>
                </a:ext>
              </a:extLst>
            </p:cNvPr>
            <p:cNvSpPr>
              <a:spLocks noEditPoints="1"/>
            </p:cNvSpPr>
            <p:nvPr/>
          </p:nvSpPr>
          <p:spPr bwMode="auto">
            <a:xfrm>
              <a:off x="5891" y="1299"/>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5" name="Freeform 362">
              <a:extLst>
                <a:ext uri="{FF2B5EF4-FFF2-40B4-BE49-F238E27FC236}">
                  <a16:creationId xmlns:a16="http://schemas.microsoft.com/office/drawing/2014/main" id="{970533A7-395A-4A73-B9B8-2196F78DCAEE}"/>
                </a:ext>
              </a:extLst>
            </p:cNvPr>
            <p:cNvSpPr>
              <a:spLocks noEditPoints="1"/>
            </p:cNvSpPr>
            <p:nvPr/>
          </p:nvSpPr>
          <p:spPr bwMode="auto">
            <a:xfrm>
              <a:off x="5799" y="12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6" name="Group 535">
            <a:extLst>
              <a:ext uri="{FF2B5EF4-FFF2-40B4-BE49-F238E27FC236}">
                <a16:creationId xmlns:a16="http://schemas.microsoft.com/office/drawing/2014/main" id="{D2A08C0E-B004-450D-95BE-3409C358EF53}"/>
              </a:ext>
            </a:extLst>
          </p:cNvPr>
          <p:cNvGrpSpPr>
            <a:grpSpLocks noChangeAspect="1"/>
          </p:cNvGrpSpPr>
          <p:nvPr/>
        </p:nvGrpSpPr>
        <p:grpSpPr bwMode="auto">
          <a:xfrm>
            <a:off x="9618754" y="2531576"/>
            <a:ext cx="369676" cy="369676"/>
            <a:chOff x="1153" y="770"/>
            <a:chExt cx="340" cy="340"/>
          </a:xfrm>
          <a:solidFill>
            <a:schemeClr val="accent3"/>
          </a:solidFill>
        </p:grpSpPr>
        <p:sp>
          <p:nvSpPr>
            <p:cNvPr id="537" name="Freeform 276">
              <a:extLst>
                <a:ext uri="{FF2B5EF4-FFF2-40B4-BE49-F238E27FC236}">
                  <a16:creationId xmlns:a16="http://schemas.microsoft.com/office/drawing/2014/main" id="{81C3C902-699A-46DF-8EAE-7571742DAE8B}"/>
                </a:ext>
              </a:extLst>
            </p:cNvPr>
            <p:cNvSpPr>
              <a:spLocks noEditPoints="1"/>
            </p:cNvSpPr>
            <p:nvPr/>
          </p:nvSpPr>
          <p:spPr bwMode="auto">
            <a:xfrm>
              <a:off x="1153"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8" name="Freeform 277">
              <a:extLst>
                <a:ext uri="{FF2B5EF4-FFF2-40B4-BE49-F238E27FC236}">
                  <a16:creationId xmlns:a16="http://schemas.microsoft.com/office/drawing/2014/main" id="{A5E86185-D580-4F58-9160-CF1002C98D8F}"/>
                </a:ext>
              </a:extLst>
            </p:cNvPr>
            <p:cNvSpPr>
              <a:spLocks noEditPoints="1"/>
            </p:cNvSpPr>
            <p:nvPr/>
          </p:nvSpPr>
          <p:spPr bwMode="auto">
            <a:xfrm>
              <a:off x="1302" y="834"/>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9" name="Freeform 278">
              <a:extLst>
                <a:ext uri="{FF2B5EF4-FFF2-40B4-BE49-F238E27FC236}">
                  <a16:creationId xmlns:a16="http://schemas.microsoft.com/office/drawing/2014/main" id="{ADFC12B5-4914-4155-829F-9872F8C458E2}"/>
                </a:ext>
              </a:extLst>
            </p:cNvPr>
            <p:cNvSpPr>
              <a:spLocks noEditPoints="1"/>
            </p:cNvSpPr>
            <p:nvPr/>
          </p:nvSpPr>
          <p:spPr bwMode="auto">
            <a:xfrm>
              <a:off x="1265" y="890"/>
              <a:ext cx="116" cy="156"/>
            </a:xfrm>
            <a:custGeom>
              <a:avLst/>
              <a:gdLst>
                <a:gd name="T0" fmla="*/ 161 w 174"/>
                <a:gd name="T1" fmla="*/ 200 h 235"/>
                <a:gd name="T2" fmla="*/ 161 w 174"/>
                <a:gd name="T3" fmla="*/ 75 h 235"/>
                <a:gd name="T4" fmla="*/ 172 w 174"/>
                <a:gd name="T5" fmla="*/ 64 h 235"/>
                <a:gd name="T6" fmla="*/ 161 w 174"/>
                <a:gd name="T7" fmla="*/ 53 h 235"/>
                <a:gd name="T8" fmla="*/ 140 w 174"/>
                <a:gd name="T9" fmla="*/ 53 h 235"/>
                <a:gd name="T10" fmla="*/ 140 w 174"/>
                <a:gd name="T11" fmla="*/ 11 h 235"/>
                <a:gd name="T12" fmla="*/ 129 w 174"/>
                <a:gd name="T13" fmla="*/ 0 h 235"/>
                <a:gd name="T14" fmla="*/ 44 w 174"/>
                <a:gd name="T15" fmla="*/ 0 h 235"/>
                <a:gd name="T16" fmla="*/ 33 w 174"/>
                <a:gd name="T17" fmla="*/ 11 h 235"/>
                <a:gd name="T18" fmla="*/ 33 w 174"/>
                <a:gd name="T19" fmla="*/ 53 h 235"/>
                <a:gd name="T20" fmla="*/ 12 w 174"/>
                <a:gd name="T21" fmla="*/ 53 h 235"/>
                <a:gd name="T22" fmla="*/ 1 w 174"/>
                <a:gd name="T23" fmla="*/ 64 h 235"/>
                <a:gd name="T24" fmla="*/ 12 w 174"/>
                <a:gd name="T25" fmla="*/ 75 h 235"/>
                <a:gd name="T26" fmla="*/ 12 w 174"/>
                <a:gd name="T27" fmla="*/ 200 h 235"/>
                <a:gd name="T28" fmla="*/ 2 w 174"/>
                <a:gd name="T29" fmla="*/ 219 h 235"/>
                <a:gd name="T30" fmla="*/ 7 w 174"/>
                <a:gd name="T31" fmla="*/ 234 h 235"/>
                <a:gd name="T32" fmla="*/ 12 w 174"/>
                <a:gd name="T33" fmla="*/ 235 h 235"/>
                <a:gd name="T34" fmla="*/ 12 w 174"/>
                <a:gd name="T35" fmla="*/ 235 h 235"/>
                <a:gd name="T36" fmla="*/ 161 w 174"/>
                <a:gd name="T37" fmla="*/ 235 h 235"/>
                <a:gd name="T38" fmla="*/ 161 w 174"/>
                <a:gd name="T39" fmla="*/ 235 h 235"/>
                <a:gd name="T40" fmla="*/ 161 w 174"/>
                <a:gd name="T41" fmla="*/ 235 h 235"/>
                <a:gd name="T42" fmla="*/ 166 w 174"/>
                <a:gd name="T43" fmla="*/ 234 h 235"/>
                <a:gd name="T44" fmla="*/ 171 w 174"/>
                <a:gd name="T45" fmla="*/ 219 h 235"/>
                <a:gd name="T46" fmla="*/ 161 w 174"/>
                <a:gd name="T47" fmla="*/ 200 h 235"/>
                <a:gd name="T48" fmla="*/ 55 w 174"/>
                <a:gd name="T49" fmla="*/ 21 h 235"/>
                <a:gd name="T50" fmla="*/ 119 w 174"/>
                <a:gd name="T51" fmla="*/ 21 h 235"/>
                <a:gd name="T52" fmla="*/ 119 w 174"/>
                <a:gd name="T53" fmla="*/ 53 h 235"/>
                <a:gd name="T54" fmla="*/ 55 w 174"/>
                <a:gd name="T55" fmla="*/ 53 h 235"/>
                <a:gd name="T56" fmla="*/ 55 w 174"/>
                <a:gd name="T57" fmla="*/ 21 h 235"/>
                <a:gd name="T58" fmla="*/ 140 w 174"/>
                <a:gd name="T59" fmla="*/ 75 h 235"/>
                <a:gd name="T60" fmla="*/ 140 w 174"/>
                <a:gd name="T61" fmla="*/ 203 h 235"/>
                <a:gd name="T62" fmla="*/ 141 w 174"/>
                <a:gd name="T63" fmla="*/ 207 h 235"/>
                <a:gd name="T64" fmla="*/ 144 w 174"/>
                <a:gd name="T65" fmla="*/ 213 h 235"/>
                <a:gd name="T66" fmla="*/ 29 w 174"/>
                <a:gd name="T67" fmla="*/ 213 h 235"/>
                <a:gd name="T68" fmla="*/ 32 w 174"/>
                <a:gd name="T69" fmla="*/ 207 h 235"/>
                <a:gd name="T70" fmla="*/ 33 w 174"/>
                <a:gd name="T71" fmla="*/ 203 h 235"/>
                <a:gd name="T72" fmla="*/ 33 w 174"/>
                <a:gd name="T73" fmla="*/ 75 h 235"/>
                <a:gd name="T74" fmla="*/ 140 w 174"/>
                <a:gd name="T7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235">
                  <a:moveTo>
                    <a:pt x="161" y="200"/>
                  </a:moveTo>
                  <a:cubicBezTo>
                    <a:pt x="161" y="75"/>
                    <a:pt x="161" y="75"/>
                    <a:pt x="161" y="75"/>
                  </a:cubicBezTo>
                  <a:cubicBezTo>
                    <a:pt x="167" y="75"/>
                    <a:pt x="172" y="70"/>
                    <a:pt x="172" y="64"/>
                  </a:cubicBezTo>
                  <a:cubicBezTo>
                    <a:pt x="172" y="58"/>
                    <a:pt x="167" y="53"/>
                    <a:pt x="161" y="53"/>
                  </a:cubicBezTo>
                  <a:cubicBezTo>
                    <a:pt x="140" y="53"/>
                    <a:pt x="140" y="53"/>
                    <a:pt x="140" y="53"/>
                  </a:cubicBezTo>
                  <a:cubicBezTo>
                    <a:pt x="140" y="11"/>
                    <a:pt x="140" y="11"/>
                    <a:pt x="140" y="11"/>
                  </a:cubicBezTo>
                  <a:cubicBezTo>
                    <a:pt x="140" y="5"/>
                    <a:pt x="135" y="0"/>
                    <a:pt x="129" y="0"/>
                  </a:cubicBezTo>
                  <a:cubicBezTo>
                    <a:pt x="44" y="0"/>
                    <a:pt x="44" y="0"/>
                    <a:pt x="44" y="0"/>
                  </a:cubicBezTo>
                  <a:cubicBezTo>
                    <a:pt x="38" y="0"/>
                    <a:pt x="33" y="5"/>
                    <a:pt x="33" y="11"/>
                  </a:cubicBezTo>
                  <a:cubicBezTo>
                    <a:pt x="33" y="53"/>
                    <a:pt x="33" y="53"/>
                    <a:pt x="33" y="53"/>
                  </a:cubicBezTo>
                  <a:cubicBezTo>
                    <a:pt x="12" y="53"/>
                    <a:pt x="12" y="53"/>
                    <a:pt x="12" y="53"/>
                  </a:cubicBezTo>
                  <a:cubicBezTo>
                    <a:pt x="6" y="53"/>
                    <a:pt x="1" y="58"/>
                    <a:pt x="1" y="64"/>
                  </a:cubicBezTo>
                  <a:cubicBezTo>
                    <a:pt x="1" y="70"/>
                    <a:pt x="6" y="75"/>
                    <a:pt x="12" y="75"/>
                  </a:cubicBezTo>
                  <a:cubicBezTo>
                    <a:pt x="12" y="200"/>
                    <a:pt x="12" y="200"/>
                    <a:pt x="12" y="200"/>
                  </a:cubicBezTo>
                  <a:cubicBezTo>
                    <a:pt x="2" y="219"/>
                    <a:pt x="2" y="219"/>
                    <a:pt x="2" y="219"/>
                  </a:cubicBezTo>
                  <a:cubicBezTo>
                    <a:pt x="0" y="225"/>
                    <a:pt x="2" y="231"/>
                    <a:pt x="7" y="234"/>
                  </a:cubicBezTo>
                  <a:cubicBezTo>
                    <a:pt x="9" y="234"/>
                    <a:pt x="10" y="235"/>
                    <a:pt x="12" y="235"/>
                  </a:cubicBezTo>
                  <a:cubicBezTo>
                    <a:pt x="12" y="235"/>
                    <a:pt x="12" y="235"/>
                    <a:pt x="12" y="235"/>
                  </a:cubicBezTo>
                  <a:cubicBezTo>
                    <a:pt x="161" y="235"/>
                    <a:pt x="161" y="235"/>
                    <a:pt x="161" y="235"/>
                  </a:cubicBezTo>
                  <a:cubicBezTo>
                    <a:pt x="161" y="235"/>
                    <a:pt x="161" y="235"/>
                    <a:pt x="161" y="235"/>
                  </a:cubicBezTo>
                  <a:cubicBezTo>
                    <a:pt x="161" y="235"/>
                    <a:pt x="161" y="235"/>
                    <a:pt x="161" y="235"/>
                  </a:cubicBezTo>
                  <a:cubicBezTo>
                    <a:pt x="163" y="235"/>
                    <a:pt x="165" y="234"/>
                    <a:pt x="166" y="234"/>
                  </a:cubicBezTo>
                  <a:cubicBezTo>
                    <a:pt x="171" y="231"/>
                    <a:pt x="174" y="225"/>
                    <a:pt x="171" y="219"/>
                  </a:cubicBezTo>
                  <a:lnTo>
                    <a:pt x="161" y="200"/>
                  </a:lnTo>
                  <a:close/>
                  <a:moveTo>
                    <a:pt x="55" y="21"/>
                  </a:moveTo>
                  <a:cubicBezTo>
                    <a:pt x="119" y="21"/>
                    <a:pt x="119" y="21"/>
                    <a:pt x="119" y="21"/>
                  </a:cubicBezTo>
                  <a:cubicBezTo>
                    <a:pt x="119" y="53"/>
                    <a:pt x="119" y="53"/>
                    <a:pt x="119" y="53"/>
                  </a:cubicBezTo>
                  <a:cubicBezTo>
                    <a:pt x="55" y="53"/>
                    <a:pt x="55" y="53"/>
                    <a:pt x="55" y="53"/>
                  </a:cubicBezTo>
                  <a:lnTo>
                    <a:pt x="55" y="21"/>
                  </a:lnTo>
                  <a:close/>
                  <a:moveTo>
                    <a:pt x="140" y="75"/>
                  </a:moveTo>
                  <a:cubicBezTo>
                    <a:pt x="140" y="203"/>
                    <a:pt x="140" y="203"/>
                    <a:pt x="140" y="203"/>
                  </a:cubicBezTo>
                  <a:cubicBezTo>
                    <a:pt x="140" y="204"/>
                    <a:pt x="140" y="206"/>
                    <a:pt x="141" y="207"/>
                  </a:cubicBezTo>
                  <a:cubicBezTo>
                    <a:pt x="144" y="213"/>
                    <a:pt x="144" y="213"/>
                    <a:pt x="144" y="213"/>
                  </a:cubicBezTo>
                  <a:cubicBezTo>
                    <a:pt x="29" y="213"/>
                    <a:pt x="29" y="213"/>
                    <a:pt x="29" y="213"/>
                  </a:cubicBezTo>
                  <a:cubicBezTo>
                    <a:pt x="32" y="207"/>
                    <a:pt x="32" y="207"/>
                    <a:pt x="32" y="207"/>
                  </a:cubicBezTo>
                  <a:cubicBezTo>
                    <a:pt x="33" y="206"/>
                    <a:pt x="33" y="204"/>
                    <a:pt x="33" y="203"/>
                  </a:cubicBezTo>
                  <a:cubicBezTo>
                    <a:pt x="33" y="75"/>
                    <a:pt x="33" y="75"/>
                    <a:pt x="33" y="75"/>
                  </a:cubicBezTo>
                  <a:lnTo>
                    <a:pt x="14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0" name="Freeform 401">
            <a:extLst>
              <a:ext uri="{FF2B5EF4-FFF2-40B4-BE49-F238E27FC236}">
                <a16:creationId xmlns:a16="http://schemas.microsoft.com/office/drawing/2014/main" id="{7DD9E568-1C67-445B-AA02-526E40E66A6E}"/>
              </a:ext>
            </a:extLst>
          </p:cNvPr>
          <p:cNvSpPr>
            <a:spLocks noChangeAspect="1" noEditPoints="1"/>
          </p:cNvSpPr>
          <p:nvPr/>
        </p:nvSpPr>
        <p:spPr bwMode="auto">
          <a:xfrm>
            <a:off x="9184159" y="2531576"/>
            <a:ext cx="369676" cy="369676"/>
          </a:xfrm>
          <a:custGeom>
            <a:avLst/>
            <a:gdLst>
              <a:gd name="T0" fmla="*/ 310 w 512"/>
              <a:gd name="T1" fmla="*/ 388 h 512"/>
              <a:gd name="T2" fmla="*/ 313 w 512"/>
              <a:gd name="T3" fmla="*/ 394 h 512"/>
              <a:gd name="T4" fmla="*/ 198 w 512"/>
              <a:gd name="T5" fmla="*/ 394 h 512"/>
              <a:gd name="T6" fmla="*/ 201 w 512"/>
              <a:gd name="T7" fmla="*/ 388 h 512"/>
              <a:gd name="T8" fmla="*/ 202 w 512"/>
              <a:gd name="T9" fmla="*/ 384 h 512"/>
              <a:gd name="T10" fmla="*/ 202 w 512"/>
              <a:gd name="T11" fmla="*/ 256 h 512"/>
              <a:gd name="T12" fmla="*/ 309 w 512"/>
              <a:gd name="T13" fmla="*/ 256 h 512"/>
              <a:gd name="T14" fmla="*/ 309 w 512"/>
              <a:gd name="T15" fmla="*/ 384 h 512"/>
              <a:gd name="T16" fmla="*/ 310 w 512"/>
              <a:gd name="T17" fmla="*/ 388 h 512"/>
              <a:gd name="T18" fmla="*/ 288 w 512"/>
              <a:gd name="T19" fmla="*/ 202 h 512"/>
              <a:gd name="T20" fmla="*/ 224 w 512"/>
              <a:gd name="T21" fmla="*/ 202 h 512"/>
              <a:gd name="T22" fmla="*/ 224 w 512"/>
              <a:gd name="T23" fmla="*/ 234 h 512"/>
              <a:gd name="T24" fmla="*/ 288 w 512"/>
              <a:gd name="T25" fmla="*/ 234 h 512"/>
              <a:gd name="T26" fmla="*/ 288 w 512"/>
              <a:gd name="T27" fmla="*/ 202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24 w 512"/>
              <a:gd name="T39" fmla="*/ 128 h 512"/>
              <a:gd name="T40" fmla="*/ 256 w 512"/>
              <a:gd name="T41" fmla="*/ 160 h 512"/>
              <a:gd name="T42" fmla="*/ 288 w 512"/>
              <a:gd name="T43" fmla="*/ 128 h 512"/>
              <a:gd name="T44" fmla="*/ 256 w 512"/>
              <a:gd name="T45" fmla="*/ 96 h 512"/>
              <a:gd name="T46" fmla="*/ 224 w 512"/>
              <a:gd name="T47" fmla="*/ 128 h 512"/>
              <a:gd name="T48" fmla="*/ 330 w 512"/>
              <a:gd name="T49" fmla="*/ 381 h 512"/>
              <a:gd name="T50" fmla="*/ 330 w 512"/>
              <a:gd name="T51" fmla="*/ 256 h 512"/>
              <a:gd name="T52" fmla="*/ 341 w 512"/>
              <a:gd name="T53" fmla="*/ 245 h 512"/>
              <a:gd name="T54" fmla="*/ 330 w 512"/>
              <a:gd name="T55" fmla="*/ 234 h 512"/>
              <a:gd name="T56" fmla="*/ 309 w 512"/>
              <a:gd name="T57" fmla="*/ 234 h 512"/>
              <a:gd name="T58" fmla="*/ 309 w 512"/>
              <a:gd name="T59" fmla="*/ 192 h 512"/>
              <a:gd name="T60" fmla="*/ 298 w 512"/>
              <a:gd name="T61" fmla="*/ 181 h 512"/>
              <a:gd name="T62" fmla="*/ 213 w 512"/>
              <a:gd name="T63" fmla="*/ 181 h 512"/>
              <a:gd name="T64" fmla="*/ 202 w 512"/>
              <a:gd name="T65" fmla="*/ 192 h 512"/>
              <a:gd name="T66" fmla="*/ 202 w 512"/>
              <a:gd name="T67" fmla="*/ 234 h 512"/>
              <a:gd name="T68" fmla="*/ 181 w 512"/>
              <a:gd name="T69" fmla="*/ 234 h 512"/>
              <a:gd name="T70" fmla="*/ 170 w 512"/>
              <a:gd name="T71" fmla="*/ 245 h 512"/>
              <a:gd name="T72" fmla="*/ 181 w 512"/>
              <a:gd name="T73" fmla="*/ 256 h 512"/>
              <a:gd name="T74" fmla="*/ 181 w 512"/>
              <a:gd name="T75" fmla="*/ 381 h 512"/>
              <a:gd name="T76" fmla="*/ 171 w 512"/>
              <a:gd name="T77" fmla="*/ 400 h 512"/>
              <a:gd name="T78" fmla="*/ 176 w 512"/>
              <a:gd name="T79" fmla="*/ 415 h 512"/>
              <a:gd name="T80" fmla="*/ 181 w 512"/>
              <a:gd name="T81" fmla="*/ 416 h 512"/>
              <a:gd name="T82" fmla="*/ 181 w 512"/>
              <a:gd name="T83" fmla="*/ 416 h 512"/>
              <a:gd name="T84" fmla="*/ 330 w 512"/>
              <a:gd name="T85" fmla="*/ 416 h 512"/>
              <a:gd name="T86" fmla="*/ 330 w 512"/>
              <a:gd name="T87" fmla="*/ 416 h 512"/>
              <a:gd name="T88" fmla="*/ 330 w 512"/>
              <a:gd name="T89" fmla="*/ 416 h 512"/>
              <a:gd name="T90" fmla="*/ 335 w 512"/>
              <a:gd name="T91" fmla="*/ 415 h 512"/>
              <a:gd name="T92" fmla="*/ 340 w 512"/>
              <a:gd name="T93" fmla="*/ 400 h 512"/>
              <a:gd name="T94" fmla="*/ 330 w 512"/>
              <a:gd name="T95" fmla="*/ 381 h 512"/>
              <a:gd name="T96" fmla="*/ 256 w 512"/>
              <a:gd name="T97" fmla="*/ 138 h 512"/>
              <a:gd name="T98" fmla="*/ 266 w 512"/>
              <a:gd name="T99" fmla="*/ 128 h 512"/>
              <a:gd name="T100" fmla="*/ 256 w 512"/>
              <a:gd name="T101" fmla="*/ 117 h 512"/>
              <a:gd name="T102" fmla="*/ 245 w 512"/>
              <a:gd name="T103" fmla="*/ 128 h 512"/>
              <a:gd name="T104" fmla="*/ 256 w 512"/>
              <a:gd name="T105"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10" y="388"/>
                </a:moveTo>
                <a:cubicBezTo>
                  <a:pt x="313" y="394"/>
                  <a:pt x="313" y="394"/>
                  <a:pt x="313" y="394"/>
                </a:cubicBezTo>
                <a:cubicBezTo>
                  <a:pt x="198" y="394"/>
                  <a:pt x="198" y="394"/>
                  <a:pt x="198" y="394"/>
                </a:cubicBezTo>
                <a:cubicBezTo>
                  <a:pt x="201" y="388"/>
                  <a:pt x="201" y="388"/>
                  <a:pt x="201" y="388"/>
                </a:cubicBezTo>
                <a:cubicBezTo>
                  <a:pt x="202" y="387"/>
                  <a:pt x="202" y="385"/>
                  <a:pt x="202" y="384"/>
                </a:cubicBezTo>
                <a:cubicBezTo>
                  <a:pt x="202" y="256"/>
                  <a:pt x="202" y="256"/>
                  <a:pt x="202" y="256"/>
                </a:cubicBezTo>
                <a:cubicBezTo>
                  <a:pt x="309" y="256"/>
                  <a:pt x="309" y="256"/>
                  <a:pt x="309" y="256"/>
                </a:cubicBezTo>
                <a:cubicBezTo>
                  <a:pt x="309" y="384"/>
                  <a:pt x="309" y="384"/>
                  <a:pt x="309" y="384"/>
                </a:cubicBezTo>
                <a:cubicBezTo>
                  <a:pt x="309" y="385"/>
                  <a:pt x="309" y="387"/>
                  <a:pt x="310" y="388"/>
                </a:cubicBezTo>
                <a:close/>
                <a:moveTo>
                  <a:pt x="288" y="202"/>
                </a:moveTo>
                <a:cubicBezTo>
                  <a:pt x="224" y="202"/>
                  <a:pt x="224" y="202"/>
                  <a:pt x="224" y="202"/>
                </a:cubicBezTo>
                <a:cubicBezTo>
                  <a:pt x="224" y="234"/>
                  <a:pt x="224" y="234"/>
                  <a:pt x="224" y="234"/>
                </a:cubicBezTo>
                <a:cubicBezTo>
                  <a:pt x="288" y="234"/>
                  <a:pt x="288" y="234"/>
                  <a:pt x="288" y="234"/>
                </a:cubicBezTo>
                <a:lnTo>
                  <a:pt x="288"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330" y="381"/>
                </a:moveTo>
                <a:cubicBezTo>
                  <a:pt x="330" y="256"/>
                  <a:pt x="330" y="256"/>
                  <a:pt x="330" y="256"/>
                </a:cubicBezTo>
                <a:cubicBezTo>
                  <a:pt x="336" y="256"/>
                  <a:pt x="341" y="251"/>
                  <a:pt x="341" y="245"/>
                </a:cubicBezTo>
                <a:cubicBezTo>
                  <a:pt x="341" y="239"/>
                  <a:pt x="336" y="234"/>
                  <a:pt x="330" y="234"/>
                </a:cubicBezTo>
                <a:cubicBezTo>
                  <a:pt x="309" y="234"/>
                  <a:pt x="309" y="234"/>
                  <a:pt x="309" y="234"/>
                </a:cubicBezTo>
                <a:cubicBezTo>
                  <a:pt x="309" y="192"/>
                  <a:pt x="309" y="192"/>
                  <a:pt x="309" y="192"/>
                </a:cubicBezTo>
                <a:cubicBezTo>
                  <a:pt x="309" y="186"/>
                  <a:pt x="304" y="181"/>
                  <a:pt x="298" y="181"/>
                </a:cubicBezTo>
                <a:cubicBezTo>
                  <a:pt x="213" y="181"/>
                  <a:pt x="213" y="181"/>
                  <a:pt x="213" y="181"/>
                </a:cubicBezTo>
                <a:cubicBezTo>
                  <a:pt x="207" y="181"/>
                  <a:pt x="202" y="186"/>
                  <a:pt x="202" y="192"/>
                </a:cubicBezTo>
                <a:cubicBezTo>
                  <a:pt x="202" y="234"/>
                  <a:pt x="202" y="234"/>
                  <a:pt x="202" y="234"/>
                </a:cubicBezTo>
                <a:cubicBezTo>
                  <a:pt x="181" y="234"/>
                  <a:pt x="181" y="234"/>
                  <a:pt x="181" y="234"/>
                </a:cubicBezTo>
                <a:cubicBezTo>
                  <a:pt x="175" y="234"/>
                  <a:pt x="170" y="239"/>
                  <a:pt x="170" y="245"/>
                </a:cubicBezTo>
                <a:cubicBezTo>
                  <a:pt x="170" y="251"/>
                  <a:pt x="175" y="256"/>
                  <a:pt x="181" y="256"/>
                </a:cubicBezTo>
                <a:cubicBezTo>
                  <a:pt x="181" y="381"/>
                  <a:pt x="181" y="381"/>
                  <a:pt x="181" y="381"/>
                </a:cubicBezTo>
                <a:cubicBezTo>
                  <a:pt x="171" y="400"/>
                  <a:pt x="171" y="400"/>
                  <a:pt x="171" y="400"/>
                </a:cubicBezTo>
                <a:cubicBezTo>
                  <a:pt x="169" y="406"/>
                  <a:pt x="171" y="412"/>
                  <a:pt x="176" y="415"/>
                </a:cubicBezTo>
                <a:cubicBezTo>
                  <a:pt x="178" y="415"/>
                  <a:pt x="179" y="416"/>
                  <a:pt x="181" y="416"/>
                </a:cubicBezTo>
                <a:cubicBezTo>
                  <a:pt x="181" y="416"/>
                  <a:pt x="181" y="416"/>
                  <a:pt x="181" y="416"/>
                </a:cubicBezTo>
                <a:cubicBezTo>
                  <a:pt x="330" y="416"/>
                  <a:pt x="330" y="416"/>
                  <a:pt x="330" y="416"/>
                </a:cubicBezTo>
                <a:cubicBezTo>
                  <a:pt x="330" y="416"/>
                  <a:pt x="330" y="416"/>
                  <a:pt x="330" y="416"/>
                </a:cubicBezTo>
                <a:cubicBezTo>
                  <a:pt x="330" y="416"/>
                  <a:pt x="330" y="416"/>
                  <a:pt x="330" y="416"/>
                </a:cubicBezTo>
                <a:cubicBezTo>
                  <a:pt x="332" y="416"/>
                  <a:pt x="334" y="415"/>
                  <a:pt x="335" y="415"/>
                </a:cubicBezTo>
                <a:cubicBezTo>
                  <a:pt x="340" y="412"/>
                  <a:pt x="343" y="406"/>
                  <a:pt x="340" y="400"/>
                </a:cubicBezTo>
                <a:lnTo>
                  <a:pt x="330" y="381"/>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1" name="Freeform 615">
            <a:extLst>
              <a:ext uri="{FF2B5EF4-FFF2-40B4-BE49-F238E27FC236}">
                <a16:creationId xmlns:a16="http://schemas.microsoft.com/office/drawing/2014/main" id="{4E04447C-960B-4AB5-8A8F-C1C1DBD32217}"/>
              </a:ext>
            </a:extLst>
          </p:cNvPr>
          <p:cNvSpPr>
            <a:spLocks noChangeAspect="1" noEditPoints="1"/>
          </p:cNvSpPr>
          <p:nvPr/>
        </p:nvSpPr>
        <p:spPr bwMode="auto">
          <a:xfrm>
            <a:off x="10053349" y="2531576"/>
            <a:ext cx="367982" cy="367982"/>
          </a:xfrm>
          <a:custGeom>
            <a:avLst/>
            <a:gdLst>
              <a:gd name="T0" fmla="*/ 234 w 512"/>
              <a:gd name="T1" fmla="*/ 234 h 512"/>
              <a:gd name="T2" fmla="*/ 277 w 512"/>
              <a:gd name="T3" fmla="*/ 234 h 512"/>
              <a:gd name="T4" fmla="*/ 277 w 512"/>
              <a:gd name="T5" fmla="*/ 277 h 512"/>
              <a:gd name="T6" fmla="*/ 234 w 512"/>
              <a:gd name="T7" fmla="*/ 277 h 512"/>
              <a:gd name="T8" fmla="*/ 234 w 512"/>
              <a:gd name="T9" fmla="*/ 234 h 512"/>
              <a:gd name="T10" fmla="*/ 117 w 512"/>
              <a:gd name="T11" fmla="*/ 304 h 512"/>
              <a:gd name="T12" fmla="*/ 213 w 512"/>
              <a:gd name="T13" fmla="*/ 270 h 512"/>
              <a:gd name="T14" fmla="*/ 213 w 512"/>
              <a:gd name="T15" fmla="*/ 252 h 512"/>
              <a:gd name="T16" fmla="*/ 117 w 512"/>
              <a:gd name="T17" fmla="*/ 208 h 512"/>
              <a:gd name="T18" fmla="*/ 117 w 512"/>
              <a:gd name="T19" fmla="*/ 304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192 h 512"/>
              <a:gd name="T32" fmla="*/ 411 w 512"/>
              <a:gd name="T33" fmla="*/ 183 h 512"/>
              <a:gd name="T34" fmla="*/ 401 w 512"/>
              <a:gd name="T35" fmla="*/ 182 h 512"/>
              <a:gd name="T36" fmla="*/ 298 w 512"/>
              <a:gd name="T37" fmla="*/ 229 h 512"/>
              <a:gd name="T38" fmla="*/ 277 w 512"/>
              <a:gd name="T39" fmla="*/ 213 h 512"/>
              <a:gd name="T40" fmla="*/ 234 w 512"/>
              <a:gd name="T41" fmla="*/ 213 h 512"/>
              <a:gd name="T42" fmla="*/ 214 w 512"/>
              <a:gd name="T43" fmla="*/ 229 h 512"/>
              <a:gd name="T44" fmla="*/ 111 w 512"/>
              <a:gd name="T45" fmla="*/ 182 h 512"/>
              <a:gd name="T46" fmla="*/ 101 w 512"/>
              <a:gd name="T47" fmla="*/ 183 h 512"/>
              <a:gd name="T48" fmla="*/ 96 w 512"/>
              <a:gd name="T49" fmla="*/ 192 h 512"/>
              <a:gd name="T50" fmla="*/ 96 w 512"/>
              <a:gd name="T51" fmla="*/ 320 h 512"/>
              <a:gd name="T52" fmla="*/ 100 w 512"/>
              <a:gd name="T53" fmla="*/ 328 h 512"/>
              <a:gd name="T54" fmla="*/ 106 w 512"/>
              <a:gd name="T55" fmla="*/ 330 h 512"/>
              <a:gd name="T56" fmla="*/ 110 w 512"/>
              <a:gd name="T57" fmla="*/ 330 h 512"/>
              <a:gd name="T58" fmla="*/ 218 w 512"/>
              <a:gd name="T59" fmla="*/ 290 h 512"/>
              <a:gd name="T60" fmla="*/ 234 w 512"/>
              <a:gd name="T61" fmla="*/ 298 h 512"/>
              <a:gd name="T62" fmla="*/ 277 w 512"/>
              <a:gd name="T63" fmla="*/ 298 h 512"/>
              <a:gd name="T64" fmla="*/ 293 w 512"/>
              <a:gd name="T65" fmla="*/ 290 h 512"/>
              <a:gd name="T66" fmla="*/ 401 w 512"/>
              <a:gd name="T67" fmla="*/ 330 h 512"/>
              <a:gd name="T68" fmla="*/ 405 w 512"/>
              <a:gd name="T69" fmla="*/ 330 h 512"/>
              <a:gd name="T70" fmla="*/ 411 w 512"/>
              <a:gd name="T71" fmla="*/ 328 h 512"/>
              <a:gd name="T72" fmla="*/ 416 w 512"/>
              <a:gd name="T73" fmla="*/ 320 h 512"/>
              <a:gd name="T74" fmla="*/ 416 w 512"/>
              <a:gd name="T75" fmla="*/ 192 h 512"/>
              <a:gd name="T76" fmla="*/ 298 w 512"/>
              <a:gd name="T77" fmla="*/ 270 h 512"/>
              <a:gd name="T78" fmla="*/ 394 w 512"/>
              <a:gd name="T79" fmla="*/ 304 h 512"/>
              <a:gd name="T80" fmla="*/ 394 w 512"/>
              <a:gd name="T81" fmla="*/ 208 h 512"/>
              <a:gd name="T82" fmla="*/ 298 w 512"/>
              <a:gd name="T83" fmla="*/ 252 h 512"/>
              <a:gd name="T84" fmla="*/ 298 w 512"/>
              <a:gd name="T85" fmla="*/ 2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34" y="234"/>
                </a:moveTo>
                <a:cubicBezTo>
                  <a:pt x="277" y="234"/>
                  <a:pt x="277" y="234"/>
                  <a:pt x="277" y="234"/>
                </a:cubicBezTo>
                <a:cubicBezTo>
                  <a:pt x="277" y="277"/>
                  <a:pt x="277" y="277"/>
                  <a:pt x="277" y="277"/>
                </a:cubicBezTo>
                <a:cubicBezTo>
                  <a:pt x="234" y="277"/>
                  <a:pt x="234" y="277"/>
                  <a:pt x="234" y="277"/>
                </a:cubicBezTo>
                <a:lnTo>
                  <a:pt x="234" y="234"/>
                </a:lnTo>
                <a:close/>
                <a:moveTo>
                  <a:pt x="117" y="304"/>
                </a:moveTo>
                <a:cubicBezTo>
                  <a:pt x="213" y="270"/>
                  <a:pt x="213" y="270"/>
                  <a:pt x="213" y="270"/>
                </a:cubicBezTo>
                <a:cubicBezTo>
                  <a:pt x="213" y="252"/>
                  <a:pt x="213" y="252"/>
                  <a:pt x="213" y="252"/>
                </a:cubicBezTo>
                <a:cubicBezTo>
                  <a:pt x="117" y="208"/>
                  <a:pt x="117" y="208"/>
                  <a:pt x="117" y="208"/>
                </a:cubicBezTo>
                <a:lnTo>
                  <a:pt x="117" y="30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8"/>
                  <a:pt x="414" y="185"/>
                  <a:pt x="411" y="183"/>
                </a:cubicBezTo>
                <a:cubicBezTo>
                  <a:pt x="408" y="181"/>
                  <a:pt x="404" y="180"/>
                  <a:pt x="401" y="182"/>
                </a:cubicBezTo>
                <a:cubicBezTo>
                  <a:pt x="298" y="229"/>
                  <a:pt x="298" y="229"/>
                  <a:pt x="298" y="229"/>
                </a:cubicBezTo>
                <a:cubicBezTo>
                  <a:pt x="295" y="220"/>
                  <a:pt x="287" y="213"/>
                  <a:pt x="277" y="213"/>
                </a:cubicBezTo>
                <a:cubicBezTo>
                  <a:pt x="234" y="213"/>
                  <a:pt x="234" y="213"/>
                  <a:pt x="234" y="213"/>
                </a:cubicBezTo>
                <a:cubicBezTo>
                  <a:pt x="224" y="213"/>
                  <a:pt x="216" y="220"/>
                  <a:pt x="214" y="229"/>
                </a:cubicBezTo>
                <a:cubicBezTo>
                  <a:pt x="111" y="182"/>
                  <a:pt x="111" y="182"/>
                  <a:pt x="111" y="182"/>
                </a:cubicBezTo>
                <a:cubicBezTo>
                  <a:pt x="107" y="180"/>
                  <a:pt x="104" y="181"/>
                  <a:pt x="101" y="183"/>
                </a:cubicBezTo>
                <a:cubicBezTo>
                  <a:pt x="98" y="185"/>
                  <a:pt x="96" y="188"/>
                  <a:pt x="96" y="192"/>
                </a:cubicBezTo>
                <a:cubicBezTo>
                  <a:pt x="96" y="320"/>
                  <a:pt x="96" y="320"/>
                  <a:pt x="96" y="320"/>
                </a:cubicBezTo>
                <a:cubicBezTo>
                  <a:pt x="96" y="323"/>
                  <a:pt x="97" y="326"/>
                  <a:pt x="100" y="328"/>
                </a:cubicBezTo>
                <a:cubicBezTo>
                  <a:pt x="102" y="330"/>
                  <a:pt x="104" y="330"/>
                  <a:pt x="106" y="330"/>
                </a:cubicBezTo>
                <a:cubicBezTo>
                  <a:pt x="108" y="330"/>
                  <a:pt x="109" y="330"/>
                  <a:pt x="110" y="330"/>
                </a:cubicBezTo>
                <a:cubicBezTo>
                  <a:pt x="218" y="290"/>
                  <a:pt x="218" y="290"/>
                  <a:pt x="218" y="290"/>
                </a:cubicBezTo>
                <a:cubicBezTo>
                  <a:pt x="222" y="295"/>
                  <a:pt x="228" y="298"/>
                  <a:pt x="234" y="298"/>
                </a:cubicBezTo>
                <a:cubicBezTo>
                  <a:pt x="277" y="298"/>
                  <a:pt x="277" y="298"/>
                  <a:pt x="277" y="298"/>
                </a:cubicBezTo>
                <a:cubicBezTo>
                  <a:pt x="284" y="298"/>
                  <a:pt x="290" y="295"/>
                  <a:pt x="293" y="290"/>
                </a:cubicBezTo>
                <a:cubicBezTo>
                  <a:pt x="401" y="330"/>
                  <a:pt x="401" y="330"/>
                  <a:pt x="401" y="330"/>
                </a:cubicBezTo>
                <a:cubicBezTo>
                  <a:pt x="403" y="330"/>
                  <a:pt x="404" y="330"/>
                  <a:pt x="405" y="330"/>
                </a:cubicBezTo>
                <a:cubicBezTo>
                  <a:pt x="407" y="330"/>
                  <a:pt x="409" y="330"/>
                  <a:pt x="411" y="328"/>
                </a:cubicBezTo>
                <a:cubicBezTo>
                  <a:pt x="414" y="326"/>
                  <a:pt x="416" y="323"/>
                  <a:pt x="416" y="320"/>
                </a:cubicBezTo>
                <a:lnTo>
                  <a:pt x="416" y="192"/>
                </a:lnTo>
                <a:close/>
                <a:moveTo>
                  <a:pt x="298" y="270"/>
                </a:moveTo>
                <a:cubicBezTo>
                  <a:pt x="394" y="304"/>
                  <a:pt x="394" y="304"/>
                  <a:pt x="394" y="304"/>
                </a:cubicBezTo>
                <a:cubicBezTo>
                  <a:pt x="394" y="208"/>
                  <a:pt x="394" y="208"/>
                  <a:pt x="394" y="208"/>
                </a:cubicBezTo>
                <a:cubicBezTo>
                  <a:pt x="298" y="252"/>
                  <a:pt x="298" y="252"/>
                  <a:pt x="298" y="252"/>
                </a:cubicBezTo>
                <a:lnTo>
                  <a:pt x="298" y="2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2" name="Group 618">
            <a:extLst>
              <a:ext uri="{FF2B5EF4-FFF2-40B4-BE49-F238E27FC236}">
                <a16:creationId xmlns:a16="http://schemas.microsoft.com/office/drawing/2014/main" id="{C15ADD77-72F4-4816-87AC-0CC33DD1D2FB}"/>
              </a:ext>
            </a:extLst>
          </p:cNvPr>
          <p:cNvGrpSpPr>
            <a:grpSpLocks noChangeAspect="1"/>
          </p:cNvGrpSpPr>
          <p:nvPr/>
        </p:nvGrpSpPr>
        <p:grpSpPr bwMode="auto">
          <a:xfrm>
            <a:off x="10486250" y="2531576"/>
            <a:ext cx="367982" cy="367982"/>
            <a:chOff x="4794" y="2594"/>
            <a:chExt cx="340" cy="340"/>
          </a:xfrm>
          <a:solidFill>
            <a:schemeClr val="accent1"/>
          </a:solidFill>
        </p:grpSpPr>
        <p:sp>
          <p:nvSpPr>
            <p:cNvPr id="543" name="Freeform 619">
              <a:extLst>
                <a:ext uri="{FF2B5EF4-FFF2-40B4-BE49-F238E27FC236}">
                  <a16:creationId xmlns:a16="http://schemas.microsoft.com/office/drawing/2014/main" id="{BBC0EF1F-647F-4C44-9416-9B8D45F3CAE8}"/>
                </a:ext>
              </a:extLst>
            </p:cNvPr>
            <p:cNvSpPr>
              <a:spLocks noEditPoints="1"/>
            </p:cNvSpPr>
            <p:nvPr/>
          </p:nvSpPr>
          <p:spPr bwMode="auto">
            <a:xfrm>
              <a:off x="4794" y="25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4" name="Freeform 620">
              <a:extLst>
                <a:ext uri="{FF2B5EF4-FFF2-40B4-BE49-F238E27FC236}">
                  <a16:creationId xmlns:a16="http://schemas.microsoft.com/office/drawing/2014/main" id="{26A2AE78-019E-4785-8445-5738807F4693}"/>
                </a:ext>
              </a:extLst>
            </p:cNvPr>
            <p:cNvSpPr>
              <a:spLocks noEditPoints="1"/>
            </p:cNvSpPr>
            <p:nvPr/>
          </p:nvSpPr>
          <p:spPr bwMode="auto">
            <a:xfrm>
              <a:off x="4858" y="2714"/>
              <a:ext cx="212" cy="99"/>
            </a:xfrm>
            <a:custGeom>
              <a:avLst/>
              <a:gdLst>
                <a:gd name="T0" fmla="*/ 315 w 320"/>
                <a:gd name="T1" fmla="*/ 3 h 150"/>
                <a:gd name="T2" fmla="*/ 305 w 320"/>
                <a:gd name="T3" fmla="*/ 2 h 150"/>
                <a:gd name="T4" fmla="*/ 202 w 320"/>
                <a:gd name="T5" fmla="*/ 49 h 150"/>
                <a:gd name="T6" fmla="*/ 181 w 320"/>
                <a:gd name="T7" fmla="*/ 33 h 150"/>
                <a:gd name="T8" fmla="*/ 138 w 320"/>
                <a:gd name="T9" fmla="*/ 33 h 150"/>
                <a:gd name="T10" fmla="*/ 118 w 320"/>
                <a:gd name="T11" fmla="*/ 49 h 150"/>
                <a:gd name="T12" fmla="*/ 15 w 320"/>
                <a:gd name="T13" fmla="*/ 2 h 150"/>
                <a:gd name="T14" fmla="*/ 5 w 320"/>
                <a:gd name="T15" fmla="*/ 3 h 150"/>
                <a:gd name="T16" fmla="*/ 0 w 320"/>
                <a:gd name="T17" fmla="*/ 12 h 150"/>
                <a:gd name="T18" fmla="*/ 0 w 320"/>
                <a:gd name="T19" fmla="*/ 140 h 150"/>
                <a:gd name="T20" fmla="*/ 4 w 320"/>
                <a:gd name="T21" fmla="*/ 148 h 150"/>
                <a:gd name="T22" fmla="*/ 10 w 320"/>
                <a:gd name="T23" fmla="*/ 150 h 150"/>
                <a:gd name="T24" fmla="*/ 14 w 320"/>
                <a:gd name="T25" fmla="*/ 150 h 150"/>
                <a:gd name="T26" fmla="*/ 122 w 320"/>
                <a:gd name="T27" fmla="*/ 110 h 150"/>
                <a:gd name="T28" fmla="*/ 138 w 320"/>
                <a:gd name="T29" fmla="*/ 118 h 150"/>
                <a:gd name="T30" fmla="*/ 181 w 320"/>
                <a:gd name="T31" fmla="*/ 118 h 150"/>
                <a:gd name="T32" fmla="*/ 197 w 320"/>
                <a:gd name="T33" fmla="*/ 110 h 150"/>
                <a:gd name="T34" fmla="*/ 305 w 320"/>
                <a:gd name="T35" fmla="*/ 150 h 150"/>
                <a:gd name="T36" fmla="*/ 309 w 320"/>
                <a:gd name="T37" fmla="*/ 150 h 150"/>
                <a:gd name="T38" fmla="*/ 315 w 320"/>
                <a:gd name="T39" fmla="*/ 148 h 150"/>
                <a:gd name="T40" fmla="*/ 320 w 320"/>
                <a:gd name="T41" fmla="*/ 140 h 150"/>
                <a:gd name="T42" fmla="*/ 320 w 320"/>
                <a:gd name="T43" fmla="*/ 12 h 150"/>
                <a:gd name="T44" fmla="*/ 315 w 320"/>
                <a:gd name="T45" fmla="*/ 3 h 150"/>
                <a:gd name="T46" fmla="*/ 21 w 320"/>
                <a:gd name="T47" fmla="*/ 28 h 150"/>
                <a:gd name="T48" fmla="*/ 117 w 320"/>
                <a:gd name="T49" fmla="*/ 72 h 150"/>
                <a:gd name="T50" fmla="*/ 117 w 320"/>
                <a:gd name="T51" fmla="*/ 90 h 150"/>
                <a:gd name="T52" fmla="*/ 21 w 320"/>
                <a:gd name="T53" fmla="*/ 124 h 150"/>
                <a:gd name="T54" fmla="*/ 21 w 320"/>
                <a:gd name="T55" fmla="*/ 28 h 150"/>
                <a:gd name="T56" fmla="*/ 181 w 320"/>
                <a:gd name="T57" fmla="*/ 97 h 150"/>
                <a:gd name="T58" fmla="*/ 138 w 320"/>
                <a:gd name="T59" fmla="*/ 97 h 150"/>
                <a:gd name="T60" fmla="*/ 138 w 320"/>
                <a:gd name="T61" fmla="*/ 54 h 150"/>
                <a:gd name="T62" fmla="*/ 181 w 320"/>
                <a:gd name="T63" fmla="*/ 54 h 150"/>
                <a:gd name="T64" fmla="*/ 181 w 320"/>
                <a:gd name="T65" fmla="*/ 97 h 150"/>
                <a:gd name="T66" fmla="*/ 298 w 320"/>
                <a:gd name="T67" fmla="*/ 124 h 150"/>
                <a:gd name="T68" fmla="*/ 202 w 320"/>
                <a:gd name="T69" fmla="*/ 90 h 150"/>
                <a:gd name="T70" fmla="*/ 202 w 320"/>
                <a:gd name="T71" fmla="*/ 72 h 150"/>
                <a:gd name="T72" fmla="*/ 298 w 320"/>
                <a:gd name="T73" fmla="*/ 28 h 150"/>
                <a:gd name="T74" fmla="*/ 298 w 320"/>
                <a:gd name="T75" fmla="*/ 12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150">
                  <a:moveTo>
                    <a:pt x="315" y="3"/>
                  </a:moveTo>
                  <a:cubicBezTo>
                    <a:pt x="312" y="1"/>
                    <a:pt x="308" y="0"/>
                    <a:pt x="305" y="2"/>
                  </a:cubicBezTo>
                  <a:cubicBezTo>
                    <a:pt x="202" y="49"/>
                    <a:pt x="202" y="49"/>
                    <a:pt x="202" y="49"/>
                  </a:cubicBezTo>
                  <a:cubicBezTo>
                    <a:pt x="199" y="40"/>
                    <a:pt x="191" y="33"/>
                    <a:pt x="181" y="33"/>
                  </a:cubicBezTo>
                  <a:cubicBezTo>
                    <a:pt x="138" y="33"/>
                    <a:pt x="138" y="33"/>
                    <a:pt x="138" y="33"/>
                  </a:cubicBezTo>
                  <a:cubicBezTo>
                    <a:pt x="128" y="33"/>
                    <a:pt x="120" y="40"/>
                    <a:pt x="118" y="49"/>
                  </a:cubicBezTo>
                  <a:cubicBezTo>
                    <a:pt x="15" y="2"/>
                    <a:pt x="15" y="2"/>
                    <a:pt x="15" y="2"/>
                  </a:cubicBezTo>
                  <a:cubicBezTo>
                    <a:pt x="11" y="0"/>
                    <a:pt x="8" y="1"/>
                    <a:pt x="5" y="3"/>
                  </a:cubicBezTo>
                  <a:cubicBezTo>
                    <a:pt x="2" y="5"/>
                    <a:pt x="0" y="8"/>
                    <a:pt x="0" y="12"/>
                  </a:cubicBezTo>
                  <a:cubicBezTo>
                    <a:pt x="0" y="140"/>
                    <a:pt x="0" y="140"/>
                    <a:pt x="0" y="140"/>
                  </a:cubicBezTo>
                  <a:cubicBezTo>
                    <a:pt x="0" y="143"/>
                    <a:pt x="1" y="146"/>
                    <a:pt x="4" y="148"/>
                  </a:cubicBezTo>
                  <a:cubicBezTo>
                    <a:pt x="6" y="150"/>
                    <a:pt x="8" y="150"/>
                    <a:pt x="10" y="150"/>
                  </a:cubicBezTo>
                  <a:cubicBezTo>
                    <a:pt x="12" y="150"/>
                    <a:pt x="13" y="150"/>
                    <a:pt x="14" y="150"/>
                  </a:cubicBezTo>
                  <a:cubicBezTo>
                    <a:pt x="122" y="110"/>
                    <a:pt x="122" y="110"/>
                    <a:pt x="122" y="110"/>
                  </a:cubicBezTo>
                  <a:cubicBezTo>
                    <a:pt x="126" y="115"/>
                    <a:pt x="132" y="118"/>
                    <a:pt x="138" y="118"/>
                  </a:cubicBezTo>
                  <a:cubicBezTo>
                    <a:pt x="181" y="118"/>
                    <a:pt x="181" y="118"/>
                    <a:pt x="181" y="118"/>
                  </a:cubicBezTo>
                  <a:cubicBezTo>
                    <a:pt x="188" y="118"/>
                    <a:pt x="194" y="115"/>
                    <a:pt x="197" y="110"/>
                  </a:cubicBezTo>
                  <a:cubicBezTo>
                    <a:pt x="305" y="150"/>
                    <a:pt x="305" y="150"/>
                    <a:pt x="305" y="150"/>
                  </a:cubicBezTo>
                  <a:cubicBezTo>
                    <a:pt x="307" y="150"/>
                    <a:pt x="308" y="150"/>
                    <a:pt x="309" y="150"/>
                  </a:cubicBezTo>
                  <a:cubicBezTo>
                    <a:pt x="311" y="150"/>
                    <a:pt x="313" y="150"/>
                    <a:pt x="315" y="148"/>
                  </a:cubicBezTo>
                  <a:cubicBezTo>
                    <a:pt x="318" y="146"/>
                    <a:pt x="320" y="143"/>
                    <a:pt x="320" y="140"/>
                  </a:cubicBezTo>
                  <a:cubicBezTo>
                    <a:pt x="320" y="12"/>
                    <a:pt x="320" y="12"/>
                    <a:pt x="320" y="12"/>
                  </a:cubicBezTo>
                  <a:cubicBezTo>
                    <a:pt x="320" y="8"/>
                    <a:pt x="318" y="5"/>
                    <a:pt x="315" y="3"/>
                  </a:cubicBezTo>
                  <a:close/>
                  <a:moveTo>
                    <a:pt x="21" y="28"/>
                  </a:moveTo>
                  <a:cubicBezTo>
                    <a:pt x="117" y="72"/>
                    <a:pt x="117" y="72"/>
                    <a:pt x="117" y="72"/>
                  </a:cubicBezTo>
                  <a:cubicBezTo>
                    <a:pt x="117" y="90"/>
                    <a:pt x="117" y="90"/>
                    <a:pt x="117" y="90"/>
                  </a:cubicBezTo>
                  <a:cubicBezTo>
                    <a:pt x="21" y="124"/>
                    <a:pt x="21" y="124"/>
                    <a:pt x="21" y="124"/>
                  </a:cubicBezTo>
                  <a:lnTo>
                    <a:pt x="21" y="28"/>
                  </a:lnTo>
                  <a:close/>
                  <a:moveTo>
                    <a:pt x="181" y="97"/>
                  </a:moveTo>
                  <a:cubicBezTo>
                    <a:pt x="138" y="97"/>
                    <a:pt x="138" y="97"/>
                    <a:pt x="138" y="97"/>
                  </a:cubicBezTo>
                  <a:cubicBezTo>
                    <a:pt x="138" y="54"/>
                    <a:pt x="138" y="54"/>
                    <a:pt x="138" y="54"/>
                  </a:cubicBezTo>
                  <a:cubicBezTo>
                    <a:pt x="181" y="54"/>
                    <a:pt x="181" y="54"/>
                    <a:pt x="181" y="54"/>
                  </a:cubicBezTo>
                  <a:lnTo>
                    <a:pt x="181" y="97"/>
                  </a:lnTo>
                  <a:close/>
                  <a:moveTo>
                    <a:pt x="298" y="124"/>
                  </a:moveTo>
                  <a:cubicBezTo>
                    <a:pt x="202" y="90"/>
                    <a:pt x="202" y="90"/>
                    <a:pt x="202" y="90"/>
                  </a:cubicBezTo>
                  <a:cubicBezTo>
                    <a:pt x="202" y="72"/>
                    <a:pt x="202" y="72"/>
                    <a:pt x="202" y="72"/>
                  </a:cubicBezTo>
                  <a:cubicBezTo>
                    <a:pt x="298" y="28"/>
                    <a:pt x="298" y="28"/>
                    <a:pt x="298" y="28"/>
                  </a:cubicBezTo>
                  <a:lnTo>
                    <a:pt x="298" y="1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45" name="Group 387">
            <a:extLst>
              <a:ext uri="{FF2B5EF4-FFF2-40B4-BE49-F238E27FC236}">
                <a16:creationId xmlns:a16="http://schemas.microsoft.com/office/drawing/2014/main" id="{D1851A07-9E9D-419B-90AD-76E4549C4B9A}"/>
              </a:ext>
            </a:extLst>
          </p:cNvPr>
          <p:cNvGrpSpPr>
            <a:grpSpLocks noChangeAspect="1"/>
          </p:cNvGrpSpPr>
          <p:nvPr/>
        </p:nvGrpSpPr>
        <p:grpSpPr bwMode="auto">
          <a:xfrm>
            <a:off x="11353079" y="2531576"/>
            <a:ext cx="369021" cy="369021"/>
            <a:chOff x="7355" y="1558"/>
            <a:chExt cx="340" cy="340"/>
          </a:xfrm>
          <a:solidFill>
            <a:schemeClr val="accent5"/>
          </a:solidFill>
        </p:grpSpPr>
        <p:sp>
          <p:nvSpPr>
            <p:cNvPr id="546" name="Freeform 388">
              <a:extLst>
                <a:ext uri="{FF2B5EF4-FFF2-40B4-BE49-F238E27FC236}">
                  <a16:creationId xmlns:a16="http://schemas.microsoft.com/office/drawing/2014/main" id="{2545DCE4-B3AB-4EB4-85B4-99541E986A80}"/>
                </a:ext>
              </a:extLst>
            </p:cNvPr>
            <p:cNvSpPr>
              <a:spLocks noEditPoints="1"/>
            </p:cNvSpPr>
            <p:nvPr/>
          </p:nvSpPr>
          <p:spPr bwMode="auto">
            <a:xfrm>
              <a:off x="7355" y="15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7" name="Freeform 389">
              <a:extLst>
                <a:ext uri="{FF2B5EF4-FFF2-40B4-BE49-F238E27FC236}">
                  <a16:creationId xmlns:a16="http://schemas.microsoft.com/office/drawing/2014/main" id="{98D80428-6DE9-4588-B04E-0B5F10560D21}"/>
                </a:ext>
              </a:extLst>
            </p:cNvPr>
            <p:cNvSpPr>
              <a:spLocks noEditPoints="1"/>
            </p:cNvSpPr>
            <p:nvPr/>
          </p:nvSpPr>
          <p:spPr bwMode="auto">
            <a:xfrm>
              <a:off x="7418" y="1664"/>
              <a:ext cx="213" cy="149"/>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8" name="Freeform 393">
            <a:extLst>
              <a:ext uri="{FF2B5EF4-FFF2-40B4-BE49-F238E27FC236}">
                <a16:creationId xmlns:a16="http://schemas.microsoft.com/office/drawing/2014/main" id="{36E6AF44-F029-4C43-BF27-2E8649E99823}"/>
              </a:ext>
            </a:extLst>
          </p:cNvPr>
          <p:cNvSpPr>
            <a:spLocks noChangeAspect="1" noEditPoints="1"/>
          </p:cNvSpPr>
          <p:nvPr/>
        </p:nvSpPr>
        <p:spPr bwMode="auto">
          <a:xfrm>
            <a:off x="10919151" y="2531576"/>
            <a:ext cx="369021" cy="37010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49" name="Freeform 589">
            <a:extLst>
              <a:ext uri="{FF2B5EF4-FFF2-40B4-BE49-F238E27FC236}">
                <a16:creationId xmlns:a16="http://schemas.microsoft.com/office/drawing/2014/main" id="{93D90564-5F36-41CD-845A-A7082BFCBE34}"/>
              </a:ext>
            </a:extLst>
          </p:cNvPr>
          <p:cNvSpPr>
            <a:spLocks noChangeAspect="1" noEditPoints="1"/>
          </p:cNvSpPr>
          <p:nvPr/>
        </p:nvSpPr>
        <p:spPr bwMode="auto">
          <a:xfrm>
            <a:off x="9180613" y="1700213"/>
            <a:ext cx="367982" cy="367982"/>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50" name="Group 592">
            <a:extLst>
              <a:ext uri="{FF2B5EF4-FFF2-40B4-BE49-F238E27FC236}">
                <a16:creationId xmlns:a16="http://schemas.microsoft.com/office/drawing/2014/main" id="{68546781-2FBC-4915-A32D-6427B18E4CF6}"/>
              </a:ext>
            </a:extLst>
          </p:cNvPr>
          <p:cNvGrpSpPr>
            <a:grpSpLocks noChangeAspect="1"/>
          </p:cNvGrpSpPr>
          <p:nvPr/>
        </p:nvGrpSpPr>
        <p:grpSpPr bwMode="auto">
          <a:xfrm>
            <a:off x="9614221" y="1700213"/>
            <a:ext cx="367982" cy="369064"/>
            <a:chOff x="2962" y="2760"/>
            <a:chExt cx="340" cy="341"/>
          </a:xfrm>
          <a:solidFill>
            <a:schemeClr val="accent1"/>
          </a:solidFill>
        </p:grpSpPr>
        <p:sp>
          <p:nvSpPr>
            <p:cNvPr id="551" name="Freeform 593">
              <a:extLst>
                <a:ext uri="{FF2B5EF4-FFF2-40B4-BE49-F238E27FC236}">
                  <a16:creationId xmlns:a16="http://schemas.microsoft.com/office/drawing/2014/main" id="{85D675EB-9C9E-4F81-AD6E-E81C33B7EC09}"/>
                </a:ext>
              </a:extLst>
            </p:cNvPr>
            <p:cNvSpPr>
              <a:spLocks noEditPoints="1"/>
            </p:cNvSpPr>
            <p:nvPr/>
          </p:nvSpPr>
          <p:spPr bwMode="auto">
            <a:xfrm>
              <a:off x="2962" y="276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2" name="Freeform 594">
              <a:extLst>
                <a:ext uri="{FF2B5EF4-FFF2-40B4-BE49-F238E27FC236}">
                  <a16:creationId xmlns:a16="http://schemas.microsoft.com/office/drawing/2014/main" id="{D186755B-DB96-4899-8830-0FFBB56405B3}"/>
                </a:ext>
              </a:extLst>
            </p:cNvPr>
            <p:cNvSpPr>
              <a:spLocks noEditPoints="1"/>
            </p:cNvSpPr>
            <p:nvPr/>
          </p:nvSpPr>
          <p:spPr bwMode="auto">
            <a:xfrm>
              <a:off x="3032" y="2838"/>
              <a:ext cx="199" cy="171"/>
            </a:xfrm>
            <a:custGeom>
              <a:avLst/>
              <a:gdLst>
                <a:gd name="T0" fmla="*/ 292 w 299"/>
                <a:gd name="T1" fmla="*/ 22 h 257"/>
                <a:gd name="T2" fmla="*/ 150 w 299"/>
                <a:gd name="T3" fmla="*/ 21 h 257"/>
                <a:gd name="T4" fmla="*/ 8 w 299"/>
                <a:gd name="T5" fmla="*/ 22 h 257"/>
                <a:gd name="T6" fmla="*/ 0 w 299"/>
                <a:gd name="T7" fmla="*/ 32 h 257"/>
                <a:gd name="T8" fmla="*/ 0 w 299"/>
                <a:gd name="T9" fmla="*/ 245 h 257"/>
                <a:gd name="T10" fmla="*/ 5 w 299"/>
                <a:gd name="T11" fmla="*/ 254 h 257"/>
                <a:gd name="T12" fmla="*/ 15 w 299"/>
                <a:gd name="T13" fmla="*/ 255 h 257"/>
                <a:gd name="T14" fmla="*/ 147 w 299"/>
                <a:gd name="T15" fmla="*/ 256 h 257"/>
                <a:gd name="T16" fmla="*/ 150 w 299"/>
                <a:gd name="T17" fmla="*/ 256 h 257"/>
                <a:gd name="T18" fmla="*/ 154 w 299"/>
                <a:gd name="T19" fmla="*/ 255 h 257"/>
                <a:gd name="T20" fmla="*/ 154 w 299"/>
                <a:gd name="T21" fmla="*/ 255 h 257"/>
                <a:gd name="T22" fmla="*/ 285 w 299"/>
                <a:gd name="T23" fmla="*/ 256 h 257"/>
                <a:gd name="T24" fmla="*/ 295 w 299"/>
                <a:gd name="T25" fmla="*/ 254 h 257"/>
                <a:gd name="T26" fmla="*/ 299 w 299"/>
                <a:gd name="T27" fmla="*/ 245 h 257"/>
                <a:gd name="T28" fmla="*/ 299 w 299"/>
                <a:gd name="T29" fmla="*/ 32 h 257"/>
                <a:gd name="T30" fmla="*/ 292 w 299"/>
                <a:gd name="T31" fmla="*/ 22 h 257"/>
                <a:gd name="T32" fmla="*/ 22 w 299"/>
                <a:gd name="T33" fmla="*/ 231 h 257"/>
                <a:gd name="T34" fmla="*/ 22 w 299"/>
                <a:gd name="T35" fmla="*/ 40 h 257"/>
                <a:gd name="T36" fmla="*/ 139 w 299"/>
                <a:gd name="T37" fmla="*/ 40 h 257"/>
                <a:gd name="T38" fmla="*/ 139 w 299"/>
                <a:gd name="T39" fmla="*/ 232 h 257"/>
                <a:gd name="T40" fmla="*/ 22 w 299"/>
                <a:gd name="T41" fmla="*/ 231 h 257"/>
                <a:gd name="T42" fmla="*/ 278 w 299"/>
                <a:gd name="T43" fmla="*/ 232 h 257"/>
                <a:gd name="T44" fmla="*/ 160 w 299"/>
                <a:gd name="T45" fmla="*/ 231 h 257"/>
                <a:gd name="T46" fmla="*/ 160 w 299"/>
                <a:gd name="T47" fmla="*/ 40 h 257"/>
                <a:gd name="T48" fmla="*/ 278 w 299"/>
                <a:gd name="T49" fmla="*/ 40 h 257"/>
                <a:gd name="T50" fmla="*/ 278 w 299"/>
                <a:gd name="T51" fmla="*/ 23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9" h="257">
                  <a:moveTo>
                    <a:pt x="292" y="22"/>
                  </a:moveTo>
                  <a:cubicBezTo>
                    <a:pt x="289" y="21"/>
                    <a:pt x="228" y="0"/>
                    <a:pt x="150" y="21"/>
                  </a:cubicBezTo>
                  <a:cubicBezTo>
                    <a:pt x="137" y="16"/>
                    <a:pt x="85" y="3"/>
                    <a:pt x="8" y="22"/>
                  </a:cubicBezTo>
                  <a:cubicBezTo>
                    <a:pt x="4" y="23"/>
                    <a:pt x="0" y="27"/>
                    <a:pt x="0" y="32"/>
                  </a:cubicBezTo>
                  <a:cubicBezTo>
                    <a:pt x="0" y="245"/>
                    <a:pt x="0" y="245"/>
                    <a:pt x="0" y="245"/>
                  </a:cubicBezTo>
                  <a:cubicBezTo>
                    <a:pt x="0" y="249"/>
                    <a:pt x="2" y="252"/>
                    <a:pt x="5" y="254"/>
                  </a:cubicBezTo>
                  <a:cubicBezTo>
                    <a:pt x="8" y="256"/>
                    <a:pt x="12" y="257"/>
                    <a:pt x="15" y="255"/>
                  </a:cubicBezTo>
                  <a:cubicBezTo>
                    <a:pt x="16" y="255"/>
                    <a:pt x="72" y="233"/>
                    <a:pt x="147" y="256"/>
                  </a:cubicBezTo>
                  <a:cubicBezTo>
                    <a:pt x="148" y="256"/>
                    <a:pt x="149" y="256"/>
                    <a:pt x="150" y="256"/>
                  </a:cubicBezTo>
                  <a:cubicBezTo>
                    <a:pt x="151" y="256"/>
                    <a:pt x="153" y="256"/>
                    <a:pt x="154" y="255"/>
                  </a:cubicBezTo>
                  <a:cubicBezTo>
                    <a:pt x="154" y="255"/>
                    <a:pt x="154" y="255"/>
                    <a:pt x="154" y="255"/>
                  </a:cubicBezTo>
                  <a:cubicBezTo>
                    <a:pt x="155" y="255"/>
                    <a:pt x="205" y="233"/>
                    <a:pt x="285" y="256"/>
                  </a:cubicBezTo>
                  <a:cubicBezTo>
                    <a:pt x="289" y="256"/>
                    <a:pt x="292" y="256"/>
                    <a:pt x="295" y="254"/>
                  </a:cubicBezTo>
                  <a:cubicBezTo>
                    <a:pt x="297" y="252"/>
                    <a:pt x="299" y="249"/>
                    <a:pt x="299" y="245"/>
                  </a:cubicBezTo>
                  <a:cubicBezTo>
                    <a:pt x="299" y="32"/>
                    <a:pt x="299" y="32"/>
                    <a:pt x="299" y="32"/>
                  </a:cubicBezTo>
                  <a:cubicBezTo>
                    <a:pt x="299" y="27"/>
                    <a:pt x="296" y="23"/>
                    <a:pt x="292" y="22"/>
                  </a:cubicBezTo>
                  <a:close/>
                  <a:moveTo>
                    <a:pt x="22" y="231"/>
                  </a:moveTo>
                  <a:cubicBezTo>
                    <a:pt x="22" y="40"/>
                    <a:pt x="22" y="40"/>
                    <a:pt x="22" y="40"/>
                  </a:cubicBezTo>
                  <a:cubicBezTo>
                    <a:pt x="81" y="27"/>
                    <a:pt x="123" y="36"/>
                    <a:pt x="139" y="40"/>
                  </a:cubicBezTo>
                  <a:cubicBezTo>
                    <a:pt x="139" y="232"/>
                    <a:pt x="139" y="232"/>
                    <a:pt x="139" y="232"/>
                  </a:cubicBezTo>
                  <a:cubicBezTo>
                    <a:pt x="86" y="219"/>
                    <a:pt x="43" y="225"/>
                    <a:pt x="22" y="231"/>
                  </a:cubicBezTo>
                  <a:close/>
                  <a:moveTo>
                    <a:pt x="278" y="232"/>
                  </a:moveTo>
                  <a:cubicBezTo>
                    <a:pt x="222" y="218"/>
                    <a:pt x="181" y="225"/>
                    <a:pt x="160" y="231"/>
                  </a:cubicBezTo>
                  <a:cubicBezTo>
                    <a:pt x="160" y="40"/>
                    <a:pt x="160" y="40"/>
                    <a:pt x="160" y="40"/>
                  </a:cubicBezTo>
                  <a:cubicBezTo>
                    <a:pt x="215" y="27"/>
                    <a:pt x="261" y="36"/>
                    <a:pt x="278" y="40"/>
                  </a:cubicBezTo>
                  <a:lnTo>
                    <a:pt x="278" y="2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3" name="TextBox 552">
            <a:extLst>
              <a:ext uri="{FF2B5EF4-FFF2-40B4-BE49-F238E27FC236}">
                <a16:creationId xmlns:a16="http://schemas.microsoft.com/office/drawing/2014/main" id="{0EA7FB25-B08F-4E6A-ABCB-678697C28ACF}"/>
              </a:ext>
            </a:extLst>
          </p:cNvPr>
          <p:cNvSpPr txBox="1"/>
          <p:nvPr/>
        </p:nvSpPr>
        <p:spPr>
          <a:xfrm>
            <a:off x="9182655" y="2099791"/>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ook open</a:t>
            </a:r>
          </a:p>
        </p:txBody>
      </p:sp>
      <p:grpSp>
        <p:nvGrpSpPr>
          <p:cNvPr id="554" name="Group 777">
            <a:extLst>
              <a:ext uri="{FF2B5EF4-FFF2-40B4-BE49-F238E27FC236}">
                <a16:creationId xmlns:a16="http://schemas.microsoft.com/office/drawing/2014/main" id="{82A93E71-21C6-4C4B-AB3E-7DBA1E995C39}"/>
              </a:ext>
            </a:extLst>
          </p:cNvPr>
          <p:cNvGrpSpPr>
            <a:grpSpLocks noChangeAspect="1"/>
          </p:cNvGrpSpPr>
          <p:nvPr/>
        </p:nvGrpSpPr>
        <p:grpSpPr bwMode="auto">
          <a:xfrm>
            <a:off x="931626" y="2531576"/>
            <a:ext cx="370106" cy="369021"/>
            <a:chOff x="5818" y="3070"/>
            <a:chExt cx="341" cy="340"/>
          </a:xfrm>
          <a:solidFill>
            <a:schemeClr val="accent3"/>
          </a:solidFill>
        </p:grpSpPr>
        <p:sp>
          <p:nvSpPr>
            <p:cNvPr id="555" name="Freeform 778">
              <a:extLst>
                <a:ext uri="{FF2B5EF4-FFF2-40B4-BE49-F238E27FC236}">
                  <a16:creationId xmlns:a16="http://schemas.microsoft.com/office/drawing/2014/main" id="{7A953E78-6DFD-4C12-98BC-B36091D54974}"/>
                </a:ext>
              </a:extLst>
            </p:cNvPr>
            <p:cNvSpPr>
              <a:spLocks noEditPoints="1"/>
            </p:cNvSpPr>
            <p:nvPr/>
          </p:nvSpPr>
          <p:spPr bwMode="auto">
            <a:xfrm>
              <a:off x="5882" y="3140"/>
              <a:ext cx="213" cy="185"/>
            </a:xfrm>
            <a:custGeom>
              <a:avLst/>
              <a:gdLst>
                <a:gd name="T0" fmla="*/ 309 w 320"/>
                <a:gd name="T1" fmla="*/ 43 h 278"/>
                <a:gd name="T2" fmla="*/ 213 w 320"/>
                <a:gd name="T3" fmla="*/ 43 h 278"/>
                <a:gd name="T4" fmla="*/ 213 w 320"/>
                <a:gd name="T5" fmla="*/ 11 h 278"/>
                <a:gd name="T6" fmla="*/ 202 w 320"/>
                <a:gd name="T7" fmla="*/ 0 h 278"/>
                <a:gd name="T8" fmla="*/ 117 w 320"/>
                <a:gd name="T9" fmla="*/ 0 h 278"/>
                <a:gd name="T10" fmla="*/ 106 w 320"/>
                <a:gd name="T11" fmla="*/ 11 h 278"/>
                <a:gd name="T12" fmla="*/ 106 w 320"/>
                <a:gd name="T13" fmla="*/ 43 h 278"/>
                <a:gd name="T14" fmla="*/ 10 w 320"/>
                <a:gd name="T15" fmla="*/ 43 h 278"/>
                <a:gd name="T16" fmla="*/ 0 w 320"/>
                <a:gd name="T17" fmla="*/ 54 h 278"/>
                <a:gd name="T18" fmla="*/ 0 w 320"/>
                <a:gd name="T19" fmla="*/ 160 h 278"/>
                <a:gd name="T20" fmla="*/ 10 w 320"/>
                <a:gd name="T21" fmla="*/ 171 h 278"/>
                <a:gd name="T22" fmla="*/ 21 w 320"/>
                <a:gd name="T23" fmla="*/ 171 h 278"/>
                <a:gd name="T24" fmla="*/ 21 w 320"/>
                <a:gd name="T25" fmla="*/ 267 h 278"/>
                <a:gd name="T26" fmla="*/ 32 w 320"/>
                <a:gd name="T27" fmla="*/ 278 h 278"/>
                <a:gd name="T28" fmla="*/ 288 w 320"/>
                <a:gd name="T29" fmla="*/ 278 h 278"/>
                <a:gd name="T30" fmla="*/ 298 w 320"/>
                <a:gd name="T31" fmla="*/ 267 h 278"/>
                <a:gd name="T32" fmla="*/ 298 w 320"/>
                <a:gd name="T33" fmla="*/ 171 h 278"/>
                <a:gd name="T34" fmla="*/ 309 w 320"/>
                <a:gd name="T35" fmla="*/ 171 h 278"/>
                <a:gd name="T36" fmla="*/ 320 w 320"/>
                <a:gd name="T37" fmla="*/ 160 h 278"/>
                <a:gd name="T38" fmla="*/ 320 w 320"/>
                <a:gd name="T39" fmla="*/ 54 h 278"/>
                <a:gd name="T40" fmla="*/ 309 w 320"/>
                <a:gd name="T41" fmla="*/ 43 h 278"/>
                <a:gd name="T42" fmla="*/ 128 w 320"/>
                <a:gd name="T43" fmla="*/ 22 h 278"/>
                <a:gd name="T44" fmla="*/ 192 w 320"/>
                <a:gd name="T45" fmla="*/ 22 h 278"/>
                <a:gd name="T46" fmla="*/ 192 w 320"/>
                <a:gd name="T47" fmla="*/ 43 h 278"/>
                <a:gd name="T48" fmla="*/ 128 w 320"/>
                <a:gd name="T49" fmla="*/ 43 h 278"/>
                <a:gd name="T50" fmla="*/ 128 w 320"/>
                <a:gd name="T51" fmla="*/ 22 h 278"/>
                <a:gd name="T52" fmla="*/ 277 w 320"/>
                <a:gd name="T53" fmla="*/ 256 h 278"/>
                <a:gd name="T54" fmla="*/ 42 w 320"/>
                <a:gd name="T55" fmla="*/ 256 h 278"/>
                <a:gd name="T56" fmla="*/ 42 w 320"/>
                <a:gd name="T57" fmla="*/ 171 h 278"/>
                <a:gd name="T58" fmla="*/ 85 w 320"/>
                <a:gd name="T59" fmla="*/ 171 h 278"/>
                <a:gd name="T60" fmla="*/ 85 w 320"/>
                <a:gd name="T61" fmla="*/ 182 h 278"/>
                <a:gd name="T62" fmla="*/ 96 w 320"/>
                <a:gd name="T63" fmla="*/ 192 h 278"/>
                <a:gd name="T64" fmla="*/ 106 w 320"/>
                <a:gd name="T65" fmla="*/ 182 h 278"/>
                <a:gd name="T66" fmla="*/ 106 w 320"/>
                <a:gd name="T67" fmla="*/ 171 h 278"/>
                <a:gd name="T68" fmla="*/ 213 w 320"/>
                <a:gd name="T69" fmla="*/ 171 h 278"/>
                <a:gd name="T70" fmla="*/ 213 w 320"/>
                <a:gd name="T71" fmla="*/ 182 h 278"/>
                <a:gd name="T72" fmla="*/ 224 w 320"/>
                <a:gd name="T73" fmla="*/ 192 h 278"/>
                <a:gd name="T74" fmla="*/ 234 w 320"/>
                <a:gd name="T75" fmla="*/ 182 h 278"/>
                <a:gd name="T76" fmla="*/ 234 w 320"/>
                <a:gd name="T77" fmla="*/ 171 h 278"/>
                <a:gd name="T78" fmla="*/ 277 w 320"/>
                <a:gd name="T79" fmla="*/ 171 h 278"/>
                <a:gd name="T80" fmla="*/ 277 w 320"/>
                <a:gd name="T81" fmla="*/ 256 h 278"/>
                <a:gd name="T82" fmla="*/ 298 w 320"/>
                <a:gd name="T83" fmla="*/ 150 h 278"/>
                <a:gd name="T84" fmla="*/ 234 w 320"/>
                <a:gd name="T85" fmla="*/ 150 h 278"/>
                <a:gd name="T86" fmla="*/ 234 w 320"/>
                <a:gd name="T87" fmla="*/ 139 h 278"/>
                <a:gd name="T88" fmla="*/ 224 w 320"/>
                <a:gd name="T89" fmla="*/ 128 h 278"/>
                <a:gd name="T90" fmla="*/ 213 w 320"/>
                <a:gd name="T91" fmla="*/ 139 h 278"/>
                <a:gd name="T92" fmla="*/ 213 w 320"/>
                <a:gd name="T93" fmla="*/ 150 h 278"/>
                <a:gd name="T94" fmla="*/ 106 w 320"/>
                <a:gd name="T95" fmla="*/ 150 h 278"/>
                <a:gd name="T96" fmla="*/ 106 w 320"/>
                <a:gd name="T97" fmla="*/ 139 h 278"/>
                <a:gd name="T98" fmla="*/ 96 w 320"/>
                <a:gd name="T99" fmla="*/ 128 h 278"/>
                <a:gd name="T100" fmla="*/ 85 w 320"/>
                <a:gd name="T101" fmla="*/ 139 h 278"/>
                <a:gd name="T102" fmla="*/ 85 w 320"/>
                <a:gd name="T103" fmla="*/ 150 h 278"/>
                <a:gd name="T104" fmla="*/ 21 w 320"/>
                <a:gd name="T105" fmla="*/ 150 h 278"/>
                <a:gd name="T106" fmla="*/ 21 w 320"/>
                <a:gd name="T107" fmla="*/ 64 h 278"/>
                <a:gd name="T108" fmla="*/ 298 w 320"/>
                <a:gd name="T109" fmla="*/ 64 h 278"/>
                <a:gd name="T110" fmla="*/ 298 w 320"/>
                <a:gd name="T111" fmla="*/ 15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78">
                  <a:moveTo>
                    <a:pt x="309" y="43"/>
                  </a:moveTo>
                  <a:cubicBezTo>
                    <a:pt x="213" y="43"/>
                    <a:pt x="213" y="43"/>
                    <a:pt x="213" y="43"/>
                  </a:cubicBezTo>
                  <a:cubicBezTo>
                    <a:pt x="213" y="11"/>
                    <a:pt x="213" y="11"/>
                    <a:pt x="213" y="11"/>
                  </a:cubicBezTo>
                  <a:cubicBezTo>
                    <a:pt x="213" y="5"/>
                    <a:pt x="208" y="0"/>
                    <a:pt x="202" y="0"/>
                  </a:cubicBezTo>
                  <a:cubicBezTo>
                    <a:pt x="117" y="0"/>
                    <a:pt x="117" y="0"/>
                    <a:pt x="117" y="0"/>
                  </a:cubicBezTo>
                  <a:cubicBezTo>
                    <a:pt x="111" y="0"/>
                    <a:pt x="106" y="5"/>
                    <a:pt x="106" y="11"/>
                  </a:cubicBezTo>
                  <a:cubicBezTo>
                    <a:pt x="106" y="43"/>
                    <a:pt x="106" y="43"/>
                    <a:pt x="106" y="43"/>
                  </a:cubicBezTo>
                  <a:cubicBezTo>
                    <a:pt x="10" y="43"/>
                    <a:pt x="10" y="43"/>
                    <a:pt x="10" y="43"/>
                  </a:cubicBezTo>
                  <a:cubicBezTo>
                    <a:pt x="4" y="43"/>
                    <a:pt x="0" y="48"/>
                    <a:pt x="0" y="54"/>
                  </a:cubicBezTo>
                  <a:cubicBezTo>
                    <a:pt x="0" y="160"/>
                    <a:pt x="0" y="160"/>
                    <a:pt x="0" y="160"/>
                  </a:cubicBezTo>
                  <a:cubicBezTo>
                    <a:pt x="0" y="166"/>
                    <a:pt x="4" y="171"/>
                    <a:pt x="10" y="171"/>
                  </a:cubicBezTo>
                  <a:cubicBezTo>
                    <a:pt x="21" y="171"/>
                    <a:pt x="21" y="171"/>
                    <a:pt x="21" y="171"/>
                  </a:cubicBezTo>
                  <a:cubicBezTo>
                    <a:pt x="21" y="267"/>
                    <a:pt x="21" y="267"/>
                    <a:pt x="21" y="267"/>
                  </a:cubicBezTo>
                  <a:cubicBezTo>
                    <a:pt x="21" y="273"/>
                    <a:pt x="26" y="278"/>
                    <a:pt x="32" y="278"/>
                  </a:cubicBezTo>
                  <a:cubicBezTo>
                    <a:pt x="288" y="278"/>
                    <a:pt x="288" y="278"/>
                    <a:pt x="288" y="278"/>
                  </a:cubicBezTo>
                  <a:cubicBezTo>
                    <a:pt x="294" y="278"/>
                    <a:pt x="298" y="273"/>
                    <a:pt x="298" y="267"/>
                  </a:cubicBezTo>
                  <a:cubicBezTo>
                    <a:pt x="298" y="171"/>
                    <a:pt x="298" y="171"/>
                    <a:pt x="298" y="171"/>
                  </a:cubicBezTo>
                  <a:cubicBezTo>
                    <a:pt x="309" y="171"/>
                    <a:pt x="309" y="171"/>
                    <a:pt x="309" y="171"/>
                  </a:cubicBezTo>
                  <a:cubicBezTo>
                    <a:pt x="315" y="171"/>
                    <a:pt x="320" y="166"/>
                    <a:pt x="320" y="160"/>
                  </a:cubicBezTo>
                  <a:cubicBezTo>
                    <a:pt x="320" y="54"/>
                    <a:pt x="320" y="54"/>
                    <a:pt x="320" y="54"/>
                  </a:cubicBezTo>
                  <a:cubicBezTo>
                    <a:pt x="320" y="48"/>
                    <a:pt x="315" y="43"/>
                    <a:pt x="309" y="43"/>
                  </a:cubicBezTo>
                  <a:close/>
                  <a:moveTo>
                    <a:pt x="128" y="22"/>
                  </a:moveTo>
                  <a:cubicBezTo>
                    <a:pt x="192" y="22"/>
                    <a:pt x="192" y="22"/>
                    <a:pt x="192" y="22"/>
                  </a:cubicBezTo>
                  <a:cubicBezTo>
                    <a:pt x="192" y="43"/>
                    <a:pt x="192" y="43"/>
                    <a:pt x="192" y="43"/>
                  </a:cubicBezTo>
                  <a:cubicBezTo>
                    <a:pt x="128" y="43"/>
                    <a:pt x="128" y="43"/>
                    <a:pt x="128" y="43"/>
                  </a:cubicBezTo>
                  <a:lnTo>
                    <a:pt x="128" y="22"/>
                  </a:lnTo>
                  <a:close/>
                  <a:moveTo>
                    <a:pt x="277" y="256"/>
                  </a:moveTo>
                  <a:cubicBezTo>
                    <a:pt x="42" y="256"/>
                    <a:pt x="42" y="256"/>
                    <a:pt x="42" y="256"/>
                  </a:cubicBezTo>
                  <a:cubicBezTo>
                    <a:pt x="42" y="171"/>
                    <a:pt x="42" y="171"/>
                    <a:pt x="42" y="171"/>
                  </a:cubicBezTo>
                  <a:cubicBezTo>
                    <a:pt x="85" y="171"/>
                    <a:pt x="85" y="171"/>
                    <a:pt x="85" y="171"/>
                  </a:cubicBezTo>
                  <a:cubicBezTo>
                    <a:pt x="85" y="182"/>
                    <a:pt x="85" y="182"/>
                    <a:pt x="85" y="182"/>
                  </a:cubicBezTo>
                  <a:cubicBezTo>
                    <a:pt x="85" y="188"/>
                    <a:pt x="90" y="192"/>
                    <a:pt x="96" y="192"/>
                  </a:cubicBezTo>
                  <a:cubicBezTo>
                    <a:pt x="102" y="192"/>
                    <a:pt x="106" y="188"/>
                    <a:pt x="106" y="182"/>
                  </a:cubicBezTo>
                  <a:cubicBezTo>
                    <a:pt x="106" y="171"/>
                    <a:pt x="106" y="171"/>
                    <a:pt x="106" y="171"/>
                  </a:cubicBezTo>
                  <a:cubicBezTo>
                    <a:pt x="213" y="171"/>
                    <a:pt x="213" y="171"/>
                    <a:pt x="213" y="171"/>
                  </a:cubicBezTo>
                  <a:cubicBezTo>
                    <a:pt x="213" y="182"/>
                    <a:pt x="213" y="182"/>
                    <a:pt x="213" y="182"/>
                  </a:cubicBezTo>
                  <a:cubicBezTo>
                    <a:pt x="213" y="188"/>
                    <a:pt x="218" y="192"/>
                    <a:pt x="224" y="192"/>
                  </a:cubicBezTo>
                  <a:cubicBezTo>
                    <a:pt x="230" y="192"/>
                    <a:pt x="234" y="188"/>
                    <a:pt x="234" y="182"/>
                  </a:cubicBezTo>
                  <a:cubicBezTo>
                    <a:pt x="234" y="171"/>
                    <a:pt x="234" y="171"/>
                    <a:pt x="234" y="171"/>
                  </a:cubicBezTo>
                  <a:cubicBezTo>
                    <a:pt x="277" y="171"/>
                    <a:pt x="277" y="171"/>
                    <a:pt x="277" y="171"/>
                  </a:cubicBezTo>
                  <a:lnTo>
                    <a:pt x="277" y="256"/>
                  </a:lnTo>
                  <a:close/>
                  <a:moveTo>
                    <a:pt x="298" y="150"/>
                  </a:moveTo>
                  <a:cubicBezTo>
                    <a:pt x="234" y="150"/>
                    <a:pt x="234" y="150"/>
                    <a:pt x="234" y="150"/>
                  </a:cubicBezTo>
                  <a:cubicBezTo>
                    <a:pt x="234" y="139"/>
                    <a:pt x="234" y="139"/>
                    <a:pt x="234" y="139"/>
                  </a:cubicBezTo>
                  <a:cubicBezTo>
                    <a:pt x="234" y="133"/>
                    <a:pt x="230" y="128"/>
                    <a:pt x="224" y="128"/>
                  </a:cubicBezTo>
                  <a:cubicBezTo>
                    <a:pt x="218" y="128"/>
                    <a:pt x="213" y="133"/>
                    <a:pt x="213" y="139"/>
                  </a:cubicBezTo>
                  <a:cubicBezTo>
                    <a:pt x="213" y="150"/>
                    <a:pt x="213" y="150"/>
                    <a:pt x="213" y="150"/>
                  </a:cubicBezTo>
                  <a:cubicBezTo>
                    <a:pt x="106" y="150"/>
                    <a:pt x="106" y="150"/>
                    <a:pt x="106" y="150"/>
                  </a:cubicBezTo>
                  <a:cubicBezTo>
                    <a:pt x="106" y="139"/>
                    <a:pt x="106" y="139"/>
                    <a:pt x="106" y="139"/>
                  </a:cubicBezTo>
                  <a:cubicBezTo>
                    <a:pt x="106" y="133"/>
                    <a:pt x="102" y="128"/>
                    <a:pt x="96" y="128"/>
                  </a:cubicBezTo>
                  <a:cubicBezTo>
                    <a:pt x="90" y="128"/>
                    <a:pt x="85" y="133"/>
                    <a:pt x="85" y="139"/>
                  </a:cubicBezTo>
                  <a:cubicBezTo>
                    <a:pt x="85" y="150"/>
                    <a:pt x="85" y="150"/>
                    <a:pt x="85" y="150"/>
                  </a:cubicBezTo>
                  <a:cubicBezTo>
                    <a:pt x="21" y="150"/>
                    <a:pt x="21" y="150"/>
                    <a:pt x="21" y="150"/>
                  </a:cubicBezTo>
                  <a:cubicBezTo>
                    <a:pt x="21" y="64"/>
                    <a:pt x="21" y="64"/>
                    <a:pt x="21" y="64"/>
                  </a:cubicBezTo>
                  <a:cubicBezTo>
                    <a:pt x="298" y="64"/>
                    <a:pt x="298" y="64"/>
                    <a:pt x="298" y="64"/>
                  </a:cubicBezTo>
                  <a:lnTo>
                    <a:pt x="298" y="15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6" name="Freeform 779">
              <a:extLst>
                <a:ext uri="{FF2B5EF4-FFF2-40B4-BE49-F238E27FC236}">
                  <a16:creationId xmlns:a16="http://schemas.microsoft.com/office/drawing/2014/main" id="{6EFFE037-D403-41D0-88E5-417F43860B32}"/>
                </a:ext>
              </a:extLst>
            </p:cNvPr>
            <p:cNvSpPr>
              <a:spLocks noEditPoints="1"/>
            </p:cNvSpPr>
            <p:nvPr/>
          </p:nvSpPr>
          <p:spPr bwMode="auto">
            <a:xfrm>
              <a:off x="5818" y="307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7" name="Freeform 783">
            <a:extLst>
              <a:ext uri="{FF2B5EF4-FFF2-40B4-BE49-F238E27FC236}">
                <a16:creationId xmlns:a16="http://schemas.microsoft.com/office/drawing/2014/main" id="{6F9DD68C-929B-4A64-BAA6-BF49BF7BEA33}"/>
              </a:ext>
            </a:extLst>
          </p:cNvPr>
          <p:cNvSpPr>
            <a:spLocks noChangeAspect="1" noEditPoints="1"/>
          </p:cNvSpPr>
          <p:nvPr/>
        </p:nvSpPr>
        <p:spPr bwMode="auto">
          <a:xfrm>
            <a:off x="497686" y="2531576"/>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266 h 512"/>
              <a:gd name="T12" fmla="*/ 405 w 512"/>
              <a:gd name="T13" fmla="*/ 277 h 512"/>
              <a:gd name="T14" fmla="*/ 394 w 512"/>
              <a:gd name="T15" fmla="*/ 277 h 512"/>
              <a:gd name="T16" fmla="*/ 394 w 512"/>
              <a:gd name="T17" fmla="*/ 373 h 512"/>
              <a:gd name="T18" fmla="*/ 384 w 512"/>
              <a:gd name="T19" fmla="*/ 384 h 512"/>
              <a:gd name="T20" fmla="*/ 128 w 512"/>
              <a:gd name="T21" fmla="*/ 384 h 512"/>
              <a:gd name="T22" fmla="*/ 117 w 512"/>
              <a:gd name="T23" fmla="*/ 373 h 512"/>
              <a:gd name="T24" fmla="*/ 117 w 512"/>
              <a:gd name="T25" fmla="*/ 277 h 512"/>
              <a:gd name="T26" fmla="*/ 106 w 512"/>
              <a:gd name="T27" fmla="*/ 277 h 512"/>
              <a:gd name="T28" fmla="*/ 96 w 512"/>
              <a:gd name="T29" fmla="*/ 266 h 512"/>
              <a:gd name="T30" fmla="*/ 96 w 512"/>
              <a:gd name="T31" fmla="*/ 160 h 512"/>
              <a:gd name="T32" fmla="*/ 106 w 512"/>
              <a:gd name="T33" fmla="*/ 149 h 512"/>
              <a:gd name="T34" fmla="*/ 202 w 512"/>
              <a:gd name="T35" fmla="*/ 149 h 512"/>
              <a:gd name="T36" fmla="*/ 202 w 512"/>
              <a:gd name="T37" fmla="*/ 117 h 512"/>
              <a:gd name="T38" fmla="*/ 213 w 512"/>
              <a:gd name="T39" fmla="*/ 106 h 512"/>
              <a:gd name="T40" fmla="*/ 298 w 512"/>
              <a:gd name="T41" fmla="*/ 106 h 512"/>
              <a:gd name="T42" fmla="*/ 309 w 512"/>
              <a:gd name="T43" fmla="*/ 117 h 512"/>
              <a:gd name="T44" fmla="*/ 309 w 512"/>
              <a:gd name="T45" fmla="*/ 149 h 512"/>
              <a:gd name="T46" fmla="*/ 405 w 512"/>
              <a:gd name="T47" fmla="*/ 149 h 512"/>
              <a:gd name="T48" fmla="*/ 416 w 512"/>
              <a:gd name="T49" fmla="*/ 160 h 512"/>
              <a:gd name="T50" fmla="*/ 416 w 512"/>
              <a:gd name="T51" fmla="*/ 266 h 512"/>
              <a:gd name="T52" fmla="*/ 330 w 512"/>
              <a:gd name="T53" fmla="*/ 277 h 512"/>
              <a:gd name="T54" fmla="*/ 373 w 512"/>
              <a:gd name="T55" fmla="*/ 277 h 512"/>
              <a:gd name="T56" fmla="*/ 373 w 512"/>
              <a:gd name="T57" fmla="*/ 362 h 512"/>
              <a:gd name="T58" fmla="*/ 138 w 512"/>
              <a:gd name="T59" fmla="*/ 362 h 512"/>
              <a:gd name="T60" fmla="*/ 138 w 512"/>
              <a:gd name="T61" fmla="*/ 277 h 512"/>
              <a:gd name="T62" fmla="*/ 181 w 512"/>
              <a:gd name="T63" fmla="*/ 277 h 512"/>
              <a:gd name="T64" fmla="*/ 181 w 512"/>
              <a:gd name="T65" fmla="*/ 288 h 512"/>
              <a:gd name="T66" fmla="*/ 192 w 512"/>
              <a:gd name="T67" fmla="*/ 298 h 512"/>
              <a:gd name="T68" fmla="*/ 202 w 512"/>
              <a:gd name="T69" fmla="*/ 288 h 512"/>
              <a:gd name="T70" fmla="*/ 202 w 512"/>
              <a:gd name="T71" fmla="*/ 277 h 512"/>
              <a:gd name="T72" fmla="*/ 309 w 512"/>
              <a:gd name="T73" fmla="*/ 277 h 512"/>
              <a:gd name="T74" fmla="*/ 309 w 512"/>
              <a:gd name="T75" fmla="*/ 288 h 512"/>
              <a:gd name="T76" fmla="*/ 320 w 512"/>
              <a:gd name="T77" fmla="*/ 298 h 512"/>
              <a:gd name="T78" fmla="*/ 330 w 512"/>
              <a:gd name="T79" fmla="*/ 288 h 512"/>
              <a:gd name="T80" fmla="*/ 330 w 512"/>
              <a:gd name="T81" fmla="*/ 277 h 512"/>
              <a:gd name="T82" fmla="*/ 288 w 512"/>
              <a:gd name="T83" fmla="*/ 149 h 512"/>
              <a:gd name="T84" fmla="*/ 224 w 512"/>
              <a:gd name="T85" fmla="*/ 149 h 512"/>
              <a:gd name="T86" fmla="*/ 224 w 512"/>
              <a:gd name="T87" fmla="*/ 128 h 512"/>
              <a:gd name="T88" fmla="*/ 288 w 512"/>
              <a:gd name="T89" fmla="*/ 128 h 512"/>
              <a:gd name="T90" fmla="*/ 288 w 512"/>
              <a:gd name="T91" fmla="*/ 149 h 512"/>
              <a:gd name="T92" fmla="*/ 117 w 512"/>
              <a:gd name="T93" fmla="*/ 170 h 512"/>
              <a:gd name="T94" fmla="*/ 394 w 512"/>
              <a:gd name="T95" fmla="*/ 170 h 512"/>
              <a:gd name="T96" fmla="*/ 394 w 512"/>
              <a:gd name="T97" fmla="*/ 256 h 512"/>
              <a:gd name="T98" fmla="*/ 330 w 512"/>
              <a:gd name="T99" fmla="*/ 256 h 512"/>
              <a:gd name="T100" fmla="*/ 330 w 512"/>
              <a:gd name="T101" fmla="*/ 245 h 512"/>
              <a:gd name="T102" fmla="*/ 320 w 512"/>
              <a:gd name="T103" fmla="*/ 234 h 512"/>
              <a:gd name="T104" fmla="*/ 309 w 512"/>
              <a:gd name="T105" fmla="*/ 245 h 512"/>
              <a:gd name="T106" fmla="*/ 309 w 512"/>
              <a:gd name="T107" fmla="*/ 256 h 512"/>
              <a:gd name="T108" fmla="*/ 202 w 512"/>
              <a:gd name="T109" fmla="*/ 256 h 512"/>
              <a:gd name="T110" fmla="*/ 202 w 512"/>
              <a:gd name="T111" fmla="*/ 245 h 512"/>
              <a:gd name="T112" fmla="*/ 192 w 512"/>
              <a:gd name="T113" fmla="*/ 234 h 512"/>
              <a:gd name="T114" fmla="*/ 181 w 512"/>
              <a:gd name="T115" fmla="*/ 245 h 512"/>
              <a:gd name="T116" fmla="*/ 181 w 512"/>
              <a:gd name="T117" fmla="*/ 256 h 512"/>
              <a:gd name="T118" fmla="*/ 117 w 512"/>
              <a:gd name="T119" fmla="*/ 256 h 512"/>
              <a:gd name="T120" fmla="*/ 117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66"/>
                </a:moveTo>
                <a:cubicBezTo>
                  <a:pt x="416" y="272"/>
                  <a:pt x="411" y="277"/>
                  <a:pt x="405" y="277"/>
                </a:cubicBezTo>
                <a:cubicBezTo>
                  <a:pt x="394" y="277"/>
                  <a:pt x="394" y="277"/>
                  <a:pt x="394" y="277"/>
                </a:cubicBezTo>
                <a:cubicBezTo>
                  <a:pt x="394" y="373"/>
                  <a:pt x="394" y="373"/>
                  <a:pt x="394" y="373"/>
                </a:cubicBezTo>
                <a:cubicBezTo>
                  <a:pt x="394" y="379"/>
                  <a:pt x="390" y="384"/>
                  <a:pt x="384" y="384"/>
                </a:cubicBezTo>
                <a:cubicBezTo>
                  <a:pt x="128" y="384"/>
                  <a:pt x="128" y="384"/>
                  <a:pt x="128" y="384"/>
                </a:cubicBezTo>
                <a:cubicBezTo>
                  <a:pt x="122" y="384"/>
                  <a:pt x="117" y="379"/>
                  <a:pt x="117" y="373"/>
                </a:cubicBezTo>
                <a:cubicBezTo>
                  <a:pt x="117" y="277"/>
                  <a:pt x="117" y="277"/>
                  <a:pt x="117" y="277"/>
                </a:cubicBezTo>
                <a:cubicBezTo>
                  <a:pt x="106" y="277"/>
                  <a:pt x="106" y="277"/>
                  <a:pt x="106" y="277"/>
                </a:cubicBezTo>
                <a:cubicBezTo>
                  <a:pt x="100" y="277"/>
                  <a:pt x="96" y="272"/>
                  <a:pt x="96" y="266"/>
                </a:cubicBezTo>
                <a:cubicBezTo>
                  <a:pt x="96" y="160"/>
                  <a:pt x="96" y="160"/>
                  <a:pt x="96" y="160"/>
                </a:cubicBezTo>
                <a:cubicBezTo>
                  <a:pt x="96" y="154"/>
                  <a:pt x="100" y="149"/>
                  <a:pt x="106" y="149"/>
                </a:cubicBezTo>
                <a:cubicBezTo>
                  <a:pt x="202" y="149"/>
                  <a:pt x="202" y="149"/>
                  <a:pt x="202" y="149"/>
                </a:cubicBezTo>
                <a:cubicBezTo>
                  <a:pt x="202" y="117"/>
                  <a:pt x="202" y="117"/>
                  <a:pt x="202" y="117"/>
                </a:cubicBezTo>
                <a:cubicBezTo>
                  <a:pt x="202" y="111"/>
                  <a:pt x="207" y="106"/>
                  <a:pt x="213" y="106"/>
                </a:cubicBezTo>
                <a:cubicBezTo>
                  <a:pt x="298" y="106"/>
                  <a:pt x="298" y="106"/>
                  <a:pt x="298" y="106"/>
                </a:cubicBezTo>
                <a:cubicBezTo>
                  <a:pt x="304" y="106"/>
                  <a:pt x="309" y="111"/>
                  <a:pt x="309" y="117"/>
                </a:cubicBezTo>
                <a:cubicBezTo>
                  <a:pt x="309" y="149"/>
                  <a:pt x="309" y="149"/>
                  <a:pt x="309" y="149"/>
                </a:cubicBezTo>
                <a:cubicBezTo>
                  <a:pt x="405" y="149"/>
                  <a:pt x="405" y="149"/>
                  <a:pt x="405" y="149"/>
                </a:cubicBezTo>
                <a:cubicBezTo>
                  <a:pt x="411" y="149"/>
                  <a:pt x="416" y="154"/>
                  <a:pt x="416" y="160"/>
                </a:cubicBezTo>
                <a:lnTo>
                  <a:pt x="416" y="266"/>
                </a:lnTo>
                <a:close/>
                <a:moveTo>
                  <a:pt x="330" y="277"/>
                </a:moveTo>
                <a:cubicBezTo>
                  <a:pt x="373" y="277"/>
                  <a:pt x="373" y="277"/>
                  <a:pt x="373" y="277"/>
                </a:cubicBezTo>
                <a:cubicBezTo>
                  <a:pt x="373" y="362"/>
                  <a:pt x="373" y="362"/>
                  <a:pt x="373" y="362"/>
                </a:cubicBezTo>
                <a:cubicBezTo>
                  <a:pt x="138" y="362"/>
                  <a:pt x="138" y="362"/>
                  <a:pt x="138" y="362"/>
                </a:cubicBezTo>
                <a:cubicBezTo>
                  <a:pt x="138" y="277"/>
                  <a:pt x="138" y="277"/>
                  <a:pt x="138" y="277"/>
                </a:cubicBezTo>
                <a:cubicBezTo>
                  <a:pt x="181" y="277"/>
                  <a:pt x="181" y="277"/>
                  <a:pt x="181" y="277"/>
                </a:cubicBezTo>
                <a:cubicBezTo>
                  <a:pt x="181" y="288"/>
                  <a:pt x="181" y="288"/>
                  <a:pt x="181" y="288"/>
                </a:cubicBezTo>
                <a:cubicBezTo>
                  <a:pt x="181" y="294"/>
                  <a:pt x="186" y="298"/>
                  <a:pt x="192" y="298"/>
                </a:cubicBezTo>
                <a:cubicBezTo>
                  <a:pt x="198" y="298"/>
                  <a:pt x="202" y="294"/>
                  <a:pt x="202" y="288"/>
                </a:cubicBezTo>
                <a:cubicBezTo>
                  <a:pt x="202" y="277"/>
                  <a:pt x="202" y="277"/>
                  <a:pt x="202" y="277"/>
                </a:cubicBezTo>
                <a:cubicBezTo>
                  <a:pt x="309" y="277"/>
                  <a:pt x="309" y="277"/>
                  <a:pt x="309" y="277"/>
                </a:cubicBezTo>
                <a:cubicBezTo>
                  <a:pt x="309" y="288"/>
                  <a:pt x="309" y="288"/>
                  <a:pt x="309" y="288"/>
                </a:cubicBezTo>
                <a:cubicBezTo>
                  <a:pt x="309" y="294"/>
                  <a:pt x="314" y="298"/>
                  <a:pt x="320" y="298"/>
                </a:cubicBezTo>
                <a:cubicBezTo>
                  <a:pt x="326" y="298"/>
                  <a:pt x="330" y="294"/>
                  <a:pt x="330" y="288"/>
                </a:cubicBezTo>
                <a:lnTo>
                  <a:pt x="330" y="277"/>
                </a:lnTo>
                <a:close/>
                <a:moveTo>
                  <a:pt x="288" y="149"/>
                </a:moveTo>
                <a:cubicBezTo>
                  <a:pt x="224" y="149"/>
                  <a:pt x="224" y="149"/>
                  <a:pt x="224" y="149"/>
                </a:cubicBezTo>
                <a:cubicBezTo>
                  <a:pt x="224" y="128"/>
                  <a:pt x="224" y="128"/>
                  <a:pt x="224" y="128"/>
                </a:cubicBezTo>
                <a:cubicBezTo>
                  <a:pt x="288" y="128"/>
                  <a:pt x="288" y="128"/>
                  <a:pt x="288" y="128"/>
                </a:cubicBezTo>
                <a:lnTo>
                  <a:pt x="288" y="149"/>
                </a:lnTo>
                <a:close/>
                <a:moveTo>
                  <a:pt x="117" y="170"/>
                </a:moveTo>
                <a:cubicBezTo>
                  <a:pt x="394" y="170"/>
                  <a:pt x="394" y="170"/>
                  <a:pt x="394" y="170"/>
                </a:cubicBezTo>
                <a:cubicBezTo>
                  <a:pt x="394" y="256"/>
                  <a:pt x="394" y="256"/>
                  <a:pt x="394" y="256"/>
                </a:cubicBezTo>
                <a:cubicBezTo>
                  <a:pt x="330" y="256"/>
                  <a:pt x="330" y="256"/>
                  <a:pt x="330" y="256"/>
                </a:cubicBezTo>
                <a:cubicBezTo>
                  <a:pt x="330" y="245"/>
                  <a:pt x="330" y="245"/>
                  <a:pt x="330" y="245"/>
                </a:cubicBezTo>
                <a:cubicBezTo>
                  <a:pt x="330" y="239"/>
                  <a:pt x="326" y="234"/>
                  <a:pt x="320" y="234"/>
                </a:cubicBezTo>
                <a:cubicBezTo>
                  <a:pt x="314" y="234"/>
                  <a:pt x="309" y="239"/>
                  <a:pt x="309" y="245"/>
                </a:cubicBezTo>
                <a:cubicBezTo>
                  <a:pt x="309" y="256"/>
                  <a:pt x="309" y="256"/>
                  <a:pt x="309" y="256"/>
                </a:cubicBezTo>
                <a:cubicBezTo>
                  <a:pt x="202" y="256"/>
                  <a:pt x="202" y="256"/>
                  <a:pt x="202" y="256"/>
                </a:cubicBezTo>
                <a:cubicBezTo>
                  <a:pt x="202" y="245"/>
                  <a:pt x="202" y="245"/>
                  <a:pt x="202" y="245"/>
                </a:cubicBezTo>
                <a:cubicBezTo>
                  <a:pt x="202" y="239"/>
                  <a:pt x="198" y="234"/>
                  <a:pt x="192" y="234"/>
                </a:cubicBezTo>
                <a:cubicBezTo>
                  <a:pt x="186" y="234"/>
                  <a:pt x="181" y="239"/>
                  <a:pt x="181" y="245"/>
                </a:cubicBezTo>
                <a:cubicBezTo>
                  <a:pt x="181" y="256"/>
                  <a:pt x="181" y="256"/>
                  <a:pt x="181" y="256"/>
                </a:cubicBezTo>
                <a:cubicBezTo>
                  <a:pt x="117" y="256"/>
                  <a:pt x="117" y="256"/>
                  <a:pt x="117" y="256"/>
                </a:cubicBezTo>
                <a:lnTo>
                  <a:pt x="117" y="17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58" name="TextBox 557">
            <a:extLst>
              <a:ext uri="{FF2B5EF4-FFF2-40B4-BE49-F238E27FC236}">
                <a16:creationId xmlns:a16="http://schemas.microsoft.com/office/drawing/2014/main" id="{EF29288D-6DB9-4F62-AB75-614A85B2E99F}"/>
              </a:ext>
            </a:extLst>
          </p:cNvPr>
          <p:cNvSpPr txBox="1"/>
          <p:nvPr/>
        </p:nvSpPr>
        <p:spPr>
          <a:xfrm>
            <a:off x="3927006" y="294016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aker</a:t>
            </a:r>
          </a:p>
        </p:txBody>
      </p:sp>
      <p:grpSp>
        <p:nvGrpSpPr>
          <p:cNvPr id="559" name="Group 558">
            <a:extLst>
              <a:ext uri="{FF2B5EF4-FFF2-40B4-BE49-F238E27FC236}">
                <a16:creationId xmlns:a16="http://schemas.microsoft.com/office/drawing/2014/main" id="{EBA44968-FD4F-4C0E-AD15-D2277B234BD0}"/>
              </a:ext>
            </a:extLst>
          </p:cNvPr>
          <p:cNvGrpSpPr>
            <a:grpSpLocks noChangeAspect="1"/>
          </p:cNvGrpSpPr>
          <p:nvPr/>
        </p:nvGrpSpPr>
        <p:grpSpPr>
          <a:xfrm>
            <a:off x="4829509" y="1700213"/>
            <a:ext cx="372673" cy="370800"/>
            <a:chOff x="5672138" y="4513263"/>
            <a:chExt cx="1579562" cy="1571625"/>
          </a:xfrm>
          <a:solidFill>
            <a:schemeClr val="accent2"/>
          </a:solidFill>
        </p:grpSpPr>
        <p:sp>
          <p:nvSpPr>
            <p:cNvPr id="560" name="Rectangle 5">
              <a:extLst>
                <a:ext uri="{FF2B5EF4-FFF2-40B4-BE49-F238E27FC236}">
                  <a16:creationId xmlns:a16="http://schemas.microsoft.com/office/drawing/2014/main" id="{17A05846-14F4-4329-B9FB-D4BE2FBD1349}"/>
                </a:ext>
              </a:extLst>
            </p:cNvPr>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1" name="Oval 6">
              <a:extLst>
                <a:ext uri="{FF2B5EF4-FFF2-40B4-BE49-F238E27FC236}">
                  <a16:creationId xmlns:a16="http://schemas.microsoft.com/office/drawing/2014/main" id="{F0D26FCD-3AD3-4705-91A6-E9B79F0A7FE3}"/>
                </a:ext>
              </a:extLst>
            </p:cNvPr>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Rectangle 7">
              <a:extLst>
                <a:ext uri="{FF2B5EF4-FFF2-40B4-BE49-F238E27FC236}">
                  <a16:creationId xmlns:a16="http://schemas.microsoft.com/office/drawing/2014/main" id="{4E1334F0-BE94-4C65-9CD2-4B79B70988C5}"/>
                </a:ext>
              </a:extLst>
            </p:cNvPr>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Oval 8">
              <a:extLst>
                <a:ext uri="{FF2B5EF4-FFF2-40B4-BE49-F238E27FC236}">
                  <a16:creationId xmlns:a16="http://schemas.microsoft.com/office/drawing/2014/main" id="{C2C7636D-572B-444F-AAE3-C02F6A06EE0E}"/>
                </a:ext>
              </a:extLst>
            </p:cNvPr>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Oval 9">
              <a:extLst>
                <a:ext uri="{FF2B5EF4-FFF2-40B4-BE49-F238E27FC236}">
                  <a16:creationId xmlns:a16="http://schemas.microsoft.com/office/drawing/2014/main" id="{312322EC-6C82-44EF-BF96-B5D2B97874B1}"/>
                </a:ext>
              </a:extLst>
            </p:cNvPr>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Freeform 10">
              <a:extLst>
                <a:ext uri="{FF2B5EF4-FFF2-40B4-BE49-F238E27FC236}">
                  <a16:creationId xmlns:a16="http://schemas.microsoft.com/office/drawing/2014/main" id="{0CF028F1-3D71-4199-91B5-1AC9F8BFDEC0}"/>
                </a:ext>
              </a:extLst>
            </p:cNvPr>
            <p:cNvSpPr>
              <a:spLocks noEditPoints="1"/>
            </p:cNvSpPr>
            <p:nvPr/>
          </p:nvSpPr>
          <p:spPr bwMode="auto">
            <a:xfrm>
              <a:off x="5672138" y="4513263"/>
              <a:ext cx="1579562" cy="15716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6" name="Freeform 11">
              <a:extLst>
                <a:ext uri="{FF2B5EF4-FFF2-40B4-BE49-F238E27FC236}">
                  <a16:creationId xmlns:a16="http://schemas.microsoft.com/office/drawing/2014/main" id="{8039E03B-6C3F-4C2F-99C6-757F2BEE149E}"/>
                </a:ext>
              </a:extLst>
            </p:cNvPr>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7" name="Group 566">
            <a:extLst>
              <a:ext uri="{FF2B5EF4-FFF2-40B4-BE49-F238E27FC236}">
                <a16:creationId xmlns:a16="http://schemas.microsoft.com/office/drawing/2014/main" id="{9FBCD566-6A33-4D7A-8618-B56A5395B524}"/>
              </a:ext>
            </a:extLst>
          </p:cNvPr>
          <p:cNvGrpSpPr>
            <a:grpSpLocks noChangeAspect="1"/>
          </p:cNvGrpSpPr>
          <p:nvPr/>
        </p:nvGrpSpPr>
        <p:grpSpPr>
          <a:xfrm>
            <a:off x="5267808" y="1700213"/>
            <a:ext cx="373042" cy="370800"/>
            <a:chOff x="6537910" y="4611206"/>
            <a:chExt cx="1849437" cy="1838325"/>
          </a:xfrm>
          <a:solidFill>
            <a:schemeClr val="accent2"/>
          </a:solidFill>
        </p:grpSpPr>
        <p:sp>
          <p:nvSpPr>
            <p:cNvPr id="568" name="Freeform 15">
              <a:extLst>
                <a:ext uri="{FF2B5EF4-FFF2-40B4-BE49-F238E27FC236}">
                  <a16:creationId xmlns:a16="http://schemas.microsoft.com/office/drawing/2014/main" id="{A9958E84-3996-4EBE-9068-811D1F67ECB7}"/>
                </a:ext>
              </a:extLst>
            </p:cNvPr>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9" name="Freeform 16">
              <a:extLst>
                <a:ext uri="{FF2B5EF4-FFF2-40B4-BE49-F238E27FC236}">
                  <a16:creationId xmlns:a16="http://schemas.microsoft.com/office/drawing/2014/main" id="{8DCD6A3E-4F9B-44B6-8EA3-6194CB82D498}"/>
                </a:ext>
              </a:extLst>
            </p:cNvPr>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0" name="Freeform 17">
              <a:extLst>
                <a:ext uri="{FF2B5EF4-FFF2-40B4-BE49-F238E27FC236}">
                  <a16:creationId xmlns:a16="http://schemas.microsoft.com/office/drawing/2014/main" id="{4639D6B1-43FA-444A-8ABC-66DA223CEB91}"/>
                </a:ext>
              </a:extLst>
            </p:cNvPr>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1" name="Freeform 18">
              <a:extLst>
                <a:ext uri="{FF2B5EF4-FFF2-40B4-BE49-F238E27FC236}">
                  <a16:creationId xmlns:a16="http://schemas.microsoft.com/office/drawing/2014/main" id="{95A3B642-B08C-43F0-B8AD-627DBB10FC1F}"/>
                </a:ext>
              </a:extLst>
            </p:cNvPr>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2" name="Freeform 19">
              <a:extLst>
                <a:ext uri="{FF2B5EF4-FFF2-40B4-BE49-F238E27FC236}">
                  <a16:creationId xmlns:a16="http://schemas.microsoft.com/office/drawing/2014/main" id="{1C456FF8-EC49-4BCA-B297-373A67186AAA}"/>
                </a:ext>
              </a:extLst>
            </p:cNvPr>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3" name="Freeform 20">
              <a:extLst>
                <a:ext uri="{FF2B5EF4-FFF2-40B4-BE49-F238E27FC236}">
                  <a16:creationId xmlns:a16="http://schemas.microsoft.com/office/drawing/2014/main" id="{B0C5E365-5383-40CC-AA6B-E891B7262447}"/>
                </a:ext>
              </a:extLst>
            </p:cNvPr>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4" name="Freeform 21">
              <a:extLst>
                <a:ext uri="{FF2B5EF4-FFF2-40B4-BE49-F238E27FC236}">
                  <a16:creationId xmlns:a16="http://schemas.microsoft.com/office/drawing/2014/main" id="{79EEA7BA-23B1-46C1-8BAB-5F65543BF923}"/>
                </a:ext>
              </a:extLst>
            </p:cNvPr>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75" name="Freeform 5">
            <a:extLst>
              <a:ext uri="{FF2B5EF4-FFF2-40B4-BE49-F238E27FC236}">
                <a16:creationId xmlns:a16="http://schemas.microsoft.com/office/drawing/2014/main" id="{296F5235-9A37-4C8E-B8D7-90C7C07D8E43}"/>
              </a:ext>
            </a:extLst>
          </p:cNvPr>
          <p:cNvSpPr>
            <a:spLocks noChangeAspect="1" noEditPoints="1"/>
          </p:cNvSpPr>
          <p:nvPr/>
        </p:nvSpPr>
        <p:spPr bwMode="auto">
          <a:xfrm>
            <a:off x="3966331" y="2531576"/>
            <a:ext cx="376483" cy="374400"/>
          </a:xfrm>
          <a:custGeom>
            <a:avLst/>
            <a:gdLst>
              <a:gd name="T0" fmla="*/ 120 w 384"/>
              <a:gd name="T1" fmla="*/ 184 h 384"/>
              <a:gd name="T2" fmla="*/ 136 w 384"/>
              <a:gd name="T3" fmla="*/ 168 h 384"/>
              <a:gd name="T4" fmla="*/ 152 w 384"/>
              <a:gd name="T5" fmla="*/ 184 h 384"/>
              <a:gd name="T6" fmla="*/ 136 w 384"/>
              <a:gd name="T7" fmla="*/ 200 h 384"/>
              <a:gd name="T8" fmla="*/ 120 w 384"/>
              <a:gd name="T9" fmla="*/ 184 h 384"/>
              <a:gd name="T10" fmla="*/ 384 w 384"/>
              <a:gd name="T11" fmla="*/ 192 h 384"/>
              <a:gd name="T12" fmla="*/ 192 w 384"/>
              <a:gd name="T13" fmla="*/ 384 h 384"/>
              <a:gd name="T14" fmla="*/ 0 w 384"/>
              <a:gd name="T15" fmla="*/ 192 h 384"/>
              <a:gd name="T16" fmla="*/ 192 w 384"/>
              <a:gd name="T17" fmla="*/ 0 h 384"/>
              <a:gd name="T18" fmla="*/ 384 w 384"/>
              <a:gd name="T19" fmla="*/ 192 h 384"/>
              <a:gd name="T20" fmla="*/ 104 w 384"/>
              <a:gd name="T21" fmla="*/ 184 h 384"/>
              <a:gd name="T22" fmla="*/ 136 w 384"/>
              <a:gd name="T23" fmla="*/ 216 h 384"/>
              <a:gd name="T24" fmla="*/ 168 w 384"/>
              <a:gd name="T25" fmla="*/ 184 h 384"/>
              <a:gd name="T26" fmla="*/ 136 w 384"/>
              <a:gd name="T27" fmla="*/ 152 h 384"/>
              <a:gd name="T28" fmla="*/ 104 w 384"/>
              <a:gd name="T29" fmla="*/ 184 h 384"/>
              <a:gd name="T30" fmla="*/ 192 w 384"/>
              <a:gd name="T31" fmla="*/ 240 h 384"/>
              <a:gd name="T32" fmla="*/ 184 w 384"/>
              <a:gd name="T33" fmla="*/ 232 h 384"/>
              <a:gd name="T34" fmla="*/ 88 w 384"/>
              <a:gd name="T35" fmla="*/ 232 h 384"/>
              <a:gd name="T36" fmla="*/ 80 w 384"/>
              <a:gd name="T37" fmla="*/ 240 h 384"/>
              <a:gd name="T38" fmla="*/ 80 w 384"/>
              <a:gd name="T39" fmla="*/ 264 h 384"/>
              <a:gd name="T40" fmla="*/ 88 w 384"/>
              <a:gd name="T41" fmla="*/ 272 h 384"/>
              <a:gd name="T42" fmla="*/ 96 w 384"/>
              <a:gd name="T43" fmla="*/ 264 h 384"/>
              <a:gd name="T44" fmla="*/ 96 w 384"/>
              <a:gd name="T45" fmla="*/ 248 h 384"/>
              <a:gd name="T46" fmla="*/ 176 w 384"/>
              <a:gd name="T47" fmla="*/ 248 h 384"/>
              <a:gd name="T48" fmla="*/ 176 w 384"/>
              <a:gd name="T49" fmla="*/ 264 h 384"/>
              <a:gd name="T50" fmla="*/ 184 w 384"/>
              <a:gd name="T51" fmla="*/ 272 h 384"/>
              <a:gd name="T52" fmla="*/ 192 w 384"/>
              <a:gd name="T53" fmla="*/ 264 h 384"/>
              <a:gd name="T54" fmla="*/ 192 w 384"/>
              <a:gd name="T55" fmla="*/ 240 h 384"/>
              <a:gd name="T56" fmla="*/ 216 w 384"/>
              <a:gd name="T57" fmla="*/ 183 h 384"/>
              <a:gd name="T58" fmla="*/ 207 w 384"/>
              <a:gd name="T59" fmla="*/ 162 h 384"/>
              <a:gd name="T60" fmla="*/ 196 w 384"/>
              <a:gd name="T61" fmla="*/ 161 h 384"/>
              <a:gd name="T62" fmla="*/ 196 w 384"/>
              <a:gd name="T63" fmla="*/ 172 h 384"/>
              <a:gd name="T64" fmla="*/ 200 w 384"/>
              <a:gd name="T65" fmla="*/ 183 h 384"/>
              <a:gd name="T66" fmla="*/ 196 w 384"/>
              <a:gd name="T67" fmla="*/ 194 h 384"/>
              <a:gd name="T68" fmla="*/ 196 w 384"/>
              <a:gd name="T69" fmla="*/ 205 h 384"/>
              <a:gd name="T70" fmla="*/ 202 w 384"/>
              <a:gd name="T71" fmla="*/ 207 h 384"/>
              <a:gd name="T72" fmla="*/ 207 w 384"/>
              <a:gd name="T73" fmla="*/ 205 h 384"/>
              <a:gd name="T74" fmla="*/ 216 w 384"/>
              <a:gd name="T75" fmla="*/ 183 h 384"/>
              <a:gd name="T76" fmla="*/ 258 w 384"/>
              <a:gd name="T77" fmla="*/ 183 h 384"/>
              <a:gd name="T78" fmla="*/ 233 w 384"/>
              <a:gd name="T79" fmla="*/ 129 h 384"/>
              <a:gd name="T80" fmla="*/ 221 w 384"/>
              <a:gd name="T81" fmla="*/ 130 h 384"/>
              <a:gd name="T82" fmla="*/ 222 w 384"/>
              <a:gd name="T83" fmla="*/ 141 h 384"/>
              <a:gd name="T84" fmla="*/ 242 w 384"/>
              <a:gd name="T85" fmla="*/ 183 h 384"/>
              <a:gd name="T86" fmla="*/ 222 w 384"/>
              <a:gd name="T87" fmla="*/ 225 h 384"/>
              <a:gd name="T88" fmla="*/ 221 w 384"/>
              <a:gd name="T89" fmla="*/ 237 h 384"/>
              <a:gd name="T90" fmla="*/ 227 w 384"/>
              <a:gd name="T91" fmla="*/ 239 h 384"/>
              <a:gd name="T92" fmla="*/ 233 w 384"/>
              <a:gd name="T93" fmla="*/ 238 h 384"/>
              <a:gd name="T94" fmla="*/ 258 w 384"/>
              <a:gd name="T95" fmla="*/ 183 h 384"/>
              <a:gd name="T96" fmla="*/ 301 w 384"/>
              <a:gd name="T97" fmla="*/ 183 h 384"/>
              <a:gd name="T98" fmla="*/ 258 w 384"/>
              <a:gd name="T99" fmla="*/ 96 h 384"/>
              <a:gd name="T100" fmla="*/ 247 w 384"/>
              <a:gd name="T101" fmla="*/ 98 h 384"/>
              <a:gd name="T102" fmla="*/ 248 w 384"/>
              <a:gd name="T103" fmla="*/ 109 h 384"/>
              <a:gd name="T104" fmla="*/ 285 w 384"/>
              <a:gd name="T105" fmla="*/ 183 h 384"/>
              <a:gd name="T106" fmla="*/ 248 w 384"/>
              <a:gd name="T107" fmla="*/ 257 h 384"/>
              <a:gd name="T108" fmla="*/ 247 w 384"/>
              <a:gd name="T109" fmla="*/ 269 h 384"/>
              <a:gd name="T110" fmla="*/ 253 w 384"/>
              <a:gd name="T111" fmla="*/ 272 h 384"/>
              <a:gd name="T112" fmla="*/ 258 w 384"/>
              <a:gd name="T113" fmla="*/ 270 h 384"/>
              <a:gd name="T114" fmla="*/ 301 w 384"/>
              <a:gd name="T115" fmla="*/ 183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4" h="384">
                <a:moveTo>
                  <a:pt x="120" y="184"/>
                </a:moveTo>
                <a:cubicBezTo>
                  <a:pt x="120" y="175"/>
                  <a:pt x="127" y="168"/>
                  <a:pt x="136" y="168"/>
                </a:cubicBezTo>
                <a:cubicBezTo>
                  <a:pt x="144" y="168"/>
                  <a:pt x="152" y="175"/>
                  <a:pt x="152" y="184"/>
                </a:cubicBezTo>
                <a:cubicBezTo>
                  <a:pt x="152" y="192"/>
                  <a:pt x="144" y="200"/>
                  <a:pt x="136" y="200"/>
                </a:cubicBezTo>
                <a:cubicBezTo>
                  <a:pt x="127" y="200"/>
                  <a:pt x="120" y="192"/>
                  <a:pt x="120" y="184"/>
                </a:cubicBezTo>
                <a:close/>
                <a:moveTo>
                  <a:pt x="384" y="192"/>
                </a:moveTo>
                <a:cubicBezTo>
                  <a:pt x="384" y="298"/>
                  <a:pt x="298" y="384"/>
                  <a:pt x="192" y="384"/>
                </a:cubicBezTo>
                <a:cubicBezTo>
                  <a:pt x="86" y="384"/>
                  <a:pt x="0" y="298"/>
                  <a:pt x="0" y="192"/>
                </a:cubicBezTo>
                <a:cubicBezTo>
                  <a:pt x="0" y="86"/>
                  <a:pt x="86" y="0"/>
                  <a:pt x="192" y="0"/>
                </a:cubicBezTo>
                <a:cubicBezTo>
                  <a:pt x="298" y="0"/>
                  <a:pt x="384" y="86"/>
                  <a:pt x="384" y="192"/>
                </a:cubicBezTo>
                <a:close/>
                <a:moveTo>
                  <a:pt x="104" y="184"/>
                </a:moveTo>
                <a:cubicBezTo>
                  <a:pt x="104" y="201"/>
                  <a:pt x="118" y="216"/>
                  <a:pt x="136" y="216"/>
                </a:cubicBezTo>
                <a:cubicBezTo>
                  <a:pt x="153" y="216"/>
                  <a:pt x="168" y="201"/>
                  <a:pt x="168" y="184"/>
                </a:cubicBezTo>
                <a:cubicBezTo>
                  <a:pt x="168" y="166"/>
                  <a:pt x="153" y="152"/>
                  <a:pt x="136" y="152"/>
                </a:cubicBezTo>
                <a:cubicBezTo>
                  <a:pt x="118" y="152"/>
                  <a:pt x="104" y="166"/>
                  <a:pt x="104" y="184"/>
                </a:cubicBezTo>
                <a:close/>
                <a:moveTo>
                  <a:pt x="192" y="240"/>
                </a:moveTo>
                <a:cubicBezTo>
                  <a:pt x="192" y="235"/>
                  <a:pt x="188" y="232"/>
                  <a:pt x="184" y="232"/>
                </a:cubicBezTo>
                <a:cubicBezTo>
                  <a:pt x="88" y="232"/>
                  <a:pt x="88" y="232"/>
                  <a:pt x="88" y="232"/>
                </a:cubicBezTo>
                <a:cubicBezTo>
                  <a:pt x="83" y="232"/>
                  <a:pt x="80" y="235"/>
                  <a:pt x="80" y="240"/>
                </a:cubicBezTo>
                <a:cubicBezTo>
                  <a:pt x="80" y="264"/>
                  <a:pt x="80" y="264"/>
                  <a:pt x="80" y="264"/>
                </a:cubicBezTo>
                <a:cubicBezTo>
                  <a:pt x="80" y="268"/>
                  <a:pt x="83" y="272"/>
                  <a:pt x="88" y="272"/>
                </a:cubicBezTo>
                <a:cubicBezTo>
                  <a:pt x="92" y="272"/>
                  <a:pt x="96" y="268"/>
                  <a:pt x="96" y="264"/>
                </a:cubicBezTo>
                <a:cubicBezTo>
                  <a:pt x="96" y="248"/>
                  <a:pt x="96" y="248"/>
                  <a:pt x="96" y="248"/>
                </a:cubicBezTo>
                <a:cubicBezTo>
                  <a:pt x="176" y="248"/>
                  <a:pt x="176" y="248"/>
                  <a:pt x="176" y="248"/>
                </a:cubicBezTo>
                <a:cubicBezTo>
                  <a:pt x="176" y="264"/>
                  <a:pt x="176" y="264"/>
                  <a:pt x="176" y="264"/>
                </a:cubicBezTo>
                <a:cubicBezTo>
                  <a:pt x="176" y="268"/>
                  <a:pt x="179" y="272"/>
                  <a:pt x="184" y="272"/>
                </a:cubicBezTo>
                <a:cubicBezTo>
                  <a:pt x="188" y="272"/>
                  <a:pt x="192" y="268"/>
                  <a:pt x="192" y="264"/>
                </a:cubicBezTo>
                <a:lnTo>
                  <a:pt x="192" y="240"/>
                </a:lnTo>
                <a:close/>
                <a:moveTo>
                  <a:pt x="216" y="183"/>
                </a:moveTo>
                <a:cubicBezTo>
                  <a:pt x="216" y="175"/>
                  <a:pt x="213" y="167"/>
                  <a:pt x="207" y="162"/>
                </a:cubicBezTo>
                <a:cubicBezTo>
                  <a:pt x="204" y="158"/>
                  <a:pt x="199" y="158"/>
                  <a:pt x="196" y="161"/>
                </a:cubicBezTo>
                <a:cubicBezTo>
                  <a:pt x="193" y="164"/>
                  <a:pt x="193" y="169"/>
                  <a:pt x="196" y="172"/>
                </a:cubicBezTo>
                <a:cubicBezTo>
                  <a:pt x="198" y="175"/>
                  <a:pt x="200" y="179"/>
                  <a:pt x="200" y="183"/>
                </a:cubicBezTo>
                <a:cubicBezTo>
                  <a:pt x="200" y="187"/>
                  <a:pt x="198" y="191"/>
                  <a:pt x="196" y="194"/>
                </a:cubicBezTo>
                <a:cubicBezTo>
                  <a:pt x="193" y="197"/>
                  <a:pt x="193" y="202"/>
                  <a:pt x="196" y="205"/>
                </a:cubicBezTo>
                <a:cubicBezTo>
                  <a:pt x="198" y="206"/>
                  <a:pt x="200" y="207"/>
                  <a:pt x="202" y="207"/>
                </a:cubicBezTo>
                <a:cubicBezTo>
                  <a:pt x="204" y="207"/>
                  <a:pt x="206" y="206"/>
                  <a:pt x="207" y="205"/>
                </a:cubicBezTo>
                <a:cubicBezTo>
                  <a:pt x="213" y="199"/>
                  <a:pt x="216" y="191"/>
                  <a:pt x="216" y="183"/>
                </a:cubicBezTo>
                <a:close/>
                <a:moveTo>
                  <a:pt x="258" y="183"/>
                </a:moveTo>
                <a:cubicBezTo>
                  <a:pt x="258" y="162"/>
                  <a:pt x="249" y="142"/>
                  <a:pt x="233" y="129"/>
                </a:cubicBezTo>
                <a:cubicBezTo>
                  <a:pt x="229" y="126"/>
                  <a:pt x="224" y="126"/>
                  <a:pt x="221" y="130"/>
                </a:cubicBezTo>
                <a:cubicBezTo>
                  <a:pt x="218" y="133"/>
                  <a:pt x="219" y="138"/>
                  <a:pt x="222" y="141"/>
                </a:cubicBezTo>
                <a:cubicBezTo>
                  <a:pt x="235" y="152"/>
                  <a:pt x="242" y="167"/>
                  <a:pt x="242" y="183"/>
                </a:cubicBezTo>
                <a:cubicBezTo>
                  <a:pt x="242" y="199"/>
                  <a:pt x="235" y="215"/>
                  <a:pt x="222" y="225"/>
                </a:cubicBezTo>
                <a:cubicBezTo>
                  <a:pt x="219" y="228"/>
                  <a:pt x="218" y="233"/>
                  <a:pt x="221" y="237"/>
                </a:cubicBezTo>
                <a:cubicBezTo>
                  <a:pt x="223" y="238"/>
                  <a:pt x="225" y="239"/>
                  <a:pt x="227" y="239"/>
                </a:cubicBezTo>
                <a:cubicBezTo>
                  <a:pt x="229" y="239"/>
                  <a:pt x="231" y="239"/>
                  <a:pt x="233" y="238"/>
                </a:cubicBezTo>
                <a:cubicBezTo>
                  <a:pt x="249" y="224"/>
                  <a:pt x="258" y="204"/>
                  <a:pt x="258" y="183"/>
                </a:cubicBezTo>
                <a:close/>
                <a:moveTo>
                  <a:pt x="301" y="183"/>
                </a:moveTo>
                <a:cubicBezTo>
                  <a:pt x="301" y="149"/>
                  <a:pt x="285" y="118"/>
                  <a:pt x="258" y="96"/>
                </a:cubicBezTo>
                <a:cubicBezTo>
                  <a:pt x="254" y="94"/>
                  <a:pt x="249" y="94"/>
                  <a:pt x="247" y="98"/>
                </a:cubicBezTo>
                <a:cubicBezTo>
                  <a:pt x="244" y="101"/>
                  <a:pt x="244" y="106"/>
                  <a:pt x="248" y="109"/>
                </a:cubicBezTo>
                <a:cubicBezTo>
                  <a:pt x="271" y="127"/>
                  <a:pt x="285" y="154"/>
                  <a:pt x="285" y="183"/>
                </a:cubicBezTo>
                <a:cubicBezTo>
                  <a:pt x="285" y="212"/>
                  <a:pt x="271" y="239"/>
                  <a:pt x="248" y="257"/>
                </a:cubicBezTo>
                <a:cubicBezTo>
                  <a:pt x="244" y="260"/>
                  <a:pt x="244" y="265"/>
                  <a:pt x="247" y="269"/>
                </a:cubicBezTo>
                <a:cubicBezTo>
                  <a:pt x="248" y="271"/>
                  <a:pt x="251" y="272"/>
                  <a:pt x="253" y="272"/>
                </a:cubicBezTo>
                <a:cubicBezTo>
                  <a:pt x="255" y="272"/>
                  <a:pt x="256" y="271"/>
                  <a:pt x="258" y="270"/>
                </a:cubicBezTo>
                <a:cubicBezTo>
                  <a:pt x="285" y="248"/>
                  <a:pt x="301" y="217"/>
                  <a:pt x="301" y="18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576" name="Group 575">
            <a:extLst>
              <a:ext uri="{FF2B5EF4-FFF2-40B4-BE49-F238E27FC236}">
                <a16:creationId xmlns:a16="http://schemas.microsoft.com/office/drawing/2014/main" id="{8FF0858E-4093-4284-859A-8638DDBB1C5B}"/>
              </a:ext>
            </a:extLst>
          </p:cNvPr>
          <p:cNvGrpSpPr>
            <a:grpSpLocks noChangeAspect="1"/>
          </p:cNvGrpSpPr>
          <p:nvPr/>
        </p:nvGrpSpPr>
        <p:grpSpPr>
          <a:xfrm>
            <a:off x="4407733" y="2531576"/>
            <a:ext cx="372873" cy="370800"/>
            <a:chOff x="3441700" y="3584575"/>
            <a:chExt cx="2570163" cy="2555875"/>
          </a:xfrm>
          <a:solidFill>
            <a:schemeClr val="accent3"/>
          </a:solidFill>
        </p:grpSpPr>
        <p:sp>
          <p:nvSpPr>
            <p:cNvPr id="577" name="Freeform 17">
              <a:extLst>
                <a:ext uri="{FF2B5EF4-FFF2-40B4-BE49-F238E27FC236}">
                  <a16:creationId xmlns:a16="http://schemas.microsoft.com/office/drawing/2014/main" id="{B8AC993A-51FF-424C-A8F6-1C55DC6F9111}"/>
                </a:ext>
              </a:extLst>
            </p:cNvPr>
            <p:cNvSpPr>
              <a:spLocks noEditPoints="1"/>
            </p:cNvSpPr>
            <p:nvPr/>
          </p:nvSpPr>
          <p:spPr bwMode="auto">
            <a:xfrm>
              <a:off x="3441700" y="3584575"/>
              <a:ext cx="2570163" cy="2555875"/>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8" name="Freeform 18">
              <a:extLst>
                <a:ext uri="{FF2B5EF4-FFF2-40B4-BE49-F238E27FC236}">
                  <a16:creationId xmlns:a16="http://schemas.microsoft.com/office/drawing/2014/main" id="{8654C5EC-03B5-40CC-A714-283A142430F7}"/>
                </a:ext>
              </a:extLst>
            </p:cNvPr>
            <p:cNvSpPr>
              <a:spLocks noEditPoints="1"/>
            </p:cNvSpPr>
            <p:nvPr/>
          </p:nvSpPr>
          <p:spPr bwMode="auto">
            <a:xfrm>
              <a:off x="3976688" y="4210050"/>
              <a:ext cx="1479550" cy="1184275"/>
            </a:xfrm>
            <a:custGeom>
              <a:avLst/>
              <a:gdLst>
                <a:gd name="T0" fmla="*/ 56 w 221"/>
                <a:gd name="T1" fmla="*/ 122 h 178"/>
                <a:gd name="T2" fmla="*/ 88 w 221"/>
                <a:gd name="T3" fmla="*/ 90 h 178"/>
                <a:gd name="T4" fmla="*/ 56 w 221"/>
                <a:gd name="T5" fmla="*/ 58 h 178"/>
                <a:gd name="T6" fmla="*/ 24 w 221"/>
                <a:gd name="T7" fmla="*/ 90 h 178"/>
                <a:gd name="T8" fmla="*/ 56 w 221"/>
                <a:gd name="T9" fmla="*/ 122 h 178"/>
                <a:gd name="T10" fmla="*/ 56 w 221"/>
                <a:gd name="T11" fmla="*/ 74 h 178"/>
                <a:gd name="T12" fmla="*/ 72 w 221"/>
                <a:gd name="T13" fmla="*/ 90 h 178"/>
                <a:gd name="T14" fmla="*/ 56 w 221"/>
                <a:gd name="T15" fmla="*/ 106 h 178"/>
                <a:gd name="T16" fmla="*/ 40 w 221"/>
                <a:gd name="T17" fmla="*/ 90 h 178"/>
                <a:gd name="T18" fmla="*/ 56 w 221"/>
                <a:gd name="T19" fmla="*/ 74 h 178"/>
                <a:gd name="T20" fmla="*/ 127 w 221"/>
                <a:gd name="T21" fmla="*/ 68 h 178"/>
                <a:gd name="T22" fmla="*/ 136 w 221"/>
                <a:gd name="T23" fmla="*/ 89 h 178"/>
                <a:gd name="T24" fmla="*/ 127 w 221"/>
                <a:gd name="T25" fmla="*/ 111 h 178"/>
                <a:gd name="T26" fmla="*/ 122 w 221"/>
                <a:gd name="T27" fmla="*/ 113 h 178"/>
                <a:gd name="T28" fmla="*/ 116 w 221"/>
                <a:gd name="T29" fmla="*/ 111 h 178"/>
                <a:gd name="T30" fmla="*/ 116 w 221"/>
                <a:gd name="T31" fmla="*/ 100 h 178"/>
                <a:gd name="T32" fmla="*/ 120 w 221"/>
                <a:gd name="T33" fmla="*/ 89 h 178"/>
                <a:gd name="T34" fmla="*/ 116 w 221"/>
                <a:gd name="T35" fmla="*/ 78 h 178"/>
                <a:gd name="T36" fmla="*/ 116 w 221"/>
                <a:gd name="T37" fmla="*/ 67 h 178"/>
                <a:gd name="T38" fmla="*/ 127 w 221"/>
                <a:gd name="T39" fmla="*/ 68 h 178"/>
                <a:gd name="T40" fmla="*/ 178 w 221"/>
                <a:gd name="T41" fmla="*/ 89 h 178"/>
                <a:gd name="T42" fmla="*/ 153 w 221"/>
                <a:gd name="T43" fmla="*/ 144 h 178"/>
                <a:gd name="T44" fmla="*/ 147 w 221"/>
                <a:gd name="T45" fmla="*/ 145 h 178"/>
                <a:gd name="T46" fmla="*/ 141 w 221"/>
                <a:gd name="T47" fmla="*/ 143 h 178"/>
                <a:gd name="T48" fmla="*/ 142 w 221"/>
                <a:gd name="T49" fmla="*/ 131 h 178"/>
                <a:gd name="T50" fmla="*/ 162 w 221"/>
                <a:gd name="T51" fmla="*/ 89 h 178"/>
                <a:gd name="T52" fmla="*/ 142 w 221"/>
                <a:gd name="T53" fmla="*/ 47 h 178"/>
                <a:gd name="T54" fmla="*/ 141 w 221"/>
                <a:gd name="T55" fmla="*/ 36 h 178"/>
                <a:gd name="T56" fmla="*/ 153 w 221"/>
                <a:gd name="T57" fmla="*/ 35 h 178"/>
                <a:gd name="T58" fmla="*/ 178 w 221"/>
                <a:gd name="T59" fmla="*/ 89 h 178"/>
                <a:gd name="T60" fmla="*/ 221 w 221"/>
                <a:gd name="T61" fmla="*/ 89 h 178"/>
                <a:gd name="T62" fmla="*/ 178 w 221"/>
                <a:gd name="T63" fmla="*/ 176 h 178"/>
                <a:gd name="T64" fmla="*/ 173 w 221"/>
                <a:gd name="T65" fmla="*/ 178 h 178"/>
                <a:gd name="T66" fmla="*/ 167 w 221"/>
                <a:gd name="T67" fmla="*/ 175 h 178"/>
                <a:gd name="T68" fmla="*/ 168 w 221"/>
                <a:gd name="T69" fmla="*/ 163 h 178"/>
                <a:gd name="T70" fmla="*/ 205 w 221"/>
                <a:gd name="T71" fmla="*/ 89 h 178"/>
                <a:gd name="T72" fmla="*/ 168 w 221"/>
                <a:gd name="T73" fmla="*/ 15 h 178"/>
                <a:gd name="T74" fmla="*/ 167 w 221"/>
                <a:gd name="T75" fmla="*/ 4 h 178"/>
                <a:gd name="T76" fmla="*/ 178 w 221"/>
                <a:gd name="T77" fmla="*/ 2 h 178"/>
                <a:gd name="T78" fmla="*/ 221 w 221"/>
                <a:gd name="T79" fmla="*/ 89 h 178"/>
                <a:gd name="T80" fmla="*/ 112 w 221"/>
                <a:gd name="T81" fmla="*/ 146 h 178"/>
                <a:gd name="T82" fmla="*/ 112 w 221"/>
                <a:gd name="T83" fmla="*/ 170 h 178"/>
                <a:gd name="T84" fmla="*/ 104 w 221"/>
                <a:gd name="T85" fmla="*/ 178 h 178"/>
                <a:gd name="T86" fmla="*/ 96 w 221"/>
                <a:gd name="T87" fmla="*/ 170 h 178"/>
                <a:gd name="T88" fmla="*/ 96 w 221"/>
                <a:gd name="T89" fmla="*/ 154 h 178"/>
                <a:gd name="T90" fmla="*/ 16 w 221"/>
                <a:gd name="T91" fmla="*/ 154 h 178"/>
                <a:gd name="T92" fmla="*/ 16 w 221"/>
                <a:gd name="T93" fmla="*/ 170 h 178"/>
                <a:gd name="T94" fmla="*/ 8 w 221"/>
                <a:gd name="T95" fmla="*/ 178 h 178"/>
                <a:gd name="T96" fmla="*/ 0 w 221"/>
                <a:gd name="T97" fmla="*/ 170 h 178"/>
                <a:gd name="T98" fmla="*/ 0 w 221"/>
                <a:gd name="T99" fmla="*/ 146 h 178"/>
                <a:gd name="T100" fmla="*/ 8 w 221"/>
                <a:gd name="T101" fmla="*/ 138 h 178"/>
                <a:gd name="T102" fmla="*/ 104 w 221"/>
                <a:gd name="T103" fmla="*/ 138 h 178"/>
                <a:gd name="T104" fmla="*/ 112 w 221"/>
                <a:gd name="T105"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178">
                  <a:moveTo>
                    <a:pt x="56" y="122"/>
                  </a:moveTo>
                  <a:cubicBezTo>
                    <a:pt x="73" y="122"/>
                    <a:pt x="88" y="107"/>
                    <a:pt x="88" y="90"/>
                  </a:cubicBezTo>
                  <a:cubicBezTo>
                    <a:pt x="88" y="72"/>
                    <a:pt x="73" y="58"/>
                    <a:pt x="56" y="58"/>
                  </a:cubicBezTo>
                  <a:cubicBezTo>
                    <a:pt x="38" y="58"/>
                    <a:pt x="24" y="72"/>
                    <a:pt x="24" y="90"/>
                  </a:cubicBezTo>
                  <a:cubicBezTo>
                    <a:pt x="24" y="107"/>
                    <a:pt x="38" y="122"/>
                    <a:pt x="56" y="122"/>
                  </a:cubicBezTo>
                  <a:close/>
                  <a:moveTo>
                    <a:pt x="56" y="74"/>
                  </a:moveTo>
                  <a:cubicBezTo>
                    <a:pt x="64" y="74"/>
                    <a:pt x="72" y="81"/>
                    <a:pt x="72" y="90"/>
                  </a:cubicBezTo>
                  <a:cubicBezTo>
                    <a:pt x="72" y="98"/>
                    <a:pt x="64" y="106"/>
                    <a:pt x="56" y="106"/>
                  </a:cubicBezTo>
                  <a:cubicBezTo>
                    <a:pt x="47" y="106"/>
                    <a:pt x="40" y="98"/>
                    <a:pt x="40" y="90"/>
                  </a:cubicBezTo>
                  <a:cubicBezTo>
                    <a:pt x="40" y="81"/>
                    <a:pt x="47" y="74"/>
                    <a:pt x="56" y="74"/>
                  </a:cubicBezTo>
                  <a:close/>
                  <a:moveTo>
                    <a:pt x="127" y="68"/>
                  </a:moveTo>
                  <a:cubicBezTo>
                    <a:pt x="133" y="73"/>
                    <a:pt x="136" y="81"/>
                    <a:pt x="136" y="89"/>
                  </a:cubicBezTo>
                  <a:cubicBezTo>
                    <a:pt x="136" y="97"/>
                    <a:pt x="133" y="105"/>
                    <a:pt x="127" y="111"/>
                  </a:cubicBezTo>
                  <a:cubicBezTo>
                    <a:pt x="126" y="112"/>
                    <a:pt x="124" y="113"/>
                    <a:pt x="122" y="113"/>
                  </a:cubicBezTo>
                  <a:cubicBezTo>
                    <a:pt x="120" y="113"/>
                    <a:pt x="118" y="112"/>
                    <a:pt x="116" y="111"/>
                  </a:cubicBezTo>
                  <a:cubicBezTo>
                    <a:pt x="113" y="108"/>
                    <a:pt x="113" y="103"/>
                    <a:pt x="116" y="100"/>
                  </a:cubicBezTo>
                  <a:cubicBezTo>
                    <a:pt x="118" y="97"/>
                    <a:pt x="120" y="93"/>
                    <a:pt x="120" y="89"/>
                  </a:cubicBezTo>
                  <a:cubicBezTo>
                    <a:pt x="120" y="85"/>
                    <a:pt x="118" y="81"/>
                    <a:pt x="116" y="78"/>
                  </a:cubicBezTo>
                  <a:cubicBezTo>
                    <a:pt x="113" y="75"/>
                    <a:pt x="113" y="70"/>
                    <a:pt x="116" y="67"/>
                  </a:cubicBezTo>
                  <a:cubicBezTo>
                    <a:pt x="119" y="64"/>
                    <a:pt x="124" y="64"/>
                    <a:pt x="127" y="68"/>
                  </a:cubicBezTo>
                  <a:close/>
                  <a:moveTo>
                    <a:pt x="178" y="89"/>
                  </a:moveTo>
                  <a:cubicBezTo>
                    <a:pt x="178" y="110"/>
                    <a:pt x="169" y="130"/>
                    <a:pt x="153" y="144"/>
                  </a:cubicBezTo>
                  <a:cubicBezTo>
                    <a:pt x="151" y="145"/>
                    <a:pt x="149" y="145"/>
                    <a:pt x="147" y="145"/>
                  </a:cubicBezTo>
                  <a:cubicBezTo>
                    <a:pt x="145" y="145"/>
                    <a:pt x="143" y="144"/>
                    <a:pt x="141" y="143"/>
                  </a:cubicBezTo>
                  <a:cubicBezTo>
                    <a:pt x="138" y="139"/>
                    <a:pt x="139" y="134"/>
                    <a:pt x="142" y="131"/>
                  </a:cubicBezTo>
                  <a:cubicBezTo>
                    <a:pt x="155" y="121"/>
                    <a:pt x="162" y="105"/>
                    <a:pt x="162" y="89"/>
                  </a:cubicBezTo>
                  <a:cubicBezTo>
                    <a:pt x="162" y="73"/>
                    <a:pt x="155" y="58"/>
                    <a:pt x="142" y="47"/>
                  </a:cubicBezTo>
                  <a:cubicBezTo>
                    <a:pt x="139" y="44"/>
                    <a:pt x="138" y="39"/>
                    <a:pt x="141" y="36"/>
                  </a:cubicBezTo>
                  <a:cubicBezTo>
                    <a:pt x="144" y="32"/>
                    <a:pt x="149" y="32"/>
                    <a:pt x="153" y="35"/>
                  </a:cubicBezTo>
                  <a:cubicBezTo>
                    <a:pt x="169" y="48"/>
                    <a:pt x="178" y="68"/>
                    <a:pt x="178" y="89"/>
                  </a:cubicBezTo>
                  <a:close/>
                  <a:moveTo>
                    <a:pt x="221" y="89"/>
                  </a:moveTo>
                  <a:cubicBezTo>
                    <a:pt x="221" y="123"/>
                    <a:pt x="205" y="154"/>
                    <a:pt x="178" y="176"/>
                  </a:cubicBezTo>
                  <a:cubicBezTo>
                    <a:pt x="176" y="177"/>
                    <a:pt x="175" y="178"/>
                    <a:pt x="173" y="178"/>
                  </a:cubicBezTo>
                  <a:cubicBezTo>
                    <a:pt x="171" y="178"/>
                    <a:pt x="168" y="177"/>
                    <a:pt x="167" y="175"/>
                  </a:cubicBezTo>
                  <a:cubicBezTo>
                    <a:pt x="164" y="171"/>
                    <a:pt x="164" y="166"/>
                    <a:pt x="168" y="163"/>
                  </a:cubicBezTo>
                  <a:cubicBezTo>
                    <a:pt x="191" y="145"/>
                    <a:pt x="205" y="118"/>
                    <a:pt x="205" y="89"/>
                  </a:cubicBezTo>
                  <a:cubicBezTo>
                    <a:pt x="205" y="60"/>
                    <a:pt x="191" y="33"/>
                    <a:pt x="168" y="15"/>
                  </a:cubicBezTo>
                  <a:cubicBezTo>
                    <a:pt x="164" y="12"/>
                    <a:pt x="164" y="7"/>
                    <a:pt x="167" y="4"/>
                  </a:cubicBezTo>
                  <a:cubicBezTo>
                    <a:pt x="169" y="0"/>
                    <a:pt x="174" y="0"/>
                    <a:pt x="178" y="2"/>
                  </a:cubicBezTo>
                  <a:cubicBezTo>
                    <a:pt x="205" y="24"/>
                    <a:pt x="221" y="55"/>
                    <a:pt x="221" y="89"/>
                  </a:cubicBezTo>
                  <a:close/>
                  <a:moveTo>
                    <a:pt x="112" y="146"/>
                  </a:moveTo>
                  <a:cubicBezTo>
                    <a:pt x="112" y="170"/>
                    <a:pt x="112" y="170"/>
                    <a:pt x="112" y="170"/>
                  </a:cubicBezTo>
                  <a:cubicBezTo>
                    <a:pt x="112" y="174"/>
                    <a:pt x="108" y="178"/>
                    <a:pt x="104" y="178"/>
                  </a:cubicBezTo>
                  <a:cubicBezTo>
                    <a:pt x="99" y="178"/>
                    <a:pt x="96" y="174"/>
                    <a:pt x="96" y="170"/>
                  </a:cubicBezTo>
                  <a:cubicBezTo>
                    <a:pt x="96" y="154"/>
                    <a:pt x="96" y="154"/>
                    <a:pt x="96" y="154"/>
                  </a:cubicBezTo>
                  <a:cubicBezTo>
                    <a:pt x="16" y="154"/>
                    <a:pt x="16" y="154"/>
                    <a:pt x="16" y="154"/>
                  </a:cubicBezTo>
                  <a:cubicBezTo>
                    <a:pt x="16" y="170"/>
                    <a:pt x="16" y="170"/>
                    <a:pt x="16" y="170"/>
                  </a:cubicBezTo>
                  <a:cubicBezTo>
                    <a:pt x="16" y="174"/>
                    <a:pt x="12" y="178"/>
                    <a:pt x="8" y="178"/>
                  </a:cubicBezTo>
                  <a:cubicBezTo>
                    <a:pt x="3" y="178"/>
                    <a:pt x="0" y="174"/>
                    <a:pt x="0" y="170"/>
                  </a:cubicBezTo>
                  <a:cubicBezTo>
                    <a:pt x="0" y="146"/>
                    <a:pt x="0" y="146"/>
                    <a:pt x="0" y="146"/>
                  </a:cubicBezTo>
                  <a:cubicBezTo>
                    <a:pt x="0" y="141"/>
                    <a:pt x="3" y="138"/>
                    <a:pt x="8" y="138"/>
                  </a:cubicBezTo>
                  <a:cubicBezTo>
                    <a:pt x="104" y="138"/>
                    <a:pt x="104" y="138"/>
                    <a:pt x="104" y="138"/>
                  </a:cubicBezTo>
                  <a:cubicBezTo>
                    <a:pt x="108" y="138"/>
                    <a:pt x="112" y="141"/>
                    <a:pt x="112"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5" name="Freeform 5">
            <a:extLst>
              <a:ext uri="{FF2B5EF4-FFF2-40B4-BE49-F238E27FC236}">
                <a16:creationId xmlns:a16="http://schemas.microsoft.com/office/drawing/2014/main" id="{6230021E-86B3-4642-9DB4-0FA31A2EF8C9}"/>
              </a:ext>
            </a:extLst>
          </p:cNvPr>
          <p:cNvSpPr>
            <a:spLocks noEditPoints="1"/>
          </p:cNvSpPr>
          <p:nvPr/>
        </p:nvSpPr>
        <p:spPr bwMode="auto">
          <a:xfrm>
            <a:off x="3983679" y="3247520"/>
            <a:ext cx="362959" cy="362959"/>
          </a:xfrm>
          <a:custGeom>
            <a:avLst/>
            <a:gdLst>
              <a:gd name="T0" fmla="*/ 844 w 2252"/>
              <a:gd name="T1" fmla="*/ 34 h 2252"/>
              <a:gd name="T2" fmla="*/ 494 w 2252"/>
              <a:gd name="T3" fmla="*/ 192 h 2252"/>
              <a:gd name="T4" fmla="*/ 222 w 2252"/>
              <a:gd name="T5" fmla="*/ 450 h 2252"/>
              <a:gd name="T6" fmla="*/ 50 w 2252"/>
              <a:gd name="T7" fmla="*/ 790 h 2252"/>
              <a:gd name="T8" fmla="*/ 0 w 2252"/>
              <a:gd name="T9" fmla="*/ 1126 h 2252"/>
              <a:gd name="T10" fmla="*/ 68 w 2252"/>
              <a:gd name="T11" fmla="*/ 1512 h 2252"/>
              <a:gd name="T12" fmla="*/ 256 w 2252"/>
              <a:gd name="T13" fmla="*/ 1842 h 2252"/>
              <a:gd name="T14" fmla="*/ 540 w 2252"/>
              <a:gd name="T15" fmla="*/ 2090 h 2252"/>
              <a:gd name="T16" fmla="*/ 898 w 2252"/>
              <a:gd name="T17" fmla="*/ 2230 h 2252"/>
              <a:gd name="T18" fmla="*/ 1240 w 2252"/>
              <a:gd name="T19" fmla="*/ 2248 h 2252"/>
              <a:gd name="T20" fmla="*/ 1614 w 2252"/>
              <a:gd name="T21" fmla="*/ 2142 h 2252"/>
              <a:gd name="T22" fmla="*/ 1922 w 2252"/>
              <a:gd name="T23" fmla="*/ 1922 h 2252"/>
              <a:gd name="T24" fmla="*/ 2142 w 2252"/>
              <a:gd name="T25" fmla="*/ 1614 h 2252"/>
              <a:gd name="T26" fmla="*/ 2246 w 2252"/>
              <a:gd name="T27" fmla="*/ 1242 h 2252"/>
              <a:gd name="T28" fmla="*/ 2230 w 2252"/>
              <a:gd name="T29" fmla="*/ 898 h 2252"/>
              <a:gd name="T30" fmla="*/ 2090 w 2252"/>
              <a:gd name="T31" fmla="*/ 540 h 2252"/>
              <a:gd name="T32" fmla="*/ 1842 w 2252"/>
              <a:gd name="T33" fmla="*/ 256 h 2252"/>
              <a:gd name="T34" fmla="*/ 1512 w 2252"/>
              <a:gd name="T35" fmla="*/ 68 h 2252"/>
              <a:gd name="T36" fmla="*/ 1126 w 2252"/>
              <a:gd name="T37" fmla="*/ 0 h 2252"/>
              <a:gd name="T38" fmla="*/ 1168 w 2252"/>
              <a:gd name="T39" fmla="*/ 1828 h 2252"/>
              <a:gd name="T40" fmla="*/ 454 w 2252"/>
              <a:gd name="T41" fmla="*/ 1368 h 2252"/>
              <a:gd name="T42" fmla="*/ 432 w 2252"/>
              <a:gd name="T43" fmla="*/ 1314 h 2252"/>
              <a:gd name="T44" fmla="*/ 488 w 2252"/>
              <a:gd name="T45" fmla="*/ 1272 h 2252"/>
              <a:gd name="T46" fmla="*/ 1158 w 2252"/>
              <a:gd name="T47" fmla="*/ 1698 h 2252"/>
              <a:gd name="T48" fmla="*/ 1802 w 2252"/>
              <a:gd name="T49" fmla="*/ 1270 h 2252"/>
              <a:gd name="T50" fmla="*/ 1862 w 2252"/>
              <a:gd name="T51" fmla="*/ 1282 h 2252"/>
              <a:gd name="T52" fmla="*/ 1886 w 2252"/>
              <a:gd name="T53" fmla="*/ 1326 h 2252"/>
              <a:gd name="T54" fmla="*/ 1864 w 2252"/>
              <a:gd name="T55" fmla="*/ 1130 h 2252"/>
              <a:gd name="T56" fmla="*/ 1158 w 2252"/>
              <a:gd name="T57" fmla="*/ 1588 h 2252"/>
              <a:gd name="T58" fmla="*/ 452 w 2252"/>
              <a:gd name="T59" fmla="*/ 1130 h 2252"/>
              <a:gd name="T60" fmla="*/ 430 w 2252"/>
              <a:gd name="T61" fmla="*/ 1086 h 2252"/>
              <a:gd name="T62" fmla="*/ 454 w 2252"/>
              <a:gd name="T63" fmla="*/ 1044 h 2252"/>
              <a:gd name="T64" fmla="*/ 526 w 2252"/>
              <a:gd name="T65" fmla="*/ 1034 h 2252"/>
              <a:gd name="T66" fmla="*/ 1768 w 2252"/>
              <a:gd name="T67" fmla="*/ 1042 h 2252"/>
              <a:gd name="T68" fmla="*/ 1838 w 2252"/>
              <a:gd name="T69" fmla="*/ 1032 h 2252"/>
              <a:gd name="T70" fmla="*/ 1882 w 2252"/>
              <a:gd name="T71" fmla="*/ 1068 h 2252"/>
              <a:gd name="T72" fmla="*/ 1864 w 2252"/>
              <a:gd name="T73" fmla="*/ 1128 h 2252"/>
              <a:gd name="T74" fmla="*/ 1168 w 2252"/>
              <a:gd name="T75" fmla="*/ 1330 h 2252"/>
              <a:gd name="T76" fmla="*/ 454 w 2252"/>
              <a:gd name="T77" fmla="*/ 870 h 2252"/>
              <a:gd name="T78" fmla="*/ 432 w 2252"/>
              <a:gd name="T79" fmla="*/ 816 h 2252"/>
              <a:gd name="T80" fmla="*/ 488 w 2252"/>
              <a:gd name="T81" fmla="*/ 774 h 2252"/>
              <a:gd name="T82" fmla="*/ 1158 w 2252"/>
              <a:gd name="T83" fmla="*/ 1202 h 2252"/>
              <a:gd name="T84" fmla="*/ 1802 w 2252"/>
              <a:gd name="T85" fmla="*/ 774 h 2252"/>
              <a:gd name="T86" fmla="*/ 1862 w 2252"/>
              <a:gd name="T87" fmla="*/ 786 h 2252"/>
              <a:gd name="T88" fmla="*/ 1886 w 2252"/>
              <a:gd name="T89" fmla="*/ 828 h 2252"/>
              <a:gd name="T90" fmla="*/ 1864 w 2252"/>
              <a:gd name="T91" fmla="*/ 632 h 2252"/>
              <a:gd name="T92" fmla="*/ 1158 w 2252"/>
              <a:gd name="T93" fmla="*/ 1092 h 2252"/>
              <a:gd name="T94" fmla="*/ 452 w 2252"/>
              <a:gd name="T95" fmla="*/ 632 h 2252"/>
              <a:gd name="T96" fmla="*/ 430 w 2252"/>
              <a:gd name="T97" fmla="*/ 590 h 2252"/>
              <a:gd name="T98" fmla="*/ 454 w 2252"/>
              <a:gd name="T99" fmla="*/ 546 h 2252"/>
              <a:gd name="T100" fmla="*/ 526 w 2252"/>
              <a:gd name="T101" fmla="*/ 536 h 2252"/>
              <a:gd name="T102" fmla="*/ 1768 w 2252"/>
              <a:gd name="T103" fmla="*/ 544 h 2252"/>
              <a:gd name="T104" fmla="*/ 1838 w 2252"/>
              <a:gd name="T105" fmla="*/ 536 h 2252"/>
              <a:gd name="T106" fmla="*/ 1882 w 2252"/>
              <a:gd name="T107" fmla="*/ 570 h 2252"/>
              <a:gd name="T108" fmla="*/ 1864 w 2252"/>
              <a:gd name="T109" fmla="*/ 632 h 2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52" h="2252">
                <a:moveTo>
                  <a:pt x="1126" y="0"/>
                </a:moveTo>
                <a:lnTo>
                  <a:pt x="1126" y="0"/>
                </a:lnTo>
                <a:lnTo>
                  <a:pt x="1068" y="2"/>
                </a:lnTo>
                <a:lnTo>
                  <a:pt x="1010" y="6"/>
                </a:lnTo>
                <a:lnTo>
                  <a:pt x="954" y="12"/>
                </a:lnTo>
                <a:lnTo>
                  <a:pt x="898" y="22"/>
                </a:lnTo>
                <a:lnTo>
                  <a:pt x="844" y="34"/>
                </a:lnTo>
                <a:lnTo>
                  <a:pt x="790" y="50"/>
                </a:lnTo>
                <a:lnTo>
                  <a:pt x="738" y="68"/>
                </a:lnTo>
                <a:lnTo>
                  <a:pt x="686" y="88"/>
                </a:lnTo>
                <a:lnTo>
                  <a:pt x="636" y="110"/>
                </a:lnTo>
                <a:lnTo>
                  <a:pt x="588" y="136"/>
                </a:lnTo>
                <a:lnTo>
                  <a:pt x="540" y="162"/>
                </a:lnTo>
                <a:lnTo>
                  <a:pt x="494" y="192"/>
                </a:lnTo>
                <a:lnTo>
                  <a:pt x="450" y="222"/>
                </a:lnTo>
                <a:lnTo>
                  <a:pt x="408" y="256"/>
                </a:lnTo>
                <a:lnTo>
                  <a:pt x="368" y="292"/>
                </a:lnTo>
                <a:lnTo>
                  <a:pt x="328" y="328"/>
                </a:lnTo>
                <a:lnTo>
                  <a:pt x="292" y="368"/>
                </a:lnTo>
                <a:lnTo>
                  <a:pt x="256" y="408"/>
                </a:lnTo>
                <a:lnTo>
                  <a:pt x="222" y="450"/>
                </a:lnTo>
                <a:lnTo>
                  <a:pt x="192" y="496"/>
                </a:lnTo>
                <a:lnTo>
                  <a:pt x="162" y="540"/>
                </a:lnTo>
                <a:lnTo>
                  <a:pt x="134" y="588"/>
                </a:lnTo>
                <a:lnTo>
                  <a:pt x="110" y="636"/>
                </a:lnTo>
                <a:lnTo>
                  <a:pt x="88" y="686"/>
                </a:lnTo>
                <a:lnTo>
                  <a:pt x="68" y="738"/>
                </a:lnTo>
                <a:lnTo>
                  <a:pt x="50" y="790"/>
                </a:lnTo>
                <a:lnTo>
                  <a:pt x="34" y="844"/>
                </a:lnTo>
                <a:lnTo>
                  <a:pt x="22" y="898"/>
                </a:lnTo>
                <a:lnTo>
                  <a:pt x="12" y="954"/>
                </a:lnTo>
                <a:lnTo>
                  <a:pt x="6" y="1010"/>
                </a:lnTo>
                <a:lnTo>
                  <a:pt x="0" y="1068"/>
                </a:lnTo>
                <a:lnTo>
                  <a:pt x="0" y="1126"/>
                </a:lnTo>
                <a:lnTo>
                  <a:pt x="0" y="1126"/>
                </a:lnTo>
                <a:lnTo>
                  <a:pt x="0" y="1184"/>
                </a:lnTo>
                <a:lnTo>
                  <a:pt x="6" y="1242"/>
                </a:lnTo>
                <a:lnTo>
                  <a:pt x="12" y="1298"/>
                </a:lnTo>
                <a:lnTo>
                  <a:pt x="22" y="1352"/>
                </a:lnTo>
                <a:lnTo>
                  <a:pt x="34" y="1408"/>
                </a:lnTo>
                <a:lnTo>
                  <a:pt x="50" y="1460"/>
                </a:lnTo>
                <a:lnTo>
                  <a:pt x="68" y="1512"/>
                </a:lnTo>
                <a:lnTo>
                  <a:pt x="88" y="1564"/>
                </a:lnTo>
                <a:lnTo>
                  <a:pt x="110" y="1614"/>
                </a:lnTo>
                <a:lnTo>
                  <a:pt x="134" y="1662"/>
                </a:lnTo>
                <a:lnTo>
                  <a:pt x="162" y="1710"/>
                </a:lnTo>
                <a:lnTo>
                  <a:pt x="192" y="1756"/>
                </a:lnTo>
                <a:lnTo>
                  <a:pt x="222" y="1800"/>
                </a:lnTo>
                <a:lnTo>
                  <a:pt x="256" y="1842"/>
                </a:lnTo>
                <a:lnTo>
                  <a:pt x="292" y="1884"/>
                </a:lnTo>
                <a:lnTo>
                  <a:pt x="328" y="1922"/>
                </a:lnTo>
                <a:lnTo>
                  <a:pt x="368" y="1960"/>
                </a:lnTo>
                <a:lnTo>
                  <a:pt x="408" y="1996"/>
                </a:lnTo>
                <a:lnTo>
                  <a:pt x="450" y="2028"/>
                </a:lnTo>
                <a:lnTo>
                  <a:pt x="494" y="2060"/>
                </a:lnTo>
                <a:lnTo>
                  <a:pt x="540" y="2090"/>
                </a:lnTo>
                <a:lnTo>
                  <a:pt x="588" y="2116"/>
                </a:lnTo>
                <a:lnTo>
                  <a:pt x="636" y="2142"/>
                </a:lnTo>
                <a:lnTo>
                  <a:pt x="686" y="2164"/>
                </a:lnTo>
                <a:lnTo>
                  <a:pt x="738" y="2184"/>
                </a:lnTo>
                <a:lnTo>
                  <a:pt x="790" y="2202"/>
                </a:lnTo>
                <a:lnTo>
                  <a:pt x="844" y="2218"/>
                </a:lnTo>
                <a:lnTo>
                  <a:pt x="898" y="2230"/>
                </a:lnTo>
                <a:lnTo>
                  <a:pt x="954" y="2240"/>
                </a:lnTo>
                <a:lnTo>
                  <a:pt x="1010" y="2248"/>
                </a:lnTo>
                <a:lnTo>
                  <a:pt x="1068" y="2252"/>
                </a:lnTo>
                <a:lnTo>
                  <a:pt x="1126" y="2252"/>
                </a:lnTo>
                <a:lnTo>
                  <a:pt x="1126" y="2252"/>
                </a:lnTo>
                <a:lnTo>
                  <a:pt x="1184" y="2252"/>
                </a:lnTo>
                <a:lnTo>
                  <a:pt x="1240" y="2248"/>
                </a:lnTo>
                <a:lnTo>
                  <a:pt x="1298" y="2240"/>
                </a:lnTo>
                <a:lnTo>
                  <a:pt x="1352" y="2230"/>
                </a:lnTo>
                <a:lnTo>
                  <a:pt x="1406" y="2218"/>
                </a:lnTo>
                <a:lnTo>
                  <a:pt x="1460" y="2202"/>
                </a:lnTo>
                <a:lnTo>
                  <a:pt x="1512" y="2184"/>
                </a:lnTo>
                <a:lnTo>
                  <a:pt x="1564" y="2164"/>
                </a:lnTo>
                <a:lnTo>
                  <a:pt x="1614" y="2142"/>
                </a:lnTo>
                <a:lnTo>
                  <a:pt x="1662" y="2116"/>
                </a:lnTo>
                <a:lnTo>
                  <a:pt x="1710" y="2090"/>
                </a:lnTo>
                <a:lnTo>
                  <a:pt x="1756" y="2060"/>
                </a:lnTo>
                <a:lnTo>
                  <a:pt x="1800" y="2028"/>
                </a:lnTo>
                <a:lnTo>
                  <a:pt x="1842" y="1996"/>
                </a:lnTo>
                <a:lnTo>
                  <a:pt x="1882" y="1960"/>
                </a:lnTo>
                <a:lnTo>
                  <a:pt x="1922" y="1922"/>
                </a:lnTo>
                <a:lnTo>
                  <a:pt x="1960" y="1884"/>
                </a:lnTo>
                <a:lnTo>
                  <a:pt x="1994" y="1842"/>
                </a:lnTo>
                <a:lnTo>
                  <a:pt x="2028" y="1800"/>
                </a:lnTo>
                <a:lnTo>
                  <a:pt x="2060" y="1756"/>
                </a:lnTo>
                <a:lnTo>
                  <a:pt x="2090" y="1710"/>
                </a:lnTo>
                <a:lnTo>
                  <a:pt x="2116" y="1662"/>
                </a:lnTo>
                <a:lnTo>
                  <a:pt x="2142" y="1614"/>
                </a:lnTo>
                <a:lnTo>
                  <a:pt x="2164" y="1564"/>
                </a:lnTo>
                <a:lnTo>
                  <a:pt x="2184" y="1512"/>
                </a:lnTo>
                <a:lnTo>
                  <a:pt x="2202" y="1460"/>
                </a:lnTo>
                <a:lnTo>
                  <a:pt x="2218" y="1408"/>
                </a:lnTo>
                <a:lnTo>
                  <a:pt x="2230" y="1352"/>
                </a:lnTo>
                <a:lnTo>
                  <a:pt x="2240" y="1298"/>
                </a:lnTo>
                <a:lnTo>
                  <a:pt x="2246" y="1242"/>
                </a:lnTo>
                <a:lnTo>
                  <a:pt x="2252" y="1184"/>
                </a:lnTo>
                <a:lnTo>
                  <a:pt x="2252" y="1126"/>
                </a:lnTo>
                <a:lnTo>
                  <a:pt x="2252" y="1126"/>
                </a:lnTo>
                <a:lnTo>
                  <a:pt x="2252" y="1068"/>
                </a:lnTo>
                <a:lnTo>
                  <a:pt x="2246" y="1010"/>
                </a:lnTo>
                <a:lnTo>
                  <a:pt x="2240" y="954"/>
                </a:lnTo>
                <a:lnTo>
                  <a:pt x="2230" y="898"/>
                </a:lnTo>
                <a:lnTo>
                  <a:pt x="2218" y="844"/>
                </a:lnTo>
                <a:lnTo>
                  <a:pt x="2202" y="790"/>
                </a:lnTo>
                <a:lnTo>
                  <a:pt x="2184" y="738"/>
                </a:lnTo>
                <a:lnTo>
                  <a:pt x="2164" y="686"/>
                </a:lnTo>
                <a:lnTo>
                  <a:pt x="2142" y="636"/>
                </a:lnTo>
                <a:lnTo>
                  <a:pt x="2116" y="588"/>
                </a:lnTo>
                <a:lnTo>
                  <a:pt x="2090" y="540"/>
                </a:lnTo>
                <a:lnTo>
                  <a:pt x="2060" y="496"/>
                </a:lnTo>
                <a:lnTo>
                  <a:pt x="2028" y="450"/>
                </a:lnTo>
                <a:lnTo>
                  <a:pt x="1994" y="408"/>
                </a:lnTo>
                <a:lnTo>
                  <a:pt x="1960" y="368"/>
                </a:lnTo>
                <a:lnTo>
                  <a:pt x="1922" y="328"/>
                </a:lnTo>
                <a:lnTo>
                  <a:pt x="1882" y="292"/>
                </a:lnTo>
                <a:lnTo>
                  <a:pt x="1842" y="256"/>
                </a:lnTo>
                <a:lnTo>
                  <a:pt x="1800" y="222"/>
                </a:lnTo>
                <a:lnTo>
                  <a:pt x="1756" y="192"/>
                </a:lnTo>
                <a:lnTo>
                  <a:pt x="1710" y="162"/>
                </a:lnTo>
                <a:lnTo>
                  <a:pt x="1662" y="136"/>
                </a:lnTo>
                <a:lnTo>
                  <a:pt x="1614" y="110"/>
                </a:lnTo>
                <a:lnTo>
                  <a:pt x="1564" y="88"/>
                </a:lnTo>
                <a:lnTo>
                  <a:pt x="1512" y="68"/>
                </a:lnTo>
                <a:lnTo>
                  <a:pt x="1460" y="50"/>
                </a:lnTo>
                <a:lnTo>
                  <a:pt x="1406" y="34"/>
                </a:lnTo>
                <a:lnTo>
                  <a:pt x="1352" y="22"/>
                </a:lnTo>
                <a:lnTo>
                  <a:pt x="1298" y="12"/>
                </a:lnTo>
                <a:lnTo>
                  <a:pt x="1240" y="6"/>
                </a:lnTo>
                <a:lnTo>
                  <a:pt x="1184" y="2"/>
                </a:lnTo>
                <a:lnTo>
                  <a:pt x="1126" y="0"/>
                </a:lnTo>
                <a:lnTo>
                  <a:pt x="1126" y="0"/>
                </a:lnTo>
                <a:close/>
                <a:moveTo>
                  <a:pt x="1862" y="1368"/>
                </a:moveTo>
                <a:lnTo>
                  <a:pt x="1202" y="1816"/>
                </a:lnTo>
                <a:lnTo>
                  <a:pt x="1202" y="1816"/>
                </a:lnTo>
                <a:lnTo>
                  <a:pt x="1190" y="1822"/>
                </a:lnTo>
                <a:lnTo>
                  <a:pt x="1180" y="1826"/>
                </a:lnTo>
                <a:lnTo>
                  <a:pt x="1168" y="1828"/>
                </a:lnTo>
                <a:lnTo>
                  <a:pt x="1158" y="1828"/>
                </a:lnTo>
                <a:lnTo>
                  <a:pt x="1158" y="1828"/>
                </a:lnTo>
                <a:lnTo>
                  <a:pt x="1144" y="1828"/>
                </a:lnTo>
                <a:lnTo>
                  <a:pt x="1132" y="1826"/>
                </a:lnTo>
                <a:lnTo>
                  <a:pt x="1120" y="1820"/>
                </a:lnTo>
                <a:lnTo>
                  <a:pt x="1110" y="1816"/>
                </a:lnTo>
                <a:lnTo>
                  <a:pt x="454" y="1368"/>
                </a:lnTo>
                <a:lnTo>
                  <a:pt x="454" y="1368"/>
                </a:lnTo>
                <a:lnTo>
                  <a:pt x="444" y="1360"/>
                </a:lnTo>
                <a:lnTo>
                  <a:pt x="436" y="1350"/>
                </a:lnTo>
                <a:lnTo>
                  <a:pt x="432" y="1338"/>
                </a:lnTo>
                <a:lnTo>
                  <a:pt x="430" y="1326"/>
                </a:lnTo>
                <a:lnTo>
                  <a:pt x="430" y="1326"/>
                </a:lnTo>
                <a:lnTo>
                  <a:pt x="432" y="1314"/>
                </a:lnTo>
                <a:lnTo>
                  <a:pt x="436" y="1302"/>
                </a:lnTo>
                <a:lnTo>
                  <a:pt x="444" y="1292"/>
                </a:lnTo>
                <a:lnTo>
                  <a:pt x="454" y="1284"/>
                </a:lnTo>
                <a:lnTo>
                  <a:pt x="454" y="1284"/>
                </a:lnTo>
                <a:lnTo>
                  <a:pt x="464" y="1278"/>
                </a:lnTo>
                <a:lnTo>
                  <a:pt x="474" y="1274"/>
                </a:lnTo>
                <a:lnTo>
                  <a:pt x="488" y="1272"/>
                </a:lnTo>
                <a:lnTo>
                  <a:pt x="500" y="1270"/>
                </a:lnTo>
                <a:lnTo>
                  <a:pt x="500" y="1270"/>
                </a:lnTo>
                <a:lnTo>
                  <a:pt x="512" y="1272"/>
                </a:lnTo>
                <a:lnTo>
                  <a:pt x="526" y="1274"/>
                </a:lnTo>
                <a:lnTo>
                  <a:pt x="536" y="1278"/>
                </a:lnTo>
                <a:lnTo>
                  <a:pt x="546" y="1284"/>
                </a:lnTo>
                <a:lnTo>
                  <a:pt x="1158" y="1698"/>
                </a:lnTo>
                <a:lnTo>
                  <a:pt x="1764" y="1284"/>
                </a:lnTo>
                <a:lnTo>
                  <a:pt x="1766" y="1282"/>
                </a:lnTo>
                <a:lnTo>
                  <a:pt x="1768" y="1282"/>
                </a:lnTo>
                <a:lnTo>
                  <a:pt x="1768" y="1282"/>
                </a:lnTo>
                <a:lnTo>
                  <a:pt x="1778" y="1276"/>
                </a:lnTo>
                <a:lnTo>
                  <a:pt x="1790" y="1274"/>
                </a:lnTo>
                <a:lnTo>
                  <a:pt x="1802" y="1270"/>
                </a:lnTo>
                <a:lnTo>
                  <a:pt x="1814" y="1270"/>
                </a:lnTo>
                <a:lnTo>
                  <a:pt x="1814" y="1270"/>
                </a:lnTo>
                <a:lnTo>
                  <a:pt x="1826" y="1270"/>
                </a:lnTo>
                <a:lnTo>
                  <a:pt x="1838" y="1274"/>
                </a:lnTo>
                <a:lnTo>
                  <a:pt x="1850" y="1276"/>
                </a:lnTo>
                <a:lnTo>
                  <a:pt x="1860" y="1282"/>
                </a:lnTo>
                <a:lnTo>
                  <a:pt x="1862" y="1282"/>
                </a:lnTo>
                <a:lnTo>
                  <a:pt x="1862" y="1284"/>
                </a:lnTo>
                <a:lnTo>
                  <a:pt x="1862" y="1284"/>
                </a:lnTo>
                <a:lnTo>
                  <a:pt x="1872" y="1292"/>
                </a:lnTo>
                <a:lnTo>
                  <a:pt x="1880" y="1302"/>
                </a:lnTo>
                <a:lnTo>
                  <a:pt x="1884" y="1314"/>
                </a:lnTo>
                <a:lnTo>
                  <a:pt x="1886" y="1326"/>
                </a:lnTo>
                <a:lnTo>
                  <a:pt x="1886" y="1326"/>
                </a:lnTo>
                <a:lnTo>
                  <a:pt x="1884" y="1338"/>
                </a:lnTo>
                <a:lnTo>
                  <a:pt x="1880" y="1350"/>
                </a:lnTo>
                <a:lnTo>
                  <a:pt x="1872" y="1360"/>
                </a:lnTo>
                <a:lnTo>
                  <a:pt x="1862" y="1368"/>
                </a:lnTo>
                <a:lnTo>
                  <a:pt x="1862" y="1368"/>
                </a:lnTo>
                <a:close/>
                <a:moveTo>
                  <a:pt x="1864" y="1128"/>
                </a:moveTo>
                <a:lnTo>
                  <a:pt x="1864" y="1130"/>
                </a:lnTo>
                <a:lnTo>
                  <a:pt x="1862" y="1130"/>
                </a:lnTo>
                <a:lnTo>
                  <a:pt x="1202" y="1576"/>
                </a:lnTo>
                <a:lnTo>
                  <a:pt x="1202" y="1576"/>
                </a:lnTo>
                <a:lnTo>
                  <a:pt x="1190" y="1582"/>
                </a:lnTo>
                <a:lnTo>
                  <a:pt x="1180" y="1586"/>
                </a:lnTo>
                <a:lnTo>
                  <a:pt x="1168" y="1588"/>
                </a:lnTo>
                <a:lnTo>
                  <a:pt x="1158" y="1588"/>
                </a:lnTo>
                <a:lnTo>
                  <a:pt x="1158" y="1588"/>
                </a:lnTo>
                <a:lnTo>
                  <a:pt x="1144" y="1588"/>
                </a:lnTo>
                <a:lnTo>
                  <a:pt x="1132" y="1584"/>
                </a:lnTo>
                <a:lnTo>
                  <a:pt x="1120" y="1580"/>
                </a:lnTo>
                <a:lnTo>
                  <a:pt x="1110" y="1576"/>
                </a:lnTo>
                <a:lnTo>
                  <a:pt x="454" y="1130"/>
                </a:lnTo>
                <a:lnTo>
                  <a:pt x="452" y="1130"/>
                </a:lnTo>
                <a:lnTo>
                  <a:pt x="452" y="1128"/>
                </a:lnTo>
                <a:lnTo>
                  <a:pt x="452" y="1128"/>
                </a:lnTo>
                <a:lnTo>
                  <a:pt x="440" y="1118"/>
                </a:lnTo>
                <a:lnTo>
                  <a:pt x="434" y="1106"/>
                </a:lnTo>
                <a:lnTo>
                  <a:pt x="430" y="1096"/>
                </a:lnTo>
                <a:lnTo>
                  <a:pt x="430" y="1086"/>
                </a:lnTo>
                <a:lnTo>
                  <a:pt x="430" y="1086"/>
                </a:lnTo>
                <a:lnTo>
                  <a:pt x="430" y="1078"/>
                </a:lnTo>
                <a:lnTo>
                  <a:pt x="434" y="1068"/>
                </a:lnTo>
                <a:lnTo>
                  <a:pt x="440" y="1056"/>
                </a:lnTo>
                <a:lnTo>
                  <a:pt x="452" y="1044"/>
                </a:lnTo>
                <a:lnTo>
                  <a:pt x="452" y="1044"/>
                </a:lnTo>
                <a:lnTo>
                  <a:pt x="454" y="1044"/>
                </a:lnTo>
                <a:lnTo>
                  <a:pt x="454" y="1044"/>
                </a:lnTo>
                <a:lnTo>
                  <a:pt x="464" y="1038"/>
                </a:lnTo>
                <a:lnTo>
                  <a:pt x="474" y="1034"/>
                </a:lnTo>
                <a:lnTo>
                  <a:pt x="488" y="1030"/>
                </a:lnTo>
                <a:lnTo>
                  <a:pt x="500" y="1030"/>
                </a:lnTo>
                <a:lnTo>
                  <a:pt x="500" y="1030"/>
                </a:lnTo>
                <a:lnTo>
                  <a:pt x="512" y="1030"/>
                </a:lnTo>
                <a:lnTo>
                  <a:pt x="526" y="1034"/>
                </a:lnTo>
                <a:lnTo>
                  <a:pt x="536" y="1038"/>
                </a:lnTo>
                <a:lnTo>
                  <a:pt x="546" y="1044"/>
                </a:lnTo>
                <a:lnTo>
                  <a:pt x="1158" y="1458"/>
                </a:lnTo>
                <a:lnTo>
                  <a:pt x="1764" y="1044"/>
                </a:lnTo>
                <a:lnTo>
                  <a:pt x="1766" y="1042"/>
                </a:lnTo>
                <a:lnTo>
                  <a:pt x="1768" y="1042"/>
                </a:lnTo>
                <a:lnTo>
                  <a:pt x="1768" y="1042"/>
                </a:lnTo>
                <a:lnTo>
                  <a:pt x="1778" y="1036"/>
                </a:lnTo>
                <a:lnTo>
                  <a:pt x="1790" y="1032"/>
                </a:lnTo>
                <a:lnTo>
                  <a:pt x="1802" y="1030"/>
                </a:lnTo>
                <a:lnTo>
                  <a:pt x="1814" y="1030"/>
                </a:lnTo>
                <a:lnTo>
                  <a:pt x="1814" y="1030"/>
                </a:lnTo>
                <a:lnTo>
                  <a:pt x="1826" y="1030"/>
                </a:lnTo>
                <a:lnTo>
                  <a:pt x="1838" y="1032"/>
                </a:lnTo>
                <a:lnTo>
                  <a:pt x="1850" y="1036"/>
                </a:lnTo>
                <a:lnTo>
                  <a:pt x="1860" y="1042"/>
                </a:lnTo>
                <a:lnTo>
                  <a:pt x="1862" y="1042"/>
                </a:lnTo>
                <a:lnTo>
                  <a:pt x="1864" y="1044"/>
                </a:lnTo>
                <a:lnTo>
                  <a:pt x="1864" y="1044"/>
                </a:lnTo>
                <a:lnTo>
                  <a:pt x="1876" y="1056"/>
                </a:lnTo>
                <a:lnTo>
                  <a:pt x="1882" y="1068"/>
                </a:lnTo>
                <a:lnTo>
                  <a:pt x="1886" y="1078"/>
                </a:lnTo>
                <a:lnTo>
                  <a:pt x="1886" y="1086"/>
                </a:lnTo>
                <a:lnTo>
                  <a:pt x="1886" y="1086"/>
                </a:lnTo>
                <a:lnTo>
                  <a:pt x="1886" y="1096"/>
                </a:lnTo>
                <a:lnTo>
                  <a:pt x="1882" y="1106"/>
                </a:lnTo>
                <a:lnTo>
                  <a:pt x="1876" y="1118"/>
                </a:lnTo>
                <a:lnTo>
                  <a:pt x="1864" y="1128"/>
                </a:lnTo>
                <a:lnTo>
                  <a:pt x="1864" y="1128"/>
                </a:lnTo>
                <a:close/>
                <a:moveTo>
                  <a:pt x="1862" y="870"/>
                </a:moveTo>
                <a:lnTo>
                  <a:pt x="1202" y="1318"/>
                </a:lnTo>
                <a:lnTo>
                  <a:pt x="1202" y="1318"/>
                </a:lnTo>
                <a:lnTo>
                  <a:pt x="1190" y="1324"/>
                </a:lnTo>
                <a:lnTo>
                  <a:pt x="1180" y="1328"/>
                </a:lnTo>
                <a:lnTo>
                  <a:pt x="1168" y="1330"/>
                </a:lnTo>
                <a:lnTo>
                  <a:pt x="1158" y="1332"/>
                </a:lnTo>
                <a:lnTo>
                  <a:pt x="1158" y="1332"/>
                </a:lnTo>
                <a:lnTo>
                  <a:pt x="1144" y="1330"/>
                </a:lnTo>
                <a:lnTo>
                  <a:pt x="1132" y="1328"/>
                </a:lnTo>
                <a:lnTo>
                  <a:pt x="1120" y="1324"/>
                </a:lnTo>
                <a:lnTo>
                  <a:pt x="1110" y="1318"/>
                </a:lnTo>
                <a:lnTo>
                  <a:pt x="454" y="870"/>
                </a:lnTo>
                <a:lnTo>
                  <a:pt x="454" y="870"/>
                </a:lnTo>
                <a:lnTo>
                  <a:pt x="444" y="862"/>
                </a:lnTo>
                <a:lnTo>
                  <a:pt x="436" y="852"/>
                </a:lnTo>
                <a:lnTo>
                  <a:pt x="432" y="840"/>
                </a:lnTo>
                <a:lnTo>
                  <a:pt x="430" y="828"/>
                </a:lnTo>
                <a:lnTo>
                  <a:pt x="430" y="828"/>
                </a:lnTo>
                <a:lnTo>
                  <a:pt x="432" y="816"/>
                </a:lnTo>
                <a:lnTo>
                  <a:pt x="436" y="806"/>
                </a:lnTo>
                <a:lnTo>
                  <a:pt x="444" y="796"/>
                </a:lnTo>
                <a:lnTo>
                  <a:pt x="454" y="786"/>
                </a:lnTo>
                <a:lnTo>
                  <a:pt x="454" y="786"/>
                </a:lnTo>
                <a:lnTo>
                  <a:pt x="464" y="780"/>
                </a:lnTo>
                <a:lnTo>
                  <a:pt x="474" y="776"/>
                </a:lnTo>
                <a:lnTo>
                  <a:pt x="488" y="774"/>
                </a:lnTo>
                <a:lnTo>
                  <a:pt x="500" y="774"/>
                </a:lnTo>
                <a:lnTo>
                  <a:pt x="500" y="774"/>
                </a:lnTo>
                <a:lnTo>
                  <a:pt x="512" y="774"/>
                </a:lnTo>
                <a:lnTo>
                  <a:pt x="526" y="776"/>
                </a:lnTo>
                <a:lnTo>
                  <a:pt x="536" y="780"/>
                </a:lnTo>
                <a:lnTo>
                  <a:pt x="546" y="786"/>
                </a:lnTo>
                <a:lnTo>
                  <a:pt x="1158" y="1202"/>
                </a:lnTo>
                <a:lnTo>
                  <a:pt x="1764" y="786"/>
                </a:lnTo>
                <a:lnTo>
                  <a:pt x="1766" y="786"/>
                </a:lnTo>
                <a:lnTo>
                  <a:pt x="1768" y="786"/>
                </a:lnTo>
                <a:lnTo>
                  <a:pt x="1768" y="786"/>
                </a:lnTo>
                <a:lnTo>
                  <a:pt x="1778" y="780"/>
                </a:lnTo>
                <a:lnTo>
                  <a:pt x="1790" y="776"/>
                </a:lnTo>
                <a:lnTo>
                  <a:pt x="1802" y="774"/>
                </a:lnTo>
                <a:lnTo>
                  <a:pt x="1814" y="774"/>
                </a:lnTo>
                <a:lnTo>
                  <a:pt x="1814" y="774"/>
                </a:lnTo>
                <a:lnTo>
                  <a:pt x="1826" y="774"/>
                </a:lnTo>
                <a:lnTo>
                  <a:pt x="1838" y="776"/>
                </a:lnTo>
                <a:lnTo>
                  <a:pt x="1850" y="780"/>
                </a:lnTo>
                <a:lnTo>
                  <a:pt x="1860" y="786"/>
                </a:lnTo>
                <a:lnTo>
                  <a:pt x="1862" y="786"/>
                </a:lnTo>
                <a:lnTo>
                  <a:pt x="1862" y="786"/>
                </a:lnTo>
                <a:lnTo>
                  <a:pt x="1862" y="786"/>
                </a:lnTo>
                <a:lnTo>
                  <a:pt x="1872" y="796"/>
                </a:lnTo>
                <a:lnTo>
                  <a:pt x="1880" y="806"/>
                </a:lnTo>
                <a:lnTo>
                  <a:pt x="1884" y="816"/>
                </a:lnTo>
                <a:lnTo>
                  <a:pt x="1886" y="828"/>
                </a:lnTo>
                <a:lnTo>
                  <a:pt x="1886" y="828"/>
                </a:lnTo>
                <a:lnTo>
                  <a:pt x="1884" y="840"/>
                </a:lnTo>
                <a:lnTo>
                  <a:pt x="1880" y="852"/>
                </a:lnTo>
                <a:lnTo>
                  <a:pt x="1872" y="862"/>
                </a:lnTo>
                <a:lnTo>
                  <a:pt x="1862" y="870"/>
                </a:lnTo>
                <a:lnTo>
                  <a:pt x="1862" y="870"/>
                </a:lnTo>
                <a:close/>
                <a:moveTo>
                  <a:pt x="1864" y="632"/>
                </a:moveTo>
                <a:lnTo>
                  <a:pt x="1864" y="632"/>
                </a:lnTo>
                <a:lnTo>
                  <a:pt x="1862" y="634"/>
                </a:lnTo>
                <a:lnTo>
                  <a:pt x="1202" y="1078"/>
                </a:lnTo>
                <a:lnTo>
                  <a:pt x="1202" y="1078"/>
                </a:lnTo>
                <a:lnTo>
                  <a:pt x="1190" y="1084"/>
                </a:lnTo>
                <a:lnTo>
                  <a:pt x="1180" y="1088"/>
                </a:lnTo>
                <a:lnTo>
                  <a:pt x="1168" y="1090"/>
                </a:lnTo>
                <a:lnTo>
                  <a:pt x="1158" y="1092"/>
                </a:lnTo>
                <a:lnTo>
                  <a:pt x="1158" y="1092"/>
                </a:lnTo>
                <a:lnTo>
                  <a:pt x="1144" y="1090"/>
                </a:lnTo>
                <a:lnTo>
                  <a:pt x="1132" y="1088"/>
                </a:lnTo>
                <a:lnTo>
                  <a:pt x="1120" y="1084"/>
                </a:lnTo>
                <a:lnTo>
                  <a:pt x="1110" y="1078"/>
                </a:lnTo>
                <a:lnTo>
                  <a:pt x="454" y="634"/>
                </a:lnTo>
                <a:lnTo>
                  <a:pt x="452" y="632"/>
                </a:lnTo>
                <a:lnTo>
                  <a:pt x="452" y="632"/>
                </a:lnTo>
                <a:lnTo>
                  <a:pt x="452" y="632"/>
                </a:lnTo>
                <a:lnTo>
                  <a:pt x="440" y="620"/>
                </a:lnTo>
                <a:lnTo>
                  <a:pt x="434" y="610"/>
                </a:lnTo>
                <a:lnTo>
                  <a:pt x="430" y="598"/>
                </a:lnTo>
                <a:lnTo>
                  <a:pt x="430" y="590"/>
                </a:lnTo>
                <a:lnTo>
                  <a:pt x="430" y="590"/>
                </a:lnTo>
                <a:lnTo>
                  <a:pt x="430" y="580"/>
                </a:lnTo>
                <a:lnTo>
                  <a:pt x="434" y="570"/>
                </a:lnTo>
                <a:lnTo>
                  <a:pt x="440" y="560"/>
                </a:lnTo>
                <a:lnTo>
                  <a:pt x="452" y="548"/>
                </a:lnTo>
                <a:lnTo>
                  <a:pt x="452" y="546"/>
                </a:lnTo>
                <a:lnTo>
                  <a:pt x="454" y="546"/>
                </a:lnTo>
                <a:lnTo>
                  <a:pt x="454" y="546"/>
                </a:lnTo>
                <a:lnTo>
                  <a:pt x="464" y="540"/>
                </a:lnTo>
                <a:lnTo>
                  <a:pt x="474" y="536"/>
                </a:lnTo>
                <a:lnTo>
                  <a:pt x="488" y="534"/>
                </a:lnTo>
                <a:lnTo>
                  <a:pt x="500" y="534"/>
                </a:lnTo>
                <a:lnTo>
                  <a:pt x="500" y="534"/>
                </a:lnTo>
                <a:lnTo>
                  <a:pt x="512" y="534"/>
                </a:lnTo>
                <a:lnTo>
                  <a:pt x="526" y="536"/>
                </a:lnTo>
                <a:lnTo>
                  <a:pt x="536" y="540"/>
                </a:lnTo>
                <a:lnTo>
                  <a:pt x="546" y="546"/>
                </a:lnTo>
                <a:lnTo>
                  <a:pt x="1158" y="960"/>
                </a:lnTo>
                <a:lnTo>
                  <a:pt x="1764" y="546"/>
                </a:lnTo>
                <a:lnTo>
                  <a:pt x="1766" y="546"/>
                </a:lnTo>
                <a:lnTo>
                  <a:pt x="1768" y="544"/>
                </a:lnTo>
                <a:lnTo>
                  <a:pt x="1768" y="544"/>
                </a:lnTo>
                <a:lnTo>
                  <a:pt x="1778" y="540"/>
                </a:lnTo>
                <a:lnTo>
                  <a:pt x="1790" y="536"/>
                </a:lnTo>
                <a:lnTo>
                  <a:pt x="1802" y="534"/>
                </a:lnTo>
                <a:lnTo>
                  <a:pt x="1814" y="534"/>
                </a:lnTo>
                <a:lnTo>
                  <a:pt x="1814" y="534"/>
                </a:lnTo>
                <a:lnTo>
                  <a:pt x="1826" y="534"/>
                </a:lnTo>
                <a:lnTo>
                  <a:pt x="1838" y="536"/>
                </a:lnTo>
                <a:lnTo>
                  <a:pt x="1850" y="540"/>
                </a:lnTo>
                <a:lnTo>
                  <a:pt x="1860" y="544"/>
                </a:lnTo>
                <a:lnTo>
                  <a:pt x="1862" y="546"/>
                </a:lnTo>
                <a:lnTo>
                  <a:pt x="1864" y="548"/>
                </a:lnTo>
                <a:lnTo>
                  <a:pt x="1864" y="548"/>
                </a:lnTo>
                <a:lnTo>
                  <a:pt x="1876" y="560"/>
                </a:lnTo>
                <a:lnTo>
                  <a:pt x="1882" y="570"/>
                </a:lnTo>
                <a:lnTo>
                  <a:pt x="1886" y="580"/>
                </a:lnTo>
                <a:lnTo>
                  <a:pt x="1886" y="590"/>
                </a:lnTo>
                <a:lnTo>
                  <a:pt x="1886" y="590"/>
                </a:lnTo>
                <a:lnTo>
                  <a:pt x="1886" y="598"/>
                </a:lnTo>
                <a:lnTo>
                  <a:pt x="1882" y="610"/>
                </a:lnTo>
                <a:lnTo>
                  <a:pt x="1876" y="620"/>
                </a:lnTo>
                <a:lnTo>
                  <a:pt x="1864" y="632"/>
                </a:lnTo>
                <a:lnTo>
                  <a:pt x="1864" y="63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6" name="Group 205">
            <a:extLst>
              <a:ext uri="{FF2B5EF4-FFF2-40B4-BE49-F238E27FC236}">
                <a16:creationId xmlns:a16="http://schemas.microsoft.com/office/drawing/2014/main" id="{2D97815E-B379-4EEE-B1F9-8325F3268C80}"/>
              </a:ext>
            </a:extLst>
          </p:cNvPr>
          <p:cNvGrpSpPr/>
          <p:nvPr/>
        </p:nvGrpSpPr>
        <p:grpSpPr>
          <a:xfrm>
            <a:off x="4400727" y="3242561"/>
            <a:ext cx="362959" cy="362959"/>
            <a:chOff x="6243638" y="-3371850"/>
            <a:chExt cx="3575050" cy="3575050"/>
          </a:xfrm>
          <a:solidFill>
            <a:schemeClr val="bg2"/>
          </a:solidFill>
        </p:grpSpPr>
        <p:sp>
          <p:nvSpPr>
            <p:cNvPr id="207" name="Freeform 9">
              <a:extLst>
                <a:ext uri="{FF2B5EF4-FFF2-40B4-BE49-F238E27FC236}">
                  <a16:creationId xmlns:a16="http://schemas.microsoft.com/office/drawing/2014/main" id="{80ACBB7B-AAE5-4B18-998F-DBB00FEB6342}"/>
                </a:ext>
              </a:extLst>
            </p:cNvPr>
            <p:cNvSpPr>
              <a:spLocks noEditPoints="1"/>
            </p:cNvSpPr>
            <p:nvPr/>
          </p:nvSpPr>
          <p:spPr bwMode="auto">
            <a:xfrm>
              <a:off x="6243638" y="-3371850"/>
              <a:ext cx="3575050" cy="3575050"/>
            </a:xfrm>
            <a:custGeom>
              <a:avLst/>
              <a:gdLst>
                <a:gd name="T0" fmla="*/ 1278 w 2252"/>
                <a:gd name="T1" fmla="*/ 106 h 2252"/>
                <a:gd name="T2" fmla="*/ 1520 w 2252"/>
                <a:gd name="T3" fmla="*/ 174 h 2252"/>
                <a:gd name="T4" fmla="*/ 1738 w 2252"/>
                <a:gd name="T5" fmla="*/ 296 h 2252"/>
                <a:gd name="T6" fmla="*/ 1890 w 2252"/>
                <a:gd name="T7" fmla="*/ 434 h 2252"/>
                <a:gd name="T8" fmla="*/ 2036 w 2252"/>
                <a:gd name="T9" fmla="*/ 640 h 2252"/>
                <a:gd name="T10" fmla="*/ 2126 w 2252"/>
                <a:gd name="T11" fmla="*/ 874 h 2252"/>
                <a:gd name="T12" fmla="*/ 2156 w 2252"/>
                <a:gd name="T13" fmla="*/ 1126 h 2252"/>
                <a:gd name="T14" fmla="*/ 2136 w 2252"/>
                <a:gd name="T15" fmla="*/ 1328 h 2252"/>
                <a:gd name="T16" fmla="*/ 2058 w 2252"/>
                <a:gd name="T17" fmla="*/ 1566 h 2252"/>
                <a:gd name="T18" fmla="*/ 1924 w 2252"/>
                <a:gd name="T19" fmla="*/ 1778 h 2252"/>
                <a:gd name="T20" fmla="*/ 1778 w 2252"/>
                <a:gd name="T21" fmla="*/ 1924 h 2252"/>
                <a:gd name="T22" fmla="*/ 1566 w 2252"/>
                <a:gd name="T23" fmla="*/ 2058 h 2252"/>
                <a:gd name="T24" fmla="*/ 1328 w 2252"/>
                <a:gd name="T25" fmla="*/ 2138 h 2252"/>
                <a:gd name="T26" fmla="*/ 1126 w 2252"/>
                <a:gd name="T27" fmla="*/ 2156 h 2252"/>
                <a:gd name="T28" fmla="*/ 874 w 2252"/>
                <a:gd name="T29" fmla="*/ 2126 h 2252"/>
                <a:gd name="T30" fmla="*/ 640 w 2252"/>
                <a:gd name="T31" fmla="*/ 2036 h 2252"/>
                <a:gd name="T32" fmla="*/ 434 w 2252"/>
                <a:gd name="T33" fmla="*/ 1890 h 2252"/>
                <a:gd name="T34" fmla="*/ 296 w 2252"/>
                <a:gd name="T35" fmla="*/ 1738 h 2252"/>
                <a:gd name="T36" fmla="*/ 174 w 2252"/>
                <a:gd name="T37" fmla="*/ 1520 h 2252"/>
                <a:gd name="T38" fmla="*/ 106 w 2252"/>
                <a:gd name="T39" fmla="*/ 1278 h 2252"/>
                <a:gd name="T40" fmla="*/ 96 w 2252"/>
                <a:gd name="T41" fmla="*/ 1074 h 2252"/>
                <a:gd name="T42" fmla="*/ 140 w 2252"/>
                <a:gd name="T43" fmla="*/ 824 h 2252"/>
                <a:gd name="T44" fmla="*/ 240 w 2252"/>
                <a:gd name="T45" fmla="*/ 596 h 2252"/>
                <a:gd name="T46" fmla="*/ 396 w 2252"/>
                <a:gd name="T47" fmla="*/ 396 h 2252"/>
                <a:gd name="T48" fmla="*/ 554 w 2252"/>
                <a:gd name="T49" fmla="*/ 268 h 2252"/>
                <a:gd name="T50" fmla="*/ 778 w 2252"/>
                <a:gd name="T51" fmla="*/ 156 h 2252"/>
                <a:gd name="T52" fmla="*/ 1024 w 2252"/>
                <a:gd name="T53" fmla="*/ 100 h 2252"/>
                <a:gd name="T54" fmla="*/ 1068 w 2252"/>
                <a:gd name="T55" fmla="*/ 2 h 2252"/>
                <a:gd name="T56" fmla="*/ 790 w 2252"/>
                <a:gd name="T57" fmla="*/ 50 h 2252"/>
                <a:gd name="T58" fmla="*/ 540 w 2252"/>
                <a:gd name="T59" fmla="*/ 162 h 2252"/>
                <a:gd name="T60" fmla="*/ 328 w 2252"/>
                <a:gd name="T61" fmla="*/ 328 h 2252"/>
                <a:gd name="T62" fmla="*/ 162 w 2252"/>
                <a:gd name="T63" fmla="*/ 540 h 2252"/>
                <a:gd name="T64" fmla="*/ 50 w 2252"/>
                <a:gd name="T65" fmla="*/ 790 h 2252"/>
                <a:gd name="T66" fmla="*/ 0 w 2252"/>
                <a:gd name="T67" fmla="*/ 1068 h 2252"/>
                <a:gd name="T68" fmla="*/ 12 w 2252"/>
                <a:gd name="T69" fmla="*/ 1298 h 2252"/>
                <a:gd name="T70" fmla="*/ 88 w 2252"/>
                <a:gd name="T71" fmla="*/ 1564 h 2252"/>
                <a:gd name="T72" fmla="*/ 222 w 2252"/>
                <a:gd name="T73" fmla="*/ 1800 h 2252"/>
                <a:gd name="T74" fmla="*/ 408 w 2252"/>
                <a:gd name="T75" fmla="*/ 1996 h 2252"/>
                <a:gd name="T76" fmla="*/ 636 w 2252"/>
                <a:gd name="T77" fmla="*/ 2142 h 2252"/>
                <a:gd name="T78" fmla="*/ 898 w 2252"/>
                <a:gd name="T79" fmla="*/ 2230 h 2252"/>
                <a:gd name="T80" fmla="*/ 1126 w 2252"/>
                <a:gd name="T81" fmla="*/ 2252 h 2252"/>
                <a:gd name="T82" fmla="*/ 1408 w 2252"/>
                <a:gd name="T83" fmla="*/ 2218 h 2252"/>
                <a:gd name="T84" fmla="*/ 1662 w 2252"/>
                <a:gd name="T85" fmla="*/ 2116 h 2252"/>
                <a:gd name="T86" fmla="*/ 1882 w 2252"/>
                <a:gd name="T87" fmla="*/ 1960 h 2252"/>
                <a:gd name="T88" fmla="*/ 2060 w 2252"/>
                <a:gd name="T89" fmla="*/ 1756 h 2252"/>
                <a:gd name="T90" fmla="*/ 2184 w 2252"/>
                <a:gd name="T91" fmla="*/ 1512 h 2252"/>
                <a:gd name="T92" fmla="*/ 2246 w 2252"/>
                <a:gd name="T93" fmla="*/ 1242 h 2252"/>
                <a:gd name="T94" fmla="*/ 2246 w 2252"/>
                <a:gd name="T95" fmla="*/ 1010 h 2252"/>
                <a:gd name="T96" fmla="*/ 2184 w 2252"/>
                <a:gd name="T97" fmla="*/ 738 h 2252"/>
                <a:gd name="T98" fmla="*/ 2060 w 2252"/>
                <a:gd name="T99" fmla="*/ 496 h 2252"/>
                <a:gd name="T100" fmla="*/ 1882 w 2252"/>
                <a:gd name="T101" fmla="*/ 292 h 2252"/>
                <a:gd name="T102" fmla="*/ 1662 w 2252"/>
                <a:gd name="T103" fmla="*/ 136 h 2252"/>
                <a:gd name="T104" fmla="*/ 1408 w 2252"/>
                <a:gd name="T105" fmla="*/ 34 h 2252"/>
                <a:gd name="T106" fmla="*/ 1126 w 2252"/>
                <a:gd name="T107" fmla="*/ 0 h 2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52" h="2252">
                  <a:moveTo>
                    <a:pt x="1126" y="96"/>
                  </a:moveTo>
                  <a:lnTo>
                    <a:pt x="1126" y="96"/>
                  </a:lnTo>
                  <a:lnTo>
                    <a:pt x="1178" y="96"/>
                  </a:lnTo>
                  <a:lnTo>
                    <a:pt x="1228" y="100"/>
                  </a:lnTo>
                  <a:lnTo>
                    <a:pt x="1278" y="106"/>
                  </a:lnTo>
                  <a:lnTo>
                    <a:pt x="1328" y="116"/>
                  </a:lnTo>
                  <a:lnTo>
                    <a:pt x="1378" y="126"/>
                  </a:lnTo>
                  <a:lnTo>
                    <a:pt x="1426" y="140"/>
                  </a:lnTo>
                  <a:lnTo>
                    <a:pt x="1474" y="156"/>
                  </a:lnTo>
                  <a:lnTo>
                    <a:pt x="1520" y="174"/>
                  </a:lnTo>
                  <a:lnTo>
                    <a:pt x="1566" y="194"/>
                  </a:lnTo>
                  <a:lnTo>
                    <a:pt x="1610" y="216"/>
                  </a:lnTo>
                  <a:lnTo>
                    <a:pt x="1654" y="240"/>
                  </a:lnTo>
                  <a:lnTo>
                    <a:pt x="1698" y="268"/>
                  </a:lnTo>
                  <a:lnTo>
                    <a:pt x="1738" y="296"/>
                  </a:lnTo>
                  <a:lnTo>
                    <a:pt x="1778" y="328"/>
                  </a:lnTo>
                  <a:lnTo>
                    <a:pt x="1818" y="362"/>
                  </a:lnTo>
                  <a:lnTo>
                    <a:pt x="1854" y="396"/>
                  </a:lnTo>
                  <a:lnTo>
                    <a:pt x="1854" y="396"/>
                  </a:lnTo>
                  <a:lnTo>
                    <a:pt x="1890" y="434"/>
                  </a:lnTo>
                  <a:lnTo>
                    <a:pt x="1924" y="472"/>
                  </a:lnTo>
                  <a:lnTo>
                    <a:pt x="1954" y="512"/>
                  </a:lnTo>
                  <a:lnTo>
                    <a:pt x="1984" y="554"/>
                  </a:lnTo>
                  <a:lnTo>
                    <a:pt x="2010" y="596"/>
                  </a:lnTo>
                  <a:lnTo>
                    <a:pt x="2036" y="640"/>
                  </a:lnTo>
                  <a:lnTo>
                    <a:pt x="2058" y="684"/>
                  </a:lnTo>
                  <a:lnTo>
                    <a:pt x="2078" y="730"/>
                  </a:lnTo>
                  <a:lnTo>
                    <a:pt x="2096" y="778"/>
                  </a:lnTo>
                  <a:lnTo>
                    <a:pt x="2112" y="826"/>
                  </a:lnTo>
                  <a:lnTo>
                    <a:pt x="2126" y="874"/>
                  </a:lnTo>
                  <a:lnTo>
                    <a:pt x="2136" y="924"/>
                  </a:lnTo>
                  <a:lnTo>
                    <a:pt x="2146" y="974"/>
                  </a:lnTo>
                  <a:lnTo>
                    <a:pt x="2152" y="1024"/>
                  </a:lnTo>
                  <a:lnTo>
                    <a:pt x="2156" y="1074"/>
                  </a:lnTo>
                  <a:lnTo>
                    <a:pt x="2156" y="1126"/>
                  </a:lnTo>
                  <a:lnTo>
                    <a:pt x="2156" y="1126"/>
                  </a:lnTo>
                  <a:lnTo>
                    <a:pt x="2156" y="1178"/>
                  </a:lnTo>
                  <a:lnTo>
                    <a:pt x="2152" y="1228"/>
                  </a:lnTo>
                  <a:lnTo>
                    <a:pt x="2146" y="1278"/>
                  </a:lnTo>
                  <a:lnTo>
                    <a:pt x="2136" y="1328"/>
                  </a:lnTo>
                  <a:lnTo>
                    <a:pt x="2126" y="1378"/>
                  </a:lnTo>
                  <a:lnTo>
                    <a:pt x="2112" y="1426"/>
                  </a:lnTo>
                  <a:lnTo>
                    <a:pt x="2096" y="1474"/>
                  </a:lnTo>
                  <a:lnTo>
                    <a:pt x="2078" y="1520"/>
                  </a:lnTo>
                  <a:lnTo>
                    <a:pt x="2058" y="1566"/>
                  </a:lnTo>
                  <a:lnTo>
                    <a:pt x="2036" y="1610"/>
                  </a:lnTo>
                  <a:lnTo>
                    <a:pt x="2010" y="1654"/>
                  </a:lnTo>
                  <a:lnTo>
                    <a:pt x="1984" y="1696"/>
                  </a:lnTo>
                  <a:lnTo>
                    <a:pt x="1954" y="1738"/>
                  </a:lnTo>
                  <a:lnTo>
                    <a:pt x="1924" y="1778"/>
                  </a:lnTo>
                  <a:lnTo>
                    <a:pt x="1890" y="1818"/>
                  </a:lnTo>
                  <a:lnTo>
                    <a:pt x="1854" y="1854"/>
                  </a:lnTo>
                  <a:lnTo>
                    <a:pt x="1854" y="1854"/>
                  </a:lnTo>
                  <a:lnTo>
                    <a:pt x="1816" y="1890"/>
                  </a:lnTo>
                  <a:lnTo>
                    <a:pt x="1778" y="1924"/>
                  </a:lnTo>
                  <a:lnTo>
                    <a:pt x="1738" y="1954"/>
                  </a:lnTo>
                  <a:lnTo>
                    <a:pt x="1696" y="1984"/>
                  </a:lnTo>
                  <a:lnTo>
                    <a:pt x="1654" y="2010"/>
                  </a:lnTo>
                  <a:lnTo>
                    <a:pt x="1610" y="2036"/>
                  </a:lnTo>
                  <a:lnTo>
                    <a:pt x="1566" y="2058"/>
                  </a:lnTo>
                  <a:lnTo>
                    <a:pt x="1520" y="2078"/>
                  </a:lnTo>
                  <a:lnTo>
                    <a:pt x="1474" y="2096"/>
                  </a:lnTo>
                  <a:lnTo>
                    <a:pt x="1426" y="2112"/>
                  </a:lnTo>
                  <a:lnTo>
                    <a:pt x="1378" y="2126"/>
                  </a:lnTo>
                  <a:lnTo>
                    <a:pt x="1328" y="2138"/>
                  </a:lnTo>
                  <a:lnTo>
                    <a:pt x="1278" y="2146"/>
                  </a:lnTo>
                  <a:lnTo>
                    <a:pt x="1228" y="2152"/>
                  </a:lnTo>
                  <a:lnTo>
                    <a:pt x="1178" y="2156"/>
                  </a:lnTo>
                  <a:lnTo>
                    <a:pt x="1126" y="2156"/>
                  </a:lnTo>
                  <a:lnTo>
                    <a:pt x="1126" y="2156"/>
                  </a:lnTo>
                  <a:lnTo>
                    <a:pt x="1074" y="2156"/>
                  </a:lnTo>
                  <a:lnTo>
                    <a:pt x="1024" y="2152"/>
                  </a:lnTo>
                  <a:lnTo>
                    <a:pt x="972" y="2146"/>
                  </a:lnTo>
                  <a:lnTo>
                    <a:pt x="922" y="2138"/>
                  </a:lnTo>
                  <a:lnTo>
                    <a:pt x="874" y="2126"/>
                  </a:lnTo>
                  <a:lnTo>
                    <a:pt x="826" y="2112"/>
                  </a:lnTo>
                  <a:lnTo>
                    <a:pt x="778" y="2096"/>
                  </a:lnTo>
                  <a:lnTo>
                    <a:pt x="730" y="2078"/>
                  </a:lnTo>
                  <a:lnTo>
                    <a:pt x="684" y="2058"/>
                  </a:lnTo>
                  <a:lnTo>
                    <a:pt x="640" y="2036"/>
                  </a:lnTo>
                  <a:lnTo>
                    <a:pt x="596" y="2012"/>
                  </a:lnTo>
                  <a:lnTo>
                    <a:pt x="554" y="1984"/>
                  </a:lnTo>
                  <a:lnTo>
                    <a:pt x="512" y="1954"/>
                  </a:lnTo>
                  <a:lnTo>
                    <a:pt x="472" y="1924"/>
                  </a:lnTo>
                  <a:lnTo>
                    <a:pt x="434" y="1890"/>
                  </a:lnTo>
                  <a:lnTo>
                    <a:pt x="396" y="1854"/>
                  </a:lnTo>
                  <a:lnTo>
                    <a:pt x="396" y="1854"/>
                  </a:lnTo>
                  <a:lnTo>
                    <a:pt x="362" y="1818"/>
                  </a:lnTo>
                  <a:lnTo>
                    <a:pt x="328" y="1778"/>
                  </a:lnTo>
                  <a:lnTo>
                    <a:pt x="296" y="1738"/>
                  </a:lnTo>
                  <a:lnTo>
                    <a:pt x="268" y="1698"/>
                  </a:lnTo>
                  <a:lnTo>
                    <a:pt x="240" y="1654"/>
                  </a:lnTo>
                  <a:lnTo>
                    <a:pt x="216" y="1612"/>
                  </a:lnTo>
                  <a:lnTo>
                    <a:pt x="194" y="1566"/>
                  </a:lnTo>
                  <a:lnTo>
                    <a:pt x="174" y="1520"/>
                  </a:lnTo>
                  <a:lnTo>
                    <a:pt x="156" y="1474"/>
                  </a:lnTo>
                  <a:lnTo>
                    <a:pt x="140" y="1426"/>
                  </a:lnTo>
                  <a:lnTo>
                    <a:pt x="126" y="1378"/>
                  </a:lnTo>
                  <a:lnTo>
                    <a:pt x="116" y="1328"/>
                  </a:lnTo>
                  <a:lnTo>
                    <a:pt x="106" y="1278"/>
                  </a:lnTo>
                  <a:lnTo>
                    <a:pt x="100" y="1228"/>
                  </a:lnTo>
                  <a:lnTo>
                    <a:pt x="96" y="1178"/>
                  </a:lnTo>
                  <a:lnTo>
                    <a:pt x="96" y="1126"/>
                  </a:lnTo>
                  <a:lnTo>
                    <a:pt x="96" y="1126"/>
                  </a:lnTo>
                  <a:lnTo>
                    <a:pt x="96" y="1074"/>
                  </a:lnTo>
                  <a:lnTo>
                    <a:pt x="100" y="1024"/>
                  </a:lnTo>
                  <a:lnTo>
                    <a:pt x="106" y="972"/>
                  </a:lnTo>
                  <a:lnTo>
                    <a:pt x="116" y="922"/>
                  </a:lnTo>
                  <a:lnTo>
                    <a:pt x="126" y="874"/>
                  </a:lnTo>
                  <a:lnTo>
                    <a:pt x="140" y="824"/>
                  </a:lnTo>
                  <a:lnTo>
                    <a:pt x="156" y="778"/>
                  </a:lnTo>
                  <a:lnTo>
                    <a:pt x="174" y="730"/>
                  </a:lnTo>
                  <a:lnTo>
                    <a:pt x="194" y="684"/>
                  </a:lnTo>
                  <a:lnTo>
                    <a:pt x="216" y="640"/>
                  </a:lnTo>
                  <a:lnTo>
                    <a:pt x="240" y="596"/>
                  </a:lnTo>
                  <a:lnTo>
                    <a:pt x="268" y="554"/>
                  </a:lnTo>
                  <a:lnTo>
                    <a:pt x="296" y="512"/>
                  </a:lnTo>
                  <a:lnTo>
                    <a:pt x="328" y="472"/>
                  </a:lnTo>
                  <a:lnTo>
                    <a:pt x="360" y="434"/>
                  </a:lnTo>
                  <a:lnTo>
                    <a:pt x="396" y="396"/>
                  </a:lnTo>
                  <a:lnTo>
                    <a:pt x="396" y="396"/>
                  </a:lnTo>
                  <a:lnTo>
                    <a:pt x="434" y="362"/>
                  </a:lnTo>
                  <a:lnTo>
                    <a:pt x="472" y="328"/>
                  </a:lnTo>
                  <a:lnTo>
                    <a:pt x="512" y="296"/>
                  </a:lnTo>
                  <a:lnTo>
                    <a:pt x="554" y="268"/>
                  </a:lnTo>
                  <a:lnTo>
                    <a:pt x="596" y="240"/>
                  </a:lnTo>
                  <a:lnTo>
                    <a:pt x="640" y="216"/>
                  </a:lnTo>
                  <a:lnTo>
                    <a:pt x="684" y="194"/>
                  </a:lnTo>
                  <a:lnTo>
                    <a:pt x="730" y="174"/>
                  </a:lnTo>
                  <a:lnTo>
                    <a:pt x="778" y="156"/>
                  </a:lnTo>
                  <a:lnTo>
                    <a:pt x="824" y="140"/>
                  </a:lnTo>
                  <a:lnTo>
                    <a:pt x="874" y="126"/>
                  </a:lnTo>
                  <a:lnTo>
                    <a:pt x="922" y="116"/>
                  </a:lnTo>
                  <a:lnTo>
                    <a:pt x="972" y="106"/>
                  </a:lnTo>
                  <a:lnTo>
                    <a:pt x="1024" y="100"/>
                  </a:lnTo>
                  <a:lnTo>
                    <a:pt x="1074" y="96"/>
                  </a:lnTo>
                  <a:lnTo>
                    <a:pt x="1126" y="96"/>
                  </a:lnTo>
                  <a:close/>
                  <a:moveTo>
                    <a:pt x="1126" y="0"/>
                  </a:moveTo>
                  <a:lnTo>
                    <a:pt x="1126" y="0"/>
                  </a:lnTo>
                  <a:lnTo>
                    <a:pt x="1068" y="2"/>
                  </a:lnTo>
                  <a:lnTo>
                    <a:pt x="1010" y="6"/>
                  </a:lnTo>
                  <a:lnTo>
                    <a:pt x="954" y="12"/>
                  </a:lnTo>
                  <a:lnTo>
                    <a:pt x="898" y="22"/>
                  </a:lnTo>
                  <a:lnTo>
                    <a:pt x="844" y="34"/>
                  </a:lnTo>
                  <a:lnTo>
                    <a:pt x="790" y="50"/>
                  </a:lnTo>
                  <a:lnTo>
                    <a:pt x="738" y="68"/>
                  </a:lnTo>
                  <a:lnTo>
                    <a:pt x="686" y="88"/>
                  </a:lnTo>
                  <a:lnTo>
                    <a:pt x="636" y="110"/>
                  </a:lnTo>
                  <a:lnTo>
                    <a:pt x="588" y="136"/>
                  </a:lnTo>
                  <a:lnTo>
                    <a:pt x="540" y="162"/>
                  </a:lnTo>
                  <a:lnTo>
                    <a:pt x="496" y="192"/>
                  </a:lnTo>
                  <a:lnTo>
                    <a:pt x="450" y="222"/>
                  </a:lnTo>
                  <a:lnTo>
                    <a:pt x="408" y="256"/>
                  </a:lnTo>
                  <a:lnTo>
                    <a:pt x="368" y="292"/>
                  </a:lnTo>
                  <a:lnTo>
                    <a:pt x="328" y="328"/>
                  </a:lnTo>
                  <a:lnTo>
                    <a:pt x="292" y="368"/>
                  </a:lnTo>
                  <a:lnTo>
                    <a:pt x="256" y="408"/>
                  </a:lnTo>
                  <a:lnTo>
                    <a:pt x="222" y="450"/>
                  </a:lnTo>
                  <a:lnTo>
                    <a:pt x="192" y="496"/>
                  </a:lnTo>
                  <a:lnTo>
                    <a:pt x="162" y="540"/>
                  </a:lnTo>
                  <a:lnTo>
                    <a:pt x="134" y="588"/>
                  </a:lnTo>
                  <a:lnTo>
                    <a:pt x="110" y="636"/>
                  </a:lnTo>
                  <a:lnTo>
                    <a:pt x="88" y="686"/>
                  </a:lnTo>
                  <a:lnTo>
                    <a:pt x="68" y="738"/>
                  </a:lnTo>
                  <a:lnTo>
                    <a:pt x="50" y="790"/>
                  </a:lnTo>
                  <a:lnTo>
                    <a:pt x="34" y="844"/>
                  </a:lnTo>
                  <a:lnTo>
                    <a:pt x="22" y="898"/>
                  </a:lnTo>
                  <a:lnTo>
                    <a:pt x="12" y="954"/>
                  </a:lnTo>
                  <a:lnTo>
                    <a:pt x="6" y="1010"/>
                  </a:lnTo>
                  <a:lnTo>
                    <a:pt x="0" y="1068"/>
                  </a:lnTo>
                  <a:lnTo>
                    <a:pt x="0" y="1126"/>
                  </a:lnTo>
                  <a:lnTo>
                    <a:pt x="0" y="1126"/>
                  </a:lnTo>
                  <a:lnTo>
                    <a:pt x="0" y="1184"/>
                  </a:lnTo>
                  <a:lnTo>
                    <a:pt x="6" y="1242"/>
                  </a:lnTo>
                  <a:lnTo>
                    <a:pt x="12" y="1298"/>
                  </a:lnTo>
                  <a:lnTo>
                    <a:pt x="22" y="1352"/>
                  </a:lnTo>
                  <a:lnTo>
                    <a:pt x="34" y="1408"/>
                  </a:lnTo>
                  <a:lnTo>
                    <a:pt x="50" y="1460"/>
                  </a:lnTo>
                  <a:lnTo>
                    <a:pt x="68" y="1512"/>
                  </a:lnTo>
                  <a:lnTo>
                    <a:pt x="88" y="1564"/>
                  </a:lnTo>
                  <a:lnTo>
                    <a:pt x="110" y="1614"/>
                  </a:lnTo>
                  <a:lnTo>
                    <a:pt x="134" y="1662"/>
                  </a:lnTo>
                  <a:lnTo>
                    <a:pt x="162" y="1710"/>
                  </a:lnTo>
                  <a:lnTo>
                    <a:pt x="192" y="1756"/>
                  </a:lnTo>
                  <a:lnTo>
                    <a:pt x="222" y="1800"/>
                  </a:lnTo>
                  <a:lnTo>
                    <a:pt x="256" y="1842"/>
                  </a:lnTo>
                  <a:lnTo>
                    <a:pt x="292" y="1884"/>
                  </a:lnTo>
                  <a:lnTo>
                    <a:pt x="328" y="1922"/>
                  </a:lnTo>
                  <a:lnTo>
                    <a:pt x="368" y="1960"/>
                  </a:lnTo>
                  <a:lnTo>
                    <a:pt x="408" y="1996"/>
                  </a:lnTo>
                  <a:lnTo>
                    <a:pt x="450" y="2028"/>
                  </a:lnTo>
                  <a:lnTo>
                    <a:pt x="496" y="2060"/>
                  </a:lnTo>
                  <a:lnTo>
                    <a:pt x="540" y="2090"/>
                  </a:lnTo>
                  <a:lnTo>
                    <a:pt x="588" y="2116"/>
                  </a:lnTo>
                  <a:lnTo>
                    <a:pt x="636" y="2142"/>
                  </a:lnTo>
                  <a:lnTo>
                    <a:pt x="686" y="2164"/>
                  </a:lnTo>
                  <a:lnTo>
                    <a:pt x="738" y="2184"/>
                  </a:lnTo>
                  <a:lnTo>
                    <a:pt x="790" y="2202"/>
                  </a:lnTo>
                  <a:lnTo>
                    <a:pt x="844" y="2218"/>
                  </a:lnTo>
                  <a:lnTo>
                    <a:pt x="898" y="2230"/>
                  </a:lnTo>
                  <a:lnTo>
                    <a:pt x="954" y="2240"/>
                  </a:lnTo>
                  <a:lnTo>
                    <a:pt x="1010" y="2248"/>
                  </a:lnTo>
                  <a:lnTo>
                    <a:pt x="1068" y="2252"/>
                  </a:lnTo>
                  <a:lnTo>
                    <a:pt x="1126" y="2252"/>
                  </a:lnTo>
                  <a:lnTo>
                    <a:pt x="1126" y="2252"/>
                  </a:lnTo>
                  <a:lnTo>
                    <a:pt x="1184" y="2252"/>
                  </a:lnTo>
                  <a:lnTo>
                    <a:pt x="1242" y="2248"/>
                  </a:lnTo>
                  <a:lnTo>
                    <a:pt x="1298" y="2240"/>
                  </a:lnTo>
                  <a:lnTo>
                    <a:pt x="1352" y="2230"/>
                  </a:lnTo>
                  <a:lnTo>
                    <a:pt x="1408" y="2218"/>
                  </a:lnTo>
                  <a:lnTo>
                    <a:pt x="1460" y="2202"/>
                  </a:lnTo>
                  <a:lnTo>
                    <a:pt x="1512" y="2184"/>
                  </a:lnTo>
                  <a:lnTo>
                    <a:pt x="1564" y="2164"/>
                  </a:lnTo>
                  <a:lnTo>
                    <a:pt x="1614" y="2142"/>
                  </a:lnTo>
                  <a:lnTo>
                    <a:pt x="1662" y="2116"/>
                  </a:lnTo>
                  <a:lnTo>
                    <a:pt x="1710" y="2090"/>
                  </a:lnTo>
                  <a:lnTo>
                    <a:pt x="1756" y="2060"/>
                  </a:lnTo>
                  <a:lnTo>
                    <a:pt x="1800" y="2028"/>
                  </a:lnTo>
                  <a:lnTo>
                    <a:pt x="1842" y="1996"/>
                  </a:lnTo>
                  <a:lnTo>
                    <a:pt x="1882" y="1960"/>
                  </a:lnTo>
                  <a:lnTo>
                    <a:pt x="1922" y="1922"/>
                  </a:lnTo>
                  <a:lnTo>
                    <a:pt x="1960" y="1884"/>
                  </a:lnTo>
                  <a:lnTo>
                    <a:pt x="1994" y="1842"/>
                  </a:lnTo>
                  <a:lnTo>
                    <a:pt x="2028" y="1800"/>
                  </a:lnTo>
                  <a:lnTo>
                    <a:pt x="2060" y="1756"/>
                  </a:lnTo>
                  <a:lnTo>
                    <a:pt x="2090" y="1710"/>
                  </a:lnTo>
                  <a:lnTo>
                    <a:pt x="2116" y="1662"/>
                  </a:lnTo>
                  <a:lnTo>
                    <a:pt x="2142" y="1614"/>
                  </a:lnTo>
                  <a:lnTo>
                    <a:pt x="2164" y="1564"/>
                  </a:lnTo>
                  <a:lnTo>
                    <a:pt x="2184" y="1512"/>
                  </a:lnTo>
                  <a:lnTo>
                    <a:pt x="2202" y="1460"/>
                  </a:lnTo>
                  <a:lnTo>
                    <a:pt x="2218" y="1408"/>
                  </a:lnTo>
                  <a:lnTo>
                    <a:pt x="2230" y="1352"/>
                  </a:lnTo>
                  <a:lnTo>
                    <a:pt x="2240" y="1298"/>
                  </a:lnTo>
                  <a:lnTo>
                    <a:pt x="2246" y="1242"/>
                  </a:lnTo>
                  <a:lnTo>
                    <a:pt x="2252" y="1184"/>
                  </a:lnTo>
                  <a:lnTo>
                    <a:pt x="2252" y="1126"/>
                  </a:lnTo>
                  <a:lnTo>
                    <a:pt x="2252" y="1126"/>
                  </a:lnTo>
                  <a:lnTo>
                    <a:pt x="2252" y="1068"/>
                  </a:lnTo>
                  <a:lnTo>
                    <a:pt x="2246" y="1010"/>
                  </a:lnTo>
                  <a:lnTo>
                    <a:pt x="2240" y="954"/>
                  </a:lnTo>
                  <a:lnTo>
                    <a:pt x="2230" y="898"/>
                  </a:lnTo>
                  <a:lnTo>
                    <a:pt x="2218" y="844"/>
                  </a:lnTo>
                  <a:lnTo>
                    <a:pt x="2202" y="790"/>
                  </a:lnTo>
                  <a:lnTo>
                    <a:pt x="2184" y="738"/>
                  </a:lnTo>
                  <a:lnTo>
                    <a:pt x="2164" y="686"/>
                  </a:lnTo>
                  <a:lnTo>
                    <a:pt x="2142" y="636"/>
                  </a:lnTo>
                  <a:lnTo>
                    <a:pt x="2116" y="588"/>
                  </a:lnTo>
                  <a:lnTo>
                    <a:pt x="2090" y="540"/>
                  </a:lnTo>
                  <a:lnTo>
                    <a:pt x="2060" y="496"/>
                  </a:lnTo>
                  <a:lnTo>
                    <a:pt x="2028" y="450"/>
                  </a:lnTo>
                  <a:lnTo>
                    <a:pt x="1994" y="408"/>
                  </a:lnTo>
                  <a:lnTo>
                    <a:pt x="1960" y="368"/>
                  </a:lnTo>
                  <a:lnTo>
                    <a:pt x="1922" y="328"/>
                  </a:lnTo>
                  <a:lnTo>
                    <a:pt x="1882" y="292"/>
                  </a:lnTo>
                  <a:lnTo>
                    <a:pt x="1842" y="256"/>
                  </a:lnTo>
                  <a:lnTo>
                    <a:pt x="1800" y="222"/>
                  </a:lnTo>
                  <a:lnTo>
                    <a:pt x="1756" y="192"/>
                  </a:lnTo>
                  <a:lnTo>
                    <a:pt x="1710" y="162"/>
                  </a:lnTo>
                  <a:lnTo>
                    <a:pt x="1662" y="136"/>
                  </a:lnTo>
                  <a:lnTo>
                    <a:pt x="1614" y="110"/>
                  </a:lnTo>
                  <a:lnTo>
                    <a:pt x="1564" y="88"/>
                  </a:lnTo>
                  <a:lnTo>
                    <a:pt x="1512" y="68"/>
                  </a:lnTo>
                  <a:lnTo>
                    <a:pt x="1460" y="50"/>
                  </a:lnTo>
                  <a:lnTo>
                    <a:pt x="1408" y="34"/>
                  </a:lnTo>
                  <a:lnTo>
                    <a:pt x="1352" y="22"/>
                  </a:lnTo>
                  <a:lnTo>
                    <a:pt x="1298" y="12"/>
                  </a:lnTo>
                  <a:lnTo>
                    <a:pt x="1242" y="6"/>
                  </a:lnTo>
                  <a:lnTo>
                    <a:pt x="1184" y="2"/>
                  </a:lnTo>
                  <a:lnTo>
                    <a:pt x="1126" y="0"/>
                  </a:lnTo>
                  <a:lnTo>
                    <a:pt x="11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2">
              <a:extLst>
                <a:ext uri="{FF2B5EF4-FFF2-40B4-BE49-F238E27FC236}">
                  <a16:creationId xmlns:a16="http://schemas.microsoft.com/office/drawing/2014/main" id="{151CFE6B-BDE4-4B46-924F-16437348972B}"/>
                </a:ext>
              </a:extLst>
            </p:cNvPr>
            <p:cNvSpPr>
              <a:spLocks/>
            </p:cNvSpPr>
            <p:nvPr/>
          </p:nvSpPr>
          <p:spPr bwMode="auto">
            <a:xfrm>
              <a:off x="6926263" y="-1355725"/>
              <a:ext cx="2311400" cy="885825"/>
            </a:xfrm>
            <a:custGeom>
              <a:avLst/>
              <a:gdLst>
                <a:gd name="T0" fmla="*/ 1432 w 1456"/>
                <a:gd name="T1" fmla="*/ 14 h 558"/>
                <a:gd name="T2" fmla="*/ 1432 w 1456"/>
                <a:gd name="T3" fmla="*/ 12 h 558"/>
                <a:gd name="T4" fmla="*/ 1430 w 1456"/>
                <a:gd name="T5" fmla="*/ 12 h 558"/>
                <a:gd name="T6" fmla="*/ 1430 w 1456"/>
                <a:gd name="T7" fmla="*/ 12 h 558"/>
                <a:gd name="T8" fmla="*/ 1420 w 1456"/>
                <a:gd name="T9" fmla="*/ 6 h 558"/>
                <a:gd name="T10" fmla="*/ 1408 w 1456"/>
                <a:gd name="T11" fmla="*/ 4 h 558"/>
                <a:gd name="T12" fmla="*/ 1396 w 1456"/>
                <a:gd name="T13" fmla="*/ 0 h 558"/>
                <a:gd name="T14" fmla="*/ 1384 w 1456"/>
                <a:gd name="T15" fmla="*/ 0 h 558"/>
                <a:gd name="T16" fmla="*/ 1384 w 1456"/>
                <a:gd name="T17" fmla="*/ 0 h 558"/>
                <a:gd name="T18" fmla="*/ 1372 w 1456"/>
                <a:gd name="T19" fmla="*/ 0 h 558"/>
                <a:gd name="T20" fmla="*/ 1360 w 1456"/>
                <a:gd name="T21" fmla="*/ 4 h 558"/>
                <a:gd name="T22" fmla="*/ 1348 w 1456"/>
                <a:gd name="T23" fmla="*/ 6 h 558"/>
                <a:gd name="T24" fmla="*/ 1338 w 1456"/>
                <a:gd name="T25" fmla="*/ 12 h 558"/>
                <a:gd name="T26" fmla="*/ 1336 w 1456"/>
                <a:gd name="T27" fmla="*/ 12 h 558"/>
                <a:gd name="T28" fmla="*/ 1336 w 1456"/>
                <a:gd name="T29" fmla="*/ 14 h 558"/>
                <a:gd name="T30" fmla="*/ 728 w 1456"/>
                <a:gd name="T31" fmla="*/ 428 h 558"/>
                <a:gd name="T32" fmla="*/ 116 w 1456"/>
                <a:gd name="T33" fmla="*/ 14 h 558"/>
                <a:gd name="T34" fmla="*/ 116 w 1456"/>
                <a:gd name="T35" fmla="*/ 14 h 558"/>
                <a:gd name="T36" fmla="*/ 106 w 1456"/>
                <a:gd name="T37" fmla="*/ 8 h 558"/>
                <a:gd name="T38" fmla="*/ 96 w 1456"/>
                <a:gd name="T39" fmla="*/ 4 h 558"/>
                <a:gd name="T40" fmla="*/ 84 w 1456"/>
                <a:gd name="T41" fmla="*/ 2 h 558"/>
                <a:gd name="T42" fmla="*/ 70 w 1456"/>
                <a:gd name="T43" fmla="*/ 0 h 558"/>
                <a:gd name="T44" fmla="*/ 70 w 1456"/>
                <a:gd name="T45" fmla="*/ 0 h 558"/>
                <a:gd name="T46" fmla="*/ 58 w 1456"/>
                <a:gd name="T47" fmla="*/ 2 h 558"/>
                <a:gd name="T48" fmla="*/ 46 w 1456"/>
                <a:gd name="T49" fmla="*/ 4 h 558"/>
                <a:gd name="T50" fmla="*/ 34 w 1456"/>
                <a:gd name="T51" fmla="*/ 8 h 558"/>
                <a:gd name="T52" fmla="*/ 24 w 1456"/>
                <a:gd name="T53" fmla="*/ 14 h 558"/>
                <a:gd name="T54" fmla="*/ 24 w 1456"/>
                <a:gd name="T55" fmla="*/ 14 h 558"/>
                <a:gd name="T56" fmla="*/ 14 w 1456"/>
                <a:gd name="T57" fmla="*/ 22 h 558"/>
                <a:gd name="T58" fmla="*/ 6 w 1456"/>
                <a:gd name="T59" fmla="*/ 32 h 558"/>
                <a:gd name="T60" fmla="*/ 2 w 1456"/>
                <a:gd name="T61" fmla="*/ 44 h 558"/>
                <a:gd name="T62" fmla="*/ 0 w 1456"/>
                <a:gd name="T63" fmla="*/ 56 h 558"/>
                <a:gd name="T64" fmla="*/ 0 w 1456"/>
                <a:gd name="T65" fmla="*/ 56 h 558"/>
                <a:gd name="T66" fmla="*/ 2 w 1456"/>
                <a:gd name="T67" fmla="*/ 68 h 558"/>
                <a:gd name="T68" fmla="*/ 6 w 1456"/>
                <a:gd name="T69" fmla="*/ 80 h 558"/>
                <a:gd name="T70" fmla="*/ 14 w 1456"/>
                <a:gd name="T71" fmla="*/ 90 h 558"/>
                <a:gd name="T72" fmla="*/ 24 w 1456"/>
                <a:gd name="T73" fmla="*/ 98 h 558"/>
                <a:gd name="T74" fmla="*/ 680 w 1456"/>
                <a:gd name="T75" fmla="*/ 546 h 558"/>
                <a:gd name="T76" fmla="*/ 680 w 1456"/>
                <a:gd name="T77" fmla="*/ 546 h 558"/>
                <a:gd name="T78" fmla="*/ 690 w 1456"/>
                <a:gd name="T79" fmla="*/ 550 h 558"/>
                <a:gd name="T80" fmla="*/ 702 w 1456"/>
                <a:gd name="T81" fmla="*/ 556 h 558"/>
                <a:gd name="T82" fmla="*/ 714 w 1456"/>
                <a:gd name="T83" fmla="*/ 558 h 558"/>
                <a:gd name="T84" fmla="*/ 728 w 1456"/>
                <a:gd name="T85" fmla="*/ 558 h 558"/>
                <a:gd name="T86" fmla="*/ 728 w 1456"/>
                <a:gd name="T87" fmla="*/ 558 h 558"/>
                <a:gd name="T88" fmla="*/ 738 w 1456"/>
                <a:gd name="T89" fmla="*/ 558 h 558"/>
                <a:gd name="T90" fmla="*/ 750 w 1456"/>
                <a:gd name="T91" fmla="*/ 556 h 558"/>
                <a:gd name="T92" fmla="*/ 762 w 1456"/>
                <a:gd name="T93" fmla="*/ 552 h 558"/>
                <a:gd name="T94" fmla="*/ 772 w 1456"/>
                <a:gd name="T95" fmla="*/ 546 h 558"/>
                <a:gd name="T96" fmla="*/ 1432 w 1456"/>
                <a:gd name="T97" fmla="*/ 98 h 558"/>
                <a:gd name="T98" fmla="*/ 1432 w 1456"/>
                <a:gd name="T99" fmla="*/ 98 h 558"/>
                <a:gd name="T100" fmla="*/ 1442 w 1456"/>
                <a:gd name="T101" fmla="*/ 90 h 558"/>
                <a:gd name="T102" fmla="*/ 1450 w 1456"/>
                <a:gd name="T103" fmla="*/ 80 h 558"/>
                <a:gd name="T104" fmla="*/ 1454 w 1456"/>
                <a:gd name="T105" fmla="*/ 68 h 558"/>
                <a:gd name="T106" fmla="*/ 1456 w 1456"/>
                <a:gd name="T107" fmla="*/ 56 h 558"/>
                <a:gd name="T108" fmla="*/ 1456 w 1456"/>
                <a:gd name="T109" fmla="*/ 56 h 558"/>
                <a:gd name="T110" fmla="*/ 1454 w 1456"/>
                <a:gd name="T111" fmla="*/ 44 h 558"/>
                <a:gd name="T112" fmla="*/ 1450 w 1456"/>
                <a:gd name="T113" fmla="*/ 32 h 558"/>
                <a:gd name="T114" fmla="*/ 1442 w 1456"/>
                <a:gd name="T115" fmla="*/ 22 h 558"/>
                <a:gd name="T116" fmla="*/ 1432 w 1456"/>
                <a:gd name="T117" fmla="*/ 14 h 558"/>
                <a:gd name="T118" fmla="*/ 1432 w 1456"/>
                <a:gd name="T119" fmla="*/ 1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56" h="558">
                  <a:moveTo>
                    <a:pt x="1432" y="14"/>
                  </a:moveTo>
                  <a:lnTo>
                    <a:pt x="1432" y="12"/>
                  </a:lnTo>
                  <a:lnTo>
                    <a:pt x="1430" y="12"/>
                  </a:lnTo>
                  <a:lnTo>
                    <a:pt x="1430" y="12"/>
                  </a:lnTo>
                  <a:lnTo>
                    <a:pt x="1420" y="6"/>
                  </a:lnTo>
                  <a:lnTo>
                    <a:pt x="1408" y="4"/>
                  </a:lnTo>
                  <a:lnTo>
                    <a:pt x="1396" y="0"/>
                  </a:lnTo>
                  <a:lnTo>
                    <a:pt x="1384" y="0"/>
                  </a:lnTo>
                  <a:lnTo>
                    <a:pt x="1384" y="0"/>
                  </a:lnTo>
                  <a:lnTo>
                    <a:pt x="1372" y="0"/>
                  </a:lnTo>
                  <a:lnTo>
                    <a:pt x="1360" y="4"/>
                  </a:lnTo>
                  <a:lnTo>
                    <a:pt x="1348" y="6"/>
                  </a:lnTo>
                  <a:lnTo>
                    <a:pt x="1338" y="12"/>
                  </a:lnTo>
                  <a:lnTo>
                    <a:pt x="1336" y="12"/>
                  </a:lnTo>
                  <a:lnTo>
                    <a:pt x="1336" y="14"/>
                  </a:lnTo>
                  <a:lnTo>
                    <a:pt x="728" y="428"/>
                  </a:lnTo>
                  <a:lnTo>
                    <a:pt x="116" y="14"/>
                  </a:lnTo>
                  <a:lnTo>
                    <a:pt x="116" y="14"/>
                  </a:lnTo>
                  <a:lnTo>
                    <a:pt x="106" y="8"/>
                  </a:lnTo>
                  <a:lnTo>
                    <a:pt x="96" y="4"/>
                  </a:lnTo>
                  <a:lnTo>
                    <a:pt x="84" y="2"/>
                  </a:lnTo>
                  <a:lnTo>
                    <a:pt x="70" y="0"/>
                  </a:lnTo>
                  <a:lnTo>
                    <a:pt x="70" y="0"/>
                  </a:lnTo>
                  <a:lnTo>
                    <a:pt x="58" y="2"/>
                  </a:lnTo>
                  <a:lnTo>
                    <a:pt x="46" y="4"/>
                  </a:lnTo>
                  <a:lnTo>
                    <a:pt x="34" y="8"/>
                  </a:lnTo>
                  <a:lnTo>
                    <a:pt x="24" y="14"/>
                  </a:lnTo>
                  <a:lnTo>
                    <a:pt x="24" y="14"/>
                  </a:lnTo>
                  <a:lnTo>
                    <a:pt x="14" y="22"/>
                  </a:lnTo>
                  <a:lnTo>
                    <a:pt x="6" y="32"/>
                  </a:lnTo>
                  <a:lnTo>
                    <a:pt x="2" y="44"/>
                  </a:lnTo>
                  <a:lnTo>
                    <a:pt x="0" y="56"/>
                  </a:lnTo>
                  <a:lnTo>
                    <a:pt x="0" y="56"/>
                  </a:lnTo>
                  <a:lnTo>
                    <a:pt x="2" y="68"/>
                  </a:lnTo>
                  <a:lnTo>
                    <a:pt x="6" y="80"/>
                  </a:lnTo>
                  <a:lnTo>
                    <a:pt x="14" y="90"/>
                  </a:lnTo>
                  <a:lnTo>
                    <a:pt x="24" y="98"/>
                  </a:lnTo>
                  <a:lnTo>
                    <a:pt x="680" y="546"/>
                  </a:lnTo>
                  <a:lnTo>
                    <a:pt x="680" y="546"/>
                  </a:lnTo>
                  <a:lnTo>
                    <a:pt x="690" y="550"/>
                  </a:lnTo>
                  <a:lnTo>
                    <a:pt x="702" y="556"/>
                  </a:lnTo>
                  <a:lnTo>
                    <a:pt x="714" y="558"/>
                  </a:lnTo>
                  <a:lnTo>
                    <a:pt x="728" y="558"/>
                  </a:lnTo>
                  <a:lnTo>
                    <a:pt x="728" y="558"/>
                  </a:lnTo>
                  <a:lnTo>
                    <a:pt x="738" y="558"/>
                  </a:lnTo>
                  <a:lnTo>
                    <a:pt x="750" y="556"/>
                  </a:lnTo>
                  <a:lnTo>
                    <a:pt x="762" y="552"/>
                  </a:lnTo>
                  <a:lnTo>
                    <a:pt x="772" y="546"/>
                  </a:lnTo>
                  <a:lnTo>
                    <a:pt x="1432" y="98"/>
                  </a:lnTo>
                  <a:lnTo>
                    <a:pt x="1432" y="98"/>
                  </a:lnTo>
                  <a:lnTo>
                    <a:pt x="1442" y="90"/>
                  </a:lnTo>
                  <a:lnTo>
                    <a:pt x="1450" y="80"/>
                  </a:lnTo>
                  <a:lnTo>
                    <a:pt x="1454" y="68"/>
                  </a:lnTo>
                  <a:lnTo>
                    <a:pt x="1456" y="56"/>
                  </a:lnTo>
                  <a:lnTo>
                    <a:pt x="1456" y="56"/>
                  </a:lnTo>
                  <a:lnTo>
                    <a:pt x="1454" y="44"/>
                  </a:lnTo>
                  <a:lnTo>
                    <a:pt x="1450" y="32"/>
                  </a:lnTo>
                  <a:lnTo>
                    <a:pt x="1442" y="22"/>
                  </a:lnTo>
                  <a:lnTo>
                    <a:pt x="1432" y="14"/>
                  </a:lnTo>
                  <a:lnTo>
                    <a:pt x="1432"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3">
              <a:extLst>
                <a:ext uri="{FF2B5EF4-FFF2-40B4-BE49-F238E27FC236}">
                  <a16:creationId xmlns:a16="http://schemas.microsoft.com/office/drawing/2014/main" id="{35FF062A-86BA-4789-BFC2-400A4CA513C0}"/>
                </a:ext>
              </a:extLst>
            </p:cNvPr>
            <p:cNvSpPr>
              <a:spLocks/>
            </p:cNvSpPr>
            <p:nvPr/>
          </p:nvSpPr>
          <p:spPr bwMode="auto">
            <a:xfrm>
              <a:off x="6926263" y="-1736725"/>
              <a:ext cx="2311400" cy="885825"/>
            </a:xfrm>
            <a:custGeom>
              <a:avLst/>
              <a:gdLst>
                <a:gd name="T0" fmla="*/ 1432 w 1456"/>
                <a:gd name="T1" fmla="*/ 12 h 558"/>
                <a:gd name="T2" fmla="*/ 1430 w 1456"/>
                <a:gd name="T3" fmla="*/ 12 h 558"/>
                <a:gd name="T4" fmla="*/ 1408 w 1456"/>
                <a:gd name="T5" fmla="*/ 2 h 558"/>
                <a:gd name="T6" fmla="*/ 1384 w 1456"/>
                <a:gd name="T7" fmla="*/ 0 h 558"/>
                <a:gd name="T8" fmla="*/ 1372 w 1456"/>
                <a:gd name="T9" fmla="*/ 0 h 558"/>
                <a:gd name="T10" fmla="*/ 1348 w 1456"/>
                <a:gd name="T11" fmla="*/ 6 h 558"/>
                <a:gd name="T12" fmla="*/ 1336 w 1456"/>
                <a:gd name="T13" fmla="*/ 12 h 558"/>
                <a:gd name="T14" fmla="*/ 728 w 1456"/>
                <a:gd name="T15" fmla="*/ 428 h 558"/>
                <a:gd name="T16" fmla="*/ 116 w 1456"/>
                <a:gd name="T17" fmla="*/ 14 h 558"/>
                <a:gd name="T18" fmla="*/ 96 w 1456"/>
                <a:gd name="T19" fmla="*/ 4 h 558"/>
                <a:gd name="T20" fmla="*/ 70 w 1456"/>
                <a:gd name="T21" fmla="*/ 0 h 558"/>
                <a:gd name="T22" fmla="*/ 58 w 1456"/>
                <a:gd name="T23" fmla="*/ 0 h 558"/>
                <a:gd name="T24" fmla="*/ 34 w 1456"/>
                <a:gd name="T25" fmla="*/ 8 h 558"/>
                <a:gd name="T26" fmla="*/ 22 w 1456"/>
                <a:gd name="T27" fmla="*/ 14 h 558"/>
                <a:gd name="T28" fmla="*/ 22 w 1456"/>
                <a:gd name="T29" fmla="*/ 14 h 558"/>
                <a:gd name="T30" fmla="*/ 4 w 1456"/>
                <a:gd name="T31" fmla="*/ 38 h 558"/>
                <a:gd name="T32" fmla="*/ 0 w 1456"/>
                <a:gd name="T33" fmla="*/ 56 h 558"/>
                <a:gd name="T34" fmla="*/ 0 w 1456"/>
                <a:gd name="T35" fmla="*/ 66 h 558"/>
                <a:gd name="T36" fmla="*/ 10 w 1456"/>
                <a:gd name="T37" fmla="*/ 88 h 558"/>
                <a:gd name="T38" fmla="*/ 22 w 1456"/>
                <a:gd name="T39" fmla="*/ 100 h 558"/>
                <a:gd name="T40" fmla="*/ 680 w 1456"/>
                <a:gd name="T41" fmla="*/ 546 h 558"/>
                <a:gd name="T42" fmla="*/ 690 w 1456"/>
                <a:gd name="T43" fmla="*/ 550 h 558"/>
                <a:gd name="T44" fmla="*/ 714 w 1456"/>
                <a:gd name="T45" fmla="*/ 558 h 558"/>
                <a:gd name="T46" fmla="*/ 728 w 1456"/>
                <a:gd name="T47" fmla="*/ 558 h 558"/>
                <a:gd name="T48" fmla="*/ 750 w 1456"/>
                <a:gd name="T49" fmla="*/ 556 h 558"/>
                <a:gd name="T50" fmla="*/ 772 w 1456"/>
                <a:gd name="T51" fmla="*/ 546 h 558"/>
                <a:gd name="T52" fmla="*/ 1434 w 1456"/>
                <a:gd name="T53" fmla="*/ 100 h 558"/>
                <a:gd name="T54" fmla="*/ 1434 w 1456"/>
                <a:gd name="T55" fmla="*/ 98 h 558"/>
                <a:gd name="T56" fmla="*/ 1452 w 1456"/>
                <a:gd name="T57" fmla="*/ 76 h 558"/>
                <a:gd name="T58" fmla="*/ 1456 w 1456"/>
                <a:gd name="T59" fmla="*/ 56 h 558"/>
                <a:gd name="T60" fmla="*/ 1456 w 1456"/>
                <a:gd name="T61" fmla="*/ 48 h 558"/>
                <a:gd name="T62" fmla="*/ 1446 w 1456"/>
                <a:gd name="T63" fmla="*/ 26 h 558"/>
                <a:gd name="T64" fmla="*/ 1434 w 1456"/>
                <a:gd name="T65" fmla="*/ 1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56" h="558">
                  <a:moveTo>
                    <a:pt x="1434" y="14"/>
                  </a:moveTo>
                  <a:lnTo>
                    <a:pt x="1432" y="12"/>
                  </a:lnTo>
                  <a:lnTo>
                    <a:pt x="1430" y="12"/>
                  </a:lnTo>
                  <a:lnTo>
                    <a:pt x="1430" y="12"/>
                  </a:lnTo>
                  <a:lnTo>
                    <a:pt x="1420" y="6"/>
                  </a:lnTo>
                  <a:lnTo>
                    <a:pt x="1408" y="2"/>
                  </a:lnTo>
                  <a:lnTo>
                    <a:pt x="1396" y="0"/>
                  </a:lnTo>
                  <a:lnTo>
                    <a:pt x="1384" y="0"/>
                  </a:lnTo>
                  <a:lnTo>
                    <a:pt x="1384" y="0"/>
                  </a:lnTo>
                  <a:lnTo>
                    <a:pt x="1372" y="0"/>
                  </a:lnTo>
                  <a:lnTo>
                    <a:pt x="1360" y="2"/>
                  </a:lnTo>
                  <a:lnTo>
                    <a:pt x="1348" y="6"/>
                  </a:lnTo>
                  <a:lnTo>
                    <a:pt x="1338" y="12"/>
                  </a:lnTo>
                  <a:lnTo>
                    <a:pt x="1336" y="12"/>
                  </a:lnTo>
                  <a:lnTo>
                    <a:pt x="1336" y="14"/>
                  </a:lnTo>
                  <a:lnTo>
                    <a:pt x="728" y="428"/>
                  </a:lnTo>
                  <a:lnTo>
                    <a:pt x="116" y="14"/>
                  </a:lnTo>
                  <a:lnTo>
                    <a:pt x="116" y="14"/>
                  </a:lnTo>
                  <a:lnTo>
                    <a:pt x="106" y="8"/>
                  </a:lnTo>
                  <a:lnTo>
                    <a:pt x="96" y="4"/>
                  </a:lnTo>
                  <a:lnTo>
                    <a:pt x="84" y="0"/>
                  </a:lnTo>
                  <a:lnTo>
                    <a:pt x="70" y="0"/>
                  </a:lnTo>
                  <a:lnTo>
                    <a:pt x="70" y="0"/>
                  </a:lnTo>
                  <a:lnTo>
                    <a:pt x="58" y="0"/>
                  </a:lnTo>
                  <a:lnTo>
                    <a:pt x="46" y="4"/>
                  </a:lnTo>
                  <a:lnTo>
                    <a:pt x="34" y="8"/>
                  </a:lnTo>
                  <a:lnTo>
                    <a:pt x="24" y="14"/>
                  </a:lnTo>
                  <a:lnTo>
                    <a:pt x="22" y="14"/>
                  </a:lnTo>
                  <a:lnTo>
                    <a:pt x="22" y="14"/>
                  </a:lnTo>
                  <a:lnTo>
                    <a:pt x="22" y="14"/>
                  </a:lnTo>
                  <a:lnTo>
                    <a:pt x="10" y="26"/>
                  </a:lnTo>
                  <a:lnTo>
                    <a:pt x="4" y="38"/>
                  </a:lnTo>
                  <a:lnTo>
                    <a:pt x="0" y="48"/>
                  </a:lnTo>
                  <a:lnTo>
                    <a:pt x="0" y="56"/>
                  </a:lnTo>
                  <a:lnTo>
                    <a:pt x="0" y="56"/>
                  </a:lnTo>
                  <a:lnTo>
                    <a:pt x="0" y="66"/>
                  </a:lnTo>
                  <a:lnTo>
                    <a:pt x="4" y="76"/>
                  </a:lnTo>
                  <a:lnTo>
                    <a:pt x="10" y="88"/>
                  </a:lnTo>
                  <a:lnTo>
                    <a:pt x="22" y="98"/>
                  </a:lnTo>
                  <a:lnTo>
                    <a:pt x="22" y="100"/>
                  </a:lnTo>
                  <a:lnTo>
                    <a:pt x="24" y="100"/>
                  </a:lnTo>
                  <a:lnTo>
                    <a:pt x="680" y="546"/>
                  </a:lnTo>
                  <a:lnTo>
                    <a:pt x="680" y="546"/>
                  </a:lnTo>
                  <a:lnTo>
                    <a:pt x="690" y="550"/>
                  </a:lnTo>
                  <a:lnTo>
                    <a:pt x="702" y="554"/>
                  </a:lnTo>
                  <a:lnTo>
                    <a:pt x="714" y="558"/>
                  </a:lnTo>
                  <a:lnTo>
                    <a:pt x="728" y="558"/>
                  </a:lnTo>
                  <a:lnTo>
                    <a:pt x="728" y="558"/>
                  </a:lnTo>
                  <a:lnTo>
                    <a:pt x="738" y="558"/>
                  </a:lnTo>
                  <a:lnTo>
                    <a:pt x="750" y="556"/>
                  </a:lnTo>
                  <a:lnTo>
                    <a:pt x="762" y="552"/>
                  </a:lnTo>
                  <a:lnTo>
                    <a:pt x="772" y="546"/>
                  </a:lnTo>
                  <a:lnTo>
                    <a:pt x="1432" y="100"/>
                  </a:lnTo>
                  <a:lnTo>
                    <a:pt x="1434" y="100"/>
                  </a:lnTo>
                  <a:lnTo>
                    <a:pt x="1434" y="98"/>
                  </a:lnTo>
                  <a:lnTo>
                    <a:pt x="1434" y="98"/>
                  </a:lnTo>
                  <a:lnTo>
                    <a:pt x="1446" y="88"/>
                  </a:lnTo>
                  <a:lnTo>
                    <a:pt x="1452" y="76"/>
                  </a:lnTo>
                  <a:lnTo>
                    <a:pt x="1456" y="66"/>
                  </a:lnTo>
                  <a:lnTo>
                    <a:pt x="1456" y="56"/>
                  </a:lnTo>
                  <a:lnTo>
                    <a:pt x="1456" y="56"/>
                  </a:lnTo>
                  <a:lnTo>
                    <a:pt x="1456" y="48"/>
                  </a:lnTo>
                  <a:lnTo>
                    <a:pt x="1452" y="38"/>
                  </a:lnTo>
                  <a:lnTo>
                    <a:pt x="1446" y="26"/>
                  </a:lnTo>
                  <a:lnTo>
                    <a:pt x="1434" y="14"/>
                  </a:lnTo>
                  <a:lnTo>
                    <a:pt x="143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4">
              <a:extLst>
                <a:ext uri="{FF2B5EF4-FFF2-40B4-BE49-F238E27FC236}">
                  <a16:creationId xmlns:a16="http://schemas.microsoft.com/office/drawing/2014/main" id="{95D4215A-41EC-4B23-8416-3EB15F363C8F}"/>
                </a:ext>
              </a:extLst>
            </p:cNvPr>
            <p:cNvSpPr>
              <a:spLocks/>
            </p:cNvSpPr>
            <p:nvPr/>
          </p:nvSpPr>
          <p:spPr bwMode="auto">
            <a:xfrm>
              <a:off x="6926263" y="-2143125"/>
              <a:ext cx="2311400" cy="885825"/>
            </a:xfrm>
            <a:custGeom>
              <a:avLst/>
              <a:gdLst>
                <a:gd name="T0" fmla="*/ 1432 w 1456"/>
                <a:gd name="T1" fmla="*/ 12 h 558"/>
                <a:gd name="T2" fmla="*/ 1432 w 1456"/>
                <a:gd name="T3" fmla="*/ 12 h 558"/>
                <a:gd name="T4" fmla="*/ 1430 w 1456"/>
                <a:gd name="T5" fmla="*/ 12 h 558"/>
                <a:gd name="T6" fmla="*/ 1430 w 1456"/>
                <a:gd name="T7" fmla="*/ 12 h 558"/>
                <a:gd name="T8" fmla="*/ 1420 w 1456"/>
                <a:gd name="T9" fmla="*/ 6 h 558"/>
                <a:gd name="T10" fmla="*/ 1408 w 1456"/>
                <a:gd name="T11" fmla="*/ 2 h 558"/>
                <a:gd name="T12" fmla="*/ 1396 w 1456"/>
                <a:gd name="T13" fmla="*/ 0 h 558"/>
                <a:gd name="T14" fmla="*/ 1384 w 1456"/>
                <a:gd name="T15" fmla="*/ 0 h 558"/>
                <a:gd name="T16" fmla="*/ 1384 w 1456"/>
                <a:gd name="T17" fmla="*/ 0 h 558"/>
                <a:gd name="T18" fmla="*/ 1372 w 1456"/>
                <a:gd name="T19" fmla="*/ 0 h 558"/>
                <a:gd name="T20" fmla="*/ 1360 w 1456"/>
                <a:gd name="T21" fmla="*/ 2 h 558"/>
                <a:gd name="T22" fmla="*/ 1348 w 1456"/>
                <a:gd name="T23" fmla="*/ 6 h 558"/>
                <a:gd name="T24" fmla="*/ 1338 w 1456"/>
                <a:gd name="T25" fmla="*/ 12 h 558"/>
                <a:gd name="T26" fmla="*/ 1336 w 1456"/>
                <a:gd name="T27" fmla="*/ 12 h 558"/>
                <a:gd name="T28" fmla="*/ 1336 w 1456"/>
                <a:gd name="T29" fmla="*/ 12 h 558"/>
                <a:gd name="T30" fmla="*/ 728 w 1456"/>
                <a:gd name="T31" fmla="*/ 428 h 558"/>
                <a:gd name="T32" fmla="*/ 116 w 1456"/>
                <a:gd name="T33" fmla="*/ 12 h 558"/>
                <a:gd name="T34" fmla="*/ 116 w 1456"/>
                <a:gd name="T35" fmla="*/ 12 h 558"/>
                <a:gd name="T36" fmla="*/ 106 w 1456"/>
                <a:gd name="T37" fmla="*/ 6 h 558"/>
                <a:gd name="T38" fmla="*/ 96 w 1456"/>
                <a:gd name="T39" fmla="*/ 2 h 558"/>
                <a:gd name="T40" fmla="*/ 84 w 1456"/>
                <a:gd name="T41" fmla="*/ 0 h 558"/>
                <a:gd name="T42" fmla="*/ 70 w 1456"/>
                <a:gd name="T43" fmla="*/ 0 h 558"/>
                <a:gd name="T44" fmla="*/ 70 w 1456"/>
                <a:gd name="T45" fmla="*/ 0 h 558"/>
                <a:gd name="T46" fmla="*/ 58 w 1456"/>
                <a:gd name="T47" fmla="*/ 0 h 558"/>
                <a:gd name="T48" fmla="*/ 46 w 1456"/>
                <a:gd name="T49" fmla="*/ 2 h 558"/>
                <a:gd name="T50" fmla="*/ 34 w 1456"/>
                <a:gd name="T51" fmla="*/ 6 h 558"/>
                <a:gd name="T52" fmla="*/ 24 w 1456"/>
                <a:gd name="T53" fmla="*/ 12 h 558"/>
                <a:gd name="T54" fmla="*/ 24 w 1456"/>
                <a:gd name="T55" fmla="*/ 12 h 558"/>
                <a:gd name="T56" fmla="*/ 14 w 1456"/>
                <a:gd name="T57" fmla="*/ 22 h 558"/>
                <a:gd name="T58" fmla="*/ 6 w 1456"/>
                <a:gd name="T59" fmla="*/ 32 h 558"/>
                <a:gd name="T60" fmla="*/ 2 w 1456"/>
                <a:gd name="T61" fmla="*/ 42 h 558"/>
                <a:gd name="T62" fmla="*/ 0 w 1456"/>
                <a:gd name="T63" fmla="*/ 54 h 558"/>
                <a:gd name="T64" fmla="*/ 0 w 1456"/>
                <a:gd name="T65" fmla="*/ 54 h 558"/>
                <a:gd name="T66" fmla="*/ 2 w 1456"/>
                <a:gd name="T67" fmla="*/ 66 h 558"/>
                <a:gd name="T68" fmla="*/ 6 w 1456"/>
                <a:gd name="T69" fmla="*/ 78 h 558"/>
                <a:gd name="T70" fmla="*/ 14 w 1456"/>
                <a:gd name="T71" fmla="*/ 88 h 558"/>
                <a:gd name="T72" fmla="*/ 24 w 1456"/>
                <a:gd name="T73" fmla="*/ 96 h 558"/>
                <a:gd name="T74" fmla="*/ 680 w 1456"/>
                <a:gd name="T75" fmla="*/ 544 h 558"/>
                <a:gd name="T76" fmla="*/ 680 w 1456"/>
                <a:gd name="T77" fmla="*/ 544 h 558"/>
                <a:gd name="T78" fmla="*/ 690 w 1456"/>
                <a:gd name="T79" fmla="*/ 550 h 558"/>
                <a:gd name="T80" fmla="*/ 702 w 1456"/>
                <a:gd name="T81" fmla="*/ 554 h 558"/>
                <a:gd name="T82" fmla="*/ 714 w 1456"/>
                <a:gd name="T83" fmla="*/ 556 h 558"/>
                <a:gd name="T84" fmla="*/ 728 w 1456"/>
                <a:gd name="T85" fmla="*/ 558 h 558"/>
                <a:gd name="T86" fmla="*/ 728 w 1456"/>
                <a:gd name="T87" fmla="*/ 558 h 558"/>
                <a:gd name="T88" fmla="*/ 738 w 1456"/>
                <a:gd name="T89" fmla="*/ 556 h 558"/>
                <a:gd name="T90" fmla="*/ 750 w 1456"/>
                <a:gd name="T91" fmla="*/ 554 h 558"/>
                <a:gd name="T92" fmla="*/ 762 w 1456"/>
                <a:gd name="T93" fmla="*/ 550 h 558"/>
                <a:gd name="T94" fmla="*/ 772 w 1456"/>
                <a:gd name="T95" fmla="*/ 544 h 558"/>
                <a:gd name="T96" fmla="*/ 1432 w 1456"/>
                <a:gd name="T97" fmla="*/ 96 h 558"/>
                <a:gd name="T98" fmla="*/ 1432 w 1456"/>
                <a:gd name="T99" fmla="*/ 96 h 558"/>
                <a:gd name="T100" fmla="*/ 1442 w 1456"/>
                <a:gd name="T101" fmla="*/ 88 h 558"/>
                <a:gd name="T102" fmla="*/ 1450 w 1456"/>
                <a:gd name="T103" fmla="*/ 78 h 558"/>
                <a:gd name="T104" fmla="*/ 1454 w 1456"/>
                <a:gd name="T105" fmla="*/ 66 h 558"/>
                <a:gd name="T106" fmla="*/ 1456 w 1456"/>
                <a:gd name="T107" fmla="*/ 54 h 558"/>
                <a:gd name="T108" fmla="*/ 1456 w 1456"/>
                <a:gd name="T109" fmla="*/ 54 h 558"/>
                <a:gd name="T110" fmla="*/ 1454 w 1456"/>
                <a:gd name="T111" fmla="*/ 42 h 558"/>
                <a:gd name="T112" fmla="*/ 1450 w 1456"/>
                <a:gd name="T113" fmla="*/ 32 h 558"/>
                <a:gd name="T114" fmla="*/ 1442 w 1456"/>
                <a:gd name="T115" fmla="*/ 22 h 558"/>
                <a:gd name="T116" fmla="*/ 1432 w 1456"/>
                <a:gd name="T117" fmla="*/ 12 h 558"/>
                <a:gd name="T118" fmla="*/ 1432 w 1456"/>
                <a:gd name="T119" fmla="*/ 12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56" h="558">
                  <a:moveTo>
                    <a:pt x="1432" y="12"/>
                  </a:moveTo>
                  <a:lnTo>
                    <a:pt x="1432" y="12"/>
                  </a:lnTo>
                  <a:lnTo>
                    <a:pt x="1430" y="12"/>
                  </a:lnTo>
                  <a:lnTo>
                    <a:pt x="1430" y="12"/>
                  </a:lnTo>
                  <a:lnTo>
                    <a:pt x="1420" y="6"/>
                  </a:lnTo>
                  <a:lnTo>
                    <a:pt x="1408" y="2"/>
                  </a:lnTo>
                  <a:lnTo>
                    <a:pt x="1396" y="0"/>
                  </a:lnTo>
                  <a:lnTo>
                    <a:pt x="1384" y="0"/>
                  </a:lnTo>
                  <a:lnTo>
                    <a:pt x="1384" y="0"/>
                  </a:lnTo>
                  <a:lnTo>
                    <a:pt x="1372" y="0"/>
                  </a:lnTo>
                  <a:lnTo>
                    <a:pt x="1360" y="2"/>
                  </a:lnTo>
                  <a:lnTo>
                    <a:pt x="1348" y="6"/>
                  </a:lnTo>
                  <a:lnTo>
                    <a:pt x="1338" y="12"/>
                  </a:lnTo>
                  <a:lnTo>
                    <a:pt x="1336" y="12"/>
                  </a:lnTo>
                  <a:lnTo>
                    <a:pt x="1336" y="12"/>
                  </a:lnTo>
                  <a:lnTo>
                    <a:pt x="728" y="428"/>
                  </a:lnTo>
                  <a:lnTo>
                    <a:pt x="116" y="12"/>
                  </a:lnTo>
                  <a:lnTo>
                    <a:pt x="116" y="12"/>
                  </a:lnTo>
                  <a:lnTo>
                    <a:pt x="106" y="6"/>
                  </a:lnTo>
                  <a:lnTo>
                    <a:pt x="96" y="2"/>
                  </a:lnTo>
                  <a:lnTo>
                    <a:pt x="84" y="0"/>
                  </a:lnTo>
                  <a:lnTo>
                    <a:pt x="70" y="0"/>
                  </a:lnTo>
                  <a:lnTo>
                    <a:pt x="70" y="0"/>
                  </a:lnTo>
                  <a:lnTo>
                    <a:pt x="58" y="0"/>
                  </a:lnTo>
                  <a:lnTo>
                    <a:pt x="46" y="2"/>
                  </a:lnTo>
                  <a:lnTo>
                    <a:pt x="34" y="6"/>
                  </a:lnTo>
                  <a:lnTo>
                    <a:pt x="24" y="12"/>
                  </a:lnTo>
                  <a:lnTo>
                    <a:pt x="24" y="12"/>
                  </a:lnTo>
                  <a:lnTo>
                    <a:pt x="14" y="22"/>
                  </a:lnTo>
                  <a:lnTo>
                    <a:pt x="6" y="32"/>
                  </a:lnTo>
                  <a:lnTo>
                    <a:pt x="2" y="42"/>
                  </a:lnTo>
                  <a:lnTo>
                    <a:pt x="0" y="54"/>
                  </a:lnTo>
                  <a:lnTo>
                    <a:pt x="0" y="54"/>
                  </a:lnTo>
                  <a:lnTo>
                    <a:pt x="2" y="66"/>
                  </a:lnTo>
                  <a:lnTo>
                    <a:pt x="6" y="78"/>
                  </a:lnTo>
                  <a:lnTo>
                    <a:pt x="14" y="88"/>
                  </a:lnTo>
                  <a:lnTo>
                    <a:pt x="24" y="96"/>
                  </a:lnTo>
                  <a:lnTo>
                    <a:pt x="680" y="544"/>
                  </a:lnTo>
                  <a:lnTo>
                    <a:pt x="680" y="544"/>
                  </a:lnTo>
                  <a:lnTo>
                    <a:pt x="690" y="550"/>
                  </a:lnTo>
                  <a:lnTo>
                    <a:pt x="702" y="554"/>
                  </a:lnTo>
                  <a:lnTo>
                    <a:pt x="714" y="556"/>
                  </a:lnTo>
                  <a:lnTo>
                    <a:pt x="728" y="558"/>
                  </a:lnTo>
                  <a:lnTo>
                    <a:pt x="728" y="558"/>
                  </a:lnTo>
                  <a:lnTo>
                    <a:pt x="738" y="556"/>
                  </a:lnTo>
                  <a:lnTo>
                    <a:pt x="750" y="554"/>
                  </a:lnTo>
                  <a:lnTo>
                    <a:pt x="762" y="550"/>
                  </a:lnTo>
                  <a:lnTo>
                    <a:pt x="772" y="544"/>
                  </a:lnTo>
                  <a:lnTo>
                    <a:pt x="1432" y="96"/>
                  </a:lnTo>
                  <a:lnTo>
                    <a:pt x="1432" y="96"/>
                  </a:lnTo>
                  <a:lnTo>
                    <a:pt x="1442" y="88"/>
                  </a:lnTo>
                  <a:lnTo>
                    <a:pt x="1450" y="78"/>
                  </a:lnTo>
                  <a:lnTo>
                    <a:pt x="1454" y="66"/>
                  </a:lnTo>
                  <a:lnTo>
                    <a:pt x="1456" y="54"/>
                  </a:lnTo>
                  <a:lnTo>
                    <a:pt x="1456" y="54"/>
                  </a:lnTo>
                  <a:lnTo>
                    <a:pt x="1454" y="42"/>
                  </a:lnTo>
                  <a:lnTo>
                    <a:pt x="1450" y="32"/>
                  </a:lnTo>
                  <a:lnTo>
                    <a:pt x="1442" y="22"/>
                  </a:lnTo>
                  <a:lnTo>
                    <a:pt x="1432" y="12"/>
                  </a:lnTo>
                  <a:lnTo>
                    <a:pt x="143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5">
              <a:extLst>
                <a:ext uri="{FF2B5EF4-FFF2-40B4-BE49-F238E27FC236}">
                  <a16:creationId xmlns:a16="http://schemas.microsoft.com/office/drawing/2014/main" id="{BA4C1A11-9F33-4B69-AF2B-1434B781E0C9}"/>
                </a:ext>
              </a:extLst>
            </p:cNvPr>
            <p:cNvSpPr>
              <a:spLocks/>
            </p:cNvSpPr>
            <p:nvPr/>
          </p:nvSpPr>
          <p:spPr bwMode="auto">
            <a:xfrm>
              <a:off x="6926263" y="-2524125"/>
              <a:ext cx="2311400" cy="885825"/>
            </a:xfrm>
            <a:custGeom>
              <a:avLst/>
              <a:gdLst>
                <a:gd name="T0" fmla="*/ 1432 w 1456"/>
                <a:gd name="T1" fmla="*/ 12 h 558"/>
                <a:gd name="T2" fmla="*/ 1430 w 1456"/>
                <a:gd name="T3" fmla="*/ 10 h 558"/>
                <a:gd name="T4" fmla="*/ 1408 w 1456"/>
                <a:gd name="T5" fmla="*/ 2 h 558"/>
                <a:gd name="T6" fmla="*/ 1384 w 1456"/>
                <a:gd name="T7" fmla="*/ 0 h 558"/>
                <a:gd name="T8" fmla="*/ 1372 w 1456"/>
                <a:gd name="T9" fmla="*/ 0 h 558"/>
                <a:gd name="T10" fmla="*/ 1348 w 1456"/>
                <a:gd name="T11" fmla="*/ 6 h 558"/>
                <a:gd name="T12" fmla="*/ 1336 w 1456"/>
                <a:gd name="T13" fmla="*/ 12 h 558"/>
                <a:gd name="T14" fmla="*/ 728 w 1456"/>
                <a:gd name="T15" fmla="*/ 426 h 558"/>
                <a:gd name="T16" fmla="*/ 116 w 1456"/>
                <a:gd name="T17" fmla="*/ 12 h 558"/>
                <a:gd name="T18" fmla="*/ 96 w 1456"/>
                <a:gd name="T19" fmla="*/ 2 h 558"/>
                <a:gd name="T20" fmla="*/ 70 w 1456"/>
                <a:gd name="T21" fmla="*/ 0 h 558"/>
                <a:gd name="T22" fmla="*/ 58 w 1456"/>
                <a:gd name="T23" fmla="*/ 0 h 558"/>
                <a:gd name="T24" fmla="*/ 34 w 1456"/>
                <a:gd name="T25" fmla="*/ 6 h 558"/>
                <a:gd name="T26" fmla="*/ 22 w 1456"/>
                <a:gd name="T27" fmla="*/ 12 h 558"/>
                <a:gd name="T28" fmla="*/ 22 w 1456"/>
                <a:gd name="T29" fmla="*/ 14 h 558"/>
                <a:gd name="T30" fmla="*/ 4 w 1456"/>
                <a:gd name="T31" fmla="*/ 36 h 558"/>
                <a:gd name="T32" fmla="*/ 0 w 1456"/>
                <a:gd name="T33" fmla="*/ 56 h 558"/>
                <a:gd name="T34" fmla="*/ 0 w 1456"/>
                <a:gd name="T35" fmla="*/ 64 h 558"/>
                <a:gd name="T36" fmla="*/ 10 w 1456"/>
                <a:gd name="T37" fmla="*/ 86 h 558"/>
                <a:gd name="T38" fmla="*/ 22 w 1456"/>
                <a:gd name="T39" fmla="*/ 98 h 558"/>
                <a:gd name="T40" fmla="*/ 680 w 1456"/>
                <a:gd name="T41" fmla="*/ 544 h 558"/>
                <a:gd name="T42" fmla="*/ 690 w 1456"/>
                <a:gd name="T43" fmla="*/ 550 h 558"/>
                <a:gd name="T44" fmla="*/ 714 w 1456"/>
                <a:gd name="T45" fmla="*/ 556 h 558"/>
                <a:gd name="T46" fmla="*/ 728 w 1456"/>
                <a:gd name="T47" fmla="*/ 558 h 558"/>
                <a:gd name="T48" fmla="*/ 750 w 1456"/>
                <a:gd name="T49" fmla="*/ 554 h 558"/>
                <a:gd name="T50" fmla="*/ 772 w 1456"/>
                <a:gd name="T51" fmla="*/ 544 h 558"/>
                <a:gd name="T52" fmla="*/ 1434 w 1456"/>
                <a:gd name="T53" fmla="*/ 98 h 558"/>
                <a:gd name="T54" fmla="*/ 1434 w 1456"/>
                <a:gd name="T55" fmla="*/ 98 h 558"/>
                <a:gd name="T56" fmla="*/ 1452 w 1456"/>
                <a:gd name="T57" fmla="*/ 76 h 558"/>
                <a:gd name="T58" fmla="*/ 1456 w 1456"/>
                <a:gd name="T59" fmla="*/ 56 h 558"/>
                <a:gd name="T60" fmla="*/ 1456 w 1456"/>
                <a:gd name="T61" fmla="*/ 46 h 558"/>
                <a:gd name="T62" fmla="*/ 1446 w 1456"/>
                <a:gd name="T63" fmla="*/ 26 h 558"/>
                <a:gd name="T64" fmla="*/ 1434 w 1456"/>
                <a:gd name="T65" fmla="*/ 1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56" h="558">
                  <a:moveTo>
                    <a:pt x="1434" y="14"/>
                  </a:moveTo>
                  <a:lnTo>
                    <a:pt x="1432" y="12"/>
                  </a:lnTo>
                  <a:lnTo>
                    <a:pt x="1430" y="10"/>
                  </a:lnTo>
                  <a:lnTo>
                    <a:pt x="1430" y="10"/>
                  </a:lnTo>
                  <a:lnTo>
                    <a:pt x="1420" y="6"/>
                  </a:lnTo>
                  <a:lnTo>
                    <a:pt x="1408" y="2"/>
                  </a:lnTo>
                  <a:lnTo>
                    <a:pt x="1396" y="0"/>
                  </a:lnTo>
                  <a:lnTo>
                    <a:pt x="1384" y="0"/>
                  </a:lnTo>
                  <a:lnTo>
                    <a:pt x="1384" y="0"/>
                  </a:lnTo>
                  <a:lnTo>
                    <a:pt x="1372" y="0"/>
                  </a:lnTo>
                  <a:lnTo>
                    <a:pt x="1360" y="2"/>
                  </a:lnTo>
                  <a:lnTo>
                    <a:pt x="1348" y="6"/>
                  </a:lnTo>
                  <a:lnTo>
                    <a:pt x="1338" y="10"/>
                  </a:lnTo>
                  <a:lnTo>
                    <a:pt x="1336" y="12"/>
                  </a:lnTo>
                  <a:lnTo>
                    <a:pt x="1336" y="12"/>
                  </a:lnTo>
                  <a:lnTo>
                    <a:pt x="728" y="426"/>
                  </a:lnTo>
                  <a:lnTo>
                    <a:pt x="116" y="12"/>
                  </a:lnTo>
                  <a:lnTo>
                    <a:pt x="116" y="12"/>
                  </a:lnTo>
                  <a:lnTo>
                    <a:pt x="106" y="6"/>
                  </a:lnTo>
                  <a:lnTo>
                    <a:pt x="96" y="2"/>
                  </a:lnTo>
                  <a:lnTo>
                    <a:pt x="84" y="0"/>
                  </a:lnTo>
                  <a:lnTo>
                    <a:pt x="70" y="0"/>
                  </a:lnTo>
                  <a:lnTo>
                    <a:pt x="70" y="0"/>
                  </a:lnTo>
                  <a:lnTo>
                    <a:pt x="58" y="0"/>
                  </a:lnTo>
                  <a:lnTo>
                    <a:pt x="46" y="2"/>
                  </a:lnTo>
                  <a:lnTo>
                    <a:pt x="34" y="6"/>
                  </a:lnTo>
                  <a:lnTo>
                    <a:pt x="24" y="12"/>
                  </a:lnTo>
                  <a:lnTo>
                    <a:pt x="22" y="12"/>
                  </a:lnTo>
                  <a:lnTo>
                    <a:pt x="22" y="14"/>
                  </a:lnTo>
                  <a:lnTo>
                    <a:pt x="22" y="14"/>
                  </a:lnTo>
                  <a:lnTo>
                    <a:pt x="10" y="26"/>
                  </a:lnTo>
                  <a:lnTo>
                    <a:pt x="4" y="36"/>
                  </a:lnTo>
                  <a:lnTo>
                    <a:pt x="0" y="46"/>
                  </a:lnTo>
                  <a:lnTo>
                    <a:pt x="0" y="56"/>
                  </a:lnTo>
                  <a:lnTo>
                    <a:pt x="0" y="56"/>
                  </a:lnTo>
                  <a:lnTo>
                    <a:pt x="0" y="64"/>
                  </a:lnTo>
                  <a:lnTo>
                    <a:pt x="4" y="76"/>
                  </a:lnTo>
                  <a:lnTo>
                    <a:pt x="10" y="86"/>
                  </a:lnTo>
                  <a:lnTo>
                    <a:pt x="22" y="98"/>
                  </a:lnTo>
                  <a:lnTo>
                    <a:pt x="22" y="98"/>
                  </a:lnTo>
                  <a:lnTo>
                    <a:pt x="24" y="100"/>
                  </a:lnTo>
                  <a:lnTo>
                    <a:pt x="680" y="544"/>
                  </a:lnTo>
                  <a:lnTo>
                    <a:pt x="680" y="544"/>
                  </a:lnTo>
                  <a:lnTo>
                    <a:pt x="690" y="550"/>
                  </a:lnTo>
                  <a:lnTo>
                    <a:pt x="702" y="554"/>
                  </a:lnTo>
                  <a:lnTo>
                    <a:pt x="714" y="556"/>
                  </a:lnTo>
                  <a:lnTo>
                    <a:pt x="728" y="558"/>
                  </a:lnTo>
                  <a:lnTo>
                    <a:pt x="728" y="558"/>
                  </a:lnTo>
                  <a:lnTo>
                    <a:pt x="738" y="556"/>
                  </a:lnTo>
                  <a:lnTo>
                    <a:pt x="750" y="554"/>
                  </a:lnTo>
                  <a:lnTo>
                    <a:pt x="762" y="550"/>
                  </a:lnTo>
                  <a:lnTo>
                    <a:pt x="772" y="544"/>
                  </a:lnTo>
                  <a:lnTo>
                    <a:pt x="1432" y="100"/>
                  </a:lnTo>
                  <a:lnTo>
                    <a:pt x="1434" y="98"/>
                  </a:lnTo>
                  <a:lnTo>
                    <a:pt x="1434" y="98"/>
                  </a:lnTo>
                  <a:lnTo>
                    <a:pt x="1434" y="98"/>
                  </a:lnTo>
                  <a:lnTo>
                    <a:pt x="1446" y="86"/>
                  </a:lnTo>
                  <a:lnTo>
                    <a:pt x="1452" y="76"/>
                  </a:lnTo>
                  <a:lnTo>
                    <a:pt x="1456" y="64"/>
                  </a:lnTo>
                  <a:lnTo>
                    <a:pt x="1456" y="56"/>
                  </a:lnTo>
                  <a:lnTo>
                    <a:pt x="1456" y="56"/>
                  </a:lnTo>
                  <a:lnTo>
                    <a:pt x="1456" y="46"/>
                  </a:lnTo>
                  <a:lnTo>
                    <a:pt x="1452" y="36"/>
                  </a:lnTo>
                  <a:lnTo>
                    <a:pt x="1446" y="26"/>
                  </a:lnTo>
                  <a:lnTo>
                    <a:pt x="1434" y="14"/>
                  </a:lnTo>
                  <a:lnTo>
                    <a:pt x="143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9" name="TextBox 258">
            <a:extLst>
              <a:ext uri="{FF2B5EF4-FFF2-40B4-BE49-F238E27FC236}">
                <a16:creationId xmlns:a16="http://schemas.microsoft.com/office/drawing/2014/main" id="{CF05F4CD-A749-4432-942B-1768FD0475DD}"/>
              </a:ext>
            </a:extLst>
          </p:cNvPr>
          <p:cNvSpPr txBox="1"/>
          <p:nvPr/>
        </p:nvSpPr>
        <p:spPr>
          <a:xfrm>
            <a:off x="3957818" y="3670670"/>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Military</a:t>
            </a:r>
          </a:p>
        </p:txBody>
      </p:sp>
    </p:spTree>
    <p:extLst>
      <p:ext uri="{BB962C8B-B14F-4D97-AF65-F5344CB8AC3E}">
        <p14:creationId xmlns:p14="http://schemas.microsoft.com/office/powerpoint/2010/main" val="3993878790"/>
      </p:ext>
    </p:extLst>
  </p:cSld>
  <p:clrMapOvr>
    <a:masterClrMapping/>
  </p:clrMapOvr>
  <p:transition>
    <p:fade/>
  </p:transition>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Retail/food</a:t>
            </a:r>
            <a:endParaRPr lang="en-GB" dirty="0"/>
          </a:p>
        </p:txBody>
      </p:sp>
      <p:sp>
        <p:nvSpPr>
          <p:cNvPr id="4" name="Title 3"/>
          <p:cNvSpPr>
            <a:spLocks noGrp="1"/>
          </p:cNvSpPr>
          <p:nvPr>
            <p:ph type="title"/>
          </p:nvPr>
        </p:nvSpPr>
        <p:spPr/>
        <p:txBody>
          <a:bodyPr/>
          <a:lstStyle/>
          <a:p>
            <a:r>
              <a:rPr lang="en-GB" dirty="0"/>
              <a:t>Iconography</a:t>
            </a:r>
          </a:p>
        </p:txBody>
      </p:sp>
      <p:sp>
        <p:nvSpPr>
          <p:cNvPr id="147" name="TextBox 146">
            <a:extLst>
              <a:ext uri="{FF2B5EF4-FFF2-40B4-BE49-F238E27FC236}">
                <a16:creationId xmlns:a16="http://schemas.microsoft.com/office/drawing/2014/main" id="{7C77F43C-8B7E-431C-A512-ED85C8246F2E}"/>
              </a:ext>
            </a:extLst>
          </p:cNvPr>
          <p:cNvSpPr txBox="1"/>
          <p:nvPr/>
        </p:nvSpPr>
        <p:spPr>
          <a:xfrm>
            <a:off x="460648" y="211647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oon</a:t>
            </a:r>
          </a:p>
        </p:txBody>
      </p:sp>
      <p:sp>
        <p:nvSpPr>
          <p:cNvPr id="148" name="TextBox 147">
            <a:extLst>
              <a:ext uri="{FF2B5EF4-FFF2-40B4-BE49-F238E27FC236}">
                <a16:creationId xmlns:a16="http://schemas.microsoft.com/office/drawing/2014/main" id="{FFC941F8-64A9-49FE-A128-A8E0769467EA}"/>
              </a:ext>
            </a:extLst>
          </p:cNvPr>
          <p:cNvSpPr txBox="1"/>
          <p:nvPr/>
        </p:nvSpPr>
        <p:spPr>
          <a:xfrm>
            <a:off x="1321401" y="211647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tew pot</a:t>
            </a:r>
          </a:p>
        </p:txBody>
      </p:sp>
      <p:sp>
        <p:nvSpPr>
          <p:cNvPr id="149" name="TextBox 148">
            <a:extLst>
              <a:ext uri="{FF2B5EF4-FFF2-40B4-BE49-F238E27FC236}">
                <a16:creationId xmlns:a16="http://schemas.microsoft.com/office/drawing/2014/main" id="{204D6FE4-B1EA-4E77-8DC7-3369D8DC05E5}"/>
              </a:ext>
            </a:extLst>
          </p:cNvPr>
          <p:cNvSpPr txBox="1"/>
          <p:nvPr/>
        </p:nvSpPr>
        <p:spPr>
          <a:xfrm>
            <a:off x="2196971"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ine glass</a:t>
            </a:r>
          </a:p>
        </p:txBody>
      </p:sp>
      <p:sp>
        <p:nvSpPr>
          <p:cNvPr id="150" name="TextBox 149">
            <a:extLst>
              <a:ext uri="{FF2B5EF4-FFF2-40B4-BE49-F238E27FC236}">
                <a16:creationId xmlns:a16="http://schemas.microsoft.com/office/drawing/2014/main" id="{BD05BC42-1DA8-40BD-9BD3-A43DD3599BD6}"/>
              </a:ext>
            </a:extLst>
          </p:cNvPr>
          <p:cNvSpPr txBox="1"/>
          <p:nvPr/>
        </p:nvSpPr>
        <p:spPr>
          <a:xfrm>
            <a:off x="3941761"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ffee</a:t>
            </a:r>
          </a:p>
        </p:txBody>
      </p:sp>
      <p:sp>
        <p:nvSpPr>
          <p:cNvPr id="151" name="TextBox 150">
            <a:extLst>
              <a:ext uri="{FF2B5EF4-FFF2-40B4-BE49-F238E27FC236}">
                <a16:creationId xmlns:a16="http://schemas.microsoft.com/office/drawing/2014/main" id="{1198E844-C565-4F73-8901-CB0B736FABCB}"/>
              </a:ext>
            </a:extLst>
          </p:cNvPr>
          <p:cNvSpPr txBox="1"/>
          <p:nvPr/>
        </p:nvSpPr>
        <p:spPr>
          <a:xfrm>
            <a:off x="4814156"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utlery</a:t>
            </a:r>
          </a:p>
        </p:txBody>
      </p:sp>
      <p:sp>
        <p:nvSpPr>
          <p:cNvPr id="152" name="TextBox 151">
            <a:extLst>
              <a:ext uri="{FF2B5EF4-FFF2-40B4-BE49-F238E27FC236}">
                <a16:creationId xmlns:a16="http://schemas.microsoft.com/office/drawing/2014/main" id="{B09F04C9-FB58-4259-8BA1-3591406991D2}"/>
              </a:ext>
            </a:extLst>
          </p:cNvPr>
          <p:cNvSpPr txBox="1"/>
          <p:nvPr/>
        </p:nvSpPr>
        <p:spPr>
          <a:xfrm>
            <a:off x="3069366"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rtini glass</a:t>
            </a:r>
          </a:p>
        </p:txBody>
      </p:sp>
      <p:sp>
        <p:nvSpPr>
          <p:cNvPr id="153" name="TextBox 152">
            <a:extLst>
              <a:ext uri="{FF2B5EF4-FFF2-40B4-BE49-F238E27FC236}">
                <a16:creationId xmlns:a16="http://schemas.microsoft.com/office/drawing/2014/main" id="{029B55AF-4760-428D-B955-40C387DEBE1C}"/>
              </a:ext>
            </a:extLst>
          </p:cNvPr>
          <p:cNvSpPr txBox="1"/>
          <p:nvPr/>
        </p:nvSpPr>
        <p:spPr>
          <a:xfrm>
            <a:off x="5686551"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pple</a:t>
            </a:r>
          </a:p>
        </p:txBody>
      </p:sp>
      <p:sp>
        <p:nvSpPr>
          <p:cNvPr id="154" name="TextBox 153">
            <a:extLst>
              <a:ext uri="{FF2B5EF4-FFF2-40B4-BE49-F238E27FC236}">
                <a16:creationId xmlns:a16="http://schemas.microsoft.com/office/drawing/2014/main" id="{1C5EC8AA-82D8-4AE8-9786-A4F89CBF3F16}"/>
              </a:ext>
            </a:extLst>
          </p:cNvPr>
          <p:cNvSpPr txBox="1"/>
          <p:nvPr/>
        </p:nvSpPr>
        <p:spPr>
          <a:xfrm>
            <a:off x="8303736"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rthday cake</a:t>
            </a:r>
          </a:p>
        </p:txBody>
      </p:sp>
      <p:sp>
        <p:nvSpPr>
          <p:cNvPr id="155" name="TextBox 154">
            <a:extLst>
              <a:ext uri="{FF2B5EF4-FFF2-40B4-BE49-F238E27FC236}">
                <a16:creationId xmlns:a16="http://schemas.microsoft.com/office/drawing/2014/main" id="{BDB660B5-8B77-4C1F-92C1-DC61DE0EE0C4}"/>
              </a:ext>
            </a:extLst>
          </p:cNvPr>
          <p:cNvSpPr txBox="1"/>
          <p:nvPr/>
        </p:nvSpPr>
        <p:spPr>
          <a:xfrm>
            <a:off x="7431341" y="2116473"/>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stle and mortar</a:t>
            </a:r>
          </a:p>
        </p:txBody>
      </p:sp>
      <p:sp>
        <p:nvSpPr>
          <p:cNvPr id="156" name="TextBox 155">
            <a:extLst>
              <a:ext uri="{FF2B5EF4-FFF2-40B4-BE49-F238E27FC236}">
                <a16:creationId xmlns:a16="http://schemas.microsoft.com/office/drawing/2014/main" id="{4955DA61-E5E9-47AD-A3FB-5454DB0A7D50}"/>
              </a:ext>
            </a:extLst>
          </p:cNvPr>
          <p:cNvSpPr txBox="1"/>
          <p:nvPr/>
        </p:nvSpPr>
        <p:spPr>
          <a:xfrm>
            <a:off x="6558946"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ish hook</a:t>
            </a:r>
          </a:p>
        </p:txBody>
      </p:sp>
      <p:sp>
        <p:nvSpPr>
          <p:cNvPr id="157" name="TextBox 156">
            <a:extLst>
              <a:ext uri="{FF2B5EF4-FFF2-40B4-BE49-F238E27FC236}">
                <a16:creationId xmlns:a16="http://schemas.microsoft.com/office/drawing/2014/main" id="{66D688E6-346A-4AF9-A80D-8FC371C99A72}"/>
              </a:ext>
            </a:extLst>
          </p:cNvPr>
          <p:cNvSpPr txBox="1"/>
          <p:nvPr/>
        </p:nvSpPr>
        <p:spPr>
          <a:xfrm>
            <a:off x="9176131" y="211647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 shirt</a:t>
            </a:r>
          </a:p>
        </p:txBody>
      </p:sp>
      <p:sp>
        <p:nvSpPr>
          <p:cNvPr id="158" name="TextBox 157">
            <a:extLst>
              <a:ext uri="{FF2B5EF4-FFF2-40B4-BE49-F238E27FC236}">
                <a16:creationId xmlns:a16="http://schemas.microsoft.com/office/drawing/2014/main" id="{30659944-3A35-40B6-B876-2B6CDB444DF2}"/>
              </a:ext>
            </a:extLst>
          </p:cNvPr>
          <p:cNvSpPr txBox="1"/>
          <p:nvPr/>
        </p:nvSpPr>
        <p:spPr>
          <a:xfrm>
            <a:off x="10036884" y="211647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lly</a:t>
            </a:r>
          </a:p>
        </p:txBody>
      </p:sp>
      <p:sp>
        <p:nvSpPr>
          <p:cNvPr id="159" name="TextBox 158">
            <a:extLst>
              <a:ext uri="{FF2B5EF4-FFF2-40B4-BE49-F238E27FC236}">
                <a16:creationId xmlns:a16="http://schemas.microsoft.com/office/drawing/2014/main" id="{EF4CB6A3-8B85-4B99-90F9-F1D39DBCECDA}"/>
              </a:ext>
            </a:extLst>
          </p:cNvPr>
          <p:cNvSpPr txBox="1"/>
          <p:nvPr/>
        </p:nvSpPr>
        <p:spPr>
          <a:xfrm>
            <a:off x="10912450" y="211647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eer</a:t>
            </a:r>
          </a:p>
        </p:txBody>
      </p:sp>
      <p:sp>
        <p:nvSpPr>
          <p:cNvPr id="160" name="TextBox 159">
            <a:extLst>
              <a:ext uri="{FF2B5EF4-FFF2-40B4-BE49-F238E27FC236}">
                <a16:creationId xmlns:a16="http://schemas.microsoft.com/office/drawing/2014/main" id="{5F571827-0DEB-4463-8E33-595166B91E6E}"/>
              </a:ext>
            </a:extLst>
          </p:cNvPr>
          <p:cNvSpPr txBox="1"/>
          <p:nvPr/>
        </p:nvSpPr>
        <p:spPr>
          <a:xfrm>
            <a:off x="1353900"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ine bottle</a:t>
            </a:r>
          </a:p>
        </p:txBody>
      </p:sp>
      <p:sp>
        <p:nvSpPr>
          <p:cNvPr id="161" name="TextBox 160">
            <a:extLst>
              <a:ext uri="{FF2B5EF4-FFF2-40B4-BE49-F238E27FC236}">
                <a16:creationId xmlns:a16="http://schemas.microsoft.com/office/drawing/2014/main" id="{2C405C6E-686A-4662-93EF-B04504CF7527}"/>
              </a:ext>
            </a:extLst>
          </p:cNvPr>
          <p:cNvSpPr txBox="1"/>
          <p:nvPr/>
        </p:nvSpPr>
        <p:spPr>
          <a:xfrm>
            <a:off x="2225886"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at hanger</a:t>
            </a:r>
          </a:p>
        </p:txBody>
      </p:sp>
      <p:sp>
        <p:nvSpPr>
          <p:cNvPr id="162" name="TextBox 161">
            <a:extLst>
              <a:ext uri="{FF2B5EF4-FFF2-40B4-BE49-F238E27FC236}">
                <a16:creationId xmlns:a16="http://schemas.microsoft.com/office/drawing/2014/main" id="{E0465FF7-7036-44EB-8404-C1F5D943946F}"/>
              </a:ext>
            </a:extLst>
          </p:cNvPr>
          <p:cNvSpPr txBox="1"/>
          <p:nvPr/>
        </p:nvSpPr>
        <p:spPr>
          <a:xfrm>
            <a:off x="481914"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eer 2</a:t>
            </a:r>
          </a:p>
        </p:txBody>
      </p:sp>
      <p:sp>
        <p:nvSpPr>
          <p:cNvPr id="163" name="TextBox 162">
            <a:extLst>
              <a:ext uri="{FF2B5EF4-FFF2-40B4-BE49-F238E27FC236}">
                <a16:creationId xmlns:a16="http://schemas.microsoft.com/office/drawing/2014/main" id="{90F94A93-4ABE-48AD-A308-7412257D0F96}"/>
              </a:ext>
            </a:extLst>
          </p:cNvPr>
          <p:cNvSpPr txBox="1"/>
          <p:nvPr/>
        </p:nvSpPr>
        <p:spPr>
          <a:xfrm>
            <a:off x="3097872"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cktail glass</a:t>
            </a:r>
          </a:p>
        </p:txBody>
      </p:sp>
      <p:sp>
        <p:nvSpPr>
          <p:cNvPr id="164" name="TextBox 163">
            <a:extLst>
              <a:ext uri="{FF2B5EF4-FFF2-40B4-BE49-F238E27FC236}">
                <a16:creationId xmlns:a16="http://schemas.microsoft.com/office/drawing/2014/main" id="{B0A474F3-ECE0-43C5-83CB-1397F007D8C0}"/>
              </a:ext>
            </a:extLst>
          </p:cNvPr>
          <p:cNvSpPr txBox="1"/>
          <p:nvPr/>
        </p:nvSpPr>
        <p:spPr>
          <a:xfrm>
            <a:off x="5713830"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Gift</a:t>
            </a:r>
          </a:p>
        </p:txBody>
      </p:sp>
      <p:sp>
        <p:nvSpPr>
          <p:cNvPr id="165" name="TextBox 164">
            <a:extLst>
              <a:ext uri="{FF2B5EF4-FFF2-40B4-BE49-F238E27FC236}">
                <a16:creationId xmlns:a16="http://schemas.microsoft.com/office/drawing/2014/main" id="{6681C880-8644-45C8-A102-2E4D0734618A}"/>
              </a:ext>
            </a:extLst>
          </p:cNvPr>
          <p:cNvSpPr txBox="1"/>
          <p:nvPr/>
        </p:nvSpPr>
        <p:spPr>
          <a:xfrm>
            <a:off x="4841844" y="2954260"/>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vel coffee cup</a:t>
            </a:r>
          </a:p>
        </p:txBody>
      </p:sp>
      <p:sp>
        <p:nvSpPr>
          <p:cNvPr id="166" name="TextBox 165">
            <a:extLst>
              <a:ext uri="{FF2B5EF4-FFF2-40B4-BE49-F238E27FC236}">
                <a16:creationId xmlns:a16="http://schemas.microsoft.com/office/drawing/2014/main" id="{00CE7D89-0EA4-4464-A190-86D0072D859B}"/>
              </a:ext>
            </a:extLst>
          </p:cNvPr>
          <p:cNvSpPr txBox="1"/>
          <p:nvPr/>
        </p:nvSpPr>
        <p:spPr>
          <a:xfrm>
            <a:off x="3969858"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olley</a:t>
            </a:r>
          </a:p>
        </p:txBody>
      </p:sp>
      <p:sp>
        <p:nvSpPr>
          <p:cNvPr id="167" name="TextBox 166">
            <a:extLst>
              <a:ext uri="{FF2B5EF4-FFF2-40B4-BE49-F238E27FC236}">
                <a16:creationId xmlns:a16="http://schemas.microsoft.com/office/drawing/2014/main" id="{A2E3D425-8EDB-4859-8221-C7F850F94F7E}"/>
              </a:ext>
            </a:extLst>
          </p:cNvPr>
          <p:cNvSpPr txBox="1"/>
          <p:nvPr/>
        </p:nvSpPr>
        <p:spPr>
          <a:xfrm>
            <a:off x="6585816" y="2954260"/>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redit card</a:t>
            </a:r>
          </a:p>
        </p:txBody>
      </p:sp>
      <p:sp>
        <p:nvSpPr>
          <p:cNvPr id="168" name="TextBox 167">
            <a:extLst>
              <a:ext uri="{FF2B5EF4-FFF2-40B4-BE49-F238E27FC236}">
                <a16:creationId xmlns:a16="http://schemas.microsoft.com/office/drawing/2014/main" id="{0F0E3493-9E5C-401C-B4BE-722B87D1616A}"/>
              </a:ext>
            </a:extLst>
          </p:cNvPr>
          <p:cNvSpPr txBox="1"/>
          <p:nvPr/>
        </p:nvSpPr>
        <p:spPr>
          <a:xfrm>
            <a:off x="7446160" y="2954260"/>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st food</a:t>
            </a:r>
          </a:p>
        </p:txBody>
      </p:sp>
      <p:sp>
        <p:nvSpPr>
          <p:cNvPr id="169" name="TextBox 168">
            <a:extLst>
              <a:ext uri="{FF2B5EF4-FFF2-40B4-BE49-F238E27FC236}">
                <a16:creationId xmlns:a16="http://schemas.microsoft.com/office/drawing/2014/main" id="{5AD9AF42-83F0-4DDE-A439-B7B0E6F6E5EA}"/>
              </a:ext>
            </a:extLst>
          </p:cNvPr>
          <p:cNvSpPr txBox="1"/>
          <p:nvPr/>
        </p:nvSpPr>
        <p:spPr>
          <a:xfrm>
            <a:off x="8321321"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rice tag</a:t>
            </a:r>
          </a:p>
        </p:txBody>
      </p:sp>
      <p:sp>
        <p:nvSpPr>
          <p:cNvPr id="170" name="TextBox 169">
            <a:extLst>
              <a:ext uri="{FF2B5EF4-FFF2-40B4-BE49-F238E27FC236}">
                <a16:creationId xmlns:a16="http://schemas.microsoft.com/office/drawing/2014/main" id="{701771F7-F1B1-42BF-8C18-93C164B4858A}"/>
              </a:ext>
            </a:extLst>
          </p:cNvPr>
          <p:cNvSpPr txBox="1"/>
          <p:nvPr/>
        </p:nvSpPr>
        <p:spPr>
          <a:xfrm>
            <a:off x="10065293"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ctor</a:t>
            </a:r>
          </a:p>
        </p:txBody>
      </p:sp>
      <p:sp>
        <p:nvSpPr>
          <p:cNvPr id="171" name="TextBox 170">
            <a:extLst>
              <a:ext uri="{FF2B5EF4-FFF2-40B4-BE49-F238E27FC236}">
                <a16:creationId xmlns:a16="http://schemas.microsoft.com/office/drawing/2014/main" id="{5218BFE0-1739-43D4-A503-06433558E848}"/>
              </a:ext>
            </a:extLst>
          </p:cNvPr>
          <p:cNvSpPr txBox="1"/>
          <p:nvPr/>
        </p:nvSpPr>
        <p:spPr>
          <a:xfrm>
            <a:off x="10937278"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opping bag</a:t>
            </a:r>
          </a:p>
        </p:txBody>
      </p:sp>
      <p:sp>
        <p:nvSpPr>
          <p:cNvPr id="172" name="TextBox 171">
            <a:extLst>
              <a:ext uri="{FF2B5EF4-FFF2-40B4-BE49-F238E27FC236}">
                <a16:creationId xmlns:a16="http://schemas.microsoft.com/office/drawing/2014/main" id="{73B2F499-93F6-49FE-AB8A-6C40FD3225F9}"/>
              </a:ext>
            </a:extLst>
          </p:cNvPr>
          <p:cNvSpPr txBox="1"/>
          <p:nvPr/>
        </p:nvSpPr>
        <p:spPr>
          <a:xfrm>
            <a:off x="9193307" y="2954260"/>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amond</a:t>
            </a:r>
          </a:p>
        </p:txBody>
      </p:sp>
      <p:sp>
        <p:nvSpPr>
          <p:cNvPr id="173" name="TextBox 172">
            <a:extLst>
              <a:ext uri="{FF2B5EF4-FFF2-40B4-BE49-F238E27FC236}">
                <a16:creationId xmlns:a16="http://schemas.microsoft.com/office/drawing/2014/main" id="{FDFC5CFA-E8A7-4424-A003-1FD66B714182}"/>
              </a:ext>
            </a:extLst>
          </p:cNvPr>
          <p:cNvSpPr txBox="1"/>
          <p:nvPr/>
        </p:nvSpPr>
        <p:spPr>
          <a:xfrm>
            <a:off x="457437" y="3726558"/>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opping basket</a:t>
            </a:r>
          </a:p>
        </p:txBody>
      </p:sp>
      <p:grpSp>
        <p:nvGrpSpPr>
          <p:cNvPr id="174" name="Group 199">
            <a:extLst>
              <a:ext uri="{FF2B5EF4-FFF2-40B4-BE49-F238E27FC236}">
                <a16:creationId xmlns:a16="http://schemas.microsoft.com/office/drawing/2014/main" id="{3F0FE8E3-7A8A-42C8-8750-D906305C0DB2}"/>
              </a:ext>
            </a:extLst>
          </p:cNvPr>
          <p:cNvGrpSpPr>
            <a:grpSpLocks noChangeAspect="1"/>
          </p:cNvGrpSpPr>
          <p:nvPr/>
        </p:nvGrpSpPr>
        <p:grpSpPr bwMode="auto">
          <a:xfrm>
            <a:off x="917899" y="1697372"/>
            <a:ext cx="369676" cy="369676"/>
            <a:chOff x="7361" y="729"/>
            <a:chExt cx="340" cy="340"/>
          </a:xfrm>
          <a:solidFill>
            <a:schemeClr val="accent3"/>
          </a:solidFill>
        </p:grpSpPr>
        <p:sp>
          <p:nvSpPr>
            <p:cNvPr id="175" name="Freeform 200">
              <a:extLst>
                <a:ext uri="{FF2B5EF4-FFF2-40B4-BE49-F238E27FC236}">
                  <a16:creationId xmlns:a16="http://schemas.microsoft.com/office/drawing/2014/main" id="{ABDEBD43-8459-458A-A061-049B2D3179A6}"/>
                </a:ext>
              </a:extLst>
            </p:cNvPr>
            <p:cNvSpPr>
              <a:spLocks noEditPoints="1"/>
            </p:cNvSpPr>
            <p:nvPr/>
          </p:nvSpPr>
          <p:spPr bwMode="auto">
            <a:xfrm>
              <a:off x="7361" y="7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6" name="Freeform 201">
              <a:extLst>
                <a:ext uri="{FF2B5EF4-FFF2-40B4-BE49-F238E27FC236}">
                  <a16:creationId xmlns:a16="http://schemas.microsoft.com/office/drawing/2014/main" id="{41C92816-C8F0-4C72-9168-1560292F8A5C}"/>
                </a:ext>
              </a:extLst>
            </p:cNvPr>
            <p:cNvSpPr>
              <a:spLocks noEditPoints="1"/>
            </p:cNvSpPr>
            <p:nvPr/>
          </p:nvSpPr>
          <p:spPr bwMode="auto">
            <a:xfrm>
              <a:off x="7494" y="793"/>
              <a:ext cx="74" cy="212"/>
            </a:xfrm>
            <a:custGeom>
              <a:avLst/>
              <a:gdLst>
                <a:gd name="T0" fmla="*/ 56 w 111"/>
                <a:gd name="T1" fmla="*/ 320 h 320"/>
                <a:gd name="T2" fmla="*/ 24 w 111"/>
                <a:gd name="T3" fmla="*/ 288 h 320"/>
                <a:gd name="T4" fmla="*/ 24 w 111"/>
                <a:gd name="T5" fmla="*/ 128 h 320"/>
                <a:gd name="T6" fmla="*/ 0 w 111"/>
                <a:gd name="T7" fmla="*/ 83 h 320"/>
                <a:gd name="T8" fmla="*/ 56 w 111"/>
                <a:gd name="T9" fmla="*/ 0 h 320"/>
                <a:gd name="T10" fmla="*/ 111 w 111"/>
                <a:gd name="T11" fmla="*/ 83 h 320"/>
                <a:gd name="T12" fmla="*/ 88 w 111"/>
                <a:gd name="T13" fmla="*/ 128 h 320"/>
                <a:gd name="T14" fmla="*/ 88 w 111"/>
                <a:gd name="T15" fmla="*/ 288 h 320"/>
                <a:gd name="T16" fmla="*/ 56 w 111"/>
                <a:gd name="T17" fmla="*/ 320 h 320"/>
                <a:gd name="T18" fmla="*/ 56 w 111"/>
                <a:gd name="T19" fmla="*/ 21 h 320"/>
                <a:gd name="T20" fmla="*/ 21 w 111"/>
                <a:gd name="T21" fmla="*/ 83 h 320"/>
                <a:gd name="T22" fmla="*/ 39 w 111"/>
                <a:gd name="T23" fmla="*/ 113 h 320"/>
                <a:gd name="T24" fmla="*/ 45 w 111"/>
                <a:gd name="T25" fmla="*/ 122 h 320"/>
                <a:gd name="T26" fmla="*/ 45 w 111"/>
                <a:gd name="T27" fmla="*/ 288 h 320"/>
                <a:gd name="T28" fmla="*/ 56 w 111"/>
                <a:gd name="T29" fmla="*/ 298 h 320"/>
                <a:gd name="T30" fmla="*/ 66 w 111"/>
                <a:gd name="T31" fmla="*/ 287 h 320"/>
                <a:gd name="T32" fmla="*/ 66 w 111"/>
                <a:gd name="T33" fmla="*/ 122 h 320"/>
                <a:gd name="T34" fmla="*/ 72 w 111"/>
                <a:gd name="T35" fmla="*/ 113 h 320"/>
                <a:gd name="T36" fmla="*/ 90 w 111"/>
                <a:gd name="T37" fmla="*/ 83 h 320"/>
                <a:gd name="T38" fmla="*/ 56 w 111"/>
                <a:gd name="T3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320">
                  <a:moveTo>
                    <a:pt x="56" y="320"/>
                  </a:moveTo>
                  <a:cubicBezTo>
                    <a:pt x="33" y="320"/>
                    <a:pt x="24" y="301"/>
                    <a:pt x="24" y="288"/>
                  </a:cubicBezTo>
                  <a:cubicBezTo>
                    <a:pt x="24" y="128"/>
                    <a:pt x="24" y="128"/>
                    <a:pt x="24" y="128"/>
                  </a:cubicBezTo>
                  <a:cubicBezTo>
                    <a:pt x="13" y="118"/>
                    <a:pt x="0" y="101"/>
                    <a:pt x="0" y="83"/>
                  </a:cubicBezTo>
                  <a:cubicBezTo>
                    <a:pt x="0" y="53"/>
                    <a:pt x="23" y="0"/>
                    <a:pt x="56" y="0"/>
                  </a:cubicBezTo>
                  <a:cubicBezTo>
                    <a:pt x="88" y="0"/>
                    <a:pt x="111" y="53"/>
                    <a:pt x="111" y="83"/>
                  </a:cubicBezTo>
                  <a:cubicBezTo>
                    <a:pt x="111" y="101"/>
                    <a:pt x="102" y="118"/>
                    <a:pt x="88" y="128"/>
                  </a:cubicBezTo>
                  <a:cubicBezTo>
                    <a:pt x="88" y="288"/>
                    <a:pt x="88" y="288"/>
                    <a:pt x="88" y="288"/>
                  </a:cubicBezTo>
                  <a:cubicBezTo>
                    <a:pt x="87" y="301"/>
                    <a:pt x="78" y="320"/>
                    <a:pt x="56" y="320"/>
                  </a:cubicBezTo>
                  <a:close/>
                  <a:moveTo>
                    <a:pt x="56" y="21"/>
                  </a:moveTo>
                  <a:cubicBezTo>
                    <a:pt x="40" y="21"/>
                    <a:pt x="21" y="59"/>
                    <a:pt x="21" y="83"/>
                  </a:cubicBezTo>
                  <a:cubicBezTo>
                    <a:pt x="21" y="95"/>
                    <a:pt x="28" y="107"/>
                    <a:pt x="39" y="113"/>
                  </a:cubicBezTo>
                  <a:cubicBezTo>
                    <a:pt x="43" y="115"/>
                    <a:pt x="45" y="118"/>
                    <a:pt x="45" y="122"/>
                  </a:cubicBezTo>
                  <a:cubicBezTo>
                    <a:pt x="45" y="288"/>
                    <a:pt x="45" y="288"/>
                    <a:pt x="45" y="288"/>
                  </a:cubicBezTo>
                  <a:cubicBezTo>
                    <a:pt x="45" y="291"/>
                    <a:pt x="47" y="298"/>
                    <a:pt x="56" y="298"/>
                  </a:cubicBezTo>
                  <a:cubicBezTo>
                    <a:pt x="64" y="298"/>
                    <a:pt x="66" y="291"/>
                    <a:pt x="66" y="287"/>
                  </a:cubicBezTo>
                  <a:cubicBezTo>
                    <a:pt x="66" y="122"/>
                    <a:pt x="66" y="122"/>
                    <a:pt x="66" y="122"/>
                  </a:cubicBezTo>
                  <a:cubicBezTo>
                    <a:pt x="66" y="118"/>
                    <a:pt x="68" y="115"/>
                    <a:pt x="72" y="113"/>
                  </a:cubicBezTo>
                  <a:cubicBezTo>
                    <a:pt x="83" y="107"/>
                    <a:pt x="90" y="95"/>
                    <a:pt x="90" y="83"/>
                  </a:cubicBezTo>
                  <a:cubicBezTo>
                    <a:pt x="90" y="59"/>
                    <a:pt x="71" y="21"/>
                    <a:pt x="56"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7" name="Freeform 205">
            <a:extLst>
              <a:ext uri="{FF2B5EF4-FFF2-40B4-BE49-F238E27FC236}">
                <a16:creationId xmlns:a16="http://schemas.microsoft.com/office/drawing/2014/main" id="{8E9553B5-697B-46EC-A28C-A516139631EF}"/>
              </a:ext>
            </a:extLst>
          </p:cNvPr>
          <p:cNvSpPr>
            <a:spLocks noChangeAspect="1" noEditPoints="1"/>
          </p:cNvSpPr>
          <p:nvPr/>
        </p:nvSpPr>
        <p:spPr bwMode="auto">
          <a:xfrm>
            <a:off x="481914" y="1697372"/>
            <a:ext cx="369676" cy="369676"/>
          </a:xfrm>
          <a:custGeom>
            <a:avLst/>
            <a:gdLst>
              <a:gd name="T0" fmla="*/ 290 w 512"/>
              <a:gd name="T1" fmla="*/ 179 h 512"/>
              <a:gd name="T2" fmla="*/ 272 w 512"/>
              <a:gd name="T3" fmla="*/ 209 h 512"/>
              <a:gd name="T4" fmla="*/ 266 w 512"/>
              <a:gd name="T5" fmla="*/ 218 h 512"/>
              <a:gd name="T6" fmla="*/ 266 w 512"/>
              <a:gd name="T7" fmla="*/ 383 h 512"/>
              <a:gd name="T8" fmla="*/ 256 w 512"/>
              <a:gd name="T9" fmla="*/ 394 h 512"/>
              <a:gd name="T10" fmla="*/ 245 w 512"/>
              <a:gd name="T11" fmla="*/ 384 h 512"/>
              <a:gd name="T12" fmla="*/ 245 w 512"/>
              <a:gd name="T13" fmla="*/ 218 h 512"/>
              <a:gd name="T14" fmla="*/ 239 w 512"/>
              <a:gd name="T15" fmla="*/ 209 h 512"/>
              <a:gd name="T16" fmla="*/ 221 w 512"/>
              <a:gd name="T17" fmla="*/ 179 h 512"/>
              <a:gd name="T18" fmla="*/ 256 w 512"/>
              <a:gd name="T19" fmla="*/ 117 h 512"/>
              <a:gd name="T20" fmla="*/ 290 w 512"/>
              <a:gd name="T21" fmla="*/ 17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11 w 512"/>
              <a:gd name="T33" fmla="*/ 179 h 512"/>
              <a:gd name="T34" fmla="*/ 256 w 512"/>
              <a:gd name="T35" fmla="*/ 96 h 512"/>
              <a:gd name="T36" fmla="*/ 200 w 512"/>
              <a:gd name="T37" fmla="*/ 179 h 512"/>
              <a:gd name="T38" fmla="*/ 224 w 512"/>
              <a:gd name="T39" fmla="*/ 224 h 512"/>
              <a:gd name="T40" fmla="*/ 224 w 512"/>
              <a:gd name="T41" fmla="*/ 384 h 512"/>
              <a:gd name="T42" fmla="*/ 256 w 512"/>
              <a:gd name="T43" fmla="*/ 416 h 512"/>
              <a:gd name="T44" fmla="*/ 288 w 512"/>
              <a:gd name="T45" fmla="*/ 384 h 512"/>
              <a:gd name="T46" fmla="*/ 288 w 512"/>
              <a:gd name="T47" fmla="*/ 224 h 512"/>
              <a:gd name="T48" fmla="*/ 311 w 512"/>
              <a:gd name="T49" fmla="*/ 1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90" y="179"/>
                </a:moveTo>
                <a:cubicBezTo>
                  <a:pt x="290" y="191"/>
                  <a:pt x="283" y="203"/>
                  <a:pt x="272" y="209"/>
                </a:cubicBezTo>
                <a:cubicBezTo>
                  <a:pt x="268" y="211"/>
                  <a:pt x="266" y="214"/>
                  <a:pt x="266" y="218"/>
                </a:cubicBezTo>
                <a:cubicBezTo>
                  <a:pt x="266" y="383"/>
                  <a:pt x="266" y="383"/>
                  <a:pt x="266" y="383"/>
                </a:cubicBezTo>
                <a:cubicBezTo>
                  <a:pt x="266" y="387"/>
                  <a:pt x="264" y="394"/>
                  <a:pt x="256" y="394"/>
                </a:cubicBezTo>
                <a:cubicBezTo>
                  <a:pt x="247" y="394"/>
                  <a:pt x="245" y="387"/>
                  <a:pt x="245" y="384"/>
                </a:cubicBezTo>
                <a:cubicBezTo>
                  <a:pt x="245" y="218"/>
                  <a:pt x="245" y="218"/>
                  <a:pt x="245" y="218"/>
                </a:cubicBezTo>
                <a:cubicBezTo>
                  <a:pt x="245" y="214"/>
                  <a:pt x="243" y="211"/>
                  <a:pt x="239" y="209"/>
                </a:cubicBezTo>
                <a:cubicBezTo>
                  <a:pt x="228" y="203"/>
                  <a:pt x="221" y="191"/>
                  <a:pt x="221" y="179"/>
                </a:cubicBezTo>
                <a:cubicBezTo>
                  <a:pt x="221" y="155"/>
                  <a:pt x="240" y="117"/>
                  <a:pt x="256" y="117"/>
                </a:cubicBezTo>
                <a:cubicBezTo>
                  <a:pt x="271" y="117"/>
                  <a:pt x="290" y="155"/>
                  <a:pt x="290" y="17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11" y="179"/>
                </a:moveTo>
                <a:cubicBezTo>
                  <a:pt x="311" y="149"/>
                  <a:pt x="288" y="96"/>
                  <a:pt x="256" y="96"/>
                </a:cubicBezTo>
                <a:cubicBezTo>
                  <a:pt x="223" y="96"/>
                  <a:pt x="200" y="149"/>
                  <a:pt x="200" y="179"/>
                </a:cubicBezTo>
                <a:cubicBezTo>
                  <a:pt x="200" y="197"/>
                  <a:pt x="213" y="214"/>
                  <a:pt x="224" y="224"/>
                </a:cubicBezTo>
                <a:cubicBezTo>
                  <a:pt x="224" y="384"/>
                  <a:pt x="224" y="384"/>
                  <a:pt x="224" y="384"/>
                </a:cubicBezTo>
                <a:cubicBezTo>
                  <a:pt x="224" y="397"/>
                  <a:pt x="233" y="416"/>
                  <a:pt x="256" y="416"/>
                </a:cubicBezTo>
                <a:cubicBezTo>
                  <a:pt x="278" y="416"/>
                  <a:pt x="287" y="397"/>
                  <a:pt x="288" y="384"/>
                </a:cubicBezTo>
                <a:cubicBezTo>
                  <a:pt x="288" y="224"/>
                  <a:pt x="288" y="224"/>
                  <a:pt x="288" y="224"/>
                </a:cubicBezTo>
                <a:cubicBezTo>
                  <a:pt x="302" y="214"/>
                  <a:pt x="311" y="197"/>
                  <a:pt x="311" y="17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8" name="Freeform 344">
            <a:extLst>
              <a:ext uri="{FF2B5EF4-FFF2-40B4-BE49-F238E27FC236}">
                <a16:creationId xmlns:a16="http://schemas.microsoft.com/office/drawing/2014/main" id="{275EF0B4-1060-4301-A921-59CD599844C3}"/>
              </a:ext>
            </a:extLst>
          </p:cNvPr>
          <p:cNvSpPr>
            <a:spLocks noChangeAspect="1" noEditPoints="1"/>
          </p:cNvSpPr>
          <p:nvPr/>
        </p:nvSpPr>
        <p:spPr bwMode="auto">
          <a:xfrm>
            <a:off x="1789869" y="1697372"/>
            <a:ext cx="369676" cy="370763"/>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84 w 512"/>
              <a:gd name="T11" fmla="*/ 266 h 512"/>
              <a:gd name="T12" fmla="*/ 394 w 512"/>
              <a:gd name="T13" fmla="*/ 234 h 512"/>
              <a:gd name="T14" fmla="*/ 362 w 512"/>
              <a:gd name="T15" fmla="*/ 181 h 512"/>
              <a:gd name="T16" fmla="*/ 272 w 512"/>
              <a:gd name="T17" fmla="*/ 175 h 512"/>
              <a:gd name="T18" fmla="*/ 256 w 512"/>
              <a:gd name="T19" fmla="*/ 170 h 512"/>
              <a:gd name="T20" fmla="*/ 240 w 512"/>
              <a:gd name="T21" fmla="*/ 175 h 512"/>
              <a:gd name="T22" fmla="*/ 149 w 512"/>
              <a:gd name="T23" fmla="*/ 181 h 512"/>
              <a:gd name="T24" fmla="*/ 117 w 512"/>
              <a:gd name="T25" fmla="*/ 234 h 512"/>
              <a:gd name="T26" fmla="*/ 128 w 512"/>
              <a:gd name="T27" fmla="*/ 266 h 512"/>
              <a:gd name="T28" fmla="*/ 96 w 512"/>
              <a:gd name="T29" fmla="*/ 277 h 512"/>
              <a:gd name="T30" fmla="*/ 128 w 512"/>
              <a:gd name="T31" fmla="*/ 288 h 512"/>
              <a:gd name="T32" fmla="*/ 179 w 512"/>
              <a:gd name="T33" fmla="*/ 416 h 512"/>
              <a:gd name="T34" fmla="*/ 384 w 512"/>
              <a:gd name="T35" fmla="*/ 367 h 512"/>
              <a:gd name="T36" fmla="*/ 405 w 512"/>
              <a:gd name="T37" fmla="*/ 288 h 512"/>
              <a:gd name="T38" fmla="*/ 405 w 512"/>
              <a:gd name="T39" fmla="*/ 266 h 512"/>
              <a:gd name="T40" fmla="*/ 149 w 512"/>
              <a:gd name="T41" fmla="*/ 202 h 512"/>
              <a:gd name="T42" fmla="*/ 373 w 512"/>
              <a:gd name="T43" fmla="*/ 213 h 512"/>
              <a:gd name="T44" fmla="*/ 138 w 512"/>
              <a:gd name="T45" fmla="*/ 224 h 512"/>
              <a:gd name="T46" fmla="*/ 362 w 512"/>
              <a:gd name="T47" fmla="*/ 367 h 512"/>
              <a:gd name="T48" fmla="*/ 179 w 512"/>
              <a:gd name="T49" fmla="*/ 394 h 512"/>
              <a:gd name="T50" fmla="*/ 149 w 512"/>
              <a:gd name="T51" fmla="*/ 245 h 512"/>
              <a:gd name="T52" fmla="*/ 362 w 512"/>
              <a:gd name="T53" fmla="*/ 367 h 512"/>
              <a:gd name="T54" fmla="*/ 248 w 512"/>
              <a:gd name="T55" fmla="*/ 115 h 512"/>
              <a:gd name="T56" fmla="*/ 262 w 512"/>
              <a:gd name="T57" fmla="*/ 96 h 512"/>
              <a:gd name="T58" fmla="*/ 264 w 512"/>
              <a:gd name="T59" fmla="*/ 129 h 512"/>
              <a:gd name="T60" fmla="*/ 249 w 512"/>
              <a:gd name="T61" fmla="*/ 149 h 512"/>
              <a:gd name="T62" fmla="*/ 279 w 512"/>
              <a:gd name="T63" fmla="*/ 149 h 512"/>
              <a:gd name="T64" fmla="*/ 297 w 512"/>
              <a:gd name="T65" fmla="*/ 106 h 512"/>
              <a:gd name="T66" fmla="*/ 318 w 512"/>
              <a:gd name="T67" fmla="*/ 106 h 512"/>
              <a:gd name="T68" fmla="*/ 300 w 512"/>
              <a:gd name="T69" fmla="*/ 149 h 512"/>
              <a:gd name="T70" fmla="*/ 279 w 512"/>
              <a:gd name="T71" fmla="*/ 149 h 512"/>
              <a:gd name="T72" fmla="*/ 205 w 512"/>
              <a:gd name="T73" fmla="*/ 121 h 512"/>
              <a:gd name="T74" fmla="*/ 222 w 512"/>
              <a:gd name="T75" fmla="*/ 96 h 512"/>
              <a:gd name="T76" fmla="*/ 221 w 512"/>
              <a:gd name="T77" fmla="*/ 135 h 512"/>
              <a:gd name="T78" fmla="*/ 204 w 512"/>
              <a:gd name="T7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4" y="266"/>
                  <a:pt x="384" y="266"/>
                  <a:pt x="384" y="266"/>
                </a:cubicBezTo>
                <a:cubicBezTo>
                  <a:pt x="384" y="245"/>
                  <a:pt x="384" y="245"/>
                  <a:pt x="384" y="245"/>
                </a:cubicBezTo>
                <a:cubicBezTo>
                  <a:pt x="390" y="245"/>
                  <a:pt x="394" y="240"/>
                  <a:pt x="394" y="234"/>
                </a:cubicBezTo>
                <a:cubicBezTo>
                  <a:pt x="394" y="213"/>
                  <a:pt x="394" y="213"/>
                  <a:pt x="394" y="213"/>
                </a:cubicBezTo>
                <a:cubicBezTo>
                  <a:pt x="394" y="195"/>
                  <a:pt x="380" y="181"/>
                  <a:pt x="362" y="181"/>
                </a:cubicBezTo>
                <a:cubicBezTo>
                  <a:pt x="275" y="181"/>
                  <a:pt x="275" y="181"/>
                  <a:pt x="275" y="181"/>
                </a:cubicBezTo>
                <a:cubicBezTo>
                  <a:pt x="274" y="179"/>
                  <a:pt x="273" y="177"/>
                  <a:pt x="272" y="175"/>
                </a:cubicBezTo>
                <a:cubicBezTo>
                  <a:pt x="267" y="170"/>
                  <a:pt x="260" y="170"/>
                  <a:pt x="257" y="170"/>
                </a:cubicBezTo>
                <a:cubicBezTo>
                  <a:pt x="256" y="170"/>
                  <a:pt x="256" y="170"/>
                  <a:pt x="256" y="170"/>
                </a:cubicBezTo>
                <a:cubicBezTo>
                  <a:pt x="254" y="170"/>
                  <a:pt x="254" y="170"/>
                  <a:pt x="254" y="170"/>
                </a:cubicBezTo>
                <a:cubicBezTo>
                  <a:pt x="251" y="170"/>
                  <a:pt x="245" y="170"/>
                  <a:pt x="240" y="175"/>
                </a:cubicBezTo>
                <a:cubicBezTo>
                  <a:pt x="238" y="177"/>
                  <a:pt x="237" y="179"/>
                  <a:pt x="236" y="181"/>
                </a:cubicBezTo>
                <a:cubicBezTo>
                  <a:pt x="149" y="181"/>
                  <a:pt x="149" y="181"/>
                  <a:pt x="149" y="181"/>
                </a:cubicBezTo>
                <a:cubicBezTo>
                  <a:pt x="131" y="181"/>
                  <a:pt x="117" y="195"/>
                  <a:pt x="117" y="213"/>
                </a:cubicBezTo>
                <a:cubicBezTo>
                  <a:pt x="117" y="234"/>
                  <a:pt x="117" y="234"/>
                  <a:pt x="117" y="234"/>
                </a:cubicBezTo>
                <a:cubicBezTo>
                  <a:pt x="117" y="240"/>
                  <a:pt x="122" y="245"/>
                  <a:pt x="128" y="245"/>
                </a:cubicBezTo>
                <a:cubicBezTo>
                  <a:pt x="128" y="266"/>
                  <a:pt x="128" y="266"/>
                  <a:pt x="128" y="266"/>
                </a:cubicBezTo>
                <a:cubicBezTo>
                  <a:pt x="106" y="266"/>
                  <a:pt x="106" y="266"/>
                  <a:pt x="106" y="266"/>
                </a:cubicBezTo>
                <a:cubicBezTo>
                  <a:pt x="100" y="266"/>
                  <a:pt x="96" y="271"/>
                  <a:pt x="96" y="277"/>
                </a:cubicBezTo>
                <a:cubicBezTo>
                  <a:pt x="96" y="283"/>
                  <a:pt x="100" y="288"/>
                  <a:pt x="106" y="288"/>
                </a:cubicBezTo>
                <a:cubicBezTo>
                  <a:pt x="128" y="288"/>
                  <a:pt x="128" y="288"/>
                  <a:pt x="128" y="288"/>
                </a:cubicBezTo>
                <a:cubicBezTo>
                  <a:pt x="128" y="367"/>
                  <a:pt x="128" y="367"/>
                  <a:pt x="128" y="367"/>
                </a:cubicBezTo>
                <a:cubicBezTo>
                  <a:pt x="128" y="394"/>
                  <a:pt x="151" y="416"/>
                  <a:pt x="179" y="416"/>
                </a:cubicBezTo>
                <a:cubicBezTo>
                  <a:pt x="332" y="416"/>
                  <a:pt x="332" y="416"/>
                  <a:pt x="332" y="416"/>
                </a:cubicBezTo>
                <a:cubicBezTo>
                  <a:pt x="361" y="416"/>
                  <a:pt x="384" y="394"/>
                  <a:pt x="384" y="367"/>
                </a:cubicBezTo>
                <a:cubicBezTo>
                  <a:pt x="384" y="288"/>
                  <a:pt x="384" y="288"/>
                  <a:pt x="384" y="288"/>
                </a:cubicBezTo>
                <a:cubicBezTo>
                  <a:pt x="405" y="288"/>
                  <a:pt x="405" y="288"/>
                  <a:pt x="405" y="288"/>
                </a:cubicBezTo>
                <a:cubicBezTo>
                  <a:pt x="411" y="288"/>
                  <a:pt x="416" y="283"/>
                  <a:pt x="416" y="277"/>
                </a:cubicBezTo>
                <a:cubicBezTo>
                  <a:pt x="416" y="271"/>
                  <a:pt x="411" y="266"/>
                  <a:pt x="405" y="266"/>
                </a:cubicBezTo>
                <a:close/>
                <a:moveTo>
                  <a:pt x="138" y="213"/>
                </a:moveTo>
                <a:cubicBezTo>
                  <a:pt x="138" y="207"/>
                  <a:pt x="143" y="202"/>
                  <a:pt x="149" y="202"/>
                </a:cubicBezTo>
                <a:cubicBezTo>
                  <a:pt x="362" y="202"/>
                  <a:pt x="362" y="202"/>
                  <a:pt x="362" y="202"/>
                </a:cubicBezTo>
                <a:cubicBezTo>
                  <a:pt x="368" y="202"/>
                  <a:pt x="373" y="207"/>
                  <a:pt x="373" y="213"/>
                </a:cubicBezTo>
                <a:cubicBezTo>
                  <a:pt x="373" y="224"/>
                  <a:pt x="373" y="224"/>
                  <a:pt x="373" y="224"/>
                </a:cubicBezTo>
                <a:cubicBezTo>
                  <a:pt x="138" y="224"/>
                  <a:pt x="138" y="224"/>
                  <a:pt x="138" y="224"/>
                </a:cubicBezTo>
                <a:lnTo>
                  <a:pt x="138" y="213"/>
                </a:lnTo>
                <a:close/>
                <a:moveTo>
                  <a:pt x="362" y="367"/>
                </a:moveTo>
                <a:cubicBezTo>
                  <a:pt x="362" y="382"/>
                  <a:pt x="349" y="394"/>
                  <a:pt x="332" y="394"/>
                </a:cubicBezTo>
                <a:cubicBezTo>
                  <a:pt x="179" y="394"/>
                  <a:pt x="179" y="394"/>
                  <a:pt x="179" y="394"/>
                </a:cubicBezTo>
                <a:cubicBezTo>
                  <a:pt x="163" y="394"/>
                  <a:pt x="149" y="382"/>
                  <a:pt x="149" y="367"/>
                </a:cubicBezTo>
                <a:cubicBezTo>
                  <a:pt x="149" y="245"/>
                  <a:pt x="149" y="245"/>
                  <a:pt x="149" y="245"/>
                </a:cubicBezTo>
                <a:cubicBezTo>
                  <a:pt x="362" y="245"/>
                  <a:pt x="362" y="245"/>
                  <a:pt x="362" y="245"/>
                </a:cubicBezTo>
                <a:lnTo>
                  <a:pt x="362" y="367"/>
                </a:lnTo>
                <a:close/>
                <a:moveTo>
                  <a:pt x="238" y="138"/>
                </a:moveTo>
                <a:cubicBezTo>
                  <a:pt x="238" y="126"/>
                  <a:pt x="244" y="120"/>
                  <a:pt x="248" y="115"/>
                </a:cubicBezTo>
                <a:cubicBezTo>
                  <a:pt x="250" y="112"/>
                  <a:pt x="252" y="110"/>
                  <a:pt x="252" y="106"/>
                </a:cubicBezTo>
                <a:cubicBezTo>
                  <a:pt x="252" y="100"/>
                  <a:pt x="256" y="96"/>
                  <a:pt x="262" y="96"/>
                </a:cubicBezTo>
                <a:cubicBezTo>
                  <a:pt x="268" y="96"/>
                  <a:pt x="273" y="100"/>
                  <a:pt x="273" y="106"/>
                </a:cubicBezTo>
                <a:cubicBezTo>
                  <a:pt x="273" y="118"/>
                  <a:pt x="268" y="125"/>
                  <a:pt x="264" y="129"/>
                </a:cubicBezTo>
                <a:cubicBezTo>
                  <a:pt x="261" y="133"/>
                  <a:pt x="260" y="134"/>
                  <a:pt x="260" y="138"/>
                </a:cubicBezTo>
                <a:cubicBezTo>
                  <a:pt x="260" y="144"/>
                  <a:pt x="255" y="149"/>
                  <a:pt x="249" y="149"/>
                </a:cubicBezTo>
                <a:cubicBezTo>
                  <a:pt x="243" y="149"/>
                  <a:pt x="238" y="144"/>
                  <a:pt x="238" y="138"/>
                </a:cubicBezTo>
                <a:close/>
                <a:moveTo>
                  <a:pt x="279" y="149"/>
                </a:moveTo>
                <a:cubicBezTo>
                  <a:pt x="279" y="134"/>
                  <a:pt x="285" y="127"/>
                  <a:pt x="290" y="121"/>
                </a:cubicBezTo>
                <a:cubicBezTo>
                  <a:pt x="294" y="116"/>
                  <a:pt x="297" y="113"/>
                  <a:pt x="297" y="106"/>
                </a:cubicBezTo>
                <a:cubicBezTo>
                  <a:pt x="297" y="100"/>
                  <a:pt x="301" y="96"/>
                  <a:pt x="307" y="96"/>
                </a:cubicBezTo>
                <a:cubicBezTo>
                  <a:pt x="313" y="96"/>
                  <a:pt x="318" y="100"/>
                  <a:pt x="318" y="106"/>
                </a:cubicBezTo>
                <a:cubicBezTo>
                  <a:pt x="318" y="121"/>
                  <a:pt x="311" y="129"/>
                  <a:pt x="307" y="135"/>
                </a:cubicBezTo>
                <a:cubicBezTo>
                  <a:pt x="302" y="139"/>
                  <a:pt x="300" y="142"/>
                  <a:pt x="300" y="149"/>
                </a:cubicBezTo>
                <a:cubicBezTo>
                  <a:pt x="300" y="155"/>
                  <a:pt x="295" y="160"/>
                  <a:pt x="289" y="160"/>
                </a:cubicBezTo>
                <a:cubicBezTo>
                  <a:pt x="283" y="160"/>
                  <a:pt x="279" y="155"/>
                  <a:pt x="279" y="149"/>
                </a:cubicBezTo>
                <a:close/>
                <a:moveTo>
                  <a:pt x="193" y="149"/>
                </a:moveTo>
                <a:cubicBezTo>
                  <a:pt x="193" y="134"/>
                  <a:pt x="200" y="127"/>
                  <a:pt x="205" y="121"/>
                </a:cubicBezTo>
                <a:cubicBezTo>
                  <a:pt x="209" y="116"/>
                  <a:pt x="211" y="113"/>
                  <a:pt x="211" y="106"/>
                </a:cubicBezTo>
                <a:cubicBezTo>
                  <a:pt x="211" y="100"/>
                  <a:pt x="216" y="96"/>
                  <a:pt x="222" y="96"/>
                </a:cubicBezTo>
                <a:cubicBezTo>
                  <a:pt x="228" y="96"/>
                  <a:pt x="233" y="100"/>
                  <a:pt x="233" y="106"/>
                </a:cubicBezTo>
                <a:cubicBezTo>
                  <a:pt x="233" y="121"/>
                  <a:pt x="226" y="129"/>
                  <a:pt x="221" y="135"/>
                </a:cubicBezTo>
                <a:cubicBezTo>
                  <a:pt x="217" y="139"/>
                  <a:pt x="215" y="142"/>
                  <a:pt x="215" y="149"/>
                </a:cubicBezTo>
                <a:cubicBezTo>
                  <a:pt x="215" y="155"/>
                  <a:pt x="210" y="160"/>
                  <a:pt x="204" y="160"/>
                </a:cubicBezTo>
                <a:cubicBezTo>
                  <a:pt x="198" y="160"/>
                  <a:pt x="193" y="155"/>
                  <a:pt x="193" y="14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9" name="Freeform 348">
            <a:extLst>
              <a:ext uri="{FF2B5EF4-FFF2-40B4-BE49-F238E27FC236}">
                <a16:creationId xmlns:a16="http://schemas.microsoft.com/office/drawing/2014/main" id="{23809D8D-63DE-4454-89B9-0DD2BBB73772}"/>
              </a:ext>
            </a:extLst>
          </p:cNvPr>
          <p:cNvSpPr>
            <a:spLocks noChangeAspect="1" noEditPoints="1"/>
          </p:cNvSpPr>
          <p:nvPr/>
        </p:nvSpPr>
        <p:spPr bwMode="auto">
          <a:xfrm>
            <a:off x="1353884" y="1697372"/>
            <a:ext cx="369676" cy="369676"/>
          </a:xfrm>
          <a:custGeom>
            <a:avLst/>
            <a:gdLst>
              <a:gd name="T0" fmla="*/ 373 w 512"/>
              <a:gd name="T1" fmla="*/ 224 h 512"/>
              <a:gd name="T2" fmla="*/ 138 w 512"/>
              <a:gd name="T3" fmla="*/ 213 h 512"/>
              <a:gd name="T4" fmla="*/ 362 w 512"/>
              <a:gd name="T5" fmla="*/ 202 h 512"/>
              <a:gd name="T6" fmla="*/ 149 w 512"/>
              <a:gd name="T7" fmla="*/ 367 h 512"/>
              <a:gd name="T8" fmla="*/ 332 w 512"/>
              <a:gd name="T9" fmla="*/ 394 h 512"/>
              <a:gd name="T10" fmla="*/ 362 w 512"/>
              <a:gd name="T11" fmla="*/ 245 h 512"/>
              <a:gd name="T12" fmla="*/ 149 w 512"/>
              <a:gd name="T13" fmla="*/ 367 h 512"/>
              <a:gd name="T14" fmla="*/ 256 w 512"/>
              <a:gd name="T15" fmla="*/ 512 h 512"/>
              <a:gd name="T16" fmla="*/ 256 w 512"/>
              <a:gd name="T17" fmla="*/ 0 h 512"/>
              <a:gd name="T18" fmla="*/ 279 w 512"/>
              <a:gd name="T19" fmla="*/ 149 h 512"/>
              <a:gd name="T20" fmla="*/ 300 w 512"/>
              <a:gd name="T21" fmla="*/ 149 h 512"/>
              <a:gd name="T22" fmla="*/ 318 w 512"/>
              <a:gd name="T23" fmla="*/ 106 h 512"/>
              <a:gd name="T24" fmla="*/ 297 w 512"/>
              <a:gd name="T25" fmla="*/ 106 h 512"/>
              <a:gd name="T26" fmla="*/ 279 w 512"/>
              <a:gd name="T27" fmla="*/ 149 h 512"/>
              <a:gd name="T28" fmla="*/ 249 w 512"/>
              <a:gd name="T29" fmla="*/ 149 h 512"/>
              <a:gd name="T30" fmla="*/ 264 w 512"/>
              <a:gd name="T31" fmla="*/ 129 h 512"/>
              <a:gd name="T32" fmla="*/ 262 w 512"/>
              <a:gd name="T33" fmla="*/ 96 h 512"/>
              <a:gd name="T34" fmla="*/ 248 w 512"/>
              <a:gd name="T35" fmla="*/ 115 h 512"/>
              <a:gd name="T36" fmla="*/ 193 w 512"/>
              <a:gd name="T37" fmla="*/ 149 h 512"/>
              <a:gd name="T38" fmla="*/ 215 w 512"/>
              <a:gd name="T39" fmla="*/ 149 h 512"/>
              <a:gd name="T40" fmla="*/ 233 w 512"/>
              <a:gd name="T41" fmla="*/ 106 h 512"/>
              <a:gd name="T42" fmla="*/ 211 w 512"/>
              <a:gd name="T43" fmla="*/ 106 h 512"/>
              <a:gd name="T44" fmla="*/ 193 w 512"/>
              <a:gd name="T45" fmla="*/ 149 h 512"/>
              <a:gd name="T46" fmla="*/ 405 w 512"/>
              <a:gd name="T47" fmla="*/ 266 h 512"/>
              <a:gd name="T48" fmla="*/ 384 w 512"/>
              <a:gd name="T49" fmla="*/ 245 h 512"/>
              <a:gd name="T50" fmla="*/ 394 w 512"/>
              <a:gd name="T51" fmla="*/ 213 h 512"/>
              <a:gd name="T52" fmla="*/ 275 w 512"/>
              <a:gd name="T53" fmla="*/ 181 h 512"/>
              <a:gd name="T54" fmla="*/ 257 w 512"/>
              <a:gd name="T55" fmla="*/ 170 h 512"/>
              <a:gd name="T56" fmla="*/ 254 w 512"/>
              <a:gd name="T57" fmla="*/ 170 h 512"/>
              <a:gd name="T58" fmla="*/ 236 w 512"/>
              <a:gd name="T59" fmla="*/ 181 h 512"/>
              <a:gd name="T60" fmla="*/ 117 w 512"/>
              <a:gd name="T61" fmla="*/ 213 h 512"/>
              <a:gd name="T62" fmla="*/ 128 w 512"/>
              <a:gd name="T63" fmla="*/ 245 h 512"/>
              <a:gd name="T64" fmla="*/ 106 w 512"/>
              <a:gd name="T65" fmla="*/ 266 h 512"/>
              <a:gd name="T66" fmla="*/ 106 w 512"/>
              <a:gd name="T67" fmla="*/ 288 h 512"/>
              <a:gd name="T68" fmla="*/ 128 w 512"/>
              <a:gd name="T69" fmla="*/ 367 h 512"/>
              <a:gd name="T70" fmla="*/ 332 w 512"/>
              <a:gd name="T71" fmla="*/ 416 h 512"/>
              <a:gd name="T72" fmla="*/ 384 w 512"/>
              <a:gd name="T73" fmla="*/ 288 h 512"/>
              <a:gd name="T74" fmla="*/ 416 w 512"/>
              <a:gd name="T75"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73" y="213"/>
                </a:moveTo>
                <a:cubicBezTo>
                  <a:pt x="373" y="224"/>
                  <a:pt x="373" y="224"/>
                  <a:pt x="373" y="224"/>
                </a:cubicBezTo>
                <a:cubicBezTo>
                  <a:pt x="138" y="224"/>
                  <a:pt x="138" y="224"/>
                  <a:pt x="138" y="224"/>
                </a:cubicBezTo>
                <a:cubicBezTo>
                  <a:pt x="138" y="213"/>
                  <a:pt x="138" y="213"/>
                  <a:pt x="138" y="213"/>
                </a:cubicBezTo>
                <a:cubicBezTo>
                  <a:pt x="138" y="207"/>
                  <a:pt x="143" y="202"/>
                  <a:pt x="149" y="202"/>
                </a:cubicBezTo>
                <a:cubicBezTo>
                  <a:pt x="362" y="202"/>
                  <a:pt x="362" y="202"/>
                  <a:pt x="362" y="202"/>
                </a:cubicBezTo>
                <a:cubicBezTo>
                  <a:pt x="368" y="202"/>
                  <a:pt x="373" y="207"/>
                  <a:pt x="373" y="213"/>
                </a:cubicBezTo>
                <a:close/>
                <a:moveTo>
                  <a:pt x="149" y="367"/>
                </a:moveTo>
                <a:cubicBezTo>
                  <a:pt x="149" y="382"/>
                  <a:pt x="163" y="394"/>
                  <a:pt x="179" y="394"/>
                </a:cubicBezTo>
                <a:cubicBezTo>
                  <a:pt x="332" y="394"/>
                  <a:pt x="332" y="394"/>
                  <a:pt x="332" y="394"/>
                </a:cubicBezTo>
                <a:cubicBezTo>
                  <a:pt x="349" y="394"/>
                  <a:pt x="362" y="382"/>
                  <a:pt x="362" y="367"/>
                </a:cubicBezTo>
                <a:cubicBezTo>
                  <a:pt x="362" y="245"/>
                  <a:pt x="362" y="245"/>
                  <a:pt x="362" y="245"/>
                </a:cubicBezTo>
                <a:cubicBezTo>
                  <a:pt x="149" y="245"/>
                  <a:pt x="149" y="245"/>
                  <a:pt x="149" y="245"/>
                </a:cubicBezTo>
                <a:lnTo>
                  <a:pt x="149" y="36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9" y="149"/>
                </a:moveTo>
                <a:cubicBezTo>
                  <a:pt x="279" y="155"/>
                  <a:pt x="283" y="160"/>
                  <a:pt x="289" y="160"/>
                </a:cubicBezTo>
                <a:cubicBezTo>
                  <a:pt x="295" y="160"/>
                  <a:pt x="300" y="155"/>
                  <a:pt x="300" y="149"/>
                </a:cubicBezTo>
                <a:cubicBezTo>
                  <a:pt x="300" y="142"/>
                  <a:pt x="302" y="139"/>
                  <a:pt x="307" y="135"/>
                </a:cubicBezTo>
                <a:cubicBezTo>
                  <a:pt x="311" y="129"/>
                  <a:pt x="318" y="121"/>
                  <a:pt x="318" y="106"/>
                </a:cubicBezTo>
                <a:cubicBezTo>
                  <a:pt x="318" y="100"/>
                  <a:pt x="313" y="96"/>
                  <a:pt x="307" y="96"/>
                </a:cubicBezTo>
                <a:cubicBezTo>
                  <a:pt x="301" y="96"/>
                  <a:pt x="297" y="100"/>
                  <a:pt x="297" y="106"/>
                </a:cubicBezTo>
                <a:cubicBezTo>
                  <a:pt x="297" y="113"/>
                  <a:pt x="294" y="116"/>
                  <a:pt x="290" y="121"/>
                </a:cubicBezTo>
                <a:cubicBezTo>
                  <a:pt x="285" y="127"/>
                  <a:pt x="279" y="134"/>
                  <a:pt x="279" y="149"/>
                </a:cubicBezTo>
                <a:close/>
                <a:moveTo>
                  <a:pt x="238" y="138"/>
                </a:moveTo>
                <a:cubicBezTo>
                  <a:pt x="238" y="144"/>
                  <a:pt x="243" y="149"/>
                  <a:pt x="249" y="149"/>
                </a:cubicBezTo>
                <a:cubicBezTo>
                  <a:pt x="255" y="149"/>
                  <a:pt x="260" y="144"/>
                  <a:pt x="260" y="138"/>
                </a:cubicBezTo>
                <a:cubicBezTo>
                  <a:pt x="260" y="134"/>
                  <a:pt x="261" y="133"/>
                  <a:pt x="264" y="129"/>
                </a:cubicBezTo>
                <a:cubicBezTo>
                  <a:pt x="268" y="125"/>
                  <a:pt x="273" y="118"/>
                  <a:pt x="273" y="106"/>
                </a:cubicBezTo>
                <a:cubicBezTo>
                  <a:pt x="273" y="100"/>
                  <a:pt x="268" y="96"/>
                  <a:pt x="262" y="96"/>
                </a:cubicBezTo>
                <a:cubicBezTo>
                  <a:pt x="256" y="96"/>
                  <a:pt x="252" y="100"/>
                  <a:pt x="252" y="106"/>
                </a:cubicBezTo>
                <a:cubicBezTo>
                  <a:pt x="252" y="110"/>
                  <a:pt x="250" y="112"/>
                  <a:pt x="248" y="115"/>
                </a:cubicBezTo>
                <a:cubicBezTo>
                  <a:pt x="244" y="120"/>
                  <a:pt x="238" y="126"/>
                  <a:pt x="238" y="138"/>
                </a:cubicBezTo>
                <a:close/>
                <a:moveTo>
                  <a:pt x="193" y="149"/>
                </a:moveTo>
                <a:cubicBezTo>
                  <a:pt x="193" y="155"/>
                  <a:pt x="198" y="160"/>
                  <a:pt x="204" y="160"/>
                </a:cubicBezTo>
                <a:cubicBezTo>
                  <a:pt x="210" y="160"/>
                  <a:pt x="215" y="155"/>
                  <a:pt x="215" y="149"/>
                </a:cubicBezTo>
                <a:cubicBezTo>
                  <a:pt x="215" y="142"/>
                  <a:pt x="217" y="139"/>
                  <a:pt x="221" y="135"/>
                </a:cubicBezTo>
                <a:cubicBezTo>
                  <a:pt x="226" y="129"/>
                  <a:pt x="233" y="121"/>
                  <a:pt x="233" y="106"/>
                </a:cubicBezTo>
                <a:cubicBezTo>
                  <a:pt x="233" y="100"/>
                  <a:pt x="228" y="96"/>
                  <a:pt x="222" y="96"/>
                </a:cubicBezTo>
                <a:cubicBezTo>
                  <a:pt x="216" y="96"/>
                  <a:pt x="211" y="100"/>
                  <a:pt x="211" y="106"/>
                </a:cubicBezTo>
                <a:cubicBezTo>
                  <a:pt x="211" y="113"/>
                  <a:pt x="209" y="116"/>
                  <a:pt x="205" y="121"/>
                </a:cubicBezTo>
                <a:cubicBezTo>
                  <a:pt x="200" y="127"/>
                  <a:pt x="193" y="134"/>
                  <a:pt x="193" y="149"/>
                </a:cubicBezTo>
                <a:close/>
                <a:moveTo>
                  <a:pt x="416" y="277"/>
                </a:moveTo>
                <a:cubicBezTo>
                  <a:pt x="416" y="271"/>
                  <a:pt x="411" y="266"/>
                  <a:pt x="405" y="266"/>
                </a:cubicBezTo>
                <a:cubicBezTo>
                  <a:pt x="384" y="266"/>
                  <a:pt x="384" y="266"/>
                  <a:pt x="384" y="266"/>
                </a:cubicBezTo>
                <a:cubicBezTo>
                  <a:pt x="384" y="245"/>
                  <a:pt x="384" y="245"/>
                  <a:pt x="384" y="245"/>
                </a:cubicBezTo>
                <a:cubicBezTo>
                  <a:pt x="390" y="245"/>
                  <a:pt x="394" y="240"/>
                  <a:pt x="394" y="234"/>
                </a:cubicBezTo>
                <a:cubicBezTo>
                  <a:pt x="394" y="213"/>
                  <a:pt x="394" y="213"/>
                  <a:pt x="394" y="213"/>
                </a:cubicBezTo>
                <a:cubicBezTo>
                  <a:pt x="394" y="195"/>
                  <a:pt x="380" y="181"/>
                  <a:pt x="362" y="181"/>
                </a:cubicBezTo>
                <a:cubicBezTo>
                  <a:pt x="275" y="181"/>
                  <a:pt x="275" y="181"/>
                  <a:pt x="275" y="181"/>
                </a:cubicBezTo>
                <a:cubicBezTo>
                  <a:pt x="274" y="179"/>
                  <a:pt x="273" y="177"/>
                  <a:pt x="272" y="175"/>
                </a:cubicBezTo>
                <a:cubicBezTo>
                  <a:pt x="267" y="170"/>
                  <a:pt x="260" y="170"/>
                  <a:pt x="257" y="170"/>
                </a:cubicBezTo>
                <a:cubicBezTo>
                  <a:pt x="256" y="170"/>
                  <a:pt x="256" y="170"/>
                  <a:pt x="256" y="170"/>
                </a:cubicBezTo>
                <a:cubicBezTo>
                  <a:pt x="254" y="170"/>
                  <a:pt x="254" y="170"/>
                  <a:pt x="254" y="170"/>
                </a:cubicBezTo>
                <a:cubicBezTo>
                  <a:pt x="251" y="170"/>
                  <a:pt x="245" y="170"/>
                  <a:pt x="240" y="175"/>
                </a:cubicBezTo>
                <a:cubicBezTo>
                  <a:pt x="238" y="177"/>
                  <a:pt x="237" y="179"/>
                  <a:pt x="236" y="181"/>
                </a:cubicBezTo>
                <a:cubicBezTo>
                  <a:pt x="149" y="181"/>
                  <a:pt x="149" y="181"/>
                  <a:pt x="149" y="181"/>
                </a:cubicBezTo>
                <a:cubicBezTo>
                  <a:pt x="131" y="181"/>
                  <a:pt x="117" y="195"/>
                  <a:pt x="117" y="213"/>
                </a:cubicBezTo>
                <a:cubicBezTo>
                  <a:pt x="117" y="234"/>
                  <a:pt x="117" y="234"/>
                  <a:pt x="117" y="234"/>
                </a:cubicBezTo>
                <a:cubicBezTo>
                  <a:pt x="117" y="240"/>
                  <a:pt x="122" y="245"/>
                  <a:pt x="128" y="245"/>
                </a:cubicBezTo>
                <a:cubicBezTo>
                  <a:pt x="128" y="266"/>
                  <a:pt x="128" y="266"/>
                  <a:pt x="128" y="266"/>
                </a:cubicBezTo>
                <a:cubicBezTo>
                  <a:pt x="106" y="266"/>
                  <a:pt x="106" y="266"/>
                  <a:pt x="106" y="266"/>
                </a:cubicBezTo>
                <a:cubicBezTo>
                  <a:pt x="100" y="266"/>
                  <a:pt x="96" y="271"/>
                  <a:pt x="96" y="277"/>
                </a:cubicBezTo>
                <a:cubicBezTo>
                  <a:pt x="96" y="283"/>
                  <a:pt x="100" y="288"/>
                  <a:pt x="106" y="288"/>
                </a:cubicBezTo>
                <a:cubicBezTo>
                  <a:pt x="128" y="288"/>
                  <a:pt x="128" y="288"/>
                  <a:pt x="128" y="288"/>
                </a:cubicBezTo>
                <a:cubicBezTo>
                  <a:pt x="128" y="367"/>
                  <a:pt x="128" y="367"/>
                  <a:pt x="128" y="367"/>
                </a:cubicBezTo>
                <a:cubicBezTo>
                  <a:pt x="128" y="394"/>
                  <a:pt x="151" y="416"/>
                  <a:pt x="179" y="416"/>
                </a:cubicBezTo>
                <a:cubicBezTo>
                  <a:pt x="332" y="416"/>
                  <a:pt x="332" y="416"/>
                  <a:pt x="332" y="416"/>
                </a:cubicBezTo>
                <a:cubicBezTo>
                  <a:pt x="361" y="416"/>
                  <a:pt x="384" y="394"/>
                  <a:pt x="384" y="367"/>
                </a:cubicBezTo>
                <a:cubicBezTo>
                  <a:pt x="384" y="288"/>
                  <a:pt x="384" y="288"/>
                  <a:pt x="384" y="288"/>
                </a:cubicBezTo>
                <a:cubicBezTo>
                  <a:pt x="405" y="288"/>
                  <a:pt x="405" y="288"/>
                  <a:pt x="405" y="288"/>
                </a:cubicBezTo>
                <a:cubicBezTo>
                  <a:pt x="411" y="288"/>
                  <a:pt x="416" y="283"/>
                  <a:pt x="416" y="27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0" name="Freeform 865">
            <a:extLst>
              <a:ext uri="{FF2B5EF4-FFF2-40B4-BE49-F238E27FC236}">
                <a16:creationId xmlns:a16="http://schemas.microsoft.com/office/drawing/2014/main" id="{3F8C9B2F-2A44-4E6D-9F80-5E6397A96A41}"/>
              </a:ext>
            </a:extLst>
          </p:cNvPr>
          <p:cNvSpPr>
            <a:spLocks noChangeAspect="1" noEditPoints="1"/>
          </p:cNvSpPr>
          <p:nvPr/>
        </p:nvSpPr>
        <p:spPr bwMode="auto">
          <a:xfrm>
            <a:off x="2661839" y="1697372"/>
            <a:ext cx="369676" cy="36967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23 w 512"/>
              <a:gd name="T21" fmla="*/ 149 h 512"/>
              <a:gd name="T22" fmla="*/ 330 w 512"/>
              <a:gd name="T23" fmla="*/ 192 h 512"/>
              <a:gd name="T24" fmla="*/ 256 w 512"/>
              <a:gd name="T25" fmla="*/ 266 h 512"/>
              <a:gd name="T26" fmla="*/ 181 w 512"/>
              <a:gd name="T27" fmla="*/ 192 h 512"/>
              <a:gd name="T28" fmla="*/ 188 w 512"/>
              <a:gd name="T29" fmla="*/ 149 h 512"/>
              <a:gd name="T30" fmla="*/ 323 w 512"/>
              <a:gd name="T31" fmla="*/ 149 h 512"/>
              <a:gd name="T32" fmla="*/ 181 w 512"/>
              <a:gd name="T33" fmla="*/ 128 h 512"/>
              <a:gd name="T34" fmla="*/ 171 w 512"/>
              <a:gd name="T35" fmla="*/ 134 h 512"/>
              <a:gd name="T36" fmla="*/ 160 w 512"/>
              <a:gd name="T37" fmla="*/ 192 h 512"/>
              <a:gd name="T38" fmla="*/ 245 w 512"/>
              <a:gd name="T39" fmla="*/ 287 h 512"/>
              <a:gd name="T40" fmla="*/ 245 w 512"/>
              <a:gd name="T41" fmla="*/ 394 h 512"/>
              <a:gd name="T42" fmla="*/ 213 w 512"/>
              <a:gd name="T43" fmla="*/ 394 h 512"/>
              <a:gd name="T44" fmla="*/ 202 w 512"/>
              <a:gd name="T45" fmla="*/ 405 h 512"/>
              <a:gd name="T46" fmla="*/ 213 w 512"/>
              <a:gd name="T47" fmla="*/ 416 h 512"/>
              <a:gd name="T48" fmla="*/ 298 w 512"/>
              <a:gd name="T49" fmla="*/ 416 h 512"/>
              <a:gd name="T50" fmla="*/ 309 w 512"/>
              <a:gd name="T51" fmla="*/ 405 h 512"/>
              <a:gd name="T52" fmla="*/ 298 w 512"/>
              <a:gd name="T53" fmla="*/ 394 h 512"/>
              <a:gd name="T54" fmla="*/ 266 w 512"/>
              <a:gd name="T55" fmla="*/ 394 h 512"/>
              <a:gd name="T56" fmla="*/ 266 w 512"/>
              <a:gd name="T57" fmla="*/ 287 h 512"/>
              <a:gd name="T58" fmla="*/ 352 w 512"/>
              <a:gd name="T59" fmla="*/ 192 h 512"/>
              <a:gd name="T60" fmla="*/ 340 w 512"/>
              <a:gd name="T61" fmla="*/ 134 h 512"/>
              <a:gd name="T62" fmla="*/ 331 w 512"/>
              <a:gd name="T63" fmla="*/ 128 h 512"/>
              <a:gd name="T64" fmla="*/ 181 w 512"/>
              <a:gd name="T6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3" y="149"/>
                </a:moveTo>
                <a:cubicBezTo>
                  <a:pt x="328" y="160"/>
                  <a:pt x="330" y="178"/>
                  <a:pt x="330" y="192"/>
                </a:cubicBezTo>
                <a:cubicBezTo>
                  <a:pt x="330" y="233"/>
                  <a:pt x="297" y="266"/>
                  <a:pt x="256" y="266"/>
                </a:cubicBezTo>
                <a:cubicBezTo>
                  <a:pt x="214" y="266"/>
                  <a:pt x="181" y="233"/>
                  <a:pt x="181" y="192"/>
                </a:cubicBezTo>
                <a:cubicBezTo>
                  <a:pt x="181" y="178"/>
                  <a:pt x="184" y="160"/>
                  <a:pt x="188" y="149"/>
                </a:cubicBezTo>
                <a:lnTo>
                  <a:pt x="323" y="149"/>
                </a:lnTo>
                <a:close/>
                <a:moveTo>
                  <a:pt x="181" y="128"/>
                </a:moveTo>
                <a:cubicBezTo>
                  <a:pt x="177" y="128"/>
                  <a:pt x="173" y="130"/>
                  <a:pt x="171" y="134"/>
                </a:cubicBezTo>
                <a:cubicBezTo>
                  <a:pt x="164" y="150"/>
                  <a:pt x="160" y="173"/>
                  <a:pt x="160" y="192"/>
                </a:cubicBezTo>
                <a:cubicBezTo>
                  <a:pt x="160" y="241"/>
                  <a:pt x="197" y="282"/>
                  <a:pt x="245" y="287"/>
                </a:cubicBezTo>
                <a:cubicBezTo>
                  <a:pt x="245" y="394"/>
                  <a:pt x="245" y="394"/>
                  <a:pt x="245" y="394"/>
                </a:cubicBezTo>
                <a:cubicBezTo>
                  <a:pt x="213" y="394"/>
                  <a:pt x="213" y="394"/>
                  <a:pt x="213" y="394"/>
                </a:cubicBezTo>
                <a:cubicBezTo>
                  <a:pt x="207" y="394"/>
                  <a:pt x="202" y="399"/>
                  <a:pt x="202" y="405"/>
                </a:cubicBezTo>
                <a:cubicBezTo>
                  <a:pt x="202" y="411"/>
                  <a:pt x="207" y="416"/>
                  <a:pt x="213" y="416"/>
                </a:cubicBezTo>
                <a:cubicBezTo>
                  <a:pt x="298" y="416"/>
                  <a:pt x="298" y="416"/>
                  <a:pt x="298" y="416"/>
                </a:cubicBezTo>
                <a:cubicBezTo>
                  <a:pt x="304" y="416"/>
                  <a:pt x="309" y="411"/>
                  <a:pt x="309" y="405"/>
                </a:cubicBezTo>
                <a:cubicBezTo>
                  <a:pt x="309" y="399"/>
                  <a:pt x="304" y="394"/>
                  <a:pt x="298" y="394"/>
                </a:cubicBezTo>
                <a:cubicBezTo>
                  <a:pt x="266" y="394"/>
                  <a:pt x="266" y="394"/>
                  <a:pt x="266" y="394"/>
                </a:cubicBezTo>
                <a:cubicBezTo>
                  <a:pt x="266" y="287"/>
                  <a:pt x="266" y="287"/>
                  <a:pt x="266" y="287"/>
                </a:cubicBezTo>
                <a:cubicBezTo>
                  <a:pt x="314" y="282"/>
                  <a:pt x="352" y="241"/>
                  <a:pt x="352" y="192"/>
                </a:cubicBezTo>
                <a:cubicBezTo>
                  <a:pt x="352" y="173"/>
                  <a:pt x="347" y="151"/>
                  <a:pt x="340" y="134"/>
                </a:cubicBezTo>
                <a:cubicBezTo>
                  <a:pt x="338" y="130"/>
                  <a:pt x="335" y="128"/>
                  <a:pt x="331" y="128"/>
                </a:cubicBezTo>
                <a:lnTo>
                  <a:pt x="181" y="1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1" name="Freeform 869">
            <a:extLst>
              <a:ext uri="{FF2B5EF4-FFF2-40B4-BE49-F238E27FC236}">
                <a16:creationId xmlns:a16="http://schemas.microsoft.com/office/drawing/2014/main" id="{AF5D4B1A-FF31-4F12-A0FB-BD599FD5C837}"/>
              </a:ext>
            </a:extLst>
          </p:cNvPr>
          <p:cNvSpPr>
            <a:spLocks noChangeAspect="1" noEditPoints="1"/>
          </p:cNvSpPr>
          <p:nvPr/>
        </p:nvSpPr>
        <p:spPr bwMode="auto">
          <a:xfrm>
            <a:off x="2225854" y="1697372"/>
            <a:ext cx="369676" cy="369676"/>
          </a:xfrm>
          <a:custGeom>
            <a:avLst/>
            <a:gdLst>
              <a:gd name="T0" fmla="*/ 323 w 512"/>
              <a:gd name="T1" fmla="*/ 149 h 512"/>
              <a:gd name="T2" fmla="*/ 330 w 512"/>
              <a:gd name="T3" fmla="*/ 192 h 512"/>
              <a:gd name="T4" fmla="*/ 256 w 512"/>
              <a:gd name="T5" fmla="*/ 266 h 512"/>
              <a:gd name="T6" fmla="*/ 181 w 512"/>
              <a:gd name="T7" fmla="*/ 192 h 512"/>
              <a:gd name="T8" fmla="*/ 188 w 512"/>
              <a:gd name="T9" fmla="*/ 149 h 512"/>
              <a:gd name="T10" fmla="*/ 323 w 512"/>
              <a:gd name="T11" fmla="*/ 149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352 w 512"/>
              <a:gd name="T23" fmla="*/ 192 h 512"/>
              <a:gd name="T24" fmla="*/ 340 w 512"/>
              <a:gd name="T25" fmla="*/ 134 h 512"/>
              <a:gd name="T26" fmla="*/ 331 w 512"/>
              <a:gd name="T27" fmla="*/ 128 h 512"/>
              <a:gd name="T28" fmla="*/ 181 w 512"/>
              <a:gd name="T29" fmla="*/ 128 h 512"/>
              <a:gd name="T30" fmla="*/ 171 w 512"/>
              <a:gd name="T31" fmla="*/ 134 h 512"/>
              <a:gd name="T32" fmla="*/ 160 w 512"/>
              <a:gd name="T33" fmla="*/ 192 h 512"/>
              <a:gd name="T34" fmla="*/ 245 w 512"/>
              <a:gd name="T35" fmla="*/ 287 h 512"/>
              <a:gd name="T36" fmla="*/ 245 w 512"/>
              <a:gd name="T37" fmla="*/ 394 h 512"/>
              <a:gd name="T38" fmla="*/ 213 w 512"/>
              <a:gd name="T39" fmla="*/ 394 h 512"/>
              <a:gd name="T40" fmla="*/ 202 w 512"/>
              <a:gd name="T41" fmla="*/ 405 h 512"/>
              <a:gd name="T42" fmla="*/ 213 w 512"/>
              <a:gd name="T43" fmla="*/ 416 h 512"/>
              <a:gd name="T44" fmla="*/ 298 w 512"/>
              <a:gd name="T45" fmla="*/ 416 h 512"/>
              <a:gd name="T46" fmla="*/ 309 w 512"/>
              <a:gd name="T47" fmla="*/ 405 h 512"/>
              <a:gd name="T48" fmla="*/ 298 w 512"/>
              <a:gd name="T49" fmla="*/ 394 h 512"/>
              <a:gd name="T50" fmla="*/ 266 w 512"/>
              <a:gd name="T51" fmla="*/ 394 h 512"/>
              <a:gd name="T52" fmla="*/ 266 w 512"/>
              <a:gd name="T53" fmla="*/ 287 h 512"/>
              <a:gd name="T54" fmla="*/ 352 w 512"/>
              <a:gd name="T55"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323" y="149"/>
                </a:moveTo>
                <a:cubicBezTo>
                  <a:pt x="328" y="160"/>
                  <a:pt x="330" y="178"/>
                  <a:pt x="330" y="192"/>
                </a:cubicBezTo>
                <a:cubicBezTo>
                  <a:pt x="330" y="233"/>
                  <a:pt x="297" y="266"/>
                  <a:pt x="256" y="266"/>
                </a:cubicBezTo>
                <a:cubicBezTo>
                  <a:pt x="214" y="266"/>
                  <a:pt x="181" y="233"/>
                  <a:pt x="181" y="192"/>
                </a:cubicBezTo>
                <a:cubicBezTo>
                  <a:pt x="181" y="178"/>
                  <a:pt x="184" y="160"/>
                  <a:pt x="188" y="149"/>
                </a:cubicBezTo>
                <a:lnTo>
                  <a:pt x="323"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92"/>
                </a:moveTo>
                <a:cubicBezTo>
                  <a:pt x="352" y="173"/>
                  <a:pt x="347" y="151"/>
                  <a:pt x="340" y="134"/>
                </a:cubicBezTo>
                <a:cubicBezTo>
                  <a:pt x="338" y="130"/>
                  <a:pt x="335" y="128"/>
                  <a:pt x="331" y="128"/>
                </a:cubicBezTo>
                <a:cubicBezTo>
                  <a:pt x="181" y="128"/>
                  <a:pt x="181" y="128"/>
                  <a:pt x="181" y="128"/>
                </a:cubicBezTo>
                <a:cubicBezTo>
                  <a:pt x="177" y="128"/>
                  <a:pt x="173" y="130"/>
                  <a:pt x="171" y="134"/>
                </a:cubicBezTo>
                <a:cubicBezTo>
                  <a:pt x="164" y="150"/>
                  <a:pt x="160" y="173"/>
                  <a:pt x="160" y="192"/>
                </a:cubicBezTo>
                <a:cubicBezTo>
                  <a:pt x="160" y="241"/>
                  <a:pt x="197" y="282"/>
                  <a:pt x="245" y="287"/>
                </a:cubicBezTo>
                <a:cubicBezTo>
                  <a:pt x="245" y="394"/>
                  <a:pt x="245" y="394"/>
                  <a:pt x="245" y="394"/>
                </a:cubicBezTo>
                <a:cubicBezTo>
                  <a:pt x="213" y="394"/>
                  <a:pt x="213" y="394"/>
                  <a:pt x="213" y="394"/>
                </a:cubicBezTo>
                <a:cubicBezTo>
                  <a:pt x="207" y="394"/>
                  <a:pt x="202" y="399"/>
                  <a:pt x="202" y="405"/>
                </a:cubicBezTo>
                <a:cubicBezTo>
                  <a:pt x="202" y="411"/>
                  <a:pt x="207" y="416"/>
                  <a:pt x="213" y="416"/>
                </a:cubicBezTo>
                <a:cubicBezTo>
                  <a:pt x="298" y="416"/>
                  <a:pt x="298" y="416"/>
                  <a:pt x="298" y="416"/>
                </a:cubicBezTo>
                <a:cubicBezTo>
                  <a:pt x="304" y="416"/>
                  <a:pt x="309" y="411"/>
                  <a:pt x="309" y="405"/>
                </a:cubicBezTo>
                <a:cubicBezTo>
                  <a:pt x="309" y="399"/>
                  <a:pt x="304" y="394"/>
                  <a:pt x="298" y="394"/>
                </a:cubicBezTo>
                <a:cubicBezTo>
                  <a:pt x="266" y="394"/>
                  <a:pt x="266" y="394"/>
                  <a:pt x="266" y="394"/>
                </a:cubicBezTo>
                <a:cubicBezTo>
                  <a:pt x="266" y="287"/>
                  <a:pt x="266" y="287"/>
                  <a:pt x="266" y="287"/>
                </a:cubicBezTo>
                <a:cubicBezTo>
                  <a:pt x="314" y="282"/>
                  <a:pt x="352" y="241"/>
                  <a:pt x="352" y="19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2" name="Group 648">
            <a:extLst>
              <a:ext uri="{FF2B5EF4-FFF2-40B4-BE49-F238E27FC236}">
                <a16:creationId xmlns:a16="http://schemas.microsoft.com/office/drawing/2014/main" id="{D5F9D42D-A935-43A9-A8C3-237B71F09A8E}"/>
              </a:ext>
            </a:extLst>
          </p:cNvPr>
          <p:cNvGrpSpPr>
            <a:grpSpLocks noChangeAspect="1"/>
          </p:cNvGrpSpPr>
          <p:nvPr/>
        </p:nvGrpSpPr>
        <p:grpSpPr bwMode="auto">
          <a:xfrm>
            <a:off x="9615560" y="1697372"/>
            <a:ext cx="369676" cy="369676"/>
            <a:chOff x="3520" y="2303"/>
            <a:chExt cx="340" cy="340"/>
          </a:xfrm>
          <a:solidFill>
            <a:schemeClr val="accent1"/>
          </a:solidFill>
        </p:grpSpPr>
        <p:sp>
          <p:nvSpPr>
            <p:cNvPr id="183" name="Freeform 649">
              <a:extLst>
                <a:ext uri="{FF2B5EF4-FFF2-40B4-BE49-F238E27FC236}">
                  <a16:creationId xmlns:a16="http://schemas.microsoft.com/office/drawing/2014/main" id="{171C056C-A2A3-4580-AC0A-9DE36246B0D3}"/>
                </a:ext>
              </a:extLst>
            </p:cNvPr>
            <p:cNvSpPr>
              <a:spLocks noEditPoints="1"/>
            </p:cNvSpPr>
            <p:nvPr/>
          </p:nvSpPr>
          <p:spPr bwMode="auto">
            <a:xfrm>
              <a:off x="3583" y="2388"/>
              <a:ext cx="214" cy="177"/>
            </a:xfrm>
            <a:custGeom>
              <a:avLst/>
              <a:gdLst>
                <a:gd name="T0" fmla="*/ 235 w 322"/>
                <a:gd name="T1" fmla="*/ 266 h 266"/>
                <a:gd name="T2" fmla="*/ 86 w 322"/>
                <a:gd name="T3" fmla="*/ 266 h 266"/>
                <a:gd name="T4" fmla="*/ 75 w 322"/>
                <a:gd name="T5" fmla="*/ 256 h 266"/>
                <a:gd name="T6" fmla="*/ 75 w 322"/>
                <a:gd name="T7" fmla="*/ 132 h 266"/>
                <a:gd name="T8" fmla="*/ 62 w 322"/>
                <a:gd name="T9" fmla="*/ 146 h 266"/>
                <a:gd name="T10" fmla="*/ 53 w 322"/>
                <a:gd name="T11" fmla="*/ 149 h 266"/>
                <a:gd name="T12" fmla="*/ 46 w 322"/>
                <a:gd name="T13" fmla="*/ 145 h 266"/>
                <a:gd name="T14" fmla="*/ 3 w 322"/>
                <a:gd name="T15" fmla="*/ 92 h 266"/>
                <a:gd name="T16" fmla="*/ 4 w 322"/>
                <a:gd name="T17" fmla="*/ 77 h 266"/>
                <a:gd name="T18" fmla="*/ 78 w 322"/>
                <a:gd name="T19" fmla="*/ 3 h 266"/>
                <a:gd name="T20" fmla="*/ 86 w 322"/>
                <a:gd name="T21" fmla="*/ 0 h 266"/>
                <a:gd name="T22" fmla="*/ 129 w 322"/>
                <a:gd name="T23" fmla="*/ 0 h 266"/>
                <a:gd name="T24" fmla="*/ 138 w 322"/>
                <a:gd name="T25" fmla="*/ 6 h 266"/>
                <a:gd name="T26" fmla="*/ 161 w 322"/>
                <a:gd name="T27" fmla="*/ 21 h 266"/>
                <a:gd name="T28" fmla="*/ 183 w 322"/>
                <a:gd name="T29" fmla="*/ 6 h 266"/>
                <a:gd name="T30" fmla="*/ 193 w 322"/>
                <a:gd name="T31" fmla="*/ 0 h 266"/>
                <a:gd name="T32" fmla="*/ 235 w 322"/>
                <a:gd name="T33" fmla="*/ 0 h 266"/>
                <a:gd name="T34" fmla="*/ 243 w 322"/>
                <a:gd name="T35" fmla="*/ 3 h 266"/>
                <a:gd name="T36" fmla="*/ 318 w 322"/>
                <a:gd name="T37" fmla="*/ 77 h 266"/>
                <a:gd name="T38" fmla="*/ 318 w 322"/>
                <a:gd name="T39" fmla="*/ 92 h 266"/>
                <a:gd name="T40" fmla="*/ 276 w 322"/>
                <a:gd name="T41" fmla="*/ 145 h 266"/>
                <a:gd name="T42" fmla="*/ 268 w 322"/>
                <a:gd name="T43" fmla="*/ 149 h 266"/>
                <a:gd name="T44" fmla="*/ 260 w 322"/>
                <a:gd name="T45" fmla="*/ 146 h 266"/>
                <a:gd name="T46" fmla="*/ 246 w 322"/>
                <a:gd name="T47" fmla="*/ 132 h 266"/>
                <a:gd name="T48" fmla="*/ 246 w 322"/>
                <a:gd name="T49" fmla="*/ 256 h 266"/>
                <a:gd name="T50" fmla="*/ 235 w 322"/>
                <a:gd name="T51" fmla="*/ 266 h 266"/>
                <a:gd name="T52" fmla="*/ 97 w 322"/>
                <a:gd name="T53" fmla="*/ 245 h 266"/>
                <a:gd name="T54" fmla="*/ 225 w 322"/>
                <a:gd name="T55" fmla="*/ 245 h 266"/>
                <a:gd name="T56" fmla="*/ 225 w 322"/>
                <a:gd name="T57" fmla="*/ 106 h 266"/>
                <a:gd name="T58" fmla="*/ 231 w 322"/>
                <a:gd name="T59" fmla="*/ 96 h 266"/>
                <a:gd name="T60" fmla="*/ 243 w 322"/>
                <a:gd name="T61" fmla="*/ 99 h 266"/>
                <a:gd name="T62" fmla="*/ 266 w 322"/>
                <a:gd name="T63" fmla="*/ 122 h 266"/>
                <a:gd name="T64" fmla="*/ 296 w 322"/>
                <a:gd name="T65" fmla="*/ 86 h 266"/>
                <a:gd name="T66" fmla="*/ 231 w 322"/>
                <a:gd name="T67" fmla="*/ 21 h 266"/>
                <a:gd name="T68" fmla="*/ 199 w 322"/>
                <a:gd name="T69" fmla="*/ 21 h 266"/>
                <a:gd name="T70" fmla="*/ 161 w 322"/>
                <a:gd name="T71" fmla="*/ 42 h 266"/>
                <a:gd name="T72" fmla="*/ 122 w 322"/>
                <a:gd name="T73" fmla="*/ 21 h 266"/>
                <a:gd name="T74" fmla="*/ 90 w 322"/>
                <a:gd name="T75" fmla="*/ 21 h 266"/>
                <a:gd name="T76" fmla="*/ 26 w 322"/>
                <a:gd name="T77" fmla="*/ 86 h 266"/>
                <a:gd name="T78" fmla="*/ 55 w 322"/>
                <a:gd name="T79" fmla="*/ 122 h 266"/>
                <a:gd name="T80" fmla="*/ 78 w 322"/>
                <a:gd name="T81" fmla="*/ 99 h 266"/>
                <a:gd name="T82" fmla="*/ 90 w 322"/>
                <a:gd name="T83" fmla="*/ 96 h 266"/>
                <a:gd name="T84" fmla="*/ 97 w 322"/>
                <a:gd name="T85" fmla="*/ 106 h 266"/>
                <a:gd name="T86" fmla="*/ 97 w 322"/>
                <a:gd name="T87" fmla="*/ 245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2" h="266">
                  <a:moveTo>
                    <a:pt x="235" y="266"/>
                  </a:moveTo>
                  <a:cubicBezTo>
                    <a:pt x="86" y="266"/>
                    <a:pt x="86" y="266"/>
                    <a:pt x="86" y="266"/>
                  </a:cubicBezTo>
                  <a:cubicBezTo>
                    <a:pt x="80" y="266"/>
                    <a:pt x="75" y="262"/>
                    <a:pt x="75" y="256"/>
                  </a:cubicBezTo>
                  <a:cubicBezTo>
                    <a:pt x="75" y="132"/>
                    <a:pt x="75" y="132"/>
                    <a:pt x="75" y="132"/>
                  </a:cubicBezTo>
                  <a:cubicBezTo>
                    <a:pt x="62" y="146"/>
                    <a:pt x="62" y="146"/>
                    <a:pt x="62" y="146"/>
                  </a:cubicBezTo>
                  <a:cubicBezTo>
                    <a:pt x="59" y="148"/>
                    <a:pt x="56" y="149"/>
                    <a:pt x="53" y="149"/>
                  </a:cubicBezTo>
                  <a:cubicBezTo>
                    <a:pt x="50" y="149"/>
                    <a:pt x="48" y="147"/>
                    <a:pt x="46" y="145"/>
                  </a:cubicBezTo>
                  <a:cubicBezTo>
                    <a:pt x="3" y="92"/>
                    <a:pt x="3" y="92"/>
                    <a:pt x="3" y="92"/>
                  </a:cubicBezTo>
                  <a:cubicBezTo>
                    <a:pt x="0" y="87"/>
                    <a:pt x="0" y="81"/>
                    <a:pt x="4" y="77"/>
                  </a:cubicBezTo>
                  <a:cubicBezTo>
                    <a:pt x="78" y="3"/>
                    <a:pt x="78" y="3"/>
                    <a:pt x="78" y="3"/>
                  </a:cubicBezTo>
                  <a:cubicBezTo>
                    <a:pt x="80" y="1"/>
                    <a:pt x="83" y="0"/>
                    <a:pt x="86" y="0"/>
                  </a:cubicBezTo>
                  <a:cubicBezTo>
                    <a:pt x="129" y="0"/>
                    <a:pt x="129" y="0"/>
                    <a:pt x="129" y="0"/>
                  </a:cubicBezTo>
                  <a:cubicBezTo>
                    <a:pt x="133" y="0"/>
                    <a:pt x="136" y="2"/>
                    <a:pt x="138" y="6"/>
                  </a:cubicBezTo>
                  <a:cubicBezTo>
                    <a:pt x="143" y="16"/>
                    <a:pt x="151" y="21"/>
                    <a:pt x="161" y="21"/>
                  </a:cubicBezTo>
                  <a:cubicBezTo>
                    <a:pt x="171" y="21"/>
                    <a:pt x="178" y="16"/>
                    <a:pt x="183" y="6"/>
                  </a:cubicBezTo>
                  <a:cubicBezTo>
                    <a:pt x="185" y="2"/>
                    <a:pt x="189" y="0"/>
                    <a:pt x="193" y="0"/>
                  </a:cubicBezTo>
                  <a:cubicBezTo>
                    <a:pt x="235" y="0"/>
                    <a:pt x="235" y="0"/>
                    <a:pt x="235" y="0"/>
                  </a:cubicBezTo>
                  <a:cubicBezTo>
                    <a:pt x="238" y="0"/>
                    <a:pt x="241" y="1"/>
                    <a:pt x="243" y="3"/>
                  </a:cubicBezTo>
                  <a:cubicBezTo>
                    <a:pt x="318" y="77"/>
                    <a:pt x="318" y="77"/>
                    <a:pt x="318" y="77"/>
                  </a:cubicBezTo>
                  <a:cubicBezTo>
                    <a:pt x="321" y="81"/>
                    <a:pt x="322" y="87"/>
                    <a:pt x="318" y="92"/>
                  </a:cubicBezTo>
                  <a:cubicBezTo>
                    <a:pt x="276" y="145"/>
                    <a:pt x="276" y="145"/>
                    <a:pt x="276" y="145"/>
                  </a:cubicBezTo>
                  <a:cubicBezTo>
                    <a:pt x="274" y="147"/>
                    <a:pt x="271" y="149"/>
                    <a:pt x="268" y="149"/>
                  </a:cubicBezTo>
                  <a:cubicBezTo>
                    <a:pt x="265" y="149"/>
                    <a:pt x="262" y="148"/>
                    <a:pt x="260" y="146"/>
                  </a:cubicBezTo>
                  <a:cubicBezTo>
                    <a:pt x="246" y="132"/>
                    <a:pt x="246" y="132"/>
                    <a:pt x="246" y="132"/>
                  </a:cubicBezTo>
                  <a:cubicBezTo>
                    <a:pt x="246" y="256"/>
                    <a:pt x="246" y="256"/>
                    <a:pt x="246" y="256"/>
                  </a:cubicBezTo>
                  <a:cubicBezTo>
                    <a:pt x="246" y="262"/>
                    <a:pt x="241" y="266"/>
                    <a:pt x="235" y="266"/>
                  </a:cubicBezTo>
                  <a:close/>
                  <a:moveTo>
                    <a:pt x="97" y="245"/>
                  </a:moveTo>
                  <a:cubicBezTo>
                    <a:pt x="225" y="245"/>
                    <a:pt x="225" y="245"/>
                    <a:pt x="225" y="245"/>
                  </a:cubicBezTo>
                  <a:cubicBezTo>
                    <a:pt x="225" y="106"/>
                    <a:pt x="225" y="106"/>
                    <a:pt x="225" y="106"/>
                  </a:cubicBezTo>
                  <a:cubicBezTo>
                    <a:pt x="225" y="102"/>
                    <a:pt x="227" y="98"/>
                    <a:pt x="231" y="96"/>
                  </a:cubicBezTo>
                  <a:cubicBezTo>
                    <a:pt x="235" y="95"/>
                    <a:pt x="240" y="96"/>
                    <a:pt x="243" y="99"/>
                  </a:cubicBezTo>
                  <a:cubicBezTo>
                    <a:pt x="266" y="122"/>
                    <a:pt x="266" y="122"/>
                    <a:pt x="266" y="122"/>
                  </a:cubicBezTo>
                  <a:cubicBezTo>
                    <a:pt x="296" y="86"/>
                    <a:pt x="296" y="86"/>
                    <a:pt x="296" y="86"/>
                  </a:cubicBezTo>
                  <a:cubicBezTo>
                    <a:pt x="231" y="21"/>
                    <a:pt x="231" y="21"/>
                    <a:pt x="231" y="21"/>
                  </a:cubicBezTo>
                  <a:cubicBezTo>
                    <a:pt x="199" y="21"/>
                    <a:pt x="199" y="21"/>
                    <a:pt x="199" y="21"/>
                  </a:cubicBezTo>
                  <a:cubicBezTo>
                    <a:pt x="190" y="35"/>
                    <a:pt x="177" y="42"/>
                    <a:pt x="161" y="42"/>
                  </a:cubicBezTo>
                  <a:cubicBezTo>
                    <a:pt x="145" y="42"/>
                    <a:pt x="131" y="35"/>
                    <a:pt x="122" y="21"/>
                  </a:cubicBezTo>
                  <a:cubicBezTo>
                    <a:pt x="90" y="21"/>
                    <a:pt x="90" y="21"/>
                    <a:pt x="90" y="21"/>
                  </a:cubicBezTo>
                  <a:cubicBezTo>
                    <a:pt x="26" y="86"/>
                    <a:pt x="26" y="86"/>
                    <a:pt x="26" y="86"/>
                  </a:cubicBezTo>
                  <a:cubicBezTo>
                    <a:pt x="55" y="122"/>
                    <a:pt x="55" y="122"/>
                    <a:pt x="55" y="122"/>
                  </a:cubicBezTo>
                  <a:cubicBezTo>
                    <a:pt x="78" y="99"/>
                    <a:pt x="78" y="99"/>
                    <a:pt x="78" y="99"/>
                  </a:cubicBezTo>
                  <a:cubicBezTo>
                    <a:pt x="82" y="96"/>
                    <a:pt x="86" y="95"/>
                    <a:pt x="90" y="96"/>
                  </a:cubicBezTo>
                  <a:cubicBezTo>
                    <a:pt x="94" y="98"/>
                    <a:pt x="97" y="102"/>
                    <a:pt x="97" y="106"/>
                  </a:cubicBezTo>
                  <a:lnTo>
                    <a:pt x="97"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4" name="Freeform 650">
              <a:extLst>
                <a:ext uri="{FF2B5EF4-FFF2-40B4-BE49-F238E27FC236}">
                  <a16:creationId xmlns:a16="http://schemas.microsoft.com/office/drawing/2014/main" id="{9EE64BDF-364F-4644-9459-0D6D4C0DEFFE}"/>
                </a:ext>
              </a:extLst>
            </p:cNvPr>
            <p:cNvSpPr>
              <a:spLocks noEditPoints="1"/>
            </p:cNvSpPr>
            <p:nvPr/>
          </p:nvSpPr>
          <p:spPr bwMode="auto">
            <a:xfrm>
              <a:off x="3520" y="2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5" name="Freeform 654">
            <a:extLst>
              <a:ext uri="{FF2B5EF4-FFF2-40B4-BE49-F238E27FC236}">
                <a16:creationId xmlns:a16="http://schemas.microsoft.com/office/drawing/2014/main" id="{7A815CED-525D-4352-BF89-825C4F1A9232}"/>
              </a:ext>
            </a:extLst>
          </p:cNvPr>
          <p:cNvSpPr>
            <a:spLocks noChangeAspect="1" noEditPoints="1"/>
          </p:cNvSpPr>
          <p:nvPr/>
        </p:nvSpPr>
        <p:spPr bwMode="auto">
          <a:xfrm>
            <a:off x="9179575" y="1697372"/>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220 h 512"/>
              <a:gd name="T12" fmla="*/ 371 w 512"/>
              <a:gd name="T13" fmla="*/ 273 h 512"/>
              <a:gd name="T14" fmla="*/ 363 w 512"/>
              <a:gd name="T15" fmla="*/ 277 h 512"/>
              <a:gd name="T16" fmla="*/ 355 w 512"/>
              <a:gd name="T17" fmla="*/ 274 h 512"/>
              <a:gd name="T18" fmla="*/ 341 w 512"/>
              <a:gd name="T19" fmla="*/ 260 h 512"/>
              <a:gd name="T20" fmla="*/ 341 w 512"/>
              <a:gd name="T21" fmla="*/ 384 h 512"/>
              <a:gd name="T22" fmla="*/ 330 w 512"/>
              <a:gd name="T23" fmla="*/ 394 h 512"/>
              <a:gd name="T24" fmla="*/ 181 w 512"/>
              <a:gd name="T25" fmla="*/ 394 h 512"/>
              <a:gd name="T26" fmla="*/ 170 w 512"/>
              <a:gd name="T27" fmla="*/ 384 h 512"/>
              <a:gd name="T28" fmla="*/ 170 w 512"/>
              <a:gd name="T29" fmla="*/ 260 h 512"/>
              <a:gd name="T30" fmla="*/ 157 w 512"/>
              <a:gd name="T31" fmla="*/ 274 h 512"/>
              <a:gd name="T32" fmla="*/ 148 w 512"/>
              <a:gd name="T33" fmla="*/ 277 h 512"/>
              <a:gd name="T34" fmla="*/ 141 w 512"/>
              <a:gd name="T35" fmla="*/ 273 h 512"/>
              <a:gd name="T36" fmla="*/ 98 w 512"/>
              <a:gd name="T37" fmla="*/ 220 h 512"/>
              <a:gd name="T38" fmla="*/ 99 w 512"/>
              <a:gd name="T39" fmla="*/ 205 h 512"/>
              <a:gd name="T40" fmla="*/ 173 w 512"/>
              <a:gd name="T41" fmla="*/ 131 h 512"/>
              <a:gd name="T42" fmla="*/ 181 w 512"/>
              <a:gd name="T43" fmla="*/ 128 h 512"/>
              <a:gd name="T44" fmla="*/ 224 w 512"/>
              <a:gd name="T45" fmla="*/ 128 h 512"/>
              <a:gd name="T46" fmla="*/ 233 w 512"/>
              <a:gd name="T47" fmla="*/ 134 h 512"/>
              <a:gd name="T48" fmla="*/ 256 w 512"/>
              <a:gd name="T49" fmla="*/ 149 h 512"/>
              <a:gd name="T50" fmla="*/ 278 w 512"/>
              <a:gd name="T51" fmla="*/ 134 h 512"/>
              <a:gd name="T52" fmla="*/ 288 w 512"/>
              <a:gd name="T53" fmla="*/ 128 h 512"/>
              <a:gd name="T54" fmla="*/ 330 w 512"/>
              <a:gd name="T55" fmla="*/ 128 h 512"/>
              <a:gd name="T56" fmla="*/ 338 w 512"/>
              <a:gd name="T57" fmla="*/ 131 h 512"/>
              <a:gd name="T58" fmla="*/ 413 w 512"/>
              <a:gd name="T59" fmla="*/ 205 h 512"/>
              <a:gd name="T60" fmla="*/ 413 w 512"/>
              <a:gd name="T61" fmla="*/ 220 h 512"/>
              <a:gd name="T62" fmla="*/ 326 w 512"/>
              <a:gd name="T63" fmla="*/ 149 h 512"/>
              <a:gd name="T64" fmla="*/ 391 w 512"/>
              <a:gd name="T65" fmla="*/ 214 h 512"/>
              <a:gd name="T66" fmla="*/ 361 w 512"/>
              <a:gd name="T67" fmla="*/ 250 h 512"/>
              <a:gd name="T68" fmla="*/ 338 w 512"/>
              <a:gd name="T69" fmla="*/ 227 h 512"/>
              <a:gd name="T70" fmla="*/ 326 w 512"/>
              <a:gd name="T71" fmla="*/ 224 h 512"/>
              <a:gd name="T72" fmla="*/ 320 w 512"/>
              <a:gd name="T73" fmla="*/ 234 h 512"/>
              <a:gd name="T74" fmla="*/ 320 w 512"/>
              <a:gd name="T75" fmla="*/ 373 h 512"/>
              <a:gd name="T76" fmla="*/ 192 w 512"/>
              <a:gd name="T77" fmla="*/ 373 h 512"/>
              <a:gd name="T78" fmla="*/ 192 w 512"/>
              <a:gd name="T79" fmla="*/ 234 h 512"/>
              <a:gd name="T80" fmla="*/ 185 w 512"/>
              <a:gd name="T81" fmla="*/ 224 h 512"/>
              <a:gd name="T82" fmla="*/ 173 w 512"/>
              <a:gd name="T83" fmla="*/ 227 h 512"/>
              <a:gd name="T84" fmla="*/ 150 w 512"/>
              <a:gd name="T85" fmla="*/ 250 h 512"/>
              <a:gd name="T86" fmla="*/ 121 w 512"/>
              <a:gd name="T87" fmla="*/ 214 h 512"/>
              <a:gd name="T88" fmla="*/ 185 w 512"/>
              <a:gd name="T89" fmla="*/ 149 h 512"/>
              <a:gd name="T90" fmla="*/ 217 w 512"/>
              <a:gd name="T91" fmla="*/ 149 h 512"/>
              <a:gd name="T92" fmla="*/ 256 w 512"/>
              <a:gd name="T93" fmla="*/ 170 h 512"/>
              <a:gd name="T94" fmla="*/ 294 w 512"/>
              <a:gd name="T95" fmla="*/ 149 h 512"/>
              <a:gd name="T96" fmla="*/ 326 w 512"/>
              <a:gd name="T9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220"/>
                </a:moveTo>
                <a:cubicBezTo>
                  <a:pt x="371" y="273"/>
                  <a:pt x="371" y="273"/>
                  <a:pt x="371" y="273"/>
                </a:cubicBezTo>
                <a:cubicBezTo>
                  <a:pt x="369" y="275"/>
                  <a:pt x="366" y="277"/>
                  <a:pt x="363" y="277"/>
                </a:cubicBezTo>
                <a:cubicBezTo>
                  <a:pt x="360" y="277"/>
                  <a:pt x="357" y="276"/>
                  <a:pt x="355" y="274"/>
                </a:cubicBezTo>
                <a:cubicBezTo>
                  <a:pt x="341" y="260"/>
                  <a:pt x="341" y="260"/>
                  <a:pt x="341" y="260"/>
                </a:cubicBezTo>
                <a:cubicBezTo>
                  <a:pt x="341" y="384"/>
                  <a:pt x="341" y="384"/>
                  <a:pt x="341" y="384"/>
                </a:cubicBezTo>
                <a:cubicBezTo>
                  <a:pt x="341" y="390"/>
                  <a:pt x="336" y="394"/>
                  <a:pt x="330" y="394"/>
                </a:cubicBezTo>
                <a:cubicBezTo>
                  <a:pt x="181" y="394"/>
                  <a:pt x="181" y="394"/>
                  <a:pt x="181" y="394"/>
                </a:cubicBezTo>
                <a:cubicBezTo>
                  <a:pt x="175" y="394"/>
                  <a:pt x="170" y="390"/>
                  <a:pt x="170" y="384"/>
                </a:cubicBezTo>
                <a:cubicBezTo>
                  <a:pt x="170" y="260"/>
                  <a:pt x="170" y="260"/>
                  <a:pt x="170" y="260"/>
                </a:cubicBezTo>
                <a:cubicBezTo>
                  <a:pt x="157" y="274"/>
                  <a:pt x="157" y="274"/>
                  <a:pt x="157" y="274"/>
                </a:cubicBezTo>
                <a:cubicBezTo>
                  <a:pt x="154" y="276"/>
                  <a:pt x="151" y="277"/>
                  <a:pt x="148" y="277"/>
                </a:cubicBezTo>
                <a:cubicBezTo>
                  <a:pt x="145" y="277"/>
                  <a:pt x="143" y="275"/>
                  <a:pt x="141" y="273"/>
                </a:cubicBezTo>
                <a:cubicBezTo>
                  <a:pt x="98" y="220"/>
                  <a:pt x="98" y="220"/>
                  <a:pt x="98" y="220"/>
                </a:cubicBezTo>
                <a:cubicBezTo>
                  <a:pt x="95" y="215"/>
                  <a:pt x="95" y="209"/>
                  <a:pt x="99" y="205"/>
                </a:cubicBezTo>
                <a:cubicBezTo>
                  <a:pt x="173" y="131"/>
                  <a:pt x="173" y="131"/>
                  <a:pt x="173" y="131"/>
                </a:cubicBezTo>
                <a:cubicBezTo>
                  <a:pt x="175" y="129"/>
                  <a:pt x="178" y="128"/>
                  <a:pt x="181" y="128"/>
                </a:cubicBezTo>
                <a:cubicBezTo>
                  <a:pt x="224" y="128"/>
                  <a:pt x="224" y="128"/>
                  <a:pt x="224" y="128"/>
                </a:cubicBezTo>
                <a:cubicBezTo>
                  <a:pt x="228" y="128"/>
                  <a:pt x="231" y="130"/>
                  <a:pt x="233" y="134"/>
                </a:cubicBezTo>
                <a:cubicBezTo>
                  <a:pt x="238" y="144"/>
                  <a:pt x="246" y="149"/>
                  <a:pt x="256" y="149"/>
                </a:cubicBezTo>
                <a:cubicBezTo>
                  <a:pt x="266" y="149"/>
                  <a:pt x="273" y="144"/>
                  <a:pt x="278" y="134"/>
                </a:cubicBezTo>
                <a:cubicBezTo>
                  <a:pt x="280" y="130"/>
                  <a:pt x="284" y="128"/>
                  <a:pt x="288" y="128"/>
                </a:cubicBezTo>
                <a:cubicBezTo>
                  <a:pt x="330" y="128"/>
                  <a:pt x="330" y="128"/>
                  <a:pt x="330" y="128"/>
                </a:cubicBezTo>
                <a:cubicBezTo>
                  <a:pt x="333" y="128"/>
                  <a:pt x="336" y="129"/>
                  <a:pt x="338" y="131"/>
                </a:cubicBezTo>
                <a:cubicBezTo>
                  <a:pt x="413" y="205"/>
                  <a:pt x="413" y="205"/>
                  <a:pt x="413" y="205"/>
                </a:cubicBezTo>
                <a:cubicBezTo>
                  <a:pt x="416" y="209"/>
                  <a:pt x="417" y="215"/>
                  <a:pt x="413" y="220"/>
                </a:cubicBezTo>
                <a:close/>
                <a:moveTo>
                  <a:pt x="326" y="149"/>
                </a:moveTo>
                <a:cubicBezTo>
                  <a:pt x="391" y="214"/>
                  <a:pt x="391" y="214"/>
                  <a:pt x="391" y="214"/>
                </a:cubicBezTo>
                <a:cubicBezTo>
                  <a:pt x="361" y="250"/>
                  <a:pt x="361" y="250"/>
                  <a:pt x="361" y="250"/>
                </a:cubicBezTo>
                <a:cubicBezTo>
                  <a:pt x="338" y="227"/>
                  <a:pt x="338" y="227"/>
                  <a:pt x="338" y="227"/>
                </a:cubicBezTo>
                <a:cubicBezTo>
                  <a:pt x="335" y="224"/>
                  <a:pt x="330" y="223"/>
                  <a:pt x="326" y="224"/>
                </a:cubicBezTo>
                <a:cubicBezTo>
                  <a:pt x="322" y="226"/>
                  <a:pt x="320" y="230"/>
                  <a:pt x="320" y="234"/>
                </a:cubicBezTo>
                <a:cubicBezTo>
                  <a:pt x="320" y="373"/>
                  <a:pt x="320" y="373"/>
                  <a:pt x="320" y="373"/>
                </a:cubicBezTo>
                <a:cubicBezTo>
                  <a:pt x="192" y="373"/>
                  <a:pt x="192" y="373"/>
                  <a:pt x="192" y="373"/>
                </a:cubicBezTo>
                <a:cubicBezTo>
                  <a:pt x="192" y="234"/>
                  <a:pt x="192" y="234"/>
                  <a:pt x="192" y="234"/>
                </a:cubicBezTo>
                <a:cubicBezTo>
                  <a:pt x="192" y="230"/>
                  <a:pt x="189" y="226"/>
                  <a:pt x="185" y="224"/>
                </a:cubicBezTo>
                <a:cubicBezTo>
                  <a:pt x="181" y="223"/>
                  <a:pt x="177" y="224"/>
                  <a:pt x="173" y="227"/>
                </a:cubicBezTo>
                <a:cubicBezTo>
                  <a:pt x="150" y="250"/>
                  <a:pt x="150" y="250"/>
                  <a:pt x="150" y="250"/>
                </a:cubicBezTo>
                <a:cubicBezTo>
                  <a:pt x="121" y="214"/>
                  <a:pt x="121" y="214"/>
                  <a:pt x="121" y="214"/>
                </a:cubicBezTo>
                <a:cubicBezTo>
                  <a:pt x="185" y="149"/>
                  <a:pt x="185" y="149"/>
                  <a:pt x="185" y="149"/>
                </a:cubicBezTo>
                <a:cubicBezTo>
                  <a:pt x="217" y="149"/>
                  <a:pt x="217" y="149"/>
                  <a:pt x="217" y="149"/>
                </a:cubicBezTo>
                <a:cubicBezTo>
                  <a:pt x="226" y="163"/>
                  <a:pt x="240" y="170"/>
                  <a:pt x="256" y="170"/>
                </a:cubicBezTo>
                <a:cubicBezTo>
                  <a:pt x="272" y="170"/>
                  <a:pt x="285" y="163"/>
                  <a:pt x="294" y="149"/>
                </a:cubicBezTo>
                <a:lnTo>
                  <a:pt x="326" y="14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6" name="Freeform 781">
            <a:extLst>
              <a:ext uri="{FF2B5EF4-FFF2-40B4-BE49-F238E27FC236}">
                <a16:creationId xmlns:a16="http://schemas.microsoft.com/office/drawing/2014/main" id="{09C2F9E4-0349-43C1-B123-4C25EB89E396}"/>
              </a:ext>
            </a:extLst>
          </p:cNvPr>
          <p:cNvSpPr>
            <a:spLocks noChangeAspect="1" noEditPoints="1"/>
          </p:cNvSpPr>
          <p:nvPr/>
        </p:nvSpPr>
        <p:spPr bwMode="auto">
          <a:xfrm>
            <a:off x="3097824" y="1697372"/>
            <a:ext cx="367041" cy="367041"/>
          </a:xfrm>
          <a:custGeom>
            <a:avLst/>
            <a:gdLst>
              <a:gd name="T0" fmla="*/ 175 w 512"/>
              <a:gd name="T1" fmla="*/ 160 h 512"/>
              <a:gd name="T2" fmla="*/ 337 w 512"/>
              <a:gd name="T3" fmla="*/ 160 h 512"/>
              <a:gd name="T4" fmla="*/ 256 w 512"/>
              <a:gd name="T5" fmla="*/ 241 h 512"/>
              <a:gd name="T6" fmla="*/ 175 w 512"/>
              <a:gd name="T7" fmla="*/ 160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373 w 512"/>
              <a:gd name="T19" fmla="*/ 146 h 512"/>
              <a:gd name="T20" fmla="*/ 363 w 512"/>
              <a:gd name="T21" fmla="*/ 139 h 512"/>
              <a:gd name="T22" fmla="*/ 149 w 512"/>
              <a:gd name="T23" fmla="*/ 139 h 512"/>
              <a:gd name="T24" fmla="*/ 139 w 512"/>
              <a:gd name="T25" fmla="*/ 146 h 512"/>
              <a:gd name="T26" fmla="*/ 142 w 512"/>
              <a:gd name="T27" fmla="*/ 157 h 512"/>
              <a:gd name="T28" fmla="*/ 245 w 512"/>
              <a:gd name="T29" fmla="*/ 261 h 512"/>
              <a:gd name="T30" fmla="*/ 245 w 512"/>
              <a:gd name="T31" fmla="*/ 374 h 512"/>
              <a:gd name="T32" fmla="*/ 192 w 512"/>
              <a:gd name="T33" fmla="*/ 374 h 512"/>
              <a:gd name="T34" fmla="*/ 181 w 512"/>
              <a:gd name="T35" fmla="*/ 384 h 512"/>
              <a:gd name="T36" fmla="*/ 192 w 512"/>
              <a:gd name="T37" fmla="*/ 395 h 512"/>
              <a:gd name="T38" fmla="*/ 320 w 512"/>
              <a:gd name="T39" fmla="*/ 395 h 512"/>
              <a:gd name="T40" fmla="*/ 331 w 512"/>
              <a:gd name="T41" fmla="*/ 384 h 512"/>
              <a:gd name="T42" fmla="*/ 320 w 512"/>
              <a:gd name="T43" fmla="*/ 374 h 512"/>
              <a:gd name="T44" fmla="*/ 267 w 512"/>
              <a:gd name="T45" fmla="*/ 374 h 512"/>
              <a:gd name="T46" fmla="*/ 267 w 512"/>
              <a:gd name="T47" fmla="*/ 261 h 512"/>
              <a:gd name="T48" fmla="*/ 370 w 512"/>
              <a:gd name="T49" fmla="*/ 157 h 512"/>
              <a:gd name="T50" fmla="*/ 373 w 512"/>
              <a:gd name="T51" fmla="*/ 1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175" y="160"/>
                </a:moveTo>
                <a:cubicBezTo>
                  <a:pt x="337" y="160"/>
                  <a:pt x="337" y="160"/>
                  <a:pt x="337" y="160"/>
                </a:cubicBezTo>
                <a:cubicBezTo>
                  <a:pt x="256" y="241"/>
                  <a:pt x="256" y="241"/>
                  <a:pt x="256" y="241"/>
                </a:cubicBezTo>
                <a:lnTo>
                  <a:pt x="175" y="16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46"/>
                </a:moveTo>
                <a:cubicBezTo>
                  <a:pt x="371" y="142"/>
                  <a:pt x="367" y="139"/>
                  <a:pt x="363" y="139"/>
                </a:cubicBezTo>
                <a:cubicBezTo>
                  <a:pt x="149" y="139"/>
                  <a:pt x="149" y="139"/>
                  <a:pt x="149" y="139"/>
                </a:cubicBezTo>
                <a:cubicBezTo>
                  <a:pt x="145" y="139"/>
                  <a:pt x="141" y="142"/>
                  <a:pt x="139" y="146"/>
                </a:cubicBezTo>
                <a:cubicBezTo>
                  <a:pt x="138" y="150"/>
                  <a:pt x="139" y="154"/>
                  <a:pt x="142" y="157"/>
                </a:cubicBezTo>
                <a:cubicBezTo>
                  <a:pt x="245" y="261"/>
                  <a:pt x="245" y="261"/>
                  <a:pt x="245" y="261"/>
                </a:cubicBezTo>
                <a:cubicBezTo>
                  <a:pt x="245" y="374"/>
                  <a:pt x="245" y="374"/>
                  <a:pt x="245" y="374"/>
                </a:cubicBezTo>
                <a:cubicBezTo>
                  <a:pt x="192" y="374"/>
                  <a:pt x="192" y="374"/>
                  <a:pt x="192" y="374"/>
                </a:cubicBezTo>
                <a:cubicBezTo>
                  <a:pt x="186" y="374"/>
                  <a:pt x="181" y="378"/>
                  <a:pt x="181" y="384"/>
                </a:cubicBezTo>
                <a:cubicBezTo>
                  <a:pt x="181" y="390"/>
                  <a:pt x="186" y="395"/>
                  <a:pt x="192" y="395"/>
                </a:cubicBezTo>
                <a:cubicBezTo>
                  <a:pt x="320" y="395"/>
                  <a:pt x="320" y="395"/>
                  <a:pt x="320" y="395"/>
                </a:cubicBezTo>
                <a:cubicBezTo>
                  <a:pt x="326" y="395"/>
                  <a:pt x="331" y="390"/>
                  <a:pt x="331" y="384"/>
                </a:cubicBezTo>
                <a:cubicBezTo>
                  <a:pt x="331" y="378"/>
                  <a:pt x="326" y="374"/>
                  <a:pt x="320" y="374"/>
                </a:cubicBezTo>
                <a:cubicBezTo>
                  <a:pt x="267" y="374"/>
                  <a:pt x="267" y="374"/>
                  <a:pt x="267" y="374"/>
                </a:cubicBezTo>
                <a:cubicBezTo>
                  <a:pt x="267" y="261"/>
                  <a:pt x="267" y="261"/>
                  <a:pt x="267" y="261"/>
                </a:cubicBezTo>
                <a:cubicBezTo>
                  <a:pt x="370" y="157"/>
                  <a:pt x="370" y="157"/>
                  <a:pt x="370" y="157"/>
                </a:cubicBezTo>
                <a:cubicBezTo>
                  <a:pt x="373" y="154"/>
                  <a:pt x="374" y="150"/>
                  <a:pt x="373" y="14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7" name="Group 789">
            <a:extLst>
              <a:ext uri="{FF2B5EF4-FFF2-40B4-BE49-F238E27FC236}">
                <a16:creationId xmlns:a16="http://schemas.microsoft.com/office/drawing/2014/main" id="{19ED5857-A56D-4DD8-9FBB-E53EA63C00D1}"/>
              </a:ext>
            </a:extLst>
          </p:cNvPr>
          <p:cNvGrpSpPr>
            <a:grpSpLocks noChangeAspect="1"/>
          </p:cNvGrpSpPr>
          <p:nvPr/>
        </p:nvGrpSpPr>
        <p:grpSpPr bwMode="auto">
          <a:xfrm>
            <a:off x="3531174" y="1697372"/>
            <a:ext cx="368120" cy="367041"/>
            <a:chOff x="3185" y="3485"/>
            <a:chExt cx="341" cy="340"/>
          </a:xfrm>
          <a:solidFill>
            <a:schemeClr val="accent3"/>
          </a:solidFill>
        </p:grpSpPr>
        <p:sp>
          <p:nvSpPr>
            <p:cNvPr id="188" name="Freeform 790">
              <a:extLst>
                <a:ext uri="{FF2B5EF4-FFF2-40B4-BE49-F238E27FC236}">
                  <a16:creationId xmlns:a16="http://schemas.microsoft.com/office/drawing/2014/main" id="{05033ADD-BC55-4650-AD6F-134F2104951D}"/>
                </a:ext>
              </a:extLst>
            </p:cNvPr>
            <p:cNvSpPr>
              <a:spLocks noEditPoints="1"/>
            </p:cNvSpPr>
            <p:nvPr/>
          </p:nvSpPr>
          <p:spPr bwMode="auto">
            <a:xfrm>
              <a:off x="3185" y="3485"/>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9" name="Freeform 791">
              <a:extLst>
                <a:ext uri="{FF2B5EF4-FFF2-40B4-BE49-F238E27FC236}">
                  <a16:creationId xmlns:a16="http://schemas.microsoft.com/office/drawing/2014/main" id="{41214892-4412-4701-B41F-1A138EEFD05B}"/>
                </a:ext>
              </a:extLst>
            </p:cNvPr>
            <p:cNvSpPr>
              <a:spLocks noEditPoints="1"/>
            </p:cNvSpPr>
            <p:nvPr/>
          </p:nvSpPr>
          <p:spPr bwMode="auto">
            <a:xfrm>
              <a:off x="3277" y="3577"/>
              <a:ext cx="157" cy="170"/>
            </a:xfrm>
            <a:custGeom>
              <a:avLst/>
              <a:gdLst>
                <a:gd name="T0" fmla="*/ 232 w 236"/>
                <a:gd name="T1" fmla="*/ 18 h 256"/>
                <a:gd name="T2" fmla="*/ 235 w 236"/>
                <a:gd name="T3" fmla="*/ 7 h 256"/>
                <a:gd name="T4" fmla="*/ 225 w 236"/>
                <a:gd name="T5" fmla="*/ 0 h 256"/>
                <a:gd name="T6" fmla="*/ 11 w 236"/>
                <a:gd name="T7" fmla="*/ 0 h 256"/>
                <a:gd name="T8" fmla="*/ 1 w 236"/>
                <a:gd name="T9" fmla="*/ 7 h 256"/>
                <a:gd name="T10" fmla="*/ 4 w 236"/>
                <a:gd name="T11" fmla="*/ 18 h 256"/>
                <a:gd name="T12" fmla="*/ 107 w 236"/>
                <a:gd name="T13" fmla="*/ 122 h 256"/>
                <a:gd name="T14" fmla="*/ 107 w 236"/>
                <a:gd name="T15" fmla="*/ 235 h 256"/>
                <a:gd name="T16" fmla="*/ 54 w 236"/>
                <a:gd name="T17" fmla="*/ 235 h 256"/>
                <a:gd name="T18" fmla="*/ 43 w 236"/>
                <a:gd name="T19" fmla="*/ 245 h 256"/>
                <a:gd name="T20" fmla="*/ 54 w 236"/>
                <a:gd name="T21" fmla="*/ 256 h 256"/>
                <a:gd name="T22" fmla="*/ 182 w 236"/>
                <a:gd name="T23" fmla="*/ 256 h 256"/>
                <a:gd name="T24" fmla="*/ 193 w 236"/>
                <a:gd name="T25" fmla="*/ 245 h 256"/>
                <a:gd name="T26" fmla="*/ 182 w 236"/>
                <a:gd name="T27" fmla="*/ 235 h 256"/>
                <a:gd name="T28" fmla="*/ 129 w 236"/>
                <a:gd name="T29" fmla="*/ 235 h 256"/>
                <a:gd name="T30" fmla="*/ 129 w 236"/>
                <a:gd name="T31" fmla="*/ 122 h 256"/>
                <a:gd name="T32" fmla="*/ 232 w 236"/>
                <a:gd name="T33" fmla="*/ 18 h 256"/>
                <a:gd name="T34" fmla="*/ 199 w 236"/>
                <a:gd name="T35" fmla="*/ 21 h 256"/>
                <a:gd name="T36" fmla="*/ 118 w 236"/>
                <a:gd name="T37" fmla="*/ 102 h 256"/>
                <a:gd name="T38" fmla="*/ 37 w 236"/>
                <a:gd name="T39" fmla="*/ 21 h 256"/>
                <a:gd name="T40" fmla="*/ 199 w 236"/>
                <a:gd name="T41" fmla="*/ 2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6" h="256">
                  <a:moveTo>
                    <a:pt x="232" y="18"/>
                  </a:moveTo>
                  <a:cubicBezTo>
                    <a:pt x="235" y="15"/>
                    <a:pt x="236" y="11"/>
                    <a:pt x="235" y="7"/>
                  </a:cubicBezTo>
                  <a:cubicBezTo>
                    <a:pt x="233" y="3"/>
                    <a:pt x="229" y="0"/>
                    <a:pt x="225" y="0"/>
                  </a:cubicBezTo>
                  <a:cubicBezTo>
                    <a:pt x="11" y="0"/>
                    <a:pt x="11" y="0"/>
                    <a:pt x="11" y="0"/>
                  </a:cubicBezTo>
                  <a:cubicBezTo>
                    <a:pt x="7" y="0"/>
                    <a:pt x="3" y="3"/>
                    <a:pt x="1" y="7"/>
                  </a:cubicBezTo>
                  <a:cubicBezTo>
                    <a:pt x="0" y="11"/>
                    <a:pt x="1" y="15"/>
                    <a:pt x="4" y="18"/>
                  </a:cubicBezTo>
                  <a:cubicBezTo>
                    <a:pt x="107" y="122"/>
                    <a:pt x="107" y="122"/>
                    <a:pt x="107" y="122"/>
                  </a:cubicBezTo>
                  <a:cubicBezTo>
                    <a:pt x="107" y="235"/>
                    <a:pt x="107" y="235"/>
                    <a:pt x="107" y="235"/>
                  </a:cubicBezTo>
                  <a:cubicBezTo>
                    <a:pt x="54" y="235"/>
                    <a:pt x="54" y="235"/>
                    <a:pt x="54" y="235"/>
                  </a:cubicBezTo>
                  <a:cubicBezTo>
                    <a:pt x="48" y="235"/>
                    <a:pt x="43" y="239"/>
                    <a:pt x="43" y="245"/>
                  </a:cubicBezTo>
                  <a:cubicBezTo>
                    <a:pt x="43" y="251"/>
                    <a:pt x="48" y="256"/>
                    <a:pt x="54" y="256"/>
                  </a:cubicBezTo>
                  <a:cubicBezTo>
                    <a:pt x="182" y="256"/>
                    <a:pt x="182" y="256"/>
                    <a:pt x="182" y="256"/>
                  </a:cubicBezTo>
                  <a:cubicBezTo>
                    <a:pt x="188" y="256"/>
                    <a:pt x="193" y="251"/>
                    <a:pt x="193" y="245"/>
                  </a:cubicBezTo>
                  <a:cubicBezTo>
                    <a:pt x="193" y="239"/>
                    <a:pt x="188" y="235"/>
                    <a:pt x="182" y="235"/>
                  </a:cubicBezTo>
                  <a:cubicBezTo>
                    <a:pt x="129" y="235"/>
                    <a:pt x="129" y="235"/>
                    <a:pt x="129" y="235"/>
                  </a:cubicBezTo>
                  <a:cubicBezTo>
                    <a:pt x="129" y="122"/>
                    <a:pt x="129" y="122"/>
                    <a:pt x="129" y="122"/>
                  </a:cubicBezTo>
                  <a:lnTo>
                    <a:pt x="232" y="18"/>
                  </a:lnTo>
                  <a:close/>
                  <a:moveTo>
                    <a:pt x="199" y="21"/>
                  </a:moveTo>
                  <a:cubicBezTo>
                    <a:pt x="118" y="102"/>
                    <a:pt x="118" y="102"/>
                    <a:pt x="118" y="102"/>
                  </a:cubicBezTo>
                  <a:cubicBezTo>
                    <a:pt x="37" y="21"/>
                    <a:pt x="37" y="21"/>
                    <a:pt x="37" y="21"/>
                  </a:cubicBezTo>
                  <a:lnTo>
                    <a:pt x="199"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0" name="Freeform 14">
            <a:extLst>
              <a:ext uri="{FF2B5EF4-FFF2-40B4-BE49-F238E27FC236}">
                <a16:creationId xmlns:a16="http://schemas.microsoft.com/office/drawing/2014/main" id="{36449DAC-C501-4B4D-A7D7-762A50D36C07}"/>
              </a:ext>
            </a:extLst>
          </p:cNvPr>
          <p:cNvSpPr>
            <a:spLocks noChangeAspect="1" noEditPoints="1"/>
          </p:cNvSpPr>
          <p:nvPr/>
        </p:nvSpPr>
        <p:spPr bwMode="auto">
          <a:xfrm>
            <a:off x="3965603" y="1697372"/>
            <a:ext cx="368713" cy="367631"/>
          </a:xfrm>
          <a:custGeom>
            <a:avLst/>
            <a:gdLst>
              <a:gd name="T0" fmla="*/ 380 w 512"/>
              <a:gd name="T1" fmla="*/ 293 h 512"/>
              <a:gd name="T2" fmla="*/ 380 w 512"/>
              <a:gd name="T3" fmla="*/ 265 h 512"/>
              <a:gd name="T4" fmla="*/ 138 w 512"/>
              <a:gd name="T5" fmla="*/ 259 h 512"/>
              <a:gd name="T6" fmla="*/ 341 w 512"/>
              <a:gd name="T7" fmla="*/ 259 h 512"/>
              <a:gd name="T8" fmla="*/ 138 w 512"/>
              <a:gd name="T9" fmla="*/ 245 h 512"/>
              <a:gd name="T10" fmla="*/ 512 w 512"/>
              <a:gd name="T11" fmla="*/ 256 h 512"/>
              <a:gd name="T12" fmla="*/ 0 w 512"/>
              <a:gd name="T13" fmla="*/ 256 h 512"/>
              <a:gd name="T14" fmla="*/ 512 w 512"/>
              <a:gd name="T15" fmla="*/ 256 h 512"/>
              <a:gd name="T16" fmla="*/ 305 w 512"/>
              <a:gd name="T17" fmla="*/ 186 h 512"/>
              <a:gd name="T18" fmla="*/ 314 w 512"/>
              <a:gd name="T19" fmla="*/ 203 h 512"/>
              <a:gd name="T20" fmla="*/ 323 w 512"/>
              <a:gd name="T21" fmla="*/ 148 h 512"/>
              <a:gd name="T22" fmla="*/ 321 w 512"/>
              <a:gd name="T23" fmla="*/ 109 h 512"/>
              <a:gd name="T24" fmla="*/ 305 w 512"/>
              <a:gd name="T25" fmla="*/ 160 h 512"/>
              <a:gd name="T26" fmla="*/ 231 w 512"/>
              <a:gd name="T27" fmla="*/ 186 h 512"/>
              <a:gd name="T28" fmla="*/ 239 w 512"/>
              <a:gd name="T29" fmla="*/ 203 h 512"/>
              <a:gd name="T30" fmla="*/ 248 w 512"/>
              <a:gd name="T31" fmla="*/ 148 h 512"/>
              <a:gd name="T32" fmla="*/ 246 w 512"/>
              <a:gd name="T33" fmla="*/ 109 h 512"/>
              <a:gd name="T34" fmla="*/ 230 w 512"/>
              <a:gd name="T35" fmla="*/ 160 h 512"/>
              <a:gd name="T36" fmla="*/ 156 w 512"/>
              <a:gd name="T37" fmla="*/ 186 h 512"/>
              <a:gd name="T38" fmla="*/ 164 w 512"/>
              <a:gd name="T39" fmla="*/ 203 h 512"/>
              <a:gd name="T40" fmla="*/ 173 w 512"/>
              <a:gd name="T41" fmla="*/ 148 h 512"/>
              <a:gd name="T42" fmla="*/ 171 w 512"/>
              <a:gd name="T43" fmla="*/ 109 h 512"/>
              <a:gd name="T44" fmla="*/ 155 w 512"/>
              <a:gd name="T45" fmla="*/ 160 h 512"/>
              <a:gd name="T46" fmla="*/ 380 w 512"/>
              <a:gd name="T47" fmla="*/ 243 h 512"/>
              <a:gd name="T48" fmla="*/ 362 w 512"/>
              <a:gd name="T49" fmla="*/ 234 h 512"/>
              <a:gd name="T50" fmla="*/ 128 w 512"/>
              <a:gd name="T51" fmla="*/ 224 h 512"/>
              <a:gd name="T52" fmla="*/ 117 w 512"/>
              <a:gd name="T53" fmla="*/ 259 h 512"/>
              <a:gd name="T54" fmla="*/ 128 w 512"/>
              <a:gd name="T55" fmla="*/ 373 h 512"/>
              <a:gd name="T56" fmla="*/ 128 w 512"/>
              <a:gd name="T57" fmla="*/ 394 h 512"/>
              <a:gd name="T58" fmla="*/ 394 w 512"/>
              <a:gd name="T59" fmla="*/ 384 h 512"/>
              <a:gd name="T60" fmla="*/ 290 w 512"/>
              <a:gd name="T61" fmla="*/ 373 h 512"/>
              <a:gd name="T62" fmla="*/ 380 w 512"/>
              <a:gd name="T63" fmla="*/ 3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94" y="279"/>
                </a:moveTo>
                <a:cubicBezTo>
                  <a:pt x="394" y="286"/>
                  <a:pt x="388" y="293"/>
                  <a:pt x="380" y="293"/>
                </a:cubicBezTo>
                <a:cubicBezTo>
                  <a:pt x="372" y="293"/>
                  <a:pt x="366" y="286"/>
                  <a:pt x="366" y="279"/>
                </a:cubicBezTo>
                <a:cubicBezTo>
                  <a:pt x="366" y="271"/>
                  <a:pt x="372" y="265"/>
                  <a:pt x="380" y="265"/>
                </a:cubicBezTo>
                <a:cubicBezTo>
                  <a:pt x="388" y="265"/>
                  <a:pt x="394" y="271"/>
                  <a:pt x="394" y="279"/>
                </a:cubicBezTo>
                <a:close/>
                <a:moveTo>
                  <a:pt x="138" y="259"/>
                </a:moveTo>
                <a:cubicBezTo>
                  <a:pt x="138" y="317"/>
                  <a:pt x="183" y="362"/>
                  <a:pt x="240" y="362"/>
                </a:cubicBezTo>
                <a:cubicBezTo>
                  <a:pt x="296" y="362"/>
                  <a:pt x="341" y="317"/>
                  <a:pt x="341" y="259"/>
                </a:cubicBezTo>
                <a:cubicBezTo>
                  <a:pt x="341" y="245"/>
                  <a:pt x="341" y="245"/>
                  <a:pt x="341" y="245"/>
                </a:cubicBezTo>
                <a:cubicBezTo>
                  <a:pt x="138" y="245"/>
                  <a:pt x="138" y="245"/>
                  <a:pt x="138" y="245"/>
                </a:cubicBezTo>
                <a:lnTo>
                  <a:pt x="138" y="25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5" y="160"/>
                </a:moveTo>
                <a:cubicBezTo>
                  <a:pt x="314" y="174"/>
                  <a:pt x="306" y="185"/>
                  <a:pt x="305" y="186"/>
                </a:cubicBezTo>
                <a:cubicBezTo>
                  <a:pt x="302" y="190"/>
                  <a:pt x="302" y="197"/>
                  <a:pt x="307" y="201"/>
                </a:cubicBezTo>
                <a:cubicBezTo>
                  <a:pt x="309" y="202"/>
                  <a:pt x="311" y="203"/>
                  <a:pt x="314" y="203"/>
                </a:cubicBezTo>
                <a:cubicBezTo>
                  <a:pt x="317" y="203"/>
                  <a:pt x="320" y="202"/>
                  <a:pt x="322" y="199"/>
                </a:cubicBezTo>
                <a:cubicBezTo>
                  <a:pt x="323" y="198"/>
                  <a:pt x="340" y="176"/>
                  <a:pt x="323" y="148"/>
                </a:cubicBezTo>
                <a:cubicBezTo>
                  <a:pt x="314" y="134"/>
                  <a:pt x="321" y="125"/>
                  <a:pt x="322" y="124"/>
                </a:cubicBezTo>
                <a:cubicBezTo>
                  <a:pt x="326" y="119"/>
                  <a:pt x="325" y="113"/>
                  <a:pt x="321" y="109"/>
                </a:cubicBezTo>
                <a:cubicBezTo>
                  <a:pt x="316" y="105"/>
                  <a:pt x="310" y="106"/>
                  <a:pt x="306" y="110"/>
                </a:cubicBezTo>
                <a:cubicBezTo>
                  <a:pt x="305" y="111"/>
                  <a:pt x="287" y="132"/>
                  <a:pt x="305" y="160"/>
                </a:cubicBezTo>
                <a:close/>
                <a:moveTo>
                  <a:pt x="230" y="160"/>
                </a:moveTo>
                <a:cubicBezTo>
                  <a:pt x="239" y="174"/>
                  <a:pt x="231" y="185"/>
                  <a:pt x="231" y="186"/>
                </a:cubicBezTo>
                <a:cubicBezTo>
                  <a:pt x="227" y="190"/>
                  <a:pt x="228" y="197"/>
                  <a:pt x="232" y="201"/>
                </a:cubicBezTo>
                <a:cubicBezTo>
                  <a:pt x="234" y="202"/>
                  <a:pt x="237" y="203"/>
                  <a:pt x="239" y="203"/>
                </a:cubicBezTo>
                <a:cubicBezTo>
                  <a:pt x="242" y="203"/>
                  <a:pt x="245" y="202"/>
                  <a:pt x="247" y="199"/>
                </a:cubicBezTo>
                <a:cubicBezTo>
                  <a:pt x="248" y="198"/>
                  <a:pt x="265" y="176"/>
                  <a:pt x="248" y="148"/>
                </a:cubicBezTo>
                <a:cubicBezTo>
                  <a:pt x="239" y="134"/>
                  <a:pt x="246" y="125"/>
                  <a:pt x="247" y="124"/>
                </a:cubicBezTo>
                <a:cubicBezTo>
                  <a:pt x="251" y="119"/>
                  <a:pt x="250" y="113"/>
                  <a:pt x="246" y="109"/>
                </a:cubicBezTo>
                <a:cubicBezTo>
                  <a:pt x="242" y="105"/>
                  <a:pt x="235" y="106"/>
                  <a:pt x="231" y="110"/>
                </a:cubicBezTo>
                <a:cubicBezTo>
                  <a:pt x="230" y="111"/>
                  <a:pt x="212" y="132"/>
                  <a:pt x="230" y="160"/>
                </a:cubicBezTo>
                <a:close/>
                <a:moveTo>
                  <a:pt x="155" y="160"/>
                </a:moveTo>
                <a:cubicBezTo>
                  <a:pt x="164" y="174"/>
                  <a:pt x="157" y="185"/>
                  <a:pt x="156" y="186"/>
                </a:cubicBezTo>
                <a:cubicBezTo>
                  <a:pt x="152" y="190"/>
                  <a:pt x="153" y="197"/>
                  <a:pt x="158" y="201"/>
                </a:cubicBezTo>
                <a:cubicBezTo>
                  <a:pt x="160" y="202"/>
                  <a:pt x="162" y="203"/>
                  <a:pt x="164" y="203"/>
                </a:cubicBezTo>
                <a:cubicBezTo>
                  <a:pt x="167" y="203"/>
                  <a:pt x="171" y="202"/>
                  <a:pt x="173" y="199"/>
                </a:cubicBezTo>
                <a:cubicBezTo>
                  <a:pt x="173" y="198"/>
                  <a:pt x="191" y="176"/>
                  <a:pt x="173" y="148"/>
                </a:cubicBezTo>
                <a:cubicBezTo>
                  <a:pt x="165" y="134"/>
                  <a:pt x="172" y="125"/>
                  <a:pt x="172" y="124"/>
                </a:cubicBezTo>
                <a:cubicBezTo>
                  <a:pt x="176" y="119"/>
                  <a:pt x="176" y="113"/>
                  <a:pt x="171" y="109"/>
                </a:cubicBezTo>
                <a:cubicBezTo>
                  <a:pt x="167" y="105"/>
                  <a:pt x="160" y="106"/>
                  <a:pt x="156" y="110"/>
                </a:cubicBezTo>
                <a:cubicBezTo>
                  <a:pt x="156" y="111"/>
                  <a:pt x="138" y="132"/>
                  <a:pt x="155" y="160"/>
                </a:cubicBezTo>
                <a:close/>
                <a:moveTo>
                  <a:pt x="416" y="279"/>
                </a:moveTo>
                <a:cubicBezTo>
                  <a:pt x="416" y="259"/>
                  <a:pt x="400" y="243"/>
                  <a:pt x="380" y="243"/>
                </a:cubicBezTo>
                <a:cubicBezTo>
                  <a:pt x="374" y="243"/>
                  <a:pt x="368" y="245"/>
                  <a:pt x="362" y="248"/>
                </a:cubicBezTo>
                <a:cubicBezTo>
                  <a:pt x="362" y="234"/>
                  <a:pt x="362" y="234"/>
                  <a:pt x="362" y="234"/>
                </a:cubicBezTo>
                <a:cubicBezTo>
                  <a:pt x="362" y="228"/>
                  <a:pt x="358" y="224"/>
                  <a:pt x="352" y="224"/>
                </a:cubicBezTo>
                <a:cubicBezTo>
                  <a:pt x="128" y="224"/>
                  <a:pt x="128" y="224"/>
                  <a:pt x="128" y="224"/>
                </a:cubicBezTo>
                <a:cubicBezTo>
                  <a:pt x="122" y="224"/>
                  <a:pt x="117" y="228"/>
                  <a:pt x="117" y="234"/>
                </a:cubicBezTo>
                <a:cubicBezTo>
                  <a:pt x="117" y="259"/>
                  <a:pt x="117" y="259"/>
                  <a:pt x="117" y="259"/>
                </a:cubicBezTo>
                <a:cubicBezTo>
                  <a:pt x="117" y="311"/>
                  <a:pt x="147" y="354"/>
                  <a:pt x="190"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ubicBezTo>
                  <a:pt x="394" y="378"/>
                  <a:pt x="390" y="373"/>
                  <a:pt x="384" y="373"/>
                </a:cubicBezTo>
                <a:cubicBezTo>
                  <a:pt x="290" y="373"/>
                  <a:pt x="290" y="373"/>
                  <a:pt x="290" y="373"/>
                </a:cubicBezTo>
                <a:cubicBezTo>
                  <a:pt x="320" y="360"/>
                  <a:pt x="343" y="335"/>
                  <a:pt x="355" y="303"/>
                </a:cubicBezTo>
                <a:cubicBezTo>
                  <a:pt x="361" y="310"/>
                  <a:pt x="370" y="314"/>
                  <a:pt x="380" y="314"/>
                </a:cubicBezTo>
                <a:cubicBezTo>
                  <a:pt x="400" y="314"/>
                  <a:pt x="416" y="298"/>
                  <a:pt x="416" y="2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91" name="Group 17">
            <a:extLst>
              <a:ext uri="{FF2B5EF4-FFF2-40B4-BE49-F238E27FC236}">
                <a16:creationId xmlns:a16="http://schemas.microsoft.com/office/drawing/2014/main" id="{FBE342FE-B8C9-45C1-BB34-381B65F1C343}"/>
              </a:ext>
            </a:extLst>
          </p:cNvPr>
          <p:cNvGrpSpPr>
            <a:grpSpLocks noChangeAspect="1"/>
          </p:cNvGrpSpPr>
          <p:nvPr/>
        </p:nvGrpSpPr>
        <p:grpSpPr bwMode="auto">
          <a:xfrm>
            <a:off x="4400625" y="1697372"/>
            <a:ext cx="367631" cy="367631"/>
            <a:chOff x="2387" y="1141"/>
            <a:chExt cx="340" cy="340"/>
          </a:xfrm>
          <a:solidFill>
            <a:schemeClr val="accent1"/>
          </a:solidFill>
        </p:grpSpPr>
        <p:sp>
          <p:nvSpPr>
            <p:cNvPr id="192" name="Freeform 18">
              <a:extLst>
                <a:ext uri="{FF2B5EF4-FFF2-40B4-BE49-F238E27FC236}">
                  <a16:creationId xmlns:a16="http://schemas.microsoft.com/office/drawing/2014/main" id="{AFA17F2A-67DF-4961-9A98-551533A9C1DE}"/>
                </a:ext>
              </a:extLst>
            </p:cNvPr>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3" name="Freeform 19">
              <a:extLst>
                <a:ext uri="{FF2B5EF4-FFF2-40B4-BE49-F238E27FC236}">
                  <a16:creationId xmlns:a16="http://schemas.microsoft.com/office/drawing/2014/main" id="{D28D2792-EC10-4DBF-9DA0-DE187DAF3D37}"/>
                </a:ext>
              </a:extLst>
            </p:cNvPr>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4" name="Freeform 20">
              <a:extLst>
                <a:ext uri="{FF2B5EF4-FFF2-40B4-BE49-F238E27FC236}">
                  <a16:creationId xmlns:a16="http://schemas.microsoft.com/office/drawing/2014/main" id="{E6A73DFE-A5FB-4794-B7A6-1F955CC436BC}"/>
                </a:ext>
              </a:extLst>
            </p:cNvPr>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5" name="Freeform 21">
              <a:extLst>
                <a:ext uri="{FF2B5EF4-FFF2-40B4-BE49-F238E27FC236}">
                  <a16:creationId xmlns:a16="http://schemas.microsoft.com/office/drawing/2014/main" id="{002BEF09-4137-47A7-9DBC-D767ACF417AC}"/>
                </a:ext>
              </a:extLst>
            </p:cNvPr>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6" name="Freeform 22">
              <a:extLst>
                <a:ext uri="{FF2B5EF4-FFF2-40B4-BE49-F238E27FC236}">
                  <a16:creationId xmlns:a16="http://schemas.microsoft.com/office/drawing/2014/main" id="{88D481A4-FCF7-429D-B9DE-5E1A244AA762}"/>
                </a:ext>
              </a:extLst>
            </p:cNvPr>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7" name="Freeform 159">
            <a:extLst>
              <a:ext uri="{FF2B5EF4-FFF2-40B4-BE49-F238E27FC236}">
                <a16:creationId xmlns:a16="http://schemas.microsoft.com/office/drawing/2014/main" id="{4CE31D68-AB6E-477A-A3F6-3C3E7ACDBB5F}"/>
              </a:ext>
            </a:extLst>
          </p:cNvPr>
          <p:cNvSpPr>
            <a:spLocks noChangeAspect="1" noEditPoints="1"/>
          </p:cNvSpPr>
          <p:nvPr/>
        </p:nvSpPr>
        <p:spPr bwMode="auto">
          <a:xfrm>
            <a:off x="4834565" y="1697372"/>
            <a:ext cx="367631" cy="367631"/>
          </a:xfrm>
          <a:custGeom>
            <a:avLst/>
            <a:gdLst>
              <a:gd name="T0" fmla="*/ 288 w 512"/>
              <a:gd name="T1" fmla="*/ 220 h 512"/>
              <a:gd name="T2" fmla="*/ 320 w 512"/>
              <a:gd name="T3" fmla="*/ 129 h 512"/>
              <a:gd name="T4" fmla="*/ 320 w 512"/>
              <a:gd name="T5" fmla="*/ 394 h 512"/>
              <a:gd name="T6" fmla="*/ 299 w 512"/>
              <a:gd name="T7" fmla="*/ 384 h 512"/>
              <a:gd name="T8" fmla="*/ 309 w 512"/>
              <a:gd name="T9" fmla="*/ 246 h 512"/>
              <a:gd name="T10" fmla="*/ 306 w 512"/>
              <a:gd name="T11" fmla="*/ 238 h 512"/>
              <a:gd name="T12" fmla="*/ 288 w 512"/>
              <a:gd name="T13" fmla="*/ 220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181 w 512"/>
              <a:gd name="T25" fmla="*/ 160 h 512"/>
              <a:gd name="T26" fmla="*/ 192 w 512"/>
              <a:gd name="T27" fmla="*/ 171 h 512"/>
              <a:gd name="T28" fmla="*/ 203 w 512"/>
              <a:gd name="T29" fmla="*/ 160 h 512"/>
              <a:gd name="T30" fmla="*/ 203 w 512"/>
              <a:gd name="T31" fmla="*/ 107 h 512"/>
              <a:gd name="T32" fmla="*/ 192 w 512"/>
              <a:gd name="T33" fmla="*/ 96 h 512"/>
              <a:gd name="T34" fmla="*/ 181 w 512"/>
              <a:gd name="T35" fmla="*/ 107 h 512"/>
              <a:gd name="T36" fmla="*/ 181 w 512"/>
              <a:gd name="T37" fmla="*/ 160 h 512"/>
              <a:gd name="T38" fmla="*/ 245 w 512"/>
              <a:gd name="T39" fmla="*/ 107 h 512"/>
              <a:gd name="T40" fmla="*/ 235 w 512"/>
              <a:gd name="T41" fmla="*/ 96 h 512"/>
              <a:gd name="T42" fmla="*/ 224 w 512"/>
              <a:gd name="T43" fmla="*/ 107 h 512"/>
              <a:gd name="T44" fmla="*/ 224 w 512"/>
              <a:gd name="T45" fmla="*/ 171 h 512"/>
              <a:gd name="T46" fmla="*/ 213 w 512"/>
              <a:gd name="T47" fmla="*/ 182 h 512"/>
              <a:gd name="T48" fmla="*/ 203 w 512"/>
              <a:gd name="T49" fmla="*/ 192 h 512"/>
              <a:gd name="T50" fmla="*/ 203 w 512"/>
              <a:gd name="T51" fmla="*/ 384 h 512"/>
              <a:gd name="T52" fmla="*/ 192 w 512"/>
              <a:gd name="T53" fmla="*/ 395 h 512"/>
              <a:gd name="T54" fmla="*/ 181 w 512"/>
              <a:gd name="T55" fmla="*/ 384 h 512"/>
              <a:gd name="T56" fmla="*/ 181 w 512"/>
              <a:gd name="T57" fmla="*/ 192 h 512"/>
              <a:gd name="T58" fmla="*/ 171 w 512"/>
              <a:gd name="T59" fmla="*/ 182 h 512"/>
              <a:gd name="T60" fmla="*/ 160 w 512"/>
              <a:gd name="T61" fmla="*/ 171 h 512"/>
              <a:gd name="T62" fmla="*/ 160 w 512"/>
              <a:gd name="T63" fmla="*/ 107 h 512"/>
              <a:gd name="T64" fmla="*/ 149 w 512"/>
              <a:gd name="T65" fmla="*/ 96 h 512"/>
              <a:gd name="T66" fmla="*/ 139 w 512"/>
              <a:gd name="T67" fmla="*/ 107 h 512"/>
              <a:gd name="T68" fmla="*/ 139 w 512"/>
              <a:gd name="T69" fmla="*/ 171 h 512"/>
              <a:gd name="T70" fmla="*/ 160 w 512"/>
              <a:gd name="T71" fmla="*/ 201 h 512"/>
              <a:gd name="T72" fmla="*/ 160 w 512"/>
              <a:gd name="T73" fmla="*/ 385 h 512"/>
              <a:gd name="T74" fmla="*/ 192 w 512"/>
              <a:gd name="T75" fmla="*/ 416 h 512"/>
              <a:gd name="T76" fmla="*/ 192 w 512"/>
              <a:gd name="T77" fmla="*/ 416 h 512"/>
              <a:gd name="T78" fmla="*/ 192 w 512"/>
              <a:gd name="T79" fmla="*/ 416 h 512"/>
              <a:gd name="T80" fmla="*/ 224 w 512"/>
              <a:gd name="T81" fmla="*/ 384 h 512"/>
              <a:gd name="T82" fmla="*/ 224 w 512"/>
              <a:gd name="T83" fmla="*/ 201 h 512"/>
              <a:gd name="T84" fmla="*/ 245 w 512"/>
              <a:gd name="T85" fmla="*/ 171 h 512"/>
              <a:gd name="T86" fmla="*/ 245 w 512"/>
              <a:gd name="T87" fmla="*/ 107 h 512"/>
              <a:gd name="T88" fmla="*/ 341 w 512"/>
              <a:gd name="T89" fmla="*/ 107 h 512"/>
              <a:gd name="T90" fmla="*/ 336 w 512"/>
              <a:gd name="T91" fmla="*/ 98 h 512"/>
              <a:gd name="T92" fmla="*/ 326 w 512"/>
              <a:gd name="T93" fmla="*/ 98 h 512"/>
              <a:gd name="T94" fmla="*/ 267 w 512"/>
              <a:gd name="T95" fmla="*/ 224 h 512"/>
              <a:gd name="T96" fmla="*/ 270 w 512"/>
              <a:gd name="T97" fmla="*/ 232 h 512"/>
              <a:gd name="T98" fmla="*/ 288 w 512"/>
              <a:gd name="T99" fmla="*/ 250 h 512"/>
              <a:gd name="T100" fmla="*/ 277 w 512"/>
              <a:gd name="T101" fmla="*/ 384 h 512"/>
              <a:gd name="T102" fmla="*/ 331 w 512"/>
              <a:gd name="T103" fmla="*/ 416 h 512"/>
              <a:gd name="T104" fmla="*/ 341 w 512"/>
              <a:gd name="T105" fmla="*/ 406 h 512"/>
              <a:gd name="T106" fmla="*/ 341 w 512"/>
              <a:gd name="T107"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8" y="220"/>
                </a:moveTo>
                <a:cubicBezTo>
                  <a:pt x="289" y="172"/>
                  <a:pt x="307" y="144"/>
                  <a:pt x="320" y="129"/>
                </a:cubicBezTo>
                <a:cubicBezTo>
                  <a:pt x="320" y="394"/>
                  <a:pt x="320" y="394"/>
                  <a:pt x="320" y="394"/>
                </a:cubicBezTo>
                <a:cubicBezTo>
                  <a:pt x="305" y="393"/>
                  <a:pt x="299" y="387"/>
                  <a:pt x="299" y="384"/>
                </a:cubicBezTo>
                <a:cubicBezTo>
                  <a:pt x="309" y="246"/>
                  <a:pt x="309" y="246"/>
                  <a:pt x="309" y="246"/>
                </a:cubicBezTo>
                <a:cubicBezTo>
                  <a:pt x="310" y="243"/>
                  <a:pt x="308" y="240"/>
                  <a:pt x="306" y="238"/>
                </a:cubicBezTo>
                <a:lnTo>
                  <a:pt x="288" y="22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81" y="160"/>
                </a:moveTo>
                <a:cubicBezTo>
                  <a:pt x="181" y="166"/>
                  <a:pt x="186" y="171"/>
                  <a:pt x="192" y="171"/>
                </a:cubicBezTo>
                <a:cubicBezTo>
                  <a:pt x="198" y="171"/>
                  <a:pt x="203" y="166"/>
                  <a:pt x="203" y="160"/>
                </a:cubicBezTo>
                <a:cubicBezTo>
                  <a:pt x="203" y="107"/>
                  <a:pt x="203" y="107"/>
                  <a:pt x="203" y="107"/>
                </a:cubicBezTo>
                <a:cubicBezTo>
                  <a:pt x="203" y="101"/>
                  <a:pt x="198" y="96"/>
                  <a:pt x="192" y="96"/>
                </a:cubicBezTo>
                <a:cubicBezTo>
                  <a:pt x="186" y="96"/>
                  <a:pt x="181" y="101"/>
                  <a:pt x="181" y="107"/>
                </a:cubicBezTo>
                <a:lnTo>
                  <a:pt x="181" y="160"/>
                </a:lnTo>
                <a:close/>
                <a:moveTo>
                  <a:pt x="245" y="107"/>
                </a:moveTo>
                <a:cubicBezTo>
                  <a:pt x="245" y="101"/>
                  <a:pt x="241" y="96"/>
                  <a:pt x="235" y="96"/>
                </a:cubicBezTo>
                <a:cubicBezTo>
                  <a:pt x="229" y="96"/>
                  <a:pt x="224" y="101"/>
                  <a:pt x="224" y="107"/>
                </a:cubicBezTo>
                <a:cubicBezTo>
                  <a:pt x="224" y="171"/>
                  <a:pt x="224" y="171"/>
                  <a:pt x="224" y="171"/>
                </a:cubicBezTo>
                <a:cubicBezTo>
                  <a:pt x="224" y="176"/>
                  <a:pt x="222" y="182"/>
                  <a:pt x="213" y="182"/>
                </a:cubicBezTo>
                <a:cubicBezTo>
                  <a:pt x="207" y="182"/>
                  <a:pt x="203" y="186"/>
                  <a:pt x="203" y="192"/>
                </a:cubicBezTo>
                <a:cubicBezTo>
                  <a:pt x="203" y="384"/>
                  <a:pt x="203" y="384"/>
                  <a:pt x="203" y="384"/>
                </a:cubicBezTo>
                <a:cubicBezTo>
                  <a:pt x="203" y="388"/>
                  <a:pt x="201" y="395"/>
                  <a:pt x="192" y="395"/>
                </a:cubicBezTo>
                <a:cubicBezTo>
                  <a:pt x="183" y="395"/>
                  <a:pt x="182" y="388"/>
                  <a:pt x="181" y="384"/>
                </a:cubicBezTo>
                <a:cubicBezTo>
                  <a:pt x="181" y="192"/>
                  <a:pt x="181" y="192"/>
                  <a:pt x="181" y="192"/>
                </a:cubicBezTo>
                <a:cubicBezTo>
                  <a:pt x="181" y="186"/>
                  <a:pt x="177" y="182"/>
                  <a:pt x="171" y="182"/>
                </a:cubicBezTo>
                <a:cubicBezTo>
                  <a:pt x="162" y="182"/>
                  <a:pt x="160" y="176"/>
                  <a:pt x="160" y="171"/>
                </a:cubicBezTo>
                <a:cubicBezTo>
                  <a:pt x="160" y="107"/>
                  <a:pt x="160" y="107"/>
                  <a:pt x="160" y="107"/>
                </a:cubicBezTo>
                <a:cubicBezTo>
                  <a:pt x="160" y="101"/>
                  <a:pt x="155" y="96"/>
                  <a:pt x="149" y="96"/>
                </a:cubicBezTo>
                <a:cubicBezTo>
                  <a:pt x="143" y="96"/>
                  <a:pt x="139" y="101"/>
                  <a:pt x="139" y="107"/>
                </a:cubicBezTo>
                <a:cubicBezTo>
                  <a:pt x="139" y="171"/>
                  <a:pt x="139" y="171"/>
                  <a:pt x="139" y="171"/>
                </a:cubicBezTo>
                <a:cubicBezTo>
                  <a:pt x="139" y="182"/>
                  <a:pt x="149" y="197"/>
                  <a:pt x="160" y="201"/>
                </a:cubicBezTo>
                <a:cubicBezTo>
                  <a:pt x="160" y="385"/>
                  <a:pt x="160" y="385"/>
                  <a:pt x="160" y="385"/>
                </a:cubicBezTo>
                <a:cubicBezTo>
                  <a:pt x="160" y="397"/>
                  <a:pt x="169" y="416"/>
                  <a:pt x="192" y="416"/>
                </a:cubicBezTo>
                <a:cubicBezTo>
                  <a:pt x="192" y="416"/>
                  <a:pt x="192" y="416"/>
                  <a:pt x="192" y="416"/>
                </a:cubicBezTo>
                <a:cubicBezTo>
                  <a:pt x="192" y="416"/>
                  <a:pt x="192" y="416"/>
                  <a:pt x="192" y="416"/>
                </a:cubicBezTo>
                <a:cubicBezTo>
                  <a:pt x="215" y="416"/>
                  <a:pt x="224" y="397"/>
                  <a:pt x="224" y="384"/>
                </a:cubicBezTo>
                <a:cubicBezTo>
                  <a:pt x="224" y="201"/>
                  <a:pt x="224" y="201"/>
                  <a:pt x="224" y="201"/>
                </a:cubicBezTo>
                <a:cubicBezTo>
                  <a:pt x="239" y="197"/>
                  <a:pt x="245" y="182"/>
                  <a:pt x="245" y="171"/>
                </a:cubicBezTo>
                <a:lnTo>
                  <a:pt x="245" y="107"/>
                </a:lnTo>
                <a:close/>
                <a:moveTo>
                  <a:pt x="341" y="107"/>
                </a:moveTo>
                <a:cubicBezTo>
                  <a:pt x="341" y="103"/>
                  <a:pt x="339" y="100"/>
                  <a:pt x="336" y="98"/>
                </a:cubicBezTo>
                <a:cubicBezTo>
                  <a:pt x="333" y="96"/>
                  <a:pt x="329" y="96"/>
                  <a:pt x="326" y="98"/>
                </a:cubicBezTo>
                <a:cubicBezTo>
                  <a:pt x="323" y="99"/>
                  <a:pt x="267" y="130"/>
                  <a:pt x="267" y="224"/>
                </a:cubicBezTo>
                <a:cubicBezTo>
                  <a:pt x="267" y="227"/>
                  <a:pt x="268" y="230"/>
                  <a:pt x="270" y="232"/>
                </a:cubicBezTo>
                <a:cubicBezTo>
                  <a:pt x="288" y="250"/>
                  <a:pt x="288" y="250"/>
                  <a:pt x="288" y="250"/>
                </a:cubicBezTo>
                <a:cubicBezTo>
                  <a:pt x="277" y="384"/>
                  <a:pt x="277" y="384"/>
                  <a:pt x="277" y="384"/>
                </a:cubicBezTo>
                <a:cubicBezTo>
                  <a:pt x="277" y="386"/>
                  <a:pt x="278" y="416"/>
                  <a:pt x="331" y="416"/>
                </a:cubicBezTo>
                <a:cubicBezTo>
                  <a:pt x="337" y="416"/>
                  <a:pt x="341" y="412"/>
                  <a:pt x="341" y="406"/>
                </a:cubicBezTo>
                <a:lnTo>
                  <a:pt x="341" y="10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98" name="Group 162">
            <a:extLst>
              <a:ext uri="{FF2B5EF4-FFF2-40B4-BE49-F238E27FC236}">
                <a16:creationId xmlns:a16="http://schemas.microsoft.com/office/drawing/2014/main" id="{B5BEA109-CAC5-4CAC-9DC4-23A47D07D2C1}"/>
              </a:ext>
            </a:extLst>
          </p:cNvPr>
          <p:cNvGrpSpPr>
            <a:grpSpLocks noChangeAspect="1"/>
          </p:cNvGrpSpPr>
          <p:nvPr/>
        </p:nvGrpSpPr>
        <p:grpSpPr bwMode="auto">
          <a:xfrm>
            <a:off x="5268505" y="1697372"/>
            <a:ext cx="367631" cy="367631"/>
            <a:chOff x="3425" y="1699"/>
            <a:chExt cx="340" cy="340"/>
          </a:xfrm>
          <a:solidFill>
            <a:schemeClr val="accent2"/>
          </a:solidFill>
        </p:grpSpPr>
        <p:sp>
          <p:nvSpPr>
            <p:cNvPr id="199" name="Freeform 163">
              <a:extLst>
                <a:ext uri="{FF2B5EF4-FFF2-40B4-BE49-F238E27FC236}">
                  <a16:creationId xmlns:a16="http://schemas.microsoft.com/office/drawing/2014/main" id="{617ED971-E305-4321-9CF7-C1E2486D0902}"/>
                </a:ext>
              </a:extLst>
            </p:cNvPr>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0" name="Freeform 164">
              <a:extLst>
                <a:ext uri="{FF2B5EF4-FFF2-40B4-BE49-F238E27FC236}">
                  <a16:creationId xmlns:a16="http://schemas.microsoft.com/office/drawing/2014/main" id="{BF7E91C6-5F3A-4D0D-92E6-CFA16EFFECC7}"/>
                </a:ext>
              </a:extLst>
            </p:cNvPr>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1" name="Freeform 64">
            <a:extLst>
              <a:ext uri="{FF2B5EF4-FFF2-40B4-BE49-F238E27FC236}">
                <a16:creationId xmlns:a16="http://schemas.microsoft.com/office/drawing/2014/main" id="{5D75DA1F-708E-44F3-A868-4B030C3D403B}"/>
              </a:ext>
            </a:extLst>
          </p:cNvPr>
          <p:cNvSpPr>
            <a:spLocks noChangeAspect="1" noEditPoints="1"/>
          </p:cNvSpPr>
          <p:nvPr/>
        </p:nvSpPr>
        <p:spPr bwMode="auto">
          <a:xfrm>
            <a:off x="5702445" y="1697372"/>
            <a:ext cx="368051" cy="368152"/>
          </a:xfrm>
          <a:custGeom>
            <a:avLst/>
            <a:gdLst>
              <a:gd name="T0" fmla="*/ 266 w 512"/>
              <a:gd name="T1" fmla="*/ 159 h 512"/>
              <a:gd name="T2" fmla="*/ 275 w 512"/>
              <a:gd name="T3" fmla="*/ 133 h 512"/>
              <a:gd name="T4" fmla="*/ 308 w 512"/>
              <a:gd name="T5" fmla="*/ 118 h 512"/>
              <a:gd name="T6" fmla="*/ 302 w 512"/>
              <a:gd name="T7" fmla="*/ 133 h 512"/>
              <a:gd name="T8" fmla="*/ 266 w 512"/>
              <a:gd name="T9" fmla="*/ 159 h 512"/>
              <a:gd name="T10" fmla="*/ 330 w 512"/>
              <a:gd name="T11" fmla="*/ 170 h 512"/>
              <a:gd name="T12" fmla="*/ 304 w 512"/>
              <a:gd name="T13" fmla="*/ 176 h 512"/>
              <a:gd name="T14" fmla="*/ 237 w 512"/>
              <a:gd name="T15" fmla="*/ 188 h 512"/>
              <a:gd name="T16" fmla="*/ 211 w 512"/>
              <a:gd name="T17" fmla="*/ 179 h 512"/>
              <a:gd name="T18" fmla="*/ 181 w 512"/>
              <a:gd name="T19" fmla="*/ 170 h 512"/>
              <a:gd name="T20" fmla="*/ 117 w 512"/>
              <a:gd name="T21" fmla="*/ 234 h 512"/>
              <a:gd name="T22" fmla="*/ 188 w 512"/>
              <a:gd name="T23" fmla="*/ 386 h 512"/>
              <a:gd name="T24" fmla="*/ 189 w 512"/>
              <a:gd name="T25" fmla="*/ 387 h 512"/>
              <a:gd name="T26" fmla="*/ 202 w 512"/>
              <a:gd name="T27" fmla="*/ 394 h 512"/>
              <a:gd name="T28" fmla="*/ 209 w 512"/>
              <a:gd name="T29" fmla="*/ 393 h 512"/>
              <a:gd name="T30" fmla="*/ 256 w 512"/>
              <a:gd name="T31" fmla="*/ 384 h 512"/>
              <a:gd name="T32" fmla="*/ 303 w 512"/>
              <a:gd name="T33" fmla="*/ 393 h 512"/>
              <a:gd name="T34" fmla="*/ 309 w 512"/>
              <a:gd name="T35" fmla="*/ 394 h 512"/>
              <a:gd name="T36" fmla="*/ 322 w 512"/>
              <a:gd name="T37" fmla="*/ 387 h 512"/>
              <a:gd name="T38" fmla="*/ 324 w 512"/>
              <a:gd name="T39" fmla="*/ 386 h 512"/>
              <a:gd name="T40" fmla="*/ 394 w 512"/>
              <a:gd name="T41" fmla="*/ 234 h 512"/>
              <a:gd name="T42" fmla="*/ 330 w 512"/>
              <a:gd name="T43" fmla="*/ 170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416 w 512"/>
              <a:gd name="T55" fmla="*/ 234 h 512"/>
              <a:gd name="T56" fmla="*/ 330 w 512"/>
              <a:gd name="T57" fmla="*/ 149 h 512"/>
              <a:gd name="T58" fmla="*/ 317 w 512"/>
              <a:gd name="T59" fmla="*/ 150 h 512"/>
              <a:gd name="T60" fmla="*/ 321 w 512"/>
              <a:gd name="T61" fmla="*/ 143 h 512"/>
              <a:gd name="T62" fmla="*/ 330 w 512"/>
              <a:gd name="T63" fmla="*/ 106 h 512"/>
              <a:gd name="T64" fmla="*/ 320 w 512"/>
              <a:gd name="T65" fmla="*/ 96 h 512"/>
              <a:gd name="T66" fmla="*/ 259 w 512"/>
              <a:gd name="T67" fmla="*/ 119 h 512"/>
              <a:gd name="T68" fmla="*/ 254 w 512"/>
              <a:gd name="T69" fmla="*/ 125 h 512"/>
              <a:gd name="T70" fmla="*/ 229 w 512"/>
              <a:gd name="T71" fmla="*/ 97 h 512"/>
              <a:gd name="T72" fmla="*/ 215 w 512"/>
              <a:gd name="T73" fmla="*/ 101 h 512"/>
              <a:gd name="T74" fmla="*/ 218 w 512"/>
              <a:gd name="T75" fmla="*/ 115 h 512"/>
              <a:gd name="T76" fmla="*/ 244 w 512"/>
              <a:gd name="T77" fmla="*/ 161 h 512"/>
              <a:gd name="T78" fmla="*/ 245 w 512"/>
              <a:gd name="T79" fmla="*/ 168 h 512"/>
              <a:gd name="T80" fmla="*/ 242 w 512"/>
              <a:gd name="T81" fmla="*/ 167 h 512"/>
              <a:gd name="T82" fmla="*/ 220 w 512"/>
              <a:gd name="T83" fmla="*/ 160 h 512"/>
              <a:gd name="T84" fmla="*/ 181 w 512"/>
              <a:gd name="T85" fmla="*/ 149 h 512"/>
              <a:gd name="T86" fmla="*/ 96 w 512"/>
              <a:gd name="T87" fmla="*/ 234 h 512"/>
              <a:gd name="T88" fmla="*/ 174 w 512"/>
              <a:gd name="T89" fmla="*/ 402 h 512"/>
              <a:gd name="T90" fmla="*/ 202 w 512"/>
              <a:gd name="T91" fmla="*/ 416 h 512"/>
              <a:gd name="T92" fmla="*/ 217 w 512"/>
              <a:gd name="T93" fmla="*/ 413 h 512"/>
              <a:gd name="T94" fmla="*/ 256 w 512"/>
              <a:gd name="T95" fmla="*/ 405 h 512"/>
              <a:gd name="T96" fmla="*/ 295 w 512"/>
              <a:gd name="T97" fmla="*/ 413 h 512"/>
              <a:gd name="T98" fmla="*/ 309 w 512"/>
              <a:gd name="T99" fmla="*/ 416 h 512"/>
              <a:gd name="T100" fmla="*/ 338 w 512"/>
              <a:gd name="T101" fmla="*/ 402 h 512"/>
              <a:gd name="T102" fmla="*/ 416 w 512"/>
              <a:gd name="T10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66" y="159"/>
                </a:moveTo>
                <a:cubicBezTo>
                  <a:pt x="266" y="151"/>
                  <a:pt x="268" y="141"/>
                  <a:pt x="275" y="133"/>
                </a:cubicBezTo>
                <a:cubicBezTo>
                  <a:pt x="282" y="124"/>
                  <a:pt x="293" y="119"/>
                  <a:pt x="308" y="118"/>
                </a:cubicBezTo>
                <a:cubicBezTo>
                  <a:pt x="307" y="122"/>
                  <a:pt x="305" y="128"/>
                  <a:pt x="302" y="133"/>
                </a:cubicBezTo>
                <a:cubicBezTo>
                  <a:pt x="295" y="148"/>
                  <a:pt x="283" y="157"/>
                  <a:pt x="266" y="159"/>
                </a:cubicBezTo>
                <a:close/>
                <a:moveTo>
                  <a:pt x="330" y="170"/>
                </a:moveTo>
                <a:cubicBezTo>
                  <a:pt x="319" y="170"/>
                  <a:pt x="310" y="172"/>
                  <a:pt x="304" y="176"/>
                </a:cubicBezTo>
                <a:cubicBezTo>
                  <a:pt x="283" y="189"/>
                  <a:pt x="259" y="193"/>
                  <a:pt x="237" y="188"/>
                </a:cubicBezTo>
                <a:cubicBezTo>
                  <a:pt x="228" y="186"/>
                  <a:pt x="219" y="183"/>
                  <a:pt x="211" y="179"/>
                </a:cubicBezTo>
                <a:cubicBezTo>
                  <a:pt x="201" y="175"/>
                  <a:pt x="191" y="170"/>
                  <a:pt x="181" y="170"/>
                </a:cubicBezTo>
                <a:cubicBezTo>
                  <a:pt x="146" y="170"/>
                  <a:pt x="117" y="199"/>
                  <a:pt x="117" y="234"/>
                </a:cubicBezTo>
                <a:cubicBezTo>
                  <a:pt x="117" y="330"/>
                  <a:pt x="187" y="385"/>
                  <a:pt x="188" y="386"/>
                </a:cubicBezTo>
                <a:cubicBezTo>
                  <a:pt x="188" y="386"/>
                  <a:pt x="189" y="387"/>
                  <a:pt x="189" y="387"/>
                </a:cubicBezTo>
                <a:cubicBezTo>
                  <a:pt x="194" y="393"/>
                  <a:pt x="197" y="394"/>
                  <a:pt x="202" y="394"/>
                </a:cubicBezTo>
                <a:cubicBezTo>
                  <a:pt x="205" y="394"/>
                  <a:pt x="207" y="394"/>
                  <a:pt x="209" y="393"/>
                </a:cubicBezTo>
                <a:cubicBezTo>
                  <a:pt x="209" y="393"/>
                  <a:pt x="231" y="384"/>
                  <a:pt x="256" y="384"/>
                </a:cubicBezTo>
                <a:cubicBezTo>
                  <a:pt x="281" y="384"/>
                  <a:pt x="302" y="393"/>
                  <a:pt x="303" y="393"/>
                </a:cubicBezTo>
                <a:cubicBezTo>
                  <a:pt x="304" y="394"/>
                  <a:pt x="307" y="394"/>
                  <a:pt x="309" y="394"/>
                </a:cubicBezTo>
                <a:cubicBezTo>
                  <a:pt x="314" y="394"/>
                  <a:pt x="318" y="393"/>
                  <a:pt x="322" y="387"/>
                </a:cubicBezTo>
                <a:cubicBezTo>
                  <a:pt x="323" y="387"/>
                  <a:pt x="323" y="386"/>
                  <a:pt x="324" y="386"/>
                </a:cubicBezTo>
                <a:cubicBezTo>
                  <a:pt x="324" y="385"/>
                  <a:pt x="394" y="330"/>
                  <a:pt x="394" y="234"/>
                </a:cubicBezTo>
                <a:cubicBezTo>
                  <a:pt x="394" y="199"/>
                  <a:pt x="366" y="170"/>
                  <a:pt x="330"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34"/>
                </a:moveTo>
                <a:cubicBezTo>
                  <a:pt x="416" y="187"/>
                  <a:pt x="377" y="149"/>
                  <a:pt x="330" y="149"/>
                </a:cubicBezTo>
                <a:cubicBezTo>
                  <a:pt x="326" y="149"/>
                  <a:pt x="321" y="149"/>
                  <a:pt x="317" y="150"/>
                </a:cubicBezTo>
                <a:cubicBezTo>
                  <a:pt x="319" y="148"/>
                  <a:pt x="320" y="145"/>
                  <a:pt x="321" y="143"/>
                </a:cubicBezTo>
                <a:cubicBezTo>
                  <a:pt x="330" y="125"/>
                  <a:pt x="330" y="107"/>
                  <a:pt x="330" y="106"/>
                </a:cubicBezTo>
                <a:cubicBezTo>
                  <a:pt x="330" y="100"/>
                  <a:pt x="326" y="96"/>
                  <a:pt x="320" y="96"/>
                </a:cubicBezTo>
                <a:cubicBezTo>
                  <a:pt x="292" y="96"/>
                  <a:pt x="272" y="104"/>
                  <a:pt x="259" y="119"/>
                </a:cubicBezTo>
                <a:cubicBezTo>
                  <a:pt x="257" y="121"/>
                  <a:pt x="256" y="123"/>
                  <a:pt x="254" y="125"/>
                </a:cubicBezTo>
                <a:cubicBezTo>
                  <a:pt x="244" y="107"/>
                  <a:pt x="230" y="98"/>
                  <a:pt x="229" y="97"/>
                </a:cubicBezTo>
                <a:cubicBezTo>
                  <a:pt x="224" y="94"/>
                  <a:pt x="218" y="96"/>
                  <a:pt x="215" y="101"/>
                </a:cubicBezTo>
                <a:cubicBezTo>
                  <a:pt x="212" y="105"/>
                  <a:pt x="213" y="112"/>
                  <a:pt x="218" y="115"/>
                </a:cubicBezTo>
                <a:cubicBezTo>
                  <a:pt x="219" y="116"/>
                  <a:pt x="241" y="131"/>
                  <a:pt x="244" y="161"/>
                </a:cubicBezTo>
                <a:cubicBezTo>
                  <a:pt x="244" y="164"/>
                  <a:pt x="245" y="166"/>
                  <a:pt x="245" y="168"/>
                </a:cubicBezTo>
                <a:cubicBezTo>
                  <a:pt x="244" y="168"/>
                  <a:pt x="243" y="168"/>
                  <a:pt x="242" y="167"/>
                </a:cubicBezTo>
                <a:cubicBezTo>
                  <a:pt x="234" y="166"/>
                  <a:pt x="227" y="163"/>
                  <a:pt x="220" y="160"/>
                </a:cubicBezTo>
                <a:cubicBezTo>
                  <a:pt x="208" y="154"/>
                  <a:pt x="196" y="149"/>
                  <a:pt x="181" y="149"/>
                </a:cubicBezTo>
                <a:cubicBezTo>
                  <a:pt x="134" y="149"/>
                  <a:pt x="96" y="187"/>
                  <a:pt x="96" y="234"/>
                </a:cubicBezTo>
                <a:cubicBezTo>
                  <a:pt x="96" y="336"/>
                  <a:pt x="165" y="395"/>
                  <a:pt x="174" y="402"/>
                </a:cubicBezTo>
                <a:cubicBezTo>
                  <a:pt x="180" y="409"/>
                  <a:pt x="188" y="416"/>
                  <a:pt x="202" y="416"/>
                </a:cubicBezTo>
                <a:cubicBezTo>
                  <a:pt x="207" y="416"/>
                  <a:pt x="212" y="415"/>
                  <a:pt x="217" y="413"/>
                </a:cubicBezTo>
                <a:cubicBezTo>
                  <a:pt x="218" y="413"/>
                  <a:pt x="235" y="405"/>
                  <a:pt x="256" y="405"/>
                </a:cubicBezTo>
                <a:cubicBezTo>
                  <a:pt x="276" y="405"/>
                  <a:pt x="294" y="413"/>
                  <a:pt x="295" y="413"/>
                </a:cubicBezTo>
                <a:cubicBezTo>
                  <a:pt x="299" y="415"/>
                  <a:pt x="304" y="416"/>
                  <a:pt x="309" y="416"/>
                </a:cubicBezTo>
                <a:cubicBezTo>
                  <a:pt x="323" y="416"/>
                  <a:pt x="332" y="409"/>
                  <a:pt x="338" y="402"/>
                </a:cubicBezTo>
                <a:cubicBezTo>
                  <a:pt x="346" y="395"/>
                  <a:pt x="416" y="336"/>
                  <a:pt x="416" y="23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2" name="Group 67">
            <a:extLst>
              <a:ext uri="{FF2B5EF4-FFF2-40B4-BE49-F238E27FC236}">
                <a16:creationId xmlns:a16="http://schemas.microsoft.com/office/drawing/2014/main" id="{70DF6D4C-AADF-414F-A8FE-A36ECEC03EA0}"/>
              </a:ext>
            </a:extLst>
          </p:cNvPr>
          <p:cNvGrpSpPr>
            <a:grpSpLocks noChangeAspect="1"/>
          </p:cNvGrpSpPr>
          <p:nvPr/>
        </p:nvGrpSpPr>
        <p:grpSpPr bwMode="auto">
          <a:xfrm>
            <a:off x="6136805" y="1697372"/>
            <a:ext cx="368254" cy="368152"/>
            <a:chOff x="1017" y="408"/>
            <a:chExt cx="3636" cy="3635"/>
          </a:xfrm>
          <a:solidFill>
            <a:schemeClr val="accent1"/>
          </a:solidFill>
        </p:grpSpPr>
        <p:sp>
          <p:nvSpPr>
            <p:cNvPr id="203" name="Freeform 68">
              <a:extLst>
                <a:ext uri="{FF2B5EF4-FFF2-40B4-BE49-F238E27FC236}">
                  <a16:creationId xmlns:a16="http://schemas.microsoft.com/office/drawing/2014/main" id="{D0988AF3-5FC1-4477-BA6E-1CB67333E67E}"/>
                </a:ext>
              </a:extLst>
            </p:cNvPr>
            <p:cNvSpPr>
              <a:spLocks noEditPoints="1"/>
            </p:cNvSpPr>
            <p:nvPr/>
          </p:nvSpPr>
          <p:spPr bwMode="auto">
            <a:xfrm>
              <a:off x="1017" y="408"/>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4" name="Freeform 69">
              <a:extLst>
                <a:ext uri="{FF2B5EF4-FFF2-40B4-BE49-F238E27FC236}">
                  <a16:creationId xmlns:a16="http://schemas.microsoft.com/office/drawing/2014/main" id="{6D94D9A5-A10A-4A6F-9F2B-C3EC2369E408}"/>
                </a:ext>
              </a:extLst>
            </p:cNvPr>
            <p:cNvSpPr>
              <a:spLocks noEditPoints="1"/>
            </p:cNvSpPr>
            <p:nvPr/>
          </p:nvSpPr>
          <p:spPr bwMode="auto">
            <a:xfrm>
              <a:off x="1699" y="1075"/>
              <a:ext cx="2272" cy="2286"/>
            </a:xfrm>
            <a:custGeom>
              <a:avLst/>
              <a:gdLst>
                <a:gd name="T0" fmla="*/ 234 w 320"/>
                <a:gd name="T1" fmla="*/ 55 h 322"/>
                <a:gd name="T2" fmla="*/ 221 w 320"/>
                <a:gd name="T3" fmla="*/ 56 h 322"/>
                <a:gd name="T4" fmla="*/ 225 w 320"/>
                <a:gd name="T5" fmla="*/ 49 h 322"/>
                <a:gd name="T6" fmla="*/ 234 w 320"/>
                <a:gd name="T7" fmla="*/ 12 h 322"/>
                <a:gd name="T8" fmla="*/ 224 w 320"/>
                <a:gd name="T9" fmla="*/ 2 h 322"/>
                <a:gd name="T10" fmla="*/ 163 w 320"/>
                <a:gd name="T11" fmla="*/ 25 h 322"/>
                <a:gd name="T12" fmla="*/ 158 w 320"/>
                <a:gd name="T13" fmla="*/ 31 h 322"/>
                <a:gd name="T14" fmla="*/ 133 w 320"/>
                <a:gd name="T15" fmla="*/ 3 h 322"/>
                <a:gd name="T16" fmla="*/ 119 w 320"/>
                <a:gd name="T17" fmla="*/ 7 h 322"/>
                <a:gd name="T18" fmla="*/ 122 w 320"/>
                <a:gd name="T19" fmla="*/ 21 h 322"/>
                <a:gd name="T20" fmla="*/ 148 w 320"/>
                <a:gd name="T21" fmla="*/ 67 h 322"/>
                <a:gd name="T22" fmla="*/ 149 w 320"/>
                <a:gd name="T23" fmla="*/ 74 h 322"/>
                <a:gd name="T24" fmla="*/ 146 w 320"/>
                <a:gd name="T25" fmla="*/ 73 h 322"/>
                <a:gd name="T26" fmla="*/ 124 w 320"/>
                <a:gd name="T27" fmla="*/ 66 h 322"/>
                <a:gd name="T28" fmla="*/ 85 w 320"/>
                <a:gd name="T29" fmla="*/ 55 h 322"/>
                <a:gd name="T30" fmla="*/ 0 w 320"/>
                <a:gd name="T31" fmla="*/ 140 h 322"/>
                <a:gd name="T32" fmla="*/ 78 w 320"/>
                <a:gd name="T33" fmla="*/ 308 h 322"/>
                <a:gd name="T34" fmla="*/ 106 w 320"/>
                <a:gd name="T35" fmla="*/ 322 h 322"/>
                <a:gd name="T36" fmla="*/ 121 w 320"/>
                <a:gd name="T37" fmla="*/ 319 h 322"/>
                <a:gd name="T38" fmla="*/ 160 w 320"/>
                <a:gd name="T39" fmla="*/ 311 h 322"/>
                <a:gd name="T40" fmla="*/ 199 w 320"/>
                <a:gd name="T41" fmla="*/ 319 h 322"/>
                <a:gd name="T42" fmla="*/ 213 w 320"/>
                <a:gd name="T43" fmla="*/ 322 h 322"/>
                <a:gd name="T44" fmla="*/ 242 w 320"/>
                <a:gd name="T45" fmla="*/ 308 h 322"/>
                <a:gd name="T46" fmla="*/ 320 w 320"/>
                <a:gd name="T47" fmla="*/ 140 h 322"/>
                <a:gd name="T48" fmla="*/ 234 w 320"/>
                <a:gd name="T49" fmla="*/ 55 h 322"/>
                <a:gd name="T50" fmla="*/ 179 w 320"/>
                <a:gd name="T51" fmla="*/ 39 h 322"/>
                <a:gd name="T52" fmla="*/ 212 w 320"/>
                <a:gd name="T53" fmla="*/ 24 h 322"/>
                <a:gd name="T54" fmla="*/ 206 w 320"/>
                <a:gd name="T55" fmla="*/ 39 h 322"/>
                <a:gd name="T56" fmla="*/ 170 w 320"/>
                <a:gd name="T57" fmla="*/ 65 h 322"/>
                <a:gd name="T58" fmla="*/ 179 w 320"/>
                <a:gd name="T59" fmla="*/ 39 h 322"/>
                <a:gd name="T60" fmla="*/ 228 w 320"/>
                <a:gd name="T61" fmla="*/ 292 h 322"/>
                <a:gd name="T62" fmla="*/ 226 w 320"/>
                <a:gd name="T63" fmla="*/ 293 h 322"/>
                <a:gd name="T64" fmla="*/ 213 w 320"/>
                <a:gd name="T65" fmla="*/ 300 h 322"/>
                <a:gd name="T66" fmla="*/ 207 w 320"/>
                <a:gd name="T67" fmla="*/ 299 h 322"/>
                <a:gd name="T68" fmla="*/ 160 w 320"/>
                <a:gd name="T69" fmla="*/ 290 h 322"/>
                <a:gd name="T70" fmla="*/ 113 w 320"/>
                <a:gd name="T71" fmla="*/ 299 h 322"/>
                <a:gd name="T72" fmla="*/ 106 w 320"/>
                <a:gd name="T73" fmla="*/ 300 h 322"/>
                <a:gd name="T74" fmla="*/ 93 w 320"/>
                <a:gd name="T75" fmla="*/ 293 h 322"/>
                <a:gd name="T76" fmla="*/ 92 w 320"/>
                <a:gd name="T77" fmla="*/ 292 h 322"/>
                <a:gd name="T78" fmla="*/ 21 w 320"/>
                <a:gd name="T79" fmla="*/ 140 h 322"/>
                <a:gd name="T80" fmla="*/ 85 w 320"/>
                <a:gd name="T81" fmla="*/ 76 h 322"/>
                <a:gd name="T82" fmla="*/ 115 w 320"/>
                <a:gd name="T83" fmla="*/ 85 h 322"/>
                <a:gd name="T84" fmla="*/ 141 w 320"/>
                <a:gd name="T85" fmla="*/ 94 h 322"/>
                <a:gd name="T86" fmla="*/ 208 w 320"/>
                <a:gd name="T87" fmla="*/ 82 h 322"/>
                <a:gd name="T88" fmla="*/ 234 w 320"/>
                <a:gd name="T89" fmla="*/ 76 h 322"/>
                <a:gd name="T90" fmla="*/ 298 w 320"/>
                <a:gd name="T91" fmla="*/ 140 h 322"/>
                <a:gd name="T92" fmla="*/ 228 w 320"/>
                <a:gd name="T93"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322">
                  <a:moveTo>
                    <a:pt x="234" y="55"/>
                  </a:moveTo>
                  <a:cubicBezTo>
                    <a:pt x="230" y="55"/>
                    <a:pt x="225" y="55"/>
                    <a:pt x="221" y="56"/>
                  </a:cubicBezTo>
                  <a:cubicBezTo>
                    <a:pt x="223" y="54"/>
                    <a:pt x="224" y="51"/>
                    <a:pt x="225" y="49"/>
                  </a:cubicBezTo>
                  <a:cubicBezTo>
                    <a:pt x="234" y="31"/>
                    <a:pt x="234" y="13"/>
                    <a:pt x="234" y="12"/>
                  </a:cubicBezTo>
                  <a:cubicBezTo>
                    <a:pt x="234" y="6"/>
                    <a:pt x="230" y="2"/>
                    <a:pt x="224" y="2"/>
                  </a:cubicBezTo>
                  <a:cubicBezTo>
                    <a:pt x="196" y="2"/>
                    <a:pt x="176" y="10"/>
                    <a:pt x="163" y="25"/>
                  </a:cubicBezTo>
                  <a:cubicBezTo>
                    <a:pt x="161" y="27"/>
                    <a:pt x="160" y="29"/>
                    <a:pt x="158" y="31"/>
                  </a:cubicBezTo>
                  <a:cubicBezTo>
                    <a:pt x="148" y="13"/>
                    <a:pt x="134" y="4"/>
                    <a:pt x="133" y="3"/>
                  </a:cubicBezTo>
                  <a:cubicBezTo>
                    <a:pt x="128" y="0"/>
                    <a:pt x="122" y="2"/>
                    <a:pt x="119" y="7"/>
                  </a:cubicBezTo>
                  <a:cubicBezTo>
                    <a:pt x="116" y="11"/>
                    <a:pt x="117" y="18"/>
                    <a:pt x="122" y="21"/>
                  </a:cubicBezTo>
                  <a:cubicBezTo>
                    <a:pt x="123" y="22"/>
                    <a:pt x="145" y="37"/>
                    <a:pt x="148" y="67"/>
                  </a:cubicBezTo>
                  <a:cubicBezTo>
                    <a:pt x="148" y="70"/>
                    <a:pt x="149" y="72"/>
                    <a:pt x="149" y="74"/>
                  </a:cubicBezTo>
                  <a:cubicBezTo>
                    <a:pt x="148" y="74"/>
                    <a:pt x="147" y="74"/>
                    <a:pt x="146" y="73"/>
                  </a:cubicBezTo>
                  <a:cubicBezTo>
                    <a:pt x="138" y="72"/>
                    <a:pt x="131" y="69"/>
                    <a:pt x="124" y="66"/>
                  </a:cubicBezTo>
                  <a:cubicBezTo>
                    <a:pt x="112" y="60"/>
                    <a:pt x="100" y="55"/>
                    <a:pt x="85" y="55"/>
                  </a:cubicBezTo>
                  <a:cubicBezTo>
                    <a:pt x="38" y="55"/>
                    <a:pt x="0" y="93"/>
                    <a:pt x="0" y="140"/>
                  </a:cubicBezTo>
                  <a:cubicBezTo>
                    <a:pt x="0" y="242"/>
                    <a:pt x="69" y="301"/>
                    <a:pt x="78" y="308"/>
                  </a:cubicBezTo>
                  <a:cubicBezTo>
                    <a:pt x="84" y="315"/>
                    <a:pt x="92" y="322"/>
                    <a:pt x="106" y="322"/>
                  </a:cubicBezTo>
                  <a:cubicBezTo>
                    <a:pt x="111" y="322"/>
                    <a:pt x="116" y="321"/>
                    <a:pt x="121" y="319"/>
                  </a:cubicBezTo>
                  <a:cubicBezTo>
                    <a:pt x="122" y="319"/>
                    <a:pt x="139" y="311"/>
                    <a:pt x="160" y="311"/>
                  </a:cubicBezTo>
                  <a:cubicBezTo>
                    <a:pt x="180" y="311"/>
                    <a:pt x="198" y="319"/>
                    <a:pt x="199" y="319"/>
                  </a:cubicBezTo>
                  <a:cubicBezTo>
                    <a:pt x="203" y="321"/>
                    <a:pt x="208" y="322"/>
                    <a:pt x="213" y="322"/>
                  </a:cubicBezTo>
                  <a:cubicBezTo>
                    <a:pt x="227" y="322"/>
                    <a:pt x="236" y="315"/>
                    <a:pt x="242" y="308"/>
                  </a:cubicBezTo>
                  <a:cubicBezTo>
                    <a:pt x="250" y="301"/>
                    <a:pt x="320" y="242"/>
                    <a:pt x="320" y="140"/>
                  </a:cubicBezTo>
                  <a:cubicBezTo>
                    <a:pt x="320" y="93"/>
                    <a:pt x="281" y="55"/>
                    <a:pt x="234" y="55"/>
                  </a:cubicBezTo>
                  <a:close/>
                  <a:moveTo>
                    <a:pt x="179" y="39"/>
                  </a:moveTo>
                  <a:cubicBezTo>
                    <a:pt x="186" y="30"/>
                    <a:pt x="197" y="25"/>
                    <a:pt x="212" y="24"/>
                  </a:cubicBezTo>
                  <a:cubicBezTo>
                    <a:pt x="211" y="28"/>
                    <a:pt x="209" y="34"/>
                    <a:pt x="206" y="39"/>
                  </a:cubicBezTo>
                  <a:cubicBezTo>
                    <a:pt x="199" y="54"/>
                    <a:pt x="187" y="63"/>
                    <a:pt x="170" y="65"/>
                  </a:cubicBezTo>
                  <a:cubicBezTo>
                    <a:pt x="170" y="57"/>
                    <a:pt x="172" y="47"/>
                    <a:pt x="179" y="39"/>
                  </a:cubicBezTo>
                  <a:close/>
                  <a:moveTo>
                    <a:pt x="228" y="292"/>
                  </a:moveTo>
                  <a:cubicBezTo>
                    <a:pt x="227" y="292"/>
                    <a:pt x="227" y="293"/>
                    <a:pt x="226" y="293"/>
                  </a:cubicBezTo>
                  <a:cubicBezTo>
                    <a:pt x="222" y="299"/>
                    <a:pt x="218" y="300"/>
                    <a:pt x="213" y="300"/>
                  </a:cubicBezTo>
                  <a:cubicBezTo>
                    <a:pt x="211" y="300"/>
                    <a:pt x="208" y="300"/>
                    <a:pt x="207" y="299"/>
                  </a:cubicBezTo>
                  <a:cubicBezTo>
                    <a:pt x="206" y="299"/>
                    <a:pt x="185" y="290"/>
                    <a:pt x="160" y="290"/>
                  </a:cubicBezTo>
                  <a:cubicBezTo>
                    <a:pt x="135" y="290"/>
                    <a:pt x="113" y="299"/>
                    <a:pt x="113" y="299"/>
                  </a:cubicBezTo>
                  <a:cubicBezTo>
                    <a:pt x="111" y="300"/>
                    <a:pt x="109" y="300"/>
                    <a:pt x="106" y="300"/>
                  </a:cubicBezTo>
                  <a:cubicBezTo>
                    <a:pt x="101" y="300"/>
                    <a:pt x="98" y="299"/>
                    <a:pt x="93" y="293"/>
                  </a:cubicBezTo>
                  <a:cubicBezTo>
                    <a:pt x="93" y="293"/>
                    <a:pt x="92" y="292"/>
                    <a:pt x="92" y="292"/>
                  </a:cubicBezTo>
                  <a:cubicBezTo>
                    <a:pt x="91" y="291"/>
                    <a:pt x="21" y="236"/>
                    <a:pt x="21" y="140"/>
                  </a:cubicBezTo>
                  <a:cubicBezTo>
                    <a:pt x="21" y="105"/>
                    <a:pt x="50" y="76"/>
                    <a:pt x="85" y="76"/>
                  </a:cubicBezTo>
                  <a:cubicBezTo>
                    <a:pt x="95" y="76"/>
                    <a:pt x="105" y="81"/>
                    <a:pt x="115" y="85"/>
                  </a:cubicBezTo>
                  <a:cubicBezTo>
                    <a:pt x="123" y="89"/>
                    <a:pt x="132" y="92"/>
                    <a:pt x="141" y="94"/>
                  </a:cubicBezTo>
                  <a:cubicBezTo>
                    <a:pt x="163" y="99"/>
                    <a:pt x="187" y="95"/>
                    <a:pt x="208" y="82"/>
                  </a:cubicBezTo>
                  <a:cubicBezTo>
                    <a:pt x="214" y="78"/>
                    <a:pt x="223" y="76"/>
                    <a:pt x="234" y="76"/>
                  </a:cubicBezTo>
                  <a:cubicBezTo>
                    <a:pt x="270" y="76"/>
                    <a:pt x="298" y="105"/>
                    <a:pt x="298" y="140"/>
                  </a:cubicBezTo>
                  <a:cubicBezTo>
                    <a:pt x="298" y="236"/>
                    <a:pt x="228" y="291"/>
                    <a:pt x="228"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5" name="Freeform 847">
            <a:extLst>
              <a:ext uri="{FF2B5EF4-FFF2-40B4-BE49-F238E27FC236}">
                <a16:creationId xmlns:a16="http://schemas.microsoft.com/office/drawing/2014/main" id="{51513D28-EF52-4D58-9B6F-236F9064EB65}"/>
              </a:ext>
            </a:extLst>
          </p:cNvPr>
          <p:cNvSpPr>
            <a:spLocks noChangeAspect="1" noEditPoints="1"/>
          </p:cNvSpPr>
          <p:nvPr/>
        </p:nvSpPr>
        <p:spPr bwMode="auto">
          <a:xfrm>
            <a:off x="6571368" y="1697372"/>
            <a:ext cx="367631" cy="36871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9 w 512"/>
              <a:gd name="T11" fmla="*/ 222 h 512"/>
              <a:gd name="T12" fmla="*/ 309 w 512"/>
              <a:gd name="T13" fmla="*/ 341 h 512"/>
              <a:gd name="T14" fmla="*/ 234 w 512"/>
              <a:gd name="T15" fmla="*/ 416 h 512"/>
              <a:gd name="T16" fmla="*/ 160 w 512"/>
              <a:gd name="T17" fmla="*/ 341 h 512"/>
              <a:gd name="T18" fmla="*/ 197 w 512"/>
              <a:gd name="T19" fmla="*/ 276 h 512"/>
              <a:gd name="T20" fmla="*/ 208 w 512"/>
              <a:gd name="T21" fmla="*/ 276 h 512"/>
              <a:gd name="T22" fmla="*/ 213 w 512"/>
              <a:gd name="T23" fmla="*/ 286 h 512"/>
              <a:gd name="T24" fmla="*/ 213 w 512"/>
              <a:gd name="T25" fmla="*/ 320 h 512"/>
              <a:gd name="T26" fmla="*/ 202 w 512"/>
              <a:gd name="T27" fmla="*/ 330 h 512"/>
              <a:gd name="T28" fmla="*/ 192 w 512"/>
              <a:gd name="T29" fmla="*/ 320 h 512"/>
              <a:gd name="T30" fmla="*/ 192 w 512"/>
              <a:gd name="T31" fmla="*/ 308 h 512"/>
              <a:gd name="T32" fmla="*/ 181 w 512"/>
              <a:gd name="T33" fmla="*/ 341 h 512"/>
              <a:gd name="T34" fmla="*/ 234 w 512"/>
              <a:gd name="T35" fmla="*/ 394 h 512"/>
              <a:gd name="T36" fmla="*/ 288 w 512"/>
              <a:gd name="T37" fmla="*/ 341 h 512"/>
              <a:gd name="T38" fmla="*/ 288 w 512"/>
              <a:gd name="T39" fmla="*/ 222 h 512"/>
              <a:gd name="T40" fmla="*/ 266 w 512"/>
              <a:gd name="T41" fmla="*/ 192 h 512"/>
              <a:gd name="T42" fmla="*/ 288 w 512"/>
              <a:gd name="T43" fmla="*/ 162 h 512"/>
              <a:gd name="T44" fmla="*/ 288 w 512"/>
              <a:gd name="T45" fmla="*/ 106 h 512"/>
              <a:gd name="T46" fmla="*/ 298 w 512"/>
              <a:gd name="T47" fmla="*/ 96 h 512"/>
              <a:gd name="T48" fmla="*/ 309 w 512"/>
              <a:gd name="T49" fmla="*/ 106 h 512"/>
              <a:gd name="T50" fmla="*/ 309 w 512"/>
              <a:gd name="T51" fmla="*/ 162 h 512"/>
              <a:gd name="T52" fmla="*/ 330 w 512"/>
              <a:gd name="T53" fmla="*/ 192 h 512"/>
              <a:gd name="T54" fmla="*/ 309 w 512"/>
              <a:gd name="T55" fmla="*/ 222 h 512"/>
              <a:gd name="T56" fmla="*/ 309 w 512"/>
              <a:gd name="T57" fmla="*/ 192 h 512"/>
              <a:gd name="T58" fmla="*/ 298 w 512"/>
              <a:gd name="T59" fmla="*/ 202 h 512"/>
              <a:gd name="T60" fmla="*/ 288 w 512"/>
              <a:gd name="T61" fmla="*/ 192 h 512"/>
              <a:gd name="T62" fmla="*/ 298 w 512"/>
              <a:gd name="T63" fmla="*/ 181 h 512"/>
              <a:gd name="T64" fmla="*/ 309 w 512"/>
              <a:gd name="T65"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9" y="222"/>
                </a:moveTo>
                <a:cubicBezTo>
                  <a:pt x="309" y="341"/>
                  <a:pt x="309" y="341"/>
                  <a:pt x="309" y="341"/>
                </a:cubicBezTo>
                <a:cubicBezTo>
                  <a:pt x="309" y="382"/>
                  <a:pt x="276" y="416"/>
                  <a:pt x="234" y="416"/>
                </a:cubicBezTo>
                <a:cubicBezTo>
                  <a:pt x="193" y="416"/>
                  <a:pt x="160" y="382"/>
                  <a:pt x="160" y="341"/>
                </a:cubicBezTo>
                <a:cubicBezTo>
                  <a:pt x="160" y="312"/>
                  <a:pt x="173" y="289"/>
                  <a:pt x="197" y="276"/>
                </a:cubicBezTo>
                <a:cubicBezTo>
                  <a:pt x="201" y="274"/>
                  <a:pt x="205" y="275"/>
                  <a:pt x="208" y="276"/>
                </a:cubicBezTo>
                <a:cubicBezTo>
                  <a:pt x="211" y="278"/>
                  <a:pt x="213" y="282"/>
                  <a:pt x="213" y="286"/>
                </a:cubicBezTo>
                <a:cubicBezTo>
                  <a:pt x="213" y="320"/>
                  <a:pt x="213" y="320"/>
                  <a:pt x="213" y="320"/>
                </a:cubicBezTo>
                <a:cubicBezTo>
                  <a:pt x="213" y="326"/>
                  <a:pt x="208" y="330"/>
                  <a:pt x="202" y="330"/>
                </a:cubicBezTo>
                <a:cubicBezTo>
                  <a:pt x="196" y="330"/>
                  <a:pt x="192" y="326"/>
                  <a:pt x="192" y="320"/>
                </a:cubicBezTo>
                <a:cubicBezTo>
                  <a:pt x="192" y="308"/>
                  <a:pt x="192" y="308"/>
                  <a:pt x="192" y="308"/>
                </a:cubicBezTo>
                <a:cubicBezTo>
                  <a:pt x="185" y="317"/>
                  <a:pt x="181" y="328"/>
                  <a:pt x="181" y="341"/>
                </a:cubicBezTo>
                <a:cubicBezTo>
                  <a:pt x="181" y="370"/>
                  <a:pt x="205" y="394"/>
                  <a:pt x="234" y="394"/>
                </a:cubicBezTo>
                <a:cubicBezTo>
                  <a:pt x="264" y="394"/>
                  <a:pt x="288" y="370"/>
                  <a:pt x="288" y="341"/>
                </a:cubicBezTo>
                <a:cubicBezTo>
                  <a:pt x="288" y="222"/>
                  <a:pt x="288" y="222"/>
                  <a:pt x="288" y="222"/>
                </a:cubicBezTo>
                <a:cubicBezTo>
                  <a:pt x="275" y="217"/>
                  <a:pt x="266" y="206"/>
                  <a:pt x="266" y="192"/>
                </a:cubicBezTo>
                <a:cubicBezTo>
                  <a:pt x="266" y="178"/>
                  <a:pt x="275" y="166"/>
                  <a:pt x="288" y="162"/>
                </a:cubicBezTo>
                <a:cubicBezTo>
                  <a:pt x="288" y="106"/>
                  <a:pt x="288" y="106"/>
                  <a:pt x="288" y="106"/>
                </a:cubicBezTo>
                <a:cubicBezTo>
                  <a:pt x="288" y="100"/>
                  <a:pt x="292" y="96"/>
                  <a:pt x="298" y="96"/>
                </a:cubicBezTo>
                <a:cubicBezTo>
                  <a:pt x="304" y="96"/>
                  <a:pt x="309" y="100"/>
                  <a:pt x="309" y="106"/>
                </a:cubicBezTo>
                <a:cubicBezTo>
                  <a:pt x="309" y="162"/>
                  <a:pt x="309" y="162"/>
                  <a:pt x="309" y="162"/>
                </a:cubicBezTo>
                <a:cubicBezTo>
                  <a:pt x="321" y="166"/>
                  <a:pt x="330" y="178"/>
                  <a:pt x="330" y="192"/>
                </a:cubicBezTo>
                <a:cubicBezTo>
                  <a:pt x="330" y="206"/>
                  <a:pt x="321" y="217"/>
                  <a:pt x="309" y="222"/>
                </a:cubicBezTo>
                <a:close/>
                <a:moveTo>
                  <a:pt x="309" y="192"/>
                </a:moveTo>
                <a:cubicBezTo>
                  <a:pt x="309" y="198"/>
                  <a:pt x="304" y="202"/>
                  <a:pt x="298" y="202"/>
                </a:cubicBezTo>
                <a:cubicBezTo>
                  <a:pt x="292" y="202"/>
                  <a:pt x="288" y="198"/>
                  <a:pt x="288" y="192"/>
                </a:cubicBezTo>
                <a:cubicBezTo>
                  <a:pt x="288" y="186"/>
                  <a:pt x="292" y="181"/>
                  <a:pt x="298" y="181"/>
                </a:cubicBezTo>
                <a:cubicBezTo>
                  <a:pt x="304" y="181"/>
                  <a:pt x="309" y="186"/>
                  <a:pt x="309" y="19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6" name="Group 850">
            <a:extLst>
              <a:ext uri="{FF2B5EF4-FFF2-40B4-BE49-F238E27FC236}">
                <a16:creationId xmlns:a16="http://schemas.microsoft.com/office/drawing/2014/main" id="{71672EDE-B942-429E-8D09-D4386727D8D0}"/>
              </a:ext>
            </a:extLst>
          </p:cNvPr>
          <p:cNvGrpSpPr>
            <a:grpSpLocks noChangeAspect="1"/>
          </p:cNvGrpSpPr>
          <p:nvPr/>
        </p:nvGrpSpPr>
        <p:grpSpPr bwMode="auto">
          <a:xfrm>
            <a:off x="7005308" y="1697372"/>
            <a:ext cx="367631" cy="367631"/>
            <a:chOff x="4988" y="3214"/>
            <a:chExt cx="340" cy="340"/>
          </a:xfrm>
          <a:solidFill>
            <a:schemeClr val="accent3"/>
          </a:solidFill>
        </p:grpSpPr>
        <p:sp>
          <p:nvSpPr>
            <p:cNvPr id="207" name="Freeform 851">
              <a:extLst>
                <a:ext uri="{FF2B5EF4-FFF2-40B4-BE49-F238E27FC236}">
                  <a16:creationId xmlns:a16="http://schemas.microsoft.com/office/drawing/2014/main" id="{D141EE5E-E435-4A46-A88C-6458D262792A}"/>
                </a:ext>
              </a:extLst>
            </p:cNvPr>
            <p:cNvSpPr>
              <a:spLocks/>
            </p:cNvSpPr>
            <p:nvPr/>
          </p:nvSpPr>
          <p:spPr bwMode="auto">
            <a:xfrm>
              <a:off x="5094" y="3348"/>
              <a:ext cx="99" cy="142"/>
            </a:xfrm>
            <a:custGeom>
              <a:avLst/>
              <a:gdLst>
                <a:gd name="T0" fmla="*/ 74 w 149"/>
                <a:gd name="T1" fmla="*/ 214 h 214"/>
                <a:gd name="T2" fmla="*/ 0 w 149"/>
                <a:gd name="T3" fmla="*/ 139 h 214"/>
                <a:gd name="T4" fmla="*/ 37 w 149"/>
                <a:gd name="T5" fmla="*/ 74 h 214"/>
                <a:gd name="T6" fmla="*/ 48 w 149"/>
                <a:gd name="T7" fmla="*/ 74 h 214"/>
                <a:gd name="T8" fmla="*/ 53 w 149"/>
                <a:gd name="T9" fmla="*/ 84 h 214"/>
                <a:gd name="T10" fmla="*/ 53 w 149"/>
                <a:gd name="T11" fmla="*/ 118 h 214"/>
                <a:gd name="T12" fmla="*/ 42 w 149"/>
                <a:gd name="T13" fmla="*/ 128 h 214"/>
                <a:gd name="T14" fmla="*/ 32 w 149"/>
                <a:gd name="T15" fmla="*/ 118 h 214"/>
                <a:gd name="T16" fmla="*/ 32 w 149"/>
                <a:gd name="T17" fmla="*/ 106 h 214"/>
                <a:gd name="T18" fmla="*/ 21 w 149"/>
                <a:gd name="T19" fmla="*/ 139 h 214"/>
                <a:gd name="T20" fmla="*/ 74 w 149"/>
                <a:gd name="T21" fmla="*/ 192 h 214"/>
                <a:gd name="T22" fmla="*/ 128 w 149"/>
                <a:gd name="T23" fmla="*/ 139 h 214"/>
                <a:gd name="T24" fmla="*/ 128 w 149"/>
                <a:gd name="T25" fmla="*/ 11 h 214"/>
                <a:gd name="T26" fmla="*/ 138 w 149"/>
                <a:gd name="T27" fmla="*/ 0 h 214"/>
                <a:gd name="T28" fmla="*/ 149 w 149"/>
                <a:gd name="T29" fmla="*/ 11 h 214"/>
                <a:gd name="T30" fmla="*/ 149 w 149"/>
                <a:gd name="T31" fmla="*/ 139 h 214"/>
                <a:gd name="T32" fmla="*/ 74 w 149"/>
                <a:gd name="T33"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 h="214">
                  <a:moveTo>
                    <a:pt x="74" y="214"/>
                  </a:moveTo>
                  <a:cubicBezTo>
                    <a:pt x="33" y="214"/>
                    <a:pt x="0" y="180"/>
                    <a:pt x="0" y="139"/>
                  </a:cubicBezTo>
                  <a:cubicBezTo>
                    <a:pt x="0" y="110"/>
                    <a:pt x="13" y="87"/>
                    <a:pt x="37" y="74"/>
                  </a:cubicBezTo>
                  <a:cubicBezTo>
                    <a:pt x="41" y="72"/>
                    <a:pt x="45" y="73"/>
                    <a:pt x="48" y="74"/>
                  </a:cubicBezTo>
                  <a:cubicBezTo>
                    <a:pt x="51" y="76"/>
                    <a:pt x="53" y="80"/>
                    <a:pt x="53" y="84"/>
                  </a:cubicBezTo>
                  <a:cubicBezTo>
                    <a:pt x="53" y="118"/>
                    <a:pt x="53" y="118"/>
                    <a:pt x="53" y="118"/>
                  </a:cubicBezTo>
                  <a:cubicBezTo>
                    <a:pt x="53" y="124"/>
                    <a:pt x="48" y="128"/>
                    <a:pt x="42" y="128"/>
                  </a:cubicBezTo>
                  <a:cubicBezTo>
                    <a:pt x="36" y="128"/>
                    <a:pt x="32" y="124"/>
                    <a:pt x="32" y="118"/>
                  </a:cubicBezTo>
                  <a:cubicBezTo>
                    <a:pt x="32" y="106"/>
                    <a:pt x="32" y="106"/>
                    <a:pt x="32" y="106"/>
                  </a:cubicBezTo>
                  <a:cubicBezTo>
                    <a:pt x="25" y="115"/>
                    <a:pt x="21" y="126"/>
                    <a:pt x="21" y="139"/>
                  </a:cubicBezTo>
                  <a:cubicBezTo>
                    <a:pt x="21" y="168"/>
                    <a:pt x="45" y="192"/>
                    <a:pt x="74" y="192"/>
                  </a:cubicBezTo>
                  <a:cubicBezTo>
                    <a:pt x="104" y="192"/>
                    <a:pt x="128" y="168"/>
                    <a:pt x="128" y="139"/>
                  </a:cubicBezTo>
                  <a:cubicBezTo>
                    <a:pt x="128" y="11"/>
                    <a:pt x="128" y="11"/>
                    <a:pt x="128" y="11"/>
                  </a:cubicBezTo>
                  <a:cubicBezTo>
                    <a:pt x="128" y="5"/>
                    <a:pt x="132" y="0"/>
                    <a:pt x="138" y="0"/>
                  </a:cubicBezTo>
                  <a:cubicBezTo>
                    <a:pt x="144" y="0"/>
                    <a:pt x="149" y="5"/>
                    <a:pt x="149" y="11"/>
                  </a:cubicBezTo>
                  <a:cubicBezTo>
                    <a:pt x="149" y="139"/>
                    <a:pt x="149" y="139"/>
                    <a:pt x="149" y="139"/>
                  </a:cubicBezTo>
                  <a:cubicBezTo>
                    <a:pt x="149" y="180"/>
                    <a:pt x="116" y="214"/>
                    <a:pt x="74"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8" name="Freeform 852">
              <a:extLst>
                <a:ext uri="{FF2B5EF4-FFF2-40B4-BE49-F238E27FC236}">
                  <a16:creationId xmlns:a16="http://schemas.microsoft.com/office/drawing/2014/main" id="{6B01C777-9C07-4C26-9B06-C1455320BC9D}"/>
                </a:ext>
              </a:extLst>
            </p:cNvPr>
            <p:cNvSpPr>
              <a:spLocks noEditPoints="1"/>
            </p:cNvSpPr>
            <p:nvPr/>
          </p:nvSpPr>
          <p:spPr bwMode="auto">
            <a:xfrm>
              <a:off x="5165" y="3320"/>
              <a:ext cx="42"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2 w 64"/>
                <a:gd name="T13" fmla="*/ 32 h 64"/>
                <a:gd name="T14" fmla="*/ 32 w 64"/>
                <a:gd name="T15" fmla="*/ 42 h 64"/>
                <a:gd name="T16" fmla="*/ 43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5" y="64"/>
                    <a:pt x="0" y="49"/>
                    <a:pt x="0" y="32"/>
                  </a:cubicBezTo>
                  <a:cubicBezTo>
                    <a:pt x="0" y="14"/>
                    <a:pt x="15" y="0"/>
                    <a:pt x="32" y="0"/>
                  </a:cubicBezTo>
                  <a:cubicBezTo>
                    <a:pt x="50" y="0"/>
                    <a:pt x="64" y="14"/>
                    <a:pt x="64" y="32"/>
                  </a:cubicBezTo>
                  <a:cubicBezTo>
                    <a:pt x="64" y="49"/>
                    <a:pt x="50" y="64"/>
                    <a:pt x="32" y="64"/>
                  </a:cubicBezTo>
                  <a:close/>
                  <a:moveTo>
                    <a:pt x="32" y="21"/>
                  </a:moveTo>
                  <a:cubicBezTo>
                    <a:pt x="26" y="21"/>
                    <a:pt x="22" y="26"/>
                    <a:pt x="22" y="32"/>
                  </a:cubicBezTo>
                  <a:cubicBezTo>
                    <a:pt x="22" y="38"/>
                    <a:pt x="26" y="42"/>
                    <a:pt x="32" y="42"/>
                  </a:cubicBezTo>
                  <a:cubicBezTo>
                    <a:pt x="38" y="42"/>
                    <a:pt x="43" y="38"/>
                    <a:pt x="43" y="32"/>
                  </a:cubicBezTo>
                  <a:cubicBezTo>
                    <a:pt x="43"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9" name="Freeform 853">
              <a:extLst>
                <a:ext uri="{FF2B5EF4-FFF2-40B4-BE49-F238E27FC236}">
                  <a16:creationId xmlns:a16="http://schemas.microsoft.com/office/drawing/2014/main" id="{272DFB72-7563-483D-AAB4-3E08521E5121}"/>
                </a:ext>
              </a:extLst>
            </p:cNvPr>
            <p:cNvSpPr>
              <a:spLocks/>
            </p:cNvSpPr>
            <p:nvPr/>
          </p:nvSpPr>
          <p:spPr bwMode="auto">
            <a:xfrm>
              <a:off x="5179" y="3278"/>
              <a:ext cx="14" cy="56"/>
            </a:xfrm>
            <a:custGeom>
              <a:avLst/>
              <a:gdLst>
                <a:gd name="T0" fmla="*/ 10 w 21"/>
                <a:gd name="T1" fmla="*/ 85 h 85"/>
                <a:gd name="T2" fmla="*/ 0 w 21"/>
                <a:gd name="T3" fmla="*/ 74 h 85"/>
                <a:gd name="T4" fmla="*/ 0 w 21"/>
                <a:gd name="T5" fmla="*/ 10 h 85"/>
                <a:gd name="T6" fmla="*/ 10 w 21"/>
                <a:gd name="T7" fmla="*/ 0 h 85"/>
                <a:gd name="T8" fmla="*/ 21 w 21"/>
                <a:gd name="T9" fmla="*/ 10 h 85"/>
                <a:gd name="T10" fmla="*/ 21 w 21"/>
                <a:gd name="T11" fmla="*/ 74 h 85"/>
                <a:gd name="T12" fmla="*/ 10 w 21"/>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21" h="85">
                  <a:moveTo>
                    <a:pt x="10" y="85"/>
                  </a:moveTo>
                  <a:cubicBezTo>
                    <a:pt x="4" y="85"/>
                    <a:pt x="0" y="80"/>
                    <a:pt x="0" y="74"/>
                  </a:cubicBezTo>
                  <a:cubicBezTo>
                    <a:pt x="0" y="10"/>
                    <a:pt x="0" y="10"/>
                    <a:pt x="0" y="10"/>
                  </a:cubicBezTo>
                  <a:cubicBezTo>
                    <a:pt x="0" y="4"/>
                    <a:pt x="4" y="0"/>
                    <a:pt x="10" y="0"/>
                  </a:cubicBezTo>
                  <a:cubicBezTo>
                    <a:pt x="16" y="0"/>
                    <a:pt x="21" y="4"/>
                    <a:pt x="21" y="10"/>
                  </a:cubicBezTo>
                  <a:cubicBezTo>
                    <a:pt x="21" y="74"/>
                    <a:pt x="21" y="74"/>
                    <a:pt x="21" y="74"/>
                  </a:cubicBezTo>
                  <a:cubicBezTo>
                    <a:pt x="21" y="80"/>
                    <a:pt x="16" y="85"/>
                    <a:pt x="10"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0" name="Freeform 854">
              <a:extLst>
                <a:ext uri="{FF2B5EF4-FFF2-40B4-BE49-F238E27FC236}">
                  <a16:creationId xmlns:a16="http://schemas.microsoft.com/office/drawing/2014/main" id="{8F610A68-60E7-4B1F-B723-5970EB6EA2A0}"/>
                </a:ext>
              </a:extLst>
            </p:cNvPr>
            <p:cNvSpPr>
              <a:spLocks noEditPoints="1"/>
            </p:cNvSpPr>
            <p:nvPr/>
          </p:nvSpPr>
          <p:spPr bwMode="auto">
            <a:xfrm>
              <a:off x="4988" y="32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1" name="Freeform 386">
            <a:extLst>
              <a:ext uri="{FF2B5EF4-FFF2-40B4-BE49-F238E27FC236}">
                <a16:creationId xmlns:a16="http://schemas.microsoft.com/office/drawing/2014/main" id="{E17CCD7C-798A-4610-B887-D47DD4ADD487}"/>
              </a:ext>
            </a:extLst>
          </p:cNvPr>
          <p:cNvSpPr>
            <a:spLocks noChangeAspect="1" noEditPoints="1"/>
          </p:cNvSpPr>
          <p:nvPr/>
        </p:nvSpPr>
        <p:spPr bwMode="auto">
          <a:xfrm>
            <a:off x="10051545" y="1697372"/>
            <a:ext cx="367631" cy="367631"/>
          </a:xfrm>
          <a:custGeom>
            <a:avLst/>
            <a:gdLst>
              <a:gd name="T0" fmla="*/ 238 w 512"/>
              <a:gd name="T1" fmla="*/ 210 h 512"/>
              <a:gd name="T2" fmla="*/ 162 w 512"/>
              <a:gd name="T3" fmla="*/ 185 h 512"/>
              <a:gd name="T4" fmla="*/ 177 w 512"/>
              <a:gd name="T5" fmla="*/ 141 h 512"/>
              <a:gd name="T6" fmla="*/ 253 w 512"/>
              <a:gd name="T7" fmla="*/ 166 h 512"/>
              <a:gd name="T8" fmla="*/ 238 w 512"/>
              <a:gd name="T9" fmla="*/ 210 h 512"/>
              <a:gd name="T10" fmla="*/ 145 w 512"/>
              <a:gd name="T11" fmla="*/ 248 h 512"/>
              <a:gd name="T12" fmla="*/ 130 w 512"/>
              <a:gd name="T13" fmla="*/ 292 h 512"/>
              <a:gd name="T14" fmla="*/ 206 w 512"/>
              <a:gd name="T15" fmla="*/ 317 h 512"/>
              <a:gd name="T16" fmla="*/ 221 w 512"/>
              <a:gd name="T17" fmla="*/ 273 h 512"/>
              <a:gd name="T18" fmla="*/ 145 w 512"/>
              <a:gd name="T19" fmla="*/ 24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46 w 512"/>
              <a:gd name="T31" fmla="*/ 202 h 512"/>
              <a:gd name="T32" fmla="*/ 242 w 512"/>
              <a:gd name="T33" fmla="*/ 234 h 512"/>
              <a:gd name="T34" fmla="*/ 245 w 512"/>
              <a:gd name="T35" fmla="*/ 234 h 512"/>
              <a:gd name="T36" fmla="*/ 255 w 512"/>
              <a:gd name="T37" fmla="*/ 227 h 512"/>
              <a:gd name="T38" fmla="*/ 276 w 512"/>
              <a:gd name="T39" fmla="*/ 163 h 512"/>
              <a:gd name="T40" fmla="*/ 270 w 512"/>
              <a:gd name="T41" fmla="*/ 150 h 512"/>
              <a:gd name="T42" fmla="*/ 174 w 512"/>
              <a:gd name="T43" fmla="*/ 118 h 512"/>
              <a:gd name="T44" fmla="*/ 160 w 512"/>
              <a:gd name="T45" fmla="*/ 124 h 512"/>
              <a:gd name="T46" fmla="*/ 139 w 512"/>
              <a:gd name="T47" fmla="*/ 188 h 512"/>
              <a:gd name="T48" fmla="*/ 146 w 512"/>
              <a:gd name="T49" fmla="*/ 202 h 512"/>
              <a:gd name="T50" fmla="*/ 114 w 512"/>
              <a:gd name="T51" fmla="*/ 308 h 512"/>
              <a:gd name="T52" fmla="*/ 210 w 512"/>
              <a:gd name="T53" fmla="*/ 340 h 512"/>
              <a:gd name="T54" fmla="*/ 213 w 512"/>
              <a:gd name="T55" fmla="*/ 341 h 512"/>
              <a:gd name="T56" fmla="*/ 223 w 512"/>
              <a:gd name="T57" fmla="*/ 334 h 512"/>
              <a:gd name="T58" fmla="*/ 244 w 512"/>
              <a:gd name="T59" fmla="*/ 270 h 512"/>
              <a:gd name="T60" fmla="*/ 238 w 512"/>
              <a:gd name="T61" fmla="*/ 256 h 512"/>
              <a:gd name="T62" fmla="*/ 142 w 512"/>
              <a:gd name="T63" fmla="*/ 224 h 512"/>
              <a:gd name="T64" fmla="*/ 128 w 512"/>
              <a:gd name="T65" fmla="*/ 231 h 512"/>
              <a:gd name="T66" fmla="*/ 107 w 512"/>
              <a:gd name="T67" fmla="*/ 295 h 512"/>
              <a:gd name="T68" fmla="*/ 114 w 512"/>
              <a:gd name="T69" fmla="*/ 308 h 512"/>
              <a:gd name="T70" fmla="*/ 341 w 512"/>
              <a:gd name="T71" fmla="*/ 384 h 512"/>
              <a:gd name="T72" fmla="*/ 320 w 512"/>
              <a:gd name="T73" fmla="*/ 362 h 512"/>
              <a:gd name="T74" fmla="*/ 298 w 512"/>
              <a:gd name="T75" fmla="*/ 384 h 512"/>
              <a:gd name="T76" fmla="*/ 320 w 512"/>
              <a:gd name="T77" fmla="*/ 405 h 512"/>
              <a:gd name="T78" fmla="*/ 341 w 512"/>
              <a:gd name="T79" fmla="*/ 384 h 512"/>
              <a:gd name="T80" fmla="*/ 366 w 512"/>
              <a:gd name="T81" fmla="*/ 139 h 512"/>
              <a:gd name="T82" fmla="*/ 334 w 512"/>
              <a:gd name="T83" fmla="*/ 128 h 512"/>
              <a:gd name="T84" fmla="*/ 320 w 512"/>
              <a:gd name="T85" fmla="*/ 135 h 512"/>
              <a:gd name="T86" fmla="*/ 238 w 512"/>
              <a:gd name="T87" fmla="*/ 381 h 512"/>
              <a:gd name="T88" fmla="*/ 152 w 512"/>
              <a:gd name="T89" fmla="*/ 352 h 512"/>
              <a:gd name="T90" fmla="*/ 139 w 512"/>
              <a:gd name="T91" fmla="*/ 359 h 512"/>
              <a:gd name="T92" fmla="*/ 146 w 512"/>
              <a:gd name="T93" fmla="*/ 372 h 512"/>
              <a:gd name="T94" fmla="*/ 242 w 512"/>
              <a:gd name="T95" fmla="*/ 404 h 512"/>
              <a:gd name="T96" fmla="*/ 245 w 512"/>
              <a:gd name="T97" fmla="*/ 405 h 512"/>
              <a:gd name="T98" fmla="*/ 255 w 512"/>
              <a:gd name="T99" fmla="*/ 398 h 512"/>
              <a:gd name="T100" fmla="*/ 337 w 512"/>
              <a:gd name="T101" fmla="*/ 152 h 512"/>
              <a:gd name="T102" fmla="*/ 359 w 512"/>
              <a:gd name="T103" fmla="*/ 159 h 512"/>
              <a:gd name="T104" fmla="*/ 362 w 512"/>
              <a:gd name="T105" fmla="*/ 160 h 512"/>
              <a:gd name="T106" fmla="*/ 372 w 512"/>
              <a:gd name="T107" fmla="*/ 152 h 512"/>
              <a:gd name="T108" fmla="*/ 366 w 512"/>
              <a:gd name="T109" fmla="*/ 1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38" y="210"/>
                </a:moveTo>
                <a:cubicBezTo>
                  <a:pt x="162" y="185"/>
                  <a:pt x="162" y="185"/>
                  <a:pt x="162" y="185"/>
                </a:cubicBezTo>
                <a:cubicBezTo>
                  <a:pt x="177" y="141"/>
                  <a:pt x="177" y="141"/>
                  <a:pt x="177" y="141"/>
                </a:cubicBezTo>
                <a:cubicBezTo>
                  <a:pt x="253" y="166"/>
                  <a:pt x="253" y="166"/>
                  <a:pt x="253" y="166"/>
                </a:cubicBezTo>
                <a:lnTo>
                  <a:pt x="238" y="210"/>
                </a:lnTo>
                <a:close/>
                <a:moveTo>
                  <a:pt x="145" y="248"/>
                </a:moveTo>
                <a:cubicBezTo>
                  <a:pt x="130" y="292"/>
                  <a:pt x="130" y="292"/>
                  <a:pt x="130" y="292"/>
                </a:cubicBezTo>
                <a:cubicBezTo>
                  <a:pt x="206" y="317"/>
                  <a:pt x="206" y="317"/>
                  <a:pt x="206" y="317"/>
                </a:cubicBezTo>
                <a:cubicBezTo>
                  <a:pt x="221" y="273"/>
                  <a:pt x="221" y="273"/>
                  <a:pt x="221" y="273"/>
                </a:cubicBezTo>
                <a:lnTo>
                  <a:pt x="145" y="24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6" y="202"/>
                </a:moveTo>
                <a:cubicBezTo>
                  <a:pt x="242" y="234"/>
                  <a:pt x="242" y="234"/>
                  <a:pt x="242" y="234"/>
                </a:cubicBezTo>
                <a:cubicBezTo>
                  <a:pt x="243" y="234"/>
                  <a:pt x="244" y="234"/>
                  <a:pt x="245" y="234"/>
                </a:cubicBezTo>
                <a:cubicBezTo>
                  <a:pt x="249" y="234"/>
                  <a:pt x="254" y="232"/>
                  <a:pt x="255" y="227"/>
                </a:cubicBezTo>
                <a:cubicBezTo>
                  <a:pt x="276" y="163"/>
                  <a:pt x="276" y="163"/>
                  <a:pt x="276" y="163"/>
                </a:cubicBezTo>
                <a:cubicBezTo>
                  <a:pt x="278" y="157"/>
                  <a:pt x="275" y="151"/>
                  <a:pt x="270" y="150"/>
                </a:cubicBezTo>
                <a:cubicBezTo>
                  <a:pt x="174" y="118"/>
                  <a:pt x="174" y="118"/>
                  <a:pt x="174" y="118"/>
                </a:cubicBezTo>
                <a:cubicBezTo>
                  <a:pt x="168" y="116"/>
                  <a:pt x="162" y="119"/>
                  <a:pt x="160" y="124"/>
                </a:cubicBezTo>
                <a:cubicBezTo>
                  <a:pt x="139" y="188"/>
                  <a:pt x="139" y="188"/>
                  <a:pt x="139" y="188"/>
                </a:cubicBezTo>
                <a:cubicBezTo>
                  <a:pt x="137" y="194"/>
                  <a:pt x="140" y="200"/>
                  <a:pt x="146" y="202"/>
                </a:cubicBezTo>
                <a:close/>
                <a:moveTo>
                  <a:pt x="114" y="308"/>
                </a:moveTo>
                <a:cubicBezTo>
                  <a:pt x="210" y="340"/>
                  <a:pt x="210" y="340"/>
                  <a:pt x="210" y="340"/>
                </a:cubicBezTo>
                <a:cubicBezTo>
                  <a:pt x="211" y="341"/>
                  <a:pt x="212" y="341"/>
                  <a:pt x="213" y="341"/>
                </a:cubicBezTo>
                <a:cubicBezTo>
                  <a:pt x="217" y="341"/>
                  <a:pt x="222" y="338"/>
                  <a:pt x="223" y="334"/>
                </a:cubicBezTo>
                <a:cubicBezTo>
                  <a:pt x="244" y="270"/>
                  <a:pt x="244" y="270"/>
                  <a:pt x="244" y="270"/>
                </a:cubicBezTo>
                <a:cubicBezTo>
                  <a:pt x="246" y="264"/>
                  <a:pt x="243" y="258"/>
                  <a:pt x="238" y="256"/>
                </a:cubicBezTo>
                <a:cubicBezTo>
                  <a:pt x="142" y="224"/>
                  <a:pt x="142" y="224"/>
                  <a:pt x="142" y="224"/>
                </a:cubicBezTo>
                <a:cubicBezTo>
                  <a:pt x="136" y="222"/>
                  <a:pt x="130" y="225"/>
                  <a:pt x="128" y="231"/>
                </a:cubicBezTo>
                <a:cubicBezTo>
                  <a:pt x="107" y="295"/>
                  <a:pt x="107" y="295"/>
                  <a:pt x="107" y="295"/>
                </a:cubicBezTo>
                <a:cubicBezTo>
                  <a:pt x="105" y="301"/>
                  <a:pt x="108" y="307"/>
                  <a:pt x="114" y="308"/>
                </a:cubicBezTo>
                <a:close/>
                <a:moveTo>
                  <a:pt x="341" y="384"/>
                </a:moveTo>
                <a:cubicBezTo>
                  <a:pt x="341" y="372"/>
                  <a:pt x="331" y="362"/>
                  <a:pt x="320" y="362"/>
                </a:cubicBezTo>
                <a:cubicBezTo>
                  <a:pt x="308" y="362"/>
                  <a:pt x="298" y="372"/>
                  <a:pt x="298" y="384"/>
                </a:cubicBezTo>
                <a:cubicBezTo>
                  <a:pt x="298" y="395"/>
                  <a:pt x="308" y="405"/>
                  <a:pt x="320" y="405"/>
                </a:cubicBezTo>
                <a:cubicBezTo>
                  <a:pt x="331" y="405"/>
                  <a:pt x="341" y="395"/>
                  <a:pt x="341" y="384"/>
                </a:cubicBezTo>
                <a:close/>
                <a:moveTo>
                  <a:pt x="366" y="139"/>
                </a:moveTo>
                <a:cubicBezTo>
                  <a:pt x="334" y="128"/>
                  <a:pt x="334" y="128"/>
                  <a:pt x="334" y="128"/>
                </a:cubicBezTo>
                <a:cubicBezTo>
                  <a:pt x="328" y="126"/>
                  <a:pt x="322" y="129"/>
                  <a:pt x="320" y="135"/>
                </a:cubicBezTo>
                <a:cubicBezTo>
                  <a:pt x="238" y="381"/>
                  <a:pt x="238" y="381"/>
                  <a:pt x="238" y="381"/>
                </a:cubicBezTo>
                <a:cubicBezTo>
                  <a:pt x="152" y="352"/>
                  <a:pt x="152" y="352"/>
                  <a:pt x="152" y="352"/>
                </a:cubicBezTo>
                <a:cubicBezTo>
                  <a:pt x="147" y="350"/>
                  <a:pt x="141" y="353"/>
                  <a:pt x="139" y="359"/>
                </a:cubicBezTo>
                <a:cubicBezTo>
                  <a:pt x="137" y="365"/>
                  <a:pt x="140" y="371"/>
                  <a:pt x="146" y="372"/>
                </a:cubicBezTo>
                <a:cubicBezTo>
                  <a:pt x="242" y="404"/>
                  <a:pt x="242" y="404"/>
                  <a:pt x="242" y="404"/>
                </a:cubicBezTo>
                <a:cubicBezTo>
                  <a:pt x="243" y="405"/>
                  <a:pt x="244" y="405"/>
                  <a:pt x="245" y="405"/>
                </a:cubicBezTo>
                <a:cubicBezTo>
                  <a:pt x="249" y="405"/>
                  <a:pt x="254" y="402"/>
                  <a:pt x="255" y="398"/>
                </a:cubicBezTo>
                <a:cubicBezTo>
                  <a:pt x="337" y="152"/>
                  <a:pt x="337" y="152"/>
                  <a:pt x="337" y="152"/>
                </a:cubicBezTo>
                <a:cubicBezTo>
                  <a:pt x="359" y="159"/>
                  <a:pt x="359" y="159"/>
                  <a:pt x="359" y="159"/>
                </a:cubicBezTo>
                <a:cubicBezTo>
                  <a:pt x="360" y="159"/>
                  <a:pt x="361" y="160"/>
                  <a:pt x="362" y="160"/>
                </a:cubicBezTo>
                <a:cubicBezTo>
                  <a:pt x="367" y="160"/>
                  <a:pt x="371" y="157"/>
                  <a:pt x="372" y="152"/>
                </a:cubicBezTo>
                <a:cubicBezTo>
                  <a:pt x="374" y="147"/>
                  <a:pt x="371" y="141"/>
                  <a:pt x="366" y="13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12" name="Group 389">
            <a:extLst>
              <a:ext uri="{FF2B5EF4-FFF2-40B4-BE49-F238E27FC236}">
                <a16:creationId xmlns:a16="http://schemas.microsoft.com/office/drawing/2014/main" id="{6D58CB59-C556-4A31-AE1B-8F658BC7E932}"/>
              </a:ext>
            </a:extLst>
          </p:cNvPr>
          <p:cNvGrpSpPr>
            <a:grpSpLocks noChangeAspect="1"/>
          </p:cNvGrpSpPr>
          <p:nvPr/>
        </p:nvGrpSpPr>
        <p:grpSpPr bwMode="auto">
          <a:xfrm>
            <a:off x="10485485" y="1697372"/>
            <a:ext cx="368712" cy="367631"/>
            <a:chOff x="405" y="1575"/>
            <a:chExt cx="341" cy="340"/>
          </a:xfrm>
          <a:solidFill>
            <a:schemeClr val="accent5"/>
          </a:solidFill>
        </p:grpSpPr>
        <p:sp>
          <p:nvSpPr>
            <p:cNvPr id="213" name="Freeform 390">
              <a:extLst>
                <a:ext uri="{FF2B5EF4-FFF2-40B4-BE49-F238E27FC236}">
                  <a16:creationId xmlns:a16="http://schemas.microsoft.com/office/drawing/2014/main" id="{15B6767B-6C0B-4DAE-B856-F5A804C10F49}"/>
                </a:ext>
              </a:extLst>
            </p:cNvPr>
            <p:cNvSpPr>
              <a:spLocks noEditPoints="1"/>
            </p:cNvSpPr>
            <p:nvPr/>
          </p:nvSpPr>
          <p:spPr bwMode="auto">
            <a:xfrm>
              <a:off x="405" y="15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4" name="Freeform 391">
              <a:extLst>
                <a:ext uri="{FF2B5EF4-FFF2-40B4-BE49-F238E27FC236}">
                  <a16:creationId xmlns:a16="http://schemas.microsoft.com/office/drawing/2014/main" id="{42CB1587-9927-455F-AE27-0CB4BEBEC2E5}"/>
                </a:ext>
              </a:extLst>
            </p:cNvPr>
            <p:cNvSpPr>
              <a:spLocks noEditPoints="1"/>
            </p:cNvSpPr>
            <p:nvPr/>
          </p:nvSpPr>
          <p:spPr bwMode="auto">
            <a:xfrm>
              <a:off x="475" y="1652"/>
              <a:ext cx="179" cy="192"/>
            </a:xfrm>
            <a:custGeom>
              <a:avLst/>
              <a:gdLst>
                <a:gd name="T0" fmla="*/ 236 w 269"/>
                <a:gd name="T1" fmla="*/ 268 h 289"/>
                <a:gd name="T2" fmla="*/ 215 w 269"/>
                <a:gd name="T3" fmla="*/ 289 h 289"/>
                <a:gd name="T4" fmla="*/ 193 w 269"/>
                <a:gd name="T5" fmla="*/ 268 h 289"/>
                <a:gd name="T6" fmla="*/ 215 w 269"/>
                <a:gd name="T7" fmla="*/ 246 h 289"/>
                <a:gd name="T8" fmla="*/ 236 w 269"/>
                <a:gd name="T9" fmla="*/ 268 h 289"/>
                <a:gd name="T10" fmla="*/ 261 w 269"/>
                <a:gd name="T11" fmla="*/ 23 h 289"/>
                <a:gd name="T12" fmla="*/ 229 w 269"/>
                <a:gd name="T13" fmla="*/ 12 h 289"/>
                <a:gd name="T14" fmla="*/ 215 w 269"/>
                <a:gd name="T15" fmla="*/ 19 h 289"/>
                <a:gd name="T16" fmla="*/ 133 w 269"/>
                <a:gd name="T17" fmla="*/ 265 h 289"/>
                <a:gd name="T18" fmla="*/ 47 w 269"/>
                <a:gd name="T19" fmla="*/ 236 h 289"/>
                <a:gd name="T20" fmla="*/ 34 w 269"/>
                <a:gd name="T21" fmla="*/ 243 h 289"/>
                <a:gd name="T22" fmla="*/ 41 w 269"/>
                <a:gd name="T23" fmla="*/ 256 h 289"/>
                <a:gd name="T24" fmla="*/ 137 w 269"/>
                <a:gd name="T25" fmla="*/ 288 h 289"/>
                <a:gd name="T26" fmla="*/ 140 w 269"/>
                <a:gd name="T27" fmla="*/ 289 h 289"/>
                <a:gd name="T28" fmla="*/ 150 w 269"/>
                <a:gd name="T29" fmla="*/ 282 h 289"/>
                <a:gd name="T30" fmla="*/ 232 w 269"/>
                <a:gd name="T31" fmla="*/ 36 h 289"/>
                <a:gd name="T32" fmla="*/ 254 w 269"/>
                <a:gd name="T33" fmla="*/ 43 h 289"/>
                <a:gd name="T34" fmla="*/ 257 w 269"/>
                <a:gd name="T35" fmla="*/ 44 h 289"/>
                <a:gd name="T36" fmla="*/ 267 w 269"/>
                <a:gd name="T37" fmla="*/ 36 h 289"/>
                <a:gd name="T38" fmla="*/ 261 w 269"/>
                <a:gd name="T39" fmla="*/ 23 h 289"/>
                <a:gd name="T40" fmla="*/ 105 w 269"/>
                <a:gd name="T41" fmla="*/ 224 h 289"/>
                <a:gd name="T42" fmla="*/ 9 w 269"/>
                <a:gd name="T43" fmla="*/ 192 h 289"/>
                <a:gd name="T44" fmla="*/ 2 w 269"/>
                <a:gd name="T45" fmla="*/ 179 h 289"/>
                <a:gd name="T46" fmla="*/ 23 w 269"/>
                <a:gd name="T47" fmla="*/ 115 h 289"/>
                <a:gd name="T48" fmla="*/ 37 w 269"/>
                <a:gd name="T49" fmla="*/ 108 h 289"/>
                <a:gd name="T50" fmla="*/ 133 w 269"/>
                <a:gd name="T51" fmla="*/ 140 h 289"/>
                <a:gd name="T52" fmla="*/ 139 w 269"/>
                <a:gd name="T53" fmla="*/ 154 h 289"/>
                <a:gd name="T54" fmla="*/ 118 w 269"/>
                <a:gd name="T55" fmla="*/ 218 h 289"/>
                <a:gd name="T56" fmla="*/ 108 w 269"/>
                <a:gd name="T57" fmla="*/ 225 h 289"/>
                <a:gd name="T58" fmla="*/ 105 w 269"/>
                <a:gd name="T59" fmla="*/ 224 h 289"/>
                <a:gd name="T60" fmla="*/ 101 w 269"/>
                <a:gd name="T61" fmla="*/ 201 h 289"/>
                <a:gd name="T62" fmla="*/ 116 w 269"/>
                <a:gd name="T63" fmla="*/ 157 h 289"/>
                <a:gd name="T64" fmla="*/ 40 w 269"/>
                <a:gd name="T65" fmla="*/ 132 h 289"/>
                <a:gd name="T66" fmla="*/ 25 w 269"/>
                <a:gd name="T67" fmla="*/ 176 h 289"/>
                <a:gd name="T68" fmla="*/ 101 w 269"/>
                <a:gd name="T69" fmla="*/ 201 h 289"/>
                <a:gd name="T70" fmla="*/ 34 w 269"/>
                <a:gd name="T71" fmla="*/ 72 h 289"/>
                <a:gd name="T72" fmla="*/ 55 w 269"/>
                <a:gd name="T73" fmla="*/ 8 h 289"/>
                <a:gd name="T74" fmla="*/ 69 w 269"/>
                <a:gd name="T75" fmla="*/ 2 h 289"/>
                <a:gd name="T76" fmla="*/ 165 w 269"/>
                <a:gd name="T77" fmla="*/ 34 h 289"/>
                <a:gd name="T78" fmla="*/ 171 w 269"/>
                <a:gd name="T79" fmla="*/ 47 h 289"/>
                <a:gd name="T80" fmla="*/ 150 w 269"/>
                <a:gd name="T81" fmla="*/ 111 h 289"/>
                <a:gd name="T82" fmla="*/ 140 w 269"/>
                <a:gd name="T83" fmla="*/ 118 h 289"/>
                <a:gd name="T84" fmla="*/ 137 w 269"/>
                <a:gd name="T85" fmla="*/ 118 h 289"/>
                <a:gd name="T86" fmla="*/ 41 w 269"/>
                <a:gd name="T87" fmla="*/ 86 h 289"/>
                <a:gd name="T88" fmla="*/ 34 w 269"/>
                <a:gd name="T89" fmla="*/ 72 h 289"/>
                <a:gd name="T90" fmla="*/ 72 w 269"/>
                <a:gd name="T91" fmla="*/ 25 h 289"/>
                <a:gd name="T92" fmla="*/ 57 w 269"/>
                <a:gd name="T93" fmla="*/ 69 h 289"/>
                <a:gd name="T94" fmla="*/ 133 w 269"/>
                <a:gd name="T95" fmla="*/ 94 h 289"/>
                <a:gd name="T96" fmla="*/ 148 w 269"/>
                <a:gd name="T97" fmla="*/ 50 h 289"/>
                <a:gd name="T98" fmla="*/ 72 w 269"/>
                <a:gd name="T99"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 h="289">
                  <a:moveTo>
                    <a:pt x="236" y="268"/>
                  </a:moveTo>
                  <a:cubicBezTo>
                    <a:pt x="236" y="279"/>
                    <a:pt x="226" y="289"/>
                    <a:pt x="215" y="289"/>
                  </a:cubicBezTo>
                  <a:cubicBezTo>
                    <a:pt x="203" y="289"/>
                    <a:pt x="193" y="279"/>
                    <a:pt x="193" y="268"/>
                  </a:cubicBezTo>
                  <a:cubicBezTo>
                    <a:pt x="193" y="256"/>
                    <a:pt x="203" y="246"/>
                    <a:pt x="215" y="246"/>
                  </a:cubicBezTo>
                  <a:cubicBezTo>
                    <a:pt x="226" y="246"/>
                    <a:pt x="236" y="256"/>
                    <a:pt x="236" y="268"/>
                  </a:cubicBezTo>
                  <a:close/>
                  <a:moveTo>
                    <a:pt x="261" y="23"/>
                  </a:moveTo>
                  <a:cubicBezTo>
                    <a:pt x="229" y="12"/>
                    <a:pt x="229" y="12"/>
                    <a:pt x="229" y="12"/>
                  </a:cubicBezTo>
                  <a:cubicBezTo>
                    <a:pt x="223" y="10"/>
                    <a:pt x="217" y="13"/>
                    <a:pt x="215" y="19"/>
                  </a:cubicBezTo>
                  <a:cubicBezTo>
                    <a:pt x="133" y="265"/>
                    <a:pt x="133" y="265"/>
                    <a:pt x="133" y="265"/>
                  </a:cubicBezTo>
                  <a:cubicBezTo>
                    <a:pt x="47" y="236"/>
                    <a:pt x="47" y="236"/>
                    <a:pt x="47" y="236"/>
                  </a:cubicBezTo>
                  <a:cubicBezTo>
                    <a:pt x="42" y="234"/>
                    <a:pt x="36" y="237"/>
                    <a:pt x="34" y="243"/>
                  </a:cubicBezTo>
                  <a:cubicBezTo>
                    <a:pt x="32" y="249"/>
                    <a:pt x="35" y="255"/>
                    <a:pt x="41" y="256"/>
                  </a:cubicBezTo>
                  <a:cubicBezTo>
                    <a:pt x="137" y="288"/>
                    <a:pt x="137" y="288"/>
                    <a:pt x="137" y="288"/>
                  </a:cubicBezTo>
                  <a:cubicBezTo>
                    <a:pt x="138" y="289"/>
                    <a:pt x="139" y="289"/>
                    <a:pt x="140" y="289"/>
                  </a:cubicBezTo>
                  <a:cubicBezTo>
                    <a:pt x="144" y="289"/>
                    <a:pt x="149" y="286"/>
                    <a:pt x="150" y="282"/>
                  </a:cubicBezTo>
                  <a:cubicBezTo>
                    <a:pt x="232" y="36"/>
                    <a:pt x="232" y="36"/>
                    <a:pt x="232" y="36"/>
                  </a:cubicBezTo>
                  <a:cubicBezTo>
                    <a:pt x="254" y="43"/>
                    <a:pt x="254" y="43"/>
                    <a:pt x="254" y="43"/>
                  </a:cubicBezTo>
                  <a:cubicBezTo>
                    <a:pt x="255" y="43"/>
                    <a:pt x="256" y="44"/>
                    <a:pt x="257" y="44"/>
                  </a:cubicBezTo>
                  <a:cubicBezTo>
                    <a:pt x="262" y="44"/>
                    <a:pt x="266" y="41"/>
                    <a:pt x="267" y="36"/>
                  </a:cubicBezTo>
                  <a:cubicBezTo>
                    <a:pt x="269" y="31"/>
                    <a:pt x="266" y="25"/>
                    <a:pt x="261" y="23"/>
                  </a:cubicBezTo>
                  <a:close/>
                  <a:moveTo>
                    <a:pt x="105" y="224"/>
                  </a:moveTo>
                  <a:cubicBezTo>
                    <a:pt x="9" y="192"/>
                    <a:pt x="9" y="192"/>
                    <a:pt x="9" y="192"/>
                  </a:cubicBezTo>
                  <a:cubicBezTo>
                    <a:pt x="3" y="191"/>
                    <a:pt x="0" y="185"/>
                    <a:pt x="2" y="179"/>
                  </a:cubicBezTo>
                  <a:cubicBezTo>
                    <a:pt x="23" y="115"/>
                    <a:pt x="23" y="115"/>
                    <a:pt x="23" y="115"/>
                  </a:cubicBezTo>
                  <a:cubicBezTo>
                    <a:pt x="25" y="109"/>
                    <a:pt x="31" y="106"/>
                    <a:pt x="37" y="108"/>
                  </a:cubicBezTo>
                  <a:cubicBezTo>
                    <a:pt x="133" y="140"/>
                    <a:pt x="133" y="140"/>
                    <a:pt x="133" y="140"/>
                  </a:cubicBezTo>
                  <a:cubicBezTo>
                    <a:pt x="138" y="142"/>
                    <a:pt x="141" y="148"/>
                    <a:pt x="139" y="154"/>
                  </a:cubicBezTo>
                  <a:cubicBezTo>
                    <a:pt x="118" y="218"/>
                    <a:pt x="118" y="218"/>
                    <a:pt x="118" y="218"/>
                  </a:cubicBezTo>
                  <a:cubicBezTo>
                    <a:pt x="117" y="222"/>
                    <a:pt x="112" y="225"/>
                    <a:pt x="108" y="225"/>
                  </a:cubicBezTo>
                  <a:cubicBezTo>
                    <a:pt x="107" y="225"/>
                    <a:pt x="106" y="225"/>
                    <a:pt x="105" y="224"/>
                  </a:cubicBezTo>
                  <a:close/>
                  <a:moveTo>
                    <a:pt x="101" y="201"/>
                  </a:moveTo>
                  <a:cubicBezTo>
                    <a:pt x="116" y="157"/>
                    <a:pt x="116" y="157"/>
                    <a:pt x="116" y="157"/>
                  </a:cubicBezTo>
                  <a:cubicBezTo>
                    <a:pt x="40" y="132"/>
                    <a:pt x="40" y="132"/>
                    <a:pt x="40" y="132"/>
                  </a:cubicBezTo>
                  <a:cubicBezTo>
                    <a:pt x="25" y="176"/>
                    <a:pt x="25" y="176"/>
                    <a:pt x="25" y="176"/>
                  </a:cubicBezTo>
                  <a:lnTo>
                    <a:pt x="101" y="201"/>
                  </a:lnTo>
                  <a:close/>
                  <a:moveTo>
                    <a:pt x="34" y="72"/>
                  </a:moveTo>
                  <a:cubicBezTo>
                    <a:pt x="55" y="8"/>
                    <a:pt x="55" y="8"/>
                    <a:pt x="55" y="8"/>
                  </a:cubicBezTo>
                  <a:cubicBezTo>
                    <a:pt x="57" y="3"/>
                    <a:pt x="63" y="0"/>
                    <a:pt x="69" y="2"/>
                  </a:cubicBezTo>
                  <a:cubicBezTo>
                    <a:pt x="165" y="34"/>
                    <a:pt x="165" y="34"/>
                    <a:pt x="165" y="34"/>
                  </a:cubicBezTo>
                  <a:cubicBezTo>
                    <a:pt x="170" y="35"/>
                    <a:pt x="173" y="41"/>
                    <a:pt x="171" y="47"/>
                  </a:cubicBezTo>
                  <a:cubicBezTo>
                    <a:pt x="150" y="111"/>
                    <a:pt x="150" y="111"/>
                    <a:pt x="150" y="111"/>
                  </a:cubicBezTo>
                  <a:cubicBezTo>
                    <a:pt x="149" y="116"/>
                    <a:pt x="144" y="118"/>
                    <a:pt x="140" y="118"/>
                  </a:cubicBezTo>
                  <a:cubicBezTo>
                    <a:pt x="139" y="118"/>
                    <a:pt x="138" y="118"/>
                    <a:pt x="137" y="118"/>
                  </a:cubicBezTo>
                  <a:cubicBezTo>
                    <a:pt x="41" y="86"/>
                    <a:pt x="41" y="86"/>
                    <a:pt x="41" y="86"/>
                  </a:cubicBezTo>
                  <a:cubicBezTo>
                    <a:pt x="35" y="84"/>
                    <a:pt x="32" y="78"/>
                    <a:pt x="34" y="72"/>
                  </a:cubicBezTo>
                  <a:close/>
                  <a:moveTo>
                    <a:pt x="72" y="25"/>
                  </a:moveTo>
                  <a:cubicBezTo>
                    <a:pt x="57" y="69"/>
                    <a:pt x="57" y="69"/>
                    <a:pt x="57" y="69"/>
                  </a:cubicBezTo>
                  <a:cubicBezTo>
                    <a:pt x="133" y="94"/>
                    <a:pt x="133" y="94"/>
                    <a:pt x="133" y="94"/>
                  </a:cubicBezTo>
                  <a:cubicBezTo>
                    <a:pt x="148" y="50"/>
                    <a:pt x="148" y="50"/>
                    <a:pt x="148" y="50"/>
                  </a:cubicBezTo>
                  <a:lnTo>
                    <a:pt x="72"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5" name="Freeform 471">
            <a:extLst>
              <a:ext uri="{FF2B5EF4-FFF2-40B4-BE49-F238E27FC236}">
                <a16:creationId xmlns:a16="http://schemas.microsoft.com/office/drawing/2014/main" id="{C80E7960-E7DF-4F3F-B249-4359B1A84569}"/>
              </a:ext>
            </a:extLst>
          </p:cNvPr>
          <p:cNvSpPr>
            <a:spLocks noChangeAspect="1" noEditPoints="1"/>
          </p:cNvSpPr>
          <p:nvPr/>
        </p:nvSpPr>
        <p:spPr bwMode="auto">
          <a:xfrm>
            <a:off x="505559" y="2524483"/>
            <a:ext cx="367982" cy="367982"/>
          </a:xfrm>
          <a:custGeom>
            <a:avLst/>
            <a:gdLst>
              <a:gd name="T0" fmla="*/ 185 w 512"/>
              <a:gd name="T1" fmla="*/ 202 h 512"/>
              <a:gd name="T2" fmla="*/ 327 w 512"/>
              <a:gd name="T3" fmla="*/ 202 h 512"/>
              <a:gd name="T4" fmla="*/ 320 w 512"/>
              <a:gd name="T5" fmla="*/ 211 h 512"/>
              <a:gd name="T6" fmla="*/ 317 w 512"/>
              <a:gd name="T7" fmla="*/ 218 h 512"/>
              <a:gd name="T8" fmla="*/ 305 w 512"/>
              <a:gd name="T9" fmla="*/ 373 h 512"/>
              <a:gd name="T10" fmla="*/ 206 w 512"/>
              <a:gd name="T11" fmla="*/ 373 h 512"/>
              <a:gd name="T12" fmla="*/ 195 w 512"/>
              <a:gd name="T13" fmla="*/ 218 h 512"/>
              <a:gd name="T14" fmla="*/ 191 w 512"/>
              <a:gd name="T15" fmla="*/ 211 h 512"/>
              <a:gd name="T16" fmla="*/ 185 w 512"/>
              <a:gd name="T17" fmla="*/ 202 h 512"/>
              <a:gd name="T18" fmla="*/ 321 w 512"/>
              <a:gd name="T19" fmla="*/ 159 h 512"/>
              <a:gd name="T20" fmla="*/ 323 w 512"/>
              <a:gd name="T21" fmla="*/ 138 h 512"/>
              <a:gd name="T22" fmla="*/ 189 w 512"/>
              <a:gd name="T23" fmla="*/ 138 h 512"/>
              <a:gd name="T24" fmla="*/ 190 w 512"/>
              <a:gd name="T25" fmla="*/ 159 h 512"/>
              <a:gd name="T26" fmla="*/ 188 w 512"/>
              <a:gd name="T27" fmla="*/ 167 h 512"/>
              <a:gd name="T28" fmla="*/ 182 w 512"/>
              <a:gd name="T29" fmla="*/ 181 h 512"/>
              <a:gd name="T30" fmla="*/ 330 w 512"/>
              <a:gd name="T31" fmla="*/ 181 h 512"/>
              <a:gd name="T32" fmla="*/ 324 w 512"/>
              <a:gd name="T33" fmla="*/ 167 h 512"/>
              <a:gd name="T34" fmla="*/ 321 w 512"/>
              <a:gd name="T35" fmla="*/ 159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43 w 512"/>
              <a:gd name="T47" fmla="*/ 156 h 512"/>
              <a:gd name="T48" fmla="*/ 345 w 512"/>
              <a:gd name="T49" fmla="*/ 128 h 512"/>
              <a:gd name="T50" fmla="*/ 342 w 512"/>
              <a:gd name="T51" fmla="*/ 120 h 512"/>
              <a:gd name="T52" fmla="*/ 334 w 512"/>
              <a:gd name="T53" fmla="*/ 117 h 512"/>
              <a:gd name="T54" fmla="*/ 177 w 512"/>
              <a:gd name="T55" fmla="*/ 117 h 512"/>
              <a:gd name="T56" fmla="*/ 169 w 512"/>
              <a:gd name="T57" fmla="*/ 120 h 512"/>
              <a:gd name="T58" fmla="*/ 167 w 512"/>
              <a:gd name="T59" fmla="*/ 128 h 512"/>
              <a:gd name="T60" fmla="*/ 169 w 512"/>
              <a:gd name="T61" fmla="*/ 156 h 512"/>
              <a:gd name="T62" fmla="*/ 161 w 512"/>
              <a:gd name="T63" fmla="*/ 197 h 512"/>
              <a:gd name="T64" fmla="*/ 174 w 512"/>
              <a:gd name="T65" fmla="*/ 224 h 512"/>
              <a:gd name="T66" fmla="*/ 186 w 512"/>
              <a:gd name="T67" fmla="*/ 384 h 512"/>
              <a:gd name="T68" fmla="*/ 196 w 512"/>
              <a:gd name="T69" fmla="*/ 394 h 512"/>
              <a:gd name="T70" fmla="*/ 315 w 512"/>
              <a:gd name="T71" fmla="*/ 394 h 512"/>
              <a:gd name="T72" fmla="*/ 326 w 512"/>
              <a:gd name="T73" fmla="*/ 384 h 512"/>
              <a:gd name="T74" fmla="*/ 338 w 512"/>
              <a:gd name="T75" fmla="*/ 224 h 512"/>
              <a:gd name="T76" fmla="*/ 351 w 512"/>
              <a:gd name="T77" fmla="*/ 197 h 512"/>
              <a:gd name="T78" fmla="*/ 343 w 512"/>
              <a:gd name="T79" fmla="*/ 1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85" y="202"/>
                </a:moveTo>
                <a:cubicBezTo>
                  <a:pt x="327" y="202"/>
                  <a:pt x="327" y="202"/>
                  <a:pt x="327" y="202"/>
                </a:cubicBezTo>
                <a:cubicBezTo>
                  <a:pt x="325" y="206"/>
                  <a:pt x="323" y="209"/>
                  <a:pt x="320" y="211"/>
                </a:cubicBezTo>
                <a:cubicBezTo>
                  <a:pt x="318" y="213"/>
                  <a:pt x="317" y="215"/>
                  <a:pt x="317" y="218"/>
                </a:cubicBezTo>
                <a:cubicBezTo>
                  <a:pt x="305" y="373"/>
                  <a:pt x="305" y="373"/>
                  <a:pt x="305" y="373"/>
                </a:cubicBezTo>
                <a:cubicBezTo>
                  <a:pt x="206" y="373"/>
                  <a:pt x="206" y="373"/>
                  <a:pt x="206" y="373"/>
                </a:cubicBezTo>
                <a:cubicBezTo>
                  <a:pt x="195" y="218"/>
                  <a:pt x="195" y="218"/>
                  <a:pt x="195" y="218"/>
                </a:cubicBezTo>
                <a:cubicBezTo>
                  <a:pt x="194" y="215"/>
                  <a:pt x="193" y="213"/>
                  <a:pt x="191" y="211"/>
                </a:cubicBezTo>
                <a:cubicBezTo>
                  <a:pt x="189" y="209"/>
                  <a:pt x="186" y="206"/>
                  <a:pt x="185" y="202"/>
                </a:cubicBezTo>
                <a:close/>
                <a:moveTo>
                  <a:pt x="321" y="159"/>
                </a:moveTo>
                <a:cubicBezTo>
                  <a:pt x="323" y="138"/>
                  <a:pt x="323" y="138"/>
                  <a:pt x="323" y="138"/>
                </a:cubicBezTo>
                <a:cubicBezTo>
                  <a:pt x="189" y="138"/>
                  <a:pt x="189" y="138"/>
                  <a:pt x="189" y="138"/>
                </a:cubicBezTo>
                <a:cubicBezTo>
                  <a:pt x="190" y="159"/>
                  <a:pt x="190" y="159"/>
                  <a:pt x="190" y="159"/>
                </a:cubicBezTo>
                <a:cubicBezTo>
                  <a:pt x="190" y="162"/>
                  <a:pt x="189" y="165"/>
                  <a:pt x="188" y="167"/>
                </a:cubicBezTo>
                <a:cubicBezTo>
                  <a:pt x="184" y="170"/>
                  <a:pt x="182" y="175"/>
                  <a:pt x="182" y="181"/>
                </a:cubicBezTo>
                <a:cubicBezTo>
                  <a:pt x="330" y="181"/>
                  <a:pt x="330" y="181"/>
                  <a:pt x="330" y="181"/>
                </a:cubicBezTo>
                <a:cubicBezTo>
                  <a:pt x="329" y="175"/>
                  <a:pt x="327" y="170"/>
                  <a:pt x="324" y="167"/>
                </a:cubicBezTo>
                <a:cubicBezTo>
                  <a:pt x="322" y="165"/>
                  <a:pt x="321" y="162"/>
                  <a:pt x="321" y="15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3" y="156"/>
                </a:moveTo>
                <a:cubicBezTo>
                  <a:pt x="345" y="128"/>
                  <a:pt x="345" y="128"/>
                  <a:pt x="345" y="128"/>
                </a:cubicBezTo>
                <a:cubicBezTo>
                  <a:pt x="345" y="126"/>
                  <a:pt x="344" y="123"/>
                  <a:pt x="342" y="120"/>
                </a:cubicBezTo>
                <a:cubicBezTo>
                  <a:pt x="340" y="118"/>
                  <a:pt x="337" y="117"/>
                  <a:pt x="334" y="117"/>
                </a:cubicBezTo>
                <a:cubicBezTo>
                  <a:pt x="177" y="117"/>
                  <a:pt x="177" y="117"/>
                  <a:pt x="177" y="117"/>
                </a:cubicBezTo>
                <a:cubicBezTo>
                  <a:pt x="174" y="117"/>
                  <a:pt x="171" y="118"/>
                  <a:pt x="169" y="120"/>
                </a:cubicBezTo>
                <a:cubicBezTo>
                  <a:pt x="167" y="123"/>
                  <a:pt x="166" y="126"/>
                  <a:pt x="167" y="128"/>
                </a:cubicBezTo>
                <a:cubicBezTo>
                  <a:pt x="169" y="156"/>
                  <a:pt x="169" y="156"/>
                  <a:pt x="169" y="156"/>
                </a:cubicBezTo>
                <a:cubicBezTo>
                  <a:pt x="161" y="167"/>
                  <a:pt x="158" y="182"/>
                  <a:pt x="161" y="197"/>
                </a:cubicBezTo>
                <a:cubicBezTo>
                  <a:pt x="163" y="207"/>
                  <a:pt x="167" y="217"/>
                  <a:pt x="174" y="224"/>
                </a:cubicBezTo>
                <a:cubicBezTo>
                  <a:pt x="186" y="384"/>
                  <a:pt x="186" y="384"/>
                  <a:pt x="186" y="384"/>
                </a:cubicBezTo>
                <a:cubicBezTo>
                  <a:pt x="186" y="390"/>
                  <a:pt x="191" y="394"/>
                  <a:pt x="196" y="394"/>
                </a:cubicBezTo>
                <a:cubicBezTo>
                  <a:pt x="315" y="394"/>
                  <a:pt x="315" y="394"/>
                  <a:pt x="315" y="394"/>
                </a:cubicBezTo>
                <a:cubicBezTo>
                  <a:pt x="320" y="394"/>
                  <a:pt x="325" y="390"/>
                  <a:pt x="326" y="384"/>
                </a:cubicBezTo>
                <a:cubicBezTo>
                  <a:pt x="338" y="224"/>
                  <a:pt x="338" y="224"/>
                  <a:pt x="338" y="224"/>
                </a:cubicBezTo>
                <a:cubicBezTo>
                  <a:pt x="344" y="217"/>
                  <a:pt x="349" y="207"/>
                  <a:pt x="351" y="197"/>
                </a:cubicBezTo>
                <a:cubicBezTo>
                  <a:pt x="353" y="182"/>
                  <a:pt x="350" y="167"/>
                  <a:pt x="343" y="1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16" name="Group 215">
            <a:extLst>
              <a:ext uri="{FF2B5EF4-FFF2-40B4-BE49-F238E27FC236}">
                <a16:creationId xmlns:a16="http://schemas.microsoft.com/office/drawing/2014/main" id="{B8D89E20-2A68-45B3-A22C-5860C7490762}"/>
              </a:ext>
            </a:extLst>
          </p:cNvPr>
          <p:cNvGrpSpPr>
            <a:grpSpLocks noChangeAspect="1"/>
          </p:cNvGrpSpPr>
          <p:nvPr/>
        </p:nvGrpSpPr>
        <p:grpSpPr bwMode="auto">
          <a:xfrm>
            <a:off x="938933" y="2524483"/>
            <a:ext cx="367982" cy="367982"/>
            <a:chOff x="4112" y="2773"/>
            <a:chExt cx="340" cy="340"/>
          </a:xfrm>
          <a:solidFill>
            <a:schemeClr val="accent5"/>
          </a:solidFill>
        </p:grpSpPr>
        <p:sp>
          <p:nvSpPr>
            <p:cNvPr id="217" name="Freeform 475">
              <a:extLst>
                <a:ext uri="{FF2B5EF4-FFF2-40B4-BE49-F238E27FC236}">
                  <a16:creationId xmlns:a16="http://schemas.microsoft.com/office/drawing/2014/main" id="{144D68AB-BFD8-4272-B571-807228C15DF9}"/>
                </a:ext>
              </a:extLst>
            </p:cNvPr>
            <p:cNvSpPr>
              <a:spLocks noEditPoints="1"/>
            </p:cNvSpPr>
            <p:nvPr/>
          </p:nvSpPr>
          <p:spPr bwMode="auto">
            <a:xfrm>
              <a:off x="4112" y="27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8" name="Freeform 476">
              <a:extLst>
                <a:ext uri="{FF2B5EF4-FFF2-40B4-BE49-F238E27FC236}">
                  <a16:creationId xmlns:a16="http://schemas.microsoft.com/office/drawing/2014/main" id="{DB375BB8-42FB-4983-946E-4F9C58D8596D}"/>
                </a:ext>
              </a:extLst>
            </p:cNvPr>
            <p:cNvSpPr>
              <a:spLocks noEditPoints="1"/>
            </p:cNvSpPr>
            <p:nvPr/>
          </p:nvSpPr>
          <p:spPr bwMode="auto">
            <a:xfrm>
              <a:off x="4217" y="2851"/>
              <a:ext cx="129" cy="184"/>
            </a:xfrm>
            <a:custGeom>
              <a:avLst/>
              <a:gdLst>
                <a:gd name="T0" fmla="*/ 185 w 195"/>
                <a:gd name="T1" fmla="*/ 39 h 277"/>
                <a:gd name="T2" fmla="*/ 187 w 195"/>
                <a:gd name="T3" fmla="*/ 11 h 277"/>
                <a:gd name="T4" fmla="*/ 184 w 195"/>
                <a:gd name="T5" fmla="*/ 3 h 277"/>
                <a:gd name="T6" fmla="*/ 176 w 195"/>
                <a:gd name="T7" fmla="*/ 0 h 277"/>
                <a:gd name="T8" fmla="*/ 19 w 195"/>
                <a:gd name="T9" fmla="*/ 0 h 277"/>
                <a:gd name="T10" fmla="*/ 11 w 195"/>
                <a:gd name="T11" fmla="*/ 3 h 277"/>
                <a:gd name="T12" fmla="*/ 9 w 195"/>
                <a:gd name="T13" fmla="*/ 11 h 277"/>
                <a:gd name="T14" fmla="*/ 11 w 195"/>
                <a:gd name="T15" fmla="*/ 39 h 277"/>
                <a:gd name="T16" fmla="*/ 3 w 195"/>
                <a:gd name="T17" fmla="*/ 80 h 277"/>
                <a:gd name="T18" fmla="*/ 16 w 195"/>
                <a:gd name="T19" fmla="*/ 107 h 277"/>
                <a:gd name="T20" fmla="*/ 28 w 195"/>
                <a:gd name="T21" fmla="*/ 267 h 277"/>
                <a:gd name="T22" fmla="*/ 38 w 195"/>
                <a:gd name="T23" fmla="*/ 277 h 277"/>
                <a:gd name="T24" fmla="*/ 157 w 195"/>
                <a:gd name="T25" fmla="*/ 277 h 277"/>
                <a:gd name="T26" fmla="*/ 168 w 195"/>
                <a:gd name="T27" fmla="*/ 267 h 277"/>
                <a:gd name="T28" fmla="*/ 180 w 195"/>
                <a:gd name="T29" fmla="*/ 107 h 277"/>
                <a:gd name="T30" fmla="*/ 193 w 195"/>
                <a:gd name="T31" fmla="*/ 80 h 277"/>
                <a:gd name="T32" fmla="*/ 185 w 195"/>
                <a:gd name="T33" fmla="*/ 39 h 277"/>
                <a:gd name="T34" fmla="*/ 31 w 195"/>
                <a:gd name="T35" fmla="*/ 21 h 277"/>
                <a:gd name="T36" fmla="*/ 165 w 195"/>
                <a:gd name="T37" fmla="*/ 21 h 277"/>
                <a:gd name="T38" fmla="*/ 163 w 195"/>
                <a:gd name="T39" fmla="*/ 42 h 277"/>
                <a:gd name="T40" fmla="*/ 166 w 195"/>
                <a:gd name="T41" fmla="*/ 50 h 277"/>
                <a:gd name="T42" fmla="*/ 172 w 195"/>
                <a:gd name="T43" fmla="*/ 64 h 277"/>
                <a:gd name="T44" fmla="*/ 24 w 195"/>
                <a:gd name="T45" fmla="*/ 64 h 277"/>
                <a:gd name="T46" fmla="*/ 30 w 195"/>
                <a:gd name="T47" fmla="*/ 50 h 277"/>
                <a:gd name="T48" fmla="*/ 32 w 195"/>
                <a:gd name="T49" fmla="*/ 42 h 277"/>
                <a:gd name="T50" fmla="*/ 31 w 195"/>
                <a:gd name="T51" fmla="*/ 21 h 277"/>
                <a:gd name="T52" fmla="*/ 162 w 195"/>
                <a:gd name="T53" fmla="*/ 94 h 277"/>
                <a:gd name="T54" fmla="*/ 159 w 195"/>
                <a:gd name="T55" fmla="*/ 101 h 277"/>
                <a:gd name="T56" fmla="*/ 147 w 195"/>
                <a:gd name="T57" fmla="*/ 256 h 277"/>
                <a:gd name="T58" fmla="*/ 48 w 195"/>
                <a:gd name="T59" fmla="*/ 256 h 277"/>
                <a:gd name="T60" fmla="*/ 37 w 195"/>
                <a:gd name="T61" fmla="*/ 101 h 277"/>
                <a:gd name="T62" fmla="*/ 33 w 195"/>
                <a:gd name="T63" fmla="*/ 94 h 277"/>
                <a:gd name="T64" fmla="*/ 27 w 195"/>
                <a:gd name="T65" fmla="*/ 85 h 277"/>
                <a:gd name="T66" fmla="*/ 169 w 195"/>
                <a:gd name="T67" fmla="*/ 85 h 277"/>
                <a:gd name="T68" fmla="*/ 162 w 195"/>
                <a:gd name="T69" fmla="*/ 9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5" h="277">
                  <a:moveTo>
                    <a:pt x="185" y="39"/>
                  </a:moveTo>
                  <a:cubicBezTo>
                    <a:pt x="187" y="11"/>
                    <a:pt x="187" y="11"/>
                    <a:pt x="187" y="11"/>
                  </a:cubicBezTo>
                  <a:cubicBezTo>
                    <a:pt x="187" y="9"/>
                    <a:pt x="186" y="6"/>
                    <a:pt x="184" y="3"/>
                  </a:cubicBezTo>
                  <a:cubicBezTo>
                    <a:pt x="182" y="1"/>
                    <a:pt x="179" y="0"/>
                    <a:pt x="176" y="0"/>
                  </a:cubicBezTo>
                  <a:cubicBezTo>
                    <a:pt x="19" y="0"/>
                    <a:pt x="19" y="0"/>
                    <a:pt x="19" y="0"/>
                  </a:cubicBezTo>
                  <a:cubicBezTo>
                    <a:pt x="16" y="0"/>
                    <a:pt x="13" y="1"/>
                    <a:pt x="11" y="3"/>
                  </a:cubicBezTo>
                  <a:cubicBezTo>
                    <a:pt x="9" y="6"/>
                    <a:pt x="8" y="9"/>
                    <a:pt x="9" y="11"/>
                  </a:cubicBezTo>
                  <a:cubicBezTo>
                    <a:pt x="11" y="39"/>
                    <a:pt x="11" y="39"/>
                    <a:pt x="11" y="39"/>
                  </a:cubicBezTo>
                  <a:cubicBezTo>
                    <a:pt x="3" y="50"/>
                    <a:pt x="0" y="65"/>
                    <a:pt x="3" y="80"/>
                  </a:cubicBezTo>
                  <a:cubicBezTo>
                    <a:pt x="5" y="90"/>
                    <a:pt x="9" y="100"/>
                    <a:pt x="16" y="107"/>
                  </a:cubicBezTo>
                  <a:cubicBezTo>
                    <a:pt x="28" y="267"/>
                    <a:pt x="28" y="267"/>
                    <a:pt x="28" y="267"/>
                  </a:cubicBezTo>
                  <a:cubicBezTo>
                    <a:pt x="28" y="273"/>
                    <a:pt x="33" y="277"/>
                    <a:pt x="38" y="277"/>
                  </a:cubicBezTo>
                  <a:cubicBezTo>
                    <a:pt x="157" y="277"/>
                    <a:pt x="157" y="277"/>
                    <a:pt x="157" y="277"/>
                  </a:cubicBezTo>
                  <a:cubicBezTo>
                    <a:pt x="162" y="277"/>
                    <a:pt x="167" y="273"/>
                    <a:pt x="168" y="267"/>
                  </a:cubicBezTo>
                  <a:cubicBezTo>
                    <a:pt x="180" y="107"/>
                    <a:pt x="180" y="107"/>
                    <a:pt x="180" y="107"/>
                  </a:cubicBezTo>
                  <a:cubicBezTo>
                    <a:pt x="186" y="100"/>
                    <a:pt x="191" y="90"/>
                    <a:pt x="193" y="80"/>
                  </a:cubicBezTo>
                  <a:cubicBezTo>
                    <a:pt x="195" y="65"/>
                    <a:pt x="192" y="50"/>
                    <a:pt x="185" y="39"/>
                  </a:cubicBezTo>
                  <a:close/>
                  <a:moveTo>
                    <a:pt x="31" y="21"/>
                  </a:moveTo>
                  <a:cubicBezTo>
                    <a:pt x="165" y="21"/>
                    <a:pt x="165" y="21"/>
                    <a:pt x="165" y="21"/>
                  </a:cubicBezTo>
                  <a:cubicBezTo>
                    <a:pt x="163" y="42"/>
                    <a:pt x="163" y="42"/>
                    <a:pt x="163" y="42"/>
                  </a:cubicBezTo>
                  <a:cubicBezTo>
                    <a:pt x="163" y="45"/>
                    <a:pt x="164" y="48"/>
                    <a:pt x="166" y="50"/>
                  </a:cubicBezTo>
                  <a:cubicBezTo>
                    <a:pt x="169" y="53"/>
                    <a:pt x="171" y="58"/>
                    <a:pt x="172" y="64"/>
                  </a:cubicBezTo>
                  <a:cubicBezTo>
                    <a:pt x="24" y="64"/>
                    <a:pt x="24" y="64"/>
                    <a:pt x="24" y="64"/>
                  </a:cubicBezTo>
                  <a:cubicBezTo>
                    <a:pt x="24" y="58"/>
                    <a:pt x="26" y="53"/>
                    <a:pt x="30" y="50"/>
                  </a:cubicBezTo>
                  <a:cubicBezTo>
                    <a:pt x="31" y="48"/>
                    <a:pt x="32" y="45"/>
                    <a:pt x="32" y="42"/>
                  </a:cubicBezTo>
                  <a:lnTo>
                    <a:pt x="31" y="21"/>
                  </a:lnTo>
                  <a:close/>
                  <a:moveTo>
                    <a:pt x="162" y="94"/>
                  </a:moveTo>
                  <a:cubicBezTo>
                    <a:pt x="160" y="96"/>
                    <a:pt x="159" y="98"/>
                    <a:pt x="159" y="101"/>
                  </a:cubicBezTo>
                  <a:cubicBezTo>
                    <a:pt x="147" y="256"/>
                    <a:pt x="147" y="256"/>
                    <a:pt x="147" y="256"/>
                  </a:cubicBezTo>
                  <a:cubicBezTo>
                    <a:pt x="48" y="256"/>
                    <a:pt x="48" y="256"/>
                    <a:pt x="48" y="256"/>
                  </a:cubicBezTo>
                  <a:cubicBezTo>
                    <a:pt x="37" y="101"/>
                    <a:pt x="37" y="101"/>
                    <a:pt x="37" y="101"/>
                  </a:cubicBezTo>
                  <a:cubicBezTo>
                    <a:pt x="36" y="98"/>
                    <a:pt x="35" y="96"/>
                    <a:pt x="33" y="94"/>
                  </a:cubicBezTo>
                  <a:cubicBezTo>
                    <a:pt x="31" y="92"/>
                    <a:pt x="28" y="89"/>
                    <a:pt x="27" y="85"/>
                  </a:cubicBezTo>
                  <a:cubicBezTo>
                    <a:pt x="169" y="85"/>
                    <a:pt x="169" y="85"/>
                    <a:pt x="169" y="85"/>
                  </a:cubicBezTo>
                  <a:cubicBezTo>
                    <a:pt x="167" y="89"/>
                    <a:pt x="165" y="92"/>
                    <a:pt x="162" y="9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9" name="Freeform 534">
            <a:extLst>
              <a:ext uri="{FF2B5EF4-FFF2-40B4-BE49-F238E27FC236}">
                <a16:creationId xmlns:a16="http://schemas.microsoft.com/office/drawing/2014/main" id="{508F2D67-E2AA-4FF3-95E5-0E80B70EF340}"/>
              </a:ext>
            </a:extLst>
          </p:cNvPr>
          <p:cNvSpPr>
            <a:spLocks noChangeAspect="1" noEditPoints="1"/>
          </p:cNvSpPr>
          <p:nvPr/>
        </p:nvSpPr>
        <p:spPr bwMode="auto">
          <a:xfrm>
            <a:off x="8310993" y="1697372"/>
            <a:ext cx="367982" cy="367982"/>
          </a:xfrm>
          <a:custGeom>
            <a:avLst/>
            <a:gdLst>
              <a:gd name="T0" fmla="*/ 373 w 512"/>
              <a:gd name="T1" fmla="*/ 298 h 512"/>
              <a:gd name="T2" fmla="*/ 139 w 512"/>
              <a:gd name="T3" fmla="*/ 352 h 512"/>
              <a:gd name="T4" fmla="*/ 147 w 512"/>
              <a:gd name="T5" fmla="*/ 286 h 512"/>
              <a:gd name="T6" fmla="*/ 212 w 512"/>
              <a:gd name="T7" fmla="*/ 286 h 512"/>
              <a:gd name="T8" fmla="*/ 249 w 512"/>
              <a:gd name="T9" fmla="*/ 286 h 512"/>
              <a:gd name="T10" fmla="*/ 314 w 512"/>
              <a:gd name="T11" fmla="*/ 286 h 512"/>
              <a:gd name="T12" fmla="*/ 352 w 512"/>
              <a:gd name="T13" fmla="*/ 286 h 512"/>
              <a:gd name="T14" fmla="*/ 160 w 512"/>
              <a:gd name="T15" fmla="*/ 269 h 512"/>
              <a:gd name="T16" fmla="*/ 198 w 512"/>
              <a:gd name="T17" fmla="*/ 269 h 512"/>
              <a:gd name="T18" fmla="*/ 263 w 512"/>
              <a:gd name="T19" fmla="*/ 269 h 512"/>
              <a:gd name="T20" fmla="*/ 300 w 512"/>
              <a:gd name="T21" fmla="*/ 269 h 512"/>
              <a:gd name="T22" fmla="*/ 365 w 512"/>
              <a:gd name="T23" fmla="*/ 269 h 512"/>
              <a:gd name="T24" fmla="*/ 373 w 512"/>
              <a:gd name="T25" fmla="*/ 224 h 512"/>
              <a:gd name="T26" fmla="*/ 139 w 512"/>
              <a:gd name="T27" fmla="*/ 257 h 512"/>
              <a:gd name="T28" fmla="*/ 256 w 512"/>
              <a:gd name="T29" fmla="*/ 512 h 512"/>
              <a:gd name="T30" fmla="*/ 256 w 512"/>
              <a:gd name="T31" fmla="*/ 0 h 512"/>
              <a:gd name="T32" fmla="*/ 320 w 512"/>
              <a:gd name="T33" fmla="*/ 118 h 512"/>
              <a:gd name="T34" fmla="*/ 341 w 512"/>
              <a:gd name="T35" fmla="*/ 118 h 512"/>
              <a:gd name="T36" fmla="*/ 331 w 512"/>
              <a:gd name="T37" fmla="*/ 96 h 512"/>
              <a:gd name="T38" fmla="*/ 320 w 512"/>
              <a:gd name="T39" fmla="*/ 118 h 512"/>
              <a:gd name="T40" fmla="*/ 256 w 512"/>
              <a:gd name="T41" fmla="*/ 128 h 512"/>
              <a:gd name="T42" fmla="*/ 267 w 512"/>
              <a:gd name="T43" fmla="*/ 107 h 512"/>
              <a:gd name="T44" fmla="*/ 245 w 512"/>
              <a:gd name="T45" fmla="*/ 107 h 512"/>
              <a:gd name="T46" fmla="*/ 171 w 512"/>
              <a:gd name="T47" fmla="*/ 118 h 512"/>
              <a:gd name="T48" fmla="*/ 192 w 512"/>
              <a:gd name="T49" fmla="*/ 118 h 512"/>
              <a:gd name="T50" fmla="*/ 181 w 512"/>
              <a:gd name="T51" fmla="*/ 96 h 512"/>
              <a:gd name="T52" fmla="*/ 171 w 512"/>
              <a:gd name="T53" fmla="*/ 118 h 512"/>
              <a:gd name="T54" fmla="*/ 405 w 512"/>
              <a:gd name="T55" fmla="*/ 352 h 512"/>
              <a:gd name="T56" fmla="*/ 395 w 512"/>
              <a:gd name="T57" fmla="*/ 214 h 512"/>
              <a:gd name="T58" fmla="*/ 341 w 512"/>
              <a:gd name="T59" fmla="*/ 203 h 512"/>
              <a:gd name="T60" fmla="*/ 331 w 512"/>
              <a:gd name="T61" fmla="*/ 150 h 512"/>
              <a:gd name="T62" fmla="*/ 320 w 512"/>
              <a:gd name="T63" fmla="*/ 203 h 512"/>
              <a:gd name="T64" fmla="*/ 267 w 512"/>
              <a:gd name="T65" fmla="*/ 160 h 512"/>
              <a:gd name="T66" fmla="*/ 245 w 512"/>
              <a:gd name="T67" fmla="*/ 160 h 512"/>
              <a:gd name="T68" fmla="*/ 192 w 512"/>
              <a:gd name="T69" fmla="*/ 203 h 512"/>
              <a:gd name="T70" fmla="*/ 181 w 512"/>
              <a:gd name="T71" fmla="*/ 150 h 512"/>
              <a:gd name="T72" fmla="*/ 171 w 512"/>
              <a:gd name="T73" fmla="*/ 203 h 512"/>
              <a:gd name="T74" fmla="*/ 117 w 512"/>
              <a:gd name="T75" fmla="*/ 214 h 512"/>
              <a:gd name="T76" fmla="*/ 107 w 512"/>
              <a:gd name="T77" fmla="*/ 352 h 512"/>
              <a:gd name="T78" fmla="*/ 107 w 512"/>
              <a:gd name="T79" fmla="*/ 374 h 512"/>
              <a:gd name="T80" fmla="*/ 384 w 512"/>
              <a:gd name="T81" fmla="*/ 374 h 512"/>
              <a:gd name="T82" fmla="*/ 416 w 512"/>
              <a:gd name="T8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52" y="286"/>
                </a:moveTo>
                <a:cubicBezTo>
                  <a:pt x="357" y="290"/>
                  <a:pt x="363" y="296"/>
                  <a:pt x="373" y="298"/>
                </a:cubicBezTo>
                <a:cubicBezTo>
                  <a:pt x="373" y="352"/>
                  <a:pt x="373" y="352"/>
                  <a:pt x="373" y="352"/>
                </a:cubicBezTo>
                <a:cubicBezTo>
                  <a:pt x="139" y="352"/>
                  <a:pt x="139" y="352"/>
                  <a:pt x="139" y="352"/>
                </a:cubicBezTo>
                <a:cubicBezTo>
                  <a:pt x="139" y="280"/>
                  <a:pt x="139" y="280"/>
                  <a:pt x="139" y="280"/>
                </a:cubicBezTo>
                <a:cubicBezTo>
                  <a:pt x="141" y="281"/>
                  <a:pt x="144" y="283"/>
                  <a:pt x="147" y="286"/>
                </a:cubicBezTo>
                <a:cubicBezTo>
                  <a:pt x="154" y="292"/>
                  <a:pt x="162" y="299"/>
                  <a:pt x="179" y="299"/>
                </a:cubicBezTo>
                <a:cubicBezTo>
                  <a:pt x="196" y="299"/>
                  <a:pt x="205" y="292"/>
                  <a:pt x="212" y="286"/>
                </a:cubicBezTo>
                <a:cubicBezTo>
                  <a:pt x="217" y="281"/>
                  <a:pt x="221" y="278"/>
                  <a:pt x="230" y="278"/>
                </a:cubicBezTo>
                <a:cubicBezTo>
                  <a:pt x="239" y="278"/>
                  <a:pt x="243" y="281"/>
                  <a:pt x="249" y="286"/>
                </a:cubicBezTo>
                <a:cubicBezTo>
                  <a:pt x="256" y="292"/>
                  <a:pt x="265" y="299"/>
                  <a:pt x="282" y="299"/>
                </a:cubicBezTo>
                <a:cubicBezTo>
                  <a:pt x="298" y="299"/>
                  <a:pt x="307" y="292"/>
                  <a:pt x="314" y="286"/>
                </a:cubicBezTo>
                <a:cubicBezTo>
                  <a:pt x="320" y="281"/>
                  <a:pt x="324" y="278"/>
                  <a:pt x="333" y="278"/>
                </a:cubicBezTo>
                <a:cubicBezTo>
                  <a:pt x="342" y="278"/>
                  <a:pt x="346" y="281"/>
                  <a:pt x="352" y="286"/>
                </a:cubicBezTo>
                <a:close/>
                <a:moveTo>
                  <a:pt x="139" y="257"/>
                </a:moveTo>
                <a:cubicBezTo>
                  <a:pt x="149" y="260"/>
                  <a:pt x="155" y="265"/>
                  <a:pt x="160" y="269"/>
                </a:cubicBezTo>
                <a:cubicBezTo>
                  <a:pt x="166" y="274"/>
                  <a:pt x="170" y="278"/>
                  <a:pt x="179" y="278"/>
                </a:cubicBezTo>
                <a:cubicBezTo>
                  <a:pt x="188" y="278"/>
                  <a:pt x="192" y="274"/>
                  <a:pt x="198" y="269"/>
                </a:cubicBezTo>
                <a:cubicBezTo>
                  <a:pt x="205" y="264"/>
                  <a:pt x="214" y="256"/>
                  <a:pt x="230" y="256"/>
                </a:cubicBezTo>
                <a:cubicBezTo>
                  <a:pt x="247" y="256"/>
                  <a:pt x="256" y="264"/>
                  <a:pt x="263" y="269"/>
                </a:cubicBezTo>
                <a:cubicBezTo>
                  <a:pt x="269" y="274"/>
                  <a:pt x="273" y="278"/>
                  <a:pt x="282" y="278"/>
                </a:cubicBezTo>
                <a:cubicBezTo>
                  <a:pt x="290" y="278"/>
                  <a:pt x="294" y="274"/>
                  <a:pt x="300" y="269"/>
                </a:cubicBezTo>
                <a:cubicBezTo>
                  <a:pt x="307" y="264"/>
                  <a:pt x="316" y="256"/>
                  <a:pt x="333" y="256"/>
                </a:cubicBezTo>
                <a:cubicBezTo>
                  <a:pt x="349" y="256"/>
                  <a:pt x="358" y="264"/>
                  <a:pt x="365" y="269"/>
                </a:cubicBezTo>
                <a:cubicBezTo>
                  <a:pt x="368" y="272"/>
                  <a:pt x="371" y="274"/>
                  <a:pt x="373" y="275"/>
                </a:cubicBezTo>
                <a:cubicBezTo>
                  <a:pt x="373" y="224"/>
                  <a:pt x="373" y="224"/>
                  <a:pt x="373" y="224"/>
                </a:cubicBezTo>
                <a:cubicBezTo>
                  <a:pt x="139" y="224"/>
                  <a:pt x="139" y="224"/>
                  <a:pt x="139" y="224"/>
                </a:cubicBezTo>
                <a:lnTo>
                  <a:pt x="139" y="25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20" y="118"/>
                </a:moveTo>
                <a:cubicBezTo>
                  <a:pt x="320" y="124"/>
                  <a:pt x="325" y="128"/>
                  <a:pt x="331" y="128"/>
                </a:cubicBezTo>
                <a:cubicBezTo>
                  <a:pt x="337" y="128"/>
                  <a:pt x="341" y="124"/>
                  <a:pt x="341" y="118"/>
                </a:cubicBezTo>
                <a:cubicBezTo>
                  <a:pt x="341" y="107"/>
                  <a:pt x="341" y="107"/>
                  <a:pt x="341" y="107"/>
                </a:cubicBezTo>
                <a:cubicBezTo>
                  <a:pt x="341" y="101"/>
                  <a:pt x="337" y="96"/>
                  <a:pt x="331" y="96"/>
                </a:cubicBezTo>
                <a:cubicBezTo>
                  <a:pt x="325" y="96"/>
                  <a:pt x="320" y="101"/>
                  <a:pt x="320" y="107"/>
                </a:cubicBezTo>
                <a:lnTo>
                  <a:pt x="320" y="118"/>
                </a:lnTo>
                <a:close/>
                <a:moveTo>
                  <a:pt x="245" y="118"/>
                </a:moveTo>
                <a:cubicBezTo>
                  <a:pt x="245" y="124"/>
                  <a:pt x="250" y="128"/>
                  <a:pt x="256" y="128"/>
                </a:cubicBezTo>
                <a:cubicBezTo>
                  <a:pt x="262" y="128"/>
                  <a:pt x="267" y="124"/>
                  <a:pt x="267" y="118"/>
                </a:cubicBezTo>
                <a:cubicBezTo>
                  <a:pt x="267" y="107"/>
                  <a:pt x="267" y="107"/>
                  <a:pt x="267" y="107"/>
                </a:cubicBezTo>
                <a:cubicBezTo>
                  <a:pt x="267" y="101"/>
                  <a:pt x="262" y="96"/>
                  <a:pt x="256" y="96"/>
                </a:cubicBezTo>
                <a:cubicBezTo>
                  <a:pt x="250" y="96"/>
                  <a:pt x="245" y="101"/>
                  <a:pt x="245" y="107"/>
                </a:cubicBezTo>
                <a:lnTo>
                  <a:pt x="245" y="118"/>
                </a:lnTo>
                <a:close/>
                <a:moveTo>
                  <a:pt x="171" y="118"/>
                </a:moveTo>
                <a:cubicBezTo>
                  <a:pt x="171" y="124"/>
                  <a:pt x="175" y="128"/>
                  <a:pt x="181" y="128"/>
                </a:cubicBezTo>
                <a:cubicBezTo>
                  <a:pt x="187" y="128"/>
                  <a:pt x="192" y="124"/>
                  <a:pt x="192" y="118"/>
                </a:cubicBezTo>
                <a:cubicBezTo>
                  <a:pt x="192" y="107"/>
                  <a:pt x="192" y="107"/>
                  <a:pt x="192" y="107"/>
                </a:cubicBezTo>
                <a:cubicBezTo>
                  <a:pt x="192" y="101"/>
                  <a:pt x="187" y="96"/>
                  <a:pt x="181" y="96"/>
                </a:cubicBezTo>
                <a:cubicBezTo>
                  <a:pt x="175" y="96"/>
                  <a:pt x="171" y="101"/>
                  <a:pt x="171" y="107"/>
                </a:cubicBezTo>
                <a:lnTo>
                  <a:pt x="171" y="118"/>
                </a:lnTo>
                <a:close/>
                <a:moveTo>
                  <a:pt x="416" y="363"/>
                </a:moveTo>
                <a:cubicBezTo>
                  <a:pt x="416" y="357"/>
                  <a:pt x="411" y="352"/>
                  <a:pt x="405" y="352"/>
                </a:cubicBezTo>
                <a:cubicBezTo>
                  <a:pt x="395" y="352"/>
                  <a:pt x="395" y="352"/>
                  <a:pt x="395" y="352"/>
                </a:cubicBezTo>
                <a:cubicBezTo>
                  <a:pt x="395" y="214"/>
                  <a:pt x="395" y="214"/>
                  <a:pt x="395" y="214"/>
                </a:cubicBezTo>
                <a:cubicBezTo>
                  <a:pt x="395" y="208"/>
                  <a:pt x="390" y="203"/>
                  <a:pt x="384" y="203"/>
                </a:cubicBezTo>
                <a:cubicBezTo>
                  <a:pt x="341" y="203"/>
                  <a:pt x="341" y="203"/>
                  <a:pt x="341" y="203"/>
                </a:cubicBezTo>
                <a:cubicBezTo>
                  <a:pt x="341" y="160"/>
                  <a:pt x="341" y="160"/>
                  <a:pt x="341" y="160"/>
                </a:cubicBezTo>
                <a:cubicBezTo>
                  <a:pt x="341" y="154"/>
                  <a:pt x="337" y="150"/>
                  <a:pt x="331" y="150"/>
                </a:cubicBezTo>
                <a:cubicBezTo>
                  <a:pt x="325" y="150"/>
                  <a:pt x="320" y="154"/>
                  <a:pt x="320" y="160"/>
                </a:cubicBezTo>
                <a:cubicBezTo>
                  <a:pt x="320" y="203"/>
                  <a:pt x="320" y="203"/>
                  <a:pt x="320" y="203"/>
                </a:cubicBezTo>
                <a:cubicBezTo>
                  <a:pt x="267" y="203"/>
                  <a:pt x="267" y="203"/>
                  <a:pt x="267" y="203"/>
                </a:cubicBezTo>
                <a:cubicBezTo>
                  <a:pt x="267" y="160"/>
                  <a:pt x="267" y="160"/>
                  <a:pt x="267" y="160"/>
                </a:cubicBezTo>
                <a:cubicBezTo>
                  <a:pt x="267" y="154"/>
                  <a:pt x="262" y="150"/>
                  <a:pt x="256" y="150"/>
                </a:cubicBezTo>
                <a:cubicBezTo>
                  <a:pt x="250" y="150"/>
                  <a:pt x="245" y="154"/>
                  <a:pt x="245" y="160"/>
                </a:cubicBezTo>
                <a:cubicBezTo>
                  <a:pt x="245" y="203"/>
                  <a:pt x="245" y="203"/>
                  <a:pt x="245" y="203"/>
                </a:cubicBezTo>
                <a:cubicBezTo>
                  <a:pt x="192" y="203"/>
                  <a:pt x="192" y="203"/>
                  <a:pt x="192" y="203"/>
                </a:cubicBezTo>
                <a:cubicBezTo>
                  <a:pt x="192" y="160"/>
                  <a:pt x="192" y="160"/>
                  <a:pt x="192" y="160"/>
                </a:cubicBezTo>
                <a:cubicBezTo>
                  <a:pt x="192" y="154"/>
                  <a:pt x="187" y="150"/>
                  <a:pt x="181" y="150"/>
                </a:cubicBezTo>
                <a:cubicBezTo>
                  <a:pt x="175" y="150"/>
                  <a:pt x="171" y="154"/>
                  <a:pt x="171" y="160"/>
                </a:cubicBezTo>
                <a:cubicBezTo>
                  <a:pt x="171" y="203"/>
                  <a:pt x="171" y="203"/>
                  <a:pt x="171" y="203"/>
                </a:cubicBezTo>
                <a:cubicBezTo>
                  <a:pt x="128" y="203"/>
                  <a:pt x="128" y="203"/>
                  <a:pt x="128" y="203"/>
                </a:cubicBezTo>
                <a:cubicBezTo>
                  <a:pt x="122" y="203"/>
                  <a:pt x="117" y="208"/>
                  <a:pt x="117" y="214"/>
                </a:cubicBezTo>
                <a:cubicBezTo>
                  <a:pt x="117" y="352"/>
                  <a:pt x="117" y="352"/>
                  <a:pt x="117" y="352"/>
                </a:cubicBezTo>
                <a:cubicBezTo>
                  <a:pt x="107" y="352"/>
                  <a:pt x="107" y="352"/>
                  <a:pt x="107" y="352"/>
                </a:cubicBezTo>
                <a:cubicBezTo>
                  <a:pt x="101" y="352"/>
                  <a:pt x="96" y="357"/>
                  <a:pt x="96" y="363"/>
                </a:cubicBezTo>
                <a:cubicBezTo>
                  <a:pt x="96" y="369"/>
                  <a:pt x="101" y="374"/>
                  <a:pt x="107" y="374"/>
                </a:cubicBezTo>
                <a:cubicBezTo>
                  <a:pt x="128" y="374"/>
                  <a:pt x="128" y="374"/>
                  <a:pt x="128" y="374"/>
                </a:cubicBezTo>
                <a:cubicBezTo>
                  <a:pt x="384" y="374"/>
                  <a:pt x="384" y="374"/>
                  <a:pt x="384" y="374"/>
                </a:cubicBezTo>
                <a:cubicBezTo>
                  <a:pt x="405" y="374"/>
                  <a:pt x="405" y="374"/>
                  <a:pt x="405" y="374"/>
                </a:cubicBezTo>
                <a:cubicBezTo>
                  <a:pt x="411" y="374"/>
                  <a:pt x="416" y="369"/>
                  <a:pt x="416" y="36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0" name="Group 537">
            <a:extLst>
              <a:ext uri="{FF2B5EF4-FFF2-40B4-BE49-F238E27FC236}">
                <a16:creationId xmlns:a16="http://schemas.microsoft.com/office/drawing/2014/main" id="{3A1666E9-5020-4C39-9EBE-48DB53332A42}"/>
              </a:ext>
            </a:extLst>
          </p:cNvPr>
          <p:cNvGrpSpPr>
            <a:grpSpLocks noChangeAspect="1"/>
          </p:cNvGrpSpPr>
          <p:nvPr/>
        </p:nvGrpSpPr>
        <p:grpSpPr bwMode="auto">
          <a:xfrm>
            <a:off x="8745284" y="1697372"/>
            <a:ext cx="367982" cy="367982"/>
            <a:chOff x="3877" y="2753"/>
            <a:chExt cx="340" cy="340"/>
          </a:xfrm>
          <a:solidFill>
            <a:schemeClr val="accent6"/>
          </a:solidFill>
        </p:grpSpPr>
        <p:sp>
          <p:nvSpPr>
            <p:cNvPr id="221" name="Freeform 538">
              <a:extLst>
                <a:ext uri="{FF2B5EF4-FFF2-40B4-BE49-F238E27FC236}">
                  <a16:creationId xmlns:a16="http://schemas.microsoft.com/office/drawing/2014/main" id="{B3A97B3D-38BA-4543-AE1E-9471B082FC9D}"/>
                </a:ext>
              </a:extLst>
            </p:cNvPr>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2" name="Freeform 539">
              <a:extLst>
                <a:ext uri="{FF2B5EF4-FFF2-40B4-BE49-F238E27FC236}">
                  <a16:creationId xmlns:a16="http://schemas.microsoft.com/office/drawing/2014/main" id="{36C221F8-8B01-4AD1-A207-8CCA64149EC1}"/>
                </a:ext>
              </a:extLst>
            </p:cNvPr>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3" name="Freeform 304">
            <a:extLst>
              <a:ext uri="{FF2B5EF4-FFF2-40B4-BE49-F238E27FC236}">
                <a16:creationId xmlns:a16="http://schemas.microsoft.com/office/drawing/2014/main" id="{A675995A-905E-49CD-A8D5-53D0FD48E405}"/>
              </a:ext>
            </a:extLst>
          </p:cNvPr>
          <p:cNvSpPr>
            <a:spLocks noChangeAspect="1" noEditPoints="1"/>
          </p:cNvSpPr>
          <p:nvPr/>
        </p:nvSpPr>
        <p:spPr bwMode="auto">
          <a:xfrm>
            <a:off x="10920506" y="1697372"/>
            <a:ext cx="367982" cy="367982"/>
          </a:xfrm>
          <a:custGeom>
            <a:avLst/>
            <a:gdLst>
              <a:gd name="T0" fmla="*/ 214 w 512"/>
              <a:gd name="T1" fmla="*/ 156 h 512"/>
              <a:gd name="T2" fmla="*/ 227 w 512"/>
              <a:gd name="T3" fmla="*/ 155 h 512"/>
              <a:gd name="T4" fmla="*/ 254 w 512"/>
              <a:gd name="T5" fmla="*/ 129 h 512"/>
              <a:gd name="T6" fmla="*/ 282 w 512"/>
              <a:gd name="T7" fmla="*/ 160 h 512"/>
              <a:gd name="T8" fmla="*/ 296 w 512"/>
              <a:gd name="T9" fmla="*/ 160 h 512"/>
              <a:gd name="T10" fmla="*/ 303 w 512"/>
              <a:gd name="T11" fmla="*/ 191 h 512"/>
              <a:gd name="T12" fmla="*/ 203 w 512"/>
              <a:gd name="T13" fmla="*/ 192 h 512"/>
              <a:gd name="T14" fmla="*/ 512 w 512"/>
              <a:gd name="T15" fmla="*/ 256 h 512"/>
              <a:gd name="T16" fmla="*/ 0 w 512"/>
              <a:gd name="T17" fmla="*/ 256 h 512"/>
              <a:gd name="T18" fmla="*/ 512 w 512"/>
              <a:gd name="T19" fmla="*/ 256 h 512"/>
              <a:gd name="T20" fmla="*/ 341 w 512"/>
              <a:gd name="T21" fmla="*/ 384 h 512"/>
              <a:gd name="T22" fmla="*/ 330 w 512"/>
              <a:gd name="T23" fmla="*/ 295 h 512"/>
              <a:gd name="T24" fmla="*/ 328 w 512"/>
              <a:gd name="T25" fmla="*/ 276 h 512"/>
              <a:gd name="T26" fmla="*/ 334 w 512"/>
              <a:gd name="T27" fmla="*/ 177 h 512"/>
              <a:gd name="T28" fmla="*/ 254 w 512"/>
              <a:gd name="T29" fmla="*/ 108 h 512"/>
              <a:gd name="T30" fmla="*/ 173 w 512"/>
              <a:gd name="T31" fmla="*/ 176 h 512"/>
              <a:gd name="T32" fmla="*/ 189 w 512"/>
              <a:gd name="T33" fmla="*/ 226 h 512"/>
              <a:gd name="T34" fmla="*/ 129 w 512"/>
              <a:gd name="T35" fmla="*/ 254 h 512"/>
              <a:gd name="T36" fmla="*/ 159 w 512"/>
              <a:gd name="T37" fmla="*/ 358 h 512"/>
              <a:gd name="T38" fmla="*/ 171 w 512"/>
              <a:gd name="T39" fmla="*/ 384 h 512"/>
              <a:gd name="T40" fmla="*/ 160 w 512"/>
              <a:gd name="T41" fmla="*/ 394 h 512"/>
              <a:gd name="T42" fmla="*/ 181 w 512"/>
              <a:gd name="T43" fmla="*/ 405 h 512"/>
              <a:gd name="T44" fmla="*/ 341 w 512"/>
              <a:gd name="T45" fmla="*/ 405 h 512"/>
              <a:gd name="T46" fmla="*/ 212 w 512"/>
              <a:gd name="T47" fmla="*/ 213 h 512"/>
              <a:gd name="T48" fmla="*/ 306 w 512"/>
              <a:gd name="T49" fmla="*/ 277 h 512"/>
              <a:gd name="T50" fmla="*/ 212 w 512"/>
              <a:gd name="T51" fmla="*/ 213 h 512"/>
              <a:gd name="T52" fmla="*/ 150 w 512"/>
              <a:gd name="T53" fmla="*/ 257 h 512"/>
              <a:gd name="T54" fmla="*/ 177 w 512"/>
              <a:gd name="T55" fmla="*/ 333 h 512"/>
              <a:gd name="T56" fmla="*/ 176 w 512"/>
              <a:gd name="T57" fmla="*/ 286 h 512"/>
              <a:gd name="T58" fmla="*/ 186 w 512"/>
              <a:gd name="T59" fmla="*/ 250 h 512"/>
              <a:gd name="T60" fmla="*/ 203 w 512"/>
              <a:gd name="T61" fmla="*/ 298 h 512"/>
              <a:gd name="T62" fmla="*/ 318 w 512"/>
              <a:gd name="T63" fmla="*/ 384 h 512"/>
              <a:gd name="T64" fmla="*/ 203 w 512"/>
              <a:gd name="T65"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94" y="176"/>
                </a:moveTo>
                <a:cubicBezTo>
                  <a:pt x="194" y="165"/>
                  <a:pt x="203" y="156"/>
                  <a:pt x="214" y="156"/>
                </a:cubicBezTo>
                <a:cubicBezTo>
                  <a:pt x="215" y="156"/>
                  <a:pt x="217" y="156"/>
                  <a:pt x="218" y="157"/>
                </a:cubicBezTo>
                <a:cubicBezTo>
                  <a:pt x="221" y="157"/>
                  <a:pt x="224" y="157"/>
                  <a:pt x="227" y="155"/>
                </a:cubicBezTo>
                <a:cubicBezTo>
                  <a:pt x="229" y="154"/>
                  <a:pt x="231" y="151"/>
                  <a:pt x="231" y="148"/>
                </a:cubicBezTo>
                <a:cubicBezTo>
                  <a:pt x="233" y="137"/>
                  <a:pt x="243" y="129"/>
                  <a:pt x="254" y="129"/>
                </a:cubicBezTo>
                <a:cubicBezTo>
                  <a:pt x="267" y="129"/>
                  <a:pt x="277" y="139"/>
                  <a:pt x="277" y="151"/>
                </a:cubicBezTo>
                <a:cubicBezTo>
                  <a:pt x="277" y="155"/>
                  <a:pt x="279" y="158"/>
                  <a:pt x="282" y="160"/>
                </a:cubicBezTo>
                <a:cubicBezTo>
                  <a:pt x="285" y="162"/>
                  <a:pt x="288" y="162"/>
                  <a:pt x="291" y="161"/>
                </a:cubicBezTo>
                <a:cubicBezTo>
                  <a:pt x="293" y="161"/>
                  <a:pt x="295" y="160"/>
                  <a:pt x="296" y="160"/>
                </a:cubicBezTo>
                <a:cubicBezTo>
                  <a:pt x="305" y="160"/>
                  <a:pt x="313" y="168"/>
                  <a:pt x="313" y="177"/>
                </a:cubicBezTo>
                <a:cubicBezTo>
                  <a:pt x="313" y="183"/>
                  <a:pt x="309" y="189"/>
                  <a:pt x="303" y="191"/>
                </a:cubicBezTo>
                <a:cubicBezTo>
                  <a:pt x="303" y="192"/>
                  <a:pt x="302" y="192"/>
                  <a:pt x="302" y="192"/>
                </a:cubicBezTo>
                <a:cubicBezTo>
                  <a:pt x="203" y="192"/>
                  <a:pt x="203" y="192"/>
                  <a:pt x="203" y="192"/>
                </a:cubicBezTo>
                <a:cubicBezTo>
                  <a:pt x="198" y="188"/>
                  <a:pt x="194" y="182"/>
                  <a:pt x="194" y="17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394"/>
                </a:moveTo>
                <a:cubicBezTo>
                  <a:pt x="352" y="388"/>
                  <a:pt x="347" y="384"/>
                  <a:pt x="341" y="384"/>
                </a:cubicBezTo>
                <a:cubicBezTo>
                  <a:pt x="340" y="384"/>
                  <a:pt x="340" y="384"/>
                  <a:pt x="340" y="384"/>
                </a:cubicBezTo>
                <a:cubicBezTo>
                  <a:pt x="330" y="295"/>
                  <a:pt x="330" y="295"/>
                  <a:pt x="330" y="295"/>
                </a:cubicBezTo>
                <a:cubicBezTo>
                  <a:pt x="333" y="293"/>
                  <a:pt x="336" y="290"/>
                  <a:pt x="336" y="286"/>
                </a:cubicBezTo>
                <a:cubicBezTo>
                  <a:pt x="336" y="281"/>
                  <a:pt x="332" y="277"/>
                  <a:pt x="328" y="276"/>
                </a:cubicBezTo>
                <a:cubicBezTo>
                  <a:pt x="320" y="206"/>
                  <a:pt x="320" y="206"/>
                  <a:pt x="320" y="206"/>
                </a:cubicBezTo>
                <a:cubicBezTo>
                  <a:pt x="329" y="199"/>
                  <a:pt x="334" y="188"/>
                  <a:pt x="334" y="177"/>
                </a:cubicBezTo>
                <a:cubicBezTo>
                  <a:pt x="334" y="156"/>
                  <a:pt x="317" y="139"/>
                  <a:pt x="297" y="139"/>
                </a:cubicBezTo>
                <a:cubicBezTo>
                  <a:pt x="291" y="121"/>
                  <a:pt x="274" y="108"/>
                  <a:pt x="254" y="108"/>
                </a:cubicBezTo>
                <a:cubicBezTo>
                  <a:pt x="236" y="108"/>
                  <a:pt x="220" y="119"/>
                  <a:pt x="213" y="135"/>
                </a:cubicBezTo>
                <a:cubicBezTo>
                  <a:pt x="191" y="135"/>
                  <a:pt x="173" y="153"/>
                  <a:pt x="173" y="176"/>
                </a:cubicBezTo>
                <a:cubicBezTo>
                  <a:pt x="173" y="189"/>
                  <a:pt x="180" y="202"/>
                  <a:pt x="191" y="209"/>
                </a:cubicBezTo>
                <a:cubicBezTo>
                  <a:pt x="189" y="226"/>
                  <a:pt x="189" y="226"/>
                  <a:pt x="189" y="226"/>
                </a:cubicBezTo>
                <a:cubicBezTo>
                  <a:pt x="179" y="220"/>
                  <a:pt x="166" y="214"/>
                  <a:pt x="153" y="218"/>
                </a:cubicBezTo>
                <a:cubicBezTo>
                  <a:pt x="140" y="222"/>
                  <a:pt x="132" y="234"/>
                  <a:pt x="129" y="254"/>
                </a:cubicBezTo>
                <a:cubicBezTo>
                  <a:pt x="121" y="297"/>
                  <a:pt x="115" y="334"/>
                  <a:pt x="135" y="351"/>
                </a:cubicBezTo>
                <a:cubicBezTo>
                  <a:pt x="141" y="356"/>
                  <a:pt x="149" y="358"/>
                  <a:pt x="159" y="358"/>
                </a:cubicBezTo>
                <a:cubicBezTo>
                  <a:pt x="163" y="358"/>
                  <a:pt x="169" y="358"/>
                  <a:pt x="175" y="356"/>
                </a:cubicBezTo>
                <a:cubicBezTo>
                  <a:pt x="171" y="384"/>
                  <a:pt x="171" y="384"/>
                  <a:pt x="171" y="384"/>
                </a:cubicBezTo>
                <a:cubicBezTo>
                  <a:pt x="170" y="384"/>
                  <a:pt x="170" y="384"/>
                  <a:pt x="170" y="384"/>
                </a:cubicBezTo>
                <a:cubicBezTo>
                  <a:pt x="164" y="384"/>
                  <a:pt x="160" y="388"/>
                  <a:pt x="160" y="394"/>
                </a:cubicBezTo>
                <a:cubicBezTo>
                  <a:pt x="160" y="400"/>
                  <a:pt x="164" y="405"/>
                  <a:pt x="170" y="405"/>
                </a:cubicBezTo>
                <a:cubicBezTo>
                  <a:pt x="181" y="405"/>
                  <a:pt x="181" y="405"/>
                  <a:pt x="181" y="405"/>
                </a:cubicBezTo>
                <a:cubicBezTo>
                  <a:pt x="330" y="405"/>
                  <a:pt x="330" y="405"/>
                  <a:pt x="330" y="405"/>
                </a:cubicBezTo>
                <a:cubicBezTo>
                  <a:pt x="341" y="405"/>
                  <a:pt x="341" y="405"/>
                  <a:pt x="341" y="405"/>
                </a:cubicBezTo>
                <a:cubicBezTo>
                  <a:pt x="347" y="405"/>
                  <a:pt x="352" y="400"/>
                  <a:pt x="352" y="394"/>
                </a:cubicBezTo>
                <a:close/>
                <a:moveTo>
                  <a:pt x="212" y="213"/>
                </a:moveTo>
                <a:cubicBezTo>
                  <a:pt x="205" y="277"/>
                  <a:pt x="205" y="277"/>
                  <a:pt x="205" y="277"/>
                </a:cubicBezTo>
                <a:cubicBezTo>
                  <a:pt x="306" y="277"/>
                  <a:pt x="306" y="277"/>
                  <a:pt x="306" y="277"/>
                </a:cubicBezTo>
                <a:cubicBezTo>
                  <a:pt x="299" y="213"/>
                  <a:pt x="299" y="213"/>
                  <a:pt x="299" y="213"/>
                </a:cubicBezTo>
                <a:lnTo>
                  <a:pt x="212" y="213"/>
                </a:lnTo>
                <a:close/>
                <a:moveTo>
                  <a:pt x="159" y="238"/>
                </a:moveTo>
                <a:cubicBezTo>
                  <a:pt x="155" y="240"/>
                  <a:pt x="152" y="247"/>
                  <a:pt x="150" y="257"/>
                </a:cubicBezTo>
                <a:cubicBezTo>
                  <a:pt x="144" y="289"/>
                  <a:pt x="138" y="325"/>
                  <a:pt x="149" y="334"/>
                </a:cubicBezTo>
                <a:cubicBezTo>
                  <a:pt x="153" y="338"/>
                  <a:pt x="163" y="338"/>
                  <a:pt x="177" y="333"/>
                </a:cubicBezTo>
                <a:cubicBezTo>
                  <a:pt x="181" y="295"/>
                  <a:pt x="181" y="295"/>
                  <a:pt x="181" y="295"/>
                </a:cubicBezTo>
                <a:cubicBezTo>
                  <a:pt x="178" y="293"/>
                  <a:pt x="176" y="290"/>
                  <a:pt x="176" y="286"/>
                </a:cubicBezTo>
                <a:cubicBezTo>
                  <a:pt x="176" y="281"/>
                  <a:pt x="179" y="277"/>
                  <a:pt x="183" y="276"/>
                </a:cubicBezTo>
                <a:cubicBezTo>
                  <a:pt x="186" y="250"/>
                  <a:pt x="186" y="250"/>
                  <a:pt x="186" y="250"/>
                </a:cubicBezTo>
                <a:cubicBezTo>
                  <a:pt x="178" y="244"/>
                  <a:pt x="166" y="236"/>
                  <a:pt x="159" y="238"/>
                </a:cubicBezTo>
                <a:close/>
                <a:moveTo>
                  <a:pt x="203" y="298"/>
                </a:moveTo>
                <a:cubicBezTo>
                  <a:pt x="193" y="384"/>
                  <a:pt x="193" y="384"/>
                  <a:pt x="193" y="384"/>
                </a:cubicBezTo>
                <a:cubicBezTo>
                  <a:pt x="318" y="384"/>
                  <a:pt x="318" y="384"/>
                  <a:pt x="318" y="384"/>
                </a:cubicBezTo>
                <a:cubicBezTo>
                  <a:pt x="309" y="298"/>
                  <a:pt x="309" y="298"/>
                  <a:pt x="309" y="298"/>
                </a:cubicBezTo>
                <a:lnTo>
                  <a:pt x="203" y="29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4" name="Group 483">
            <a:extLst>
              <a:ext uri="{FF2B5EF4-FFF2-40B4-BE49-F238E27FC236}">
                <a16:creationId xmlns:a16="http://schemas.microsoft.com/office/drawing/2014/main" id="{6DF49299-1DB8-4EEC-ADC2-43115DF80C36}"/>
              </a:ext>
            </a:extLst>
          </p:cNvPr>
          <p:cNvGrpSpPr>
            <a:grpSpLocks noChangeAspect="1"/>
          </p:cNvGrpSpPr>
          <p:nvPr/>
        </p:nvGrpSpPr>
        <p:grpSpPr bwMode="auto">
          <a:xfrm>
            <a:off x="11354798" y="1697372"/>
            <a:ext cx="367982" cy="367982"/>
            <a:chOff x="1214" y="2335"/>
            <a:chExt cx="340" cy="340"/>
          </a:xfrm>
          <a:solidFill>
            <a:schemeClr val="accent6"/>
          </a:solidFill>
        </p:grpSpPr>
        <p:sp>
          <p:nvSpPr>
            <p:cNvPr id="225" name="Freeform 484">
              <a:extLst>
                <a:ext uri="{FF2B5EF4-FFF2-40B4-BE49-F238E27FC236}">
                  <a16:creationId xmlns:a16="http://schemas.microsoft.com/office/drawing/2014/main" id="{CC056B6E-FFCE-4B9D-835D-3C52EE687148}"/>
                </a:ext>
              </a:extLst>
            </p:cNvPr>
            <p:cNvSpPr>
              <a:spLocks noEditPoints="1"/>
            </p:cNvSpPr>
            <p:nvPr/>
          </p:nvSpPr>
          <p:spPr bwMode="auto">
            <a:xfrm>
              <a:off x="1214" y="23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6" name="Freeform 485">
              <a:extLst>
                <a:ext uri="{FF2B5EF4-FFF2-40B4-BE49-F238E27FC236}">
                  <a16:creationId xmlns:a16="http://schemas.microsoft.com/office/drawing/2014/main" id="{58B1DFC8-BABE-4F8A-9C95-247F9B7A145D}"/>
                </a:ext>
              </a:extLst>
            </p:cNvPr>
            <p:cNvSpPr>
              <a:spLocks noEditPoints="1"/>
            </p:cNvSpPr>
            <p:nvPr/>
          </p:nvSpPr>
          <p:spPr bwMode="auto">
            <a:xfrm>
              <a:off x="1290" y="2407"/>
              <a:ext cx="158" cy="197"/>
            </a:xfrm>
            <a:custGeom>
              <a:avLst/>
              <a:gdLst>
                <a:gd name="T0" fmla="*/ 226 w 237"/>
                <a:gd name="T1" fmla="*/ 276 h 297"/>
                <a:gd name="T2" fmla="*/ 225 w 237"/>
                <a:gd name="T3" fmla="*/ 276 h 297"/>
                <a:gd name="T4" fmla="*/ 215 w 237"/>
                <a:gd name="T5" fmla="*/ 187 h 297"/>
                <a:gd name="T6" fmla="*/ 221 w 237"/>
                <a:gd name="T7" fmla="*/ 178 h 297"/>
                <a:gd name="T8" fmla="*/ 213 w 237"/>
                <a:gd name="T9" fmla="*/ 168 h 297"/>
                <a:gd name="T10" fmla="*/ 205 w 237"/>
                <a:gd name="T11" fmla="*/ 98 h 297"/>
                <a:gd name="T12" fmla="*/ 219 w 237"/>
                <a:gd name="T13" fmla="*/ 69 h 297"/>
                <a:gd name="T14" fmla="*/ 182 w 237"/>
                <a:gd name="T15" fmla="*/ 31 h 297"/>
                <a:gd name="T16" fmla="*/ 139 w 237"/>
                <a:gd name="T17" fmla="*/ 0 h 297"/>
                <a:gd name="T18" fmla="*/ 98 w 237"/>
                <a:gd name="T19" fmla="*/ 27 h 297"/>
                <a:gd name="T20" fmla="*/ 58 w 237"/>
                <a:gd name="T21" fmla="*/ 68 h 297"/>
                <a:gd name="T22" fmla="*/ 76 w 237"/>
                <a:gd name="T23" fmla="*/ 101 h 297"/>
                <a:gd name="T24" fmla="*/ 74 w 237"/>
                <a:gd name="T25" fmla="*/ 118 h 297"/>
                <a:gd name="T26" fmla="*/ 38 w 237"/>
                <a:gd name="T27" fmla="*/ 110 h 297"/>
                <a:gd name="T28" fmla="*/ 14 w 237"/>
                <a:gd name="T29" fmla="*/ 146 h 297"/>
                <a:gd name="T30" fmla="*/ 20 w 237"/>
                <a:gd name="T31" fmla="*/ 243 h 297"/>
                <a:gd name="T32" fmla="*/ 44 w 237"/>
                <a:gd name="T33" fmla="*/ 250 h 297"/>
                <a:gd name="T34" fmla="*/ 60 w 237"/>
                <a:gd name="T35" fmla="*/ 248 h 297"/>
                <a:gd name="T36" fmla="*/ 56 w 237"/>
                <a:gd name="T37" fmla="*/ 276 h 297"/>
                <a:gd name="T38" fmla="*/ 55 w 237"/>
                <a:gd name="T39" fmla="*/ 276 h 297"/>
                <a:gd name="T40" fmla="*/ 45 w 237"/>
                <a:gd name="T41" fmla="*/ 286 h 297"/>
                <a:gd name="T42" fmla="*/ 55 w 237"/>
                <a:gd name="T43" fmla="*/ 297 h 297"/>
                <a:gd name="T44" fmla="*/ 66 w 237"/>
                <a:gd name="T45" fmla="*/ 297 h 297"/>
                <a:gd name="T46" fmla="*/ 215 w 237"/>
                <a:gd name="T47" fmla="*/ 297 h 297"/>
                <a:gd name="T48" fmla="*/ 226 w 237"/>
                <a:gd name="T49" fmla="*/ 297 h 297"/>
                <a:gd name="T50" fmla="*/ 237 w 237"/>
                <a:gd name="T51" fmla="*/ 286 h 297"/>
                <a:gd name="T52" fmla="*/ 226 w 237"/>
                <a:gd name="T53" fmla="*/ 276 h 297"/>
                <a:gd name="T54" fmla="*/ 97 w 237"/>
                <a:gd name="T55" fmla="*/ 105 h 297"/>
                <a:gd name="T56" fmla="*/ 184 w 237"/>
                <a:gd name="T57" fmla="*/ 105 h 297"/>
                <a:gd name="T58" fmla="*/ 191 w 237"/>
                <a:gd name="T59" fmla="*/ 169 h 297"/>
                <a:gd name="T60" fmla="*/ 90 w 237"/>
                <a:gd name="T61" fmla="*/ 169 h 297"/>
                <a:gd name="T62" fmla="*/ 97 w 237"/>
                <a:gd name="T63" fmla="*/ 105 h 297"/>
                <a:gd name="T64" fmla="*/ 99 w 237"/>
                <a:gd name="T65" fmla="*/ 48 h 297"/>
                <a:gd name="T66" fmla="*/ 103 w 237"/>
                <a:gd name="T67" fmla="*/ 49 h 297"/>
                <a:gd name="T68" fmla="*/ 112 w 237"/>
                <a:gd name="T69" fmla="*/ 47 h 297"/>
                <a:gd name="T70" fmla="*/ 116 w 237"/>
                <a:gd name="T71" fmla="*/ 40 h 297"/>
                <a:gd name="T72" fmla="*/ 139 w 237"/>
                <a:gd name="T73" fmla="*/ 21 h 297"/>
                <a:gd name="T74" fmla="*/ 162 w 237"/>
                <a:gd name="T75" fmla="*/ 43 h 297"/>
                <a:gd name="T76" fmla="*/ 167 w 237"/>
                <a:gd name="T77" fmla="*/ 52 h 297"/>
                <a:gd name="T78" fmla="*/ 176 w 237"/>
                <a:gd name="T79" fmla="*/ 53 h 297"/>
                <a:gd name="T80" fmla="*/ 181 w 237"/>
                <a:gd name="T81" fmla="*/ 52 h 297"/>
                <a:gd name="T82" fmla="*/ 198 w 237"/>
                <a:gd name="T83" fmla="*/ 69 h 297"/>
                <a:gd name="T84" fmla="*/ 188 w 237"/>
                <a:gd name="T85" fmla="*/ 83 h 297"/>
                <a:gd name="T86" fmla="*/ 187 w 237"/>
                <a:gd name="T87" fmla="*/ 84 h 297"/>
                <a:gd name="T88" fmla="*/ 88 w 237"/>
                <a:gd name="T89" fmla="*/ 84 h 297"/>
                <a:gd name="T90" fmla="*/ 79 w 237"/>
                <a:gd name="T91" fmla="*/ 68 h 297"/>
                <a:gd name="T92" fmla="*/ 99 w 237"/>
                <a:gd name="T93" fmla="*/ 48 h 297"/>
                <a:gd name="T94" fmla="*/ 34 w 237"/>
                <a:gd name="T95" fmla="*/ 226 h 297"/>
                <a:gd name="T96" fmla="*/ 35 w 237"/>
                <a:gd name="T97" fmla="*/ 149 h 297"/>
                <a:gd name="T98" fmla="*/ 44 w 237"/>
                <a:gd name="T99" fmla="*/ 130 h 297"/>
                <a:gd name="T100" fmla="*/ 71 w 237"/>
                <a:gd name="T101" fmla="*/ 142 h 297"/>
                <a:gd name="T102" fmla="*/ 68 w 237"/>
                <a:gd name="T103" fmla="*/ 168 h 297"/>
                <a:gd name="T104" fmla="*/ 61 w 237"/>
                <a:gd name="T105" fmla="*/ 178 h 297"/>
                <a:gd name="T106" fmla="*/ 66 w 237"/>
                <a:gd name="T107" fmla="*/ 187 h 297"/>
                <a:gd name="T108" fmla="*/ 62 w 237"/>
                <a:gd name="T109" fmla="*/ 225 h 297"/>
                <a:gd name="T110" fmla="*/ 34 w 237"/>
                <a:gd name="T111" fmla="*/ 226 h 297"/>
                <a:gd name="T112" fmla="*/ 78 w 237"/>
                <a:gd name="T113" fmla="*/ 276 h 297"/>
                <a:gd name="T114" fmla="*/ 88 w 237"/>
                <a:gd name="T115" fmla="*/ 190 h 297"/>
                <a:gd name="T116" fmla="*/ 194 w 237"/>
                <a:gd name="T117" fmla="*/ 190 h 297"/>
                <a:gd name="T118" fmla="*/ 203 w 237"/>
                <a:gd name="T119" fmla="*/ 276 h 297"/>
                <a:gd name="T120" fmla="*/ 78 w 237"/>
                <a:gd name="T121" fmla="*/ 276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7" h="297">
                  <a:moveTo>
                    <a:pt x="226" y="276"/>
                  </a:moveTo>
                  <a:cubicBezTo>
                    <a:pt x="225" y="276"/>
                    <a:pt x="225" y="276"/>
                    <a:pt x="225" y="276"/>
                  </a:cubicBezTo>
                  <a:cubicBezTo>
                    <a:pt x="215" y="187"/>
                    <a:pt x="215" y="187"/>
                    <a:pt x="215" y="187"/>
                  </a:cubicBezTo>
                  <a:cubicBezTo>
                    <a:pt x="218" y="185"/>
                    <a:pt x="221" y="182"/>
                    <a:pt x="221" y="178"/>
                  </a:cubicBezTo>
                  <a:cubicBezTo>
                    <a:pt x="221" y="173"/>
                    <a:pt x="217" y="169"/>
                    <a:pt x="213" y="168"/>
                  </a:cubicBezTo>
                  <a:cubicBezTo>
                    <a:pt x="205" y="98"/>
                    <a:pt x="205" y="98"/>
                    <a:pt x="205" y="98"/>
                  </a:cubicBezTo>
                  <a:cubicBezTo>
                    <a:pt x="214" y="91"/>
                    <a:pt x="219" y="80"/>
                    <a:pt x="219" y="69"/>
                  </a:cubicBezTo>
                  <a:cubicBezTo>
                    <a:pt x="219" y="48"/>
                    <a:pt x="202" y="31"/>
                    <a:pt x="182" y="31"/>
                  </a:cubicBezTo>
                  <a:cubicBezTo>
                    <a:pt x="176" y="13"/>
                    <a:pt x="159" y="0"/>
                    <a:pt x="139" y="0"/>
                  </a:cubicBezTo>
                  <a:cubicBezTo>
                    <a:pt x="121" y="0"/>
                    <a:pt x="105" y="11"/>
                    <a:pt x="98" y="27"/>
                  </a:cubicBezTo>
                  <a:cubicBezTo>
                    <a:pt x="76" y="27"/>
                    <a:pt x="58" y="45"/>
                    <a:pt x="58" y="68"/>
                  </a:cubicBezTo>
                  <a:cubicBezTo>
                    <a:pt x="58" y="81"/>
                    <a:pt x="65" y="94"/>
                    <a:pt x="76" y="101"/>
                  </a:cubicBezTo>
                  <a:cubicBezTo>
                    <a:pt x="74" y="118"/>
                    <a:pt x="74" y="118"/>
                    <a:pt x="74" y="118"/>
                  </a:cubicBezTo>
                  <a:cubicBezTo>
                    <a:pt x="64" y="112"/>
                    <a:pt x="51" y="106"/>
                    <a:pt x="38" y="110"/>
                  </a:cubicBezTo>
                  <a:cubicBezTo>
                    <a:pt x="25" y="114"/>
                    <a:pt x="17" y="126"/>
                    <a:pt x="14" y="146"/>
                  </a:cubicBezTo>
                  <a:cubicBezTo>
                    <a:pt x="6" y="189"/>
                    <a:pt x="0" y="226"/>
                    <a:pt x="20" y="243"/>
                  </a:cubicBezTo>
                  <a:cubicBezTo>
                    <a:pt x="26" y="248"/>
                    <a:pt x="34" y="250"/>
                    <a:pt x="44" y="250"/>
                  </a:cubicBezTo>
                  <a:cubicBezTo>
                    <a:pt x="48" y="250"/>
                    <a:pt x="54" y="250"/>
                    <a:pt x="60" y="248"/>
                  </a:cubicBezTo>
                  <a:cubicBezTo>
                    <a:pt x="56" y="276"/>
                    <a:pt x="56" y="276"/>
                    <a:pt x="56" y="276"/>
                  </a:cubicBezTo>
                  <a:cubicBezTo>
                    <a:pt x="55" y="276"/>
                    <a:pt x="55" y="276"/>
                    <a:pt x="55" y="276"/>
                  </a:cubicBezTo>
                  <a:cubicBezTo>
                    <a:pt x="49" y="276"/>
                    <a:pt x="45" y="280"/>
                    <a:pt x="45" y="286"/>
                  </a:cubicBezTo>
                  <a:cubicBezTo>
                    <a:pt x="45" y="292"/>
                    <a:pt x="49" y="297"/>
                    <a:pt x="55" y="297"/>
                  </a:cubicBezTo>
                  <a:cubicBezTo>
                    <a:pt x="66" y="297"/>
                    <a:pt x="66" y="297"/>
                    <a:pt x="66" y="297"/>
                  </a:cubicBezTo>
                  <a:cubicBezTo>
                    <a:pt x="215" y="297"/>
                    <a:pt x="215" y="297"/>
                    <a:pt x="215" y="297"/>
                  </a:cubicBezTo>
                  <a:cubicBezTo>
                    <a:pt x="226" y="297"/>
                    <a:pt x="226" y="297"/>
                    <a:pt x="226" y="297"/>
                  </a:cubicBezTo>
                  <a:cubicBezTo>
                    <a:pt x="232" y="297"/>
                    <a:pt x="237" y="292"/>
                    <a:pt x="237" y="286"/>
                  </a:cubicBezTo>
                  <a:cubicBezTo>
                    <a:pt x="237" y="280"/>
                    <a:pt x="232" y="276"/>
                    <a:pt x="226" y="276"/>
                  </a:cubicBezTo>
                  <a:close/>
                  <a:moveTo>
                    <a:pt x="97" y="105"/>
                  </a:moveTo>
                  <a:cubicBezTo>
                    <a:pt x="184" y="105"/>
                    <a:pt x="184" y="105"/>
                    <a:pt x="184" y="105"/>
                  </a:cubicBezTo>
                  <a:cubicBezTo>
                    <a:pt x="191" y="169"/>
                    <a:pt x="191" y="169"/>
                    <a:pt x="191" y="169"/>
                  </a:cubicBezTo>
                  <a:cubicBezTo>
                    <a:pt x="90" y="169"/>
                    <a:pt x="90" y="169"/>
                    <a:pt x="90" y="169"/>
                  </a:cubicBezTo>
                  <a:lnTo>
                    <a:pt x="97" y="105"/>
                  </a:lnTo>
                  <a:close/>
                  <a:moveTo>
                    <a:pt x="99" y="48"/>
                  </a:moveTo>
                  <a:cubicBezTo>
                    <a:pt x="100" y="48"/>
                    <a:pt x="102" y="48"/>
                    <a:pt x="103" y="49"/>
                  </a:cubicBezTo>
                  <a:cubicBezTo>
                    <a:pt x="106" y="49"/>
                    <a:pt x="109" y="49"/>
                    <a:pt x="112" y="47"/>
                  </a:cubicBezTo>
                  <a:cubicBezTo>
                    <a:pt x="114" y="46"/>
                    <a:pt x="116" y="43"/>
                    <a:pt x="116" y="40"/>
                  </a:cubicBezTo>
                  <a:cubicBezTo>
                    <a:pt x="118" y="29"/>
                    <a:pt x="128" y="21"/>
                    <a:pt x="139" y="21"/>
                  </a:cubicBezTo>
                  <a:cubicBezTo>
                    <a:pt x="152" y="21"/>
                    <a:pt x="162" y="31"/>
                    <a:pt x="162" y="43"/>
                  </a:cubicBezTo>
                  <a:cubicBezTo>
                    <a:pt x="162" y="47"/>
                    <a:pt x="164" y="50"/>
                    <a:pt x="167" y="52"/>
                  </a:cubicBezTo>
                  <a:cubicBezTo>
                    <a:pt x="170" y="54"/>
                    <a:pt x="173" y="54"/>
                    <a:pt x="176" y="53"/>
                  </a:cubicBezTo>
                  <a:cubicBezTo>
                    <a:pt x="178" y="53"/>
                    <a:pt x="180" y="52"/>
                    <a:pt x="181" y="52"/>
                  </a:cubicBezTo>
                  <a:cubicBezTo>
                    <a:pt x="190" y="52"/>
                    <a:pt x="198" y="60"/>
                    <a:pt x="198" y="69"/>
                  </a:cubicBezTo>
                  <a:cubicBezTo>
                    <a:pt x="198" y="75"/>
                    <a:pt x="194" y="81"/>
                    <a:pt x="188" y="83"/>
                  </a:cubicBezTo>
                  <a:cubicBezTo>
                    <a:pt x="188" y="84"/>
                    <a:pt x="187" y="84"/>
                    <a:pt x="187" y="84"/>
                  </a:cubicBezTo>
                  <a:cubicBezTo>
                    <a:pt x="88" y="84"/>
                    <a:pt x="88" y="84"/>
                    <a:pt x="88" y="84"/>
                  </a:cubicBezTo>
                  <a:cubicBezTo>
                    <a:pt x="83" y="80"/>
                    <a:pt x="79" y="74"/>
                    <a:pt x="79" y="68"/>
                  </a:cubicBezTo>
                  <a:cubicBezTo>
                    <a:pt x="79" y="57"/>
                    <a:pt x="88" y="48"/>
                    <a:pt x="99" y="48"/>
                  </a:cubicBezTo>
                  <a:close/>
                  <a:moveTo>
                    <a:pt x="34" y="226"/>
                  </a:moveTo>
                  <a:cubicBezTo>
                    <a:pt x="23" y="217"/>
                    <a:pt x="29" y="181"/>
                    <a:pt x="35" y="149"/>
                  </a:cubicBezTo>
                  <a:cubicBezTo>
                    <a:pt x="37" y="139"/>
                    <a:pt x="40" y="132"/>
                    <a:pt x="44" y="130"/>
                  </a:cubicBezTo>
                  <a:cubicBezTo>
                    <a:pt x="51" y="128"/>
                    <a:pt x="63" y="136"/>
                    <a:pt x="71" y="142"/>
                  </a:cubicBezTo>
                  <a:cubicBezTo>
                    <a:pt x="68" y="168"/>
                    <a:pt x="68" y="168"/>
                    <a:pt x="68" y="168"/>
                  </a:cubicBezTo>
                  <a:cubicBezTo>
                    <a:pt x="64" y="169"/>
                    <a:pt x="61" y="173"/>
                    <a:pt x="61" y="178"/>
                  </a:cubicBezTo>
                  <a:cubicBezTo>
                    <a:pt x="61" y="182"/>
                    <a:pt x="63" y="185"/>
                    <a:pt x="66" y="187"/>
                  </a:cubicBezTo>
                  <a:cubicBezTo>
                    <a:pt x="62" y="225"/>
                    <a:pt x="62" y="225"/>
                    <a:pt x="62" y="225"/>
                  </a:cubicBezTo>
                  <a:cubicBezTo>
                    <a:pt x="48" y="230"/>
                    <a:pt x="38" y="230"/>
                    <a:pt x="34" y="226"/>
                  </a:cubicBezTo>
                  <a:close/>
                  <a:moveTo>
                    <a:pt x="78" y="276"/>
                  </a:moveTo>
                  <a:cubicBezTo>
                    <a:pt x="88" y="190"/>
                    <a:pt x="88" y="190"/>
                    <a:pt x="88" y="190"/>
                  </a:cubicBezTo>
                  <a:cubicBezTo>
                    <a:pt x="194" y="190"/>
                    <a:pt x="194" y="190"/>
                    <a:pt x="194" y="190"/>
                  </a:cubicBezTo>
                  <a:cubicBezTo>
                    <a:pt x="203" y="276"/>
                    <a:pt x="203" y="276"/>
                    <a:pt x="203" y="276"/>
                  </a:cubicBezTo>
                  <a:lnTo>
                    <a:pt x="78" y="2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7" name="Freeform 890">
            <a:extLst>
              <a:ext uri="{FF2B5EF4-FFF2-40B4-BE49-F238E27FC236}">
                <a16:creationId xmlns:a16="http://schemas.microsoft.com/office/drawing/2014/main" id="{1D9EE591-CF1E-4A9E-890C-49E164E77C83}"/>
              </a:ext>
            </a:extLst>
          </p:cNvPr>
          <p:cNvSpPr>
            <a:spLocks noChangeAspect="1" noEditPoints="1"/>
          </p:cNvSpPr>
          <p:nvPr/>
        </p:nvSpPr>
        <p:spPr bwMode="auto">
          <a:xfrm>
            <a:off x="1372307" y="2524483"/>
            <a:ext cx="367982" cy="367982"/>
          </a:xfrm>
          <a:custGeom>
            <a:avLst/>
            <a:gdLst>
              <a:gd name="T0" fmla="*/ 283 w 512"/>
              <a:gd name="T1" fmla="*/ 240 h 512"/>
              <a:gd name="T2" fmla="*/ 298 w 512"/>
              <a:gd name="T3" fmla="*/ 288 h 512"/>
              <a:gd name="T4" fmla="*/ 245 w 512"/>
              <a:gd name="T5" fmla="*/ 288 h 512"/>
              <a:gd name="T6" fmla="*/ 234 w 512"/>
              <a:gd name="T7" fmla="*/ 298 h 512"/>
              <a:gd name="T8" fmla="*/ 234 w 512"/>
              <a:gd name="T9" fmla="*/ 362 h 512"/>
              <a:gd name="T10" fmla="*/ 245 w 512"/>
              <a:gd name="T11" fmla="*/ 373 h 512"/>
              <a:gd name="T12" fmla="*/ 298 w 512"/>
              <a:gd name="T13" fmla="*/ 373 h 512"/>
              <a:gd name="T14" fmla="*/ 298 w 512"/>
              <a:gd name="T15" fmla="*/ 387 h 512"/>
              <a:gd name="T16" fmla="*/ 256 w 512"/>
              <a:gd name="T17" fmla="*/ 394 h 512"/>
              <a:gd name="T18" fmla="*/ 213 w 512"/>
              <a:gd name="T19" fmla="*/ 387 h 512"/>
              <a:gd name="T20" fmla="*/ 213 w 512"/>
              <a:gd name="T21" fmla="*/ 288 h 512"/>
              <a:gd name="T22" fmla="*/ 228 w 512"/>
              <a:gd name="T23" fmla="*/ 240 h 512"/>
              <a:gd name="T24" fmla="*/ 245 w 512"/>
              <a:gd name="T25" fmla="*/ 181 h 512"/>
              <a:gd name="T26" fmla="*/ 245 w 512"/>
              <a:gd name="T27" fmla="*/ 160 h 512"/>
              <a:gd name="T28" fmla="*/ 266 w 512"/>
              <a:gd name="T29" fmla="*/ 160 h 512"/>
              <a:gd name="T30" fmla="*/ 266 w 512"/>
              <a:gd name="T31" fmla="*/ 181 h 512"/>
              <a:gd name="T32" fmla="*/ 283 w 512"/>
              <a:gd name="T33" fmla="*/ 240 h 512"/>
              <a:gd name="T34" fmla="*/ 256 w 512"/>
              <a:gd name="T35" fmla="*/ 352 h 512"/>
              <a:gd name="T36" fmla="*/ 298 w 512"/>
              <a:gd name="T37" fmla="*/ 352 h 512"/>
              <a:gd name="T38" fmla="*/ 298 w 512"/>
              <a:gd name="T39" fmla="*/ 309 h 512"/>
              <a:gd name="T40" fmla="*/ 256 w 512"/>
              <a:gd name="T41" fmla="*/ 309 h 512"/>
              <a:gd name="T42" fmla="*/ 256 w 512"/>
              <a:gd name="T43" fmla="*/ 35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20 w 512"/>
              <a:gd name="T55" fmla="*/ 288 h 512"/>
              <a:gd name="T56" fmla="*/ 303 w 512"/>
              <a:gd name="T57" fmla="*/ 231 h 512"/>
              <a:gd name="T58" fmla="*/ 288 w 512"/>
              <a:gd name="T59" fmla="*/ 181 h 512"/>
              <a:gd name="T60" fmla="*/ 288 w 512"/>
              <a:gd name="T61" fmla="*/ 117 h 512"/>
              <a:gd name="T62" fmla="*/ 256 w 512"/>
              <a:gd name="T63" fmla="*/ 96 h 512"/>
              <a:gd name="T64" fmla="*/ 224 w 512"/>
              <a:gd name="T65" fmla="*/ 117 h 512"/>
              <a:gd name="T66" fmla="*/ 224 w 512"/>
              <a:gd name="T67" fmla="*/ 149 h 512"/>
              <a:gd name="T68" fmla="*/ 224 w 512"/>
              <a:gd name="T69" fmla="*/ 181 h 512"/>
              <a:gd name="T70" fmla="*/ 208 w 512"/>
              <a:gd name="T71" fmla="*/ 231 h 512"/>
              <a:gd name="T72" fmla="*/ 192 w 512"/>
              <a:gd name="T73" fmla="*/ 288 h 512"/>
              <a:gd name="T74" fmla="*/ 192 w 512"/>
              <a:gd name="T75" fmla="*/ 394 h 512"/>
              <a:gd name="T76" fmla="*/ 197 w 512"/>
              <a:gd name="T77" fmla="*/ 404 h 512"/>
              <a:gd name="T78" fmla="*/ 256 w 512"/>
              <a:gd name="T79" fmla="*/ 416 h 512"/>
              <a:gd name="T80" fmla="*/ 314 w 512"/>
              <a:gd name="T81" fmla="*/ 404 h 512"/>
              <a:gd name="T82" fmla="*/ 320 w 512"/>
              <a:gd name="T83" fmla="*/ 394 h 512"/>
              <a:gd name="T84" fmla="*/ 320 w 512"/>
              <a:gd name="T85" fmla="*/ 288 h 512"/>
              <a:gd name="T86" fmla="*/ 266 w 512"/>
              <a:gd name="T87" fmla="*/ 119 h 512"/>
              <a:gd name="T88" fmla="*/ 256 w 512"/>
              <a:gd name="T89" fmla="*/ 117 h 512"/>
              <a:gd name="T90" fmla="*/ 245 w 512"/>
              <a:gd name="T91" fmla="*/ 118 h 512"/>
              <a:gd name="T92" fmla="*/ 245 w 512"/>
              <a:gd name="T93" fmla="*/ 138 h 512"/>
              <a:gd name="T94" fmla="*/ 266 w 512"/>
              <a:gd name="T95" fmla="*/ 138 h 512"/>
              <a:gd name="T96" fmla="*/ 266 w 512"/>
              <a:gd name="T97" fmla="*/ 11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83" y="240"/>
                </a:moveTo>
                <a:cubicBezTo>
                  <a:pt x="291" y="257"/>
                  <a:pt x="298" y="274"/>
                  <a:pt x="298" y="288"/>
                </a:cubicBezTo>
                <a:cubicBezTo>
                  <a:pt x="245" y="288"/>
                  <a:pt x="245" y="288"/>
                  <a:pt x="245" y="288"/>
                </a:cubicBezTo>
                <a:cubicBezTo>
                  <a:pt x="239" y="288"/>
                  <a:pt x="234" y="292"/>
                  <a:pt x="234" y="298"/>
                </a:cubicBezTo>
                <a:cubicBezTo>
                  <a:pt x="234" y="362"/>
                  <a:pt x="234" y="362"/>
                  <a:pt x="234" y="362"/>
                </a:cubicBezTo>
                <a:cubicBezTo>
                  <a:pt x="234" y="368"/>
                  <a:pt x="239" y="373"/>
                  <a:pt x="245" y="373"/>
                </a:cubicBezTo>
                <a:cubicBezTo>
                  <a:pt x="298" y="373"/>
                  <a:pt x="298" y="373"/>
                  <a:pt x="298" y="373"/>
                </a:cubicBezTo>
                <a:cubicBezTo>
                  <a:pt x="298" y="387"/>
                  <a:pt x="298" y="387"/>
                  <a:pt x="298" y="387"/>
                </a:cubicBezTo>
                <a:cubicBezTo>
                  <a:pt x="291" y="390"/>
                  <a:pt x="277" y="394"/>
                  <a:pt x="256" y="394"/>
                </a:cubicBezTo>
                <a:cubicBezTo>
                  <a:pt x="235" y="394"/>
                  <a:pt x="220" y="390"/>
                  <a:pt x="213" y="387"/>
                </a:cubicBezTo>
                <a:cubicBezTo>
                  <a:pt x="213" y="288"/>
                  <a:pt x="213" y="288"/>
                  <a:pt x="213" y="288"/>
                </a:cubicBezTo>
                <a:cubicBezTo>
                  <a:pt x="213" y="274"/>
                  <a:pt x="221" y="257"/>
                  <a:pt x="228" y="240"/>
                </a:cubicBezTo>
                <a:cubicBezTo>
                  <a:pt x="236" y="220"/>
                  <a:pt x="245" y="200"/>
                  <a:pt x="245" y="181"/>
                </a:cubicBezTo>
                <a:cubicBezTo>
                  <a:pt x="245" y="160"/>
                  <a:pt x="245" y="160"/>
                  <a:pt x="245" y="160"/>
                </a:cubicBezTo>
                <a:cubicBezTo>
                  <a:pt x="266" y="160"/>
                  <a:pt x="266" y="160"/>
                  <a:pt x="266" y="160"/>
                </a:cubicBezTo>
                <a:cubicBezTo>
                  <a:pt x="266" y="181"/>
                  <a:pt x="266" y="181"/>
                  <a:pt x="266" y="181"/>
                </a:cubicBezTo>
                <a:cubicBezTo>
                  <a:pt x="266" y="200"/>
                  <a:pt x="275" y="220"/>
                  <a:pt x="283" y="240"/>
                </a:cubicBezTo>
                <a:close/>
                <a:moveTo>
                  <a:pt x="256" y="352"/>
                </a:moveTo>
                <a:cubicBezTo>
                  <a:pt x="298" y="352"/>
                  <a:pt x="298" y="352"/>
                  <a:pt x="298" y="352"/>
                </a:cubicBezTo>
                <a:cubicBezTo>
                  <a:pt x="298" y="309"/>
                  <a:pt x="298" y="309"/>
                  <a:pt x="298" y="309"/>
                </a:cubicBezTo>
                <a:cubicBezTo>
                  <a:pt x="256" y="309"/>
                  <a:pt x="256" y="309"/>
                  <a:pt x="256" y="309"/>
                </a:cubicBezTo>
                <a:lnTo>
                  <a:pt x="256"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0" y="288"/>
                </a:moveTo>
                <a:cubicBezTo>
                  <a:pt x="320" y="270"/>
                  <a:pt x="311" y="250"/>
                  <a:pt x="303" y="231"/>
                </a:cubicBezTo>
                <a:cubicBezTo>
                  <a:pt x="295" y="214"/>
                  <a:pt x="288" y="195"/>
                  <a:pt x="288" y="181"/>
                </a:cubicBezTo>
                <a:cubicBezTo>
                  <a:pt x="288" y="117"/>
                  <a:pt x="288" y="117"/>
                  <a:pt x="288" y="117"/>
                </a:cubicBezTo>
                <a:cubicBezTo>
                  <a:pt x="288" y="107"/>
                  <a:pt x="279" y="96"/>
                  <a:pt x="256" y="96"/>
                </a:cubicBezTo>
                <a:cubicBezTo>
                  <a:pt x="228" y="96"/>
                  <a:pt x="224" y="109"/>
                  <a:pt x="224" y="117"/>
                </a:cubicBezTo>
                <a:cubicBezTo>
                  <a:pt x="224" y="149"/>
                  <a:pt x="224" y="149"/>
                  <a:pt x="224" y="149"/>
                </a:cubicBezTo>
                <a:cubicBezTo>
                  <a:pt x="224" y="181"/>
                  <a:pt x="224" y="181"/>
                  <a:pt x="224" y="181"/>
                </a:cubicBezTo>
                <a:cubicBezTo>
                  <a:pt x="224" y="195"/>
                  <a:pt x="216" y="214"/>
                  <a:pt x="208" y="231"/>
                </a:cubicBezTo>
                <a:cubicBezTo>
                  <a:pt x="200" y="250"/>
                  <a:pt x="192" y="270"/>
                  <a:pt x="192" y="288"/>
                </a:cubicBezTo>
                <a:cubicBezTo>
                  <a:pt x="192" y="394"/>
                  <a:pt x="192" y="394"/>
                  <a:pt x="192" y="394"/>
                </a:cubicBezTo>
                <a:cubicBezTo>
                  <a:pt x="192" y="398"/>
                  <a:pt x="194" y="402"/>
                  <a:pt x="197" y="404"/>
                </a:cubicBezTo>
                <a:cubicBezTo>
                  <a:pt x="198" y="404"/>
                  <a:pt x="219" y="416"/>
                  <a:pt x="256" y="416"/>
                </a:cubicBezTo>
                <a:cubicBezTo>
                  <a:pt x="293" y="416"/>
                  <a:pt x="313" y="404"/>
                  <a:pt x="314" y="404"/>
                </a:cubicBezTo>
                <a:cubicBezTo>
                  <a:pt x="318" y="402"/>
                  <a:pt x="320" y="398"/>
                  <a:pt x="320" y="394"/>
                </a:cubicBezTo>
                <a:lnTo>
                  <a:pt x="320" y="288"/>
                </a:lnTo>
                <a:close/>
                <a:moveTo>
                  <a:pt x="266" y="119"/>
                </a:moveTo>
                <a:cubicBezTo>
                  <a:pt x="265" y="118"/>
                  <a:pt x="261" y="117"/>
                  <a:pt x="256" y="117"/>
                </a:cubicBezTo>
                <a:cubicBezTo>
                  <a:pt x="249" y="117"/>
                  <a:pt x="246" y="118"/>
                  <a:pt x="245" y="118"/>
                </a:cubicBezTo>
                <a:cubicBezTo>
                  <a:pt x="245" y="138"/>
                  <a:pt x="245" y="138"/>
                  <a:pt x="245" y="138"/>
                </a:cubicBezTo>
                <a:cubicBezTo>
                  <a:pt x="266" y="138"/>
                  <a:pt x="266" y="138"/>
                  <a:pt x="266" y="138"/>
                </a:cubicBezTo>
                <a:lnTo>
                  <a:pt x="266" y="11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28" name="Group 893">
            <a:extLst>
              <a:ext uri="{FF2B5EF4-FFF2-40B4-BE49-F238E27FC236}">
                <a16:creationId xmlns:a16="http://schemas.microsoft.com/office/drawing/2014/main" id="{048C0FF6-B93F-45C4-B5F2-EA13510DE0D0}"/>
              </a:ext>
            </a:extLst>
          </p:cNvPr>
          <p:cNvGrpSpPr>
            <a:grpSpLocks noChangeAspect="1"/>
          </p:cNvGrpSpPr>
          <p:nvPr/>
        </p:nvGrpSpPr>
        <p:grpSpPr bwMode="auto">
          <a:xfrm>
            <a:off x="1805681" y="2524483"/>
            <a:ext cx="367982" cy="367982"/>
            <a:chOff x="4449" y="4136"/>
            <a:chExt cx="340" cy="340"/>
          </a:xfrm>
          <a:solidFill>
            <a:schemeClr val="accent4"/>
          </a:solidFill>
        </p:grpSpPr>
        <p:sp>
          <p:nvSpPr>
            <p:cNvPr id="229" name="Freeform 894">
              <a:extLst>
                <a:ext uri="{FF2B5EF4-FFF2-40B4-BE49-F238E27FC236}">
                  <a16:creationId xmlns:a16="http://schemas.microsoft.com/office/drawing/2014/main" id="{B4E85949-BCC2-4EC2-81C7-25CC18EA1298}"/>
                </a:ext>
              </a:extLst>
            </p:cNvPr>
            <p:cNvSpPr>
              <a:spLocks noEditPoints="1"/>
            </p:cNvSpPr>
            <p:nvPr/>
          </p:nvSpPr>
          <p:spPr bwMode="auto">
            <a:xfrm>
              <a:off x="4449" y="41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0" name="Freeform 895">
              <a:extLst>
                <a:ext uri="{FF2B5EF4-FFF2-40B4-BE49-F238E27FC236}">
                  <a16:creationId xmlns:a16="http://schemas.microsoft.com/office/drawing/2014/main" id="{CB419691-A41F-4F88-88A3-5AD191148C83}"/>
                </a:ext>
              </a:extLst>
            </p:cNvPr>
            <p:cNvSpPr>
              <a:spLocks noEditPoints="1"/>
            </p:cNvSpPr>
            <p:nvPr/>
          </p:nvSpPr>
          <p:spPr bwMode="auto">
            <a:xfrm>
              <a:off x="4576" y="4200"/>
              <a:ext cx="85" cy="212"/>
            </a:xfrm>
            <a:custGeom>
              <a:avLst/>
              <a:gdLst>
                <a:gd name="T0" fmla="*/ 111 w 128"/>
                <a:gd name="T1" fmla="*/ 135 h 320"/>
                <a:gd name="T2" fmla="*/ 96 w 128"/>
                <a:gd name="T3" fmla="*/ 85 h 320"/>
                <a:gd name="T4" fmla="*/ 96 w 128"/>
                <a:gd name="T5" fmla="*/ 21 h 320"/>
                <a:gd name="T6" fmla="*/ 64 w 128"/>
                <a:gd name="T7" fmla="*/ 0 h 320"/>
                <a:gd name="T8" fmla="*/ 32 w 128"/>
                <a:gd name="T9" fmla="*/ 21 h 320"/>
                <a:gd name="T10" fmla="*/ 32 w 128"/>
                <a:gd name="T11" fmla="*/ 53 h 320"/>
                <a:gd name="T12" fmla="*/ 32 w 128"/>
                <a:gd name="T13" fmla="*/ 85 h 320"/>
                <a:gd name="T14" fmla="*/ 16 w 128"/>
                <a:gd name="T15" fmla="*/ 135 h 320"/>
                <a:gd name="T16" fmla="*/ 0 w 128"/>
                <a:gd name="T17" fmla="*/ 192 h 320"/>
                <a:gd name="T18" fmla="*/ 0 w 128"/>
                <a:gd name="T19" fmla="*/ 298 h 320"/>
                <a:gd name="T20" fmla="*/ 5 w 128"/>
                <a:gd name="T21" fmla="*/ 308 h 320"/>
                <a:gd name="T22" fmla="*/ 64 w 128"/>
                <a:gd name="T23" fmla="*/ 320 h 320"/>
                <a:gd name="T24" fmla="*/ 122 w 128"/>
                <a:gd name="T25" fmla="*/ 308 h 320"/>
                <a:gd name="T26" fmla="*/ 128 w 128"/>
                <a:gd name="T27" fmla="*/ 298 h 320"/>
                <a:gd name="T28" fmla="*/ 128 w 128"/>
                <a:gd name="T29" fmla="*/ 192 h 320"/>
                <a:gd name="T30" fmla="*/ 111 w 128"/>
                <a:gd name="T31" fmla="*/ 135 h 320"/>
                <a:gd name="T32" fmla="*/ 106 w 128"/>
                <a:gd name="T33" fmla="*/ 256 h 320"/>
                <a:gd name="T34" fmla="*/ 64 w 128"/>
                <a:gd name="T35" fmla="*/ 256 h 320"/>
                <a:gd name="T36" fmla="*/ 64 w 128"/>
                <a:gd name="T37" fmla="*/ 213 h 320"/>
                <a:gd name="T38" fmla="*/ 106 w 128"/>
                <a:gd name="T39" fmla="*/ 213 h 320"/>
                <a:gd name="T40" fmla="*/ 106 w 128"/>
                <a:gd name="T41" fmla="*/ 256 h 320"/>
                <a:gd name="T42" fmla="*/ 64 w 128"/>
                <a:gd name="T43" fmla="*/ 21 h 320"/>
                <a:gd name="T44" fmla="*/ 74 w 128"/>
                <a:gd name="T45" fmla="*/ 23 h 320"/>
                <a:gd name="T46" fmla="*/ 74 w 128"/>
                <a:gd name="T47" fmla="*/ 42 h 320"/>
                <a:gd name="T48" fmla="*/ 53 w 128"/>
                <a:gd name="T49" fmla="*/ 42 h 320"/>
                <a:gd name="T50" fmla="*/ 53 w 128"/>
                <a:gd name="T51" fmla="*/ 22 h 320"/>
                <a:gd name="T52" fmla="*/ 64 w 128"/>
                <a:gd name="T53" fmla="*/ 21 h 320"/>
                <a:gd name="T54" fmla="*/ 64 w 128"/>
                <a:gd name="T55" fmla="*/ 298 h 320"/>
                <a:gd name="T56" fmla="*/ 21 w 128"/>
                <a:gd name="T57" fmla="*/ 291 h 320"/>
                <a:gd name="T58" fmla="*/ 21 w 128"/>
                <a:gd name="T59" fmla="*/ 192 h 320"/>
                <a:gd name="T60" fmla="*/ 36 w 128"/>
                <a:gd name="T61" fmla="*/ 144 h 320"/>
                <a:gd name="T62" fmla="*/ 53 w 128"/>
                <a:gd name="T63" fmla="*/ 85 h 320"/>
                <a:gd name="T64" fmla="*/ 53 w 128"/>
                <a:gd name="T65" fmla="*/ 64 h 320"/>
                <a:gd name="T66" fmla="*/ 74 w 128"/>
                <a:gd name="T67" fmla="*/ 64 h 320"/>
                <a:gd name="T68" fmla="*/ 74 w 128"/>
                <a:gd name="T69" fmla="*/ 85 h 320"/>
                <a:gd name="T70" fmla="*/ 91 w 128"/>
                <a:gd name="T71" fmla="*/ 144 h 320"/>
                <a:gd name="T72" fmla="*/ 106 w 128"/>
                <a:gd name="T73" fmla="*/ 192 h 320"/>
                <a:gd name="T74" fmla="*/ 53 w 128"/>
                <a:gd name="T75" fmla="*/ 192 h 320"/>
                <a:gd name="T76" fmla="*/ 42 w 128"/>
                <a:gd name="T77" fmla="*/ 202 h 320"/>
                <a:gd name="T78" fmla="*/ 42 w 128"/>
                <a:gd name="T79" fmla="*/ 266 h 320"/>
                <a:gd name="T80" fmla="*/ 53 w 128"/>
                <a:gd name="T81" fmla="*/ 277 h 320"/>
                <a:gd name="T82" fmla="*/ 106 w 128"/>
                <a:gd name="T83" fmla="*/ 277 h 320"/>
                <a:gd name="T84" fmla="*/ 106 w 128"/>
                <a:gd name="T85" fmla="*/ 291 h 320"/>
                <a:gd name="T86" fmla="*/ 64 w 128"/>
                <a:gd name="T8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320">
                  <a:moveTo>
                    <a:pt x="111" y="135"/>
                  </a:moveTo>
                  <a:cubicBezTo>
                    <a:pt x="103" y="118"/>
                    <a:pt x="96" y="99"/>
                    <a:pt x="96" y="85"/>
                  </a:cubicBezTo>
                  <a:cubicBezTo>
                    <a:pt x="96" y="21"/>
                    <a:pt x="96" y="21"/>
                    <a:pt x="96" y="21"/>
                  </a:cubicBezTo>
                  <a:cubicBezTo>
                    <a:pt x="96" y="11"/>
                    <a:pt x="87" y="0"/>
                    <a:pt x="64" y="0"/>
                  </a:cubicBezTo>
                  <a:cubicBezTo>
                    <a:pt x="36" y="0"/>
                    <a:pt x="32" y="13"/>
                    <a:pt x="32" y="21"/>
                  </a:cubicBezTo>
                  <a:cubicBezTo>
                    <a:pt x="32" y="53"/>
                    <a:pt x="32" y="53"/>
                    <a:pt x="32" y="53"/>
                  </a:cubicBezTo>
                  <a:cubicBezTo>
                    <a:pt x="32" y="85"/>
                    <a:pt x="32" y="85"/>
                    <a:pt x="32" y="85"/>
                  </a:cubicBezTo>
                  <a:cubicBezTo>
                    <a:pt x="32" y="99"/>
                    <a:pt x="24" y="118"/>
                    <a:pt x="16" y="135"/>
                  </a:cubicBezTo>
                  <a:cubicBezTo>
                    <a:pt x="8" y="154"/>
                    <a:pt x="0" y="174"/>
                    <a:pt x="0" y="192"/>
                  </a:cubicBezTo>
                  <a:cubicBezTo>
                    <a:pt x="0" y="298"/>
                    <a:pt x="0" y="298"/>
                    <a:pt x="0" y="298"/>
                  </a:cubicBezTo>
                  <a:cubicBezTo>
                    <a:pt x="0" y="302"/>
                    <a:pt x="2" y="306"/>
                    <a:pt x="5" y="308"/>
                  </a:cubicBezTo>
                  <a:cubicBezTo>
                    <a:pt x="6" y="308"/>
                    <a:pt x="27" y="320"/>
                    <a:pt x="64" y="320"/>
                  </a:cubicBezTo>
                  <a:cubicBezTo>
                    <a:pt x="101" y="320"/>
                    <a:pt x="121" y="308"/>
                    <a:pt x="122" y="308"/>
                  </a:cubicBezTo>
                  <a:cubicBezTo>
                    <a:pt x="126" y="306"/>
                    <a:pt x="128" y="302"/>
                    <a:pt x="128" y="298"/>
                  </a:cubicBezTo>
                  <a:cubicBezTo>
                    <a:pt x="128" y="192"/>
                    <a:pt x="128" y="192"/>
                    <a:pt x="128" y="192"/>
                  </a:cubicBezTo>
                  <a:cubicBezTo>
                    <a:pt x="128" y="174"/>
                    <a:pt x="119" y="154"/>
                    <a:pt x="111" y="135"/>
                  </a:cubicBezTo>
                  <a:close/>
                  <a:moveTo>
                    <a:pt x="106" y="256"/>
                  </a:moveTo>
                  <a:cubicBezTo>
                    <a:pt x="64" y="256"/>
                    <a:pt x="64" y="256"/>
                    <a:pt x="64" y="256"/>
                  </a:cubicBezTo>
                  <a:cubicBezTo>
                    <a:pt x="64" y="213"/>
                    <a:pt x="64" y="213"/>
                    <a:pt x="64" y="213"/>
                  </a:cubicBezTo>
                  <a:cubicBezTo>
                    <a:pt x="106" y="213"/>
                    <a:pt x="106" y="213"/>
                    <a:pt x="106" y="213"/>
                  </a:cubicBezTo>
                  <a:lnTo>
                    <a:pt x="106" y="256"/>
                  </a:lnTo>
                  <a:close/>
                  <a:moveTo>
                    <a:pt x="64" y="21"/>
                  </a:moveTo>
                  <a:cubicBezTo>
                    <a:pt x="69" y="21"/>
                    <a:pt x="73" y="22"/>
                    <a:pt x="74" y="23"/>
                  </a:cubicBezTo>
                  <a:cubicBezTo>
                    <a:pt x="74" y="42"/>
                    <a:pt x="74" y="42"/>
                    <a:pt x="74" y="42"/>
                  </a:cubicBezTo>
                  <a:cubicBezTo>
                    <a:pt x="53" y="42"/>
                    <a:pt x="53" y="42"/>
                    <a:pt x="53" y="42"/>
                  </a:cubicBezTo>
                  <a:cubicBezTo>
                    <a:pt x="53" y="22"/>
                    <a:pt x="53" y="22"/>
                    <a:pt x="53" y="22"/>
                  </a:cubicBezTo>
                  <a:cubicBezTo>
                    <a:pt x="54" y="22"/>
                    <a:pt x="57" y="21"/>
                    <a:pt x="64" y="21"/>
                  </a:cubicBezTo>
                  <a:close/>
                  <a:moveTo>
                    <a:pt x="64" y="298"/>
                  </a:moveTo>
                  <a:cubicBezTo>
                    <a:pt x="43" y="298"/>
                    <a:pt x="28" y="294"/>
                    <a:pt x="21" y="291"/>
                  </a:cubicBezTo>
                  <a:cubicBezTo>
                    <a:pt x="21" y="192"/>
                    <a:pt x="21" y="192"/>
                    <a:pt x="21" y="192"/>
                  </a:cubicBezTo>
                  <a:cubicBezTo>
                    <a:pt x="21" y="178"/>
                    <a:pt x="29" y="161"/>
                    <a:pt x="36" y="144"/>
                  </a:cubicBezTo>
                  <a:cubicBezTo>
                    <a:pt x="44" y="124"/>
                    <a:pt x="53" y="104"/>
                    <a:pt x="53" y="85"/>
                  </a:cubicBezTo>
                  <a:cubicBezTo>
                    <a:pt x="53" y="64"/>
                    <a:pt x="53" y="64"/>
                    <a:pt x="53" y="64"/>
                  </a:cubicBezTo>
                  <a:cubicBezTo>
                    <a:pt x="74" y="64"/>
                    <a:pt x="74" y="64"/>
                    <a:pt x="74" y="64"/>
                  </a:cubicBezTo>
                  <a:cubicBezTo>
                    <a:pt x="74" y="85"/>
                    <a:pt x="74" y="85"/>
                    <a:pt x="74" y="85"/>
                  </a:cubicBezTo>
                  <a:cubicBezTo>
                    <a:pt x="74" y="104"/>
                    <a:pt x="83" y="124"/>
                    <a:pt x="91" y="144"/>
                  </a:cubicBezTo>
                  <a:cubicBezTo>
                    <a:pt x="99" y="161"/>
                    <a:pt x="106" y="178"/>
                    <a:pt x="106" y="192"/>
                  </a:cubicBezTo>
                  <a:cubicBezTo>
                    <a:pt x="53" y="192"/>
                    <a:pt x="53" y="192"/>
                    <a:pt x="53" y="192"/>
                  </a:cubicBezTo>
                  <a:cubicBezTo>
                    <a:pt x="47" y="192"/>
                    <a:pt x="42" y="196"/>
                    <a:pt x="42" y="202"/>
                  </a:cubicBezTo>
                  <a:cubicBezTo>
                    <a:pt x="42" y="266"/>
                    <a:pt x="42" y="266"/>
                    <a:pt x="42" y="266"/>
                  </a:cubicBezTo>
                  <a:cubicBezTo>
                    <a:pt x="42" y="272"/>
                    <a:pt x="47" y="277"/>
                    <a:pt x="53" y="277"/>
                  </a:cubicBezTo>
                  <a:cubicBezTo>
                    <a:pt x="106" y="277"/>
                    <a:pt x="106" y="277"/>
                    <a:pt x="106" y="277"/>
                  </a:cubicBezTo>
                  <a:cubicBezTo>
                    <a:pt x="106" y="291"/>
                    <a:pt x="106" y="291"/>
                    <a:pt x="106" y="291"/>
                  </a:cubicBezTo>
                  <a:cubicBezTo>
                    <a:pt x="99" y="294"/>
                    <a:pt x="85" y="298"/>
                    <a:pt x="64"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31" name="Freeform 1006">
            <a:extLst>
              <a:ext uri="{FF2B5EF4-FFF2-40B4-BE49-F238E27FC236}">
                <a16:creationId xmlns:a16="http://schemas.microsoft.com/office/drawing/2014/main" id="{B8BD01D7-5274-42A2-9D65-F1EA7AD8F5E2}"/>
              </a:ext>
            </a:extLst>
          </p:cNvPr>
          <p:cNvSpPr>
            <a:spLocks noChangeAspect="1" noEditPoints="1"/>
          </p:cNvSpPr>
          <p:nvPr/>
        </p:nvSpPr>
        <p:spPr bwMode="auto">
          <a:xfrm>
            <a:off x="2239055" y="2524483"/>
            <a:ext cx="367982" cy="367982"/>
          </a:xfrm>
          <a:custGeom>
            <a:avLst/>
            <a:gdLst>
              <a:gd name="T0" fmla="*/ 256 w 512"/>
              <a:gd name="T1" fmla="*/ 216 h 512"/>
              <a:gd name="T2" fmla="*/ 374 w 512"/>
              <a:gd name="T3" fmla="*/ 309 h 512"/>
              <a:gd name="T4" fmla="*/ 137 w 512"/>
              <a:gd name="T5" fmla="*/ 309 h 512"/>
              <a:gd name="T6" fmla="*/ 256 w 512"/>
              <a:gd name="T7" fmla="*/ 216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412 w 512"/>
              <a:gd name="T19" fmla="*/ 311 h 512"/>
              <a:gd name="T20" fmla="*/ 266 w 512"/>
              <a:gd name="T21" fmla="*/ 197 h 512"/>
              <a:gd name="T22" fmla="*/ 266 w 512"/>
              <a:gd name="T23" fmla="*/ 190 h 512"/>
              <a:gd name="T24" fmla="*/ 298 w 512"/>
              <a:gd name="T25" fmla="*/ 149 h 512"/>
              <a:gd name="T26" fmla="*/ 256 w 512"/>
              <a:gd name="T27" fmla="*/ 106 h 512"/>
              <a:gd name="T28" fmla="*/ 224 w 512"/>
              <a:gd name="T29" fmla="*/ 121 h 512"/>
              <a:gd name="T30" fmla="*/ 213 w 512"/>
              <a:gd name="T31" fmla="*/ 149 h 512"/>
              <a:gd name="T32" fmla="*/ 224 w 512"/>
              <a:gd name="T33" fmla="*/ 160 h 512"/>
              <a:gd name="T34" fmla="*/ 234 w 512"/>
              <a:gd name="T35" fmla="*/ 149 h 512"/>
              <a:gd name="T36" fmla="*/ 240 w 512"/>
              <a:gd name="T37" fmla="*/ 135 h 512"/>
              <a:gd name="T38" fmla="*/ 256 w 512"/>
              <a:gd name="T39" fmla="*/ 128 h 512"/>
              <a:gd name="T40" fmla="*/ 277 w 512"/>
              <a:gd name="T41" fmla="*/ 149 h 512"/>
              <a:gd name="T42" fmla="*/ 256 w 512"/>
              <a:gd name="T43" fmla="*/ 170 h 512"/>
              <a:gd name="T44" fmla="*/ 245 w 512"/>
              <a:gd name="T45" fmla="*/ 181 h 512"/>
              <a:gd name="T46" fmla="*/ 245 w 512"/>
              <a:gd name="T47" fmla="*/ 197 h 512"/>
              <a:gd name="T48" fmla="*/ 100 w 512"/>
              <a:gd name="T49" fmla="*/ 311 h 512"/>
              <a:gd name="T50" fmla="*/ 96 w 512"/>
              <a:gd name="T51" fmla="*/ 323 h 512"/>
              <a:gd name="T52" fmla="*/ 106 w 512"/>
              <a:gd name="T53" fmla="*/ 330 h 512"/>
              <a:gd name="T54" fmla="*/ 405 w 512"/>
              <a:gd name="T55" fmla="*/ 330 h 512"/>
              <a:gd name="T56" fmla="*/ 415 w 512"/>
              <a:gd name="T57" fmla="*/ 323 h 512"/>
              <a:gd name="T58" fmla="*/ 412 w 512"/>
              <a:gd name="T59" fmla="*/ 3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6"/>
                </a:moveTo>
                <a:cubicBezTo>
                  <a:pt x="374" y="309"/>
                  <a:pt x="374" y="309"/>
                  <a:pt x="374" y="309"/>
                </a:cubicBezTo>
                <a:cubicBezTo>
                  <a:pt x="137" y="309"/>
                  <a:pt x="137" y="309"/>
                  <a:pt x="137" y="309"/>
                </a:cubicBezTo>
                <a:lnTo>
                  <a:pt x="256" y="21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311"/>
                </a:moveTo>
                <a:cubicBezTo>
                  <a:pt x="266" y="197"/>
                  <a:pt x="266" y="197"/>
                  <a:pt x="266" y="197"/>
                </a:cubicBezTo>
                <a:cubicBezTo>
                  <a:pt x="266" y="190"/>
                  <a:pt x="266" y="190"/>
                  <a:pt x="266" y="190"/>
                </a:cubicBezTo>
                <a:cubicBezTo>
                  <a:pt x="285" y="186"/>
                  <a:pt x="298" y="169"/>
                  <a:pt x="298" y="149"/>
                </a:cubicBezTo>
                <a:cubicBezTo>
                  <a:pt x="298" y="125"/>
                  <a:pt x="279" y="106"/>
                  <a:pt x="256" y="106"/>
                </a:cubicBezTo>
                <a:cubicBezTo>
                  <a:pt x="244" y="106"/>
                  <a:pt x="232" y="112"/>
                  <a:pt x="224" y="121"/>
                </a:cubicBezTo>
                <a:cubicBezTo>
                  <a:pt x="217" y="128"/>
                  <a:pt x="213" y="138"/>
                  <a:pt x="213" y="149"/>
                </a:cubicBezTo>
                <a:cubicBezTo>
                  <a:pt x="213" y="155"/>
                  <a:pt x="218" y="160"/>
                  <a:pt x="224" y="160"/>
                </a:cubicBezTo>
                <a:cubicBezTo>
                  <a:pt x="230" y="160"/>
                  <a:pt x="234" y="155"/>
                  <a:pt x="234" y="149"/>
                </a:cubicBezTo>
                <a:cubicBezTo>
                  <a:pt x="234" y="144"/>
                  <a:pt x="236" y="139"/>
                  <a:pt x="240" y="135"/>
                </a:cubicBezTo>
                <a:cubicBezTo>
                  <a:pt x="244" y="130"/>
                  <a:pt x="250" y="128"/>
                  <a:pt x="256" y="128"/>
                </a:cubicBezTo>
                <a:cubicBezTo>
                  <a:pt x="267" y="128"/>
                  <a:pt x="277" y="137"/>
                  <a:pt x="277" y="149"/>
                </a:cubicBezTo>
                <a:cubicBezTo>
                  <a:pt x="277" y="161"/>
                  <a:pt x="267" y="170"/>
                  <a:pt x="256" y="170"/>
                </a:cubicBezTo>
                <a:cubicBezTo>
                  <a:pt x="250" y="170"/>
                  <a:pt x="245" y="175"/>
                  <a:pt x="245" y="181"/>
                </a:cubicBezTo>
                <a:cubicBezTo>
                  <a:pt x="245" y="197"/>
                  <a:pt x="245" y="197"/>
                  <a:pt x="245" y="197"/>
                </a:cubicBezTo>
                <a:cubicBezTo>
                  <a:pt x="100" y="311"/>
                  <a:pt x="100" y="311"/>
                  <a:pt x="100" y="311"/>
                </a:cubicBezTo>
                <a:cubicBezTo>
                  <a:pt x="96" y="314"/>
                  <a:pt x="95" y="319"/>
                  <a:pt x="96" y="323"/>
                </a:cubicBezTo>
                <a:cubicBezTo>
                  <a:pt x="98" y="327"/>
                  <a:pt x="102" y="330"/>
                  <a:pt x="106" y="330"/>
                </a:cubicBezTo>
                <a:cubicBezTo>
                  <a:pt x="405" y="330"/>
                  <a:pt x="405" y="330"/>
                  <a:pt x="405" y="330"/>
                </a:cubicBezTo>
                <a:cubicBezTo>
                  <a:pt x="410" y="330"/>
                  <a:pt x="414" y="327"/>
                  <a:pt x="415" y="323"/>
                </a:cubicBezTo>
                <a:cubicBezTo>
                  <a:pt x="417" y="319"/>
                  <a:pt x="415" y="314"/>
                  <a:pt x="412" y="31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32" name="Group 1009">
            <a:extLst>
              <a:ext uri="{FF2B5EF4-FFF2-40B4-BE49-F238E27FC236}">
                <a16:creationId xmlns:a16="http://schemas.microsoft.com/office/drawing/2014/main" id="{8BC849F7-2F68-4CDE-9E0E-DC79AFAE9FB0}"/>
              </a:ext>
            </a:extLst>
          </p:cNvPr>
          <p:cNvGrpSpPr>
            <a:grpSpLocks noChangeAspect="1"/>
          </p:cNvGrpSpPr>
          <p:nvPr/>
        </p:nvGrpSpPr>
        <p:grpSpPr bwMode="auto">
          <a:xfrm>
            <a:off x="2672429" y="2524483"/>
            <a:ext cx="367982" cy="367982"/>
            <a:chOff x="4876" y="4656"/>
            <a:chExt cx="340" cy="340"/>
          </a:xfrm>
          <a:solidFill>
            <a:schemeClr val="accent5"/>
          </a:solidFill>
        </p:grpSpPr>
        <p:sp>
          <p:nvSpPr>
            <p:cNvPr id="233" name="Freeform 1010">
              <a:extLst>
                <a:ext uri="{FF2B5EF4-FFF2-40B4-BE49-F238E27FC236}">
                  <a16:creationId xmlns:a16="http://schemas.microsoft.com/office/drawing/2014/main" id="{56B62139-CE63-455E-B736-D1C594C58841}"/>
                </a:ext>
              </a:extLst>
            </p:cNvPr>
            <p:cNvSpPr>
              <a:spLocks noEditPoints="1"/>
            </p:cNvSpPr>
            <p:nvPr/>
          </p:nvSpPr>
          <p:spPr bwMode="auto">
            <a:xfrm>
              <a:off x="4939" y="4726"/>
              <a:ext cx="214" cy="149"/>
            </a:xfrm>
            <a:custGeom>
              <a:avLst/>
              <a:gdLst>
                <a:gd name="T0" fmla="*/ 317 w 322"/>
                <a:gd name="T1" fmla="*/ 205 h 224"/>
                <a:gd name="T2" fmla="*/ 171 w 322"/>
                <a:gd name="T3" fmla="*/ 91 h 224"/>
                <a:gd name="T4" fmla="*/ 171 w 322"/>
                <a:gd name="T5" fmla="*/ 84 h 224"/>
                <a:gd name="T6" fmla="*/ 203 w 322"/>
                <a:gd name="T7" fmla="*/ 43 h 224"/>
                <a:gd name="T8" fmla="*/ 161 w 322"/>
                <a:gd name="T9" fmla="*/ 0 h 224"/>
                <a:gd name="T10" fmla="*/ 129 w 322"/>
                <a:gd name="T11" fmla="*/ 15 h 224"/>
                <a:gd name="T12" fmla="*/ 118 w 322"/>
                <a:gd name="T13" fmla="*/ 43 h 224"/>
                <a:gd name="T14" fmla="*/ 129 w 322"/>
                <a:gd name="T15" fmla="*/ 54 h 224"/>
                <a:gd name="T16" fmla="*/ 139 w 322"/>
                <a:gd name="T17" fmla="*/ 43 h 224"/>
                <a:gd name="T18" fmla="*/ 145 w 322"/>
                <a:gd name="T19" fmla="*/ 29 h 224"/>
                <a:gd name="T20" fmla="*/ 161 w 322"/>
                <a:gd name="T21" fmla="*/ 22 h 224"/>
                <a:gd name="T22" fmla="*/ 182 w 322"/>
                <a:gd name="T23" fmla="*/ 43 h 224"/>
                <a:gd name="T24" fmla="*/ 161 w 322"/>
                <a:gd name="T25" fmla="*/ 64 h 224"/>
                <a:gd name="T26" fmla="*/ 150 w 322"/>
                <a:gd name="T27" fmla="*/ 75 h 224"/>
                <a:gd name="T28" fmla="*/ 150 w 322"/>
                <a:gd name="T29" fmla="*/ 91 h 224"/>
                <a:gd name="T30" fmla="*/ 5 w 322"/>
                <a:gd name="T31" fmla="*/ 205 h 224"/>
                <a:gd name="T32" fmla="*/ 1 w 322"/>
                <a:gd name="T33" fmla="*/ 217 h 224"/>
                <a:gd name="T34" fmla="*/ 11 w 322"/>
                <a:gd name="T35" fmla="*/ 224 h 224"/>
                <a:gd name="T36" fmla="*/ 310 w 322"/>
                <a:gd name="T37" fmla="*/ 224 h 224"/>
                <a:gd name="T38" fmla="*/ 320 w 322"/>
                <a:gd name="T39" fmla="*/ 217 h 224"/>
                <a:gd name="T40" fmla="*/ 317 w 322"/>
                <a:gd name="T41" fmla="*/ 205 h 224"/>
                <a:gd name="T42" fmla="*/ 42 w 322"/>
                <a:gd name="T43" fmla="*/ 203 h 224"/>
                <a:gd name="T44" fmla="*/ 161 w 322"/>
                <a:gd name="T45" fmla="*/ 110 h 224"/>
                <a:gd name="T46" fmla="*/ 279 w 322"/>
                <a:gd name="T47" fmla="*/ 203 h 224"/>
                <a:gd name="T48" fmla="*/ 42 w 322"/>
                <a:gd name="T49" fmla="*/ 203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2" h="224">
                  <a:moveTo>
                    <a:pt x="317" y="205"/>
                  </a:moveTo>
                  <a:cubicBezTo>
                    <a:pt x="171" y="91"/>
                    <a:pt x="171" y="91"/>
                    <a:pt x="171" y="91"/>
                  </a:cubicBezTo>
                  <a:cubicBezTo>
                    <a:pt x="171" y="84"/>
                    <a:pt x="171" y="84"/>
                    <a:pt x="171" y="84"/>
                  </a:cubicBezTo>
                  <a:cubicBezTo>
                    <a:pt x="190" y="80"/>
                    <a:pt x="203" y="63"/>
                    <a:pt x="203" y="43"/>
                  </a:cubicBezTo>
                  <a:cubicBezTo>
                    <a:pt x="203" y="19"/>
                    <a:pt x="184" y="0"/>
                    <a:pt x="161" y="0"/>
                  </a:cubicBezTo>
                  <a:cubicBezTo>
                    <a:pt x="149" y="0"/>
                    <a:pt x="137" y="6"/>
                    <a:pt x="129" y="15"/>
                  </a:cubicBezTo>
                  <a:cubicBezTo>
                    <a:pt x="122" y="22"/>
                    <a:pt x="118" y="32"/>
                    <a:pt x="118" y="43"/>
                  </a:cubicBezTo>
                  <a:cubicBezTo>
                    <a:pt x="118" y="49"/>
                    <a:pt x="123" y="54"/>
                    <a:pt x="129" y="54"/>
                  </a:cubicBezTo>
                  <a:cubicBezTo>
                    <a:pt x="135" y="54"/>
                    <a:pt x="139" y="49"/>
                    <a:pt x="139" y="43"/>
                  </a:cubicBezTo>
                  <a:cubicBezTo>
                    <a:pt x="139" y="38"/>
                    <a:pt x="141" y="33"/>
                    <a:pt x="145" y="29"/>
                  </a:cubicBezTo>
                  <a:cubicBezTo>
                    <a:pt x="149" y="24"/>
                    <a:pt x="155" y="22"/>
                    <a:pt x="161" y="22"/>
                  </a:cubicBezTo>
                  <a:cubicBezTo>
                    <a:pt x="172" y="22"/>
                    <a:pt x="182" y="31"/>
                    <a:pt x="182" y="43"/>
                  </a:cubicBezTo>
                  <a:cubicBezTo>
                    <a:pt x="182" y="55"/>
                    <a:pt x="172" y="64"/>
                    <a:pt x="161" y="64"/>
                  </a:cubicBezTo>
                  <a:cubicBezTo>
                    <a:pt x="155" y="64"/>
                    <a:pt x="150" y="69"/>
                    <a:pt x="150" y="75"/>
                  </a:cubicBezTo>
                  <a:cubicBezTo>
                    <a:pt x="150" y="91"/>
                    <a:pt x="150" y="91"/>
                    <a:pt x="150" y="91"/>
                  </a:cubicBezTo>
                  <a:cubicBezTo>
                    <a:pt x="5" y="205"/>
                    <a:pt x="5" y="205"/>
                    <a:pt x="5" y="205"/>
                  </a:cubicBezTo>
                  <a:cubicBezTo>
                    <a:pt x="1" y="208"/>
                    <a:pt x="0" y="213"/>
                    <a:pt x="1" y="217"/>
                  </a:cubicBezTo>
                  <a:cubicBezTo>
                    <a:pt x="3" y="221"/>
                    <a:pt x="7" y="224"/>
                    <a:pt x="11" y="224"/>
                  </a:cubicBezTo>
                  <a:cubicBezTo>
                    <a:pt x="310" y="224"/>
                    <a:pt x="310" y="224"/>
                    <a:pt x="310" y="224"/>
                  </a:cubicBezTo>
                  <a:cubicBezTo>
                    <a:pt x="315" y="224"/>
                    <a:pt x="319" y="221"/>
                    <a:pt x="320" y="217"/>
                  </a:cubicBezTo>
                  <a:cubicBezTo>
                    <a:pt x="322" y="213"/>
                    <a:pt x="320" y="208"/>
                    <a:pt x="317" y="205"/>
                  </a:cubicBezTo>
                  <a:close/>
                  <a:moveTo>
                    <a:pt x="42" y="203"/>
                  </a:moveTo>
                  <a:cubicBezTo>
                    <a:pt x="161" y="110"/>
                    <a:pt x="161" y="110"/>
                    <a:pt x="161" y="110"/>
                  </a:cubicBezTo>
                  <a:cubicBezTo>
                    <a:pt x="279" y="203"/>
                    <a:pt x="279" y="203"/>
                    <a:pt x="279" y="203"/>
                  </a:cubicBezTo>
                  <a:lnTo>
                    <a:pt x="42" y="2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4" name="Freeform 1011">
              <a:extLst>
                <a:ext uri="{FF2B5EF4-FFF2-40B4-BE49-F238E27FC236}">
                  <a16:creationId xmlns:a16="http://schemas.microsoft.com/office/drawing/2014/main" id="{B494D7C1-5E3B-453B-982B-0F98A6BA55D7}"/>
                </a:ext>
              </a:extLst>
            </p:cNvPr>
            <p:cNvSpPr>
              <a:spLocks noEditPoints="1"/>
            </p:cNvSpPr>
            <p:nvPr/>
          </p:nvSpPr>
          <p:spPr bwMode="auto">
            <a:xfrm>
              <a:off x="4876" y="465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35" name="Freeform 1015">
            <a:extLst>
              <a:ext uri="{FF2B5EF4-FFF2-40B4-BE49-F238E27FC236}">
                <a16:creationId xmlns:a16="http://schemas.microsoft.com/office/drawing/2014/main" id="{0A15341C-557A-4093-84F2-B44A217B2031}"/>
              </a:ext>
            </a:extLst>
          </p:cNvPr>
          <p:cNvSpPr>
            <a:spLocks noChangeAspect="1" noEditPoints="1"/>
          </p:cNvSpPr>
          <p:nvPr/>
        </p:nvSpPr>
        <p:spPr bwMode="auto">
          <a:xfrm>
            <a:off x="3105803" y="2524483"/>
            <a:ext cx="367982" cy="369064"/>
          </a:xfrm>
          <a:custGeom>
            <a:avLst/>
            <a:gdLst>
              <a:gd name="T0" fmla="*/ 217 w 512"/>
              <a:gd name="T1" fmla="*/ 202 h 512"/>
              <a:gd name="T2" fmla="*/ 294 w 512"/>
              <a:gd name="T3" fmla="*/ 202 h 512"/>
              <a:gd name="T4" fmla="*/ 256 w 512"/>
              <a:gd name="T5" fmla="*/ 241 h 512"/>
              <a:gd name="T6" fmla="*/ 217 w 512"/>
              <a:gd name="T7" fmla="*/ 202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370 w 512"/>
              <a:gd name="T19" fmla="*/ 141 h 512"/>
              <a:gd name="T20" fmla="*/ 355 w 512"/>
              <a:gd name="T21" fmla="*/ 141 h 512"/>
              <a:gd name="T22" fmla="*/ 315 w 512"/>
              <a:gd name="T23" fmla="*/ 181 h 512"/>
              <a:gd name="T24" fmla="*/ 196 w 512"/>
              <a:gd name="T25" fmla="*/ 181 h 512"/>
              <a:gd name="T26" fmla="*/ 157 w 512"/>
              <a:gd name="T27" fmla="*/ 141 h 512"/>
              <a:gd name="T28" fmla="*/ 141 w 512"/>
              <a:gd name="T29" fmla="*/ 141 h 512"/>
              <a:gd name="T30" fmla="*/ 141 w 512"/>
              <a:gd name="T31" fmla="*/ 157 h 512"/>
              <a:gd name="T32" fmla="*/ 184 w 512"/>
              <a:gd name="T33" fmla="*/ 199 h 512"/>
              <a:gd name="T34" fmla="*/ 184 w 512"/>
              <a:gd name="T35" fmla="*/ 199 h 512"/>
              <a:gd name="T36" fmla="*/ 245 w 512"/>
              <a:gd name="T37" fmla="*/ 260 h 512"/>
              <a:gd name="T38" fmla="*/ 245 w 512"/>
              <a:gd name="T39" fmla="*/ 373 h 512"/>
              <a:gd name="T40" fmla="*/ 202 w 512"/>
              <a:gd name="T41" fmla="*/ 373 h 512"/>
              <a:gd name="T42" fmla="*/ 192 w 512"/>
              <a:gd name="T43" fmla="*/ 384 h 512"/>
              <a:gd name="T44" fmla="*/ 202 w 512"/>
              <a:gd name="T45" fmla="*/ 394 h 512"/>
              <a:gd name="T46" fmla="*/ 309 w 512"/>
              <a:gd name="T47" fmla="*/ 394 h 512"/>
              <a:gd name="T48" fmla="*/ 320 w 512"/>
              <a:gd name="T49" fmla="*/ 384 h 512"/>
              <a:gd name="T50" fmla="*/ 309 w 512"/>
              <a:gd name="T51" fmla="*/ 373 h 512"/>
              <a:gd name="T52" fmla="*/ 266 w 512"/>
              <a:gd name="T53" fmla="*/ 373 h 512"/>
              <a:gd name="T54" fmla="*/ 266 w 512"/>
              <a:gd name="T55" fmla="*/ 260 h 512"/>
              <a:gd name="T56" fmla="*/ 327 w 512"/>
              <a:gd name="T57" fmla="*/ 199 h 512"/>
              <a:gd name="T58" fmla="*/ 327 w 512"/>
              <a:gd name="T59" fmla="*/ 199 h 512"/>
              <a:gd name="T60" fmla="*/ 370 w 512"/>
              <a:gd name="T61" fmla="*/ 157 h 512"/>
              <a:gd name="T62" fmla="*/ 370 w 512"/>
              <a:gd name="T63"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17" y="202"/>
                </a:moveTo>
                <a:cubicBezTo>
                  <a:pt x="294" y="202"/>
                  <a:pt x="294" y="202"/>
                  <a:pt x="294" y="202"/>
                </a:cubicBezTo>
                <a:cubicBezTo>
                  <a:pt x="256" y="241"/>
                  <a:pt x="256" y="241"/>
                  <a:pt x="256" y="241"/>
                </a:cubicBezTo>
                <a:lnTo>
                  <a:pt x="217"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0" y="141"/>
                </a:moveTo>
                <a:cubicBezTo>
                  <a:pt x="366" y="137"/>
                  <a:pt x="359" y="137"/>
                  <a:pt x="355" y="141"/>
                </a:cubicBezTo>
                <a:cubicBezTo>
                  <a:pt x="315" y="181"/>
                  <a:pt x="315" y="181"/>
                  <a:pt x="315" y="181"/>
                </a:cubicBezTo>
                <a:cubicBezTo>
                  <a:pt x="196" y="181"/>
                  <a:pt x="196" y="181"/>
                  <a:pt x="196" y="181"/>
                </a:cubicBezTo>
                <a:cubicBezTo>
                  <a:pt x="157" y="141"/>
                  <a:pt x="157" y="141"/>
                  <a:pt x="157" y="141"/>
                </a:cubicBezTo>
                <a:cubicBezTo>
                  <a:pt x="152" y="137"/>
                  <a:pt x="146" y="137"/>
                  <a:pt x="141" y="141"/>
                </a:cubicBezTo>
                <a:cubicBezTo>
                  <a:pt x="137" y="146"/>
                  <a:pt x="137" y="152"/>
                  <a:pt x="141" y="157"/>
                </a:cubicBezTo>
                <a:cubicBezTo>
                  <a:pt x="184" y="199"/>
                  <a:pt x="184" y="199"/>
                  <a:pt x="184" y="199"/>
                </a:cubicBezTo>
                <a:cubicBezTo>
                  <a:pt x="184" y="199"/>
                  <a:pt x="184" y="199"/>
                  <a:pt x="184" y="199"/>
                </a:cubicBezTo>
                <a:cubicBezTo>
                  <a:pt x="245" y="260"/>
                  <a:pt x="245" y="260"/>
                  <a:pt x="245" y="260"/>
                </a:cubicBezTo>
                <a:cubicBezTo>
                  <a:pt x="245" y="373"/>
                  <a:pt x="245" y="373"/>
                  <a:pt x="245" y="373"/>
                </a:cubicBezTo>
                <a:cubicBezTo>
                  <a:pt x="202" y="373"/>
                  <a:pt x="202" y="373"/>
                  <a:pt x="202" y="373"/>
                </a:cubicBezTo>
                <a:cubicBezTo>
                  <a:pt x="196" y="373"/>
                  <a:pt x="192" y="378"/>
                  <a:pt x="192" y="384"/>
                </a:cubicBezTo>
                <a:cubicBezTo>
                  <a:pt x="192" y="390"/>
                  <a:pt x="196" y="394"/>
                  <a:pt x="202" y="394"/>
                </a:cubicBezTo>
                <a:cubicBezTo>
                  <a:pt x="309" y="394"/>
                  <a:pt x="309" y="394"/>
                  <a:pt x="309" y="394"/>
                </a:cubicBezTo>
                <a:cubicBezTo>
                  <a:pt x="315" y="394"/>
                  <a:pt x="320" y="390"/>
                  <a:pt x="320" y="384"/>
                </a:cubicBezTo>
                <a:cubicBezTo>
                  <a:pt x="320" y="378"/>
                  <a:pt x="315" y="373"/>
                  <a:pt x="309" y="373"/>
                </a:cubicBezTo>
                <a:cubicBezTo>
                  <a:pt x="266" y="373"/>
                  <a:pt x="266" y="373"/>
                  <a:pt x="266" y="373"/>
                </a:cubicBezTo>
                <a:cubicBezTo>
                  <a:pt x="266" y="260"/>
                  <a:pt x="266" y="260"/>
                  <a:pt x="266" y="260"/>
                </a:cubicBezTo>
                <a:cubicBezTo>
                  <a:pt x="327" y="199"/>
                  <a:pt x="327" y="199"/>
                  <a:pt x="327" y="199"/>
                </a:cubicBezTo>
                <a:cubicBezTo>
                  <a:pt x="327" y="199"/>
                  <a:pt x="327" y="199"/>
                  <a:pt x="327" y="199"/>
                </a:cubicBezTo>
                <a:cubicBezTo>
                  <a:pt x="370" y="157"/>
                  <a:pt x="370" y="157"/>
                  <a:pt x="370" y="157"/>
                </a:cubicBezTo>
                <a:cubicBezTo>
                  <a:pt x="374" y="152"/>
                  <a:pt x="374" y="146"/>
                  <a:pt x="370" y="14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36" name="Group 1018">
            <a:extLst>
              <a:ext uri="{FF2B5EF4-FFF2-40B4-BE49-F238E27FC236}">
                <a16:creationId xmlns:a16="http://schemas.microsoft.com/office/drawing/2014/main" id="{68F409F0-88CF-41F3-B53E-F4195AF362C0}"/>
              </a:ext>
            </a:extLst>
          </p:cNvPr>
          <p:cNvGrpSpPr>
            <a:grpSpLocks noChangeAspect="1"/>
          </p:cNvGrpSpPr>
          <p:nvPr/>
        </p:nvGrpSpPr>
        <p:grpSpPr bwMode="auto">
          <a:xfrm>
            <a:off x="3539177" y="2524483"/>
            <a:ext cx="369064" cy="369064"/>
            <a:chOff x="5589" y="4650"/>
            <a:chExt cx="341" cy="341"/>
          </a:xfrm>
          <a:solidFill>
            <a:schemeClr val="accent5"/>
          </a:solidFill>
        </p:grpSpPr>
        <p:sp>
          <p:nvSpPr>
            <p:cNvPr id="237" name="Freeform 318">
              <a:extLst>
                <a:ext uri="{FF2B5EF4-FFF2-40B4-BE49-F238E27FC236}">
                  <a16:creationId xmlns:a16="http://schemas.microsoft.com/office/drawing/2014/main" id="{4ED22743-5D59-4244-84D1-5AC2F79A9B7B}"/>
                </a:ext>
              </a:extLst>
            </p:cNvPr>
            <p:cNvSpPr>
              <a:spLocks noEditPoints="1"/>
            </p:cNvSpPr>
            <p:nvPr/>
          </p:nvSpPr>
          <p:spPr bwMode="auto">
            <a:xfrm>
              <a:off x="5589" y="4650"/>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8" name="Freeform 319">
              <a:extLst>
                <a:ext uri="{FF2B5EF4-FFF2-40B4-BE49-F238E27FC236}">
                  <a16:creationId xmlns:a16="http://schemas.microsoft.com/office/drawing/2014/main" id="{F6A2769D-33B5-4810-B33E-15B8E759A587}"/>
                </a:ext>
              </a:extLst>
            </p:cNvPr>
            <p:cNvSpPr>
              <a:spLocks noEditPoints="1"/>
            </p:cNvSpPr>
            <p:nvPr/>
          </p:nvSpPr>
          <p:spPr bwMode="auto">
            <a:xfrm>
              <a:off x="5680" y="4741"/>
              <a:ext cx="158" cy="171"/>
            </a:xfrm>
            <a:custGeom>
              <a:avLst/>
              <a:gdLst>
                <a:gd name="T0" fmla="*/ 233 w 237"/>
                <a:gd name="T1" fmla="*/ 4 h 257"/>
                <a:gd name="T2" fmla="*/ 218 w 237"/>
                <a:gd name="T3" fmla="*/ 4 h 257"/>
                <a:gd name="T4" fmla="*/ 178 w 237"/>
                <a:gd name="T5" fmla="*/ 44 h 257"/>
                <a:gd name="T6" fmla="*/ 59 w 237"/>
                <a:gd name="T7" fmla="*/ 44 h 257"/>
                <a:gd name="T8" fmla="*/ 20 w 237"/>
                <a:gd name="T9" fmla="*/ 4 h 257"/>
                <a:gd name="T10" fmla="*/ 4 w 237"/>
                <a:gd name="T11" fmla="*/ 4 h 257"/>
                <a:gd name="T12" fmla="*/ 4 w 237"/>
                <a:gd name="T13" fmla="*/ 20 h 257"/>
                <a:gd name="T14" fmla="*/ 47 w 237"/>
                <a:gd name="T15" fmla="*/ 62 h 257"/>
                <a:gd name="T16" fmla="*/ 47 w 237"/>
                <a:gd name="T17" fmla="*/ 62 h 257"/>
                <a:gd name="T18" fmla="*/ 108 w 237"/>
                <a:gd name="T19" fmla="*/ 123 h 257"/>
                <a:gd name="T20" fmla="*/ 108 w 237"/>
                <a:gd name="T21" fmla="*/ 236 h 257"/>
                <a:gd name="T22" fmla="*/ 65 w 237"/>
                <a:gd name="T23" fmla="*/ 236 h 257"/>
                <a:gd name="T24" fmla="*/ 55 w 237"/>
                <a:gd name="T25" fmla="*/ 247 h 257"/>
                <a:gd name="T26" fmla="*/ 65 w 237"/>
                <a:gd name="T27" fmla="*/ 257 h 257"/>
                <a:gd name="T28" fmla="*/ 172 w 237"/>
                <a:gd name="T29" fmla="*/ 257 h 257"/>
                <a:gd name="T30" fmla="*/ 183 w 237"/>
                <a:gd name="T31" fmla="*/ 247 h 257"/>
                <a:gd name="T32" fmla="*/ 172 w 237"/>
                <a:gd name="T33" fmla="*/ 236 h 257"/>
                <a:gd name="T34" fmla="*/ 129 w 237"/>
                <a:gd name="T35" fmla="*/ 236 h 257"/>
                <a:gd name="T36" fmla="*/ 129 w 237"/>
                <a:gd name="T37" fmla="*/ 123 h 257"/>
                <a:gd name="T38" fmla="*/ 190 w 237"/>
                <a:gd name="T39" fmla="*/ 62 h 257"/>
                <a:gd name="T40" fmla="*/ 190 w 237"/>
                <a:gd name="T41" fmla="*/ 62 h 257"/>
                <a:gd name="T42" fmla="*/ 233 w 237"/>
                <a:gd name="T43" fmla="*/ 20 h 257"/>
                <a:gd name="T44" fmla="*/ 233 w 237"/>
                <a:gd name="T45" fmla="*/ 4 h 257"/>
                <a:gd name="T46" fmla="*/ 157 w 237"/>
                <a:gd name="T47" fmla="*/ 65 h 257"/>
                <a:gd name="T48" fmla="*/ 119 w 237"/>
                <a:gd name="T49" fmla="*/ 104 h 257"/>
                <a:gd name="T50" fmla="*/ 80 w 237"/>
                <a:gd name="T51" fmla="*/ 65 h 257"/>
                <a:gd name="T52" fmla="*/ 157 w 237"/>
                <a:gd name="T53" fmla="*/ 6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7" h="257">
                  <a:moveTo>
                    <a:pt x="233" y="4"/>
                  </a:moveTo>
                  <a:cubicBezTo>
                    <a:pt x="229" y="0"/>
                    <a:pt x="222" y="0"/>
                    <a:pt x="218" y="4"/>
                  </a:cubicBezTo>
                  <a:cubicBezTo>
                    <a:pt x="178" y="44"/>
                    <a:pt x="178" y="44"/>
                    <a:pt x="178" y="44"/>
                  </a:cubicBezTo>
                  <a:cubicBezTo>
                    <a:pt x="59" y="44"/>
                    <a:pt x="59" y="44"/>
                    <a:pt x="59" y="44"/>
                  </a:cubicBezTo>
                  <a:cubicBezTo>
                    <a:pt x="20" y="4"/>
                    <a:pt x="20" y="4"/>
                    <a:pt x="20" y="4"/>
                  </a:cubicBezTo>
                  <a:cubicBezTo>
                    <a:pt x="15" y="0"/>
                    <a:pt x="9" y="0"/>
                    <a:pt x="4" y="4"/>
                  </a:cubicBezTo>
                  <a:cubicBezTo>
                    <a:pt x="0" y="9"/>
                    <a:pt x="0" y="15"/>
                    <a:pt x="4" y="20"/>
                  </a:cubicBezTo>
                  <a:cubicBezTo>
                    <a:pt x="47" y="62"/>
                    <a:pt x="47" y="62"/>
                    <a:pt x="47" y="62"/>
                  </a:cubicBezTo>
                  <a:cubicBezTo>
                    <a:pt x="47" y="62"/>
                    <a:pt x="47" y="62"/>
                    <a:pt x="47" y="62"/>
                  </a:cubicBezTo>
                  <a:cubicBezTo>
                    <a:pt x="108" y="123"/>
                    <a:pt x="108" y="123"/>
                    <a:pt x="108" y="123"/>
                  </a:cubicBezTo>
                  <a:cubicBezTo>
                    <a:pt x="108" y="236"/>
                    <a:pt x="108" y="236"/>
                    <a:pt x="108" y="236"/>
                  </a:cubicBezTo>
                  <a:cubicBezTo>
                    <a:pt x="65" y="236"/>
                    <a:pt x="65" y="236"/>
                    <a:pt x="65" y="236"/>
                  </a:cubicBezTo>
                  <a:cubicBezTo>
                    <a:pt x="59" y="236"/>
                    <a:pt x="55" y="241"/>
                    <a:pt x="55" y="247"/>
                  </a:cubicBezTo>
                  <a:cubicBezTo>
                    <a:pt x="55" y="253"/>
                    <a:pt x="59" y="257"/>
                    <a:pt x="65" y="257"/>
                  </a:cubicBezTo>
                  <a:cubicBezTo>
                    <a:pt x="172" y="257"/>
                    <a:pt x="172" y="257"/>
                    <a:pt x="172" y="257"/>
                  </a:cubicBezTo>
                  <a:cubicBezTo>
                    <a:pt x="178" y="257"/>
                    <a:pt x="183" y="253"/>
                    <a:pt x="183" y="247"/>
                  </a:cubicBezTo>
                  <a:cubicBezTo>
                    <a:pt x="183" y="241"/>
                    <a:pt x="178" y="236"/>
                    <a:pt x="172" y="236"/>
                  </a:cubicBezTo>
                  <a:cubicBezTo>
                    <a:pt x="129" y="236"/>
                    <a:pt x="129" y="236"/>
                    <a:pt x="129" y="236"/>
                  </a:cubicBezTo>
                  <a:cubicBezTo>
                    <a:pt x="129" y="123"/>
                    <a:pt x="129" y="123"/>
                    <a:pt x="129" y="123"/>
                  </a:cubicBezTo>
                  <a:cubicBezTo>
                    <a:pt x="190" y="62"/>
                    <a:pt x="190" y="62"/>
                    <a:pt x="190" y="62"/>
                  </a:cubicBezTo>
                  <a:cubicBezTo>
                    <a:pt x="190" y="62"/>
                    <a:pt x="190" y="62"/>
                    <a:pt x="190" y="62"/>
                  </a:cubicBezTo>
                  <a:cubicBezTo>
                    <a:pt x="233" y="20"/>
                    <a:pt x="233" y="20"/>
                    <a:pt x="233" y="20"/>
                  </a:cubicBezTo>
                  <a:cubicBezTo>
                    <a:pt x="237" y="15"/>
                    <a:pt x="237" y="9"/>
                    <a:pt x="233" y="4"/>
                  </a:cubicBezTo>
                  <a:close/>
                  <a:moveTo>
                    <a:pt x="157" y="65"/>
                  </a:moveTo>
                  <a:cubicBezTo>
                    <a:pt x="119" y="104"/>
                    <a:pt x="119" y="104"/>
                    <a:pt x="119" y="104"/>
                  </a:cubicBezTo>
                  <a:cubicBezTo>
                    <a:pt x="80" y="65"/>
                    <a:pt x="80" y="65"/>
                    <a:pt x="80" y="65"/>
                  </a:cubicBezTo>
                  <a:lnTo>
                    <a:pt x="157" y="6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45" name="Group 682">
            <a:extLst>
              <a:ext uri="{FF2B5EF4-FFF2-40B4-BE49-F238E27FC236}">
                <a16:creationId xmlns:a16="http://schemas.microsoft.com/office/drawing/2014/main" id="{091EDFCC-4154-4FAF-8BC5-56F1599727BA}"/>
              </a:ext>
            </a:extLst>
          </p:cNvPr>
          <p:cNvGrpSpPr>
            <a:grpSpLocks noChangeAspect="1"/>
          </p:cNvGrpSpPr>
          <p:nvPr/>
        </p:nvGrpSpPr>
        <p:grpSpPr bwMode="auto">
          <a:xfrm>
            <a:off x="4408701" y="2524483"/>
            <a:ext cx="369676" cy="369676"/>
            <a:chOff x="1144" y="2344"/>
            <a:chExt cx="340" cy="340"/>
          </a:xfrm>
          <a:solidFill>
            <a:schemeClr val="accent1"/>
          </a:solidFill>
        </p:grpSpPr>
        <p:sp>
          <p:nvSpPr>
            <p:cNvPr id="246" name="Freeform 683">
              <a:extLst>
                <a:ext uri="{FF2B5EF4-FFF2-40B4-BE49-F238E27FC236}">
                  <a16:creationId xmlns:a16="http://schemas.microsoft.com/office/drawing/2014/main" id="{B5AC450B-7D98-4539-B9B6-00A8EE313E22}"/>
                </a:ext>
              </a:extLst>
            </p:cNvPr>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7" name="Freeform 684">
              <a:extLst>
                <a:ext uri="{FF2B5EF4-FFF2-40B4-BE49-F238E27FC236}">
                  <a16:creationId xmlns:a16="http://schemas.microsoft.com/office/drawing/2014/main" id="{83C82FCF-D6AC-471C-8E68-8E86DE6E14A9}"/>
                </a:ext>
              </a:extLst>
            </p:cNvPr>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8" name="Freeform 688">
            <a:extLst>
              <a:ext uri="{FF2B5EF4-FFF2-40B4-BE49-F238E27FC236}">
                <a16:creationId xmlns:a16="http://schemas.microsoft.com/office/drawing/2014/main" id="{A8737D38-B42D-49C8-912C-F5FBDDD09729}"/>
              </a:ext>
            </a:extLst>
          </p:cNvPr>
          <p:cNvSpPr>
            <a:spLocks noChangeAspect="1" noEditPoints="1"/>
          </p:cNvSpPr>
          <p:nvPr/>
        </p:nvSpPr>
        <p:spPr bwMode="auto">
          <a:xfrm>
            <a:off x="3973633" y="252448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9" name="Group 495">
            <a:extLst>
              <a:ext uri="{FF2B5EF4-FFF2-40B4-BE49-F238E27FC236}">
                <a16:creationId xmlns:a16="http://schemas.microsoft.com/office/drawing/2014/main" id="{B2A6808F-D7C1-4406-A403-C16CC36203CB}"/>
              </a:ext>
            </a:extLst>
          </p:cNvPr>
          <p:cNvGrpSpPr>
            <a:grpSpLocks noChangeAspect="1"/>
          </p:cNvGrpSpPr>
          <p:nvPr/>
        </p:nvGrpSpPr>
        <p:grpSpPr bwMode="auto">
          <a:xfrm>
            <a:off x="5278837" y="2524483"/>
            <a:ext cx="369676" cy="370763"/>
            <a:chOff x="7361" y="1880"/>
            <a:chExt cx="340" cy="341"/>
          </a:xfrm>
          <a:solidFill>
            <a:schemeClr val="accent6"/>
          </a:solidFill>
        </p:grpSpPr>
        <p:sp>
          <p:nvSpPr>
            <p:cNvPr id="250" name="Freeform 496">
              <a:extLst>
                <a:ext uri="{FF2B5EF4-FFF2-40B4-BE49-F238E27FC236}">
                  <a16:creationId xmlns:a16="http://schemas.microsoft.com/office/drawing/2014/main" id="{1AC3DE71-6F5F-4780-94B9-013FAE8ADAB8}"/>
                </a:ext>
              </a:extLst>
            </p:cNvPr>
            <p:cNvSpPr>
              <a:spLocks noEditPoints="1"/>
            </p:cNvSpPr>
            <p:nvPr/>
          </p:nvSpPr>
          <p:spPr bwMode="auto">
            <a:xfrm>
              <a:off x="7361" y="188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1" name="Freeform 497">
              <a:extLst>
                <a:ext uri="{FF2B5EF4-FFF2-40B4-BE49-F238E27FC236}">
                  <a16:creationId xmlns:a16="http://schemas.microsoft.com/office/drawing/2014/main" id="{A4B91997-AF9B-4615-BF28-80DDDC2CD9E1}"/>
                </a:ext>
              </a:extLst>
            </p:cNvPr>
            <p:cNvSpPr>
              <a:spLocks noEditPoints="1"/>
            </p:cNvSpPr>
            <p:nvPr/>
          </p:nvSpPr>
          <p:spPr bwMode="auto">
            <a:xfrm>
              <a:off x="7453" y="1944"/>
              <a:ext cx="156" cy="213"/>
            </a:xfrm>
            <a:custGeom>
              <a:avLst/>
              <a:gdLst>
                <a:gd name="T0" fmla="*/ 224 w 235"/>
                <a:gd name="T1" fmla="*/ 42 h 320"/>
                <a:gd name="T2" fmla="*/ 214 w 235"/>
                <a:gd name="T3" fmla="*/ 42 h 320"/>
                <a:gd name="T4" fmla="*/ 213 w 235"/>
                <a:gd name="T5" fmla="*/ 39 h 320"/>
                <a:gd name="T6" fmla="*/ 202 w 235"/>
                <a:gd name="T7" fmla="*/ 7 h 320"/>
                <a:gd name="T8" fmla="*/ 192 w 235"/>
                <a:gd name="T9" fmla="*/ 0 h 320"/>
                <a:gd name="T10" fmla="*/ 43 w 235"/>
                <a:gd name="T11" fmla="*/ 0 h 320"/>
                <a:gd name="T12" fmla="*/ 33 w 235"/>
                <a:gd name="T13" fmla="*/ 7 h 320"/>
                <a:gd name="T14" fmla="*/ 22 w 235"/>
                <a:gd name="T15" fmla="*/ 39 h 320"/>
                <a:gd name="T16" fmla="*/ 22 w 235"/>
                <a:gd name="T17" fmla="*/ 42 h 320"/>
                <a:gd name="T18" fmla="*/ 11 w 235"/>
                <a:gd name="T19" fmla="*/ 42 h 320"/>
                <a:gd name="T20" fmla="*/ 0 w 235"/>
                <a:gd name="T21" fmla="*/ 53 h 320"/>
                <a:gd name="T22" fmla="*/ 11 w 235"/>
                <a:gd name="T23" fmla="*/ 64 h 320"/>
                <a:gd name="T24" fmla="*/ 23 w 235"/>
                <a:gd name="T25" fmla="*/ 64 h 320"/>
                <a:gd name="T26" fmla="*/ 27 w 235"/>
                <a:gd name="T27" fmla="*/ 117 h 320"/>
                <a:gd name="T28" fmla="*/ 22 w 235"/>
                <a:gd name="T29" fmla="*/ 117 h 320"/>
                <a:gd name="T30" fmla="*/ 14 w 235"/>
                <a:gd name="T31" fmla="*/ 120 h 320"/>
                <a:gd name="T32" fmla="*/ 11 w 235"/>
                <a:gd name="T33" fmla="*/ 129 h 320"/>
                <a:gd name="T34" fmla="*/ 22 w 235"/>
                <a:gd name="T35" fmla="*/ 246 h 320"/>
                <a:gd name="T36" fmla="*/ 32 w 235"/>
                <a:gd name="T37" fmla="*/ 256 h 320"/>
                <a:gd name="T38" fmla="*/ 39 w 235"/>
                <a:gd name="T39" fmla="*/ 256 h 320"/>
                <a:gd name="T40" fmla="*/ 43 w 235"/>
                <a:gd name="T41" fmla="*/ 310 h 320"/>
                <a:gd name="T42" fmla="*/ 54 w 235"/>
                <a:gd name="T43" fmla="*/ 320 h 320"/>
                <a:gd name="T44" fmla="*/ 182 w 235"/>
                <a:gd name="T45" fmla="*/ 320 h 320"/>
                <a:gd name="T46" fmla="*/ 192 w 235"/>
                <a:gd name="T47" fmla="*/ 310 h 320"/>
                <a:gd name="T48" fmla="*/ 197 w 235"/>
                <a:gd name="T49" fmla="*/ 256 h 320"/>
                <a:gd name="T50" fmla="*/ 203 w 235"/>
                <a:gd name="T51" fmla="*/ 256 h 320"/>
                <a:gd name="T52" fmla="*/ 214 w 235"/>
                <a:gd name="T53" fmla="*/ 246 h 320"/>
                <a:gd name="T54" fmla="*/ 224 w 235"/>
                <a:gd name="T55" fmla="*/ 129 h 320"/>
                <a:gd name="T56" fmla="*/ 222 w 235"/>
                <a:gd name="T57" fmla="*/ 120 h 320"/>
                <a:gd name="T58" fmla="*/ 214 w 235"/>
                <a:gd name="T59" fmla="*/ 117 h 320"/>
                <a:gd name="T60" fmla="*/ 208 w 235"/>
                <a:gd name="T61" fmla="*/ 117 h 320"/>
                <a:gd name="T62" fmla="*/ 213 w 235"/>
                <a:gd name="T63" fmla="*/ 64 h 320"/>
                <a:gd name="T64" fmla="*/ 224 w 235"/>
                <a:gd name="T65" fmla="*/ 64 h 320"/>
                <a:gd name="T66" fmla="*/ 235 w 235"/>
                <a:gd name="T67" fmla="*/ 53 h 320"/>
                <a:gd name="T68" fmla="*/ 224 w 235"/>
                <a:gd name="T69" fmla="*/ 42 h 320"/>
                <a:gd name="T70" fmla="*/ 51 w 235"/>
                <a:gd name="T71" fmla="*/ 21 h 320"/>
                <a:gd name="T72" fmla="*/ 185 w 235"/>
                <a:gd name="T73" fmla="*/ 21 h 320"/>
                <a:gd name="T74" fmla="*/ 192 w 235"/>
                <a:gd name="T75" fmla="*/ 42 h 320"/>
                <a:gd name="T76" fmla="*/ 44 w 235"/>
                <a:gd name="T77" fmla="*/ 42 h 320"/>
                <a:gd name="T78" fmla="*/ 51 w 235"/>
                <a:gd name="T79" fmla="*/ 21 h 320"/>
                <a:gd name="T80" fmla="*/ 172 w 235"/>
                <a:gd name="T81" fmla="*/ 298 h 320"/>
                <a:gd name="T82" fmla="*/ 63 w 235"/>
                <a:gd name="T83" fmla="*/ 298 h 320"/>
                <a:gd name="T84" fmla="*/ 60 w 235"/>
                <a:gd name="T85" fmla="*/ 256 h 320"/>
                <a:gd name="T86" fmla="*/ 175 w 235"/>
                <a:gd name="T87" fmla="*/ 256 h 320"/>
                <a:gd name="T88" fmla="*/ 172 w 235"/>
                <a:gd name="T89" fmla="*/ 298 h 320"/>
                <a:gd name="T90" fmla="*/ 193 w 235"/>
                <a:gd name="T91" fmla="*/ 234 h 320"/>
                <a:gd name="T92" fmla="*/ 42 w 235"/>
                <a:gd name="T93" fmla="*/ 234 h 320"/>
                <a:gd name="T94" fmla="*/ 33 w 235"/>
                <a:gd name="T95" fmla="*/ 138 h 320"/>
                <a:gd name="T96" fmla="*/ 202 w 235"/>
                <a:gd name="T97" fmla="*/ 138 h 320"/>
                <a:gd name="T98" fmla="*/ 193 w 235"/>
                <a:gd name="T99" fmla="*/ 234 h 320"/>
                <a:gd name="T100" fmla="*/ 187 w 235"/>
                <a:gd name="T101" fmla="*/ 117 h 320"/>
                <a:gd name="T102" fmla="*/ 48 w 235"/>
                <a:gd name="T103" fmla="*/ 117 h 320"/>
                <a:gd name="T104" fmla="*/ 44 w 235"/>
                <a:gd name="T105" fmla="*/ 64 h 320"/>
                <a:gd name="T106" fmla="*/ 191 w 235"/>
                <a:gd name="T107" fmla="*/ 64 h 320"/>
                <a:gd name="T108" fmla="*/ 187 w 235"/>
                <a:gd name="T109"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320">
                  <a:moveTo>
                    <a:pt x="224" y="42"/>
                  </a:moveTo>
                  <a:cubicBezTo>
                    <a:pt x="214" y="42"/>
                    <a:pt x="214" y="42"/>
                    <a:pt x="214" y="42"/>
                  </a:cubicBezTo>
                  <a:cubicBezTo>
                    <a:pt x="214" y="41"/>
                    <a:pt x="213" y="40"/>
                    <a:pt x="213" y="39"/>
                  </a:cubicBezTo>
                  <a:cubicBezTo>
                    <a:pt x="202" y="7"/>
                    <a:pt x="202" y="7"/>
                    <a:pt x="202" y="7"/>
                  </a:cubicBezTo>
                  <a:cubicBezTo>
                    <a:pt x="201" y="3"/>
                    <a:pt x="197" y="0"/>
                    <a:pt x="192" y="0"/>
                  </a:cubicBezTo>
                  <a:cubicBezTo>
                    <a:pt x="43" y="0"/>
                    <a:pt x="43" y="0"/>
                    <a:pt x="43" y="0"/>
                  </a:cubicBezTo>
                  <a:cubicBezTo>
                    <a:pt x="38" y="0"/>
                    <a:pt x="34" y="3"/>
                    <a:pt x="33" y="7"/>
                  </a:cubicBezTo>
                  <a:cubicBezTo>
                    <a:pt x="22" y="39"/>
                    <a:pt x="22" y="39"/>
                    <a:pt x="22" y="39"/>
                  </a:cubicBezTo>
                  <a:cubicBezTo>
                    <a:pt x="22" y="40"/>
                    <a:pt x="22" y="41"/>
                    <a:pt x="22" y="42"/>
                  </a:cubicBezTo>
                  <a:cubicBezTo>
                    <a:pt x="11" y="42"/>
                    <a:pt x="11" y="42"/>
                    <a:pt x="11" y="42"/>
                  </a:cubicBezTo>
                  <a:cubicBezTo>
                    <a:pt x="5" y="42"/>
                    <a:pt x="0" y="47"/>
                    <a:pt x="0" y="53"/>
                  </a:cubicBezTo>
                  <a:cubicBezTo>
                    <a:pt x="0" y="59"/>
                    <a:pt x="5" y="64"/>
                    <a:pt x="11" y="64"/>
                  </a:cubicBezTo>
                  <a:cubicBezTo>
                    <a:pt x="23" y="64"/>
                    <a:pt x="23" y="64"/>
                    <a:pt x="23" y="64"/>
                  </a:cubicBezTo>
                  <a:cubicBezTo>
                    <a:pt x="27" y="117"/>
                    <a:pt x="27" y="117"/>
                    <a:pt x="27" y="117"/>
                  </a:cubicBezTo>
                  <a:cubicBezTo>
                    <a:pt x="22" y="117"/>
                    <a:pt x="22" y="117"/>
                    <a:pt x="22" y="117"/>
                  </a:cubicBezTo>
                  <a:cubicBezTo>
                    <a:pt x="19" y="117"/>
                    <a:pt x="16" y="118"/>
                    <a:pt x="14" y="120"/>
                  </a:cubicBezTo>
                  <a:cubicBezTo>
                    <a:pt x="12" y="123"/>
                    <a:pt x="11" y="126"/>
                    <a:pt x="11" y="129"/>
                  </a:cubicBezTo>
                  <a:cubicBezTo>
                    <a:pt x="22" y="246"/>
                    <a:pt x="22" y="246"/>
                    <a:pt x="22" y="246"/>
                  </a:cubicBezTo>
                  <a:cubicBezTo>
                    <a:pt x="22" y="251"/>
                    <a:pt x="27" y="256"/>
                    <a:pt x="32" y="256"/>
                  </a:cubicBezTo>
                  <a:cubicBezTo>
                    <a:pt x="39" y="256"/>
                    <a:pt x="39" y="256"/>
                    <a:pt x="39" y="256"/>
                  </a:cubicBezTo>
                  <a:cubicBezTo>
                    <a:pt x="43" y="310"/>
                    <a:pt x="43" y="310"/>
                    <a:pt x="43" y="310"/>
                  </a:cubicBezTo>
                  <a:cubicBezTo>
                    <a:pt x="43" y="315"/>
                    <a:pt x="48" y="320"/>
                    <a:pt x="54" y="320"/>
                  </a:cubicBezTo>
                  <a:cubicBezTo>
                    <a:pt x="182" y="320"/>
                    <a:pt x="182" y="320"/>
                    <a:pt x="182" y="320"/>
                  </a:cubicBezTo>
                  <a:cubicBezTo>
                    <a:pt x="187" y="320"/>
                    <a:pt x="192" y="315"/>
                    <a:pt x="192" y="310"/>
                  </a:cubicBezTo>
                  <a:cubicBezTo>
                    <a:pt x="197" y="256"/>
                    <a:pt x="197" y="256"/>
                    <a:pt x="197" y="256"/>
                  </a:cubicBezTo>
                  <a:cubicBezTo>
                    <a:pt x="203" y="256"/>
                    <a:pt x="203" y="256"/>
                    <a:pt x="203" y="256"/>
                  </a:cubicBezTo>
                  <a:cubicBezTo>
                    <a:pt x="209" y="256"/>
                    <a:pt x="213" y="251"/>
                    <a:pt x="214" y="246"/>
                  </a:cubicBezTo>
                  <a:cubicBezTo>
                    <a:pt x="224" y="129"/>
                    <a:pt x="224" y="129"/>
                    <a:pt x="224" y="129"/>
                  </a:cubicBezTo>
                  <a:cubicBezTo>
                    <a:pt x="225" y="126"/>
                    <a:pt x="224" y="123"/>
                    <a:pt x="222" y="120"/>
                  </a:cubicBezTo>
                  <a:cubicBezTo>
                    <a:pt x="220" y="118"/>
                    <a:pt x="217" y="117"/>
                    <a:pt x="214" y="117"/>
                  </a:cubicBezTo>
                  <a:cubicBezTo>
                    <a:pt x="208" y="117"/>
                    <a:pt x="208" y="117"/>
                    <a:pt x="208" y="117"/>
                  </a:cubicBezTo>
                  <a:cubicBezTo>
                    <a:pt x="213" y="64"/>
                    <a:pt x="213" y="64"/>
                    <a:pt x="213" y="64"/>
                  </a:cubicBezTo>
                  <a:cubicBezTo>
                    <a:pt x="224" y="64"/>
                    <a:pt x="224" y="64"/>
                    <a:pt x="224" y="64"/>
                  </a:cubicBezTo>
                  <a:cubicBezTo>
                    <a:pt x="230" y="64"/>
                    <a:pt x="235" y="59"/>
                    <a:pt x="235" y="53"/>
                  </a:cubicBezTo>
                  <a:cubicBezTo>
                    <a:pt x="235" y="47"/>
                    <a:pt x="230" y="42"/>
                    <a:pt x="224" y="42"/>
                  </a:cubicBezTo>
                  <a:close/>
                  <a:moveTo>
                    <a:pt x="51" y="21"/>
                  </a:moveTo>
                  <a:cubicBezTo>
                    <a:pt x="185" y="21"/>
                    <a:pt x="185" y="21"/>
                    <a:pt x="185" y="21"/>
                  </a:cubicBezTo>
                  <a:cubicBezTo>
                    <a:pt x="192" y="42"/>
                    <a:pt x="192" y="42"/>
                    <a:pt x="192" y="42"/>
                  </a:cubicBezTo>
                  <a:cubicBezTo>
                    <a:pt x="44" y="42"/>
                    <a:pt x="44" y="42"/>
                    <a:pt x="44" y="42"/>
                  </a:cubicBezTo>
                  <a:lnTo>
                    <a:pt x="51" y="21"/>
                  </a:lnTo>
                  <a:close/>
                  <a:moveTo>
                    <a:pt x="172" y="298"/>
                  </a:moveTo>
                  <a:cubicBezTo>
                    <a:pt x="63" y="298"/>
                    <a:pt x="63" y="298"/>
                    <a:pt x="63" y="298"/>
                  </a:cubicBezTo>
                  <a:cubicBezTo>
                    <a:pt x="60" y="256"/>
                    <a:pt x="60" y="256"/>
                    <a:pt x="60" y="256"/>
                  </a:cubicBezTo>
                  <a:cubicBezTo>
                    <a:pt x="175" y="256"/>
                    <a:pt x="175" y="256"/>
                    <a:pt x="175" y="256"/>
                  </a:cubicBezTo>
                  <a:lnTo>
                    <a:pt x="172" y="298"/>
                  </a:lnTo>
                  <a:close/>
                  <a:moveTo>
                    <a:pt x="193" y="234"/>
                  </a:moveTo>
                  <a:cubicBezTo>
                    <a:pt x="42" y="234"/>
                    <a:pt x="42" y="234"/>
                    <a:pt x="42" y="234"/>
                  </a:cubicBezTo>
                  <a:cubicBezTo>
                    <a:pt x="33" y="138"/>
                    <a:pt x="33" y="138"/>
                    <a:pt x="33" y="138"/>
                  </a:cubicBezTo>
                  <a:cubicBezTo>
                    <a:pt x="202" y="138"/>
                    <a:pt x="202" y="138"/>
                    <a:pt x="202" y="138"/>
                  </a:cubicBezTo>
                  <a:lnTo>
                    <a:pt x="193" y="234"/>
                  </a:lnTo>
                  <a:close/>
                  <a:moveTo>
                    <a:pt x="187" y="117"/>
                  </a:moveTo>
                  <a:cubicBezTo>
                    <a:pt x="48" y="117"/>
                    <a:pt x="48" y="117"/>
                    <a:pt x="48" y="117"/>
                  </a:cubicBezTo>
                  <a:cubicBezTo>
                    <a:pt x="44" y="64"/>
                    <a:pt x="44" y="64"/>
                    <a:pt x="44" y="64"/>
                  </a:cubicBezTo>
                  <a:cubicBezTo>
                    <a:pt x="191" y="64"/>
                    <a:pt x="191" y="64"/>
                    <a:pt x="191" y="64"/>
                  </a:cubicBezTo>
                  <a:lnTo>
                    <a:pt x="187"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52" name="Freeform 501">
            <a:extLst>
              <a:ext uri="{FF2B5EF4-FFF2-40B4-BE49-F238E27FC236}">
                <a16:creationId xmlns:a16="http://schemas.microsoft.com/office/drawing/2014/main" id="{5DB0E749-7E3B-4DCA-A7B3-C8450E8EBB98}"/>
              </a:ext>
            </a:extLst>
          </p:cNvPr>
          <p:cNvSpPr>
            <a:spLocks noChangeAspect="1" noEditPoints="1"/>
          </p:cNvSpPr>
          <p:nvPr/>
        </p:nvSpPr>
        <p:spPr bwMode="auto">
          <a:xfrm>
            <a:off x="4843769" y="2524483"/>
            <a:ext cx="369676" cy="370763"/>
          </a:xfrm>
          <a:custGeom>
            <a:avLst/>
            <a:gdLst>
              <a:gd name="T0" fmla="*/ 186 w 512"/>
              <a:gd name="T1" fmla="*/ 213 h 512"/>
              <a:gd name="T2" fmla="*/ 182 w 512"/>
              <a:gd name="T3" fmla="*/ 160 h 512"/>
              <a:gd name="T4" fmla="*/ 329 w 512"/>
              <a:gd name="T5" fmla="*/ 160 h 512"/>
              <a:gd name="T6" fmla="*/ 325 w 512"/>
              <a:gd name="T7" fmla="*/ 213 h 512"/>
              <a:gd name="T8" fmla="*/ 186 w 512"/>
              <a:gd name="T9" fmla="*/ 213 h 512"/>
              <a:gd name="T10" fmla="*/ 201 w 512"/>
              <a:gd name="T11" fmla="*/ 394 h 512"/>
              <a:gd name="T12" fmla="*/ 310 w 512"/>
              <a:gd name="T13" fmla="*/ 394 h 512"/>
              <a:gd name="T14" fmla="*/ 313 w 512"/>
              <a:gd name="T15" fmla="*/ 352 h 512"/>
              <a:gd name="T16" fmla="*/ 198 w 512"/>
              <a:gd name="T17" fmla="*/ 352 h 512"/>
              <a:gd name="T18" fmla="*/ 201 w 512"/>
              <a:gd name="T19" fmla="*/ 394 h 512"/>
              <a:gd name="T20" fmla="*/ 323 w 512"/>
              <a:gd name="T21" fmla="*/ 117 h 512"/>
              <a:gd name="T22" fmla="*/ 189 w 512"/>
              <a:gd name="T23" fmla="*/ 117 h 512"/>
              <a:gd name="T24" fmla="*/ 182 w 512"/>
              <a:gd name="T25" fmla="*/ 138 h 512"/>
              <a:gd name="T26" fmla="*/ 330 w 512"/>
              <a:gd name="T27" fmla="*/ 138 h 512"/>
              <a:gd name="T28" fmla="*/ 323 w 512"/>
              <a:gd name="T29" fmla="*/ 11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73 w 512"/>
              <a:gd name="T41" fmla="*/ 149 h 512"/>
              <a:gd name="T42" fmla="*/ 362 w 512"/>
              <a:gd name="T43" fmla="*/ 138 h 512"/>
              <a:gd name="T44" fmla="*/ 352 w 512"/>
              <a:gd name="T45" fmla="*/ 138 h 512"/>
              <a:gd name="T46" fmla="*/ 351 w 512"/>
              <a:gd name="T47" fmla="*/ 135 h 512"/>
              <a:gd name="T48" fmla="*/ 340 w 512"/>
              <a:gd name="T49" fmla="*/ 103 h 512"/>
              <a:gd name="T50" fmla="*/ 330 w 512"/>
              <a:gd name="T51" fmla="*/ 96 h 512"/>
              <a:gd name="T52" fmla="*/ 181 w 512"/>
              <a:gd name="T53" fmla="*/ 96 h 512"/>
              <a:gd name="T54" fmla="*/ 171 w 512"/>
              <a:gd name="T55" fmla="*/ 103 h 512"/>
              <a:gd name="T56" fmla="*/ 160 w 512"/>
              <a:gd name="T57" fmla="*/ 135 h 512"/>
              <a:gd name="T58" fmla="*/ 160 w 512"/>
              <a:gd name="T59" fmla="*/ 138 h 512"/>
              <a:gd name="T60" fmla="*/ 149 w 512"/>
              <a:gd name="T61" fmla="*/ 138 h 512"/>
              <a:gd name="T62" fmla="*/ 138 w 512"/>
              <a:gd name="T63" fmla="*/ 149 h 512"/>
              <a:gd name="T64" fmla="*/ 149 w 512"/>
              <a:gd name="T65" fmla="*/ 160 h 512"/>
              <a:gd name="T66" fmla="*/ 161 w 512"/>
              <a:gd name="T67" fmla="*/ 160 h 512"/>
              <a:gd name="T68" fmla="*/ 165 w 512"/>
              <a:gd name="T69" fmla="*/ 213 h 512"/>
              <a:gd name="T70" fmla="*/ 160 w 512"/>
              <a:gd name="T71" fmla="*/ 213 h 512"/>
              <a:gd name="T72" fmla="*/ 152 w 512"/>
              <a:gd name="T73" fmla="*/ 216 h 512"/>
              <a:gd name="T74" fmla="*/ 149 w 512"/>
              <a:gd name="T75" fmla="*/ 225 h 512"/>
              <a:gd name="T76" fmla="*/ 160 w 512"/>
              <a:gd name="T77" fmla="*/ 342 h 512"/>
              <a:gd name="T78" fmla="*/ 170 w 512"/>
              <a:gd name="T79" fmla="*/ 352 h 512"/>
              <a:gd name="T80" fmla="*/ 177 w 512"/>
              <a:gd name="T81" fmla="*/ 352 h 512"/>
              <a:gd name="T82" fmla="*/ 181 w 512"/>
              <a:gd name="T83" fmla="*/ 406 h 512"/>
              <a:gd name="T84" fmla="*/ 192 w 512"/>
              <a:gd name="T85" fmla="*/ 416 h 512"/>
              <a:gd name="T86" fmla="*/ 320 w 512"/>
              <a:gd name="T87" fmla="*/ 416 h 512"/>
              <a:gd name="T88" fmla="*/ 330 w 512"/>
              <a:gd name="T89" fmla="*/ 406 h 512"/>
              <a:gd name="T90" fmla="*/ 335 w 512"/>
              <a:gd name="T91" fmla="*/ 352 h 512"/>
              <a:gd name="T92" fmla="*/ 341 w 512"/>
              <a:gd name="T93" fmla="*/ 352 h 512"/>
              <a:gd name="T94" fmla="*/ 352 w 512"/>
              <a:gd name="T95" fmla="*/ 342 h 512"/>
              <a:gd name="T96" fmla="*/ 362 w 512"/>
              <a:gd name="T97" fmla="*/ 225 h 512"/>
              <a:gd name="T98" fmla="*/ 360 w 512"/>
              <a:gd name="T99" fmla="*/ 216 h 512"/>
              <a:gd name="T100" fmla="*/ 352 w 512"/>
              <a:gd name="T101" fmla="*/ 213 h 512"/>
              <a:gd name="T102" fmla="*/ 346 w 512"/>
              <a:gd name="T103" fmla="*/ 213 h 512"/>
              <a:gd name="T104" fmla="*/ 351 w 512"/>
              <a:gd name="T105" fmla="*/ 160 h 512"/>
              <a:gd name="T106" fmla="*/ 362 w 512"/>
              <a:gd name="T107" fmla="*/ 160 h 512"/>
              <a:gd name="T108" fmla="*/ 373 w 512"/>
              <a:gd name="T109" fmla="*/ 149 h 512"/>
              <a:gd name="T110" fmla="*/ 180 w 512"/>
              <a:gd name="T111" fmla="*/ 330 h 512"/>
              <a:gd name="T112" fmla="*/ 331 w 512"/>
              <a:gd name="T113" fmla="*/ 330 h 512"/>
              <a:gd name="T114" fmla="*/ 340 w 512"/>
              <a:gd name="T115" fmla="*/ 234 h 512"/>
              <a:gd name="T116" fmla="*/ 171 w 512"/>
              <a:gd name="T117" fmla="*/ 234 h 512"/>
              <a:gd name="T118" fmla="*/ 180 w 512"/>
              <a:gd name="T119"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6" y="213"/>
                </a:moveTo>
                <a:cubicBezTo>
                  <a:pt x="182" y="160"/>
                  <a:pt x="182" y="160"/>
                  <a:pt x="182" y="160"/>
                </a:cubicBezTo>
                <a:cubicBezTo>
                  <a:pt x="329" y="160"/>
                  <a:pt x="329" y="160"/>
                  <a:pt x="329" y="160"/>
                </a:cubicBezTo>
                <a:cubicBezTo>
                  <a:pt x="325" y="213"/>
                  <a:pt x="325" y="213"/>
                  <a:pt x="325" y="213"/>
                </a:cubicBezTo>
                <a:lnTo>
                  <a:pt x="186" y="213"/>
                </a:lnTo>
                <a:close/>
                <a:moveTo>
                  <a:pt x="201" y="394"/>
                </a:moveTo>
                <a:cubicBezTo>
                  <a:pt x="310" y="394"/>
                  <a:pt x="310" y="394"/>
                  <a:pt x="310" y="394"/>
                </a:cubicBezTo>
                <a:cubicBezTo>
                  <a:pt x="313" y="352"/>
                  <a:pt x="313" y="352"/>
                  <a:pt x="313" y="352"/>
                </a:cubicBezTo>
                <a:cubicBezTo>
                  <a:pt x="198" y="352"/>
                  <a:pt x="198" y="352"/>
                  <a:pt x="198" y="352"/>
                </a:cubicBezTo>
                <a:lnTo>
                  <a:pt x="201" y="394"/>
                </a:lnTo>
                <a:close/>
                <a:moveTo>
                  <a:pt x="323" y="117"/>
                </a:moveTo>
                <a:cubicBezTo>
                  <a:pt x="189" y="117"/>
                  <a:pt x="189" y="117"/>
                  <a:pt x="189" y="117"/>
                </a:cubicBezTo>
                <a:cubicBezTo>
                  <a:pt x="182" y="138"/>
                  <a:pt x="182" y="138"/>
                  <a:pt x="182" y="138"/>
                </a:cubicBezTo>
                <a:cubicBezTo>
                  <a:pt x="330" y="138"/>
                  <a:pt x="330" y="138"/>
                  <a:pt x="330" y="138"/>
                </a:cubicBezTo>
                <a:lnTo>
                  <a:pt x="323"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49"/>
                </a:moveTo>
                <a:cubicBezTo>
                  <a:pt x="373" y="143"/>
                  <a:pt x="368" y="138"/>
                  <a:pt x="362" y="138"/>
                </a:cubicBezTo>
                <a:cubicBezTo>
                  <a:pt x="352" y="138"/>
                  <a:pt x="352" y="138"/>
                  <a:pt x="352" y="138"/>
                </a:cubicBezTo>
                <a:cubicBezTo>
                  <a:pt x="352" y="137"/>
                  <a:pt x="351" y="136"/>
                  <a:pt x="351" y="135"/>
                </a:cubicBezTo>
                <a:cubicBezTo>
                  <a:pt x="340" y="103"/>
                  <a:pt x="340" y="103"/>
                  <a:pt x="340" y="103"/>
                </a:cubicBezTo>
                <a:cubicBezTo>
                  <a:pt x="339" y="99"/>
                  <a:pt x="335" y="96"/>
                  <a:pt x="330" y="96"/>
                </a:cubicBezTo>
                <a:cubicBezTo>
                  <a:pt x="181" y="96"/>
                  <a:pt x="181" y="96"/>
                  <a:pt x="181" y="96"/>
                </a:cubicBezTo>
                <a:cubicBezTo>
                  <a:pt x="176" y="96"/>
                  <a:pt x="172" y="99"/>
                  <a:pt x="171" y="103"/>
                </a:cubicBezTo>
                <a:cubicBezTo>
                  <a:pt x="160" y="135"/>
                  <a:pt x="160" y="135"/>
                  <a:pt x="160" y="135"/>
                </a:cubicBezTo>
                <a:cubicBezTo>
                  <a:pt x="160" y="136"/>
                  <a:pt x="160" y="137"/>
                  <a:pt x="160" y="138"/>
                </a:cubicBezTo>
                <a:cubicBezTo>
                  <a:pt x="149" y="138"/>
                  <a:pt x="149" y="138"/>
                  <a:pt x="149" y="138"/>
                </a:cubicBezTo>
                <a:cubicBezTo>
                  <a:pt x="143" y="138"/>
                  <a:pt x="138" y="143"/>
                  <a:pt x="138" y="149"/>
                </a:cubicBezTo>
                <a:cubicBezTo>
                  <a:pt x="138" y="155"/>
                  <a:pt x="143" y="160"/>
                  <a:pt x="149" y="160"/>
                </a:cubicBezTo>
                <a:cubicBezTo>
                  <a:pt x="161" y="160"/>
                  <a:pt x="161" y="160"/>
                  <a:pt x="161" y="160"/>
                </a:cubicBezTo>
                <a:cubicBezTo>
                  <a:pt x="165" y="213"/>
                  <a:pt x="165" y="213"/>
                  <a:pt x="165" y="213"/>
                </a:cubicBezTo>
                <a:cubicBezTo>
                  <a:pt x="160" y="213"/>
                  <a:pt x="160" y="213"/>
                  <a:pt x="160" y="213"/>
                </a:cubicBezTo>
                <a:cubicBezTo>
                  <a:pt x="157" y="213"/>
                  <a:pt x="154" y="214"/>
                  <a:pt x="152" y="216"/>
                </a:cubicBezTo>
                <a:cubicBezTo>
                  <a:pt x="150" y="219"/>
                  <a:pt x="149" y="222"/>
                  <a:pt x="149" y="225"/>
                </a:cubicBezTo>
                <a:cubicBezTo>
                  <a:pt x="160" y="342"/>
                  <a:pt x="160" y="342"/>
                  <a:pt x="160" y="342"/>
                </a:cubicBezTo>
                <a:cubicBezTo>
                  <a:pt x="160" y="347"/>
                  <a:pt x="165" y="352"/>
                  <a:pt x="170" y="352"/>
                </a:cubicBezTo>
                <a:cubicBezTo>
                  <a:pt x="177" y="352"/>
                  <a:pt x="177" y="352"/>
                  <a:pt x="177" y="352"/>
                </a:cubicBezTo>
                <a:cubicBezTo>
                  <a:pt x="181" y="406"/>
                  <a:pt x="181" y="406"/>
                  <a:pt x="181" y="406"/>
                </a:cubicBezTo>
                <a:cubicBezTo>
                  <a:pt x="181" y="411"/>
                  <a:pt x="186" y="416"/>
                  <a:pt x="192" y="416"/>
                </a:cubicBezTo>
                <a:cubicBezTo>
                  <a:pt x="320" y="416"/>
                  <a:pt x="320" y="416"/>
                  <a:pt x="320" y="416"/>
                </a:cubicBezTo>
                <a:cubicBezTo>
                  <a:pt x="325" y="416"/>
                  <a:pt x="330" y="411"/>
                  <a:pt x="330" y="406"/>
                </a:cubicBezTo>
                <a:cubicBezTo>
                  <a:pt x="335" y="352"/>
                  <a:pt x="335" y="352"/>
                  <a:pt x="335" y="352"/>
                </a:cubicBezTo>
                <a:cubicBezTo>
                  <a:pt x="341" y="352"/>
                  <a:pt x="341" y="352"/>
                  <a:pt x="341" y="352"/>
                </a:cubicBezTo>
                <a:cubicBezTo>
                  <a:pt x="347" y="352"/>
                  <a:pt x="351" y="347"/>
                  <a:pt x="352" y="342"/>
                </a:cubicBezTo>
                <a:cubicBezTo>
                  <a:pt x="362" y="225"/>
                  <a:pt x="362" y="225"/>
                  <a:pt x="362" y="225"/>
                </a:cubicBezTo>
                <a:cubicBezTo>
                  <a:pt x="363" y="222"/>
                  <a:pt x="362" y="219"/>
                  <a:pt x="360" y="216"/>
                </a:cubicBezTo>
                <a:cubicBezTo>
                  <a:pt x="358" y="214"/>
                  <a:pt x="355" y="213"/>
                  <a:pt x="352" y="213"/>
                </a:cubicBezTo>
                <a:cubicBezTo>
                  <a:pt x="346" y="213"/>
                  <a:pt x="346" y="213"/>
                  <a:pt x="346" y="213"/>
                </a:cubicBezTo>
                <a:cubicBezTo>
                  <a:pt x="351" y="160"/>
                  <a:pt x="351" y="160"/>
                  <a:pt x="351" y="160"/>
                </a:cubicBezTo>
                <a:cubicBezTo>
                  <a:pt x="362" y="160"/>
                  <a:pt x="362" y="160"/>
                  <a:pt x="362" y="160"/>
                </a:cubicBezTo>
                <a:cubicBezTo>
                  <a:pt x="368" y="160"/>
                  <a:pt x="373" y="155"/>
                  <a:pt x="373" y="149"/>
                </a:cubicBezTo>
                <a:close/>
                <a:moveTo>
                  <a:pt x="180" y="330"/>
                </a:moveTo>
                <a:cubicBezTo>
                  <a:pt x="331" y="330"/>
                  <a:pt x="331" y="330"/>
                  <a:pt x="331" y="330"/>
                </a:cubicBezTo>
                <a:cubicBezTo>
                  <a:pt x="340" y="234"/>
                  <a:pt x="340" y="234"/>
                  <a:pt x="340" y="234"/>
                </a:cubicBezTo>
                <a:cubicBezTo>
                  <a:pt x="171" y="234"/>
                  <a:pt x="171" y="234"/>
                  <a:pt x="171" y="234"/>
                </a:cubicBezTo>
                <a:lnTo>
                  <a:pt x="180" y="33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3" name="Freeform 268">
            <a:extLst>
              <a:ext uri="{FF2B5EF4-FFF2-40B4-BE49-F238E27FC236}">
                <a16:creationId xmlns:a16="http://schemas.microsoft.com/office/drawing/2014/main" id="{023FB08A-70C2-49AF-8412-BF4232AC7A6C}"/>
              </a:ext>
            </a:extLst>
          </p:cNvPr>
          <p:cNvSpPr>
            <a:spLocks noChangeAspect="1" noEditPoints="1"/>
          </p:cNvSpPr>
          <p:nvPr/>
        </p:nvSpPr>
        <p:spPr bwMode="auto">
          <a:xfrm>
            <a:off x="7439248" y="1697372"/>
            <a:ext cx="369021" cy="369021"/>
          </a:xfrm>
          <a:custGeom>
            <a:avLst/>
            <a:gdLst>
              <a:gd name="T0" fmla="*/ 329 w 512"/>
              <a:gd name="T1" fmla="*/ 224 h 512"/>
              <a:gd name="T2" fmla="*/ 291 w 512"/>
              <a:gd name="T3" fmla="*/ 224 h 512"/>
              <a:gd name="T4" fmla="*/ 339 w 512"/>
              <a:gd name="T5" fmla="*/ 151 h 512"/>
              <a:gd name="T6" fmla="*/ 346 w 512"/>
              <a:gd name="T7" fmla="*/ 146 h 512"/>
              <a:gd name="T8" fmla="*/ 354 w 512"/>
              <a:gd name="T9" fmla="*/ 147 h 512"/>
              <a:gd name="T10" fmla="*/ 359 w 512"/>
              <a:gd name="T11" fmla="*/ 154 h 512"/>
              <a:gd name="T12" fmla="*/ 357 w 512"/>
              <a:gd name="T13" fmla="*/ 163 h 512"/>
              <a:gd name="T14" fmla="*/ 329 w 512"/>
              <a:gd name="T15" fmla="*/ 224 h 512"/>
              <a:gd name="T16" fmla="*/ 196 w 512"/>
              <a:gd name="T17" fmla="*/ 350 h 512"/>
              <a:gd name="T18" fmla="*/ 202 w 512"/>
              <a:gd name="T19" fmla="*/ 360 h 512"/>
              <a:gd name="T20" fmla="*/ 202 w 512"/>
              <a:gd name="T21" fmla="*/ 362 h 512"/>
              <a:gd name="T22" fmla="*/ 309 w 512"/>
              <a:gd name="T23" fmla="*/ 362 h 512"/>
              <a:gd name="T24" fmla="*/ 309 w 512"/>
              <a:gd name="T25" fmla="*/ 360 h 512"/>
              <a:gd name="T26" fmla="*/ 315 w 512"/>
              <a:gd name="T27" fmla="*/ 350 h 512"/>
              <a:gd name="T28" fmla="*/ 394 w 512"/>
              <a:gd name="T29" fmla="*/ 245 h 512"/>
              <a:gd name="T30" fmla="*/ 117 w 512"/>
              <a:gd name="T31" fmla="*/ 245 h 512"/>
              <a:gd name="T32" fmla="*/ 196 w 512"/>
              <a:gd name="T33" fmla="*/ 35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40 h 512"/>
              <a:gd name="T46" fmla="*/ 415 w 512"/>
              <a:gd name="T47" fmla="*/ 236 h 512"/>
              <a:gd name="T48" fmla="*/ 415 w 512"/>
              <a:gd name="T49" fmla="*/ 234 h 512"/>
              <a:gd name="T50" fmla="*/ 405 w 512"/>
              <a:gd name="T51" fmla="*/ 224 h 512"/>
              <a:gd name="T52" fmla="*/ 352 w 512"/>
              <a:gd name="T53" fmla="*/ 224 h 512"/>
              <a:gd name="T54" fmla="*/ 376 w 512"/>
              <a:gd name="T55" fmla="*/ 172 h 512"/>
              <a:gd name="T56" fmla="*/ 379 w 512"/>
              <a:gd name="T57" fmla="*/ 148 h 512"/>
              <a:gd name="T58" fmla="*/ 364 w 512"/>
              <a:gd name="T59" fmla="*/ 129 h 512"/>
              <a:gd name="T60" fmla="*/ 340 w 512"/>
              <a:gd name="T61" fmla="*/ 126 h 512"/>
              <a:gd name="T62" fmla="*/ 321 w 512"/>
              <a:gd name="T63" fmla="*/ 140 h 512"/>
              <a:gd name="T64" fmla="*/ 265 w 512"/>
              <a:gd name="T65" fmla="*/ 224 h 512"/>
              <a:gd name="T66" fmla="*/ 107 w 512"/>
              <a:gd name="T67" fmla="*/ 224 h 512"/>
              <a:gd name="T68" fmla="*/ 96 w 512"/>
              <a:gd name="T69" fmla="*/ 234 h 512"/>
              <a:gd name="T70" fmla="*/ 96 w 512"/>
              <a:gd name="T71" fmla="*/ 236 h 512"/>
              <a:gd name="T72" fmla="*/ 96 w 512"/>
              <a:gd name="T73" fmla="*/ 240 h 512"/>
              <a:gd name="T74" fmla="*/ 181 w 512"/>
              <a:gd name="T75" fmla="*/ 367 h 512"/>
              <a:gd name="T76" fmla="*/ 181 w 512"/>
              <a:gd name="T77" fmla="*/ 373 h 512"/>
              <a:gd name="T78" fmla="*/ 192 w 512"/>
              <a:gd name="T79" fmla="*/ 384 h 512"/>
              <a:gd name="T80" fmla="*/ 320 w 512"/>
              <a:gd name="T81" fmla="*/ 384 h 512"/>
              <a:gd name="T82" fmla="*/ 330 w 512"/>
              <a:gd name="T83" fmla="*/ 373 h 512"/>
              <a:gd name="T84" fmla="*/ 330 w 512"/>
              <a:gd name="T85" fmla="*/ 367 h 512"/>
              <a:gd name="T86" fmla="*/ 416 w 512"/>
              <a:gd name="T87"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29" y="224"/>
                </a:moveTo>
                <a:cubicBezTo>
                  <a:pt x="291" y="224"/>
                  <a:pt x="291" y="224"/>
                  <a:pt x="291" y="224"/>
                </a:cubicBezTo>
                <a:cubicBezTo>
                  <a:pt x="339" y="151"/>
                  <a:pt x="339" y="151"/>
                  <a:pt x="339" y="151"/>
                </a:cubicBezTo>
                <a:cubicBezTo>
                  <a:pt x="341" y="149"/>
                  <a:pt x="343" y="147"/>
                  <a:pt x="346" y="146"/>
                </a:cubicBezTo>
                <a:cubicBezTo>
                  <a:pt x="348" y="146"/>
                  <a:pt x="351" y="146"/>
                  <a:pt x="354" y="147"/>
                </a:cubicBezTo>
                <a:cubicBezTo>
                  <a:pt x="356" y="149"/>
                  <a:pt x="358" y="151"/>
                  <a:pt x="359" y="154"/>
                </a:cubicBezTo>
                <a:cubicBezTo>
                  <a:pt x="360" y="157"/>
                  <a:pt x="359" y="159"/>
                  <a:pt x="357" y="163"/>
                </a:cubicBezTo>
                <a:lnTo>
                  <a:pt x="329" y="224"/>
                </a:lnTo>
                <a:close/>
                <a:moveTo>
                  <a:pt x="196" y="350"/>
                </a:moveTo>
                <a:cubicBezTo>
                  <a:pt x="200" y="352"/>
                  <a:pt x="202" y="356"/>
                  <a:pt x="202" y="360"/>
                </a:cubicBezTo>
                <a:cubicBezTo>
                  <a:pt x="202" y="362"/>
                  <a:pt x="202" y="362"/>
                  <a:pt x="202" y="362"/>
                </a:cubicBezTo>
                <a:cubicBezTo>
                  <a:pt x="309" y="362"/>
                  <a:pt x="309" y="362"/>
                  <a:pt x="309" y="362"/>
                </a:cubicBezTo>
                <a:cubicBezTo>
                  <a:pt x="309" y="360"/>
                  <a:pt x="309" y="360"/>
                  <a:pt x="309" y="360"/>
                </a:cubicBezTo>
                <a:cubicBezTo>
                  <a:pt x="309" y="356"/>
                  <a:pt x="312" y="352"/>
                  <a:pt x="315" y="350"/>
                </a:cubicBezTo>
                <a:cubicBezTo>
                  <a:pt x="362" y="331"/>
                  <a:pt x="392" y="290"/>
                  <a:pt x="394" y="245"/>
                </a:cubicBezTo>
                <a:cubicBezTo>
                  <a:pt x="117" y="245"/>
                  <a:pt x="117" y="245"/>
                  <a:pt x="117" y="245"/>
                </a:cubicBezTo>
                <a:cubicBezTo>
                  <a:pt x="119" y="290"/>
                  <a:pt x="150" y="331"/>
                  <a:pt x="196" y="35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0"/>
                </a:moveTo>
                <a:cubicBezTo>
                  <a:pt x="416" y="238"/>
                  <a:pt x="416" y="237"/>
                  <a:pt x="415" y="236"/>
                </a:cubicBezTo>
                <a:cubicBezTo>
                  <a:pt x="415" y="234"/>
                  <a:pt x="415" y="234"/>
                  <a:pt x="415" y="234"/>
                </a:cubicBezTo>
                <a:cubicBezTo>
                  <a:pt x="415" y="228"/>
                  <a:pt x="410" y="224"/>
                  <a:pt x="405" y="224"/>
                </a:cubicBezTo>
                <a:cubicBezTo>
                  <a:pt x="352" y="224"/>
                  <a:pt x="352" y="224"/>
                  <a:pt x="352" y="224"/>
                </a:cubicBezTo>
                <a:cubicBezTo>
                  <a:pt x="376" y="172"/>
                  <a:pt x="376" y="172"/>
                  <a:pt x="376" y="172"/>
                </a:cubicBezTo>
                <a:cubicBezTo>
                  <a:pt x="381" y="165"/>
                  <a:pt x="382" y="156"/>
                  <a:pt x="379" y="148"/>
                </a:cubicBezTo>
                <a:cubicBezTo>
                  <a:pt x="377" y="140"/>
                  <a:pt x="372" y="133"/>
                  <a:pt x="364" y="129"/>
                </a:cubicBezTo>
                <a:cubicBezTo>
                  <a:pt x="357" y="125"/>
                  <a:pt x="348" y="124"/>
                  <a:pt x="340" y="126"/>
                </a:cubicBezTo>
                <a:cubicBezTo>
                  <a:pt x="332" y="128"/>
                  <a:pt x="325" y="133"/>
                  <a:pt x="321" y="140"/>
                </a:cubicBezTo>
                <a:cubicBezTo>
                  <a:pt x="265" y="224"/>
                  <a:pt x="265" y="224"/>
                  <a:pt x="265" y="224"/>
                </a:cubicBezTo>
                <a:cubicBezTo>
                  <a:pt x="107" y="224"/>
                  <a:pt x="107" y="224"/>
                  <a:pt x="107" y="224"/>
                </a:cubicBezTo>
                <a:cubicBezTo>
                  <a:pt x="101" y="224"/>
                  <a:pt x="96" y="228"/>
                  <a:pt x="96" y="234"/>
                </a:cubicBezTo>
                <a:cubicBezTo>
                  <a:pt x="96" y="236"/>
                  <a:pt x="96" y="236"/>
                  <a:pt x="96" y="236"/>
                </a:cubicBezTo>
                <a:cubicBezTo>
                  <a:pt x="96" y="237"/>
                  <a:pt x="96" y="238"/>
                  <a:pt x="96" y="240"/>
                </a:cubicBezTo>
                <a:cubicBezTo>
                  <a:pt x="96" y="293"/>
                  <a:pt x="129" y="342"/>
                  <a:pt x="181" y="367"/>
                </a:cubicBezTo>
                <a:cubicBezTo>
                  <a:pt x="181" y="373"/>
                  <a:pt x="181" y="373"/>
                  <a:pt x="181" y="373"/>
                </a:cubicBezTo>
                <a:cubicBezTo>
                  <a:pt x="181" y="379"/>
                  <a:pt x="186" y="384"/>
                  <a:pt x="192" y="384"/>
                </a:cubicBezTo>
                <a:cubicBezTo>
                  <a:pt x="320" y="384"/>
                  <a:pt x="320" y="384"/>
                  <a:pt x="320" y="384"/>
                </a:cubicBezTo>
                <a:cubicBezTo>
                  <a:pt x="326" y="384"/>
                  <a:pt x="330" y="379"/>
                  <a:pt x="330" y="373"/>
                </a:cubicBezTo>
                <a:cubicBezTo>
                  <a:pt x="330" y="367"/>
                  <a:pt x="330" y="367"/>
                  <a:pt x="330" y="367"/>
                </a:cubicBezTo>
                <a:cubicBezTo>
                  <a:pt x="382" y="342"/>
                  <a:pt x="416" y="293"/>
                  <a:pt x="416" y="24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54" name="Group 271">
            <a:extLst>
              <a:ext uri="{FF2B5EF4-FFF2-40B4-BE49-F238E27FC236}">
                <a16:creationId xmlns:a16="http://schemas.microsoft.com/office/drawing/2014/main" id="{EE5FE372-3BF3-433C-946E-372B057AE04F}"/>
              </a:ext>
            </a:extLst>
          </p:cNvPr>
          <p:cNvGrpSpPr>
            <a:grpSpLocks noChangeAspect="1"/>
          </p:cNvGrpSpPr>
          <p:nvPr/>
        </p:nvGrpSpPr>
        <p:grpSpPr bwMode="auto">
          <a:xfrm>
            <a:off x="7874578" y="1697372"/>
            <a:ext cx="370106" cy="369021"/>
            <a:chOff x="5834" y="786"/>
            <a:chExt cx="341" cy="340"/>
          </a:xfrm>
          <a:solidFill>
            <a:schemeClr val="accent3"/>
          </a:solidFill>
        </p:grpSpPr>
        <p:sp>
          <p:nvSpPr>
            <p:cNvPr id="255" name="Freeform 272">
              <a:extLst>
                <a:ext uri="{FF2B5EF4-FFF2-40B4-BE49-F238E27FC236}">
                  <a16:creationId xmlns:a16="http://schemas.microsoft.com/office/drawing/2014/main" id="{FC1CE8F7-78B5-4955-B09C-DD6FD700085F}"/>
                </a:ext>
              </a:extLst>
            </p:cNvPr>
            <p:cNvSpPr>
              <a:spLocks noEditPoints="1"/>
            </p:cNvSpPr>
            <p:nvPr/>
          </p:nvSpPr>
          <p:spPr bwMode="auto">
            <a:xfrm>
              <a:off x="5834" y="78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0" name="Freeform 273">
              <a:extLst>
                <a:ext uri="{FF2B5EF4-FFF2-40B4-BE49-F238E27FC236}">
                  <a16:creationId xmlns:a16="http://schemas.microsoft.com/office/drawing/2014/main" id="{C490F968-F213-4785-8857-11A9984D5023}"/>
                </a:ext>
              </a:extLst>
            </p:cNvPr>
            <p:cNvSpPr>
              <a:spLocks noEditPoints="1"/>
            </p:cNvSpPr>
            <p:nvPr/>
          </p:nvSpPr>
          <p:spPr bwMode="auto">
            <a:xfrm>
              <a:off x="5898" y="868"/>
              <a:ext cx="213" cy="173"/>
            </a:xfrm>
            <a:custGeom>
              <a:avLst/>
              <a:gdLst>
                <a:gd name="T0" fmla="*/ 319 w 320"/>
                <a:gd name="T1" fmla="*/ 112 h 260"/>
                <a:gd name="T2" fmla="*/ 319 w 320"/>
                <a:gd name="T3" fmla="*/ 110 h 260"/>
                <a:gd name="T4" fmla="*/ 309 w 320"/>
                <a:gd name="T5" fmla="*/ 100 h 260"/>
                <a:gd name="T6" fmla="*/ 256 w 320"/>
                <a:gd name="T7" fmla="*/ 100 h 260"/>
                <a:gd name="T8" fmla="*/ 280 w 320"/>
                <a:gd name="T9" fmla="*/ 48 h 260"/>
                <a:gd name="T10" fmla="*/ 283 w 320"/>
                <a:gd name="T11" fmla="*/ 24 h 260"/>
                <a:gd name="T12" fmla="*/ 268 w 320"/>
                <a:gd name="T13" fmla="*/ 5 h 260"/>
                <a:gd name="T14" fmla="*/ 244 w 320"/>
                <a:gd name="T15" fmla="*/ 2 h 260"/>
                <a:gd name="T16" fmla="*/ 225 w 320"/>
                <a:gd name="T17" fmla="*/ 16 h 260"/>
                <a:gd name="T18" fmla="*/ 169 w 320"/>
                <a:gd name="T19" fmla="*/ 100 h 260"/>
                <a:gd name="T20" fmla="*/ 11 w 320"/>
                <a:gd name="T21" fmla="*/ 100 h 260"/>
                <a:gd name="T22" fmla="*/ 0 w 320"/>
                <a:gd name="T23" fmla="*/ 110 h 260"/>
                <a:gd name="T24" fmla="*/ 0 w 320"/>
                <a:gd name="T25" fmla="*/ 112 h 260"/>
                <a:gd name="T26" fmla="*/ 0 w 320"/>
                <a:gd name="T27" fmla="*/ 116 h 260"/>
                <a:gd name="T28" fmla="*/ 85 w 320"/>
                <a:gd name="T29" fmla="*/ 243 h 260"/>
                <a:gd name="T30" fmla="*/ 85 w 320"/>
                <a:gd name="T31" fmla="*/ 249 h 260"/>
                <a:gd name="T32" fmla="*/ 96 w 320"/>
                <a:gd name="T33" fmla="*/ 260 h 260"/>
                <a:gd name="T34" fmla="*/ 224 w 320"/>
                <a:gd name="T35" fmla="*/ 260 h 260"/>
                <a:gd name="T36" fmla="*/ 234 w 320"/>
                <a:gd name="T37" fmla="*/ 249 h 260"/>
                <a:gd name="T38" fmla="*/ 234 w 320"/>
                <a:gd name="T39" fmla="*/ 243 h 260"/>
                <a:gd name="T40" fmla="*/ 320 w 320"/>
                <a:gd name="T41" fmla="*/ 116 h 260"/>
                <a:gd name="T42" fmla="*/ 319 w 320"/>
                <a:gd name="T43" fmla="*/ 112 h 260"/>
                <a:gd name="T44" fmla="*/ 243 w 320"/>
                <a:gd name="T45" fmla="*/ 27 h 260"/>
                <a:gd name="T46" fmla="*/ 250 w 320"/>
                <a:gd name="T47" fmla="*/ 22 h 260"/>
                <a:gd name="T48" fmla="*/ 258 w 320"/>
                <a:gd name="T49" fmla="*/ 23 h 260"/>
                <a:gd name="T50" fmla="*/ 263 w 320"/>
                <a:gd name="T51" fmla="*/ 30 h 260"/>
                <a:gd name="T52" fmla="*/ 261 w 320"/>
                <a:gd name="T53" fmla="*/ 39 h 260"/>
                <a:gd name="T54" fmla="*/ 233 w 320"/>
                <a:gd name="T55" fmla="*/ 100 h 260"/>
                <a:gd name="T56" fmla="*/ 195 w 320"/>
                <a:gd name="T57" fmla="*/ 100 h 260"/>
                <a:gd name="T58" fmla="*/ 243 w 320"/>
                <a:gd name="T59" fmla="*/ 27 h 260"/>
                <a:gd name="T60" fmla="*/ 219 w 320"/>
                <a:gd name="T61" fmla="*/ 226 h 260"/>
                <a:gd name="T62" fmla="*/ 213 w 320"/>
                <a:gd name="T63" fmla="*/ 236 h 260"/>
                <a:gd name="T64" fmla="*/ 213 w 320"/>
                <a:gd name="T65" fmla="*/ 238 h 260"/>
                <a:gd name="T66" fmla="*/ 106 w 320"/>
                <a:gd name="T67" fmla="*/ 238 h 260"/>
                <a:gd name="T68" fmla="*/ 106 w 320"/>
                <a:gd name="T69" fmla="*/ 236 h 260"/>
                <a:gd name="T70" fmla="*/ 100 w 320"/>
                <a:gd name="T71" fmla="*/ 226 h 260"/>
                <a:gd name="T72" fmla="*/ 21 w 320"/>
                <a:gd name="T73" fmla="*/ 121 h 260"/>
                <a:gd name="T74" fmla="*/ 298 w 320"/>
                <a:gd name="T75" fmla="*/ 121 h 260"/>
                <a:gd name="T76" fmla="*/ 219 w 320"/>
                <a:gd name="T77"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60">
                  <a:moveTo>
                    <a:pt x="319" y="112"/>
                  </a:moveTo>
                  <a:cubicBezTo>
                    <a:pt x="319" y="110"/>
                    <a:pt x="319" y="110"/>
                    <a:pt x="319" y="110"/>
                  </a:cubicBezTo>
                  <a:cubicBezTo>
                    <a:pt x="319" y="104"/>
                    <a:pt x="314" y="100"/>
                    <a:pt x="309" y="100"/>
                  </a:cubicBezTo>
                  <a:cubicBezTo>
                    <a:pt x="256" y="100"/>
                    <a:pt x="256" y="100"/>
                    <a:pt x="256" y="100"/>
                  </a:cubicBezTo>
                  <a:cubicBezTo>
                    <a:pt x="280" y="48"/>
                    <a:pt x="280" y="48"/>
                    <a:pt x="280" y="48"/>
                  </a:cubicBezTo>
                  <a:cubicBezTo>
                    <a:pt x="285" y="41"/>
                    <a:pt x="286" y="32"/>
                    <a:pt x="283" y="24"/>
                  </a:cubicBezTo>
                  <a:cubicBezTo>
                    <a:pt x="281" y="16"/>
                    <a:pt x="276" y="9"/>
                    <a:pt x="268" y="5"/>
                  </a:cubicBezTo>
                  <a:cubicBezTo>
                    <a:pt x="261" y="1"/>
                    <a:pt x="252" y="0"/>
                    <a:pt x="244" y="2"/>
                  </a:cubicBezTo>
                  <a:cubicBezTo>
                    <a:pt x="236" y="4"/>
                    <a:pt x="229" y="9"/>
                    <a:pt x="225" y="16"/>
                  </a:cubicBezTo>
                  <a:cubicBezTo>
                    <a:pt x="169" y="100"/>
                    <a:pt x="169" y="100"/>
                    <a:pt x="169" y="100"/>
                  </a:cubicBezTo>
                  <a:cubicBezTo>
                    <a:pt x="11" y="100"/>
                    <a:pt x="11" y="100"/>
                    <a:pt x="11" y="100"/>
                  </a:cubicBezTo>
                  <a:cubicBezTo>
                    <a:pt x="5" y="100"/>
                    <a:pt x="0" y="104"/>
                    <a:pt x="0" y="110"/>
                  </a:cubicBezTo>
                  <a:cubicBezTo>
                    <a:pt x="0" y="112"/>
                    <a:pt x="0" y="112"/>
                    <a:pt x="0" y="112"/>
                  </a:cubicBezTo>
                  <a:cubicBezTo>
                    <a:pt x="0" y="113"/>
                    <a:pt x="0" y="114"/>
                    <a:pt x="0" y="116"/>
                  </a:cubicBezTo>
                  <a:cubicBezTo>
                    <a:pt x="0" y="169"/>
                    <a:pt x="33" y="218"/>
                    <a:pt x="85" y="243"/>
                  </a:cubicBezTo>
                  <a:cubicBezTo>
                    <a:pt x="85" y="249"/>
                    <a:pt x="85" y="249"/>
                    <a:pt x="85" y="249"/>
                  </a:cubicBezTo>
                  <a:cubicBezTo>
                    <a:pt x="85" y="255"/>
                    <a:pt x="90" y="260"/>
                    <a:pt x="96" y="260"/>
                  </a:cubicBezTo>
                  <a:cubicBezTo>
                    <a:pt x="224" y="260"/>
                    <a:pt x="224" y="260"/>
                    <a:pt x="224" y="260"/>
                  </a:cubicBezTo>
                  <a:cubicBezTo>
                    <a:pt x="230" y="260"/>
                    <a:pt x="234" y="255"/>
                    <a:pt x="234" y="249"/>
                  </a:cubicBezTo>
                  <a:cubicBezTo>
                    <a:pt x="234" y="243"/>
                    <a:pt x="234" y="243"/>
                    <a:pt x="234" y="243"/>
                  </a:cubicBezTo>
                  <a:cubicBezTo>
                    <a:pt x="286" y="218"/>
                    <a:pt x="320" y="169"/>
                    <a:pt x="320" y="116"/>
                  </a:cubicBezTo>
                  <a:cubicBezTo>
                    <a:pt x="320" y="114"/>
                    <a:pt x="320" y="113"/>
                    <a:pt x="319" y="112"/>
                  </a:cubicBezTo>
                  <a:close/>
                  <a:moveTo>
                    <a:pt x="243" y="27"/>
                  </a:moveTo>
                  <a:cubicBezTo>
                    <a:pt x="245" y="25"/>
                    <a:pt x="247" y="23"/>
                    <a:pt x="250" y="22"/>
                  </a:cubicBezTo>
                  <a:cubicBezTo>
                    <a:pt x="252" y="22"/>
                    <a:pt x="255" y="22"/>
                    <a:pt x="258" y="23"/>
                  </a:cubicBezTo>
                  <a:cubicBezTo>
                    <a:pt x="260" y="25"/>
                    <a:pt x="262" y="27"/>
                    <a:pt x="263" y="30"/>
                  </a:cubicBezTo>
                  <a:cubicBezTo>
                    <a:pt x="264" y="33"/>
                    <a:pt x="263" y="35"/>
                    <a:pt x="261" y="39"/>
                  </a:cubicBezTo>
                  <a:cubicBezTo>
                    <a:pt x="233" y="100"/>
                    <a:pt x="233" y="100"/>
                    <a:pt x="233" y="100"/>
                  </a:cubicBezTo>
                  <a:cubicBezTo>
                    <a:pt x="195" y="100"/>
                    <a:pt x="195" y="100"/>
                    <a:pt x="195" y="100"/>
                  </a:cubicBezTo>
                  <a:lnTo>
                    <a:pt x="243" y="27"/>
                  </a:lnTo>
                  <a:close/>
                  <a:moveTo>
                    <a:pt x="219" y="226"/>
                  </a:moveTo>
                  <a:cubicBezTo>
                    <a:pt x="216" y="228"/>
                    <a:pt x="213" y="232"/>
                    <a:pt x="213" y="236"/>
                  </a:cubicBezTo>
                  <a:cubicBezTo>
                    <a:pt x="213" y="238"/>
                    <a:pt x="213" y="238"/>
                    <a:pt x="213" y="238"/>
                  </a:cubicBezTo>
                  <a:cubicBezTo>
                    <a:pt x="106" y="238"/>
                    <a:pt x="106" y="238"/>
                    <a:pt x="106" y="238"/>
                  </a:cubicBezTo>
                  <a:cubicBezTo>
                    <a:pt x="106" y="236"/>
                    <a:pt x="106" y="236"/>
                    <a:pt x="106" y="236"/>
                  </a:cubicBezTo>
                  <a:cubicBezTo>
                    <a:pt x="106" y="232"/>
                    <a:pt x="104" y="228"/>
                    <a:pt x="100" y="226"/>
                  </a:cubicBezTo>
                  <a:cubicBezTo>
                    <a:pt x="54" y="207"/>
                    <a:pt x="23" y="166"/>
                    <a:pt x="21" y="121"/>
                  </a:cubicBezTo>
                  <a:cubicBezTo>
                    <a:pt x="298" y="121"/>
                    <a:pt x="298" y="121"/>
                    <a:pt x="298" y="121"/>
                  </a:cubicBezTo>
                  <a:cubicBezTo>
                    <a:pt x="296" y="166"/>
                    <a:pt x="266" y="207"/>
                    <a:pt x="219" y="2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61" name="Group 72">
            <a:extLst>
              <a:ext uri="{FF2B5EF4-FFF2-40B4-BE49-F238E27FC236}">
                <a16:creationId xmlns:a16="http://schemas.microsoft.com/office/drawing/2014/main" id="{FFE1D153-607B-46B6-9CFC-4B54C8BDE9E8}"/>
              </a:ext>
            </a:extLst>
          </p:cNvPr>
          <p:cNvGrpSpPr>
            <a:grpSpLocks noChangeAspect="1"/>
          </p:cNvGrpSpPr>
          <p:nvPr/>
        </p:nvGrpSpPr>
        <p:grpSpPr bwMode="auto">
          <a:xfrm>
            <a:off x="6146338" y="2524483"/>
            <a:ext cx="367041" cy="367041"/>
            <a:chOff x="5279" y="1220"/>
            <a:chExt cx="340" cy="340"/>
          </a:xfrm>
          <a:solidFill>
            <a:schemeClr val="accent1"/>
          </a:solidFill>
        </p:grpSpPr>
        <p:sp>
          <p:nvSpPr>
            <p:cNvPr id="362" name="Freeform 73">
              <a:extLst>
                <a:ext uri="{FF2B5EF4-FFF2-40B4-BE49-F238E27FC236}">
                  <a16:creationId xmlns:a16="http://schemas.microsoft.com/office/drawing/2014/main" id="{A53B5F6A-03D0-4BCA-9518-B68EBB815470}"/>
                </a:ext>
              </a:extLst>
            </p:cNvPr>
            <p:cNvSpPr>
              <a:spLocks noEditPoints="1"/>
            </p:cNvSpPr>
            <p:nvPr/>
          </p:nvSpPr>
          <p:spPr bwMode="auto">
            <a:xfrm>
              <a:off x="5279" y="12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3" name="Freeform 74">
              <a:extLst>
                <a:ext uri="{FF2B5EF4-FFF2-40B4-BE49-F238E27FC236}">
                  <a16:creationId xmlns:a16="http://schemas.microsoft.com/office/drawing/2014/main" id="{BB7FE8D6-9196-47C8-8399-2EA307C16D96}"/>
                </a:ext>
              </a:extLst>
            </p:cNvPr>
            <p:cNvSpPr>
              <a:spLocks noEditPoints="1"/>
            </p:cNvSpPr>
            <p:nvPr/>
          </p:nvSpPr>
          <p:spPr bwMode="auto">
            <a:xfrm>
              <a:off x="5357" y="1298"/>
              <a:ext cx="184" cy="184"/>
            </a:xfrm>
            <a:custGeom>
              <a:avLst/>
              <a:gdLst>
                <a:gd name="T0" fmla="*/ 193 w 277"/>
                <a:gd name="T1" fmla="*/ 64 h 277"/>
                <a:gd name="T2" fmla="*/ 201 w 277"/>
                <a:gd name="T3" fmla="*/ 12 h 277"/>
                <a:gd name="T4" fmla="*/ 140 w 277"/>
                <a:gd name="T5" fmla="*/ 38 h 277"/>
                <a:gd name="T6" fmla="*/ 123 w 277"/>
                <a:gd name="T7" fmla="*/ 12 h 277"/>
                <a:gd name="T8" fmla="*/ 78 w 277"/>
                <a:gd name="T9" fmla="*/ 58 h 277"/>
                <a:gd name="T10" fmla="*/ 11 w 277"/>
                <a:gd name="T11" fmla="*/ 64 h 277"/>
                <a:gd name="T12" fmla="*/ 0 w 277"/>
                <a:gd name="T13" fmla="*/ 117 h 277"/>
                <a:gd name="T14" fmla="*/ 21 w 277"/>
                <a:gd name="T15" fmla="*/ 128 h 277"/>
                <a:gd name="T16" fmla="*/ 32 w 277"/>
                <a:gd name="T17" fmla="*/ 277 h 277"/>
                <a:gd name="T18" fmla="*/ 256 w 277"/>
                <a:gd name="T19" fmla="*/ 267 h 277"/>
                <a:gd name="T20" fmla="*/ 267 w 277"/>
                <a:gd name="T21" fmla="*/ 128 h 277"/>
                <a:gd name="T22" fmla="*/ 277 w 277"/>
                <a:gd name="T23" fmla="*/ 75 h 277"/>
                <a:gd name="T24" fmla="*/ 171 w 277"/>
                <a:gd name="T25" fmla="*/ 28 h 277"/>
                <a:gd name="T26" fmla="*/ 189 w 277"/>
                <a:gd name="T27" fmla="*/ 35 h 277"/>
                <a:gd name="T28" fmla="*/ 157 w 277"/>
                <a:gd name="T29" fmla="*/ 56 h 277"/>
                <a:gd name="T30" fmla="*/ 93 w 277"/>
                <a:gd name="T31" fmla="*/ 28 h 277"/>
                <a:gd name="T32" fmla="*/ 108 w 277"/>
                <a:gd name="T33" fmla="*/ 28 h 277"/>
                <a:gd name="T34" fmla="*/ 93 w 277"/>
                <a:gd name="T35" fmla="*/ 43 h 277"/>
                <a:gd name="T36" fmla="*/ 21 w 277"/>
                <a:gd name="T37" fmla="*/ 85 h 277"/>
                <a:gd name="T38" fmla="*/ 128 w 277"/>
                <a:gd name="T39" fmla="*/ 107 h 277"/>
                <a:gd name="T40" fmla="*/ 21 w 277"/>
                <a:gd name="T41" fmla="*/ 107 h 277"/>
                <a:gd name="T42" fmla="*/ 128 w 277"/>
                <a:gd name="T43" fmla="*/ 128 h 277"/>
                <a:gd name="T44" fmla="*/ 43 w 277"/>
                <a:gd name="T45" fmla="*/ 181 h 277"/>
                <a:gd name="T46" fmla="*/ 128 w 277"/>
                <a:gd name="T47" fmla="*/ 128 h 277"/>
                <a:gd name="T48" fmla="*/ 128 w 277"/>
                <a:gd name="T49" fmla="*/ 203 h 277"/>
                <a:gd name="T50" fmla="*/ 43 w 277"/>
                <a:gd name="T51" fmla="*/ 256 h 277"/>
                <a:gd name="T52" fmla="*/ 149 w 277"/>
                <a:gd name="T53" fmla="*/ 256 h 277"/>
                <a:gd name="T54" fmla="*/ 235 w 277"/>
                <a:gd name="T55" fmla="*/ 203 h 277"/>
                <a:gd name="T56" fmla="*/ 149 w 277"/>
                <a:gd name="T57" fmla="*/ 256 h 277"/>
                <a:gd name="T58" fmla="*/ 149 w 277"/>
                <a:gd name="T59" fmla="*/ 181 h 277"/>
                <a:gd name="T60" fmla="*/ 235 w 277"/>
                <a:gd name="T61" fmla="*/ 128 h 277"/>
                <a:gd name="T62" fmla="*/ 256 w 277"/>
                <a:gd name="T63" fmla="*/ 107 h 277"/>
                <a:gd name="T64" fmla="*/ 149 w 277"/>
                <a:gd name="T65" fmla="*/ 107 h 277"/>
                <a:gd name="T66" fmla="*/ 256 w 277"/>
                <a:gd name="T67"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277">
                  <a:moveTo>
                    <a:pt x="267" y="64"/>
                  </a:moveTo>
                  <a:cubicBezTo>
                    <a:pt x="193" y="64"/>
                    <a:pt x="193" y="64"/>
                    <a:pt x="193" y="64"/>
                  </a:cubicBezTo>
                  <a:cubicBezTo>
                    <a:pt x="196" y="62"/>
                    <a:pt x="199" y="59"/>
                    <a:pt x="201" y="58"/>
                  </a:cubicBezTo>
                  <a:cubicBezTo>
                    <a:pt x="213" y="45"/>
                    <a:pt x="213" y="25"/>
                    <a:pt x="201" y="12"/>
                  </a:cubicBezTo>
                  <a:cubicBezTo>
                    <a:pt x="188" y="0"/>
                    <a:pt x="168" y="0"/>
                    <a:pt x="156" y="12"/>
                  </a:cubicBezTo>
                  <a:cubicBezTo>
                    <a:pt x="150" y="18"/>
                    <a:pt x="144" y="28"/>
                    <a:pt x="140" y="38"/>
                  </a:cubicBezTo>
                  <a:cubicBezTo>
                    <a:pt x="140" y="39"/>
                    <a:pt x="140" y="39"/>
                    <a:pt x="139" y="40"/>
                  </a:cubicBezTo>
                  <a:cubicBezTo>
                    <a:pt x="135" y="28"/>
                    <a:pt x="128" y="17"/>
                    <a:pt x="123" y="12"/>
                  </a:cubicBezTo>
                  <a:cubicBezTo>
                    <a:pt x="111" y="0"/>
                    <a:pt x="90" y="0"/>
                    <a:pt x="78" y="12"/>
                  </a:cubicBezTo>
                  <a:cubicBezTo>
                    <a:pt x="65" y="25"/>
                    <a:pt x="65" y="45"/>
                    <a:pt x="78" y="58"/>
                  </a:cubicBezTo>
                  <a:cubicBezTo>
                    <a:pt x="80" y="60"/>
                    <a:pt x="83" y="62"/>
                    <a:pt x="86" y="64"/>
                  </a:cubicBezTo>
                  <a:cubicBezTo>
                    <a:pt x="11" y="64"/>
                    <a:pt x="11" y="64"/>
                    <a:pt x="11" y="64"/>
                  </a:cubicBezTo>
                  <a:cubicBezTo>
                    <a:pt x="5" y="64"/>
                    <a:pt x="0" y="69"/>
                    <a:pt x="0" y="75"/>
                  </a:cubicBezTo>
                  <a:cubicBezTo>
                    <a:pt x="0" y="117"/>
                    <a:pt x="0" y="117"/>
                    <a:pt x="0" y="117"/>
                  </a:cubicBezTo>
                  <a:cubicBezTo>
                    <a:pt x="0" y="123"/>
                    <a:pt x="5" y="128"/>
                    <a:pt x="11" y="128"/>
                  </a:cubicBezTo>
                  <a:cubicBezTo>
                    <a:pt x="21" y="128"/>
                    <a:pt x="21" y="128"/>
                    <a:pt x="21" y="128"/>
                  </a:cubicBezTo>
                  <a:cubicBezTo>
                    <a:pt x="21" y="267"/>
                    <a:pt x="21" y="267"/>
                    <a:pt x="21" y="267"/>
                  </a:cubicBezTo>
                  <a:cubicBezTo>
                    <a:pt x="21" y="273"/>
                    <a:pt x="26" y="277"/>
                    <a:pt x="32" y="277"/>
                  </a:cubicBezTo>
                  <a:cubicBezTo>
                    <a:pt x="245" y="277"/>
                    <a:pt x="245" y="277"/>
                    <a:pt x="245" y="277"/>
                  </a:cubicBezTo>
                  <a:cubicBezTo>
                    <a:pt x="251" y="277"/>
                    <a:pt x="256" y="273"/>
                    <a:pt x="256" y="267"/>
                  </a:cubicBezTo>
                  <a:cubicBezTo>
                    <a:pt x="256" y="128"/>
                    <a:pt x="256" y="128"/>
                    <a:pt x="256" y="128"/>
                  </a:cubicBezTo>
                  <a:cubicBezTo>
                    <a:pt x="267" y="128"/>
                    <a:pt x="267" y="128"/>
                    <a:pt x="267" y="128"/>
                  </a:cubicBezTo>
                  <a:cubicBezTo>
                    <a:pt x="273" y="128"/>
                    <a:pt x="277" y="123"/>
                    <a:pt x="277" y="117"/>
                  </a:cubicBezTo>
                  <a:cubicBezTo>
                    <a:pt x="277" y="75"/>
                    <a:pt x="277" y="75"/>
                    <a:pt x="277" y="75"/>
                  </a:cubicBezTo>
                  <a:cubicBezTo>
                    <a:pt x="277" y="69"/>
                    <a:pt x="273" y="64"/>
                    <a:pt x="267" y="64"/>
                  </a:cubicBezTo>
                  <a:close/>
                  <a:moveTo>
                    <a:pt x="171" y="28"/>
                  </a:moveTo>
                  <a:cubicBezTo>
                    <a:pt x="175" y="23"/>
                    <a:pt x="182" y="23"/>
                    <a:pt x="186" y="28"/>
                  </a:cubicBezTo>
                  <a:cubicBezTo>
                    <a:pt x="188" y="30"/>
                    <a:pt x="189" y="32"/>
                    <a:pt x="189" y="35"/>
                  </a:cubicBezTo>
                  <a:cubicBezTo>
                    <a:pt x="189" y="38"/>
                    <a:pt x="188" y="41"/>
                    <a:pt x="186" y="43"/>
                  </a:cubicBezTo>
                  <a:cubicBezTo>
                    <a:pt x="180" y="49"/>
                    <a:pt x="164" y="56"/>
                    <a:pt x="157" y="56"/>
                  </a:cubicBezTo>
                  <a:cubicBezTo>
                    <a:pt x="157" y="50"/>
                    <a:pt x="165" y="34"/>
                    <a:pt x="171" y="28"/>
                  </a:cubicBezTo>
                  <a:close/>
                  <a:moveTo>
                    <a:pt x="93" y="28"/>
                  </a:moveTo>
                  <a:cubicBezTo>
                    <a:pt x="95" y="25"/>
                    <a:pt x="98" y="24"/>
                    <a:pt x="100" y="24"/>
                  </a:cubicBezTo>
                  <a:cubicBezTo>
                    <a:pt x="103" y="24"/>
                    <a:pt x="106" y="25"/>
                    <a:pt x="108" y="28"/>
                  </a:cubicBezTo>
                  <a:cubicBezTo>
                    <a:pt x="114" y="34"/>
                    <a:pt x="121" y="50"/>
                    <a:pt x="121" y="56"/>
                  </a:cubicBezTo>
                  <a:cubicBezTo>
                    <a:pt x="115" y="56"/>
                    <a:pt x="99" y="49"/>
                    <a:pt x="93" y="43"/>
                  </a:cubicBezTo>
                  <a:cubicBezTo>
                    <a:pt x="89" y="39"/>
                    <a:pt x="89" y="32"/>
                    <a:pt x="93" y="28"/>
                  </a:cubicBezTo>
                  <a:close/>
                  <a:moveTo>
                    <a:pt x="21" y="85"/>
                  </a:moveTo>
                  <a:cubicBezTo>
                    <a:pt x="128" y="85"/>
                    <a:pt x="128" y="85"/>
                    <a:pt x="128" y="85"/>
                  </a:cubicBezTo>
                  <a:cubicBezTo>
                    <a:pt x="128" y="107"/>
                    <a:pt x="128" y="107"/>
                    <a:pt x="128" y="107"/>
                  </a:cubicBezTo>
                  <a:cubicBezTo>
                    <a:pt x="32" y="107"/>
                    <a:pt x="32" y="107"/>
                    <a:pt x="32" y="107"/>
                  </a:cubicBezTo>
                  <a:cubicBezTo>
                    <a:pt x="21" y="107"/>
                    <a:pt x="21" y="107"/>
                    <a:pt x="21" y="107"/>
                  </a:cubicBezTo>
                  <a:lnTo>
                    <a:pt x="21" y="85"/>
                  </a:lnTo>
                  <a:close/>
                  <a:moveTo>
                    <a:pt x="128" y="128"/>
                  </a:moveTo>
                  <a:cubicBezTo>
                    <a:pt x="128" y="181"/>
                    <a:pt x="128" y="181"/>
                    <a:pt x="128" y="181"/>
                  </a:cubicBezTo>
                  <a:cubicBezTo>
                    <a:pt x="43" y="181"/>
                    <a:pt x="43" y="181"/>
                    <a:pt x="43" y="181"/>
                  </a:cubicBezTo>
                  <a:cubicBezTo>
                    <a:pt x="43" y="128"/>
                    <a:pt x="43" y="128"/>
                    <a:pt x="43" y="128"/>
                  </a:cubicBezTo>
                  <a:lnTo>
                    <a:pt x="128" y="128"/>
                  </a:lnTo>
                  <a:close/>
                  <a:moveTo>
                    <a:pt x="43" y="203"/>
                  </a:moveTo>
                  <a:cubicBezTo>
                    <a:pt x="128" y="203"/>
                    <a:pt x="128" y="203"/>
                    <a:pt x="128" y="203"/>
                  </a:cubicBezTo>
                  <a:cubicBezTo>
                    <a:pt x="128" y="256"/>
                    <a:pt x="128" y="256"/>
                    <a:pt x="128" y="256"/>
                  </a:cubicBezTo>
                  <a:cubicBezTo>
                    <a:pt x="43" y="256"/>
                    <a:pt x="43" y="256"/>
                    <a:pt x="43" y="256"/>
                  </a:cubicBezTo>
                  <a:lnTo>
                    <a:pt x="43" y="203"/>
                  </a:lnTo>
                  <a:close/>
                  <a:moveTo>
                    <a:pt x="149" y="256"/>
                  </a:moveTo>
                  <a:cubicBezTo>
                    <a:pt x="149" y="203"/>
                    <a:pt x="149" y="203"/>
                    <a:pt x="149" y="203"/>
                  </a:cubicBezTo>
                  <a:cubicBezTo>
                    <a:pt x="235" y="203"/>
                    <a:pt x="235" y="203"/>
                    <a:pt x="235" y="203"/>
                  </a:cubicBezTo>
                  <a:cubicBezTo>
                    <a:pt x="235" y="256"/>
                    <a:pt x="235" y="256"/>
                    <a:pt x="235" y="256"/>
                  </a:cubicBezTo>
                  <a:lnTo>
                    <a:pt x="149" y="256"/>
                  </a:lnTo>
                  <a:close/>
                  <a:moveTo>
                    <a:pt x="235" y="181"/>
                  </a:moveTo>
                  <a:cubicBezTo>
                    <a:pt x="149" y="181"/>
                    <a:pt x="149" y="181"/>
                    <a:pt x="149" y="181"/>
                  </a:cubicBezTo>
                  <a:cubicBezTo>
                    <a:pt x="149" y="128"/>
                    <a:pt x="149" y="128"/>
                    <a:pt x="149" y="128"/>
                  </a:cubicBezTo>
                  <a:cubicBezTo>
                    <a:pt x="235" y="128"/>
                    <a:pt x="235" y="128"/>
                    <a:pt x="235" y="128"/>
                  </a:cubicBezTo>
                  <a:lnTo>
                    <a:pt x="235" y="181"/>
                  </a:lnTo>
                  <a:close/>
                  <a:moveTo>
                    <a:pt x="256" y="107"/>
                  </a:moveTo>
                  <a:cubicBezTo>
                    <a:pt x="245" y="107"/>
                    <a:pt x="245" y="107"/>
                    <a:pt x="245" y="107"/>
                  </a:cubicBezTo>
                  <a:cubicBezTo>
                    <a:pt x="149" y="107"/>
                    <a:pt x="149" y="107"/>
                    <a:pt x="149" y="107"/>
                  </a:cubicBezTo>
                  <a:cubicBezTo>
                    <a:pt x="149" y="85"/>
                    <a:pt x="149" y="85"/>
                    <a:pt x="149" y="85"/>
                  </a:cubicBezTo>
                  <a:cubicBezTo>
                    <a:pt x="256" y="85"/>
                    <a:pt x="256" y="85"/>
                    <a:pt x="256" y="85"/>
                  </a:cubicBezTo>
                  <a:lnTo>
                    <a:pt x="256"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4" name="Freeform 78">
            <a:extLst>
              <a:ext uri="{FF2B5EF4-FFF2-40B4-BE49-F238E27FC236}">
                <a16:creationId xmlns:a16="http://schemas.microsoft.com/office/drawing/2014/main" id="{2681A73B-45A5-45AD-AC05-7F20B9CA4C59}"/>
              </a:ext>
            </a:extLst>
          </p:cNvPr>
          <p:cNvSpPr>
            <a:spLocks noChangeAspect="1" noEditPoints="1"/>
          </p:cNvSpPr>
          <p:nvPr/>
        </p:nvSpPr>
        <p:spPr bwMode="auto">
          <a:xfrm>
            <a:off x="5713905" y="2524483"/>
            <a:ext cx="367041" cy="367041"/>
          </a:xfrm>
          <a:custGeom>
            <a:avLst/>
            <a:gdLst>
              <a:gd name="T0" fmla="*/ 245 w 512"/>
              <a:gd name="T1" fmla="*/ 245 h 512"/>
              <a:gd name="T2" fmla="*/ 160 w 512"/>
              <a:gd name="T3" fmla="*/ 298 h 512"/>
              <a:gd name="T4" fmla="*/ 306 w 512"/>
              <a:gd name="T5" fmla="*/ 152 h 512"/>
              <a:gd name="T6" fmla="*/ 288 w 512"/>
              <a:gd name="T7" fmla="*/ 145 h 512"/>
              <a:gd name="T8" fmla="*/ 303 w 512"/>
              <a:gd name="T9" fmla="*/ 160 h 512"/>
              <a:gd name="T10" fmla="*/ 138 w 512"/>
              <a:gd name="T11" fmla="*/ 224 h 512"/>
              <a:gd name="T12" fmla="*/ 245 w 512"/>
              <a:gd name="T13" fmla="*/ 224 h 512"/>
              <a:gd name="T14" fmla="*/ 138 w 512"/>
              <a:gd name="T15" fmla="*/ 202 h 512"/>
              <a:gd name="T16" fmla="*/ 160 w 512"/>
              <a:gd name="T17" fmla="*/ 373 h 512"/>
              <a:gd name="T18" fmla="*/ 245 w 512"/>
              <a:gd name="T19" fmla="*/ 320 h 512"/>
              <a:gd name="T20" fmla="*/ 160 w 512"/>
              <a:gd name="T21" fmla="*/ 373 h 512"/>
              <a:gd name="T22" fmla="*/ 225 w 512"/>
              <a:gd name="T23" fmla="*/ 145 h 512"/>
              <a:gd name="T24" fmla="*/ 210 w 512"/>
              <a:gd name="T25" fmla="*/ 145 h 512"/>
              <a:gd name="T26" fmla="*/ 238 w 512"/>
              <a:gd name="T27" fmla="*/ 173 h 512"/>
              <a:gd name="T28" fmla="*/ 352 w 512"/>
              <a:gd name="T29" fmla="*/ 298 h 512"/>
              <a:gd name="T30" fmla="*/ 266 w 512"/>
              <a:gd name="T31" fmla="*/ 245 h 512"/>
              <a:gd name="T32" fmla="*/ 512 w 512"/>
              <a:gd name="T33" fmla="*/ 256 h 512"/>
              <a:gd name="T34" fmla="*/ 0 w 512"/>
              <a:gd name="T35" fmla="*/ 256 h 512"/>
              <a:gd name="T36" fmla="*/ 512 w 512"/>
              <a:gd name="T37" fmla="*/ 256 h 512"/>
              <a:gd name="T38" fmla="*/ 384 w 512"/>
              <a:gd name="T39" fmla="*/ 181 h 512"/>
              <a:gd name="T40" fmla="*/ 318 w 512"/>
              <a:gd name="T41" fmla="*/ 175 h 512"/>
              <a:gd name="T42" fmla="*/ 273 w 512"/>
              <a:gd name="T43" fmla="*/ 129 h 512"/>
              <a:gd name="T44" fmla="*/ 256 w 512"/>
              <a:gd name="T45" fmla="*/ 157 h 512"/>
              <a:gd name="T46" fmla="*/ 195 w 512"/>
              <a:gd name="T47" fmla="*/ 129 h 512"/>
              <a:gd name="T48" fmla="*/ 203 w 512"/>
              <a:gd name="T49" fmla="*/ 181 h 512"/>
              <a:gd name="T50" fmla="*/ 117 w 512"/>
              <a:gd name="T51" fmla="*/ 192 h 512"/>
              <a:gd name="T52" fmla="*/ 128 w 512"/>
              <a:gd name="T53" fmla="*/ 245 h 512"/>
              <a:gd name="T54" fmla="*/ 138 w 512"/>
              <a:gd name="T55" fmla="*/ 384 h 512"/>
              <a:gd name="T56" fmla="*/ 362 w 512"/>
              <a:gd name="T57" fmla="*/ 394 h 512"/>
              <a:gd name="T58" fmla="*/ 373 w 512"/>
              <a:gd name="T59" fmla="*/ 245 h 512"/>
              <a:gd name="T60" fmla="*/ 394 w 512"/>
              <a:gd name="T61" fmla="*/ 234 h 512"/>
              <a:gd name="T62" fmla="*/ 266 w 512"/>
              <a:gd name="T63" fmla="*/ 373 h 512"/>
              <a:gd name="T64" fmla="*/ 352 w 512"/>
              <a:gd name="T65" fmla="*/ 320 h 512"/>
              <a:gd name="T66" fmla="*/ 266 w 512"/>
              <a:gd name="T67" fmla="*/ 373 h 512"/>
              <a:gd name="T68" fmla="*/ 362 w 512"/>
              <a:gd name="T69" fmla="*/ 224 h 512"/>
              <a:gd name="T70" fmla="*/ 373 w 512"/>
              <a:gd name="T71" fmla="*/ 202 h 512"/>
              <a:gd name="T72" fmla="*/ 266 w 512"/>
              <a:gd name="T7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60" y="245"/>
                </a:moveTo>
                <a:cubicBezTo>
                  <a:pt x="245" y="245"/>
                  <a:pt x="245" y="245"/>
                  <a:pt x="245" y="245"/>
                </a:cubicBezTo>
                <a:cubicBezTo>
                  <a:pt x="245" y="298"/>
                  <a:pt x="245" y="298"/>
                  <a:pt x="245" y="298"/>
                </a:cubicBezTo>
                <a:cubicBezTo>
                  <a:pt x="160" y="298"/>
                  <a:pt x="160" y="298"/>
                  <a:pt x="160" y="298"/>
                </a:cubicBezTo>
                <a:lnTo>
                  <a:pt x="160" y="245"/>
                </a:lnTo>
                <a:close/>
                <a:moveTo>
                  <a:pt x="306" y="152"/>
                </a:moveTo>
                <a:cubicBezTo>
                  <a:pt x="306" y="149"/>
                  <a:pt x="305" y="147"/>
                  <a:pt x="303" y="145"/>
                </a:cubicBezTo>
                <a:cubicBezTo>
                  <a:pt x="299" y="140"/>
                  <a:pt x="292" y="140"/>
                  <a:pt x="288" y="145"/>
                </a:cubicBezTo>
                <a:cubicBezTo>
                  <a:pt x="282" y="151"/>
                  <a:pt x="274" y="167"/>
                  <a:pt x="274" y="173"/>
                </a:cubicBezTo>
                <a:cubicBezTo>
                  <a:pt x="281" y="173"/>
                  <a:pt x="297" y="166"/>
                  <a:pt x="303" y="160"/>
                </a:cubicBezTo>
                <a:cubicBezTo>
                  <a:pt x="305" y="158"/>
                  <a:pt x="306" y="155"/>
                  <a:pt x="306" y="152"/>
                </a:cubicBezTo>
                <a:close/>
                <a:moveTo>
                  <a:pt x="138" y="224"/>
                </a:moveTo>
                <a:cubicBezTo>
                  <a:pt x="149" y="224"/>
                  <a:pt x="149" y="224"/>
                  <a:pt x="149" y="224"/>
                </a:cubicBezTo>
                <a:cubicBezTo>
                  <a:pt x="245" y="224"/>
                  <a:pt x="245" y="224"/>
                  <a:pt x="245" y="224"/>
                </a:cubicBezTo>
                <a:cubicBezTo>
                  <a:pt x="245" y="202"/>
                  <a:pt x="245" y="202"/>
                  <a:pt x="245" y="202"/>
                </a:cubicBezTo>
                <a:cubicBezTo>
                  <a:pt x="138" y="202"/>
                  <a:pt x="138" y="202"/>
                  <a:pt x="138" y="202"/>
                </a:cubicBezTo>
                <a:lnTo>
                  <a:pt x="138" y="224"/>
                </a:lnTo>
                <a:close/>
                <a:moveTo>
                  <a:pt x="160" y="373"/>
                </a:moveTo>
                <a:cubicBezTo>
                  <a:pt x="245" y="373"/>
                  <a:pt x="245" y="373"/>
                  <a:pt x="245" y="373"/>
                </a:cubicBezTo>
                <a:cubicBezTo>
                  <a:pt x="245" y="320"/>
                  <a:pt x="245" y="320"/>
                  <a:pt x="245" y="320"/>
                </a:cubicBezTo>
                <a:cubicBezTo>
                  <a:pt x="160" y="320"/>
                  <a:pt x="160" y="320"/>
                  <a:pt x="160" y="320"/>
                </a:cubicBezTo>
                <a:lnTo>
                  <a:pt x="160" y="373"/>
                </a:lnTo>
                <a:close/>
                <a:moveTo>
                  <a:pt x="238" y="173"/>
                </a:moveTo>
                <a:cubicBezTo>
                  <a:pt x="238" y="167"/>
                  <a:pt x="231" y="151"/>
                  <a:pt x="225" y="145"/>
                </a:cubicBezTo>
                <a:cubicBezTo>
                  <a:pt x="223" y="142"/>
                  <a:pt x="220" y="141"/>
                  <a:pt x="217" y="141"/>
                </a:cubicBezTo>
                <a:cubicBezTo>
                  <a:pt x="215" y="141"/>
                  <a:pt x="212" y="142"/>
                  <a:pt x="210" y="145"/>
                </a:cubicBezTo>
                <a:cubicBezTo>
                  <a:pt x="206" y="149"/>
                  <a:pt x="206" y="156"/>
                  <a:pt x="210" y="160"/>
                </a:cubicBezTo>
                <a:cubicBezTo>
                  <a:pt x="216" y="166"/>
                  <a:pt x="232" y="173"/>
                  <a:pt x="238" y="173"/>
                </a:cubicBezTo>
                <a:close/>
                <a:moveTo>
                  <a:pt x="266" y="298"/>
                </a:moveTo>
                <a:cubicBezTo>
                  <a:pt x="352" y="298"/>
                  <a:pt x="352" y="298"/>
                  <a:pt x="352" y="298"/>
                </a:cubicBezTo>
                <a:cubicBezTo>
                  <a:pt x="352" y="245"/>
                  <a:pt x="352" y="245"/>
                  <a:pt x="352" y="245"/>
                </a:cubicBezTo>
                <a:cubicBezTo>
                  <a:pt x="266" y="245"/>
                  <a:pt x="266" y="245"/>
                  <a:pt x="266" y="245"/>
                </a:cubicBezTo>
                <a:lnTo>
                  <a:pt x="266" y="29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2"/>
                </a:moveTo>
                <a:cubicBezTo>
                  <a:pt x="394" y="186"/>
                  <a:pt x="390" y="181"/>
                  <a:pt x="384" y="181"/>
                </a:cubicBezTo>
                <a:cubicBezTo>
                  <a:pt x="310" y="181"/>
                  <a:pt x="310" y="181"/>
                  <a:pt x="310" y="181"/>
                </a:cubicBezTo>
                <a:cubicBezTo>
                  <a:pt x="313" y="179"/>
                  <a:pt x="316" y="176"/>
                  <a:pt x="318" y="175"/>
                </a:cubicBezTo>
                <a:cubicBezTo>
                  <a:pt x="330" y="162"/>
                  <a:pt x="330" y="142"/>
                  <a:pt x="318" y="129"/>
                </a:cubicBezTo>
                <a:cubicBezTo>
                  <a:pt x="305" y="117"/>
                  <a:pt x="285" y="117"/>
                  <a:pt x="273" y="129"/>
                </a:cubicBezTo>
                <a:cubicBezTo>
                  <a:pt x="267" y="135"/>
                  <a:pt x="261" y="145"/>
                  <a:pt x="257" y="155"/>
                </a:cubicBezTo>
                <a:cubicBezTo>
                  <a:pt x="257" y="156"/>
                  <a:pt x="257" y="156"/>
                  <a:pt x="256" y="157"/>
                </a:cubicBezTo>
                <a:cubicBezTo>
                  <a:pt x="252" y="145"/>
                  <a:pt x="245" y="134"/>
                  <a:pt x="240" y="129"/>
                </a:cubicBezTo>
                <a:cubicBezTo>
                  <a:pt x="228" y="117"/>
                  <a:pt x="207" y="117"/>
                  <a:pt x="195" y="129"/>
                </a:cubicBezTo>
                <a:cubicBezTo>
                  <a:pt x="182" y="142"/>
                  <a:pt x="182" y="162"/>
                  <a:pt x="195" y="175"/>
                </a:cubicBezTo>
                <a:cubicBezTo>
                  <a:pt x="197" y="177"/>
                  <a:pt x="200" y="179"/>
                  <a:pt x="203" y="181"/>
                </a:cubicBezTo>
                <a:cubicBezTo>
                  <a:pt x="128" y="181"/>
                  <a:pt x="128" y="181"/>
                  <a:pt x="128" y="181"/>
                </a:cubicBezTo>
                <a:cubicBezTo>
                  <a:pt x="122" y="181"/>
                  <a:pt x="117" y="186"/>
                  <a:pt x="117" y="192"/>
                </a:cubicBezTo>
                <a:cubicBezTo>
                  <a:pt x="117" y="234"/>
                  <a:pt x="117" y="234"/>
                  <a:pt x="117" y="234"/>
                </a:cubicBezTo>
                <a:cubicBezTo>
                  <a:pt x="117" y="240"/>
                  <a:pt x="122" y="245"/>
                  <a:pt x="128" y="245"/>
                </a:cubicBezTo>
                <a:cubicBezTo>
                  <a:pt x="138" y="245"/>
                  <a:pt x="138" y="245"/>
                  <a:pt x="138" y="245"/>
                </a:cubicBezTo>
                <a:cubicBezTo>
                  <a:pt x="138" y="384"/>
                  <a:pt x="138" y="384"/>
                  <a:pt x="138" y="384"/>
                </a:cubicBezTo>
                <a:cubicBezTo>
                  <a:pt x="138" y="390"/>
                  <a:pt x="143" y="394"/>
                  <a:pt x="149" y="394"/>
                </a:cubicBezTo>
                <a:cubicBezTo>
                  <a:pt x="362" y="394"/>
                  <a:pt x="362" y="394"/>
                  <a:pt x="362" y="394"/>
                </a:cubicBezTo>
                <a:cubicBezTo>
                  <a:pt x="368" y="394"/>
                  <a:pt x="373" y="390"/>
                  <a:pt x="373" y="384"/>
                </a:cubicBezTo>
                <a:cubicBezTo>
                  <a:pt x="373" y="245"/>
                  <a:pt x="373" y="245"/>
                  <a:pt x="373" y="245"/>
                </a:cubicBezTo>
                <a:cubicBezTo>
                  <a:pt x="384" y="245"/>
                  <a:pt x="384" y="245"/>
                  <a:pt x="384" y="245"/>
                </a:cubicBezTo>
                <a:cubicBezTo>
                  <a:pt x="390" y="245"/>
                  <a:pt x="394" y="240"/>
                  <a:pt x="394" y="234"/>
                </a:cubicBezTo>
                <a:lnTo>
                  <a:pt x="394" y="192"/>
                </a:lnTo>
                <a:close/>
                <a:moveTo>
                  <a:pt x="266" y="373"/>
                </a:moveTo>
                <a:cubicBezTo>
                  <a:pt x="352" y="373"/>
                  <a:pt x="352" y="373"/>
                  <a:pt x="352" y="373"/>
                </a:cubicBezTo>
                <a:cubicBezTo>
                  <a:pt x="352" y="320"/>
                  <a:pt x="352" y="320"/>
                  <a:pt x="352" y="320"/>
                </a:cubicBezTo>
                <a:cubicBezTo>
                  <a:pt x="266" y="320"/>
                  <a:pt x="266" y="320"/>
                  <a:pt x="266" y="320"/>
                </a:cubicBezTo>
                <a:lnTo>
                  <a:pt x="266" y="373"/>
                </a:lnTo>
                <a:close/>
                <a:moveTo>
                  <a:pt x="266" y="224"/>
                </a:moveTo>
                <a:cubicBezTo>
                  <a:pt x="362" y="224"/>
                  <a:pt x="362" y="224"/>
                  <a:pt x="362" y="224"/>
                </a:cubicBezTo>
                <a:cubicBezTo>
                  <a:pt x="373" y="224"/>
                  <a:pt x="373" y="224"/>
                  <a:pt x="373" y="224"/>
                </a:cubicBezTo>
                <a:cubicBezTo>
                  <a:pt x="373" y="202"/>
                  <a:pt x="373" y="202"/>
                  <a:pt x="373" y="202"/>
                </a:cubicBezTo>
                <a:cubicBezTo>
                  <a:pt x="266" y="202"/>
                  <a:pt x="266" y="202"/>
                  <a:pt x="266" y="202"/>
                </a:cubicBezTo>
                <a:lnTo>
                  <a:pt x="266" y="2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5" name="Freeform 114">
            <a:extLst>
              <a:ext uri="{FF2B5EF4-FFF2-40B4-BE49-F238E27FC236}">
                <a16:creationId xmlns:a16="http://schemas.microsoft.com/office/drawing/2014/main" id="{0DAE4FC4-D173-44BA-A09C-24C6F59CA0BE}"/>
              </a:ext>
            </a:extLst>
          </p:cNvPr>
          <p:cNvSpPr>
            <a:spLocks noChangeAspect="1" noEditPoints="1"/>
          </p:cNvSpPr>
          <p:nvPr/>
        </p:nvSpPr>
        <p:spPr bwMode="auto">
          <a:xfrm>
            <a:off x="6578771" y="252448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05 w 512"/>
              <a:gd name="T13" fmla="*/ 373 h 512"/>
              <a:gd name="T14" fmla="*/ 106 w 512"/>
              <a:gd name="T15" fmla="*/ 373 h 512"/>
              <a:gd name="T16" fmla="*/ 96 w 512"/>
              <a:gd name="T17" fmla="*/ 362 h 512"/>
              <a:gd name="T18" fmla="*/ 96 w 512"/>
              <a:gd name="T19" fmla="*/ 149 h 512"/>
              <a:gd name="T20" fmla="*/ 106 w 512"/>
              <a:gd name="T21" fmla="*/ 138 h 512"/>
              <a:gd name="T22" fmla="*/ 405 w 512"/>
              <a:gd name="T23" fmla="*/ 138 h 512"/>
              <a:gd name="T24" fmla="*/ 416 w 512"/>
              <a:gd name="T25" fmla="*/ 149 h 512"/>
              <a:gd name="T26" fmla="*/ 416 w 512"/>
              <a:gd name="T27" fmla="*/ 362 h 512"/>
              <a:gd name="T28" fmla="*/ 117 w 512"/>
              <a:gd name="T29" fmla="*/ 160 h 512"/>
              <a:gd name="T30" fmla="*/ 394 w 512"/>
              <a:gd name="T31" fmla="*/ 160 h 512"/>
              <a:gd name="T32" fmla="*/ 394 w 512"/>
              <a:gd name="T33" fmla="*/ 181 h 512"/>
              <a:gd name="T34" fmla="*/ 117 w 512"/>
              <a:gd name="T35" fmla="*/ 181 h 512"/>
              <a:gd name="T36" fmla="*/ 117 w 512"/>
              <a:gd name="T37" fmla="*/ 160 h 512"/>
              <a:gd name="T38" fmla="*/ 117 w 512"/>
              <a:gd name="T39" fmla="*/ 352 h 512"/>
              <a:gd name="T40" fmla="*/ 394 w 512"/>
              <a:gd name="T41" fmla="*/ 352 h 512"/>
              <a:gd name="T42" fmla="*/ 394 w 512"/>
              <a:gd name="T43" fmla="*/ 224 h 512"/>
              <a:gd name="T44" fmla="*/ 117 w 512"/>
              <a:gd name="T45" fmla="*/ 224 h 512"/>
              <a:gd name="T46" fmla="*/ 117 w 512"/>
              <a:gd name="T47" fmla="*/ 352 h 512"/>
              <a:gd name="T48" fmla="*/ 149 w 512"/>
              <a:gd name="T49" fmla="*/ 309 h 512"/>
              <a:gd name="T50" fmla="*/ 256 w 512"/>
              <a:gd name="T51" fmla="*/ 309 h 512"/>
              <a:gd name="T52" fmla="*/ 266 w 512"/>
              <a:gd name="T53" fmla="*/ 320 h 512"/>
              <a:gd name="T54" fmla="*/ 256 w 512"/>
              <a:gd name="T55" fmla="*/ 330 h 512"/>
              <a:gd name="T56" fmla="*/ 149 w 512"/>
              <a:gd name="T57" fmla="*/ 330 h 512"/>
              <a:gd name="T58" fmla="*/ 138 w 512"/>
              <a:gd name="T59" fmla="*/ 320 h 512"/>
              <a:gd name="T60" fmla="*/ 149 w 512"/>
              <a:gd name="T6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62"/>
                </a:lnTo>
                <a:close/>
                <a:moveTo>
                  <a:pt x="117" y="160"/>
                </a:moveTo>
                <a:cubicBezTo>
                  <a:pt x="394" y="160"/>
                  <a:pt x="394" y="160"/>
                  <a:pt x="394" y="160"/>
                </a:cubicBezTo>
                <a:cubicBezTo>
                  <a:pt x="394" y="181"/>
                  <a:pt x="394" y="181"/>
                  <a:pt x="394" y="181"/>
                </a:cubicBezTo>
                <a:cubicBezTo>
                  <a:pt x="117" y="181"/>
                  <a:pt x="117" y="181"/>
                  <a:pt x="117" y="181"/>
                </a:cubicBezTo>
                <a:lnTo>
                  <a:pt x="117" y="160"/>
                </a:lnTo>
                <a:close/>
                <a:moveTo>
                  <a:pt x="117" y="352"/>
                </a:moveTo>
                <a:cubicBezTo>
                  <a:pt x="394" y="352"/>
                  <a:pt x="394" y="352"/>
                  <a:pt x="394" y="352"/>
                </a:cubicBezTo>
                <a:cubicBezTo>
                  <a:pt x="394" y="224"/>
                  <a:pt x="394" y="224"/>
                  <a:pt x="394" y="224"/>
                </a:cubicBezTo>
                <a:cubicBezTo>
                  <a:pt x="117" y="224"/>
                  <a:pt x="117" y="224"/>
                  <a:pt x="117" y="224"/>
                </a:cubicBezTo>
                <a:lnTo>
                  <a:pt x="117" y="352"/>
                </a:lnTo>
                <a:close/>
                <a:moveTo>
                  <a:pt x="149" y="309"/>
                </a:moveTo>
                <a:cubicBezTo>
                  <a:pt x="256" y="309"/>
                  <a:pt x="256" y="309"/>
                  <a:pt x="256" y="309"/>
                </a:cubicBezTo>
                <a:cubicBezTo>
                  <a:pt x="262" y="309"/>
                  <a:pt x="266" y="314"/>
                  <a:pt x="266" y="320"/>
                </a:cubicBezTo>
                <a:cubicBezTo>
                  <a:pt x="266" y="326"/>
                  <a:pt x="262" y="330"/>
                  <a:pt x="256" y="330"/>
                </a:cubicBezTo>
                <a:cubicBezTo>
                  <a:pt x="149" y="330"/>
                  <a:pt x="149" y="330"/>
                  <a:pt x="149" y="330"/>
                </a:cubicBezTo>
                <a:cubicBezTo>
                  <a:pt x="143" y="330"/>
                  <a:pt x="138" y="326"/>
                  <a:pt x="138" y="320"/>
                </a:cubicBezTo>
                <a:cubicBezTo>
                  <a:pt x="138" y="314"/>
                  <a:pt x="143" y="309"/>
                  <a:pt x="149" y="30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66" name="Group 117">
            <a:extLst>
              <a:ext uri="{FF2B5EF4-FFF2-40B4-BE49-F238E27FC236}">
                <a16:creationId xmlns:a16="http://schemas.microsoft.com/office/drawing/2014/main" id="{48C850CB-8975-47FC-A355-DE035DBBE853}"/>
              </a:ext>
            </a:extLst>
          </p:cNvPr>
          <p:cNvGrpSpPr>
            <a:grpSpLocks noChangeAspect="1"/>
          </p:cNvGrpSpPr>
          <p:nvPr/>
        </p:nvGrpSpPr>
        <p:grpSpPr bwMode="auto">
          <a:xfrm>
            <a:off x="7011794" y="2524483"/>
            <a:ext cx="367631" cy="367631"/>
            <a:chOff x="2594" y="955"/>
            <a:chExt cx="340" cy="340"/>
          </a:xfrm>
          <a:solidFill>
            <a:schemeClr val="accent2"/>
          </a:solidFill>
        </p:grpSpPr>
        <p:sp>
          <p:nvSpPr>
            <p:cNvPr id="367" name="Freeform 118">
              <a:extLst>
                <a:ext uri="{FF2B5EF4-FFF2-40B4-BE49-F238E27FC236}">
                  <a16:creationId xmlns:a16="http://schemas.microsoft.com/office/drawing/2014/main" id="{36FCC395-8D9E-4C89-8EF2-93CA4EC6DF02}"/>
                </a:ext>
              </a:extLst>
            </p:cNvPr>
            <p:cNvSpPr>
              <a:spLocks noEditPoints="1"/>
            </p:cNvSpPr>
            <p:nvPr/>
          </p:nvSpPr>
          <p:spPr bwMode="auto">
            <a:xfrm>
              <a:off x="2658" y="1047"/>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22 h 235"/>
                <a:gd name="T20" fmla="*/ 298 w 320"/>
                <a:gd name="T21" fmla="*/ 43 h 235"/>
                <a:gd name="T22" fmla="*/ 21 w 320"/>
                <a:gd name="T23" fmla="*/ 43 h 235"/>
                <a:gd name="T24" fmla="*/ 21 w 320"/>
                <a:gd name="T25" fmla="*/ 22 h 235"/>
                <a:gd name="T26" fmla="*/ 298 w 320"/>
                <a:gd name="T27" fmla="*/ 22 h 235"/>
                <a:gd name="T28" fmla="*/ 21 w 320"/>
                <a:gd name="T29" fmla="*/ 214 h 235"/>
                <a:gd name="T30" fmla="*/ 21 w 320"/>
                <a:gd name="T31" fmla="*/ 86 h 235"/>
                <a:gd name="T32" fmla="*/ 298 w 320"/>
                <a:gd name="T33" fmla="*/ 86 h 235"/>
                <a:gd name="T34" fmla="*/ 298 w 320"/>
                <a:gd name="T35" fmla="*/ 214 h 235"/>
                <a:gd name="T36" fmla="*/ 21 w 320"/>
                <a:gd name="T37" fmla="*/ 214 h 235"/>
                <a:gd name="T38" fmla="*/ 170 w 320"/>
                <a:gd name="T39" fmla="*/ 182 h 235"/>
                <a:gd name="T40" fmla="*/ 160 w 320"/>
                <a:gd name="T41" fmla="*/ 192 h 235"/>
                <a:gd name="T42" fmla="*/ 53 w 320"/>
                <a:gd name="T43" fmla="*/ 192 h 235"/>
                <a:gd name="T44" fmla="*/ 42 w 320"/>
                <a:gd name="T45" fmla="*/ 182 h 235"/>
                <a:gd name="T46" fmla="*/ 53 w 320"/>
                <a:gd name="T47" fmla="*/ 171 h 235"/>
                <a:gd name="T48" fmla="*/ 160 w 320"/>
                <a:gd name="T49" fmla="*/ 171 h 235"/>
                <a:gd name="T50" fmla="*/ 170 w 320"/>
                <a:gd name="T5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22"/>
                  </a:moveTo>
                  <a:cubicBezTo>
                    <a:pt x="298" y="43"/>
                    <a:pt x="298" y="43"/>
                    <a:pt x="298" y="43"/>
                  </a:cubicBezTo>
                  <a:cubicBezTo>
                    <a:pt x="21" y="43"/>
                    <a:pt x="21" y="43"/>
                    <a:pt x="21" y="43"/>
                  </a:cubicBezTo>
                  <a:cubicBezTo>
                    <a:pt x="21" y="22"/>
                    <a:pt x="21" y="22"/>
                    <a:pt x="21" y="22"/>
                  </a:cubicBezTo>
                  <a:lnTo>
                    <a:pt x="298" y="22"/>
                  </a:lnTo>
                  <a:close/>
                  <a:moveTo>
                    <a:pt x="21" y="214"/>
                  </a:moveTo>
                  <a:cubicBezTo>
                    <a:pt x="21" y="86"/>
                    <a:pt x="21" y="86"/>
                    <a:pt x="21" y="86"/>
                  </a:cubicBezTo>
                  <a:cubicBezTo>
                    <a:pt x="298" y="86"/>
                    <a:pt x="298" y="86"/>
                    <a:pt x="298" y="86"/>
                  </a:cubicBezTo>
                  <a:cubicBezTo>
                    <a:pt x="298" y="214"/>
                    <a:pt x="298" y="214"/>
                    <a:pt x="298" y="214"/>
                  </a:cubicBezTo>
                  <a:lnTo>
                    <a:pt x="21" y="214"/>
                  </a:lnTo>
                  <a:close/>
                  <a:moveTo>
                    <a:pt x="170" y="182"/>
                  </a:moveTo>
                  <a:cubicBezTo>
                    <a:pt x="170" y="188"/>
                    <a:pt x="166" y="192"/>
                    <a:pt x="160" y="192"/>
                  </a:cubicBezTo>
                  <a:cubicBezTo>
                    <a:pt x="53" y="192"/>
                    <a:pt x="53" y="192"/>
                    <a:pt x="53" y="192"/>
                  </a:cubicBezTo>
                  <a:cubicBezTo>
                    <a:pt x="47" y="192"/>
                    <a:pt x="42" y="188"/>
                    <a:pt x="42" y="182"/>
                  </a:cubicBezTo>
                  <a:cubicBezTo>
                    <a:pt x="42" y="176"/>
                    <a:pt x="47" y="171"/>
                    <a:pt x="53" y="171"/>
                  </a:cubicBezTo>
                  <a:cubicBezTo>
                    <a:pt x="160" y="171"/>
                    <a:pt x="160" y="171"/>
                    <a:pt x="160" y="171"/>
                  </a:cubicBezTo>
                  <a:cubicBezTo>
                    <a:pt x="166" y="171"/>
                    <a:pt x="170" y="176"/>
                    <a:pt x="17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8" name="Freeform 119">
              <a:extLst>
                <a:ext uri="{FF2B5EF4-FFF2-40B4-BE49-F238E27FC236}">
                  <a16:creationId xmlns:a16="http://schemas.microsoft.com/office/drawing/2014/main" id="{2E733635-82D2-4DD2-B60E-4529AF60909C}"/>
                </a:ext>
              </a:extLst>
            </p:cNvPr>
            <p:cNvSpPr>
              <a:spLocks noEditPoints="1"/>
            </p:cNvSpPr>
            <p:nvPr/>
          </p:nvSpPr>
          <p:spPr bwMode="auto">
            <a:xfrm>
              <a:off x="2594" y="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9" name="Freeform 586">
            <a:extLst>
              <a:ext uri="{FF2B5EF4-FFF2-40B4-BE49-F238E27FC236}">
                <a16:creationId xmlns:a16="http://schemas.microsoft.com/office/drawing/2014/main" id="{9F573869-C767-4C35-82FC-AE895940813C}"/>
              </a:ext>
            </a:extLst>
          </p:cNvPr>
          <p:cNvSpPr>
            <a:spLocks noChangeAspect="1" noEditPoints="1"/>
          </p:cNvSpPr>
          <p:nvPr/>
        </p:nvSpPr>
        <p:spPr bwMode="auto">
          <a:xfrm>
            <a:off x="7444817" y="2524483"/>
            <a:ext cx="367631" cy="367631"/>
          </a:xfrm>
          <a:custGeom>
            <a:avLst/>
            <a:gdLst>
              <a:gd name="T0" fmla="*/ 149 w 512"/>
              <a:gd name="T1" fmla="*/ 352 h 512"/>
              <a:gd name="T2" fmla="*/ 298 w 512"/>
              <a:gd name="T3" fmla="*/ 352 h 512"/>
              <a:gd name="T4" fmla="*/ 298 w 512"/>
              <a:gd name="T5" fmla="*/ 362 h 512"/>
              <a:gd name="T6" fmla="*/ 292 w 512"/>
              <a:gd name="T7" fmla="*/ 373 h 512"/>
              <a:gd name="T8" fmla="*/ 155 w 512"/>
              <a:gd name="T9" fmla="*/ 373 h 512"/>
              <a:gd name="T10" fmla="*/ 149 w 512"/>
              <a:gd name="T11" fmla="*/ 362 h 512"/>
              <a:gd name="T12" fmla="*/ 149 w 512"/>
              <a:gd name="T13" fmla="*/ 352 h 512"/>
              <a:gd name="T14" fmla="*/ 163 w 512"/>
              <a:gd name="T15" fmla="*/ 245 h 512"/>
              <a:gd name="T16" fmla="*/ 284 w 512"/>
              <a:gd name="T17" fmla="*/ 245 h 512"/>
              <a:gd name="T18" fmla="*/ 224 w 512"/>
              <a:gd name="T19" fmla="*/ 224 h 512"/>
              <a:gd name="T20" fmla="*/ 163 w 512"/>
              <a:gd name="T21" fmla="*/ 24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5 w 512"/>
              <a:gd name="T33" fmla="*/ 171 h 512"/>
              <a:gd name="T34" fmla="*/ 402 w 512"/>
              <a:gd name="T35" fmla="*/ 163 h 512"/>
              <a:gd name="T36" fmla="*/ 394 w 512"/>
              <a:gd name="T37" fmla="*/ 160 h 512"/>
              <a:gd name="T38" fmla="*/ 329 w 512"/>
              <a:gd name="T39" fmla="*/ 160 h 512"/>
              <a:gd name="T40" fmla="*/ 320 w 512"/>
              <a:gd name="T41" fmla="*/ 105 h 512"/>
              <a:gd name="T42" fmla="*/ 315 w 512"/>
              <a:gd name="T43" fmla="*/ 97 h 512"/>
              <a:gd name="T44" fmla="*/ 306 w 512"/>
              <a:gd name="T45" fmla="*/ 96 h 512"/>
              <a:gd name="T46" fmla="*/ 242 w 512"/>
              <a:gd name="T47" fmla="*/ 118 h 512"/>
              <a:gd name="T48" fmla="*/ 235 w 512"/>
              <a:gd name="T49" fmla="*/ 131 h 512"/>
              <a:gd name="T50" fmla="*/ 248 w 512"/>
              <a:gd name="T51" fmla="*/ 138 h 512"/>
              <a:gd name="T52" fmla="*/ 301 w 512"/>
              <a:gd name="T53" fmla="*/ 120 h 512"/>
              <a:gd name="T54" fmla="*/ 307 w 512"/>
              <a:gd name="T55" fmla="*/ 160 h 512"/>
              <a:gd name="T56" fmla="*/ 245 w 512"/>
              <a:gd name="T57" fmla="*/ 160 h 512"/>
              <a:gd name="T58" fmla="*/ 237 w 512"/>
              <a:gd name="T59" fmla="*/ 163 h 512"/>
              <a:gd name="T60" fmla="*/ 234 w 512"/>
              <a:gd name="T61" fmla="*/ 171 h 512"/>
              <a:gd name="T62" fmla="*/ 238 w 512"/>
              <a:gd name="T63" fmla="*/ 203 h 512"/>
              <a:gd name="T64" fmla="*/ 224 w 512"/>
              <a:gd name="T65" fmla="*/ 202 h 512"/>
              <a:gd name="T66" fmla="*/ 130 w 512"/>
              <a:gd name="T67" fmla="*/ 249 h 512"/>
              <a:gd name="T68" fmla="*/ 129 w 512"/>
              <a:gd name="T69" fmla="*/ 260 h 512"/>
              <a:gd name="T70" fmla="*/ 138 w 512"/>
              <a:gd name="T71" fmla="*/ 266 h 512"/>
              <a:gd name="T72" fmla="*/ 309 w 512"/>
              <a:gd name="T73" fmla="*/ 266 h 512"/>
              <a:gd name="T74" fmla="*/ 309 w 512"/>
              <a:gd name="T75" fmla="*/ 266 h 512"/>
              <a:gd name="T76" fmla="*/ 319 w 512"/>
              <a:gd name="T77" fmla="*/ 260 h 512"/>
              <a:gd name="T78" fmla="*/ 318 w 512"/>
              <a:gd name="T79" fmla="*/ 249 h 512"/>
              <a:gd name="T80" fmla="*/ 259 w 512"/>
              <a:gd name="T81" fmla="*/ 208 h 512"/>
              <a:gd name="T82" fmla="*/ 257 w 512"/>
              <a:gd name="T83" fmla="*/ 181 h 512"/>
              <a:gd name="T84" fmla="*/ 383 w 512"/>
              <a:gd name="T85" fmla="*/ 181 h 512"/>
              <a:gd name="T86" fmla="*/ 363 w 512"/>
              <a:gd name="T87" fmla="*/ 373 h 512"/>
              <a:gd name="T88" fmla="*/ 318 w 512"/>
              <a:gd name="T89" fmla="*/ 373 h 512"/>
              <a:gd name="T90" fmla="*/ 320 w 512"/>
              <a:gd name="T91" fmla="*/ 362 h 512"/>
              <a:gd name="T92" fmla="*/ 320 w 512"/>
              <a:gd name="T93" fmla="*/ 341 h 512"/>
              <a:gd name="T94" fmla="*/ 309 w 512"/>
              <a:gd name="T95" fmla="*/ 330 h 512"/>
              <a:gd name="T96" fmla="*/ 138 w 512"/>
              <a:gd name="T97" fmla="*/ 330 h 512"/>
              <a:gd name="T98" fmla="*/ 128 w 512"/>
              <a:gd name="T99" fmla="*/ 341 h 512"/>
              <a:gd name="T100" fmla="*/ 128 w 512"/>
              <a:gd name="T101" fmla="*/ 362 h 512"/>
              <a:gd name="T102" fmla="*/ 155 w 512"/>
              <a:gd name="T103" fmla="*/ 394 h 512"/>
              <a:gd name="T104" fmla="*/ 373 w 512"/>
              <a:gd name="T105" fmla="*/ 394 h 512"/>
              <a:gd name="T106" fmla="*/ 384 w 512"/>
              <a:gd name="T107" fmla="*/ 385 h 512"/>
              <a:gd name="T108" fmla="*/ 405 w 512"/>
              <a:gd name="T109" fmla="*/ 171 h 512"/>
              <a:gd name="T110" fmla="*/ 138 w 512"/>
              <a:gd name="T111" fmla="*/ 309 h 512"/>
              <a:gd name="T112" fmla="*/ 309 w 512"/>
              <a:gd name="T113" fmla="*/ 309 h 512"/>
              <a:gd name="T114" fmla="*/ 320 w 512"/>
              <a:gd name="T115" fmla="*/ 298 h 512"/>
              <a:gd name="T116" fmla="*/ 309 w 512"/>
              <a:gd name="T117" fmla="*/ 288 h 512"/>
              <a:gd name="T118" fmla="*/ 138 w 512"/>
              <a:gd name="T119" fmla="*/ 288 h 512"/>
              <a:gd name="T120" fmla="*/ 128 w 512"/>
              <a:gd name="T121" fmla="*/ 298 h 512"/>
              <a:gd name="T122" fmla="*/ 138 w 512"/>
              <a:gd name="T123"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149" y="352"/>
                </a:moveTo>
                <a:cubicBezTo>
                  <a:pt x="298" y="352"/>
                  <a:pt x="298" y="352"/>
                  <a:pt x="298" y="352"/>
                </a:cubicBezTo>
                <a:cubicBezTo>
                  <a:pt x="298" y="362"/>
                  <a:pt x="298" y="362"/>
                  <a:pt x="298" y="362"/>
                </a:cubicBezTo>
                <a:cubicBezTo>
                  <a:pt x="298" y="368"/>
                  <a:pt x="295" y="373"/>
                  <a:pt x="292" y="373"/>
                </a:cubicBezTo>
                <a:cubicBezTo>
                  <a:pt x="155" y="373"/>
                  <a:pt x="155" y="373"/>
                  <a:pt x="155" y="373"/>
                </a:cubicBezTo>
                <a:cubicBezTo>
                  <a:pt x="152" y="373"/>
                  <a:pt x="149" y="368"/>
                  <a:pt x="149" y="362"/>
                </a:cubicBezTo>
                <a:lnTo>
                  <a:pt x="149" y="352"/>
                </a:lnTo>
                <a:close/>
                <a:moveTo>
                  <a:pt x="163" y="245"/>
                </a:moveTo>
                <a:cubicBezTo>
                  <a:pt x="284" y="245"/>
                  <a:pt x="284" y="245"/>
                  <a:pt x="284" y="245"/>
                </a:cubicBezTo>
                <a:cubicBezTo>
                  <a:pt x="267" y="231"/>
                  <a:pt x="246" y="224"/>
                  <a:pt x="224" y="224"/>
                </a:cubicBezTo>
                <a:cubicBezTo>
                  <a:pt x="201" y="224"/>
                  <a:pt x="180" y="231"/>
                  <a:pt x="163"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71"/>
                </a:moveTo>
                <a:cubicBezTo>
                  <a:pt x="405" y="168"/>
                  <a:pt x="404" y="165"/>
                  <a:pt x="402" y="163"/>
                </a:cubicBezTo>
                <a:cubicBezTo>
                  <a:pt x="400" y="161"/>
                  <a:pt x="397" y="160"/>
                  <a:pt x="394" y="160"/>
                </a:cubicBezTo>
                <a:cubicBezTo>
                  <a:pt x="329" y="160"/>
                  <a:pt x="329" y="160"/>
                  <a:pt x="329" y="160"/>
                </a:cubicBezTo>
                <a:cubicBezTo>
                  <a:pt x="320" y="105"/>
                  <a:pt x="320" y="105"/>
                  <a:pt x="320" y="105"/>
                </a:cubicBezTo>
                <a:cubicBezTo>
                  <a:pt x="319" y="101"/>
                  <a:pt x="317" y="99"/>
                  <a:pt x="315" y="97"/>
                </a:cubicBezTo>
                <a:cubicBezTo>
                  <a:pt x="312" y="96"/>
                  <a:pt x="309" y="95"/>
                  <a:pt x="306" y="96"/>
                </a:cubicBezTo>
                <a:cubicBezTo>
                  <a:pt x="242" y="118"/>
                  <a:pt x="242" y="118"/>
                  <a:pt x="242" y="118"/>
                </a:cubicBezTo>
                <a:cubicBezTo>
                  <a:pt x="236" y="119"/>
                  <a:pt x="233" y="125"/>
                  <a:pt x="235" y="131"/>
                </a:cubicBezTo>
                <a:cubicBezTo>
                  <a:pt x="237" y="137"/>
                  <a:pt x="243" y="140"/>
                  <a:pt x="248" y="138"/>
                </a:cubicBezTo>
                <a:cubicBezTo>
                  <a:pt x="301" y="120"/>
                  <a:pt x="301" y="120"/>
                  <a:pt x="301" y="120"/>
                </a:cubicBezTo>
                <a:cubicBezTo>
                  <a:pt x="307" y="160"/>
                  <a:pt x="307" y="160"/>
                  <a:pt x="307" y="160"/>
                </a:cubicBezTo>
                <a:cubicBezTo>
                  <a:pt x="245" y="160"/>
                  <a:pt x="245" y="160"/>
                  <a:pt x="245" y="160"/>
                </a:cubicBezTo>
                <a:cubicBezTo>
                  <a:pt x="242" y="160"/>
                  <a:pt x="239" y="161"/>
                  <a:pt x="237" y="163"/>
                </a:cubicBezTo>
                <a:cubicBezTo>
                  <a:pt x="235" y="165"/>
                  <a:pt x="234" y="168"/>
                  <a:pt x="234" y="171"/>
                </a:cubicBezTo>
                <a:cubicBezTo>
                  <a:pt x="238" y="203"/>
                  <a:pt x="238" y="203"/>
                  <a:pt x="238" y="203"/>
                </a:cubicBezTo>
                <a:cubicBezTo>
                  <a:pt x="233" y="203"/>
                  <a:pt x="228" y="202"/>
                  <a:pt x="224" y="202"/>
                </a:cubicBezTo>
                <a:cubicBezTo>
                  <a:pt x="186" y="202"/>
                  <a:pt x="152" y="219"/>
                  <a:pt x="130" y="249"/>
                </a:cubicBezTo>
                <a:cubicBezTo>
                  <a:pt x="127" y="252"/>
                  <a:pt x="127" y="257"/>
                  <a:pt x="129" y="260"/>
                </a:cubicBezTo>
                <a:cubicBezTo>
                  <a:pt x="131" y="264"/>
                  <a:pt x="134" y="266"/>
                  <a:pt x="138" y="266"/>
                </a:cubicBezTo>
                <a:cubicBezTo>
                  <a:pt x="309" y="266"/>
                  <a:pt x="309" y="266"/>
                  <a:pt x="309" y="266"/>
                </a:cubicBezTo>
                <a:cubicBezTo>
                  <a:pt x="309" y="266"/>
                  <a:pt x="309" y="266"/>
                  <a:pt x="309" y="266"/>
                </a:cubicBezTo>
                <a:cubicBezTo>
                  <a:pt x="313" y="266"/>
                  <a:pt x="317" y="264"/>
                  <a:pt x="319" y="260"/>
                </a:cubicBezTo>
                <a:cubicBezTo>
                  <a:pt x="320" y="257"/>
                  <a:pt x="320" y="253"/>
                  <a:pt x="318" y="249"/>
                </a:cubicBezTo>
                <a:cubicBezTo>
                  <a:pt x="303" y="229"/>
                  <a:pt x="282" y="215"/>
                  <a:pt x="259" y="208"/>
                </a:cubicBezTo>
                <a:cubicBezTo>
                  <a:pt x="257" y="181"/>
                  <a:pt x="257" y="181"/>
                  <a:pt x="257" y="181"/>
                </a:cubicBezTo>
                <a:cubicBezTo>
                  <a:pt x="383" y="181"/>
                  <a:pt x="383" y="181"/>
                  <a:pt x="383" y="181"/>
                </a:cubicBezTo>
                <a:cubicBezTo>
                  <a:pt x="363" y="373"/>
                  <a:pt x="363" y="373"/>
                  <a:pt x="363" y="373"/>
                </a:cubicBezTo>
                <a:cubicBezTo>
                  <a:pt x="318" y="373"/>
                  <a:pt x="318" y="373"/>
                  <a:pt x="318" y="373"/>
                </a:cubicBezTo>
                <a:cubicBezTo>
                  <a:pt x="319" y="370"/>
                  <a:pt x="320" y="366"/>
                  <a:pt x="320" y="362"/>
                </a:cubicBezTo>
                <a:cubicBezTo>
                  <a:pt x="320" y="341"/>
                  <a:pt x="320" y="341"/>
                  <a:pt x="320" y="341"/>
                </a:cubicBezTo>
                <a:cubicBezTo>
                  <a:pt x="320" y="335"/>
                  <a:pt x="315" y="330"/>
                  <a:pt x="309" y="330"/>
                </a:cubicBezTo>
                <a:cubicBezTo>
                  <a:pt x="138" y="330"/>
                  <a:pt x="138" y="330"/>
                  <a:pt x="138" y="330"/>
                </a:cubicBezTo>
                <a:cubicBezTo>
                  <a:pt x="132" y="330"/>
                  <a:pt x="128" y="335"/>
                  <a:pt x="128" y="341"/>
                </a:cubicBezTo>
                <a:cubicBezTo>
                  <a:pt x="128" y="362"/>
                  <a:pt x="128" y="362"/>
                  <a:pt x="128" y="362"/>
                </a:cubicBezTo>
                <a:cubicBezTo>
                  <a:pt x="128" y="380"/>
                  <a:pt x="140" y="394"/>
                  <a:pt x="155" y="394"/>
                </a:cubicBezTo>
                <a:cubicBezTo>
                  <a:pt x="373" y="394"/>
                  <a:pt x="373" y="394"/>
                  <a:pt x="373" y="394"/>
                </a:cubicBezTo>
                <a:cubicBezTo>
                  <a:pt x="378" y="394"/>
                  <a:pt x="383" y="390"/>
                  <a:pt x="384" y="385"/>
                </a:cubicBezTo>
                <a:lnTo>
                  <a:pt x="405" y="171"/>
                </a:lnTo>
                <a:close/>
                <a:moveTo>
                  <a:pt x="138" y="309"/>
                </a:moveTo>
                <a:cubicBezTo>
                  <a:pt x="309" y="309"/>
                  <a:pt x="309" y="309"/>
                  <a:pt x="309" y="309"/>
                </a:cubicBezTo>
                <a:cubicBezTo>
                  <a:pt x="315" y="309"/>
                  <a:pt x="320" y="304"/>
                  <a:pt x="320" y="298"/>
                </a:cubicBezTo>
                <a:cubicBezTo>
                  <a:pt x="320" y="292"/>
                  <a:pt x="315" y="288"/>
                  <a:pt x="309" y="288"/>
                </a:cubicBezTo>
                <a:cubicBezTo>
                  <a:pt x="138" y="288"/>
                  <a:pt x="138" y="288"/>
                  <a:pt x="138" y="288"/>
                </a:cubicBezTo>
                <a:cubicBezTo>
                  <a:pt x="132" y="288"/>
                  <a:pt x="128" y="292"/>
                  <a:pt x="128" y="298"/>
                </a:cubicBezTo>
                <a:cubicBezTo>
                  <a:pt x="128" y="304"/>
                  <a:pt x="132" y="309"/>
                  <a:pt x="138" y="3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0" name="Group 589">
            <a:extLst>
              <a:ext uri="{FF2B5EF4-FFF2-40B4-BE49-F238E27FC236}">
                <a16:creationId xmlns:a16="http://schemas.microsoft.com/office/drawing/2014/main" id="{E49A67C3-434E-4233-91D2-581F35BD6FF3}"/>
              </a:ext>
            </a:extLst>
          </p:cNvPr>
          <p:cNvGrpSpPr>
            <a:grpSpLocks noChangeAspect="1"/>
          </p:cNvGrpSpPr>
          <p:nvPr/>
        </p:nvGrpSpPr>
        <p:grpSpPr bwMode="auto">
          <a:xfrm>
            <a:off x="7877840" y="2524483"/>
            <a:ext cx="367631" cy="367631"/>
            <a:chOff x="1174" y="2386"/>
            <a:chExt cx="340" cy="340"/>
          </a:xfrm>
          <a:solidFill>
            <a:schemeClr val="accent1"/>
          </a:solidFill>
        </p:grpSpPr>
        <p:sp>
          <p:nvSpPr>
            <p:cNvPr id="371" name="Freeform 590">
              <a:extLst>
                <a:ext uri="{FF2B5EF4-FFF2-40B4-BE49-F238E27FC236}">
                  <a16:creationId xmlns:a16="http://schemas.microsoft.com/office/drawing/2014/main" id="{162FC16E-5BEB-48E5-B386-EE04EED160F3}"/>
                </a:ext>
              </a:extLst>
            </p:cNvPr>
            <p:cNvSpPr>
              <a:spLocks noEditPoints="1"/>
            </p:cNvSpPr>
            <p:nvPr/>
          </p:nvSpPr>
          <p:spPr bwMode="auto">
            <a:xfrm>
              <a:off x="1258" y="2449"/>
              <a:ext cx="185" cy="199"/>
            </a:xfrm>
            <a:custGeom>
              <a:avLst/>
              <a:gdLst>
                <a:gd name="T0" fmla="*/ 275 w 278"/>
                <a:gd name="T1" fmla="*/ 68 h 299"/>
                <a:gd name="T2" fmla="*/ 267 w 278"/>
                <a:gd name="T3" fmla="*/ 65 h 299"/>
                <a:gd name="T4" fmla="*/ 202 w 278"/>
                <a:gd name="T5" fmla="*/ 65 h 299"/>
                <a:gd name="T6" fmla="*/ 193 w 278"/>
                <a:gd name="T7" fmla="*/ 10 h 299"/>
                <a:gd name="T8" fmla="*/ 188 w 278"/>
                <a:gd name="T9" fmla="*/ 2 h 299"/>
                <a:gd name="T10" fmla="*/ 179 w 278"/>
                <a:gd name="T11" fmla="*/ 1 h 299"/>
                <a:gd name="T12" fmla="*/ 115 w 278"/>
                <a:gd name="T13" fmla="*/ 23 h 299"/>
                <a:gd name="T14" fmla="*/ 108 w 278"/>
                <a:gd name="T15" fmla="*/ 36 h 299"/>
                <a:gd name="T16" fmla="*/ 121 w 278"/>
                <a:gd name="T17" fmla="*/ 43 h 299"/>
                <a:gd name="T18" fmla="*/ 174 w 278"/>
                <a:gd name="T19" fmla="*/ 25 h 299"/>
                <a:gd name="T20" fmla="*/ 180 w 278"/>
                <a:gd name="T21" fmla="*/ 65 h 299"/>
                <a:gd name="T22" fmla="*/ 118 w 278"/>
                <a:gd name="T23" fmla="*/ 65 h 299"/>
                <a:gd name="T24" fmla="*/ 110 w 278"/>
                <a:gd name="T25" fmla="*/ 68 h 299"/>
                <a:gd name="T26" fmla="*/ 107 w 278"/>
                <a:gd name="T27" fmla="*/ 76 h 299"/>
                <a:gd name="T28" fmla="*/ 111 w 278"/>
                <a:gd name="T29" fmla="*/ 108 h 299"/>
                <a:gd name="T30" fmla="*/ 97 w 278"/>
                <a:gd name="T31" fmla="*/ 107 h 299"/>
                <a:gd name="T32" fmla="*/ 3 w 278"/>
                <a:gd name="T33" fmla="*/ 154 h 299"/>
                <a:gd name="T34" fmla="*/ 2 w 278"/>
                <a:gd name="T35" fmla="*/ 165 h 299"/>
                <a:gd name="T36" fmla="*/ 11 w 278"/>
                <a:gd name="T37" fmla="*/ 171 h 299"/>
                <a:gd name="T38" fmla="*/ 182 w 278"/>
                <a:gd name="T39" fmla="*/ 171 h 299"/>
                <a:gd name="T40" fmla="*/ 182 w 278"/>
                <a:gd name="T41" fmla="*/ 171 h 299"/>
                <a:gd name="T42" fmla="*/ 192 w 278"/>
                <a:gd name="T43" fmla="*/ 165 h 299"/>
                <a:gd name="T44" fmla="*/ 191 w 278"/>
                <a:gd name="T45" fmla="*/ 154 h 299"/>
                <a:gd name="T46" fmla="*/ 132 w 278"/>
                <a:gd name="T47" fmla="*/ 113 h 299"/>
                <a:gd name="T48" fmla="*/ 130 w 278"/>
                <a:gd name="T49" fmla="*/ 86 h 299"/>
                <a:gd name="T50" fmla="*/ 256 w 278"/>
                <a:gd name="T51" fmla="*/ 86 h 299"/>
                <a:gd name="T52" fmla="*/ 236 w 278"/>
                <a:gd name="T53" fmla="*/ 278 h 299"/>
                <a:gd name="T54" fmla="*/ 191 w 278"/>
                <a:gd name="T55" fmla="*/ 278 h 299"/>
                <a:gd name="T56" fmla="*/ 193 w 278"/>
                <a:gd name="T57" fmla="*/ 267 h 299"/>
                <a:gd name="T58" fmla="*/ 193 w 278"/>
                <a:gd name="T59" fmla="*/ 246 h 299"/>
                <a:gd name="T60" fmla="*/ 182 w 278"/>
                <a:gd name="T61" fmla="*/ 235 h 299"/>
                <a:gd name="T62" fmla="*/ 11 w 278"/>
                <a:gd name="T63" fmla="*/ 235 h 299"/>
                <a:gd name="T64" fmla="*/ 1 w 278"/>
                <a:gd name="T65" fmla="*/ 246 h 299"/>
                <a:gd name="T66" fmla="*/ 1 w 278"/>
                <a:gd name="T67" fmla="*/ 267 h 299"/>
                <a:gd name="T68" fmla="*/ 28 w 278"/>
                <a:gd name="T69" fmla="*/ 299 h 299"/>
                <a:gd name="T70" fmla="*/ 246 w 278"/>
                <a:gd name="T71" fmla="*/ 299 h 299"/>
                <a:gd name="T72" fmla="*/ 257 w 278"/>
                <a:gd name="T73" fmla="*/ 290 h 299"/>
                <a:gd name="T74" fmla="*/ 278 w 278"/>
                <a:gd name="T75" fmla="*/ 76 h 299"/>
                <a:gd name="T76" fmla="*/ 275 w 278"/>
                <a:gd name="T77" fmla="*/ 68 h 299"/>
                <a:gd name="T78" fmla="*/ 36 w 278"/>
                <a:gd name="T79" fmla="*/ 150 h 299"/>
                <a:gd name="T80" fmla="*/ 97 w 278"/>
                <a:gd name="T81" fmla="*/ 129 h 299"/>
                <a:gd name="T82" fmla="*/ 157 w 278"/>
                <a:gd name="T83" fmla="*/ 150 h 299"/>
                <a:gd name="T84" fmla="*/ 36 w 278"/>
                <a:gd name="T85" fmla="*/ 150 h 299"/>
                <a:gd name="T86" fmla="*/ 22 w 278"/>
                <a:gd name="T87" fmla="*/ 267 h 299"/>
                <a:gd name="T88" fmla="*/ 22 w 278"/>
                <a:gd name="T89" fmla="*/ 257 h 299"/>
                <a:gd name="T90" fmla="*/ 171 w 278"/>
                <a:gd name="T91" fmla="*/ 257 h 299"/>
                <a:gd name="T92" fmla="*/ 171 w 278"/>
                <a:gd name="T93" fmla="*/ 267 h 299"/>
                <a:gd name="T94" fmla="*/ 165 w 278"/>
                <a:gd name="T95" fmla="*/ 278 h 299"/>
                <a:gd name="T96" fmla="*/ 28 w 278"/>
                <a:gd name="T97" fmla="*/ 278 h 299"/>
                <a:gd name="T98" fmla="*/ 22 w 278"/>
                <a:gd name="T99" fmla="*/ 26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8" h="299">
                  <a:moveTo>
                    <a:pt x="275" y="68"/>
                  </a:moveTo>
                  <a:cubicBezTo>
                    <a:pt x="273" y="66"/>
                    <a:pt x="270" y="65"/>
                    <a:pt x="267" y="65"/>
                  </a:cubicBezTo>
                  <a:cubicBezTo>
                    <a:pt x="202" y="65"/>
                    <a:pt x="202" y="65"/>
                    <a:pt x="202" y="65"/>
                  </a:cubicBezTo>
                  <a:cubicBezTo>
                    <a:pt x="193" y="10"/>
                    <a:pt x="193" y="10"/>
                    <a:pt x="193" y="10"/>
                  </a:cubicBezTo>
                  <a:cubicBezTo>
                    <a:pt x="192" y="6"/>
                    <a:pt x="190" y="4"/>
                    <a:pt x="188" y="2"/>
                  </a:cubicBezTo>
                  <a:cubicBezTo>
                    <a:pt x="185" y="1"/>
                    <a:pt x="182" y="0"/>
                    <a:pt x="179" y="1"/>
                  </a:cubicBezTo>
                  <a:cubicBezTo>
                    <a:pt x="115" y="23"/>
                    <a:pt x="115" y="23"/>
                    <a:pt x="115" y="23"/>
                  </a:cubicBezTo>
                  <a:cubicBezTo>
                    <a:pt x="109" y="24"/>
                    <a:pt x="106" y="30"/>
                    <a:pt x="108" y="36"/>
                  </a:cubicBezTo>
                  <a:cubicBezTo>
                    <a:pt x="110" y="42"/>
                    <a:pt x="116" y="45"/>
                    <a:pt x="121" y="43"/>
                  </a:cubicBezTo>
                  <a:cubicBezTo>
                    <a:pt x="174" y="25"/>
                    <a:pt x="174" y="25"/>
                    <a:pt x="174" y="25"/>
                  </a:cubicBezTo>
                  <a:cubicBezTo>
                    <a:pt x="180" y="65"/>
                    <a:pt x="180" y="65"/>
                    <a:pt x="180" y="65"/>
                  </a:cubicBezTo>
                  <a:cubicBezTo>
                    <a:pt x="118" y="65"/>
                    <a:pt x="118" y="65"/>
                    <a:pt x="118" y="65"/>
                  </a:cubicBezTo>
                  <a:cubicBezTo>
                    <a:pt x="115" y="65"/>
                    <a:pt x="112" y="66"/>
                    <a:pt x="110" y="68"/>
                  </a:cubicBezTo>
                  <a:cubicBezTo>
                    <a:pt x="108" y="70"/>
                    <a:pt x="107" y="73"/>
                    <a:pt x="107" y="76"/>
                  </a:cubicBezTo>
                  <a:cubicBezTo>
                    <a:pt x="111" y="108"/>
                    <a:pt x="111" y="108"/>
                    <a:pt x="111" y="108"/>
                  </a:cubicBezTo>
                  <a:cubicBezTo>
                    <a:pt x="106" y="108"/>
                    <a:pt x="101" y="107"/>
                    <a:pt x="97" y="107"/>
                  </a:cubicBezTo>
                  <a:cubicBezTo>
                    <a:pt x="59" y="107"/>
                    <a:pt x="25" y="124"/>
                    <a:pt x="3" y="154"/>
                  </a:cubicBezTo>
                  <a:cubicBezTo>
                    <a:pt x="0" y="157"/>
                    <a:pt x="0" y="162"/>
                    <a:pt x="2" y="165"/>
                  </a:cubicBezTo>
                  <a:cubicBezTo>
                    <a:pt x="4" y="169"/>
                    <a:pt x="7" y="171"/>
                    <a:pt x="11" y="171"/>
                  </a:cubicBezTo>
                  <a:cubicBezTo>
                    <a:pt x="182" y="171"/>
                    <a:pt x="182" y="171"/>
                    <a:pt x="182" y="171"/>
                  </a:cubicBezTo>
                  <a:cubicBezTo>
                    <a:pt x="182" y="171"/>
                    <a:pt x="182" y="171"/>
                    <a:pt x="182" y="171"/>
                  </a:cubicBezTo>
                  <a:cubicBezTo>
                    <a:pt x="186" y="171"/>
                    <a:pt x="190" y="169"/>
                    <a:pt x="192" y="165"/>
                  </a:cubicBezTo>
                  <a:cubicBezTo>
                    <a:pt x="193" y="162"/>
                    <a:pt x="193" y="158"/>
                    <a:pt x="191" y="154"/>
                  </a:cubicBezTo>
                  <a:cubicBezTo>
                    <a:pt x="176" y="134"/>
                    <a:pt x="155" y="120"/>
                    <a:pt x="132" y="113"/>
                  </a:cubicBezTo>
                  <a:cubicBezTo>
                    <a:pt x="130" y="86"/>
                    <a:pt x="130" y="86"/>
                    <a:pt x="130" y="86"/>
                  </a:cubicBezTo>
                  <a:cubicBezTo>
                    <a:pt x="256" y="86"/>
                    <a:pt x="256" y="86"/>
                    <a:pt x="256" y="86"/>
                  </a:cubicBezTo>
                  <a:cubicBezTo>
                    <a:pt x="236" y="278"/>
                    <a:pt x="236" y="278"/>
                    <a:pt x="236" y="278"/>
                  </a:cubicBezTo>
                  <a:cubicBezTo>
                    <a:pt x="191" y="278"/>
                    <a:pt x="191" y="278"/>
                    <a:pt x="191" y="278"/>
                  </a:cubicBezTo>
                  <a:cubicBezTo>
                    <a:pt x="192" y="275"/>
                    <a:pt x="193" y="271"/>
                    <a:pt x="193" y="267"/>
                  </a:cubicBezTo>
                  <a:cubicBezTo>
                    <a:pt x="193" y="246"/>
                    <a:pt x="193" y="246"/>
                    <a:pt x="193" y="246"/>
                  </a:cubicBezTo>
                  <a:cubicBezTo>
                    <a:pt x="193" y="240"/>
                    <a:pt x="188" y="235"/>
                    <a:pt x="182" y="235"/>
                  </a:cubicBezTo>
                  <a:cubicBezTo>
                    <a:pt x="11" y="235"/>
                    <a:pt x="11" y="235"/>
                    <a:pt x="11" y="235"/>
                  </a:cubicBezTo>
                  <a:cubicBezTo>
                    <a:pt x="5" y="235"/>
                    <a:pt x="1" y="240"/>
                    <a:pt x="1" y="246"/>
                  </a:cubicBezTo>
                  <a:cubicBezTo>
                    <a:pt x="1" y="267"/>
                    <a:pt x="1" y="267"/>
                    <a:pt x="1" y="267"/>
                  </a:cubicBezTo>
                  <a:cubicBezTo>
                    <a:pt x="1" y="285"/>
                    <a:pt x="13" y="299"/>
                    <a:pt x="28" y="299"/>
                  </a:cubicBezTo>
                  <a:cubicBezTo>
                    <a:pt x="246" y="299"/>
                    <a:pt x="246" y="299"/>
                    <a:pt x="246" y="299"/>
                  </a:cubicBezTo>
                  <a:cubicBezTo>
                    <a:pt x="251" y="299"/>
                    <a:pt x="256" y="295"/>
                    <a:pt x="257" y="290"/>
                  </a:cubicBezTo>
                  <a:cubicBezTo>
                    <a:pt x="278" y="76"/>
                    <a:pt x="278" y="76"/>
                    <a:pt x="278" y="76"/>
                  </a:cubicBezTo>
                  <a:cubicBezTo>
                    <a:pt x="278" y="73"/>
                    <a:pt x="277" y="70"/>
                    <a:pt x="275" y="68"/>
                  </a:cubicBezTo>
                  <a:close/>
                  <a:moveTo>
                    <a:pt x="36" y="150"/>
                  </a:moveTo>
                  <a:cubicBezTo>
                    <a:pt x="53" y="136"/>
                    <a:pt x="74" y="129"/>
                    <a:pt x="97" y="129"/>
                  </a:cubicBezTo>
                  <a:cubicBezTo>
                    <a:pt x="119" y="129"/>
                    <a:pt x="140" y="136"/>
                    <a:pt x="157" y="150"/>
                  </a:cubicBezTo>
                  <a:lnTo>
                    <a:pt x="36" y="150"/>
                  </a:lnTo>
                  <a:close/>
                  <a:moveTo>
                    <a:pt x="22" y="267"/>
                  </a:moveTo>
                  <a:cubicBezTo>
                    <a:pt x="22" y="257"/>
                    <a:pt x="22" y="257"/>
                    <a:pt x="22" y="257"/>
                  </a:cubicBezTo>
                  <a:cubicBezTo>
                    <a:pt x="171" y="257"/>
                    <a:pt x="171" y="257"/>
                    <a:pt x="171" y="257"/>
                  </a:cubicBezTo>
                  <a:cubicBezTo>
                    <a:pt x="171" y="267"/>
                    <a:pt x="171" y="267"/>
                    <a:pt x="171" y="267"/>
                  </a:cubicBezTo>
                  <a:cubicBezTo>
                    <a:pt x="171" y="273"/>
                    <a:pt x="168" y="278"/>
                    <a:pt x="165" y="278"/>
                  </a:cubicBezTo>
                  <a:cubicBezTo>
                    <a:pt x="28" y="278"/>
                    <a:pt x="28" y="278"/>
                    <a:pt x="28" y="278"/>
                  </a:cubicBezTo>
                  <a:cubicBezTo>
                    <a:pt x="25" y="278"/>
                    <a:pt x="22" y="273"/>
                    <a:pt x="22" y="2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2" name="Freeform 591">
              <a:extLst>
                <a:ext uri="{FF2B5EF4-FFF2-40B4-BE49-F238E27FC236}">
                  <a16:creationId xmlns:a16="http://schemas.microsoft.com/office/drawing/2014/main" id="{C8DFEC15-8C2E-4CDD-AFBB-380702EAB9EC}"/>
                </a:ext>
              </a:extLst>
            </p:cNvPr>
            <p:cNvSpPr>
              <a:spLocks/>
            </p:cNvSpPr>
            <p:nvPr/>
          </p:nvSpPr>
          <p:spPr bwMode="auto">
            <a:xfrm>
              <a:off x="1259" y="2577"/>
              <a:ext cx="127" cy="14"/>
            </a:xfrm>
            <a:custGeom>
              <a:avLst/>
              <a:gdLst>
                <a:gd name="T0" fmla="*/ 10 w 192"/>
                <a:gd name="T1" fmla="*/ 21 h 21"/>
                <a:gd name="T2" fmla="*/ 181 w 192"/>
                <a:gd name="T3" fmla="*/ 21 h 21"/>
                <a:gd name="T4" fmla="*/ 192 w 192"/>
                <a:gd name="T5" fmla="*/ 10 h 21"/>
                <a:gd name="T6" fmla="*/ 181 w 192"/>
                <a:gd name="T7" fmla="*/ 0 h 21"/>
                <a:gd name="T8" fmla="*/ 10 w 192"/>
                <a:gd name="T9" fmla="*/ 0 h 21"/>
                <a:gd name="T10" fmla="*/ 0 w 192"/>
                <a:gd name="T11" fmla="*/ 10 h 21"/>
                <a:gd name="T12" fmla="*/ 10 w 19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92" h="21">
                  <a:moveTo>
                    <a:pt x="10" y="21"/>
                  </a:moveTo>
                  <a:cubicBezTo>
                    <a:pt x="181" y="21"/>
                    <a:pt x="181" y="21"/>
                    <a:pt x="181" y="21"/>
                  </a:cubicBezTo>
                  <a:cubicBezTo>
                    <a:pt x="187" y="21"/>
                    <a:pt x="192" y="16"/>
                    <a:pt x="192" y="10"/>
                  </a:cubicBezTo>
                  <a:cubicBezTo>
                    <a:pt x="192" y="4"/>
                    <a:pt x="187" y="0"/>
                    <a:pt x="181" y="0"/>
                  </a:cubicBezTo>
                  <a:cubicBezTo>
                    <a:pt x="10" y="0"/>
                    <a:pt x="10" y="0"/>
                    <a:pt x="10" y="0"/>
                  </a:cubicBezTo>
                  <a:cubicBezTo>
                    <a:pt x="4" y="0"/>
                    <a:pt x="0" y="4"/>
                    <a:pt x="0" y="10"/>
                  </a:cubicBezTo>
                  <a:cubicBezTo>
                    <a:pt x="0" y="16"/>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3" name="Freeform 592">
              <a:extLst>
                <a:ext uri="{FF2B5EF4-FFF2-40B4-BE49-F238E27FC236}">
                  <a16:creationId xmlns:a16="http://schemas.microsoft.com/office/drawing/2014/main" id="{4B038405-AF86-4D40-96CC-63116F633D37}"/>
                </a:ext>
              </a:extLst>
            </p:cNvPr>
            <p:cNvSpPr>
              <a:spLocks noEditPoints="1"/>
            </p:cNvSpPr>
            <p:nvPr/>
          </p:nvSpPr>
          <p:spPr bwMode="auto">
            <a:xfrm>
              <a:off x="1174" y="23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4" name="Group 449">
            <a:extLst>
              <a:ext uri="{FF2B5EF4-FFF2-40B4-BE49-F238E27FC236}">
                <a16:creationId xmlns:a16="http://schemas.microsoft.com/office/drawing/2014/main" id="{097C68A6-8F21-4E63-812C-A1F0D0209861}"/>
              </a:ext>
            </a:extLst>
          </p:cNvPr>
          <p:cNvGrpSpPr>
            <a:grpSpLocks noChangeAspect="1"/>
          </p:cNvGrpSpPr>
          <p:nvPr/>
        </p:nvGrpSpPr>
        <p:grpSpPr bwMode="auto">
          <a:xfrm>
            <a:off x="8745931" y="2524483"/>
            <a:ext cx="369676" cy="369676"/>
            <a:chOff x="2732" y="1561"/>
            <a:chExt cx="340" cy="340"/>
          </a:xfrm>
          <a:solidFill>
            <a:schemeClr val="accent5"/>
          </a:solidFill>
        </p:grpSpPr>
        <p:sp>
          <p:nvSpPr>
            <p:cNvPr id="375" name="Freeform 450">
              <a:extLst>
                <a:ext uri="{FF2B5EF4-FFF2-40B4-BE49-F238E27FC236}">
                  <a16:creationId xmlns:a16="http://schemas.microsoft.com/office/drawing/2014/main" id="{088E5BAD-DB29-4005-AEF9-9C4E3E8B60D6}"/>
                </a:ext>
              </a:extLst>
            </p:cNvPr>
            <p:cNvSpPr>
              <a:spLocks noEditPoints="1"/>
            </p:cNvSpPr>
            <p:nvPr/>
          </p:nvSpPr>
          <p:spPr bwMode="auto">
            <a:xfrm>
              <a:off x="2732" y="15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6" name="Freeform 451">
              <a:extLst>
                <a:ext uri="{FF2B5EF4-FFF2-40B4-BE49-F238E27FC236}">
                  <a16:creationId xmlns:a16="http://schemas.microsoft.com/office/drawing/2014/main" id="{6089977E-EA12-4ACF-9E75-1F52C4459FE8}"/>
                </a:ext>
              </a:extLst>
            </p:cNvPr>
            <p:cNvSpPr>
              <a:spLocks noEditPoints="1"/>
            </p:cNvSpPr>
            <p:nvPr/>
          </p:nvSpPr>
          <p:spPr bwMode="auto">
            <a:xfrm>
              <a:off x="2795" y="1630"/>
              <a:ext cx="211" cy="207"/>
            </a:xfrm>
            <a:custGeom>
              <a:avLst/>
              <a:gdLst>
                <a:gd name="T0" fmla="*/ 132 w 318"/>
                <a:gd name="T1" fmla="*/ 312 h 312"/>
                <a:gd name="T2" fmla="*/ 124 w 318"/>
                <a:gd name="T3" fmla="*/ 309 h 312"/>
                <a:gd name="T4" fmla="*/ 4 w 318"/>
                <a:gd name="T5" fmla="*/ 188 h 312"/>
                <a:gd name="T6" fmla="*/ 4 w 318"/>
                <a:gd name="T7" fmla="*/ 173 h 312"/>
                <a:gd name="T8" fmla="*/ 173 w 318"/>
                <a:gd name="T9" fmla="*/ 4 h 312"/>
                <a:gd name="T10" fmla="*/ 182 w 318"/>
                <a:gd name="T11" fmla="*/ 0 h 312"/>
                <a:gd name="T12" fmla="*/ 292 w 318"/>
                <a:gd name="T13" fmla="*/ 11 h 312"/>
                <a:gd name="T14" fmla="*/ 302 w 318"/>
                <a:gd name="T15" fmla="*/ 20 h 312"/>
                <a:gd name="T16" fmla="*/ 317 w 318"/>
                <a:gd name="T17" fmla="*/ 125 h 312"/>
                <a:gd name="T18" fmla="*/ 314 w 318"/>
                <a:gd name="T19" fmla="*/ 134 h 312"/>
                <a:gd name="T20" fmla="*/ 140 w 318"/>
                <a:gd name="T21" fmla="*/ 309 h 312"/>
                <a:gd name="T22" fmla="*/ 132 w 318"/>
                <a:gd name="T23" fmla="*/ 312 h 312"/>
                <a:gd name="T24" fmla="*/ 26 w 318"/>
                <a:gd name="T25" fmla="*/ 180 h 312"/>
                <a:gd name="T26" fmla="*/ 132 w 318"/>
                <a:gd name="T27" fmla="*/ 286 h 312"/>
                <a:gd name="T28" fmla="*/ 295 w 318"/>
                <a:gd name="T29" fmla="*/ 123 h 312"/>
                <a:gd name="T30" fmla="*/ 282 w 318"/>
                <a:gd name="T31" fmla="*/ 31 h 312"/>
                <a:gd name="T32" fmla="*/ 185 w 318"/>
                <a:gd name="T33" fmla="*/ 22 h 312"/>
                <a:gd name="T34" fmla="*/ 26 w 318"/>
                <a:gd name="T35" fmla="*/ 180 h 312"/>
                <a:gd name="T36" fmla="*/ 245 w 318"/>
                <a:gd name="T37" fmla="*/ 67 h 312"/>
                <a:gd name="T38" fmla="*/ 214 w 318"/>
                <a:gd name="T39" fmla="*/ 67 h 312"/>
                <a:gd name="T40" fmla="*/ 214 w 318"/>
                <a:gd name="T41" fmla="*/ 98 h 312"/>
                <a:gd name="T42" fmla="*/ 245 w 318"/>
                <a:gd name="T43" fmla="*/ 98 h 312"/>
                <a:gd name="T44" fmla="*/ 245 w 318"/>
                <a:gd name="T45" fmla="*/ 67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8" h="312">
                  <a:moveTo>
                    <a:pt x="132" y="312"/>
                  </a:moveTo>
                  <a:cubicBezTo>
                    <a:pt x="129" y="312"/>
                    <a:pt x="127" y="311"/>
                    <a:pt x="124" y="309"/>
                  </a:cubicBezTo>
                  <a:cubicBezTo>
                    <a:pt x="4" y="188"/>
                    <a:pt x="4" y="188"/>
                    <a:pt x="4" y="188"/>
                  </a:cubicBezTo>
                  <a:cubicBezTo>
                    <a:pt x="0" y="184"/>
                    <a:pt x="0" y="177"/>
                    <a:pt x="4" y="173"/>
                  </a:cubicBezTo>
                  <a:cubicBezTo>
                    <a:pt x="173" y="4"/>
                    <a:pt x="173" y="4"/>
                    <a:pt x="173" y="4"/>
                  </a:cubicBezTo>
                  <a:cubicBezTo>
                    <a:pt x="175" y="1"/>
                    <a:pt x="178" y="0"/>
                    <a:pt x="182" y="0"/>
                  </a:cubicBezTo>
                  <a:cubicBezTo>
                    <a:pt x="292" y="11"/>
                    <a:pt x="292" y="11"/>
                    <a:pt x="292" y="11"/>
                  </a:cubicBezTo>
                  <a:cubicBezTo>
                    <a:pt x="297" y="11"/>
                    <a:pt x="301" y="15"/>
                    <a:pt x="302" y="20"/>
                  </a:cubicBezTo>
                  <a:cubicBezTo>
                    <a:pt x="317" y="125"/>
                    <a:pt x="317" y="125"/>
                    <a:pt x="317" y="125"/>
                  </a:cubicBezTo>
                  <a:cubicBezTo>
                    <a:pt x="318" y="128"/>
                    <a:pt x="316" y="132"/>
                    <a:pt x="314" y="134"/>
                  </a:cubicBezTo>
                  <a:cubicBezTo>
                    <a:pt x="140" y="309"/>
                    <a:pt x="140" y="309"/>
                    <a:pt x="140" y="309"/>
                  </a:cubicBezTo>
                  <a:cubicBezTo>
                    <a:pt x="137" y="311"/>
                    <a:pt x="135" y="312"/>
                    <a:pt x="132" y="312"/>
                  </a:cubicBezTo>
                  <a:close/>
                  <a:moveTo>
                    <a:pt x="26" y="180"/>
                  </a:moveTo>
                  <a:cubicBezTo>
                    <a:pt x="132" y="286"/>
                    <a:pt x="132" y="286"/>
                    <a:pt x="132" y="286"/>
                  </a:cubicBezTo>
                  <a:cubicBezTo>
                    <a:pt x="295" y="123"/>
                    <a:pt x="295" y="123"/>
                    <a:pt x="295" y="123"/>
                  </a:cubicBezTo>
                  <a:cubicBezTo>
                    <a:pt x="282" y="31"/>
                    <a:pt x="282" y="31"/>
                    <a:pt x="282" y="31"/>
                  </a:cubicBezTo>
                  <a:cubicBezTo>
                    <a:pt x="185" y="22"/>
                    <a:pt x="185" y="22"/>
                    <a:pt x="185" y="22"/>
                  </a:cubicBezTo>
                  <a:lnTo>
                    <a:pt x="26" y="180"/>
                  </a:lnTo>
                  <a:close/>
                  <a:moveTo>
                    <a:pt x="245" y="67"/>
                  </a:moveTo>
                  <a:cubicBezTo>
                    <a:pt x="236" y="58"/>
                    <a:pt x="222" y="58"/>
                    <a:pt x="214" y="67"/>
                  </a:cubicBezTo>
                  <a:cubicBezTo>
                    <a:pt x="205" y="75"/>
                    <a:pt x="205" y="89"/>
                    <a:pt x="214" y="98"/>
                  </a:cubicBezTo>
                  <a:cubicBezTo>
                    <a:pt x="222" y="106"/>
                    <a:pt x="236" y="106"/>
                    <a:pt x="245" y="98"/>
                  </a:cubicBezTo>
                  <a:cubicBezTo>
                    <a:pt x="253" y="89"/>
                    <a:pt x="253" y="75"/>
                    <a:pt x="245" y="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7" name="Group 454">
            <a:extLst>
              <a:ext uri="{FF2B5EF4-FFF2-40B4-BE49-F238E27FC236}">
                <a16:creationId xmlns:a16="http://schemas.microsoft.com/office/drawing/2014/main" id="{A182D7F9-232D-4246-ADA4-FDF78795FFFD}"/>
              </a:ext>
            </a:extLst>
          </p:cNvPr>
          <p:cNvGrpSpPr>
            <a:grpSpLocks noChangeAspect="1"/>
          </p:cNvGrpSpPr>
          <p:nvPr/>
        </p:nvGrpSpPr>
        <p:grpSpPr bwMode="auto">
          <a:xfrm>
            <a:off x="8310863" y="2524483"/>
            <a:ext cx="369676" cy="369676"/>
            <a:chOff x="2325" y="1565"/>
            <a:chExt cx="340" cy="340"/>
          </a:xfrm>
          <a:solidFill>
            <a:schemeClr val="accent5"/>
          </a:solidFill>
        </p:grpSpPr>
        <p:sp>
          <p:nvSpPr>
            <p:cNvPr id="378" name="Freeform 455">
              <a:extLst>
                <a:ext uri="{FF2B5EF4-FFF2-40B4-BE49-F238E27FC236}">
                  <a16:creationId xmlns:a16="http://schemas.microsoft.com/office/drawing/2014/main" id="{5F5F774B-747B-49C3-8299-37B65EB2CB22}"/>
                </a:ext>
              </a:extLst>
            </p:cNvPr>
            <p:cNvSpPr>
              <a:spLocks noEditPoints="1"/>
            </p:cNvSpPr>
            <p:nvPr/>
          </p:nvSpPr>
          <p:spPr bwMode="auto">
            <a:xfrm>
              <a:off x="2325" y="156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9" name="Freeform 456">
              <a:extLst>
                <a:ext uri="{FF2B5EF4-FFF2-40B4-BE49-F238E27FC236}">
                  <a16:creationId xmlns:a16="http://schemas.microsoft.com/office/drawing/2014/main" id="{4AE9148D-449A-416F-8803-CF32EA94FE78}"/>
                </a:ext>
              </a:extLst>
            </p:cNvPr>
            <p:cNvSpPr>
              <a:spLocks noEditPoints="1"/>
            </p:cNvSpPr>
            <p:nvPr/>
          </p:nvSpPr>
          <p:spPr bwMode="auto">
            <a:xfrm>
              <a:off x="2405" y="1649"/>
              <a:ext cx="179" cy="175"/>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0" name="Freeform 223">
            <a:extLst>
              <a:ext uri="{FF2B5EF4-FFF2-40B4-BE49-F238E27FC236}">
                <a16:creationId xmlns:a16="http://schemas.microsoft.com/office/drawing/2014/main" id="{E3D681A1-719B-4E3E-BD65-05C1B6D71E00}"/>
              </a:ext>
            </a:extLst>
          </p:cNvPr>
          <p:cNvSpPr>
            <a:spLocks noChangeAspect="1" noEditPoints="1"/>
          </p:cNvSpPr>
          <p:nvPr/>
        </p:nvSpPr>
        <p:spPr bwMode="auto">
          <a:xfrm>
            <a:off x="9180999" y="2524483"/>
            <a:ext cx="367631" cy="367631"/>
          </a:xfrm>
          <a:custGeom>
            <a:avLst/>
            <a:gdLst>
              <a:gd name="T0" fmla="*/ 190 w 512"/>
              <a:gd name="T1" fmla="*/ 227 h 512"/>
              <a:gd name="T2" fmla="*/ 166 w 512"/>
              <a:gd name="T3" fmla="*/ 170 h 512"/>
              <a:gd name="T4" fmla="*/ 232 w 512"/>
              <a:gd name="T5" fmla="*/ 170 h 512"/>
              <a:gd name="T6" fmla="*/ 190 w 512"/>
              <a:gd name="T7" fmla="*/ 227 h 512"/>
              <a:gd name="T8" fmla="*/ 149 w 512"/>
              <a:gd name="T9" fmla="*/ 184 h 512"/>
              <a:gd name="T10" fmla="*/ 124 w 512"/>
              <a:gd name="T11" fmla="*/ 234 h 512"/>
              <a:gd name="T12" fmla="*/ 171 w 512"/>
              <a:gd name="T13" fmla="*/ 234 h 512"/>
              <a:gd name="T14" fmla="*/ 149 w 512"/>
              <a:gd name="T15" fmla="*/ 184 h 512"/>
              <a:gd name="T16" fmla="*/ 346 w 512"/>
              <a:gd name="T17" fmla="*/ 170 h 512"/>
              <a:gd name="T18" fmla="*/ 280 w 512"/>
              <a:gd name="T19" fmla="*/ 170 h 512"/>
              <a:gd name="T20" fmla="*/ 321 w 512"/>
              <a:gd name="T21" fmla="*/ 227 h 512"/>
              <a:gd name="T22" fmla="*/ 346 w 512"/>
              <a:gd name="T23" fmla="*/ 170 h 512"/>
              <a:gd name="T24" fmla="*/ 298 w 512"/>
              <a:gd name="T25" fmla="*/ 234 h 512"/>
              <a:gd name="T26" fmla="*/ 256 w 512"/>
              <a:gd name="T27" fmla="*/ 177 h 512"/>
              <a:gd name="T28" fmla="*/ 213 w 512"/>
              <a:gd name="T29" fmla="*/ 234 h 512"/>
              <a:gd name="T30" fmla="*/ 298 w 512"/>
              <a:gd name="T31" fmla="*/ 234 h 512"/>
              <a:gd name="T32" fmla="*/ 131 w 512"/>
              <a:gd name="T33" fmla="*/ 256 h 512"/>
              <a:gd name="T34" fmla="*/ 224 w 512"/>
              <a:gd name="T35" fmla="*/ 356 h 512"/>
              <a:gd name="T36" fmla="*/ 180 w 512"/>
              <a:gd name="T37" fmla="*/ 256 h 512"/>
              <a:gd name="T38" fmla="*/ 131 w 512"/>
              <a:gd name="T39" fmla="*/ 256 h 512"/>
              <a:gd name="T40" fmla="*/ 340 w 512"/>
              <a:gd name="T41" fmla="*/ 234 h 512"/>
              <a:gd name="T42" fmla="*/ 388 w 512"/>
              <a:gd name="T43" fmla="*/ 234 h 512"/>
              <a:gd name="T44" fmla="*/ 362 w 512"/>
              <a:gd name="T45" fmla="*/ 184 h 512"/>
              <a:gd name="T46" fmla="*/ 340 w 512"/>
              <a:gd name="T47" fmla="*/ 234 h 512"/>
              <a:gd name="T48" fmla="*/ 203 w 512"/>
              <a:gd name="T49" fmla="*/ 256 h 512"/>
              <a:gd name="T50" fmla="*/ 256 w 512"/>
              <a:gd name="T51" fmla="*/ 378 h 512"/>
              <a:gd name="T52" fmla="*/ 309 w 512"/>
              <a:gd name="T53" fmla="*/ 256 h 512"/>
              <a:gd name="T54" fmla="*/ 203 w 512"/>
              <a:gd name="T55" fmla="*/ 256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5 w 512"/>
              <a:gd name="T67" fmla="*/ 240 h 512"/>
              <a:gd name="T68" fmla="*/ 372 w 512"/>
              <a:gd name="T69" fmla="*/ 155 h 512"/>
              <a:gd name="T70" fmla="*/ 362 w 512"/>
              <a:gd name="T71" fmla="*/ 149 h 512"/>
              <a:gd name="T72" fmla="*/ 149 w 512"/>
              <a:gd name="T73" fmla="*/ 149 h 512"/>
              <a:gd name="T74" fmla="*/ 139 w 512"/>
              <a:gd name="T75" fmla="*/ 155 h 512"/>
              <a:gd name="T76" fmla="*/ 97 w 512"/>
              <a:gd name="T77" fmla="*/ 240 h 512"/>
              <a:gd name="T78" fmla="*/ 99 w 512"/>
              <a:gd name="T79" fmla="*/ 252 h 512"/>
              <a:gd name="T80" fmla="*/ 248 w 512"/>
              <a:gd name="T81" fmla="*/ 412 h 512"/>
              <a:gd name="T82" fmla="*/ 256 w 512"/>
              <a:gd name="T83" fmla="*/ 416 h 512"/>
              <a:gd name="T84" fmla="*/ 263 w 512"/>
              <a:gd name="T85" fmla="*/ 412 h 512"/>
              <a:gd name="T86" fmla="*/ 413 w 512"/>
              <a:gd name="T87" fmla="*/ 252 h 512"/>
              <a:gd name="T88" fmla="*/ 415 w 512"/>
              <a:gd name="T89" fmla="*/ 240 h 512"/>
              <a:gd name="T90" fmla="*/ 287 w 512"/>
              <a:gd name="T91" fmla="*/ 356 h 512"/>
              <a:gd name="T92" fmla="*/ 380 w 512"/>
              <a:gd name="T93" fmla="*/ 256 h 512"/>
              <a:gd name="T94" fmla="*/ 331 w 512"/>
              <a:gd name="T95" fmla="*/ 256 h 512"/>
              <a:gd name="T96" fmla="*/ 287 w 512"/>
              <a:gd name="T97" fmla="*/ 3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190" y="227"/>
                </a:moveTo>
                <a:cubicBezTo>
                  <a:pt x="166" y="170"/>
                  <a:pt x="166" y="170"/>
                  <a:pt x="166" y="170"/>
                </a:cubicBezTo>
                <a:cubicBezTo>
                  <a:pt x="232" y="170"/>
                  <a:pt x="232" y="170"/>
                  <a:pt x="232" y="170"/>
                </a:cubicBezTo>
                <a:lnTo>
                  <a:pt x="190" y="227"/>
                </a:lnTo>
                <a:close/>
                <a:moveTo>
                  <a:pt x="149" y="184"/>
                </a:moveTo>
                <a:cubicBezTo>
                  <a:pt x="124" y="234"/>
                  <a:pt x="124" y="234"/>
                  <a:pt x="124" y="234"/>
                </a:cubicBezTo>
                <a:cubicBezTo>
                  <a:pt x="171" y="234"/>
                  <a:pt x="171" y="234"/>
                  <a:pt x="171" y="234"/>
                </a:cubicBezTo>
                <a:lnTo>
                  <a:pt x="149" y="184"/>
                </a:lnTo>
                <a:close/>
                <a:moveTo>
                  <a:pt x="346" y="170"/>
                </a:moveTo>
                <a:cubicBezTo>
                  <a:pt x="280" y="170"/>
                  <a:pt x="280" y="170"/>
                  <a:pt x="280" y="170"/>
                </a:cubicBezTo>
                <a:cubicBezTo>
                  <a:pt x="321" y="227"/>
                  <a:pt x="321" y="227"/>
                  <a:pt x="321" y="227"/>
                </a:cubicBezTo>
                <a:lnTo>
                  <a:pt x="346" y="170"/>
                </a:lnTo>
                <a:close/>
                <a:moveTo>
                  <a:pt x="298" y="234"/>
                </a:moveTo>
                <a:cubicBezTo>
                  <a:pt x="256" y="177"/>
                  <a:pt x="256" y="177"/>
                  <a:pt x="256" y="177"/>
                </a:cubicBezTo>
                <a:cubicBezTo>
                  <a:pt x="213" y="234"/>
                  <a:pt x="213" y="234"/>
                  <a:pt x="213" y="234"/>
                </a:cubicBezTo>
                <a:lnTo>
                  <a:pt x="298" y="234"/>
                </a:lnTo>
                <a:close/>
                <a:moveTo>
                  <a:pt x="131" y="256"/>
                </a:moveTo>
                <a:cubicBezTo>
                  <a:pt x="224" y="356"/>
                  <a:pt x="224" y="356"/>
                  <a:pt x="224" y="356"/>
                </a:cubicBezTo>
                <a:cubicBezTo>
                  <a:pt x="180" y="256"/>
                  <a:pt x="180" y="256"/>
                  <a:pt x="180" y="256"/>
                </a:cubicBezTo>
                <a:lnTo>
                  <a:pt x="131" y="256"/>
                </a:lnTo>
                <a:close/>
                <a:moveTo>
                  <a:pt x="340" y="234"/>
                </a:moveTo>
                <a:cubicBezTo>
                  <a:pt x="388" y="234"/>
                  <a:pt x="388" y="234"/>
                  <a:pt x="388" y="234"/>
                </a:cubicBezTo>
                <a:cubicBezTo>
                  <a:pt x="362" y="184"/>
                  <a:pt x="362" y="184"/>
                  <a:pt x="362" y="184"/>
                </a:cubicBezTo>
                <a:lnTo>
                  <a:pt x="340" y="234"/>
                </a:lnTo>
                <a:close/>
                <a:moveTo>
                  <a:pt x="203" y="256"/>
                </a:moveTo>
                <a:cubicBezTo>
                  <a:pt x="256" y="378"/>
                  <a:pt x="256" y="378"/>
                  <a:pt x="256" y="378"/>
                </a:cubicBezTo>
                <a:cubicBezTo>
                  <a:pt x="309" y="256"/>
                  <a:pt x="309" y="256"/>
                  <a:pt x="309" y="256"/>
                </a:cubicBezTo>
                <a:lnTo>
                  <a:pt x="203"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40"/>
                </a:moveTo>
                <a:cubicBezTo>
                  <a:pt x="372" y="155"/>
                  <a:pt x="372" y="155"/>
                  <a:pt x="372" y="155"/>
                </a:cubicBezTo>
                <a:cubicBezTo>
                  <a:pt x="370" y="151"/>
                  <a:pt x="366" y="149"/>
                  <a:pt x="362" y="149"/>
                </a:cubicBezTo>
                <a:cubicBezTo>
                  <a:pt x="149" y="149"/>
                  <a:pt x="149" y="149"/>
                  <a:pt x="149" y="149"/>
                </a:cubicBezTo>
                <a:cubicBezTo>
                  <a:pt x="145" y="149"/>
                  <a:pt x="141" y="151"/>
                  <a:pt x="139" y="155"/>
                </a:cubicBezTo>
                <a:cubicBezTo>
                  <a:pt x="97" y="240"/>
                  <a:pt x="97" y="240"/>
                  <a:pt x="97" y="240"/>
                </a:cubicBezTo>
                <a:cubicBezTo>
                  <a:pt x="95" y="244"/>
                  <a:pt x="95" y="249"/>
                  <a:pt x="99" y="252"/>
                </a:cubicBezTo>
                <a:cubicBezTo>
                  <a:pt x="248" y="412"/>
                  <a:pt x="248" y="412"/>
                  <a:pt x="248" y="412"/>
                </a:cubicBezTo>
                <a:cubicBezTo>
                  <a:pt x="250" y="414"/>
                  <a:pt x="253" y="416"/>
                  <a:pt x="256" y="416"/>
                </a:cubicBezTo>
                <a:cubicBezTo>
                  <a:pt x="259" y="416"/>
                  <a:pt x="261" y="414"/>
                  <a:pt x="263" y="412"/>
                </a:cubicBezTo>
                <a:cubicBezTo>
                  <a:pt x="413" y="252"/>
                  <a:pt x="413" y="252"/>
                  <a:pt x="413" y="252"/>
                </a:cubicBezTo>
                <a:cubicBezTo>
                  <a:pt x="416" y="249"/>
                  <a:pt x="417" y="244"/>
                  <a:pt x="415" y="240"/>
                </a:cubicBezTo>
                <a:close/>
                <a:moveTo>
                  <a:pt x="287" y="356"/>
                </a:moveTo>
                <a:cubicBezTo>
                  <a:pt x="380" y="256"/>
                  <a:pt x="380" y="256"/>
                  <a:pt x="380" y="256"/>
                </a:cubicBezTo>
                <a:cubicBezTo>
                  <a:pt x="331" y="256"/>
                  <a:pt x="331" y="256"/>
                  <a:pt x="331" y="256"/>
                </a:cubicBezTo>
                <a:lnTo>
                  <a:pt x="287" y="35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1" name="Group 226">
            <a:extLst>
              <a:ext uri="{FF2B5EF4-FFF2-40B4-BE49-F238E27FC236}">
                <a16:creationId xmlns:a16="http://schemas.microsoft.com/office/drawing/2014/main" id="{628F9C9D-20FD-4124-BC6E-EE737CE0DB28}"/>
              </a:ext>
            </a:extLst>
          </p:cNvPr>
          <p:cNvGrpSpPr>
            <a:grpSpLocks noChangeAspect="1"/>
          </p:cNvGrpSpPr>
          <p:nvPr/>
        </p:nvGrpSpPr>
        <p:grpSpPr bwMode="auto">
          <a:xfrm>
            <a:off x="9614022" y="2524483"/>
            <a:ext cx="367631" cy="367631"/>
            <a:chOff x="2710" y="770"/>
            <a:chExt cx="340" cy="340"/>
          </a:xfrm>
          <a:solidFill>
            <a:schemeClr val="accent3"/>
          </a:solidFill>
        </p:grpSpPr>
        <p:sp>
          <p:nvSpPr>
            <p:cNvPr id="382" name="Freeform 227">
              <a:extLst>
                <a:ext uri="{FF2B5EF4-FFF2-40B4-BE49-F238E27FC236}">
                  <a16:creationId xmlns:a16="http://schemas.microsoft.com/office/drawing/2014/main" id="{78258945-24A2-4CEA-80A2-BDA950607BDE}"/>
                </a:ext>
              </a:extLst>
            </p:cNvPr>
            <p:cNvSpPr>
              <a:spLocks noEditPoints="1"/>
            </p:cNvSpPr>
            <p:nvPr/>
          </p:nvSpPr>
          <p:spPr bwMode="auto">
            <a:xfrm>
              <a:off x="2710"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3" name="Freeform 228">
              <a:extLst>
                <a:ext uri="{FF2B5EF4-FFF2-40B4-BE49-F238E27FC236}">
                  <a16:creationId xmlns:a16="http://schemas.microsoft.com/office/drawing/2014/main" id="{CC084CF3-1A1D-4ED8-8D94-1F951EE1EAEE}"/>
                </a:ext>
              </a:extLst>
            </p:cNvPr>
            <p:cNvSpPr>
              <a:spLocks noEditPoints="1"/>
            </p:cNvSpPr>
            <p:nvPr/>
          </p:nvSpPr>
          <p:spPr bwMode="auto">
            <a:xfrm>
              <a:off x="2773" y="869"/>
              <a:ext cx="214" cy="177"/>
            </a:xfrm>
            <a:custGeom>
              <a:avLst/>
              <a:gdLst>
                <a:gd name="T0" fmla="*/ 320 w 322"/>
                <a:gd name="T1" fmla="*/ 91 h 267"/>
                <a:gd name="T2" fmla="*/ 277 w 322"/>
                <a:gd name="T3" fmla="*/ 6 h 267"/>
                <a:gd name="T4" fmla="*/ 267 w 322"/>
                <a:gd name="T5" fmla="*/ 0 h 267"/>
                <a:gd name="T6" fmla="*/ 54 w 322"/>
                <a:gd name="T7" fmla="*/ 0 h 267"/>
                <a:gd name="T8" fmla="*/ 44 w 322"/>
                <a:gd name="T9" fmla="*/ 6 h 267"/>
                <a:gd name="T10" fmla="*/ 2 w 322"/>
                <a:gd name="T11" fmla="*/ 91 h 267"/>
                <a:gd name="T12" fmla="*/ 4 w 322"/>
                <a:gd name="T13" fmla="*/ 103 h 267"/>
                <a:gd name="T14" fmla="*/ 153 w 322"/>
                <a:gd name="T15" fmla="*/ 263 h 267"/>
                <a:gd name="T16" fmla="*/ 161 w 322"/>
                <a:gd name="T17" fmla="*/ 267 h 267"/>
                <a:gd name="T18" fmla="*/ 168 w 322"/>
                <a:gd name="T19" fmla="*/ 263 h 267"/>
                <a:gd name="T20" fmla="*/ 318 w 322"/>
                <a:gd name="T21" fmla="*/ 103 h 267"/>
                <a:gd name="T22" fmla="*/ 320 w 322"/>
                <a:gd name="T23" fmla="*/ 91 h 267"/>
                <a:gd name="T24" fmla="*/ 214 w 322"/>
                <a:gd name="T25" fmla="*/ 107 h 267"/>
                <a:gd name="T26" fmla="*/ 161 w 322"/>
                <a:gd name="T27" fmla="*/ 229 h 267"/>
                <a:gd name="T28" fmla="*/ 108 w 322"/>
                <a:gd name="T29" fmla="*/ 107 h 267"/>
                <a:gd name="T30" fmla="*/ 214 w 322"/>
                <a:gd name="T31" fmla="*/ 107 h 267"/>
                <a:gd name="T32" fmla="*/ 118 w 322"/>
                <a:gd name="T33" fmla="*/ 85 h 267"/>
                <a:gd name="T34" fmla="*/ 161 w 322"/>
                <a:gd name="T35" fmla="*/ 28 h 267"/>
                <a:gd name="T36" fmla="*/ 203 w 322"/>
                <a:gd name="T37" fmla="*/ 85 h 267"/>
                <a:gd name="T38" fmla="*/ 118 w 322"/>
                <a:gd name="T39" fmla="*/ 85 h 267"/>
                <a:gd name="T40" fmla="*/ 185 w 322"/>
                <a:gd name="T41" fmla="*/ 21 h 267"/>
                <a:gd name="T42" fmla="*/ 251 w 322"/>
                <a:gd name="T43" fmla="*/ 21 h 267"/>
                <a:gd name="T44" fmla="*/ 226 w 322"/>
                <a:gd name="T45" fmla="*/ 78 h 267"/>
                <a:gd name="T46" fmla="*/ 185 w 322"/>
                <a:gd name="T47" fmla="*/ 21 h 267"/>
                <a:gd name="T48" fmla="*/ 95 w 322"/>
                <a:gd name="T49" fmla="*/ 78 h 267"/>
                <a:gd name="T50" fmla="*/ 71 w 322"/>
                <a:gd name="T51" fmla="*/ 21 h 267"/>
                <a:gd name="T52" fmla="*/ 137 w 322"/>
                <a:gd name="T53" fmla="*/ 21 h 267"/>
                <a:gd name="T54" fmla="*/ 95 w 322"/>
                <a:gd name="T55" fmla="*/ 78 h 267"/>
                <a:gd name="T56" fmla="*/ 76 w 322"/>
                <a:gd name="T57" fmla="*/ 85 h 267"/>
                <a:gd name="T58" fmla="*/ 29 w 322"/>
                <a:gd name="T59" fmla="*/ 85 h 267"/>
                <a:gd name="T60" fmla="*/ 54 w 322"/>
                <a:gd name="T61" fmla="*/ 35 h 267"/>
                <a:gd name="T62" fmla="*/ 76 w 322"/>
                <a:gd name="T63" fmla="*/ 85 h 267"/>
                <a:gd name="T64" fmla="*/ 85 w 322"/>
                <a:gd name="T65" fmla="*/ 107 h 267"/>
                <a:gd name="T66" fmla="*/ 129 w 322"/>
                <a:gd name="T67" fmla="*/ 207 h 267"/>
                <a:gd name="T68" fmla="*/ 36 w 322"/>
                <a:gd name="T69" fmla="*/ 107 h 267"/>
                <a:gd name="T70" fmla="*/ 85 w 322"/>
                <a:gd name="T71" fmla="*/ 107 h 267"/>
                <a:gd name="T72" fmla="*/ 236 w 322"/>
                <a:gd name="T73" fmla="*/ 107 h 267"/>
                <a:gd name="T74" fmla="*/ 285 w 322"/>
                <a:gd name="T75" fmla="*/ 107 h 267"/>
                <a:gd name="T76" fmla="*/ 192 w 322"/>
                <a:gd name="T77" fmla="*/ 207 h 267"/>
                <a:gd name="T78" fmla="*/ 236 w 322"/>
                <a:gd name="T79" fmla="*/ 107 h 267"/>
                <a:gd name="T80" fmla="*/ 245 w 322"/>
                <a:gd name="T81" fmla="*/ 85 h 267"/>
                <a:gd name="T82" fmla="*/ 267 w 322"/>
                <a:gd name="T83" fmla="*/ 35 h 267"/>
                <a:gd name="T84" fmla="*/ 293 w 322"/>
                <a:gd name="T85" fmla="*/ 85 h 267"/>
                <a:gd name="T86" fmla="*/ 245 w 322"/>
                <a:gd name="T87" fmla="*/ 8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2" h="267">
                  <a:moveTo>
                    <a:pt x="320" y="91"/>
                  </a:moveTo>
                  <a:cubicBezTo>
                    <a:pt x="277" y="6"/>
                    <a:pt x="277" y="6"/>
                    <a:pt x="277" y="6"/>
                  </a:cubicBezTo>
                  <a:cubicBezTo>
                    <a:pt x="275" y="2"/>
                    <a:pt x="271" y="0"/>
                    <a:pt x="267" y="0"/>
                  </a:cubicBezTo>
                  <a:cubicBezTo>
                    <a:pt x="54" y="0"/>
                    <a:pt x="54" y="0"/>
                    <a:pt x="54" y="0"/>
                  </a:cubicBezTo>
                  <a:cubicBezTo>
                    <a:pt x="50" y="0"/>
                    <a:pt x="46" y="2"/>
                    <a:pt x="44" y="6"/>
                  </a:cubicBezTo>
                  <a:cubicBezTo>
                    <a:pt x="2" y="91"/>
                    <a:pt x="2" y="91"/>
                    <a:pt x="2" y="91"/>
                  </a:cubicBezTo>
                  <a:cubicBezTo>
                    <a:pt x="0" y="95"/>
                    <a:pt x="0" y="100"/>
                    <a:pt x="4" y="103"/>
                  </a:cubicBezTo>
                  <a:cubicBezTo>
                    <a:pt x="153" y="263"/>
                    <a:pt x="153" y="263"/>
                    <a:pt x="153" y="263"/>
                  </a:cubicBezTo>
                  <a:cubicBezTo>
                    <a:pt x="155" y="265"/>
                    <a:pt x="158" y="267"/>
                    <a:pt x="161" y="267"/>
                  </a:cubicBezTo>
                  <a:cubicBezTo>
                    <a:pt x="164" y="267"/>
                    <a:pt x="166" y="265"/>
                    <a:pt x="168" y="263"/>
                  </a:cubicBezTo>
                  <a:cubicBezTo>
                    <a:pt x="318" y="103"/>
                    <a:pt x="318" y="103"/>
                    <a:pt x="318" y="103"/>
                  </a:cubicBezTo>
                  <a:cubicBezTo>
                    <a:pt x="321" y="100"/>
                    <a:pt x="322" y="95"/>
                    <a:pt x="320" y="91"/>
                  </a:cubicBezTo>
                  <a:close/>
                  <a:moveTo>
                    <a:pt x="214" y="107"/>
                  </a:moveTo>
                  <a:cubicBezTo>
                    <a:pt x="161" y="229"/>
                    <a:pt x="161" y="229"/>
                    <a:pt x="161" y="229"/>
                  </a:cubicBezTo>
                  <a:cubicBezTo>
                    <a:pt x="108" y="107"/>
                    <a:pt x="108" y="107"/>
                    <a:pt x="108" y="107"/>
                  </a:cubicBezTo>
                  <a:lnTo>
                    <a:pt x="214" y="107"/>
                  </a:lnTo>
                  <a:close/>
                  <a:moveTo>
                    <a:pt x="118" y="85"/>
                  </a:moveTo>
                  <a:cubicBezTo>
                    <a:pt x="161" y="28"/>
                    <a:pt x="161" y="28"/>
                    <a:pt x="161" y="28"/>
                  </a:cubicBezTo>
                  <a:cubicBezTo>
                    <a:pt x="203" y="85"/>
                    <a:pt x="203" y="85"/>
                    <a:pt x="203" y="85"/>
                  </a:cubicBezTo>
                  <a:lnTo>
                    <a:pt x="118" y="85"/>
                  </a:lnTo>
                  <a:close/>
                  <a:moveTo>
                    <a:pt x="185" y="21"/>
                  </a:moveTo>
                  <a:cubicBezTo>
                    <a:pt x="251" y="21"/>
                    <a:pt x="251" y="21"/>
                    <a:pt x="251" y="21"/>
                  </a:cubicBezTo>
                  <a:cubicBezTo>
                    <a:pt x="226" y="78"/>
                    <a:pt x="226" y="78"/>
                    <a:pt x="226" y="78"/>
                  </a:cubicBezTo>
                  <a:lnTo>
                    <a:pt x="185" y="21"/>
                  </a:lnTo>
                  <a:close/>
                  <a:moveTo>
                    <a:pt x="95" y="78"/>
                  </a:moveTo>
                  <a:cubicBezTo>
                    <a:pt x="71" y="21"/>
                    <a:pt x="71" y="21"/>
                    <a:pt x="71" y="21"/>
                  </a:cubicBezTo>
                  <a:cubicBezTo>
                    <a:pt x="137" y="21"/>
                    <a:pt x="137" y="21"/>
                    <a:pt x="137" y="21"/>
                  </a:cubicBezTo>
                  <a:lnTo>
                    <a:pt x="95" y="78"/>
                  </a:lnTo>
                  <a:close/>
                  <a:moveTo>
                    <a:pt x="76" y="85"/>
                  </a:moveTo>
                  <a:cubicBezTo>
                    <a:pt x="29" y="85"/>
                    <a:pt x="29" y="85"/>
                    <a:pt x="29" y="85"/>
                  </a:cubicBezTo>
                  <a:cubicBezTo>
                    <a:pt x="54" y="35"/>
                    <a:pt x="54" y="35"/>
                    <a:pt x="54" y="35"/>
                  </a:cubicBezTo>
                  <a:lnTo>
                    <a:pt x="76" y="85"/>
                  </a:lnTo>
                  <a:close/>
                  <a:moveTo>
                    <a:pt x="85" y="107"/>
                  </a:moveTo>
                  <a:cubicBezTo>
                    <a:pt x="129" y="207"/>
                    <a:pt x="129" y="207"/>
                    <a:pt x="129" y="207"/>
                  </a:cubicBezTo>
                  <a:cubicBezTo>
                    <a:pt x="36" y="107"/>
                    <a:pt x="36" y="107"/>
                    <a:pt x="36" y="107"/>
                  </a:cubicBezTo>
                  <a:lnTo>
                    <a:pt x="85" y="107"/>
                  </a:lnTo>
                  <a:close/>
                  <a:moveTo>
                    <a:pt x="236" y="107"/>
                  </a:moveTo>
                  <a:cubicBezTo>
                    <a:pt x="285" y="107"/>
                    <a:pt x="285" y="107"/>
                    <a:pt x="285" y="107"/>
                  </a:cubicBezTo>
                  <a:cubicBezTo>
                    <a:pt x="192" y="207"/>
                    <a:pt x="192" y="207"/>
                    <a:pt x="192" y="207"/>
                  </a:cubicBezTo>
                  <a:lnTo>
                    <a:pt x="236" y="107"/>
                  </a:lnTo>
                  <a:close/>
                  <a:moveTo>
                    <a:pt x="245" y="85"/>
                  </a:moveTo>
                  <a:cubicBezTo>
                    <a:pt x="267" y="35"/>
                    <a:pt x="267" y="35"/>
                    <a:pt x="267" y="35"/>
                  </a:cubicBezTo>
                  <a:cubicBezTo>
                    <a:pt x="293" y="85"/>
                    <a:pt x="293" y="85"/>
                    <a:pt x="293" y="85"/>
                  </a:cubicBezTo>
                  <a:lnTo>
                    <a:pt x="245" y="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84" name="Group 556">
            <a:extLst>
              <a:ext uri="{FF2B5EF4-FFF2-40B4-BE49-F238E27FC236}">
                <a16:creationId xmlns:a16="http://schemas.microsoft.com/office/drawing/2014/main" id="{932EE779-A814-4F1D-BFF4-CDFBB7108DA2}"/>
              </a:ext>
            </a:extLst>
          </p:cNvPr>
          <p:cNvGrpSpPr>
            <a:grpSpLocks noChangeAspect="1"/>
          </p:cNvGrpSpPr>
          <p:nvPr/>
        </p:nvGrpSpPr>
        <p:grpSpPr bwMode="auto">
          <a:xfrm>
            <a:off x="10482113" y="2524483"/>
            <a:ext cx="370763" cy="369676"/>
            <a:chOff x="3513" y="1927"/>
            <a:chExt cx="341" cy="340"/>
          </a:xfrm>
          <a:solidFill>
            <a:schemeClr val="accent6"/>
          </a:solidFill>
        </p:grpSpPr>
        <p:sp>
          <p:nvSpPr>
            <p:cNvPr id="385" name="Freeform 557">
              <a:extLst>
                <a:ext uri="{FF2B5EF4-FFF2-40B4-BE49-F238E27FC236}">
                  <a16:creationId xmlns:a16="http://schemas.microsoft.com/office/drawing/2014/main" id="{6FD95950-A4BA-4418-9F0C-74657B8E4D96}"/>
                </a:ext>
              </a:extLst>
            </p:cNvPr>
            <p:cNvSpPr>
              <a:spLocks noEditPoints="1"/>
            </p:cNvSpPr>
            <p:nvPr/>
          </p:nvSpPr>
          <p:spPr bwMode="auto">
            <a:xfrm>
              <a:off x="3513" y="192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6" name="Freeform 558">
              <a:extLst>
                <a:ext uri="{FF2B5EF4-FFF2-40B4-BE49-F238E27FC236}">
                  <a16:creationId xmlns:a16="http://schemas.microsoft.com/office/drawing/2014/main" id="{4E36A764-FA53-4E0A-8067-206444F81C30}"/>
                </a:ext>
              </a:extLst>
            </p:cNvPr>
            <p:cNvSpPr>
              <a:spLocks noEditPoints="1"/>
            </p:cNvSpPr>
            <p:nvPr/>
          </p:nvSpPr>
          <p:spPr bwMode="auto">
            <a:xfrm>
              <a:off x="3577" y="2019"/>
              <a:ext cx="206" cy="156"/>
            </a:xfrm>
            <a:custGeom>
              <a:avLst/>
              <a:gdLst>
                <a:gd name="T0" fmla="*/ 288 w 309"/>
                <a:gd name="T1" fmla="*/ 164 h 235"/>
                <a:gd name="T2" fmla="*/ 288 w 309"/>
                <a:gd name="T3" fmla="*/ 107 h 235"/>
                <a:gd name="T4" fmla="*/ 266 w 309"/>
                <a:gd name="T5" fmla="*/ 86 h 235"/>
                <a:gd name="T6" fmla="*/ 245 w 309"/>
                <a:gd name="T7" fmla="*/ 86 h 235"/>
                <a:gd name="T8" fmla="*/ 245 w 309"/>
                <a:gd name="T9" fmla="*/ 32 h 235"/>
                <a:gd name="T10" fmla="*/ 224 w 309"/>
                <a:gd name="T11" fmla="*/ 11 h 235"/>
                <a:gd name="T12" fmla="*/ 213 w 309"/>
                <a:gd name="T13" fmla="*/ 22 h 235"/>
                <a:gd name="T14" fmla="*/ 224 w 309"/>
                <a:gd name="T15" fmla="*/ 32 h 235"/>
                <a:gd name="T16" fmla="*/ 224 w 309"/>
                <a:gd name="T17" fmla="*/ 86 h 235"/>
                <a:gd name="T18" fmla="*/ 168 w 309"/>
                <a:gd name="T19" fmla="*/ 86 h 235"/>
                <a:gd name="T20" fmla="*/ 149 w 309"/>
                <a:gd name="T21" fmla="*/ 20 h 235"/>
                <a:gd name="T22" fmla="*/ 128 w 309"/>
                <a:gd name="T23" fmla="*/ 0 h 235"/>
                <a:gd name="T24" fmla="*/ 64 w 309"/>
                <a:gd name="T25" fmla="*/ 0 h 235"/>
                <a:gd name="T26" fmla="*/ 53 w 309"/>
                <a:gd name="T27" fmla="*/ 10 h 235"/>
                <a:gd name="T28" fmla="*/ 43 w 309"/>
                <a:gd name="T29" fmla="*/ 93 h 235"/>
                <a:gd name="T30" fmla="*/ 0 w 309"/>
                <a:gd name="T31" fmla="*/ 160 h 235"/>
                <a:gd name="T32" fmla="*/ 74 w 309"/>
                <a:gd name="T33" fmla="*/ 235 h 235"/>
                <a:gd name="T34" fmla="*/ 127 w 309"/>
                <a:gd name="T35" fmla="*/ 213 h 235"/>
                <a:gd name="T36" fmla="*/ 128 w 309"/>
                <a:gd name="T37" fmla="*/ 214 h 235"/>
                <a:gd name="T38" fmla="*/ 238 w 309"/>
                <a:gd name="T39" fmla="*/ 214 h 235"/>
                <a:gd name="T40" fmla="*/ 272 w 309"/>
                <a:gd name="T41" fmla="*/ 235 h 235"/>
                <a:gd name="T42" fmla="*/ 309 w 309"/>
                <a:gd name="T43" fmla="*/ 198 h 235"/>
                <a:gd name="T44" fmla="*/ 288 w 309"/>
                <a:gd name="T45" fmla="*/ 164 h 235"/>
                <a:gd name="T46" fmla="*/ 266 w 309"/>
                <a:gd name="T47" fmla="*/ 161 h 235"/>
                <a:gd name="T48" fmla="*/ 235 w 309"/>
                <a:gd name="T49" fmla="*/ 192 h 235"/>
                <a:gd name="T50" fmla="*/ 142 w 309"/>
                <a:gd name="T51" fmla="*/ 192 h 235"/>
                <a:gd name="T52" fmla="*/ 149 w 309"/>
                <a:gd name="T53" fmla="*/ 160 h 235"/>
                <a:gd name="T54" fmla="*/ 126 w 309"/>
                <a:gd name="T55" fmla="*/ 107 h 235"/>
                <a:gd name="T56" fmla="*/ 266 w 309"/>
                <a:gd name="T57" fmla="*/ 107 h 235"/>
                <a:gd name="T58" fmla="*/ 266 w 309"/>
                <a:gd name="T59" fmla="*/ 161 h 235"/>
                <a:gd name="T60" fmla="*/ 73 w 309"/>
                <a:gd name="T61" fmla="*/ 22 h 235"/>
                <a:gd name="T62" fmla="*/ 128 w 309"/>
                <a:gd name="T63" fmla="*/ 22 h 235"/>
                <a:gd name="T64" fmla="*/ 128 w 309"/>
                <a:gd name="T65" fmla="*/ 25 h 235"/>
                <a:gd name="T66" fmla="*/ 146 w 309"/>
                <a:gd name="T67" fmla="*/ 86 h 235"/>
                <a:gd name="T68" fmla="*/ 85 w 309"/>
                <a:gd name="T69" fmla="*/ 86 h 235"/>
                <a:gd name="T70" fmla="*/ 83 w 309"/>
                <a:gd name="T71" fmla="*/ 86 h 235"/>
                <a:gd name="T72" fmla="*/ 74 w 309"/>
                <a:gd name="T73" fmla="*/ 86 h 235"/>
                <a:gd name="T74" fmla="*/ 65 w 309"/>
                <a:gd name="T75" fmla="*/ 86 h 235"/>
                <a:gd name="T76" fmla="*/ 73 w 309"/>
                <a:gd name="T77" fmla="*/ 22 h 235"/>
                <a:gd name="T78" fmla="*/ 74 w 309"/>
                <a:gd name="T79" fmla="*/ 214 h 235"/>
                <a:gd name="T80" fmla="*/ 21 w 309"/>
                <a:gd name="T81" fmla="*/ 160 h 235"/>
                <a:gd name="T82" fmla="*/ 74 w 309"/>
                <a:gd name="T83" fmla="*/ 107 h 235"/>
                <a:gd name="T84" fmla="*/ 128 w 309"/>
                <a:gd name="T85" fmla="*/ 160 h 235"/>
                <a:gd name="T86" fmla="*/ 74 w 309"/>
                <a:gd name="T87" fmla="*/ 214 h 235"/>
                <a:gd name="T88" fmla="*/ 272 w 309"/>
                <a:gd name="T89" fmla="*/ 214 h 235"/>
                <a:gd name="T90" fmla="*/ 256 w 309"/>
                <a:gd name="T91" fmla="*/ 198 h 235"/>
                <a:gd name="T92" fmla="*/ 272 w 309"/>
                <a:gd name="T93" fmla="*/ 182 h 235"/>
                <a:gd name="T94" fmla="*/ 288 w 309"/>
                <a:gd name="T95" fmla="*/ 198 h 235"/>
                <a:gd name="T96" fmla="*/ 272 w 309"/>
                <a:gd name="T97" fmla="*/ 214 h 235"/>
                <a:gd name="T98" fmla="*/ 234 w 309"/>
                <a:gd name="T99" fmla="*/ 128 h 235"/>
                <a:gd name="T100" fmla="*/ 245 w 309"/>
                <a:gd name="T101" fmla="*/ 139 h 235"/>
                <a:gd name="T102" fmla="*/ 234 w 309"/>
                <a:gd name="T103" fmla="*/ 150 h 235"/>
                <a:gd name="T104" fmla="*/ 213 w 309"/>
                <a:gd name="T105" fmla="*/ 150 h 235"/>
                <a:gd name="T106" fmla="*/ 202 w 309"/>
                <a:gd name="T107" fmla="*/ 139 h 235"/>
                <a:gd name="T108" fmla="*/ 213 w 309"/>
                <a:gd name="T109" fmla="*/ 128 h 235"/>
                <a:gd name="T110" fmla="*/ 234 w 309"/>
                <a:gd name="T111" fmla="*/ 12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9" h="235">
                  <a:moveTo>
                    <a:pt x="288" y="164"/>
                  </a:moveTo>
                  <a:cubicBezTo>
                    <a:pt x="288" y="107"/>
                    <a:pt x="288" y="107"/>
                    <a:pt x="288" y="107"/>
                  </a:cubicBezTo>
                  <a:cubicBezTo>
                    <a:pt x="288" y="95"/>
                    <a:pt x="278" y="86"/>
                    <a:pt x="266" y="86"/>
                  </a:cubicBezTo>
                  <a:cubicBezTo>
                    <a:pt x="245" y="86"/>
                    <a:pt x="245" y="86"/>
                    <a:pt x="245" y="86"/>
                  </a:cubicBezTo>
                  <a:cubicBezTo>
                    <a:pt x="245" y="32"/>
                    <a:pt x="245" y="32"/>
                    <a:pt x="245" y="32"/>
                  </a:cubicBezTo>
                  <a:cubicBezTo>
                    <a:pt x="245" y="21"/>
                    <a:pt x="235" y="11"/>
                    <a:pt x="224" y="11"/>
                  </a:cubicBezTo>
                  <a:cubicBezTo>
                    <a:pt x="218" y="11"/>
                    <a:pt x="213" y="16"/>
                    <a:pt x="213" y="22"/>
                  </a:cubicBezTo>
                  <a:cubicBezTo>
                    <a:pt x="213" y="28"/>
                    <a:pt x="218" y="32"/>
                    <a:pt x="224" y="32"/>
                  </a:cubicBezTo>
                  <a:cubicBezTo>
                    <a:pt x="224" y="86"/>
                    <a:pt x="224" y="86"/>
                    <a:pt x="224" y="86"/>
                  </a:cubicBezTo>
                  <a:cubicBezTo>
                    <a:pt x="168" y="86"/>
                    <a:pt x="168" y="86"/>
                    <a:pt x="168" y="86"/>
                  </a:cubicBezTo>
                  <a:cubicBezTo>
                    <a:pt x="149" y="20"/>
                    <a:pt x="149" y="20"/>
                    <a:pt x="149" y="20"/>
                  </a:cubicBezTo>
                  <a:cubicBezTo>
                    <a:pt x="148" y="9"/>
                    <a:pt x="139" y="0"/>
                    <a:pt x="128" y="0"/>
                  </a:cubicBezTo>
                  <a:cubicBezTo>
                    <a:pt x="64" y="0"/>
                    <a:pt x="64" y="0"/>
                    <a:pt x="64" y="0"/>
                  </a:cubicBezTo>
                  <a:cubicBezTo>
                    <a:pt x="58" y="0"/>
                    <a:pt x="54" y="4"/>
                    <a:pt x="53" y="10"/>
                  </a:cubicBezTo>
                  <a:cubicBezTo>
                    <a:pt x="43" y="93"/>
                    <a:pt x="43" y="93"/>
                    <a:pt x="43" y="93"/>
                  </a:cubicBezTo>
                  <a:cubicBezTo>
                    <a:pt x="17" y="105"/>
                    <a:pt x="0" y="130"/>
                    <a:pt x="0" y="160"/>
                  </a:cubicBezTo>
                  <a:cubicBezTo>
                    <a:pt x="0" y="202"/>
                    <a:pt x="33" y="235"/>
                    <a:pt x="74" y="235"/>
                  </a:cubicBezTo>
                  <a:cubicBezTo>
                    <a:pt x="95" y="235"/>
                    <a:pt x="113" y="227"/>
                    <a:pt x="127" y="213"/>
                  </a:cubicBezTo>
                  <a:cubicBezTo>
                    <a:pt x="127" y="214"/>
                    <a:pt x="127" y="214"/>
                    <a:pt x="128" y="214"/>
                  </a:cubicBezTo>
                  <a:cubicBezTo>
                    <a:pt x="238" y="214"/>
                    <a:pt x="238" y="214"/>
                    <a:pt x="238" y="214"/>
                  </a:cubicBezTo>
                  <a:cubicBezTo>
                    <a:pt x="244" y="226"/>
                    <a:pt x="257" y="235"/>
                    <a:pt x="272" y="235"/>
                  </a:cubicBezTo>
                  <a:cubicBezTo>
                    <a:pt x="292" y="235"/>
                    <a:pt x="309" y="218"/>
                    <a:pt x="309" y="198"/>
                  </a:cubicBezTo>
                  <a:cubicBezTo>
                    <a:pt x="309" y="183"/>
                    <a:pt x="300" y="170"/>
                    <a:pt x="288" y="164"/>
                  </a:cubicBezTo>
                  <a:close/>
                  <a:moveTo>
                    <a:pt x="266" y="161"/>
                  </a:moveTo>
                  <a:cubicBezTo>
                    <a:pt x="250" y="163"/>
                    <a:pt x="237" y="176"/>
                    <a:pt x="235" y="192"/>
                  </a:cubicBezTo>
                  <a:cubicBezTo>
                    <a:pt x="142" y="192"/>
                    <a:pt x="142" y="192"/>
                    <a:pt x="142" y="192"/>
                  </a:cubicBezTo>
                  <a:cubicBezTo>
                    <a:pt x="146" y="183"/>
                    <a:pt x="149" y="172"/>
                    <a:pt x="149" y="160"/>
                  </a:cubicBezTo>
                  <a:cubicBezTo>
                    <a:pt x="149" y="139"/>
                    <a:pt x="140" y="121"/>
                    <a:pt x="126" y="107"/>
                  </a:cubicBezTo>
                  <a:cubicBezTo>
                    <a:pt x="266" y="107"/>
                    <a:pt x="266" y="107"/>
                    <a:pt x="266" y="107"/>
                  </a:cubicBezTo>
                  <a:lnTo>
                    <a:pt x="266" y="161"/>
                  </a:lnTo>
                  <a:close/>
                  <a:moveTo>
                    <a:pt x="73" y="22"/>
                  </a:moveTo>
                  <a:cubicBezTo>
                    <a:pt x="128" y="22"/>
                    <a:pt x="128" y="22"/>
                    <a:pt x="128" y="22"/>
                  </a:cubicBezTo>
                  <a:cubicBezTo>
                    <a:pt x="128" y="23"/>
                    <a:pt x="128" y="24"/>
                    <a:pt x="128" y="25"/>
                  </a:cubicBezTo>
                  <a:cubicBezTo>
                    <a:pt x="146" y="86"/>
                    <a:pt x="146" y="86"/>
                    <a:pt x="146" y="86"/>
                  </a:cubicBezTo>
                  <a:cubicBezTo>
                    <a:pt x="85" y="86"/>
                    <a:pt x="85" y="86"/>
                    <a:pt x="85" y="86"/>
                  </a:cubicBezTo>
                  <a:cubicBezTo>
                    <a:pt x="84" y="86"/>
                    <a:pt x="83" y="86"/>
                    <a:pt x="83" y="86"/>
                  </a:cubicBezTo>
                  <a:cubicBezTo>
                    <a:pt x="80" y="86"/>
                    <a:pt x="77" y="86"/>
                    <a:pt x="74" y="86"/>
                  </a:cubicBezTo>
                  <a:cubicBezTo>
                    <a:pt x="71" y="86"/>
                    <a:pt x="68" y="86"/>
                    <a:pt x="65" y="86"/>
                  </a:cubicBezTo>
                  <a:lnTo>
                    <a:pt x="73" y="22"/>
                  </a:lnTo>
                  <a:close/>
                  <a:moveTo>
                    <a:pt x="74" y="214"/>
                  </a:moveTo>
                  <a:cubicBezTo>
                    <a:pt x="45" y="214"/>
                    <a:pt x="21" y="190"/>
                    <a:pt x="21" y="160"/>
                  </a:cubicBezTo>
                  <a:cubicBezTo>
                    <a:pt x="21" y="131"/>
                    <a:pt x="45" y="107"/>
                    <a:pt x="74" y="107"/>
                  </a:cubicBezTo>
                  <a:cubicBezTo>
                    <a:pt x="104" y="107"/>
                    <a:pt x="128" y="131"/>
                    <a:pt x="128" y="160"/>
                  </a:cubicBezTo>
                  <a:cubicBezTo>
                    <a:pt x="128" y="190"/>
                    <a:pt x="104" y="214"/>
                    <a:pt x="74" y="214"/>
                  </a:cubicBezTo>
                  <a:close/>
                  <a:moveTo>
                    <a:pt x="272" y="214"/>
                  </a:moveTo>
                  <a:cubicBezTo>
                    <a:pt x="263" y="214"/>
                    <a:pt x="256" y="206"/>
                    <a:pt x="256" y="198"/>
                  </a:cubicBezTo>
                  <a:cubicBezTo>
                    <a:pt x="256" y="189"/>
                    <a:pt x="263" y="182"/>
                    <a:pt x="272" y="182"/>
                  </a:cubicBezTo>
                  <a:cubicBezTo>
                    <a:pt x="280" y="182"/>
                    <a:pt x="288" y="189"/>
                    <a:pt x="288" y="198"/>
                  </a:cubicBezTo>
                  <a:cubicBezTo>
                    <a:pt x="288" y="206"/>
                    <a:pt x="280" y="214"/>
                    <a:pt x="272" y="214"/>
                  </a:cubicBezTo>
                  <a:close/>
                  <a:moveTo>
                    <a:pt x="234" y="128"/>
                  </a:moveTo>
                  <a:cubicBezTo>
                    <a:pt x="240" y="128"/>
                    <a:pt x="245" y="133"/>
                    <a:pt x="245" y="139"/>
                  </a:cubicBezTo>
                  <a:cubicBezTo>
                    <a:pt x="245" y="145"/>
                    <a:pt x="240" y="150"/>
                    <a:pt x="234" y="150"/>
                  </a:cubicBezTo>
                  <a:cubicBezTo>
                    <a:pt x="213" y="150"/>
                    <a:pt x="213" y="150"/>
                    <a:pt x="213" y="150"/>
                  </a:cubicBezTo>
                  <a:cubicBezTo>
                    <a:pt x="207" y="150"/>
                    <a:pt x="202" y="145"/>
                    <a:pt x="202" y="139"/>
                  </a:cubicBezTo>
                  <a:cubicBezTo>
                    <a:pt x="202" y="133"/>
                    <a:pt x="207" y="128"/>
                    <a:pt x="213" y="128"/>
                  </a:cubicBezTo>
                  <a:lnTo>
                    <a:pt x="234" y="1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7" name="Freeform 562">
            <a:extLst>
              <a:ext uri="{FF2B5EF4-FFF2-40B4-BE49-F238E27FC236}">
                <a16:creationId xmlns:a16="http://schemas.microsoft.com/office/drawing/2014/main" id="{D3DFF5BE-3B14-4745-AFE1-8500F07ECB13}"/>
              </a:ext>
            </a:extLst>
          </p:cNvPr>
          <p:cNvSpPr>
            <a:spLocks noChangeAspect="1" noEditPoints="1"/>
          </p:cNvSpPr>
          <p:nvPr/>
        </p:nvSpPr>
        <p:spPr bwMode="auto">
          <a:xfrm>
            <a:off x="10047045" y="2524483"/>
            <a:ext cx="369676" cy="369676"/>
          </a:xfrm>
          <a:custGeom>
            <a:avLst/>
            <a:gdLst>
              <a:gd name="T0" fmla="*/ 362 w 512"/>
              <a:gd name="T1" fmla="*/ 245 h 512"/>
              <a:gd name="T2" fmla="*/ 222 w 512"/>
              <a:gd name="T3" fmla="*/ 245 h 512"/>
              <a:gd name="T4" fmla="*/ 245 w 512"/>
              <a:gd name="T5" fmla="*/ 298 h 512"/>
              <a:gd name="T6" fmla="*/ 238 w 512"/>
              <a:gd name="T7" fmla="*/ 330 h 512"/>
              <a:gd name="T8" fmla="*/ 331 w 512"/>
              <a:gd name="T9" fmla="*/ 330 h 512"/>
              <a:gd name="T10" fmla="*/ 362 w 512"/>
              <a:gd name="T11" fmla="*/ 299 h 512"/>
              <a:gd name="T12" fmla="*/ 362 w 512"/>
              <a:gd name="T13" fmla="*/ 245 h 512"/>
              <a:gd name="T14" fmla="*/ 330 w 512"/>
              <a:gd name="T15" fmla="*/ 288 h 512"/>
              <a:gd name="T16" fmla="*/ 309 w 512"/>
              <a:gd name="T17" fmla="*/ 288 h 512"/>
              <a:gd name="T18" fmla="*/ 298 w 512"/>
              <a:gd name="T19" fmla="*/ 277 h 512"/>
              <a:gd name="T20" fmla="*/ 309 w 512"/>
              <a:gd name="T21" fmla="*/ 266 h 512"/>
              <a:gd name="T22" fmla="*/ 330 w 512"/>
              <a:gd name="T23" fmla="*/ 266 h 512"/>
              <a:gd name="T24" fmla="*/ 341 w 512"/>
              <a:gd name="T25" fmla="*/ 277 h 512"/>
              <a:gd name="T26" fmla="*/ 330 w 512"/>
              <a:gd name="T27" fmla="*/ 288 h 512"/>
              <a:gd name="T28" fmla="*/ 224 w 512"/>
              <a:gd name="T29" fmla="*/ 298 h 512"/>
              <a:gd name="T30" fmla="*/ 170 w 512"/>
              <a:gd name="T31" fmla="*/ 352 h 512"/>
              <a:gd name="T32" fmla="*/ 117 w 512"/>
              <a:gd name="T33" fmla="*/ 298 h 512"/>
              <a:gd name="T34" fmla="*/ 170 w 512"/>
              <a:gd name="T35" fmla="*/ 245 h 512"/>
              <a:gd name="T36" fmla="*/ 224 w 512"/>
              <a:gd name="T37" fmla="*/ 298 h 512"/>
              <a:gd name="T38" fmla="*/ 170 w 512"/>
              <a:gd name="T39" fmla="*/ 224 h 512"/>
              <a:gd name="T40" fmla="*/ 161 w 512"/>
              <a:gd name="T41" fmla="*/ 224 h 512"/>
              <a:gd name="T42" fmla="*/ 169 w 512"/>
              <a:gd name="T43" fmla="*/ 160 h 512"/>
              <a:gd name="T44" fmla="*/ 224 w 512"/>
              <a:gd name="T45" fmla="*/ 160 h 512"/>
              <a:gd name="T46" fmla="*/ 224 w 512"/>
              <a:gd name="T47" fmla="*/ 163 h 512"/>
              <a:gd name="T48" fmla="*/ 242 w 512"/>
              <a:gd name="T49" fmla="*/ 224 h 512"/>
              <a:gd name="T50" fmla="*/ 181 w 512"/>
              <a:gd name="T51" fmla="*/ 224 h 512"/>
              <a:gd name="T52" fmla="*/ 179 w 512"/>
              <a:gd name="T53" fmla="*/ 224 h 512"/>
              <a:gd name="T54" fmla="*/ 170 w 512"/>
              <a:gd name="T55" fmla="*/ 224 h 512"/>
              <a:gd name="T56" fmla="*/ 256 w 512"/>
              <a:gd name="T57" fmla="*/ 0 h 512"/>
              <a:gd name="T58" fmla="*/ 0 w 512"/>
              <a:gd name="T59" fmla="*/ 256 h 512"/>
              <a:gd name="T60" fmla="*/ 256 w 512"/>
              <a:gd name="T61" fmla="*/ 512 h 512"/>
              <a:gd name="T62" fmla="*/ 512 w 512"/>
              <a:gd name="T63" fmla="*/ 256 h 512"/>
              <a:gd name="T64" fmla="*/ 256 w 512"/>
              <a:gd name="T65" fmla="*/ 0 h 512"/>
              <a:gd name="T66" fmla="*/ 368 w 512"/>
              <a:gd name="T67" fmla="*/ 373 h 512"/>
              <a:gd name="T68" fmla="*/ 334 w 512"/>
              <a:gd name="T69" fmla="*/ 352 h 512"/>
              <a:gd name="T70" fmla="*/ 224 w 512"/>
              <a:gd name="T71" fmla="*/ 352 h 512"/>
              <a:gd name="T72" fmla="*/ 223 w 512"/>
              <a:gd name="T73" fmla="*/ 351 h 512"/>
              <a:gd name="T74" fmla="*/ 170 w 512"/>
              <a:gd name="T75" fmla="*/ 373 h 512"/>
              <a:gd name="T76" fmla="*/ 96 w 512"/>
              <a:gd name="T77" fmla="*/ 298 h 512"/>
              <a:gd name="T78" fmla="*/ 139 w 512"/>
              <a:gd name="T79" fmla="*/ 231 h 512"/>
              <a:gd name="T80" fmla="*/ 149 w 512"/>
              <a:gd name="T81" fmla="*/ 148 h 512"/>
              <a:gd name="T82" fmla="*/ 160 w 512"/>
              <a:gd name="T83" fmla="*/ 138 h 512"/>
              <a:gd name="T84" fmla="*/ 224 w 512"/>
              <a:gd name="T85" fmla="*/ 138 h 512"/>
              <a:gd name="T86" fmla="*/ 245 w 512"/>
              <a:gd name="T87" fmla="*/ 158 h 512"/>
              <a:gd name="T88" fmla="*/ 264 w 512"/>
              <a:gd name="T89" fmla="*/ 224 h 512"/>
              <a:gd name="T90" fmla="*/ 320 w 512"/>
              <a:gd name="T91" fmla="*/ 224 h 512"/>
              <a:gd name="T92" fmla="*/ 320 w 512"/>
              <a:gd name="T93" fmla="*/ 170 h 512"/>
              <a:gd name="T94" fmla="*/ 309 w 512"/>
              <a:gd name="T95" fmla="*/ 160 h 512"/>
              <a:gd name="T96" fmla="*/ 320 w 512"/>
              <a:gd name="T97" fmla="*/ 149 h 512"/>
              <a:gd name="T98" fmla="*/ 341 w 512"/>
              <a:gd name="T99" fmla="*/ 170 h 512"/>
              <a:gd name="T100" fmla="*/ 341 w 512"/>
              <a:gd name="T101" fmla="*/ 224 h 512"/>
              <a:gd name="T102" fmla="*/ 362 w 512"/>
              <a:gd name="T103" fmla="*/ 224 h 512"/>
              <a:gd name="T104" fmla="*/ 384 w 512"/>
              <a:gd name="T105" fmla="*/ 245 h 512"/>
              <a:gd name="T106" fmla="*/ 384 w 512"/>
              <a:gd name="T107" fmla="*/ 302 h 512"/>
              <a:gd name="T108" fmla="*/ 405 w 512"/>
              <a:gd name="T109" fmla="*/ 336 h 512"/>
              <a:gd name="T110" fmla="*/ 368 w 512"/>
              <a:gd name="T111" fmla="*/ 373 h 512"/>
              <a:gd name="T112" fmla="*/ 384 w 512"/>
              <a:gd name="T113" fmla="*/ 336 h 512"/>
              <a:gd name="T114" fmla="*/ 368 w 512"/>
              <a:gd name="T115" fmla="*/ 352 h 512"/>
              <a:gd name="T116" fmla="*/ 352 w 512"/>
              <a:gd name="T117" fmla="*/ 336 h 512"/>
              <a:gd name="T118" fmla="*/ 368 w 512"/>
              <a:gd name="T119" fmla="*/ 320 h 512"/>
              <a:gd name="T120" fmla="*/ 384 w 512"/>
              <a:gd name="T121" fmla="*/ 3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62" y="245"/>
                </a:moveTo>
                <a:cubicBezTo>
                  <a:pt x="222" y="245"/>
                  <a:pt x="222" y="245"/>
                  <a:pt x="222" y="245"/>
                </a:cubicBezTo>
                <a:cubicBezTo>
                  <a:pt x="236" y="259"/>
                  <a:pt x="245" y="277"/>
                  <a:pt x="245" y="298"/>
                </a:cubicBezTo>
                <a:cubicBezTo>
                  <a:pt x="245" y="310"/>
                  <a:pt x="242" y="321"/>
                  <a:pt x="238" y="330"/>
                </a:cubicBezTo>
                <a:cubicBezTo>
                  <a:pt x="331" y="330"/>
                  <a:pt x="331" y="330"/>
                  <a:pt x="331" y="330"/>
                </a:cubicBezTo>
                <a:cubicBezTo>
                  <a:pt x="333" y="314"/>
                  <a:pt x="346" y="301"/>
                  <a:pt x="362" y="299"/>
                </a:cubicBezTo>
                <a:lnTo>
                  <a:pt x="362" y="245"/>
                </a:lnTo>
                <a:close/>
                <a:moveTo>
                  <a:pt x="330" y="288"/>
                </a:moveTo>
                <a:cubicBezTo>
                  <a:pt x="309" y="288"/>
                  <a:pt x="309" y="288"/>
                  <a:pt x="309" y="288"/>
                </a:cubicBezTo>
                <a:cubicBezTo>
                  <a:pt x="303" y="288"/>
                  <a:pt x="298" y="283"/>
                  <a:pt x="298" y="277"/>
                </a:cubicBezTo>
                <a:cubicBezTo>
                  <a:pt x="298" y="271"/>
                  <a:pt x="303" y="266"/>
                  <a:pt x="309" y="266"/>
                </a:cubicBezTo>
                <a:cubicBezTo>
                  <a:pt x="330" y="266"/>
                  <a:pt x="330" y="266"/>
                  <a:pt x="330" y="266"/>
                </a:cubicBezTo>
                <a:cubicBezTo>
                  <a:pt x="336" y="266"/>
                  <a:pt x="341" y="271"/>
                  <a:pt x="341" y="277"/>
                </a:cubicBezTo>
                <a:cubicBezTo>
                  <a:pt x="341" y="283"/>
                  <a:pt x="336" y="288"/>
                  <a:pt x="330" y="288"/>
                </a:cubicBezTo>
                <a:close/>
                <a:moveTo>
                  <a:pt x="224" y="298"/>
                </a:moveTo>
                <a:cubicBezTo>
                  <a:pt x="224" y="328"/>
                  <a:pt x="200" y="352"/>
                  <a:pt x="170" y="352"/>
                </a:cubicBezTo>
                <a:cubicBezTo>
                  <a:pt x="141" y="352"/>
                  <a:pt x="117" y="328"/>
                  <a:pt x="117" y="298"/>
                </a:cubicBezTo>
                <a:cubicBezTo>
                  <a:pt x="117" y="269"/>
                  <a:pt x="141" y="245"/>
                  <a:pt x="170" y="245"/>
                </a:cubicBezTo>
                <a:cubicBezTo>
                  <a:pt x="200" y="245"/>
                  <a:pt x="224" y="269"/>
                  <a:pt x="224" y="298"/>
                </a:cubicBezTo>
                <a:close/>
                <a:moveTo>
                  <a:pt x="170" y="224"/>
                </a:moveTo>
                <a:cubicBezTo>
                  <a:pt x="167" y="224"/>
                  <a:pt x="164" y="224"/>
                  <a:pt x="161" y="224"/>
                </a:cubicBezTo>
                <a:cubicBezTo>
                  <a:pt x="169" y="160"/>
                  <a:pt x="169" y="160"/>
                  <a:pt x="169" y="160"/>
                </a:cubicBezTo>
                <a:cubicBezTo>
                  <a:pt x="224" y="160"/>
                  <a:pt x="224" y="160"/>
                  <a:pt x="224" y="160"/>
                </a:cubicBezTo>
                <a:cubicBezTo>
                  <a:pt x="224" y="161"/>
                  <a:pt x="224" y="162"/>
                  <a:pt x="224" y="163"/>
                </a:cubicBezTo>
                <a:cubicBezTo>
                  <a:pt x="242" y="224"/>
                  <a:pt x="242" y="224"/>
                  <a:pt x="242" y="224"/>
                </a:cubicBezTo>
                <a:cubicBezTo>
                  <a:pt x="181" y="224"/>
                  <a:pt x="181" y="224"/>
                  <a:pt x="181" y="224"/>
                </a:cubicBezTo>
                <a:cubicBezTo>
                  <a:pt x="180" y="224"/>
                  <a:pt x="179" y="224"/>
                  <a:pt x="179" y="224"/>
                </a:cubicBezTo>
                <a:cubicBezTo>
                  <a:pt x="176" y="224"/>
                  <a:pt x="173" y="224"/>
                  <a:pt x="170" y="22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8" y="373"/>
                </a:moveTo>
                <a:cubicBezTo>
                  <a:pt x="353" y="373"/>
                  <a:pt x="340" y="364"/>
                  <a:pt x="334" y="352"/>
                </a:cubicBezTo>
                <a:cubicBezTo>
                  <a:pt x="224" y="352"/>
                  <a:pt x="224" y="352"/>
                  <a:pt x="224" y="352"/>
                </a:cubicBezTo>
                <a:cubicBezTo>
                  <a:pt x="223" y="352"/>
                  <a:pt x="223" y="352"/>
                  <a:pt x="223" y="351"/>
                </a:cubicBezTo>
                <a:cubicBezTo>
                  <a:pt x="209" y="365"/>
                  <a:pt x="191" y="373"/>
                  <a:pt x="170" y="373"/>
                </a:cubicBezTo>
                <a:cubicBezTo>
                  <a:pt x="129" y="373"/>
                  <a:pt x="96" y="340"/>
                  <a:pt x="96" y="298"/>
                </a:cubicBezTo>
                <a:cubicBezTo>
                  <a:pt x="96" y="268"/>
                  <a:pt x="113" y="243"/>
                  <a:pt x="139" y="231"/>
                </a:cubicBezTo>
                <a:cubicBezTo>
                  <a:pt x="149" y="148"/>
                  <a:pt x="149" y="148"/>
                  <a:pt x="149" y="148"/>
                </a:cubicBezTo>
                <a:cubicBezTo>
                  <a:pt x="150" y="142"/>
                  <a:pt x="154" y="138"/>
                  <a:pt x="160" y="138"/>
                </a:cubicBezTo>
                <a:cubicBezTo>
                  <a:pt x="224" y="138"/>
                  <a:pt x="224" y="138"/>
                  <a:pt x="224" y="138"/>
                </a:cubicBezTo>
                <a:cubicBezTo>
                  <a:pt x="235" y="138"/>
                  <a:pt x="244" y="147"/>
                  <a:pt x="245" y="158"/>
                </a:cubicBezTo>
                <a:cubicBezTo>
                  <a:pt x="264" y="224"/>
                  <a:pt x="264" y="224"/>
                  <a:pt x="264" y="224"/>
                </a:cubicBezTo>
                <a:cubicBezTo>
                  <a:pt x="320" y="224"/>
                  <a:pt x="320" y="224"/>
                  <a:pt x="320" y="224"/>
                </a:cubicBezTo>
                <a:cubicBezTo>
                  <a:pt x="320" y="170"/>
                  <a:pt x="320" y="170"/>
                  <a:pt x="320" y="170"/>
                </a:cubicBezTo>
                <a:cubicBezTo>
                  <a:pt x="314" y="170"/>
                  <a:pt x="309" y="166"/>
                  <a:pt x="309" y="160"/>
                </a:cubicBezTo>
                <a:cubicBezTo>
                  <a:pt x="309" y="154"/>
                  <a:pt x="314" y="149"/>
                  <a:pt x="320" y="149"/>
                </a:cubicBezTo>
                <a:cubicBezTo>
                  <a:pt x="331" y="149"/>
                  <a:pt x="341" y="159"/>
                  <a:pt x="341" y="170"/>
                </a:cubicBezTo>
                <a:cubicBezTo>
                  <a:pt x="341" y="224"/>
                  <a:pt x="341" y="224"/>
                  <a:pt x="341" y="224"/>
                </a:cubicBezTo>
                <a:cubicBezTo>
                  <a:pt x="362" y="224"/>
                  <a:pt x="362" y="224"/>
                  <a:pt x="362" y="224"/>
                </a:cubicBezTo>
                <a:cubicBezTo>
                  <a:pt x="374" y="224"/>
                  <a:pt x="384" y="233"/>
                  <a:pt x="384" y="245"/>
                </a:cubicBezTo>
                <a:cubicBezTo>
                  <a:pt x="384" y="302"/>
                  <a:pt x="384" y="302"/>
                  <a:pt x="384" y="302"/>
                </a:cubicBezTo>
                <a:cubicBezTo>
                  <a:pt x="396" y="308"/>
                  <a:pt x="405" y="321"/>
                  <a:pt x="405" y="336"/>
                </a:cubicBezTo>
                <a:cubicBezTo>
                  <a:pt x="405" y="356"/>
                  <a:pt x="388" y="373"/>
                  <a:pt x="368" y="373"/>
                </a:cubicBezTo>
                <a:close/>
                <a:moveTo>
                  <a:pt x="384" y="336"/>
                </a:moveTo>
                <a:cubicBezTo>
                  <a:pt x="384" y="344"/>
                  <a:pt x="376" y="352"/>
                  <a:pt x="368" y="352"/>
                </a:cubicBezTo>
                <a:cubicBezTo>
                  <a:pt x="359" y="352"/>
                  <a:pt x="352" y="344"/>
                  <a:pt x="352" y="336"/>
                </a:cubicBezTo>
                <a:cubicBezTo>
                  <a:pt x="352" y="327"/>
                  <a:pt x="359" y="320"/>
                  <a:pt x="368" y="320"/>
                </a:cubicBezTo>
                <a:cubicBezTo>
                  <a:pt x="376" y="320"/>
                  <a:pt x="384" y="327"/>
                  <a:pt x="384" y="33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88" name="Group 986">
            <a:extLst>
              <a:ext uri="{FF2B5EF4-FFF2-40B4-BE49-F238E27FC236}">
                <a16:creationId xmlns:a16="http://schemas.microsoft.com/office/drawing/2014/main" id="{6329C483-F5DF-4E35-873A-2F0806DA02FD}"/>
              </a:ext>
            </a:extLst>
          </p:cNvPr>
          <p:cNvGrpSpPr>
            <a:grpSpLocks noChangeAspect="1"/>
          </p:cNvGrpSpPr>
          <p:nvPr/>
        </p:nvGrpSpPr>
        <p:grpSpPr bwMode="auto">
          <a:xfrm>
            <a:off x="923750" y="3268618"/>
            <a:ext cx="369021" cy="369021"/>
            <a:chOff x="4274" y="3998"/>
            <a:chExt cx="340" cy="340"/>
          </a:xfrm>
          <a:solidFill>
            <a:schemeClr val="accent5"/>
          </a:solidFill>
        </p:grpSpPr>
        <p:sp>
          <p:nvSpPr>
            <p:cNvPr id="389" name="Freeform 987">
              <a:extLst>
                <a:ext uri="{FF2B5EF4-FFF2-40B4-BE49-F238E27FC236}">
                  <a16:creationId xmlns:a16="http://schemas.microsoft.com/office/drawing/2014/main" id="{7A9BA789-1013-47A2-A643-C8BD64985A39}"/>
                </a:ext>
              </a:extLst>
            </p:cNvPr>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0" name="Freeform 988">
              <a:extLst>
                <a:ext uri="{FF2B5EF4-FFF2-40B4-BE49-F238E27FC236}">
                  <a16:creationId xmlns:a16="http://schemas.microsoft.com/office/drawing/2014/main" id="{7B129140-0E9C-45AC-A41A-FBD63DAFDB4A}"/>
                </a:ext>
              </a:extLst>
            </p:cNvPr>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1" name="Freeform 992">
            <a:extLst>
              <a:ext uri="{FF2B5EF4-FFF2-40B4-BE49-F238E27FC236}">
                <a16:creationId xmlns:a16="http://schemas.microsoft.com/office/drawing/2014/main" id="{8D608330-AE8C-4924-B77F-E0AD879907FF}"/>
              </a:ext>
            </a:extLst>
          </p:cNvPr>
          <p:cNvSpPr>
            <a:spLocks noChangeAspect="1" noEditPoints="1"/>
          </p:cNvSpPr>
          <p:nvPr/>
        </p:nvSpPr>
        <p:spPr bwMode="auto">
          <a:xfrm>
            <a:off x="481914" y="3268618"/>
            <a:ext cx="369021" cy="369021"/>
          </a:xfrm>
          <a:custGeom>
            <a:avLst/>
            <a:gdLst>
              <a:gd name="T0" fmla="*/ 158 w 512"/>
              <a:gd name="T1" fmla="*/ 373 h 512"/>
              <a:gd name="T2" fmla="*/ 353 w 512"/>
              <a:gd name="T3" fmla="*/ 373 h 512"/>
              <a:gd name="T4" fmla="*/ 381 w 512"/>
              <a:gd name="T5" fmla="*/ 224 h 512"/>
              <a:gd name="T6" fmla="*/ 130 w 512"/>
              <a:gd name="T7" fmla="*/ 224 h 512"/>
              <a:gd name="T8" fmla="*/ 158 w 512"/>
              <a:gd name="T9" fmla="*/ 373 h 512"/>
              <a:gd name="T10" fmla="*/ 309 w 512"/>
              <a:gd name="T11" fmla="*/ 256 h 512"/>
              <a:gd name="T12" fmla="*/ 320 w 512"/>
              <a:gd name="T13" fmla="*/ 245 h 512"/>
              <a:gd name="T14" fmla="*/ 330 w 512"/>
              <a:gd name="T15" fmla="*/ 256 h 512"/>
              <a:gd name="T16" fmla="*/ 330 w 512"/>
              <a:gd name="T17" fmla="*/ 341 h 512"/>
              <a:gd name="T18" fmla="*/ 320 w 512"/>
              <a:gd name="T19" fmla="*/ 352 h 512"/>
              <a:gd name="T20" fmla="*/ 309 w 512"/>
              <a:gd name="T21" fmla="*/ 341 h 512"/>
              <a:gd name="T22" fmla="*/ 309 w 512"/>
              <a:gd name="T23" fmla="*/ 256 h 512"/>
              <a:gd name="T24" fmla="*/ 266 w 512"/>
              <a:gd name="T25" fmla="*/ 256 h 512"/>
              <a:gd name="T26" fmla="*/ 277 w 512"/>
              <a:gd name="T27" fmla="*/ 245 h 512"/>
              <a:gd name="T28" fmla="*/ 288 w 512"/>
              <a:gd name="T29" fmla="*/ 256 h 512"/>
              <a:gd name="T30" fmla="*/ 288 w 512"/>
              <a:gd name="T31" fmla="*/ 341 h 512"/>
              <a:gd name="T32" fmla="*/ 277 w 512"/>
              <a:gd name="T33" fmla="*/ 352 h 512"/>
              <a:gd name="T34" fmla="*/ 266 w 512"/>
              <a:gd name="T35" fmla="*/ 341 h 512"/>
              <a:gd name="T36" fmla="*/ 266 w 512"/>
              <a:gd name="T37" fmla="*/ 256 h 512"/>
              <a:gd name="T38" fmla="*/ 224 w 512"/>
              <a:gd name="T39" fmla="*/ 256 h 512"/>
              <a:gd name="T40" fmla="*/ 234 w 512"/>
              <a:gd name="T41" fmla="*/ 245 h 512"/>
              <a:gd name="T42" fmla="*/ 245 w 512"/>
              <a:gd name="T43" fmla="*/ 256 h 512"/>
              <a:gd name="T44" fmla="*/ 245 w 512"/>
              <a:gd name="T45" fmla="*/ 341 h 512"/>
              <a:gd name="T46" fmla="*/ 234 w 512"/>
              <a:gd name="T47" fmla="*/ 352 h 512"/>
              <a:gd name="T48" fmla="*/ 224 w 512"/>
              <a:gd name="T49" fmla="*/ 341 h 512"/>
              <a:gd name="T50" fmla="*/ 224 w 512"/>
              <a:gd name="T51" fmla="*/ 256 h 512"/>
              <a:gd name="T52" fmla="*/ 181 w 512"/>
              <a:gd name="T53" fmla="*/ 256 h 512"/>
              <a:gd name="T54" fmla="*/ 192 w 512"/>
              <a:gd name="T55" fmla="*/ 245 h 512"/>
              <a:gd name="T56" fmla="*/ 202 w 512"/>
              <a:gd name="T57" fmla="*/ 256 h 512"/>
              <a:gd name="T58" fmla="*/ 202 w 512"/>
              <a:gd name="T59" fmla="*/ 341 h 512"/>
              <a:gd name="T60" fmla="*/ 192 w 512"/>
              <a:gd name="T61" fmla="*/ 352 h 512"/>
              <a:gd name="T62" fmla="*/ 181 w 512"/>
              <a:gd name="T63" fmla="*/ 341 h 512"/>
              <a:gd name="T64" fmla="*/ 181 w 512"/>
              <a:gd name="T65" fmla="*/ 256 h 512"/>
              <a:gd name="T66" fmla="*/ 256 w 512"/>
              <a:gd name="T67" fmla="*/ 0 h 512"/>
              <a:gd name="T68" fmla="*/ 0 w 512"/>
              <a:gd name="T69" fmla="*/ 256 h 512"/>
              <a:gd name="T70" fmla="*/ 256 w 512"/>
              <a:gd name="T71" fmla="*/ 512 h 512"/>
              <a:gd name="T72" fmla="*/ 512 w 512"/>
              <a:gd name="T73" fmla="*/ 256 h 512"/>
              <a:gd name="T74" fmla="*/ 256 w 512"/>
              <a:gd name="T75" fmla="*/ 0 h 512"/>
              <a:gd name="T76" fmla="*/ 405 w 512"/>
              <a:gd name="T77" fmla="*/ 224 h 512"/>
              <a:gd name="T78" fmla="*/ 403 w 512"/>
              <a:gd name="T79" fmla="*/ 224 h 512"/>
              <a:gd name="T80" fmla="*/ 373 w 512"/>
              <a:gd name="T81" fmla="*/ 386 h 512"/>
              <a:gd name="T82" fmla="*/ 362 w 512"/>
              <a:gd name="T83" fmla="*/ 394 h 512"/>
              <a:gd name="T84" fmla="*/ 149 w 512"/>
              <a:gd name="T85" fmla="*/ 394 h 512"/>
              <a:gd name="T86" fmla="*/ 139 w 512"/>
              <a:gd name="T87" fmla="*/ 386 h 512"/>
              <a:gd name="T88" fmla="*/ 108 w 512"/>
              <a:gd name="T89" fmla="*/ 224 h 512"/>
              <a:gd name="T90" fmla="*/ 106 w 512"/>
              <a:gd name="T91" fmla="*/ 224 h 512"/>
              <a:gd name="T92" fmla="*/ 96 w 512"/>
              <a:gd name="T93" fmla="*/ 213 h 512"/>
              <a:gd name="T94" fmla="*/ 106 w 512"/>
              <a:gd name="T95" fmla="*/ 202 h 512"/>
              <a:gd name="T96" fmla="*/ 143 w 512"/>
              <a:gd name="T97" fmla="*/ 202 h 512"/>
              <a:gd name="T98" fmla="*/ 204 w 512"/>
              <a:gd name="T99" fmla="*/ 111 h 512"/>
              <a:gd name="T100" fmla="*/ 219 w 512"/>
              <a:gd name="T101" fmla="*/ 108 h 512"/>
              <a:gd name="T102" fmla="*/ 222 w 512"/>
              <a:gd name="T103" fmla="*/ 123 h 512"/>
              <a:gd name="T104" fmla="*/ 169 w 512"/>
              <a:gd name="T105" fmla="*/ 202 h 512"/>
              <a:gd name="T106" fmla="*/ 342 w 512"/>
              <a:gd name="T107" fmla="*/ 202 h 512"/>
              <a:gd name="T108" fmla="*/ 289 w 512"/>
              <a:gd name="T109" fmla="*/ 123 h 512"/>
              <a:gd name="T110" fmla="*/ 292 w 512"/>
              <a:gd name="T111" fmla="*/ 108 h 512"/>
              <a:gd name="T112" fmla="*/ 307 w 512"/>
              <a:gd name="T113" fmla="*/ 111 h 512"/>
              <a:gd name="T114" fmla="*/ 368 w 512"/>
              <a:gd name="T115" fmla="*/ 202 h 512"/>
              <a:gd name="T116" fmla="*/ 405 w 512"/>
              <a:gd name="T117" fmla="*/ 202 h 512"/>
              <a:gd name="T118" fmla="*/ 416 w 512"/>
              <a:gd name="T119" fmla="*/ 213 h 512"/>
              <a:gd name="T120" fmla="*/ 405 w 512"/>
              <a:gd name="T121"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58" y="373"/>
                </a:moveTo>
                <a:cubicBezTo>
                  <a:pt x="353" y="373"/>
                  <a:pt x="353" y="373"/>
                  <a:pt x="353" y="373"/>
                </a:cubicBezTo>
                <a:cubicBezTo>
                  <a:pt x="381" y="224"/>
                  <a:pt x="381" y="224"/>
                  <a:pt x="381" y="224"/>
                </a:cubicBezTo>
                <a:cubicBezTo>
                  <a:pt x="130" y="224"/>
                  <a:pt x="130" y="224"/>
                  <a:pt x="130" y="224"/>
                </a:cubicBezTo>
                <a:lnTo>
                  <a:pt x="158" y="373"/>
                </a:lnTo>
                <a:close/>
                <a:moveTo>
                  <a:pt x="309" y="256"/>
                </a:moveTo>
                <a:cubicBezTo>
                  <a:pt x="309" y="250"/>
                  <a:pt x="314" y="245"/>
                  <a:pt x="320" y="245"/>
                </a:cubicBezTo>
                <a:cubicBezTo>
                  <a:pt x="326" y="245"/>
                  <a:pt x="330" y="250"/>
                  <a:pt x="330" y="256"/>
                </a:cubicBezTo>
                <a:cubicBezTo>
                  <a:pt x="330" y="341"/>
                  <a:pt x="330" y="341"/>
                  <a:pt x="330" y="341"/>
                </a:cubicBezTo>
                <a:cubicBezTo>
                  <a:pt x="330" y="347"/>
                  <a:pt x="326" y="352"/>
                  <a:pt x="320" y="352"/>
                </a:cubicBezTo>
                <a:cubicBezTo>
                  <a:pt x="314" y="352"/>
                  <a:pt x="309" y="347"/>
                  <a:pt x="309" y="341"/>
                </a:cubicBezTo>
                <a:lnTo>
                  <a:pt x="309" y="256"/>
                </a:lnTo>
                <a:close/>
                <a:moveTo>
                  <a:pt x="266" y="256"/>
                </a:moveTo>
                <a:cubicBezTo>
                  <a:pt x="266" y="250"/>
                  <a:pt x="271" y="245"/>
                  <a:pt x="277" y="245"/>
                </a:cubicBezTo>
                <a:cubicBezTo>
                  <a:pt x="283" y="245"/>
                  <a:pt x="288" y="250"/>
                  <a:pt x="288" y="256"/>
                </a:cubicBezTo>
                <a:cubicBezTo>
                  <a:pt x="288" y="341"/>
                  <a:pt x="288" y="341"/>
                  <a:pt x="288" y="341"/>
                </a:cubicBezTo>
                <a:cubicBezTo>
                  <a:pt x="288" y="347"/>
                  <a:pt x="283" y="352"/>
                  <a:pt x="277" y="352"/>
                </a:cubicBezTo>
                <a:cubicBezTo>
                  <a:pt x="271" y="352"/>
                  <a:pt x="266" y="347"/>
                  <a:pt x="266" y="341"/>
                </a:cubicBezTo>
                <a:lnTo>
                  <a:pt x="266" y="256"/>
                </a:lnTo>
                <a:close/>
                <a:moveTo>
                  <a:pt x="224" y="256"/>
                </a:moveTo>
                <a:cubicBezTo>
                  <a:pt x="224" y="250"/>
                  <a:pt x="228" y="245"/>
                  <a:pt x="234" y="245"/>
                </a:cubicBezTo>
                <a:cubicBezTo>
                  <a:pt x="240" y="245"/>
                  <a:pt x="245" y="250"/>
                  <a:pt x="245" y="256"/>
                </a:cubicBezTo>
                <a:cubicBezTo>
                  <a:pt x="245" y="341"/>
                  <a:pt x="245" y="341"/>
                  <a:pt x="245" y="341"/>
                </a:cubicBezTo>
                <a:cubicBezTo>
                  <a:pt x="245" y="347"/>
                  <a:pt x="240" y="352"/>
                  <a:pt x="234" y="352"/>
                </a:cubicBezTo>
                <a:cubicBezTo>
                  <a:pt x="228" y="352"/>
                  <a:pt x="224" y="347"/>
                  <a:pt x="224" y="341"/>
                </a:cubicBezTo>
                <a:lnTo>
                  <a:pt x="224" y="256"/>
                </a:lnTo>
                <a:close/>
                <a:moveTo>
                  <a:pt x="181" y="256"/>
                </a:moveTo>
                <a:cubicBezTo>
                  <a:pt x="181" y="250"/>
                  <a:pt x="186" y="245"/>
                  <a:pt x="192" y="245"/>
                </a:cubicBezTo>
                <a:cubicBezTo>
                  <a:pt x="198" y="245"/>
                  <a:pt x="202" y="250"/>
                  <a:pt x="202" y="256"/>
                </a:cubicBezTo>
                <a:cubicBezTo>
                  <a:pt x="202" y="341"/>
                  <a:pt x="202" y="341"/>
                  <a:pt x="202" y="341"/>
                </a:cubicBezTo>
                <a:cubicBezTo>
                  <a:pt x="202" y="347"/>
                  <a:pt x="198" y="352"/>
                  <a:pt x="192" y="352"/>
                </a:cubicBezTo>
                <a:cubicBezTo>
                  <a:pt x="186" y="352"/>
                  <a:pt x="181" y="347"/>
                  <a:pt x="181" y="341"/>
                </a:cubicBezTo>
                <a:lnTo>
                  <a:pt x="181"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24"/>
                </a:moveTo>
                <a:cubicBezTo>
                  <a:pt x="403" y="224"/>
                  <a:pt x="403" y="224"/>
                  <a:pt x="403" y="224"/>
                </a:cubicBezTo>
                <a:cubicBezTo>
                  <a:pt x="373" y="386"/>
                  <a:pt x="373" y="386"/>
                  <a:pt x="373" y="386"/>
                </a:cubicBezTo>
                <a:cubicBezTo>
                  <a:pt x="372" y="391"/>
                  <a:pt x="367" y="394"/>
                  <a:pt x="362" y="394"/>
                </a:cubicBezTo>
                <a:cubicBezTo>
                  <a:pt x="149" y="394"/>
                  <a:pt x="149" y="394"/>
                  <a:pt x="149" y="394"/>
                </a:cubicBezTo>
                <a:cubicBezTo>
                  <a:pt x="144" y="394"/>
                  <a:pt x="139" y="391"/>
                  <a:pt x="139" y="386"/>
                </a:cubicBezTo>
                <a:cubicBezTo>
                  <a:pt x="108" y="224"/>
                  <a:pt x="108" y="224"/>
                  <a:pt x="108" y="224"/>
                </a:cubicBezTo>
                <a:cubicBezTo>
                  <a:pt x="106" y="224"/>
                  <a:pt x="106" y="224"/>
                  <a:pt x="106" y="224"/>
                </a:cubicBezTo>
                <a:cubicBezTo>
                  <a:pt x="100" y="224"/>
                  <a:pt x="96" y="219"/>
                  <a:pt x="96" y="213"/>
                </a:cubicBezTo>
                <a:cubicBezTo>
                  <a:pt x="96" y="207"/>
                  <a:pt x="100" y="202"/>
                  <a:pt x="106" y="202"/>
                </a:cubicBezTo>
                <a:cubicBezTo>
                  <a:pt x="143" y="202"/>
                  <a:pt x="143" y="202"/>
                  <a:pt x="143" y="202"/>
                </a:cubicBezTo>
                <a:cubicBezTo>
                  <a:pt x="204" y="111"/>
                  <a:pt x="204" y="111"/>
                  <a:pt x="204" y="111"/>
                </a:cubicBezTo>
                <a:cubicBezTo>
                  <a:pt x="207" y="106"/>
                  <a:pt x="214" y="105"/>
                  <a:pt x="219" y="108"/>
                </a:cubicBezTo>
                <a:cubicBezTo>
                  <a:pt x="224" y="111"/>
                  <a:pt x="225" y="118"/>
                  <a:pt x="222" y="123"/>
                </a:cubicBezTo>
                <a:cubicBezTo>
                  <a:pt x="169" y="202"/>
                  <a:pt x="169" y="202"/>
                  <a:pt x="169" y="202"/>
                </a:cubicBezTo>
                <a:cubicBezTo>
                  <a:pt x="342" y="202"/>
                  <a:pt x="342" y="202"/>
                  <a:pt x="342" y="202"/>
                </a:cubicBezTo>
                <a:cubicBezTo>
                  <a:pt x="289" y="123"/>
                  <a:pt x="289" y="123"/>
                  <a:pt x="289" y="123"/>
                </a:cubicBezTo>
                <a:cubicBezTo>
                  <a:pt x="286" y="118"/>
                  <a:pt x="288" y="111"/>
                  <a:pt x="292" y="108"/>
                </a:cubicBezTo>
                <a:cubicBezTo>
                  <a:pt x="297" y="105"/>
                  <a:pt x="304" y="106"/>
                  <a:pt x="307" y="111"/>
                </a:cubicBezTo>
                <a:cubicBezTo>
                  <a:pt x="368" y="202"/>
                  <a:pt x="368" y="202"/>
                  <a:pt x="368" y="202"/>
                </a:cubicBezTo>
                <a:cubicBezTo>
                  <a:pt x="405" y="202"/>
                  <a:pt x="405" y="202"/>
                  <a:pt x="405" y="202"/>
                </a:cubicBezTo>
                <a:cubicBezTo>
                  <a:pt x="411" y="202"/>
                  <a:pt x="416" y="207"/>
                  <a:pt x="416" y="213"/>
                </a:cubicBezTo>
                <a:cubicBezTo>
                  <a:pt x="416" y="219"/>
                  <a:pt x="411" y="224"/>
                  <a:pt x="405" y="22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2" name="Freeform 996">
            <a:extLst>
              <a:ext uri="{FF2B5EF4-FFF2-40B4-BE49-F238E27FC236}">
                <a16:creationId xmlns:a16="http://schemas.microsoft.com/office/drawing/2014/main" id="{A8B38611-9214-48B3-B62D-2EB0625050CA}"/>
              </a:ext>
            </a:extLst>
          </p:cNvPr>
          <p:cNvSpPr>
            <a:spLocks noChangeAspect="1" noEditPoints="1"/>
          </p:cNvSpPr>
          <p:nvPr/>
        </p:nvSpPr>
        <p:spPr bwMode="auto">
          <a:xfrm>
            <a:off x="11352674" y="2524483"/>
            <a:ext cx="370106"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70 h 512"/>
              <a:gd name="T22" fmla="*/ 309 w 512"/>
              <a:gd name="T23" fmla="*/ 170 h 512"/>
              <a:gd name="T24" fmla="*/ 309 w 512"/>
              <a:gd name="T25" fmla="*/ 149 h 512"/>
              <a:gd name="T26" fmla="*/ 256 w 512"/>
              <a:gd name="T27" fmla="*/ 96 h 512"/>
              <a:gd name="T28" fmla="*/ 202 w 512"/>
              <a:gd name="T29" fmla="*/ 149 h 512"/>
              <a:gd name="T30" fmla="*/ 202 w 512"/>
              <a:gd name="T31" fmla="*/ 170 h 512"/>
              <a:gd name="T32" fmla="*/ 149 w 512"/>
              <a:gd name="T33" fmla="*/ 170 h 512"/>
              <a:gd name="T34" fmla="*/ 138 w 512"/>
              <a:gd name="T35" fmla="*/ 181 h 512"/>
              <a:gd name="T36" fmla="*/ 138 w 512"/>
              <a:gd name="T37" fmla="*/ 405 h 512"/>
              <a:gd name="T38" fmla="*/ 149 w 512"/>
              <a:gd name="T39" fmla="*/ 416 h 512"/>
              <a:gd name="T40" fmla="*/ 362 w 512"/>
              <a:gd name="T41" fmla="*/ 416 h 512"/>
              <a:gd name="T42" fmla="*/ 373 w 512"/>
              <a:gd name="T43" fmla="*/ 405 h 512"/>
              <a:gd name="T44" fmla="*/ 373 w 512"/>
              <a:gd name="T45" fmla="*/ 181 h 512"/>
              <a:gd name="T46" fmla="*/ 362 w 512"/>
              <a:gd name="T47" fmla="*/ 170 h 512"/>
              <a:gd name="T48" fmla="*/ 224 w 512"/>
              <a:gd name="T49" fmla="*/ 149 h 512"/>
              <a:gd name="T50" fmla="*/ 256 w 512"/>
              <a:gd name="T51" fmla="*/ 117 h 512"/>
              <a:gd name="T52" fmla="*/ 288 w 512"/>
              <a:gd name="T53" fmla="*/ 149 h 512"/>
              <a:gd name="T54" fmla="*/ 288 w 512"/>
              <a:gd name="T55" fmla="*/ 170 h 512"/>
              <a:gd name="T56" fmla="*/ 224 w 512"/>
              <a:gd name="T57" fmla="*/ 170 h 512"/>
              <a:gd name="T58" fmla="*/ 224 w 512"/>
              <a:gd name="T59" fmla="*/ 149 h 512"/>
              <a:gd name="T60" fmla="*/ 352 w 512"/>
              <a:gd name="T61" fmla="*/ 394 h 512"/>
              <a:gd name="T62" fmla="*/ 160 w 512"/>
              <a:gd name="T63" fmla="*/ 394 h 512"/>
              <a:gd name="T64" fmla="*/ 160 w 512"/>
              <a:gd name="T65" fmla="*/ 192 h 512"/>
              <a:gd name="T66" fmla="*/ 202 w 512"/>
              <a:gd name="T67" fmla="*/ 192 h 512"/>
              <a:gd name="T68" fmla="*/ 202 w 512"/>
              <a:gd name="T69" fmla="*/ 213 h 512"/>
              <a:gd name="T70" fmla="*/ 213 w 512"/>
              <a:gd name="T71" fmla="*/ 224 h 512"/>
              <a:gd name="T72" fmla="*/ 224 w 512"/>
              <a:gd name="T73" fmla="*/ 213 h 512"/>
              <a:gd name="T74" fmla="*/ 224 w 512"/>
              <a:gd name="T75" fmla="*/ 192 h 512"/>
              <a:gd name="T76" fmla="*/ 288 w 512"/>
              <a:gd name="T77" fmla="*/ 192 h 512"/>
              <a:gd name="T78" fmla="*/ 288 w 512"/>
              <a:gd name="T79" fmla="*/ 213 h 512"/>
              <a:gd name="T80" fmla="*/ 298 w 512"/>
              <a:gd name="T81" fmla="*/ 224 h 512"/>
              <a:gd name="T82" fmla="*/ 309 w 512"/>
              <a:gd name="T83" fmla="*/ 213 h 512"/>
              <a:gd name="T84" fmla="*/ 309 w 512"/>
              <a:gd name="T85" fmla="*/ 192 h 512"/>
              <a:gd name="T86" fmla="*/ 352 w 512"/>
              <a:gd name="T87" fmla="*/ 192 h 512"/>
              <a:gd name="T88" fmla="*/ 352 w 512"/>
              <a:gd name="T89"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70"/>
                </a:moveTo>
                <a:cubicBezTo>
                  <a:pt x="309" y="170"/>
                  <a:pt x="309" y="170"/>
                  <a:pt x="309" y="170"/>
                </a:cubicBezTo>
                <a:cubicBezTo>
                  <a:pt x="309" y="149"/>
                  <a:pt x="309" y="149"/>
                  <a:pt x="309" y="149"/>
                </a:cubicBezTo>
                <a:cubicBezTo>
                  <a:pt x="309" y="120"/>
                  <a:pt x="285" y="96"/>
                  <a:pt x="256" y="96"/>
                </a:cubicBezTo>
                <a:cubicBezTo>
                  <a:pt x="226" y="96"/>
                  <a:pt x="202" y="120"/>
                  <a:pt x="202" y="149"/>
                </a:cubicBezTo>
                <a:cubicBezTo>
                  <a:pt x="202" y="170"/>
                  <a:pt x="202" y="170"/>
                  <a:pt x="202" y="170"/>
                </a:cubicBezTo>
                <a:cubicBezTo>
                  <a:pt x="149" y="170"/>
                  <a:pt x="149" y="170"/>
                  <a:pt x="149" y="170"/>
                </a:cubicBezTo>
                <a:cubicBezTo>
                  <a:pt x="143" y="170"/>
                  <a:pt x="138" y="175"/>
                  <a:pt x="138" y="181"/>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81"/>
                  <a:pt x="373" y="181"/>
                  <a:pt x="373" y="181"/>
                </a:cubicBezTo>
                <a:cubicBezTo>
                  <a:pt x="373" y="175"/>
                  <a:pt x="368" y="170"/>
                  <a:pt x="362" y="170"/>
                </a:cubicBezTo>
                <a:close/>
                <a:moveTo>
                  <a:pt x="224" y="149"/>
                </a:moveTo>
                <a:cubicBezTo>
                  <a:pt x="224" y="131"/>
                  <a:pt x="238" y="117"/>
                  <a:pt x="256" y="117"/>
                </a:cubicBezTo>
                <a:cubicBezTo>
                  <a:pt x="273" y="117"/>
                  <a:pt x="288" y="131"/>
                  <a:pt x="288" y="149"/>
                </a:cubicBezTo>
                <a:cubicBezTo>
                  <a:pt x="288" y="170"/>
                  <a:pt x="288" y="170"/>
                  <a:pt x="288" y="170"/>
                </a:cubicBezTo>
                <a:cubicBezTo>
                  <a:pt x="224" y="170"/>
                  <a:pt x="224" y="170"/>
                  <a:pt x="224" y="170"/>
                </a:cubicBezTo>
                <a:lnTo>
                  <a:pt x="224" y="149"/>
                </a:lnTo>
                <a:close/>
                <a:moveTo>
                  <a:pt x="352" y="394"/>
                </a:move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cubicBezTo>
                  <a:pt x="309" y="192"/>
                  <a:pt x="309" y="192"/>
                  <a:pt x="309" y="192"/>
                </a:cubicBezTo>
                <a:cubicBezTo>
                  <a:pt x="352" y="192"/>
                  <a:pt x="352" y="192"/>
                  <a:pt x="352" y="192"/>
                </a:cubicBezTo>
                <a:lnTo>
                  <a:pt x="352" y="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3" name="Freeform 1000">
            <a:extLst>
              <a:ext uri="{FF2B5EF4-FFF2-40B4-BE49-F238E27FC236}">
                <a16:creationId xmlns:a16="http://schemas.microsoft.com/office/drawing/2014/main" id="{59503E84-2EBA-48CE-A926-1854FA37913D}"/>
              </a:ext>
            </a:extLst>
          </p:cNvPr>
          <p:cNvSpPr>
            <a:spLocks noChangeAspect="1" noEditPoints="1"/>
          </p:cNvSpPr>
          <p:nvPr/>
        </p:nvSpPr>
        <p:spPr bwMode="auto">
          <a:xfrm>
            <a:off x="10918268" y="252448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81 h 512"/>
              <a:gd name="T20" fmla="*/ 149 w 512"/>
              <a:gd name="T21" fmla="*/ 170 h 512"/>
              <a:gd name="T22" fmla="*/ 202 w 512"/>
              <a:gd name="T23" fmla="*/ 170 h 512"/>
              <a:gd name="T24" fmla="*/ 202 w 512"/>
              <a:gd name="T25" fmla="*/ 149 h 512"/>
              <a:gd name="T26" fmla="*/ 256 w 512"/>
              <a:gd name="T27" fmla="*/ 96 h 512"/>
              <a:gd name="T28" fmla="*/ 309 w 512"/>
              <a:gd name="T29" fmla="*/ 149 h 512"/>
              <a:gd name="T30" fmla="*/ 309 w 512"/>
              <a:gd name="T31" fmla="*/ 170 h 512"/>
              <a:gd name="T32" fmla="*/ 362 w 512"/>
              <a:gd name="T33" fmla="*/ 170 h 512"/>
              <a:gd name="T34" fmla="*/ 373 w 512"/>
              <a:gd name="T35" fmla="*/ 181 h 512"/>
              <a:gd name="T36" fmla="*/ 373 w 512"/>
              <a:gd name="T37" fmla="*/ 405 h 512"/>
              <a:gd name="T38" fmla="*/ 288 w 512"/>
              <a:gd name="T39" fmla="*/ 170 h 512"/>
              <a:gd name="T40" fmla="*/ 224 w 512"/>
              <a:gd name="T41" fmla="*/ 170 h 512"/>
              <a:gd name="T42" fmla="*/ 224 w 512"/>
              <a:gd name="T43" fmla="*/ 149 h 512"/>
              <a:gd name="T44" fmla="*/ 256 w 512"/>
              <a:gd name="T45" fmla="*/ 117 h 512"/>
              <a:gd name="T46" fmla="*/ 288 w 512"/>
              <a:gd name="T47" fmla="*/ 149 h 512"/>
              <a:gd name="T48" fmla="*/ 288 w 512"/>
              <a:gd name="T49" fmla="*/ 170 h 512"/>
              <a:gd name="T50" fmla="*/ 309 w 512"/>
              <a:gd name="T51" fmla="*/ 192 h 512"/>
              <a:gd name="T52" fmla="*/ 352 w 512"/>
              <a:gd name="T53" fmla="*/ 192 h 512"/>
              <a:gd name="T54" fmla="*/ 352 w 512"/>
              <a:gd name="T55" fmla="*/ 394 h 512"/>
              <a:gd name="T56" fmla="*/ 160 w 512"/>
              <a:gd name="T57" fmla="*/ 394 h 512"/>
              <a:gd name="T58" fmla="*/ 160 w 512"/>
              <a:gd name="T59" fmla="*/ 192 h 512"/>
              <a:gd name="T60" fmla="*/ 202 w 512"/>
              <a:gd name="T61" fmla="*/ 192 h 512"/>
              <a:gd name="T62" fmla="*/ 202 w 512"/>
              <a:gd name="T63" fmla="*/ 213 h 512"/>
              <a:gd name="T64" fmla="*/ 213 w 512"/>
              <a:gd name="T65" fmla="*/ 224 h 512"/>
              <a:gd name="T66" fmla="*/ 224 w 512"/>
              <a:gd name="T67" fmla="*/ 213 h 512"/>
              <a:gd name="T68" fmla="*/ 224 w 512"/>
              <a:gd name="T69" fmla="*/ 192 h 512"/>
              <a:gd name="T70" fmla="*/ 288 w 512"/>
              <a:gd name="T71" fmla="*/ 192 h 512"/>
              <a:gd name="T72" fmla="*/ 288 w 512"/>
              <a:gd name="T73" fmla="*/ 213 h 512"/>
              <a:gd name="T74" fmla="*/ 298 w 512"/>
              <a:gd name="T75" fmla="*/ 224 h 512"/>
              <a:gd name="T76" fmla="*/ 309 w 512"/>
              <a:gd name="T77" fmla="*/ 213 h 512"/>
              <a:gd name="T78" fmla="*/ 309 w 512"/>
              <a:gd name="T7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81"/>
                  <a:pt x="138" y="181"/>
                  <a:pt x="138" y="181"/>
                </a:cubicBezTo>
                <a:cubicBezTo>
                  <a:pt x="138" y="175"/>
                  <a:pt x="143" y="170"/>
                  <a:pt x="149" y="170"/>
                </a:cubicBezTo>
                <a:cubicBezTo>
                  <a:pt x="202" y="170"/>
                  <a:pt x="202" y="170"/>
                  <a:pt x="202" y="170"/>
                </a:cubicBezTo>
                <a:cubicBezTo>
                  <a:pt x="202" y="149"/>
                  <a:pt x="202" y="149"/>
                  <a:pt x="202" y="149"/>
                </a:cubicBezTo>
                <a:cubicBezTo>
                  <a:pt x="202" y="120"/>
                  <a:pt x="226" y="96"/>
                  <a:pt x="256" y="96"/>
                </a:cubicBezTo>
                <a:cubicBezTo>
                  <a:pt x="285" y="96"/>
                  <a:pt x="309" y="120"/>
                  <a:pt x="309" y="149"/>
                </a:cubicBezTo>
                <a:cubicBezTo>
                  <a:pt x="309" y="170"/>
                  <a:pt x="309" y="170"/>
                  <a:pt x="309" y="170"/>
                </a:cubicBezTo>
                <a:cubicBezTo>
                  <a:pt x="362" y="170"/>
                  <a:pt x="362" y="170"/>
                  <a:pt x="362" y="170"/>
                </a:cubicBezTo>
                <a:cubicBezTo>
                  <a:pt x="368" y="170"/>
                  <a:pt x="373" y="175"/>
                  <a:pt x="373" y="181"/>
                </a:cubicBezTo>
                <a:lnTo>
                  <a:pt x="373" y="405"/>
                </a:lnTo>
                <a:close/>
                <a:moveTo>
                  <a:pt x="288" y="170"/>
                </a:moveTo>
                <a:cubicBezTo>
                  <a:pt x="224" y="170"/>
                  <a:pt x="224" y="170"/>
                  <a:pt x="224" y="170"/>
                </a:cubicBezTo>
                <a:cubicBezTo>
                  <a:pt x="224" y="149"/>
                  <a:pt x="224" y="149"/>
                  <a:pt x="224" y="149"/>
                </a:cubicBezTo>
                <a:cubicBezTo>
                  <a:pt x="224" y="131"/>
                  <a:pt x="238" y="117"/>
                  <a:pt x="256" y="117"/>
                </a:cubicBezTo>
                <a:cubicBezTo>
                  <a:pt x="273" y="117"/>
                  <a:pt x="288" y="131"/>
                  <a:pt x="288" y="149"/>
                </a:cubicBezTo>
                <a:lnTo>
                  <a:pt x="288" y="170"/>
                </a:lnTo>
                <a:close/>
                <a:moveTo>
                  <a:pt x="309" y="192"/>
                </a:moveTo>
                <a:cubicBezTo>
                  <a:pt x="352" y="192"/>
                  <a:pt x="352" y="192"/>
                  <a:pt x="352" y="192"/>
                </a:cubicBezTo>
                <a:cubicBezTo>
                  <a:pt x="352" y="394"/>
                  <a:pt x="352" y="394"/>
                  <a:pt x="352" y="394"/>
                </a:cubicBez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lnTo>
                  <a:pt x="309" y="19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4" name="TextBox 393">
            <a:extLst>
              <a:ext uri="{FF2B5EF4-FFF2-40B4-BE49-F238E27FC236}">
                <a16:creationId xmlns:a16="http://schemas.microsoft.com/office/drawing/2014/main" id="{1A1CCF93-6439-47E5-AC78-C2BF22824159}"/>
              </a:ext>
            </a:extLst>
          </p:cNvPr>
          <p:cNvSpPr txBox="1"/>
          <p:nvPr/>
        </p:nvSpPr>
        <p:spPr>
          <a:xfrm>
            <a:off x="1350994" y="3726558"/>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Egg timer</a:t>
            </a:r>
          </a:p>
        </p:txBody>
      </p:sp>
      <p:sp>
        <p:nvSpPr>
          <p:cNvPr id="395" name="Freeform 444">
            <a:extLst>
              <a:ext uri="{FF2B5EF4-FFF2-40B4-BE49-F238E27FC236}">
                <a16:creationId xmlns:a16="http://schemas.microsoft.com/office/drawing/2014/main" id="{F271954A-D30D-41E0-BB4F-1912DC233926}"/>
              </a:ext>
            </a:extLst>
          </p:cNvPr>
          <p:cNvSpPr>
            <a:spLocks noChangeAspect="1" noEditPoints="1"/>
          </p:cNvSpPr>
          <p:nvPr/>
        </p:nvSpPr>
        <p:spPr bwMode="auto">
          <a:xfrm>
            <a:off x="1365586" y="3270008"/>
            <a:ext cx="367631" cy="367631"/>
          </a:xfrm>
          <a:custGeom>
            <a:avLst/>
            <a:gdLst>
              <a:gd name="T0" fmla="*/ 281 w 512"/>
              <a:gd name="T1" fmla="*/ 209 h 512"/>
              <a:gd name="T2" fmla="*/ 266 w 512"/>
              <a:gd name="T3" fmla="*/ 256 h 512"/>
              <a:gd name="T4" fmla="*/ 271 w 512"/>
              <a:gd name="T5" fmla="*/ 282 h 512"/>
              <a:gd name="T6" fmla="*/ 271 w 512"/>
              <a:gd name="T7" fmla="*/ 283 h 512"/>
              <a:gd name="T8" fmla="*/ 274 w 512"/>
              <a:gd name="T9" fmla="*/ 291 h 512"/>
              <a:gd name="T10" fmla="*/ 281 w 512"/>
              <a:gd name="T11" fmla="*/ 304 h 512"/>
              <a:gd name="T12" fmla="*/ 290 w 512"/>
              <a:gd name="T13" fmla="*/ 320 h 512"/>
              <a:gd name="T14" fmla="*/ 222 w 512"/>
              <a:gd name="T15" fmla="*/ 320 h 512"/>
              <a:gd name="T16" fmla="*/ 230 w 512"/>
              <a:gd name="T17" fmla="*/ 304 h 512"/>
              <a:gd name="T18" fmla="*/ 237 w 512"/>
              <a:gd name="T19" fmla="*/ 291 h 512"/>
              <a:gd name="T20" fmla="*/ 240 w 512"/>
              <a:gd name="T21" fmla="*/ 283 h 512"/>
              <a:gd name="T22" fmla="*/ 241 w 512"/>
              <a:gd name="T23" fmla="*/ 282 h 512"/>
              <a:gd name="T24" fmla="*/ 245 w 512"/>
              <a:gd name="T25" fmla="*/ 256 h 512"/>
              <a:gd name="T26" fmla="*/ 231 w 512"/>
              <a:gd name="T27" fmla="*/ 209 h 512"/>
              <a:gd name="T28" fmla="*/ 202 w 512"/>
              <a:gd name="T29" fmla="*/ 149 h 512"/>
              <a:gd name="T30" fmla="*/ 202 w 512"/>
              <a:gd name="T31" fmla="*/ 117 h 512"/>
              <a:gd name="T32" fmla="*/ 309 w 512"/>
              <a:gd name="T33" fmla="*/ 117 h 512"/>
              <a:gd name="T34" fmla="*/ 309 w 512"/>
              <a:gd name="T35" fmla="*/ 149 h 512"/>
              <a:gd name="T36" fmla="*/ 281 w 512"/>
              <a:gd name="T37" fmla="*/ 209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88 w 512"/>
              <a:gd name="T49" fmla="*/ 256 h 512"/>
              <a:gd name="T50" fmla="*/ 299 w 512"/>
              <a:gd name="T51" fmla="*/ 220 h 512"/>
              <a:gd name="T52" fmla="*/ 330 w 512"/>
              <a:gd name="T53" fmla="*/ 149 h 512"/>
              <a:gd name="T54" fmla="*/ 330 w 512"/>
              <a:gd name="T55" fmla="*/ 117 h 512"/>
              <a:gd name="T56" fmla="*/ 341 w 512"/>
              <a:gd name="T57" fmla="*/ 106 h 512"/>
              <a:gd name="T58" fmla="*/ 330 w 512"/>
              <a:gd name="T59" fmla="*/ 96 h 512"/>
              <a:gd name="T60" fmla="*/ 181 w 512"/>
              <a:gd name="T61" fmla="*/ 96 h 512"/>
              <a:gd name="T62" fmla="*/ 170 w 512"/>
              <a:gd name="T63" fmla="*/ 106 h 512"/>
              <a:gd name="T64" fmla="*/ 181 w 512"/>
              <a:gd name="T65" fmla="*/ 117 h 512"/>
              <a:gd name="T66" fmla="*/ 181 w 512"/>
              <a:gd name="T67" fmla="*/ 149 h 512"/>
              <a:gd name="T68" fmla="*/ 213 w 512"/>
              <a:gd name="T69" fmla="*/ 220 h 512"/>
              <a:gd name="T70" fmla="*/ 224 w 512"/>
              <a:gd name="T71" fmla="*/ 256 h 512"/>
              <a:gd name="T72" fmla="*/ 212 w 512"/>
              <a:gd name="T73" fmla="*/ 293 h 512"/>
              <a:gd name="T74" fmla="*/ 181 w 512"/>
              <a:gd name="T75" fmla="*/ 362 h 512"/>
              <a:gd name="T76" fmla="*/ 181 w 512"/>
              <a:gd name="T77" fmla="*/ 394 h 512"/>
              <a:gd name="T78" fmla="*/ 170 w 512"/>
              <a:gd name="T79" fmla="*/ 405 h 512"/>
              <a:gd name="T80" fmla="*/ 181 w 512"/>
              <a:gd name="T81" fmla="*/ 416 h 512"/>
              <a:gd name="T82" fmla="*/ 330 w 512"/>
              <a:gd name="T83" fmla="*/ 416 h 512"/>
              <a:gd name="T84" fmla="*/ 341 w 512"/>
              <a:gd name="T85" fmla="*/ 405 h 512"/>
              <a:gd name="T86" fmla="*/ 330 w 512"/>
              <a:gd name="T87" fmla="*/ 394 h 512"/>
              <a:gd name="T88" fmla="*/ 330 w 512"/>
              <a:gd name="T89" fmla="*/ 362 h 512"/>
              <a:gd name="T90" fmla="*/ 299 w 512"/>
              <a:gd name="T91" fmla="*/ 293 h 512"/>
              <a:gd name="T92" fmla="*/ 288 w 512"/>
              <a:gd name="T93" fmla="*/ 256 h 512"/>
              <a:gd name="T94" fmla="*/ 202 w 512"/>
              <a:gd name="T95" fmla="*/ 363 h 512"/>
              <a:gd name="T96" fmla="*/ 202 w 512"/>
              <a:gd name="T97" fmla="*/ 394 h 512"/>
              <a:gd name="T98" fmla="*/ 309 w 512"/>
              <a:gd name="T99" fmla="*/ 394 h 512"/>
              <a:gd name="T100" fmla="*/ 309 w 512"/>
              <a:gd name="T101" fmla="*/ 363 h 512"/>
              <a:gd name="T102" fmla="*/ 300 w 512"/>
              <a:gd name="T103" fmla="*/ 341 h 512"/>
              <a:gd name="T104" fmla="*/ 211 w 512"/>
              <a:gd name="T105" fmla="*/ 341 h 512"/>
              <a:gd name="T106" fmla="*/ 202 w 512"/>
              <a:gd name="T107"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1" y="209"/>
                </a:moveTo>
                <a:cubicBezTo>
                  <a:pt x="271" y="222"/>
                  <a:pt x="266" y="238"/>
                  <a:pt x="266" y="256"/>
                </a:cubicBezTo>
                <a:cubicBezTo>
                  <a:pt x="266" y="265"/>
                  <a:pt x="268" y="273"/>
                  <a:pt x="271" y="282"/>
                </a:cubicBezTo>
                <a:cubicBezTo>
                  <a:pt x="271" y="282"/>
                  <a:pt x="271" y="283"/>
                  <a:pt x="271" y="283"/>
                </a:cubicBezTo>
                <a:cubicBezTo>
                  <a:pt x="272" y="286"/>
                  <a:pt x="273" y="289"/>
                  <a:pt x="274" y="291"/>
                </a:cubicBezTo>
                <a:cubicBezTo>
                  <a:pt x="276" y="296"/>
                  <a:pt x="278" y="300"/>
                  <a:pt x="281" y="304"/>
                </a:cubicBezTo>
                <a:cubicBezTo>
                  <a:pt x="284" y="309"/>
                  <a:pt x="287" y="314"/>
                  <a:pt x="290" y="320"/>
                </a:cubicBezTo>
                <a:cubicBezTo>
                  <a:pt x="222" y="320"/>
                  <a:pt x="222" y="320"/>
                  <a:pt x="222" y="320"/>
                </a:cubicBezTo>
                <a:cubicBezTo>
                  <a:pt x="225" y="314"/>
                  <a:pt x="227" y="309"/>
                  <a:pt x="230" y="304"/>
                </a:cubicBezTo>
                <a:cubicBezTo>
                  <a:pt x="233" y="300"/>
                  <a:pt x="235" y="296"/>
                  <a:pt x="237" y="291"/>
                </a:cubicBezTo>
                <a:cubicBezTo>
                  <a:pt x="238" y="289"/>
                  <a:pt x="239" y="286"/>
                  <a:pt x="240" y="283"/>
                </a:cubicBezTo>
                <a:cubicBezTo>
                  <a:pt x="240" y="283"/>
                  <a:pt x="241" y="282"/>
                  <a:pt x="241" y="282"/>
                </a:cubicBezTo>
                <a:cubicBezTo>
                  <a:pt x="244" y="273"/>
                  <a:pt x="245" y="265"/>
                  <a:pt x="245" y="256"/>
                </a:cubicBezTo>
                <a:cubicBezTo>
                  <a:pt x="245" y="238"/>
                  <a:pt x="240" y="222"/>
                  <a:pt x="231" y="209"/>
                </a:cubicBezTo>
                <a:cubicBezTo>
                  <a:pt x="218" y="185"/>
                  <a:pt x="203" y="155"/>
                  <a:pt x="202" y="149"/>
                </a:cubicBezTo>
                <a:cubicBezTo>
                  <a:pt x="202" y="117"/>
                  <a:pt x="202" y="117"/>
                  <a:pt x="202" y="117"/>
                </a:cubicBezTo>
                <a:cubicBezTo>
                  <a:pt x="309" y="117"/>
                  <a:pt x="309" y="117"/>
                  <a:pt x="309" y="117"/>
                </a:cubicBezTo>
                <a:cubicBezTo>
                  <a:pt x="309" y="149"/>
                  <a:pt x="309" y="149"/>
                  <a:pt x="309" y="149"/>
                </a:cubicBezTo>
                <a:cubicBezTo>
                  <a:pt x="309" y="155"/>
                  <a:pt x="294" y="185"/>
                  <a:pt x="281" y="2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256"/>
                </a:moveTo>
                <a:cubicBezTo>
                  <a:pt x="288" y="243"/>
                  <a:pt x="292" y="230"/>
                  <a:pt x="299" y="220"/>
                </a:cubicBezTo>
                <a:cubicBezTo>
                  <a:pt x="313" y="193"/>
                  <a:pt x="330" y="160"/>
                  <a:pt x="330" y="149"/>
                </a:cubicBezTo>
                <a:cubicBezTo>
                  <a:pt x="330" y="117"/>
                  <a:pt x="330" y="117"/>
                  <a:pt x="330" y="117"/>
                </a:cubicBezTo>
                <a:cubicBezTo>
                  <a:pt x="336" y="117"/>
                  <a:pt x="341" y="112"/>
                  <a:pt x="341" y="106"/>
                </a:cubicBezTo>
                <a:cubicBezTo>
                  <a:pt x="341" y="100"/>
                  <a:pt x="336" y="96"/>
                  <a:pt x="330" y="96"/>
                </a:cubicBezTo>
                <a:cubicBezTo>
                  <a:pt x="181" y="96"/>
                  <a:pt x="181" y="96"/>
                  <a:pt x="181" y="96"/>
                </a:cubicBezTo>
                <a:cubicBezTo>
                  <a:pt x="175" y="96"/>
                  <a:pt x="170" y="100"/>
                  <a:pt x="170" y="106"/>
                </a:cubicBezTo>
                <a:cubicBezTo>
                  <a:pt x="170" y="112"/>
                  <a:pt x="175" y="117"/>
                  <a:pt x="181" y="117"/>
                </a:cubicBezTo>
                <a:cubicBezTo>
                  <a:pt x="181" y="149"/>
                  <a:pt x="181" y="149"/>
                  <a:pt x="181" y="149"/>
                </a:cubicBezTo>
                <a:cubicBezTo>
                  <a:pt x="181" y="160"/>
                  <a:pt x="198" y="193"/>
                  <a:pt x="213" y="220"/>
                </a:cubicBezTo>
                <a:cubicBezTo>
                  <a:pt x="220" y="230"/>
                  <a:pt x="224" y="243"/>
                  <a:pt x="224" y="256"/>
                </a:cubicBezTo>
                <a:cubicBezTo>
                  <a:pt x="224" y="256"/>
                  <a:pt x="220" y="281"/>
                  <a:pt x="212" y="293"/>
                </a:cubicBezTo>
                <a:cubicBezTo>
                  <a:pt x="198" y="319"/>
                  <a:pt x="181" y="352"/>
                  <a:pt x="181" y="362"/>
                </a:cubicBezTo>
                <a:cubicBezTo>
                  <a:pt x="181" y="394"/>
                  <a:pt x="181" y="394"/>
                  <a:pt x="181" y="394"/>
                </a:cubicBezTo>
                <a:cubicBezTo>
                  <a:pt x="175" y="394"/>
                  <a:pt x="170" y="399"/>
                  <a:pt x="170" y="405"/>
                </a:cubicBezTo>
                <a:cubicBezTo>
                  <a:pt x="170" y="411"/>
                  <a:pt x="175" y="416"/>
                  <a:pt x="181" y="416"/>
                </a:cubicBezTo>
                <a:cubicBezTo>
                  <a:pt x="330" y="416"/>
                  <a:pt x="330" y="416"/>
                  <a:pt x="330" y="416"/>
                </a:cubicBezTo>
                <a:cubicBezTo>
                  <a:pt x="336" y="416"/>
                  <a:pt x="341" y="411"/>
                  <a:pt x="341" y="405"/>
                </a:cubicBezTo>
                <a:cubicBezTo>
                  <a:pt x="341" y="399"/>
                  <a:pt x="336" y="394"/>
                  <a:pt x="330" y="394"/>
                </a:cubicBezTo>
                <a:cubicBezTo>
                  <a:pt x="330" y="362"/>
                  <a:pt x="330" y="362"/>
                  <a:pt x="330" y="362"/>
                </a:cubicBezTo>
                <a:cubicBezTo>
                  <a:pt x="330" y="352"/>
                  <a:pt x="313" y="319"/>
                  <a:pt x="299" y="293"/>
                </a:cubicBezTo>
                <a:cubicBezTo>
                  <a:pt x="292" y="281"/>
                  <a:pt x="288" y="256"/>
                  <a:pt x="288" y="256"/>
                </a:cubicBezTo>
                <a:close/>
                <a:moveTo>
                  <a:pt x="202" y="363"/>
                </a:moveTo>
                <a:cubicBezTo>
                  <a:pt x="202" y="394"/>
                  <a:pt x="202" y="394"/>
                  <a:pt x="202" y="394"/>
                </a:cubicBezTo>
                <a:cubicBezTo>
                  <a:pt x="309" y="394"/>
                  <a:pt x="309" y="394"/>
                  <a:pt x="309" y="394"/>
                </a:cubicBezTo>
                <a:cubicBezTo>
                  <a:pt x="309" y="363"/>
                  <a:pt x="309" y="363"/>
                  <a:pt x="309" y="363"/>
                </a:cubicBezTo>
                <a:cubicBezTo>
                  <a:pt x="309" y="360"/>
                  <a:pt x="305" y="351"/>
                  <a:pt x="300" y="341"/>
                </a:cubicBezTo>
                <a:cubicBezTo>
                  <a:pt x="211" y="341"/>
                  <a:pt x="211" y="341"/>
                  <a:pt x="211" y="341"/>
                </a:cubicBezTo>
                <a:cubicBezTo>
                  <a:pt x="206" y="351"/>
                  <a:pt x="203" y="360"/>
                  <a:pt x="202" y="36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96" name="Group 447">
            <a:extLst>
              <a:ext uri="{FF2B5EF4-FFF2-40B4-BE49-F238E27FC236}">
                <a16:creationId xmlns:a16="http://schemas.microsoft.com/office/drawing/2014/main" id="{F24C3787-B55E-4A4E-80AC-128C590E4F4C}"/>
              </a:ext>
            </a:extLst>
          </p:cNvPr>
          <p:cNvGrpSpPr>
            <a:grpSpLocks noChangeAspect="1"/>
          </p:cNvGrpSpPr>
          <p:nvPr/>
        </p:nvGrpSpPr>
        <p:grpSpPr bwMode="auto">
          <a:xfrm>
            <a:off x="1806032" y="3270008"/>
            <a:ext cx="367631" cy="367631"/>
            <a:chOff x="4988" y="1602"/>
            <a:chExt cx="340" cy="340"/>
          </a:xfrm>
          <a:solidFill>
            <a:schemeClr val="accent5"/>
          </a:solidFill>
        </p:grpSpPr>
        <p:sp>
          <p:nvSpPr>
            <p:cNvPr id="397" name="Freeform 448">
              <a:extLst>
                <a:ext uri="{FF2B5EF4-FFF2-40B4-BE49-F238E27FC236}">
                  <a16:creationId xmlns:a16="http://schemas.microsoft.com/office/drawing/2014/main" id="{C39D35C1-9A20-4615-8C94-A1AF5FF8DE02}"/>
                </a:ext>
              </a:extLst>
            </p:cNvPr>
            <p:cNvSpPr>
              <a:spLocks noEditPoints="1"/>
            </p:cNvSpPr>
            <p:nvPr/>
          </p:nvSpPr>
          <p:spPr bwMode="auto">
            <a:xfrm>
              <a:off x="4988" y="16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8" name="Freeform 449">
              <a:extLst>
                <a:ext uri="{FF2B5EF4-FFF2-40B4-BE49-F238E27FC236}">
                  <a16:creationId xmlns:a16="http://schemas.microsoft.com/office/drawing/2014/main" id="{F3395A7E-8961-4DA3-9F08-5672D8479554}"/>
                </a:ext>
              </a:extLst>
            </p:cNvPr>
            <p:cNvSpPr>
              <a:spLocks noEditPoints="1"/>
            </p:cNvSpPr>
            <p:nvPr/>
          </p:nvSpPr>
          <p:spPr bwMode="auto">
            <a:xfrm>
              <a:off x="5101" y="1666"/>
              <a:ext cx="113" cy="212"/>
            </a:xfrm>
            <a:custGeom>
              <a:avLst/>
              <a:gdLst>
                <a:gd name="T0" fmla="*/ 160 w 171"/>
                <a:gd name="T1" fmla="*/ 298 h 320"/>
                <a:gd name="T2" fmla="*/ 160 w 171"/>
                <a:gd name="T3" fmla="*/ 266 h 320"/>
                <a:gd name="T4" fmla="*/ 129 w 171"/>
                <a:gd name="T5" fmla="*/ 197 h 320"/>
                <a:gd name="T6" fmla="*/ 118 w 171"/>
                <a:gd name="T7" fmla="*/ 160 h 320"/>
                <a:gd name="T8" fmla="*/ 129 w 171"/>
                <a:gd name="T9" fmla="*/ 124 h 320"/>
                <a:gd name="T10" fmla="*/ 160 w 171"/>
                <a:gd name="T11" fmla="*/ 53 h 320"/>
                <a:gd name="T12" fmla="*/ 160 w 171"/>
                <a:gd name="T13" fmla="*/ 21 h 320"/>
                <a:gd name="T14" fmla="*/ 171 w 171"/>
                <a:gd name="T15" fmla="*/ 10 h 320"/>
                <a:gd name="T16" fmla="*/ 160 w 171"/>
                <a:gd name="T17" fmla="*/ 0 h 320"/>
                <a:gd name="T18" fmla="*/ 11 w 171"/>
                <a:gd name="T19" fmla="*/ 0 h 320"/>
                <a:gd name="T20" fmla="*/ 0 w 171"/>
                <a:gd name="T21" fmla="*/ 10 h 320"/>
                <a:gd name="T22" fmla="*/ 11 w 171"/>
                <a:gd name="T23" fmla="*/ 21 h 320"/>
                <a:gd name="T24" fmla="*/ 11 w 171"/>
                <a:gd name="T25" fmla="*/ 53 h 320"/>
                <a:gd name="T26" fmla="*/ 43 w 171"/>
                <a:gd name="T27" fmla="*/ 124 h 320"/>
                <a:gd name="T28" fmla="*/ 54 w 171"/>
                <a:gd name="T29" fmla="*/ 160 h 320"/>
                <a:gd name="T30" fmla="*/ 42 w 171"/>
                <a:gd name="T31" fmla="*/ 197 h 320"/>
                <a:gd name="T32" fmla="*/ 11 w 171"/>
                <a:gd name="T33" fmla="*/ 266 h 320"/>
                <a:gd name="T34" fmla="*/ 11 w 171"/>
                <a:gd name="T35" fmla="*/ 298 h 320"/>
                <a:gd name="T36" fmla="*/ 0 w 171"/>
                <a:gd name="T37" fmla="*/ 309 h 320"/>
                <a:gd name="T38" fmla="*/ 11 w 171"/>
                <a:gd name="T39" fmla="*/ 320 h 320"/>
                <a:gd name="T40" fmla="*/ 160 w 171"/>
                <a:gd name="T41" fmla="*/ 320 h 320"/>
                <a:gd name="T42" fmla="*/ 171 w 171"/>
                <a:gd name="T43" fmla="*/ 309 h 320"/>
                <a:gd name="T44" fmla="*/ 160 w 171"/>
                <a:gd name="T45" fmla="*/ 298 h 320"/>
                <a:gd name="T46" fmla="*/ 61 w 171"/>
                <a:gd name="T47" fmla="*/ 113 h 320"/>
                <a:gd name="T48" fmla="*/ 32 w 171"/>
                <a:gd name="T49" fmla="*/ 53 h 320"/>
                <a:gd name="T50" fmla="*/ 32 w 171"/>
                <a:gd name="T51" fmla="*/ 21 h 320"/>
                <a:gd name="T52" fmla="*/ 139 w 171"/>
                <a:gd name="T53" fmla="*/ 21 h 320"/>
                <a:gd name="T54" fmla="*/ 139 w 171"/>
                <a:gd name="T55" fmla="*/ 53 h 320"/>
                <a:gd name="T56" fmla="*/ 111 w 171"/>
                <a:gd name="T57" fmla="*/ 113 h 320"/>
                <a:gd name="T58" fmla="*/ 96 w 171"/>
                <a:gd name="T59" fmla="*/ 160 h 320"/>
                <a:gd name="T60" fmla="*/ 101 w 171"/>
                <a:gd name="T61" fmla="*/ 186 h 320"/>
                <a:gd name="T62" fmla="*/ 101 w 171"/>
                <a:gd name="T63" fmla="*/ 187 h 320"/>
                <a:gd name="T64" fmla="*/ 104 w 171"/>
                <a:gd name="T65" fmla="*/ 195 h 320"/>
                <a:gd name="T66" fmla="*/ 111 w 171"/>
                <a:gd name="T67" fmla="*/ 208 h 320"/>
                <a:gd name="T68" fmla="*/ 120 w 171"/>
                <a:gd name="T69" fmla="*/ 224 h 320"/>
                <a:gd name="T70" fmla="*/ 52 w 171"/>
                <a:gd name="T71" fmla="*/ 224 h 320"/>
                <a:gd name="T72" fmla="*/ 60 w 171"/>
                <a:gd name="T73" fmla="*/ 208 h 320"/>
                <a:gd name="T74" fmla="*/ 67 w 171"/>
                <a:gd name="T75" fmla="*/ 195 h 320"/>
                <a:gd name="T76" fmla="*/ 70 w 171"/>
                <a:gd name="T77" fmla="*/ 187 h 320"/>
                <a:gd name="T78" fmla="*/ 71 w 171"/>
                <a:gd name="T79" fmla="*/ 186 h 320"/>
                <a:gd name="T80" fmla="*/ 75 w 171"/>
                <a:gd name="T81" fmla="*/ 160 h 320"/>
                <a:gd name="T82" fmla="*/ 61 w 171"/>
                <a:gd name="T83" fmla="*/ 113 h 320"/>
                <a:gd name="T84" fmla="*/ 32 w 171"/>
                <a:gd name="T85" fmla="*/ 267 h 320"/>
                <a:gd name="T86" fmla="*/ 41 w 171"/>
                <a:gd name="T87" fmla="*/ 245 h 320"/>
                <a:gd name="T88" fmla="*/ 130 w 171"/>
                <a:gd name="T89" fmla="*/ 245 h 320"/>
                <a:gd name="T90" fmla="*/ 139 w 171"/>
                <a:gd name="T91" fmla="*/ 267 h 320"/>
                <a:gd name="T92" fmla="*/ 139 w 171"/>
                <a:gd name="T93" fmla="*/ 298 h 320"/>
                <a:gd name="T94" fmla="*/ 32 w 171"/>
                <a:gd name="T95" fmla="*/ 298 h 320"/>
                <a:gd name="T96" fmla="*/ 32 w 171"/>
                <a:gd name="T97" fmla="*/ 26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1" h="320">
                  <a:moveTo>
                    <a:pt x="160" y="298"/>
                  </a:moveTo>
                  <a:cubicBezTo>
                    <a:pt x="160" y="266"/>
                    <a:pt x="160" y="266"/>
                    <a:pt x="160" y="266"/>
                  </a:cubicBezTo>
                  <a:cubicBezTo>
                    <a:pt x="160" y="256"/>
                    <a:pt x="143" y="223"/>
                    <a:pt x="129" y="197"/>
                  </a:cubicBezTo>
                  <a:cubicBezTo>
                    <a:pt x="122" y="185"/>
                    <a:pt x="118" y="160"/>
                    <a:pt x="118" y="160"/>
                  </a:cubicBezTo>
                  <a:cubicBezTo>
                    <a:pt x="118" y="147"/>
                    <a:pt x="122" y="134"/>
                    <a:pt x="129" y="124"/>
                  </a:cubicBezTo>
                  <a:cubicBezTo>
                    <a:pt x="143" y="97"/>
                    <a:pt x="160" y="64"/>
                    <a:pt x="160" y="53"/>
                  </a:cubicBezTo>
                  <a:cubicBezTo>
                    <a:pt x="160" y="21"/>
                    <a:pt x="160" y="21"/>
                    <a:pt x="160" y="21"/>
                  </a:cubicBezTo>
                  <a:cubicBezTo>
                    <a:pt x="166" y="21"/>
                    <a:pt x="171" y="16"/>
                    <a:pt x="171" y="10"/>
                  </a:cubicBezTo>
                  <a:cubicBezTo>
                    <a:pt x="171" y="4"/>
                    <a:pt x="166" y="0"/>
                    <a:pt x="160" y="0"/>
                  </a:cubicBezTo>
                  <a:cubicBezTo>
                    <a:pt x="11" y="0"/>
                    <a:pt x="11" y="0"/>
                    <a:pt x="11" y="0"/>
                  </a:cubicBezTo>
                  <a:cubicBezTo>
                    <a:pt x="5" y="0"/>
                    <a:pt x="0" y="4"/>
                    <a:pt x="0" y="10"/>
                  </a:cubicBezTo>
                  <a:cubicBezTo>
                    <a:pt x="0" y="16"/>
                    <a:pt x="5" y="21"/>
                    <a:pt x="11" y="21"/>
                  </a:cubicBezTo>
                  <a:cubicBezTo>
                    <a:pt x="11" y="53"/>
                    <a:pt x="11" y="53"/>
                    <a:pt x="11" y="53"/>
                  </a:cubicBezTo>
                  <a:cubicBezTo>
                    <a:pt x="11" y="64"/>
                    <a:pt x="28" y="97"/>
                    <a:pt x="43" y="124"/>
                  </a:cubicBezTo>
                  <a:cubicBezTo>
                    <a:pt x="50" y="134"/>
                    <a:pt x="54" y="147"/>
                    <a:pt x="54" y="160"/>
                  </a:cubicBezTo>
                  <a:cubicBezTo>
                    <a:pt x="54" y="160"/>
                    <a:pt x="50" y="185"/>
                    <a:pt x="42" y="197"/>
                  </a:cubicBezTo>
                  <a:cubicBezTo>
                    <a:pt x="28" y="223"/>
                    <a:pt x="11" y="256"/>
                    <a:pt x="11" y="266"/>
                  </a:cubicBezTo>
                  <a:cubicBezTo>
                    <a:pt x="11" y="298"/>
                    <a:pt x="11" y="298"/>
                    <a:pt x="11" y="298"/>
                  </a:cubicBezTo>
                  <a:cubicBezTo>
                    <a:pt x="5" y="298"/>
                    <a:pt x="0" y="303"/>
                    <a:pt x="0" y="309"/>
                  </a:cubicBezTo>
                  <a:cubicBezTo>
                    <a:pt x="0" y="315"/>
                    <a:pt x="5" y="320"/>
                    <a:pt x="11" y="320"/>
                  </a:cubicBezTo>
                  <a:cubicBezTo>
                    <a:pt x="160" y="320"/>
                    <a:pt x="160" y="320"/>
                    <a:pt x="160" y="320"/>
                  </a:cubicBezTo>
                  <a:cubicBezTo>
                    <a:pt x="166" y="320"/>
                    <a:pt x="171" y="315"/>
                    <a:pt x="171" y="309"/>
                  </a:cubicBezTo>
                  <a:cubicBezTo>
                    <a:pt x="171" y="303"/>
                    <a:pt x="166" y="298"/>
                    <a:pt x="160" y="298"/>
                  </a:cubicBezTo>
                  <a:close/>
                  <a:moveTo>
                    <a:pt x="61" y="113"/>
                  </a:moveTo>
                  <a:cubicBezTo>
                    <a:pt x="48" y="89"/>
                    <a:pt x="33" y="59"/>
                    <a:pt x="32" y="53"/>
                  </a:cubicBezTo>
                  <a:cubicBezTo>
                    <a:pt x="32" y="21"/>
                    <a:pt x="32" y="21"/>
                    <a:pt x="32" y="21"/>
                  </a:cubicBezTo>
                  <a:cubicBezTo>
                    <a:pt x="139" y="21"/>
                    <a:pt x="139" y="21"/>
                    <a:pt x="139" y="21"/>
                  </a:cubicBezTo>
                  <a:cubicBezTo>
                    <a:pt x="139" y="53"/>
                    <a:pt x="139" y="53"/>
                    <a:pt x="139" y="53"/>
                  </a:cubicBezTo>
                  <a:cubicBezTo>
                    <a:pt x="139" y="59"/>
                    <a:pt x="124" y="89"/>
                    <a:pt x="111" y="113"/>
                  </a:cubicBezTo>
                  <a:cubicBezTo>
                    <a:pt x="101" y="126"/>
                    <a:pt x="96" y="142"/>
                    <a:pt x="96" y="160"/>
                  </a:cubicBezTo>
                  <a:cubicBezTo>
                    <a:pt x="96" y="169"/>
                    <a:pt x="98" y="177"/>
                    <a:pt x="101" y="186"/>
                  </a:cubicBezTo>
                  <a:cubicBezTo>
                    <a:pt x="101" y="186"/>
                    <a:pt x="101" y="187"/>
                    <a:pt x="101" y="187"/>
                  </a:cubicBezTo>
                  <a:cubicBezTo>
                    <a:pt x="102" y="190"/>
                    <a:pt x="103" y="193"/>
                    <a:pt x="104" y="195"/>
                  </a:cubicBezTo>
                  <a:cubicBezTo>
                    <a:pt x="106" y="200"/>
                    <a:pt x="108" y="204"/>
                    <a:pt x="111" y="208"/>
                  </a:cubicBezTo>
                  <a:cubicBezTo>
                    <a:pt x="114" y="213"/>
                    <a:pt x="117" y="218"/>
                    <a:pt x="120" y="224"/>
                  </a:cubicBezTo>
                  <a:cubicBezTo>
                    <a:pt x="52" y="224"/>
                    <a:pt x="52" y="224"/>
                    <a:pt x="52" y="224"/>
                  </a:cubicBezTo>
                  <a:cubicBezTo>
                    <a:pt x="55" y="218"/>
                    <a:pt x="57" y="213"/>
                    <a:pt x="60" y="208"/>
                  </a:cubicBezTo>
                  <a:cubicBezTo>
                    <a:pt x="63" y="204"/>
                    <a:pt x="65" y="200"/>
                    <a:pt x="67" y="195"/>
                  </a:cubicBezTo>
                  <a:cubicBezTo>
                    <a:pt x="68" y="193"/>
                    <a:pt x="69" y="190"/>
                    <a:pt x="70" y="187"/>
                  </a:cubicBezTo>
                  <a:cubicBezTo>
                    <a:pt x="70" y="187"/>
                    <a:pt x="71" y="186"/>
                    <a:pt x="71" y="186"/>
                  </a:cubicBezTo>
                  <a:cubicBezTo>
                    <a:pt x="74" y="177"/>
                    <a:pt x="75" y="169"/>
                    <a:pt x="75" y="160"/>
                  </a:cubicBezTo>
                  <a:cubicBezTo>
                    <a:pt x="75" y="142"/>
                    <a:pt x="70" y="126"/>
                    <a:pt x="61" y="113"/>
                  </a:cubicBezTo>
                  <a:close/>
                  <a:moveTo>
                    <a:pt x="32" y="267"/>
                  </a:moveTo>
                  <a:cubicBezTo>
                    <a:pt x="33" y="264"/>
                    <a:pt x="36" y="255"/>
                    <a:pt x="41" y="245"/>
                  </a:cubicBezTo>
                  <a:cubicBezTo>
                    <a:pt x="130" y="245"/>
                    <a:pt x="130" y="245"/>
                    <a:pt x="130" y="245"/>
                  </a:cubicBezTo>
                  <a:cubicBezTo>
                    <a:pt x="135" y="255"/>
                    <a:pt x="139" y="264"/>
                    <a:pt x="139" y="267"/>
                  </a:cubicBezTo>
                  <a:cubicBezTo>
                    <a:pt x="139" y="298"/>
                    <a:pt x="139" y="298"/>
                    <a:pt x="139" y="298"/>
                  </a:cubicBezTo>
                  <a:cubicBezTo>
                    <a:pt x="32" y="298"/>
                    <a:pt x="32" y="298"/>
                    <a:pt x="32" y="298"/>
                  </a:cubicBezTo>
                  <a:lnTo>
                    <a:pt x="32" y="2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6" name="Group 145">
            <a:extLst>
              <a:ext uri="{FF2B5EF4-FFF2-40B4-BE49-F238E27FC236}">
                <a16:creationId xmlns:a16="http://schemas.microsoft.com/office/drawing/2014/main" id="{EE89F857-CBF4-4799-8369-E77414791ACA}"/>
              </a:ext>
            </a:extLst>
          </p:cNvPr>
          <p:cNvGrpSpPr/>
          <p:nvPr/>
        </p:nvGrpSpPr>
        <p:grpSpPr>
          <a:xfrm>
            <a:off x="3574772" y="3269232"/>
            <a:ext cx="366989" cy="368407"/>
            <a:chOff x="6257925" y="1784350"/>
            <a:chExt cx="3286125" cy="3298825"/>
          </a:xfrm>
          <a:solidFill>
            <a:schemeClr val="bg2"/>
          </a:solidFill>
        </p:grpSpPr>
        <p:sp>
          <p:nvSpPr>
            <p:cNvPr id="239" name="Freeform 5">
              <a:extLst>
                <a:ext uri="{FF2B5EF4-FFF2-40B4-BE49-F238E27FC236}">
                  <a16:creationId xmlns:a16="http://schemas.microsoft.com/office/drawing/2014/main" id="{8C82CD6B-F2F0-499F-BA6F-32111EF8AADA}"/>
                </a:ext>
              </a:extLst>
            </p:cNvPr>
            <p:cNvSpPr>
              <a:spLocks noEditPoints="1"/>
            </p:cNvSpPr>
            <p:nvPr/>
          </p:nvSpPr>
          <p:spPr bwMode="auto">
            <a:xfrm>
              <a:off x="6257925" y="1784350"/>
              <a:ext cx="3286125" cy="3298825"/>
            </a:xfrm>
            <a:custGeom>
              <a:avLst/>
              <a:gdLst>
                <a:gd name="T0" fmla="*/ 1722 w 3444"/>
                <a:gd name="T1" fmla="*/ 0 h 3445"/>
                <a:gd name="T2" fmla="*/ 1722 w 3444"/>
                <a:gd name="T3" fmla="*/ 0 h 3445"/>
                <a:gd name="T4" fmla="*/ 0 w 3444"/>
                <a:gd name="T5" fmla="*/ 1722 h 3445"/>
                <a:gd name="T6" fmla="*/ 1722 w 3444"/>
                <a:gd name="T7" fmla="*/ 3445 h 3445"/>
                <a:gd name="T8" fmla="*/ 3444 w 3444"/>
                <a:gd name="T9" fmla="*/ 1722 h 3445"/>
                <a:gd name="T10" fmla="*/ 1722 w 3444"/>
                <a:gd name="T11" fmla="*/ 0 h 3445"/>
                <a:gd name="T12" fmla="*/ 1722 w 3444"/>
                <a:gd name="T13" fmla="*/ 142 h 3445"/>
                <a:gd name="T14" fmla="*/ 1722 w 3444"/>
                <a:gd name="T15" fmla="*/ 142 h 3445"/>
                <a:gd name="T16" fmla="*/ 3297 w 3444"/>
                <a:gd name="T17" fmla="*/ 1722 h 3445"/>
                <a:gd name="T18" fmla="*/ 1722 w 3444"/>
                <a:gd name="T19" fmla="*/ 3297 h 3445"/>
                <a:gd name="T20" fmla="*/ 142 w 3444"/>
                <a:gd name="T21" fmla="*/ 1722 h 3445"/>
                <a:gd name="T22" fmla="*/ 1722 w 3444"/>
                <a:gd name="T23" fmla="*/ 142 h 3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44" h="3445">
                  <a:moveTo>
                    <a:pt x="1722" y="0"/>
                  </a:moveTo>
                  <a:lnTo>
                    <a:pt x="1722" y="0"/>
                  </a:lnTo>
                  <a:cubicBezTo>
                    <a:pt x="767" y="0"/>
                    <a:pt x="0" y="767"/>
                    <a:pt x="0" y="1722"/>
                  </a:cubicBezTo>
                  <a:cubicBezTo>
                    <a:pt x="0" y="2670"/>
                    <a:pt x="767" y="3445"/>
                    <a:pt x="1722" y="3445"/>
                  </a:cubicBezTo>
                  <a:cubicBezTo>
                    <a:pt x="2670" y="3445"/>
                    <a:pt x="3444" y="2670"/>
                    <a:pt x="3444" y="1722"/>
                  </a:cubicBezTo>
                  <a:cubicBezTo>
                    <a:pt x="3444" y="767"/>
                    <a:pt x="2670" y="0"/>
                    <a:pt x="1722" y="0"/>
                  </a:cubicBezTo>
                  <a:close/>
                  <a:moveTo>
                    <a:pt x="1722" y="142"/>
                  </a:moveTo>
                  <a:lnTo>
                    <a:pt x="1722" y="142"/>
                  </a:lnTo>
                  <a:cubicBezTo>
                    <a:pt x="2590" y="142"/>
                    <a:pt x="3297" y="848"/>
                    <a:pt x="3297" y="1722"/>
                  </a:cubicBezTo>
                  <a:cubicBezTo>
                    <a:pt x="3297" y="2591"/>
                    <a:pt x="2590" y="3297"/>
                    <a:pt x="1722" y="3297"/>
                  </a:cubicBezTo>
                  <a:cubicBezTo>
                    <a:pt x="848" y="3297"/>
                    <a:pt x="142" y="2591"/>
                    <a:pt x="142" y="1722"/>
                  </a:cubicBezTo>
                  <a:cubicBezTo>
                    <a:pt x="142" y="848"/>
                    <a:pt x="848" y="142"/>
                    <a:pt x="1722" y="14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6">
              <a:extLst>
                <a:ext uri="{FF2B5EF4-FFF2-40B4-BE49-F238E27FC236}">
                  <a16:creationId xmlns:a16="http://schemas.microsoft.com/office/drawing/2014/main" id="{289B2B0F-ACD3-4048-8484-D4EBFAF87CF1}"/>
                </a:ext>
              </a:extLst>
            </p:cNvPr>
            <p:cNvSpPr>
              <a:spLocks noEditPoints="1"/>
            </p:cNvSpPr>
            <p:nvPr/>
          </p:nvSpPr>
          <p:spPr bwMode="auto">
            <a:xfrm>
              <a:off x="7358063" y="2349500"/>
              <a:ext cx="1085850" cy="2133600"/>
            </a:xfrm>
            <a:custGeom>
              <a:avLst/>
              <a:gdLst>
                <a:gd name="T0" fmla="*/ 637 w 1137"/>
                <a:gd name="T1" fmla="*/ 648 h 2229"/>
                <a:gd name="T2" fmla="*/ 637 w 1137"/>
                <a:gd name="T3" fmla="*/ 648 h 2229"/>
                <a:gd name="T4" fmla="*/ 507 w 1137"/>
                <a:gd name="T5" fmla="*/ 648 h 2229"/>
                <a:gd name="T6" fmla="*/ 433 w 1137"/>
                <a:gd name="T7" fmla="*/ 718 h 2229"/>
                <a:gd name="T8" fmla="*/ 353 w 1137"/>
                <a:gd name="T9" fmla="*/ 2080 h 2229"/>
                <a:gd name="T10" fmla="*/ 148 w 1137"/>
                <a:gd name="T11" fmla="*/ 2080 h 2229"/>
                <a:gd name="T12" fmla="*/ 148 w 1137"/>
                <a:gd name="T13" fmla="*/ 166 h 2229"/>
                <a:gd name="T14" fmla="*/ 988 w 1137"/>
                <a:gd name="T15" fmla="*/ 166 h 2229"/>
                <a:gd name="T16" fmla="*/ 988 w 1137"/>
                <a:gd name="T17" fmla="*/ 2080 h 2229"/>
                <a:gd name="T18" fmla="*/ 791 w 1137"/>
                <a:gd name="T19" fmla="*/ 2080 h 2229"/>
                <a:gd name="T20" fmla="*/ 711 w 1137"/>
                <a:gd name="T21" fmla="*/ 718 h 2229"/>
                <a:gd name="T22" fmla="*/ 637 w 1137"/>
                <a:gd name="T23" fmla="*/ 648 h 2229"/>
                <a:gd name="T24" fmla="*/ 637 w 1137"/>
                <a:gd name="T25" fmla="*/ 648 h 2229"/>
                <a:gd name="T26" fmla="*/ 1063 w 1137"/>
                <a:gd name="T27" fmla="*/ 0 h 2229"/>
                <a:gd name="T28" fmla="*/ 1063 w 1137"/>
                <a:gd name="T29" fmla="*/ 0 h 2229"/>
                <a:gd name="T30" fmla="*/ 74 w 1137"/>
                <a:gd name="T31" fmla="*/ 0 h 2229"/>
                <a:gd name="T32" fmla="*/ 0 w 1137"/>
                <a:gd name="T33" fmla="*/ 75 h 2229"/>
                <a:gd name="T34" fmla="*/ 0 w 1137"/>
                <a:gd name="T35" fmla="*/ 2154 h 2229"/>
                <a:gd name="T36" fmla="*/ 74 w 1137"/>
                <a:gd name="T37" fmla="*/ 2229 h 2229"/>
                <a:gd name="T38" fmla="*/ 423 w 1137"/>
                <a:gd name="T39" fmla="*/ 2229 h 2229"/>
                <a:gd name="T40" fmla="*/ 497 w 1137"/>
                <a:gd name="T41" fmla="*/ 2159 h 2229"/>
                <a:gd name="T42" fmla="*/ 572 w 1137"/>
                <a:gd name="T43" fmla="*/ 879 h 2229"/>
                <a:gd name="T44" fmla="*/ 647 w 1137"/>
                <a:gd name="T45" fmla="*/ 2159 h 2229"/>
                <a:gd name="T46" fmla="*/ 721 w 1137"/>
                <a:gd name="T47" fmla="*/ 2229 h 2229"/>
                <a:gd name="T48" fmla="*/ 1063 w 1137"/>
                <a:gd name="T49" fmla="*/ 2229 h 2229"/>
                <a:gd name="T50" fmla="*/ 1137 w 1137"/>
                <a:gd name="T51" fmla="*/ 2154 h 2229"/>
                <a:gd name="T52" fmla="*/ 1137 w 1137"/>
                <a:gd name="T53" fmla="*/ 75 h 2229"/>
                <a:gd name="T54" fmla="*/ 1063 w 1137"/>
                <a:gd name="T55" fmla="*/ 0 h 2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37" h="2229">
                  <a:moveTo>
                    <a:pt x="637" y="648"/>
                  </a:moveTo>
                  <a:lnTo>
                    <a:pt x="637" y="648"/>
                  </a:lnTo>
                  <a:lnTo>
                    <a:pt x="507" y="648"/>
                  </a:lnTo>
                  <a:cubicBezTo>
                    <a:pt x="468" y="648"/>
                    <a:pt x="435" y="679"/>
                    <a:pt x="433" y="718"/>
                  </a:cubicBezTo>
                  <a:lnTo>
                    <a:pt x="353" y="2080"/>
                  </a:lnTo>
                  <a:lnTo>
                    <a:pt x="148" y="2080"/>
                  </a:lnTo>
                  <a:lnTo>
                    <a:pt x="148" y="166"/>
                  </a:lnTo>
                  <a:lnTo>
                    <a:pt x="988" y="166"/>
                  </a:lnTo>
                  <a:lnTo>
                    <a:pt x="988" y="2080"/>
                  </a:lnTo>
                  <a:lnTo>
                    <a:pt x="791" y="2080"/>
                  </a:lnTo>
                  <a:lnTo>
                    <a:pt x="711" y="718"/>
                  </a:lnTo>
                  <a:cubicBezTo>
                    <a:pt x="709" y="679"/>
                    <a:pt x="676" y="648"/>
                    <a:pt x="637" y="648"/>
                  </a:cubicBezTo>
                  <a:lnTo>
                    <a:pt x="637" y="648"/>
                  </a:lnTo>
                  <a:close/>
                  <a:moveTo>
                    <a:pt x="1063" y="0"/>
                  </a:moveTo>
                  <a:lnTo>
                    <a:pt x="1063" y="0"/>
                  </a:lnTo>
                  <a:lnTo>
                    <a:pt x="74" y="0"/>
                  </a:lnTo>
                  <a:cubicBezTo>
                    <a:pt x="33" y="0"/>
                    <a:pt x="0" y="34"/>
                    <a:pt x="0" y="75"/>
                  </a:cubicBezTo>
                  <a:lnTo>
                    <a:pt x="0" y="2154"/>
                  </a:lnTo>
                  <a:cubicBezTo>
                    <a:pt x="0" y="2195"/>
                    <a:pt x="33" y="2229"/>
                    <a:pt x="74" y="2229"/>
                  </a:cubicBezTo>
                  <a:lnTo>
                    <a:pt x="423" y="2229"/>
                  </a:lnTo>
                  <a:cubicBezTo>
                    <a:pt x="462" y="2229"/>
                    <a:pt x="495" y="2198"/>
                    <a:pt x="497" y="2159"/>
                  </a:cubicBezTo>
                  <a:lnTo>
                    <a:pt x="572" y="879"/>
                  </a:lnTo>
                  <a:lnTo>
                    <a:pt x="647" y="2159"/>
                  </a:lnTo>
                  <a:cubicBezTo>
                    <a:pt x="650" y="2198"/>
                    <a:pt x="682" y="2229"/>
                    <a:pt x="721" y="2229"/>
                  </a:cubicBezTo>
                  <a:lnTo>
                    <a:pt x="1063" y="2229"/>
                  </a:lnTo>
                  <a:cubicBezTo>
                    <a:pt x="1103" y="2229"/>
                    <a:pt x="1137" y="2195"/>
                    <a:pt x="1137" y="2154"/>
                  </a:cubicBezTo>
                  <a:lnTo>
                    <a:pt x="1137" y="75"/>
                  </a:lnTo>
                  <a:cubicBezTo>
                    <a:pt x="1137" y="34"/>
                    <a:pt x="1103" y="0"/>
                    <a:pt x="106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7">
              <a:extLst>
                <a:ext uri="{FF2B5EF4-FFF2-40B4-BE49-F238E27FC236}">
                  <a16:creationId xmlns:a16="http://schemas.microsoft.com/office/drawing/2014/main" id="{0D85AD01-D6E2-43C3-B2C2-043564938A09}"/>
                </a:ext>
              </a:extLst>
            </p:cNvPr>
            <p:cNvSpPr>
              <a:spLocks/>
            </p:cNvSpPr>
            <p:nvPr/>
          </p:nvSpPr>
          <p:spPr bwMode="auto">
            <a:xfrm>
              <a:off x="7980363" y="2547938"/>
              <a:ext cx="303213" cy="298450"/>
            </a:xfrm>
            <a:custGeom>
              <a:avLst/>
              <a:gdLst>
                <a:gd name="T0" fmla="*/ 244 w 318"/>
                <a:gd name="T1" fmla="*/ 312 h 312"/>
                <a:gd name="T2" fmla="*/ 244 w 318"/>
                <a:gd name="T3" fmla="*/ 312 h 312"/>
                <a:gd name="T4" fmla="*/ 292 w 318"/>
                <a:gd name="T5" fmla="*/ 292 h 312"/>
                <a:gd name="T6" fmla="*/ 292 w 318"/>
                <a:gd name="T7" fmla="*/ 197 h 312"/>
                <a:gd name="T8" fmla="*/ 121 w 318"/>
                <a:gd name="T9" fmla="*/ 27 h 312"/>
                <a:gd name="T10" fmla="*/ 26 w 318"/>
                <a:gd name="T11" fmla="*/ 27 h 312"/>
                <a:gd name="T12" fmla="*/ 26 w 318"/>
                <a:gd name="T13" fmla="*/ 122 h 312"/>
                <a:gd name="T14" fmla="*/ 196 w 318"/>
                <a:gd name="T15" fmla="*/ 292 h 312"/>
                <a:gd name="T16" fmla="*/ 244 w 318"/>
                <a:gd name="T17" fmla="*/ 3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8" h="312">
                  <a:moveTo>
                    <a:pt x="244" y="312"/>
                  </a:moveTo>
                  <a:lnTo>
                    <a:pt x="244" y="312"/>
                  </a:lnTo>
                  <a:cubicBezTo>
                    <a:pt x="262" y="312"/>
                    <a:pt x="279" y="305"/>
                    <a:pt x="292" y="292"/>
                  </a:cubicBezTo>
                  <a:cubicBezTo>
                    <a:pt x="318" y="266"/>
                    <a:pt x="318" y="223"/>
                    <a:pt x="292" y="197"/>
                  </a:cubicBezTo>
                  <a:lnTo>
                    <a:pt x="121" y="27"/>
                  </a:lnTo>
                  <a:cubicBezTo>
                    <a:pt x="95" y="0"/>
                    <a:pt x="52" y="0"/>
                    <a:pt x="26" y="27"/>
                  </a:cubicBezTo>
                  <a:cubicBezTo>
                    <a:pt x="0" y="53"/>
                    <a:pt x="0" y="96"/>
                    <a:pt x="26" y="122"/>
                  </a:cubicBezTo>
                  <a:lnTo>
                    <a:pt x="196" y="292"/>
                  </a:lnTo>
                  <a:cubicBezTo>
                    <a:pt x="209" y="305"/>
                    <a:pt x="226" y="312"/>
                    <a:pt x="244" y="3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8">
              <a:extLst>
                <a:ext uri="{FF2B5EF4-FFF2-40B4-BE49-F238E27FC236}">
                  <a16:creationId xmlns:a16="http://schemas.microsoft.com/office/drawing/2014/main" id="{112CAD27-F11C-4EB2-8E52-765F7D6E5E76}"/>
                </a:ext>
              </a:extLst>
            </p:cNvPr>
            <p:cNvSpPr>
              <a:spLocks/>
            </p:cNvSpPr>
            <p:nvPr/>
          </p:nvSpPr>
          <p:spPr bwMode="auto">
            <a:xfrm>
              <a:off x="7527925" y="2555875"/>
              <a:ext cx="298450" cy="292100"/>
            </a:xfrm>
            <a:custGeom>
              <a:avLst/>
              <a:gdLst>
                <a:gd name="T0" fmla="*/ 245 w 312"/>
                <a:gd name="T1" fmla="*/ 0 h 306"/>
                <a:gd name="T2" fmla="*/ 245 w 312"/>
                <a:gd name="T3" fmla="*/ 0 h 306"/>
                <a:gd name="T4" fmla="*/ 197 w 312"/>
                <a:gd name="T5" fmla="*/ 20 h 306"/>
                <a:gd name="T6" fmla="*/ 27 w 312"/>
                <a:gd name="T7" fmla="*/ 191 h 306"/>
                <a:gd name="T8" fmla="*/ 27 w 312"/>
                <a:gd name="T9" fmla="*/ 286 h 306"/>
                <a:gd name="T10" fmla="*/ 74 w 312"/>
                <a:gd name="T11" fmla="*/ 306 h 306"/>
                <a:gd name="T12" fmla="*/ 122 w 312"/>
                <a:gd name="T13" fmla="*/ 286 h 306"/>
                <a:gd name="T14" fmla="*/ 292 w 312"/>
                <a:gd name="T15" fmla="*/ 115 h 306"/>
                <a:gd name="T16" fmla="*/ 312 w 312"/>
                <a:gd name="T17" fmla="*/ 68 h 306"/>
                <a:gd name="T18" fmla="*/ 292 w 312"/>
                <a:gd name="T19" fmla="*/ 20 h 306"/>
                <a:gd name="T20" fmla="*/ 245 w 312"/>
                <a:gd name="T21"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 h="306">
                  <a:moveTo>
                    <a:pt x="245" y="0"/>
                  </a:moveTo>
                  <a:lnTo>
                    <a:pt x="245" y="0"/>
                  </a:lnTo>
                  <a:cubicBezTo>
                    <a:pt x="227" y="0"/>
                    <a:pt x="210" y="7"/>
                    <a:pt x="197" y="20"/>
                  </a:cubicBezTo>
                  <a:lnTo>
                    <a:pt x="27" y="191"/>
                  </a:lnTo>
                  <a:cubicBezTo>
                    <a:pt x="0" y="217"/>
                    <a:pt x="0" y="260"/>
                    <a:pt x="27" y="286"/>
                  </a:cubicBezTo>
                  <a:cubicBezTo>
                    <a:pt x="39" y="299"/>
                    <a:pt x="56" y="306"/>
                    <a:pt x="74" y="306"/>
                  </a:cubicBezTo>
                  <a:cubicBezTo>
                    <a:pt x="92" y="306"/>
                    <a:pt x="109" y="299"/>
                    <a:pt x="122" y="286"/>
                  </a:cubicBezTo>
                  <a:lnTo>
                    <a:pt x="292" y="115"/>
                  </a:lnTo>
                  <a:cubicBezTo>
                    <a:pt x="305" y="103"/>
                    <a:pt x="312" y="86"/>
                    <a:pt x="312" y="68"/>
                  </a:cubicBezTo>
                  <a:cubicBezTo>
                    <a:pt x="312" y="50"/>
                    <a:pt x="305" y="33"/>
                    <a:pt x="292" y="20"/>
                  </a:cubicBezTo>
                  <a:cubicBezTo>
                    <a:pt x="280" y="7"/>
                    <a:pt x="263" y="0"/>
                    <a:pt x="24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43" name="Group 242">
            <a:extLst>
              <a:ext uri="{FF2B5EF4-FFF2-40B4-BE49-F238E27FC236}">
                <a16:creationId xmlns:a16="http://schemas.microsoft.com/office/drawing/2014/main" id="{2ED23EBE-8D9E-45C3-918B-E0D5C0469F84}"/>
              </a:ext>
            </a:extLst>
          </p:cNvPr>
          <p:cNvGrpSpPr/>
          <p:nvPr/>
        </p:nvGrpSpPr>
        <p:grpSpPr>
          <a:xfrm>
            <a:off x="3171616" y="3269232"/>
            <a:ext cx="366989" cy="368407"/>
            <a:chOff x="2647950" y="1784350"/>
            <a:chExt cx="3286125" cy="3298825"/>
          </a:xfrm>
          <a:solidFill>
            <a:schemeClr val="bg2"/>
          </a:solidFill>
        </p:grpSpPr>
        <p:sp>
          <p:nvSpPr>
            <p:cNvPr id="244" name="Freeform 9">
              <a:extLst>
                <a:ext uri="{FF2B5EF4-FFF2-40B4-BE49-F238E27FC236}">
                  <a16:creationId xmlns:a16="http://schemas.microsoft.com/office/drawing/2014/main" id="{BF57B721-5E4C-4E24-BC1C-7D4184E7B0C5}"/>
                </a:ext>
              </a:extLst>
            </p:cNvPr>
            <p:cNvSpPr>
              <a:spLocks noEditPoints="1"/>
            </p:cNvSpPr>
            <p:nvPr/>
          </p:nvSpPr>
          <p:spPr bwMode="auto">
            <a:xfrm>
              <a:off x="3889375" y="2508250"/>
              <a:ext cx="801688" cy="1831975"/>
            </a:xfrm>
            <a:custGeom>
              <a:avLst/>
              <a:gdLst>
                <a:gd name="T0" fmla="*/ 57 w 841"/>
                <a:gd name="T1" fmla="*/ 240 h 1914"/>
                <a:gd name="T2" fmla="*/ 57 w 841"/>
                <a:gd name="T3" fmla="*/ 240 h 1914"/>
                <a:gd name="T4" fmla="*/ 228 w 841"/>
                <a:gd name="T5" fmla="*/ 69 h 1914"/>
                <a:gd name="T6" fmla="*/ 275 w 841"/>
                <a:gd name="T7" fmla="*/ 49 h 1914"/>
                <a:gd name="T8" fmla="*/ 323 w 841"/>
                <a:gd name="T9" fmla="*/ 69 h 1914"/>
                <a:gd name="T10" fmla="*/ 343 w 841"/>
                <a:gd name="T11" fmla="*/ 117 h 1914"/>
                <a:gd name="T12" fmla="*/ 323 w 841"/>
                <a:gd name="T13" fmla="*/ 164 h 1914"/>
                <a:gd name="T14" fmla="*/ 152 w 841"/>
                <a:gd name="T15" fmla="*/ 335 h 1914"/>
                <a:gd name="T16" fmla="*/ 105 w 841"/>
                <a:gd name="T17" fmla="*/ 355 h 1914"/>
                <a:gd name="T18" fmla="*/ 57 w 841"/>
                <a:gd name="T19" fmla="*/ 335 h 1914"/>
                <a:gd name="T20" fmla="*/ 57 w 841"/>
                <a:gd name="T21" fmla="*/ 240 h 1914"/>
                <a:gd name="T22" fmla="*/ 57 w 841"/>
                <a:gd name="T23" fmla="*/ 240 h 1914"/>
                <a:gd name="T24" fmla="*/ 529 w 841"/>
                <a:gd name="T25" fmla="*/ 69 h 1914"/>
                <a:gd name="T26" fmla="*/ 529 w 841"/>
                <a:gd name="T27" fmla="*/ 69 h 1914"/>
                <a:gd name="T28" fmla="*/ 625 w 841"/>
                <a:gd name="T29" fmla="*/ 69 h 1914"/>
                <a:gd name="T30" fmla="*/ 795 w 841"/>
                <a:gd name="T31" fmla="*/ 239 h 1914"/>
                <a:gd name="T32" fmla="*/ 795 w 841"/>
                <a:gd name="T33" fmla="*/ 334 h 1914"/>
                <a:gd name="T34" fmla="*/ 747 w 841"/>
                <a:gd name="T35" fmla="*/ 354 h 1914"/>
                <a:gd name="T36" fmla="*/ 700 w 841"/>
                <a:gd name="T37" fmla="*/ 334 h 1914"/>
                <a:gd name="T38" fmla="*/ 529 w 841"/>
                <a:gd name="T39" fmla="*/ 164 h 1914"/>
                <a:gd name="T40" fmla="*/ 529 w 841"/>
                <a:gd name="T41" fmla="*/ 69 h 1914"/>
                <a:gd name="T42" fmla="*/ 529 w 841"/>
                <a:gd name="T43" fmla="*/ 69 h 1914"/>
                <a:gd name="T44" fmla="*/ 0 w 841"/>
                <a:gd name="T45" fmla="*/ 1914 h 1914"/>
                <a:gd name="T46" fmla="*/ 0 w 841"/>
                <a:gd name="T47" fmla="*/ 1914 h 1914"/>
                <a:gd name="T48" fmla="*/ 206 w 841"/>
                <a:gd name="T49" fmla="*/ 1914 h 1914"/>
                <a:gd name="T50" fmla="*/ 286 w 841"/>
                <a:gd name="T51" fmla="*/ 552 h 1914"/>
                <a:gd name="T52" fmla="*/ 360 w 841"/>
                <a:gd name="T53" fmla="*/ 482 h 1914"/>
                <a:gd name="T54" fmla="*/ 490 w 841"/>
                <a:gd name="T55" fmla="*/ 482 h 1914"/>
                <a:gd name="T56" fmla="*/ 564 w 841"/>
                <a:gd name="T57" fmla="*/ 552 h 1914"/>
                <a:gd name="T58" fmla="*/ 644 w 841"/>
                <a:gd name="T59" fmla="*/ 1914 h 1914"/>
                <a:gd name="T60" fmla="*/ 841 w 841"/>
                <a:gd name="T61" fmla="*/ 1914 h 1914"/>
                <a:gd name="T62" fmla="*/ 841 w 841"/>
                <a:gd name="T63" fmla="*/ 0 h 1914"/>
                <a:gd name="T64" fmla="*/ 0 w 841"/>
                <a:gd name="T65" fmla="*/ 0 h 1914"/>
                <a:gd name="T66" fmla="*/ 0 w 841"/>
                <a:gd name="T67" fmla="*/ 1914 h 1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1" h="1914">
                  <a:moveTo>
                    <a:pt x="57" y="240"/>
                  </a:moveTo>
                  <a:lnTo>
                    <a:pt x="57" y="240"/>
                  </a:lnTo>
                  <a:lnTo>
                    <a:pt x="228" y="69"/>
                  </a:lnTo>
                  <a:cubicBezTo>
                    <a:pt x="240" y="56"/>
                    <a:pt x="257" y="49"/>
                    <a:pt x="275" y="49"/>
                  </a:cubicBezTo>
                  <a:cubicBezTo>
                    <a:pt x="293" y="49"/>
                    <a:pt x="310" y="56"/>
                    <a:pt x="323" y="69"/>
                  </a:cubicBezTo>
                  <a:cubicBezTo>
                    <a:pt x="336" y="82"/>
                    <a:pt x="343" y="99"/>
                    <a:pt x="343" y="117"/>
                  </a:cubicBezTo>
                  <a:cubicBezTo>
                    <a:pt x="343" y="135"/>
                    <a:pt x="336" y="152"/>
                    <a:pt x="323" y="164"/>
                  </a:cubicBezTo>
                  <a:lnTo>
                    <a:pt x="152" y="335"/>
                  </a:lnTo>
                  <a:cubicBezTo>
                    <a:pt x="140" y="348"/>
                    <a:pt x="123" y="355"/>
                    <a:pt x="105" y="355"/>
                  </a:cubicBezTo>
                  <a:cubicBezTo>
                    <a:pt x="87" y="355"/>
                    <a:pt x="70" y="348"/>
                    <a:pt x="57" y="335"/>
                  </a:cubicBezTo>
                  <a:cubicBezTo>
                    <a:pt x="31" y="309"/>
                    <a:pt x="31" y="266"/>
                    <a:pt x="57" y="240"/>
                  </a:cubicBezTo>
                  <a:lnTo>
                    <a:pt x="57" y="240"/>
                  </a:lnTo>
                  <a:close/>
                  <a:moveTo>
                    <a:pt x="529" y="69"/>
                  </a:moveTo>
                  <a:lnTo>
                    <a:pt x="529" y="69"/>
                  </a:lnTo>
                  <a:cubicBezTo>
                    <a:pt x="556" y="42"/>
                    <a:pt x="598" y="42"/>
                    <a:pt x="625" y="69"/>
                  </a:cubicBezTo>
                  <a:lnTo>
                    <a:pt x="795" y="239"/>
                  </a:lnTo>
                  <a:cubicBezTo>
                    <a:pt x="821" y="265"/>
                    <a:pt x="821" y="308"/>
                    <a:pt x="795" y="334"/>
                  </a:cubicBezTo>
                  <a:cubicBezTo>
                    <a:pt x="782" y="347"/>
                    <a:pt x="766" y="354"/>
                    <a:pt x="747" y="354"/>
                  </a:cubicBezTo>
                  <a:cubicBezTo>
                    <a:pt x="729" y="354"/>
                    <a:pt x="713" y="347"/>
                    <a:pt x="700" y="334"/>
                  </a:cubicBezTo>
                  <a:lnTo>
                    <a:pt x="529" y="164"/>
                  </a:lnTo>
                  <a:cubicBezTo>
                    <a:pt x="503" y="138"/>
                    <a:pt x="503" y="95"/>
                    <a:pt x="529" y="69"/>
                  </a:cubicBezTo>
                  <a:lnTo>
                    <a:pt x="529" y="69"/>
                  </a:lnTo>
                  <a:close/>
                  <a:moveTo>
                    <a:pt x="0" y="1914"/>
                  </a:moveTo>
                  <a:lnTo>
                    <a:pt x="0" y="1914"/>
                  </a:lnTo>
                  <a:lnTo>
                    <a:pt x="206" y="1914"/>
                  </a:lnTo>
                  <a:lnTo>
                    <a:pt x="286" y="552"/>
                  </a:lnTo>
                  <a:cubicBezTo>
                    <a:pt x="288" y="513"/>
                    <a:pt x="320" y="482"/>
                    <a:pt x="360" y="482"/>
                  </a:cubicBezTo>
                  <a:lnTo>
                    <a:pt x="490" y="482"/>
                  </a:lnTo>
                  <a:cubicBezTo>
                    <a:pt x="529" y="482"/>
                    <a:pt x="561" y="513"/>
                    <a:pt x="564" y="552"/>
                  </a:cubicBezTo>
                  <a:lnTo>
                    <a:pt x="644" y="1914"/>
                  </a:lnTo>
                  <a:lnTo>
                    <a:pt x="841" y="1914"/>
                  </a:lnTo>
                  <a:lnTo>
                    <a:pt x="841" y="0"/>
                  </a:lnTo>
                  <a:lnTo>
                    <a:pt x="0" y="0"/>
                  </a:lnTo>
                  <a:lnTo>
                    <a:pt x="0" y="191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0">
              <a:extLst>
                <a:ext uri="{FF2B5EF4-FFF2-40B4-BE49-F238E27FC236}">
                  <a16:creationId xmlns:a16="http://schemas.microsoft.com/office/drawing/2014/main" id="{41F7C59D-9B79-443E-B3A8-2F42802A7ABB}"/>
                </a:ext>
              </a:extLst>
            </p:cNvPr>
            <p:cNvSpPr>
              <a:spLocks noEditPoints="1"/>
            </p:cNvSpPr>
            <p:nvPr/>
          </p:nvSpPr>
          <p:spPr bwMode="auto">
            <a:xfrm>
              <a:off x="2647950" y="1784350"/>
              <a:ext cx="3286125" cy="3298825"/>
            </a:xfrm>
            <a:custGeom>
              <a:avLst/>
              <a:gdLst>
                <a:gd name="T0" fmla="*/ 2290 w 3444"/>
                <a:gd name="T1" fmla="*/ 2744 h 3445"/>
                <a:gd name="T2" fmla="*/ 2290 w 3444"/>
                <a:gd name="T3" fmla="*/ 2744 h 3445"/>
                <a:gd name="T4" fmla="*/ 2216 w 3444"/>
                <a:gd name="T5" fmla="*/ 2819 h 3445"/>
                <a:gd name="T6" fmla="*/ 1875 w 3444"/>
                <a:gd name="T7" fmla="*/ 2819 h 3445"/>
                <a:gd name="T8" fmla="*/ 1801 w 3444"/>
                <a:gd name="T9" fmla="*/ 2749 h 3445"/>
                <a:gd name="T10" fmla="*/ 1726 w 3444"/>
                <a:gd name="T11" fmla="*/ 1469 h 3445"/>
                <a:gd name="T12" fmla="*/ 1650 w 3444"/>
                <a:gd name="T13" fmla="*/ 2749 h 3445"/>
                <a:gd name="T14" fmla="*/ 1576 w 3444"/>
                <a:gd name="T15" fmla="*/ 2819 h 3445"/>
                <a:gd name="T16" fmla="*/ 1227 w 3444"/>
                <a:gd name="T17" fmla="*/ 2819 h 3445"/>
                <a:gd name="T18" fmla="*/ 1153 w 3444"/>
                <a:gd name="T19" fmla="*/ 2744 h 3445"/>
                <a:gd name="T20" fmla="*/ 1153 w 3444"/>
                <a:gd name="T21" fmla="*/ 665 h 3445"/>
                <a:gd name="T22" fmla="*/ 1227 w 3444"/>
                <a:gd name="T23" fmla="*/ 590 h 3445"/>
                <a:gd name="T24" fmla="*/ 2216 w 3444"/>
                <a:gd name="T25" fmla="*/ 590 h 3445"/>
                <a:gd name="T26" fmla="*/ 2290 w 3444"/>
                <a:gd name="T27" fmla="*/ 665 h 3445"/>
                <a:gd name="T28" fmla="*/ 2290 w 3444"/>
                <a:gd name="T29" fmla="*/ 2744 h 3445"/>
                <a:gd name="T30" fmla="*/ 2290 w 3444"/>
                <a:gd name="T31" fmla="*/ 2744 h 3445"/>
                <a:gd name="T32" fmla="*/ 1722 w 3444"/>
                <a:gd name="T33" fmla="*/ 0 h 3445"/>
                <a:gd name="T34" fmla="*/ 1722 w 3444"/>
                <a:gd name="T35" fmla="*/ 0 h 3445"/>
                <a:gd name="T36" fmla="*/ 0 w 3444"/>
                <a:gd name="T37" fmla="*/ 1722 h 3445"/>
                <a:gd name="T38" fmla="*/ 1722 w 3444"/>
                <a:gd name="T39" fmla="*/ 3445 h 3445"/>
                <a:gd name="T40" fmla="*/ 3444 w 3444"/>
                <a:gd name="T41" fmla="*/ 1722 h 3445"/>
                <a:gd name="T42" fmla="*/ 1722 w 3444"/>
                <a:gd name="T43" fmla="*/ 0 h 3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44" h="3445">
                  <a:moveTo>
                    <a:pt x="2290" y="2744"/>
                  </a:moveTo>
                  <a:lnTo>
                    <a:pt x="2290" y="2744"/>
                  </a:lnTo>
                  <a:cubicBezTo>
                    <a:pt x="2290" y="2785"/>
                    <a:pt x="2257" y="2819"/>
                    <a:pt x="2216" y="2819"/>
                  </a:cubicBezTo>
                  <a:lnTo>
                    <a:pt x="1875" y="2819"/>
                  </a:lnTo>
                  <a:cubicBezTo>
                    <a:pt x="1836" y="2819"/>
                    <a:pt x="1803" y="2788"/>
                    <a:pt x="1801" y="2749"/>
                  </a:cubicBezTo>
                  <a:lnTo>
                    <a:pt x="1726" y="1469"/>
                  </a:lnTo>
                  <a:lnTo>
                    <a:pt x="1650" y="2749"/>
                  </a:lnTo>
                  <a:cubicBezTo>
                    <a:pt x="1648" y="2788"/>
                    <a:pt x="1616" y="2819"/>
                    <a:pt x="1576" y="2819"/>
                  </a:cubicBezTo>
                  <a:lnTo>
                    <a:pt x="1227" y="2819"/>
                  </a:lnTo>
                  <a:cubicBezTo>
                    <a:pt x="1186" y="2819"/>
                    <a:pt x="1153" y="2785"/>
                    <a:pt x="1153" y="2744"/>
                  </a:cubicBezTo>
                  <a:lnTo>
                    <a:pt x="1153" y="665"/>
                  </a:lnTo>
                  <a:cubicBezTo>
                    <a:pt x="1153" y="624"/>
                    <a:pt x="1186" y="590"/>
                    <a:pt x="1227" y="590"/>
                  </a:cubicBezTo>
                  <a:lnTo>
                    <a:pt x="2216" y="590"/>
                  </a:lnTo>
                  <a:cubicBezTo>
                    <a:pt x="2257" y="590"/>
                    <a:pt x="2290" y="624"/>
                    <a:pt x="2290" y="665"/>
                  </a:cubicBezTo>
                  <a:lnTo>
                    <a:pt x="2290" y="2744"/>
                  </a:lnTo>
                  <a:lnTo>
                    <a:pt x="2290" y="2744"/>
                  </a:lnTo>
                  <a:close/>
                  <a:moveTo>
                    <a:pt x="1722" y="0"/>
                  </a:moveTo>
                  <a:lnTo>
                    <a:pt x="1722" y="0"/>
                  </a:lnTo>
                  <a:cubicBezTo>
                    <a:pt x="766" y="0"/>
                    <a:pt x="0" y="767"/>
                    <a:pt x="0" y="1722"/>
                  </a:cubicBezTo>
                  <a:cubicBezTo>
                    <a:pt x="0" y="2670"/>
                    <a:pt x="766" y="3445"/>
                    <a:pt x="1722" y="3445"/>
                  </a:cubicBezTo>
                  <a:cubicBezTo>
                    <a:pt x="2670" y="3445"/>
                    <a:pt x="3444" y="2670"/>
                    <a:pt x="3444" y="1722"/>
                  </a:cubicBezTo>
                  <a:cubicBezTo>
                    <a:pt x="3444" y="767"/>
                    <a:pt x="2670" y="0"/>
                    <a:pt x="172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57" name="TextBox 256">
            <a:extLst>
              <a:ext uri="{FF2B5EF4-FFF2-40B4-BE49-F238E27FC236}">
                <a16:creationId xmlns:a16="http://schemas.microsoft.com/office/drawing/2014/main" id="{C6DA2323-C2DE-4F33-985E-CD56594A42C5}"/>
              </a:ext>
            </a:extLst>
          </p:cNvPr>
          <p:cNvSpPr txBox="1"/>
          <p:nvPr/>
        </p:nvSpPr>
        <p:spPr>
          <a:xfrm>
            <a:off x="3145392" y="373291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Pants</a:t>
            </a:r>
            <a:br>
              <a:rPr lang="en-US" sz="1000" dirty="0">
                <a:solidFill>
                  <a:srgbClr val="313131"/>
                </a:solidFill>
              </a:rPr>
            </a:br>
            <a:r>
              <a:rPr lang="en-US" sz="1000" dirty="0">
                <a:solidFill>
                  <a:srgbClr val="313131"/>
                </a:solidFill>
              </a:rPr>
              <a:t>Trousers</a:t>
            </a:r>
          </a:p>
        </p:txBody>
      </p:sp>
      <p:grpSp>
        <p:nvGrpSpPr>
          <p:cNvPr id="258" name="Group 257">
            <a:extLst>
              <a:ext uri="{FF2B5EF4-FFF2-40B4-BE49-F238E27FC236}">
                <a16:creationId xmlns:a16="http://schemas.microsoft.com/office/drawing/2014/main" id="{11105B64-C1A4-4189-B6ED-85311DB105B2}"/>
              </a:ext>
            </a:extLst>
          </p:cNvPr>
          <p:cNvGrpSpPr/>
          <p:nvPr/>
        </p:nvGrpSpPr>
        <p:grpSpPr>
          <a:xfrm>
            <a:off x="2685028" y="3283841"/>
            <a:ext cx="357339" cy="358065"/>
            <a:chOff x="1193800" y="1087438"/>
            <a:chExt cx="4684713" cy="4694238"/>
          </a:xfrm>
          <a:solidFill>
            <a:schemeClr val="bg2"/>
          </a:solidFill>
        </p:grpSpPr>
        <p:sp>
          <p:nvSpPr>
            <p:cNvPr id="259" name="Freeform 5">
              <a:extLst>
                <a:ext uri="{FF2B5EF4-FFF2-40B4-BE49-F238E27FC236}">
                  <a16:creationId xmlns:a16="http://schemas.microsoft.com/office/drawing/2014/main" id="{1FDA54D2-E42E-4DC5-BE79-9DFA4D4199A2}"/>
                </a:ext>
              </a:extLst>
            </p:cNvPr>
            <p:cNvSpPr>
              <a:spLocks noEditPoints="1"/>
            </p:cNvSpPr>
            <p:nvPr/>
          </p:nvSpPr>
          <p:spPr bwMode="auto">
            <a:xfrm>
              <a:off x="2179638" y="1998663"/>
              <a:ext cx="2714625" cy="2717800"/>
            </a:xfrm>
            <a:custGeom>
              <a:avLst/>
              <a:gdLst>
                <a:gd name="T0" fmla="*/ 1176 w 2846"/>
                <a:gd name="T1" fmla="*/ 2325 h 2845"/>
                <a:gd name="T2" fmla="*/ 458 w 2846"/>
                <a:gd name="T3" fmla="*/ 1420 h 2845"/>
                <a:gd name="T4" fmla="*/ 562 w 2846"/>
                <a:gd name="T5" fmla="*/ 1396 h 2845"/>
                <a:gd name="T6" fmla="*/ 665 w 2846"/>
                <a:gd name="T7" fmla="*/ 1339 h 2845"/>
                <a:gd name="T8" fmla="*/ 740 w 2846"/>
                <a:gd name="T9" fmla="*/ 1267 h 2845"/>
                <a:gd name="T10" fmla="*/ 794 w 2846"/>
                <a:gd name="T11" fmla="*/ 1299 h 2845"/>
                <a:gd name="T12" fmla="*/ 888 w 2846"/>
                <a:gd name="T13" fmla="*/ 1371 h 2845"/>
                <a:gd name="T14" fmla="*/ 985 w 2846"/>
                <a:gd name="T15" fmla="*/ 1409 h 2845"/>
                <a:gd name="T16" fmla="*/ 1110 w 2846"/>
                <a:gd name="T17" fmla="*/ 1422 h 2845"/>
                <a:gd name="T18" fmla="*/ 1229 w 2846"/>
                <a:gd name="T19" fmla="*/ 1397 h 2845"/>
                <a:gd name="T20" fmla="*/ 1322 w 2846"/>
                <a:gd name="T21" fmla="*/ 1349 h 2845"/>
                <a:gd name="T22" fmla="*/ 1409 w 2846"/>
                <a:gd name="T23" fmla="*/ 1269 h 2845"/>
                <a:gd name="T24" fmla="*/ 1462 w 2846"/>
                <a:gd name="T25" fmla="*/ 1298 h 2845"/>
                <a:gd name="T26" fmla="*/ 1543 w 2846"/>
                <a:gd name="T27" fmla="*/ 1362 h 2845"/>
                <a:gd name="T28" fmla="*/ 1652 w 2846"/>
                <a:gd name="T29" fmla="*/ 1409 h 2845"/>
                <a:gd name="T30" fmla="*/ 1777 w 2846"/>
                <a:gd name="T31" fmla="*/ 1422 h 2845"/>
                <a:gd name="T32" fmla="*/ 1883 w 2846"/>
                <a:gd name="T33" fmla="*/ 1403 h 2845"/>
                <a:gd name="T34" fmla="*/ 1990 w 2846"/>
                <a:gd name="T35" fmla="*/ 1350 h 2845"/>
                <a:gd name="T36" fmla="*/ 2068 w 2846"/>
                <a:gd name="T37" fmla="*/ 1282 h 2845"/>
                <a:gd name="T38" fmla="*/ 2121 w 2846"/>
                <a:gd name="T39" fmla="*/ 1285 h 2845"/>
                <a:gd name="T40" fmla="*/ 2210 w 2846"/>
                <a:gd name="T41" fmla="*/ 1360 h 2845"/>
                <a:gd name="T42" fmla="*/ 2304 w 2846"/>
                <a:gd name="T43" fmla="*/ 1403 h 2845"/>
                <a:gd name="T44" fmla="*/ 2428 w 2846"/>
                <a:gd name="T45" fmla="*/ 1422 h 2845"/>
                <a:gd name="T46" fmla="*/ 417 w 2846"/>
                <a:gd name="T47" fmla="*/ 1422 h 2845"/>
                <a:gd name="T48" fmla="*/ 649 w 2846"/>
                <a:gd name="T49" fmla="*/ 1102 h 2845"/>
                <a:gd name="T50" fmla="*/ 614 w 2846"/>
                <a:gd name="T51" fmla="*/ 1162 h 2845"/>
                <a:gd name="T52" fmla="*/ 567 w 2846"/>
                <a:gd name="T53" fmla="*/ 1208 h 2845"/>
                <a:gd name="T54" fmla="*/ 506 w 2846"/>
                <a:gd name="T55" fmla="*/ 1242 h 2845"/>
                <a:gd name="T56" fmla="*/ 441 w 2846"/>
                <a:gd name="T57" fmla="*/ 1257 h 2845"/>
                <a:gd name="T58" fmla="*/ 507 w 2846"/>
                <a:gd name="T59" fmla="*/ 482 h 2845"/>
                <a:gd name="T60" fmla="*/ 507 w 2846"/>
                <a:gd name="T61" fmla="*/ 482 h 2845"/>
                <a:gd name="T62" fmla="*/ 1309 w 2846"/>
                <a:gd name="T63" fmla="*/ 1124 h 2845"/>
                <a:gd name="T64" fmla="*/ 1268 w 2846"/>
                <a:gd name="T65" fmla="*/ 1180 h 2845"/>
                <a:gd name="T66" fmla="*/ 1218 w 2846"/>
                <a:gd name="T67" fmla="*/ 1221 h 2845"/>
                <a:gd name="T68" fmla="*/ 1151 w 2846"/>
                <a:gd name="T69" fmla="*/ 1250 h 2845"/>
                <a:gd name="T70" fmla="*/ 1075 w 2846"/>
                <a:gd name="T71" fmla="*/ 1258 h 2845"/>
                <a:gd name="T72" fmla="*/ 1010 w 2846"/>
                <a:gd name="T73" fmla="*/ 1246 h 2845"/>
                <a:gd name="T74" fmla="*/ 947 w 2846"/>
                <a:gd name="T75" fmla="*/ 1215 h 2845"/>
                <a:gd name="T76" fmla="*/ 899 w 2846"/>
                <a:gd name="T77" fmla="*/ 1171 h 2845"/>
                <a:gd name="T78" fmla="*/ 860 w 2846"/>
                <a:gd name="T79" fmla="*/ 1113 h 2845"/>
                <a:gd name="T80" fmla="*/ 1329 w 2846"/>
                <a:gd name="T81" fmla="*/ 1076 h 2845"/>
                <a:gd name="T82" fmla="*/ 1979 w 2846"/>
                <a:gd name="T83" fmla="*/ 1124 h 2845"/>
                <a:gd name="T84" fmla="*/ 1938 w 2846"/>
                <a:gd name="T85" fmla="*/ 1180 h 2845"/>
                <a:gd name="T86" fmla="*/ 1888 w 2846"/>
                <a:gd name="T87" fmla="*/ 1221 h 2845"/>
                <a:gd name="T88" fmla="*/ 1821 w 2846"/>
                <a:gd name="T89" fmla="*/ 1250 h 2845"/>
                <a:gd name="T90" fmla="*/ 1746 w 2846"/>
                <a:gd name="T91" fmla="*/ 1258 h 2845"/>
                <a:gd name="T92" fmla="*/ 1680 w 2846"/>
                <a:gd name="T93" fmla="*/ 1246 h 2845"/>
                <a:gd name="T94" fmla="*/ 1618 w 2846"/>
                <a:gd name="T95" fmla="*/ 1215 h 2845"/>
                <a:gd name="T96" fmla="*/ 1569 w 2846"/>
                <a:gd name="T97" fmla="*/ 1171 h 2845"/>
                <a:gd name="T98" fmla="*/ 1531 w 2846"/>
                <a:gd name="T99" fmla="*/ 1113 h 2845"/>
                <a:gd name="T100" fmla="*/ 1999 w 2846"/>
                <a:gd name="T101" fmla="*/ 1076 h 2845"/>
                <a:gd name="T102" fmla="*/ 2404 w 2846"/>
                <a:gd name="T103" fmla="*/ 1257 h 2845"/>
                <a:gd name="T104" fmla="*/ 2339 w 2846"/>
                <a:gd name="T105" fmla="*/ 1242 h 2845"/>
                <a:gd name="T106" fmla="*/ 2278 w 2846"/>
                <a:gd name="T107" fmla="*/ 1208 h 2845"/>
                <a:gd name="T108" fmla="*/ 2232 w 2846"/>
                <a:gd name="T109" fmla="*/ 1162 h 2845"/>
                <a:gd name="T110" fmla="*/ 2196 w 2846"/>
                <a:gd name="T111" fmla="*/ 1102 h 2845"/>
                <a:gd name="T112" fmla="*/ 2599 w 2846"/>
                <a:gd name="T113" fmla="*/ 2326 h 2845"/>
                <a:gd name="T114" fmla="*/ 602 w 2846"/>
                <a:gd name="T115" fmla="*/ 0 h 2845"/>
                <a:gd name="T116" fmla="*/ 2585 w 2846"/>
                <a:gd name="T117" fmla="*/ 2845 h 2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46" h="2845">
                  <a:moveTo>
                    <a:pt x="2585" y="2681"/>
                  </a:moveTo>
                  <a:lnTo>
                    <a:pt x="2585" y="2681"/>
                  </a:lnTo>
                  <a:lnTo>
                    <a:pt x="260" y="2681"/>
                  </a:lnTo>
                  <a:cubicBezTo>
                    <a:pt x="207" y="2681"/>
                    <a:pt x="164" y="2638"/>
                    <a:pt x="164" y="2585"/>
                  </a:cubicBezTo>
                  <a:cubicBezTo>
                    <a:pt x="164" y="2532"/>
                    <a:pt x="207" y="2489"/>
                    <a:pt x="260" y="2489"/>
                  </a:cubicBezTo>
                  <a:lnTo>
                    <a:pt x="2585" y="2489"/>
                  </a:lnTo>
                  <a:cubicBezTo>
                    <a:pt x="2638" y="2489"/>
                    <a:pt x="2681" y="2532"/>
                    <a:pt x="2681" y="2585"/>
                  </a:cubicBezTo>
                  <a:cubicBezTo>
                    <a:pt x="2681" y="2638"/>
                    <a:pt x="2638" y="2681"/>
                    <a:pt x="2585" y="2681"/>
                  </a:cubicBezTo>
                  <a:lnTo>
                    <a:pt x="2585" y="2681"/>
                  </a:lnTo>
                  <a:close/>
                  <a:moveTo>
                    <a:pt x="1176" y="2325"/>
                  </a:moveTo>
                  <a:lnTo>
                    <a:pt x="1176" y="2325"/>
                  </a:lnTo>
                  <a:lnTo>
                    <a:pt x="793" y="2325"/>
                  </a:lnTo>
                  <a:lnTo>
                    <a:pt x="793" y="1805"/>
                  </a:lnTo>
                  <a:cubicBezTo>
                    <a:pt x="793" y="1760"/>
                    <a:pt x="830" y="1723"/>
                    <a:pt x="875" y="1723"/>
                  </a:cubicBezTo>
                  <a:lnTo>
                    <a:pt x="1094" y="1723"/>
                  </a:lnTo>
                  <a:cubicBezTo>
                    <a:pt x="1140" y="1723"/>
                    <a:pt x="1176" y="1760"/>
                    <a:pt x="1176" y="1805"/>
                  </a:cubicBezTo>
                  <a:lnTo>
                    <a:pt x="1176" y="2325"/>
                  </a:lnTo>
                  <a:lnTo>
                    <a:pt x="1176" y="2325"/>
                  </a:lnTo>
                  <a:close/>
                  <a:moveTo>
                    <a:pt x="437" y="1422"/>
                  </a:moveTo>
                  <a:lnTo>
                    <a:pt x="437" y="1422"/>
                  </a:lnTo>
                  <a:cubicBezTo>
                    <a:pt x="438" y="1422"/>
                    <a:pt x="439" y="1422"/>
                    <a:pt x="440" y="1422"/>
                  </a:cubicBezTo>
                  <a:cubicBezTo>
                    <a:pt x="446" y="1421"/>
                    <a:pt x="452" y="1421"/>
                    <a:pt x="458" y="1420"/>
                  </a:cubicBezTo>
                  <a:cubicBezTo>
                    <a:pt x="460" y="1420"/>
                    <a:pt x="461" y="1420"/>
                    <a:pt x="462" y="1420"/>
                  </a:cubicBezTo>
                  <a:cubicBezTo>
                    <a:pt x="468" y="1419"/>
                    <a:pt x="474" y="1419"/>
                    <a:pt x="481" y="1418"/>
                  </a:cubicBezTo>
                  <a:cubicBezTo>
                    <a:pt x="481" y="1418"/>
                    <a:pt x="481" y="1417"/>
                    <a:pt x="481" y="1417"/>
                  </a:cubicBezTo>
                  <a:cubicBezTo>
                    <a:pt x="487" y="1416"/>
                    <a:pt x="493" y="1415"/>
                    <a:pt x="499" y="1414"/>
                  </a:cubicBezTo>
                  <a:cubicBezTo>
                    <a:pt x="500" y="1414"/>
                    <a:pt x="501" y="1414"/>
                    <a:pt x="502" y="1414"/>
                  </a:cubicBezTo>
                  <a:cubicBezTo>
                    <a:pt x="508" y="1412"/>
                    <a:pt x="514" y="1411"/>
                    <a:pt x="520" y="1409"/>
                  </a:cubicBezTo>
                  <a:cubicBezTo>
                    <a:pt x="521" y="1409"/>
                    <a:pt x="522" y="1409"/>
                    <a:pt x="523" y="1409"/>
                  </a:cubicBezTo>
                  <a:cubicBezTo>
                    <a:pt x="529" y="1407"/>
                    <a:pt x="535" y="1405"/>
                    <a:pt x="541" y="1403"/>
                  </a:cubicBezTo>
                  <a:cubicBezTo>
                    <a:pt x="541" y="1403"/>
                    <a:pt x="542" y="1403"/>
                    <a:pt x="542" y="1403"/>
                  </a:cubicBezTo>
                  <a:cubicBezTo>
                    <a:pt x="548" y="1401"/>
                    <a:pt x="553" y="1399"/>
                    <a:pt x="559" y="1397"/>
                  </a:cubicBezTo>
                  <a:cubicBezTo>
                    <a:pt x="560" y="1397"/>
                    <a:pt x="561" y="1397"/>
                    <a:pt x="562" y="1396"/>
                  </a:cubicBezTo>
                  <a:cubicBezTo>
                    <a:pt x="567" y="1394"/>
                    <a:pt x="573" y="1392"/>
                    <a:pt x="578" y="1390"/>
                  </a:cubicBezTo>
                  <a:cubicBezTo>
                    <a:pt x="579" y="1389"/>
                    <a:pt x="580" y="1389"/>
                    <a:pt x="581" y="1388"/>
                  </a:cubicBezTo>
                  <a:cubicBezTo>
                    <a:pt x="587" y="1386"/>
                    <a:pt x="592" y="1383"/>
                    <a:pt x="597" y="1381"/>
                  </a:cubicBezTo>
                  <a:cubicBezTo>
                    <a:pt x="598" y="1380"/>
                    <a:pt x="599" y="1380"/>
                    <a:pt x="599" y="1380"/>
                  </a:cubicBezTo>
                  <a:cubicBezTo>
                    <a:pt x="604" y="1377"/>
                    <a:pt x="609" y="1375"/>
                    <a:pt x="614" y="1372"/>
                  </a:cubicBezTo>
                  <a:cubicBezTo>
                    <a:pt x="615" y="1372"/>
                    <a:pt x="616" y="1371"/>
                    <a:pt x="617" y="1371"/>
                  </a:cubicBezTo>
                  <a:cubicBezTo>
                    <a:pt x="622" y="1368"/>
                    <a:pt x="627" y="1365"/>
                    <a:pt x="632" y="1362"/>
                  </a:cubicBezTo>
                  <a:cubicBezTo>
                    <a:pt x="633" y="1361"/>
                    <a:pt x="634" y="1361"/>
                    <a:pt x="635" y="1360"/>
                  </a:cubicBezTo>
                  <a:cubicBezTo>
                    <a:pt x="640" y="1357"/>
                    <a:pt x="645" y="1354"/>
                    <a:pt x="650" y="1350"/>
                  </a:cubicBezTo>
                  <a:cubicBezTo>
                    <a:pt x="650" y="1350"/>
                    <a:pt x="651" y="1349"/>
                    <a:pt x="652" y="1349"/>
                  </a:cubicBezTo>
                  <a:cubicBezTo>
                    <a:pt x="656" y="1346"/>
                    <a:pt x="661" y="1343"/>
                    <a:pt x="665" y="1339"/>
                  </a:cubicBezTo>
                  <a:cubicBezTo>
                    <a:pt x="666" y="1339"/>
                    <a:pt x="667" y="1338"/>
                    <a:pt x="667" y="1338"/>
                  </a:cubicBezTo>
                  <a:cubicBezTo>
                    <a:pt x="672" y="1334"/>
                    <a:pt x="677" y="1330"/>
                    <a:pt x="681" y="1327"/>
                  </a:cubicBezTo>
                  <a:cubicBezTo>
                    <a:pt x="682" y="1326"/>
                    <a:pt x="683" y="1325"/>
                    <a:pt x="684" y="1324"/>
                  </a:cubicBezTo>
                  <a:cubicBezTo>
                    <a:pt x="688" y="1320"/>
                    <a:pt x="693" y="1317"/>
                    <a:pt x="697" y="1313"/>
                  </a:cubicBezTo>
                  <a:cubicBezTo>
                    <a:pt x="698" y="1312"/>
                    <a:pt x="698" y="1311"/>
                    <a:pt x="699" y="1311"/>
                  </a:cubicBezTo>
                  <a:cubicBezTo>
                    <a:pt x="703" y="1307"/>
                    <a:pt x="707" y="1303"/>
                    <a:pt x="711" y="1299"/>
                  </a:cubicBezTo>
                  <a:cubicBezTo>
                    <a:pt x="711" y="1299"/>
                    <a:pt x="712" y="1298"/>
                    <a:pt x="713" y="1298"/>
                  </a:cubicBezTo>
                  <a:cubicBezTo>
                    <a:pt x="717" y="1293"/>
                    <a:pt x="721" y="1289"/>
                    <a:pt x="725" y="1285"/>
                  </a:cubicBezTo>
                  <a:cubicBezTo>
                    <a:pt x="725" y="1284"/>
                    <a:pt x="726" y="1283"/>
                    <a:pt x="727" y="1282"/>
                  </a:cubicBezTo>
                  <a:cubicBezTo>
                    <a:pt x="731" y="1278"/>
                    <a:pt x="735" y="1273"/>
                    <a:pt x="738" y="1269"/>
                  </a:cubicBezTo>
                  <a:cubicBezTo>
                    <a:pt x="739" y="1268"/>
                    <a:pt x="740" y="1267"/>
                    <a:pt x="740" y="1267"/>
                  </a:cubicBezTo>
                  <a:cubicBezTo>
                    <a:pt x="744" y="1262"/>
                    <a:pt x="747" y="1258"/>
                    <a:pt x="751" y="1253"/>
                  </a:cubicBezTo>
                  <a:cubicBezTo>
                    <a:pt x="751" y="1253"/>
                    <a:pt x="751" y="1252"/>
                    <a:pt x="752" y="1251"/>
                  </a:cubicBezTo>
                  <a:cubicBezTo>
                    <a:pt x="752" y="1251"/>
                    <a:pt x="752" y="1251"/>
                    <a:pt x="752" y="1251"/>
                  </a:cubicBezTo>
                  <a:cubicBezTo>
                    <a:pt x="753" y="1251"/>
                    <a:pt x="753" y="1251"/>
                    <a:pt x="753" y="1251"/>
                  </a:cubicBezTo>
                  <a:cubicBezTo>
                    <a:pt x="753" y="1252"/>
                    <a:pt x="754" y="1253"/>
                    <a:pt x="754" y="1253"/>
                  </a:cubicBezTo>
                  <a:cubicBezTo>
                    <a:pt x="758" y="1258"/>
                    <a:pt x="761" y="1262"/>
                    <a:pt x="765" y="1267"/>
                  </a:cubicBezTo>
                  <a:cubicBezTo>
                    <a:pt x="765" y="1267"/>
                    <a:pt x="766" y="1268"/>
                    <a:pt x="766" y="1269"/>
                  </a:cubicBezTo>
                  <a:cubicBezTo>
                    <a:pt x="770" y="1273"/>
                    <a:pt x="774" y="1278"/>
                    <a:pt x="778" y="1282"/>
                  </a:cubicBezTo>
                  <a:cubicBezTo>
                    <a:pt x="778" y="1283"/>
                    <a:pt x="779" y="1284"/>
                    <a:pt x="780" y="1285"/>
                  </a:cubicBezTo>
                  <a:cubicBezTo>
                    <a:pt x="784" y="1289"/>
                    <a:pt x="788" y="1293"/>
                    <a:pt x="792" y="1298"/>
                  </a:cubicBezTo>
                  <a:cubicBezTo>
                    <a:pt x="793" y="1298"/>
                    <a:pt x="793" y="1299"/>
                    <a:pt x="794" y="1299"/>
                  </a:cubicBezTo>
                  <a:cubicBezTo>
                    <a:pt x="798" y="1303"/>
                    <a:pt x="802" y="1307"/>
                    <a:pt x="806" y="1311"/>
                  </a:cubicBezTo>
                  <a:cubicBezTo>
                    <a:pt x="806" y="1311"/>
                    <a:pt x="807" y="1312"/>
                    <a:pt x="808" y="1313"/>
                  </a:cubicBezTo>
                  <a:cubicBezTo>
                    <a:pt x="812" y="1317"/>
                    <a:pt x="816" y="1320"/>
                    <a:pt x="821" y="1324"/>
                  </a:cubicBezTo>
                  <a:cubicBezTo>
                    <a:pt x="822" y="1325"/>
                    <a:pt x="823" y="1326"/>
                    <a:pt x="824" y="1327"/>
                  </a:cubicBezTo>
                  <a:cubicBezTo>
                    <a:pt x="828" y="1330"/>
                    <a:pt x="833" y="1334"/>
                    <a:pt x="837" y="1338"/>
                  </a:cubicBezTo>
                  <a:cubicBezTo>
                    <a:pt x="838" y="1338"/>
                    <a:pt x="839" y="1339"/>
                    <a:pt x="840" y="1339"/>
                  </a:cubicBezTo>
                  <a:cubicBezTo>
                    <a:pt x="844" y="1343"/>
                    <a:pt x="849" y="1346"/>
                    <a:pt x="853" y="1349"/>
                  </a:cubicBezTo>
                  <a:cubicBezTo>
                    <a:pt x="854" y="1349"/>
                    <a:pt x="854" y="1350"/>
                    <a:pt x="855" y="1350"/>
                  </a:cubicBezTo>
                  <a:cubicBezTo>
                    <a:pt x="860" y="1354"/>
                    <a:pt x="865" y="1357"/>
                    <a:pt x="870" y="1360"/>
                  </a:cubicBezTo>
                  <a:cubicBezTo>
                    <a:pt x="871" y="1361"/>
                    <a:pt x="872" y="1361"/>
                    <a:pt x="873" y="1362"/>
                  </a:cubicBezTo>
                  <a:cubicBezTo>
                    <a:pt x="878" y="1365"/>
                    <a:pt x="883" y="1368"/>
                    <a:pt x="888" y="1371"/>
                  </a:cubicBezTo>
                  <a:cubicBezTo>
                    <a:pt x="889" y="1371"/>
                    <a:pt x="890" y="1372"/>
                    <a:pt x="891" y="1372"/>
                  </a:cubicBezTo>
                  <a:cubicBezTo>
                    <a:pt x="896" y="1375"/>
                    <a:pt x="901" y="1377"/>
                    <a:pt x="906" y="1380"/>
                  </a:cubicBezTo>
                  <a:cubicBezTo>
                    <a:pt x="906" y="1380"/>
                    <a:pt x="907" y="1380"/>
                    <a:pt x="907" y="1381"/>
                  </a:cubicBezTo>
                  <a:cubicBezTo>
                    <a:pt x="913" y="1383"/>
                    <a:pt x="918" y="1386"/>
                    <a:pt x="923" y="1388"/>
                  </a:cubicBezTo>
                  <a:cubicBezTo>
                    <a:pt x="925" y="1389"/>
                    <a:pt x="926" y="1389"/>
                    <a:pt x="927" y="1390"/>
                  </a:cubicBezTo>
                  <a:cubicBezTo>
                    <a:pt x="932" y="1392"/>
                    <a:pt x="938" y="1394"/>
                    <a:pt x="943" y="1396"/>
                  </a:cubicBezTo>
                  <a:cubicBezTo>
                    <a:pt x="944" y="1397"/>
                    <a:pt x="945" y="1397"/>
                    <a:pt x="946" y="1397"/>
                  </a:cubicBezTo>
                  <a:cubicBezTo>
                    <a:pt x="952" y="1399"/>
                    <a:pt x="957" y="1401"/>
                    <a:pt x="963" y="1403"/>
                  </a:cubicBezTo>
                  <a:cubicBezTo>
                    <a:pt x="963" y="1403"/>
                    <a:pt x="963" y="1403"/>
                    <a:pt x="964" y="1403"/>
                  </a:cubicBezTo>
                  <a:cubicBezTo>
                    <a:pt x="970" y="1405"/>
                    <a:pt x="975" y="1407"/>
                    <a:pt x="981" y="1409"/>
                  </a:cubicBezTo>
                  <a:cubicBezTo>
                    <a:pt x="983" y="1409"/>
                    <a:pt x="984" y="1409"/>
                    <a:pt x="985" y="1409"/>
                  </a:cubicBezTo>
                  <a:cubicBezTo>
                    <a:pt x="991" y="1411"/>
                    <a:pt x="996" y="1412"/>
                    <a:pt x="1002" y="1414"/>
                  </a:cubicBezTo>
                  <a:cubicBezTo>
                    <a:pt x="1003" y="1414"/>
                    <a:pt x="1004" y="1414"/>
                    <a:pt x="1006" y="1414"/>
                  </a:cubicBezTo>
                  <a:cubicBezTo>
                    <a:pt x="1011" y="1415"/>
                    <a:pt x="1017" y="1416"/>
                    <a:pt x="1023" y="1417"/>
                  </a:cubicBezTo>
                  <a:cubicBezTo>
                    <a:pt x="1024" y="1417"/>
                    <a:pt x="1024" y="1418"/>
                    <a:pt x="1024" y="1418"/>
                  </a:cubicBezTo>
                  <a:cubicBezTo>
                    <a:pt x="1030" y="1419"/>
                    <a:pt x="1037" y="1419"/>
                    <a:pt x="1043" y="1420"/>
                  </a:cubicBezTo>
                  <a:cubicBezTo>
                    <a:pt x="1044" y="1420"/>
                    <a:pt x="1045" y="1420"/>
                    <a:pt x="1046" y="1420"/>
                  </a:cubicBezTo>
                  <a:cubicBezTo>
                    <a:pt x="1052" y="1421"/>
                    <a:pt x="1059" y="1421"/>
                    <a:pt x="1065" y="1422"/>
                  </a:cubicBezTo>
                  <a:cubicBezTo>
                    <a:pt x="1066" y="1422"/>
                    <a:pt x="1067" y="1422"/>
                    <a:pt x="1068" y="1422"/>
                  </a:cubicBezTo>
                  <a:cubicBezTo>
                    <a:pt x="1075" y="1422"/>
                    <a:pt x="1081" y="1422"/>
                    <a:pt x="1087" y="1422"/>
                  </a:cubicBezTo>
                  <a:cubicBezTo>
                    <a:pt x="1094" y="1422"/>
                    <a:pt x="1100" y="1422"/>
                    <a:pt x="1107" y="1422"/>
                  </a:cubicBezTo>
                  <a:cubicBezTo>
                    <a:pt x="1108" y="1422"/>
                    <a:pt x="1109" y="1422"/>
                    <a:pt x="1110" y="1422"/>
                  </a:cubicBezTo>
                  <a:cubicBezTo>
                    <a:pt x="1116" y="1421"/>
                    <a:pt x="1123" y="1421"/>
                    <a:pt x="1129" y="1420"/>
                  </a:cubicBezTo>
                  <a:cubicBezTo>
                    <a:pt x="1130" y="1420"/>
                    <a:pt x="1131" y="1420"/>
                    <a:pt x="1132" y="1420"/>
                  </a:cubicBezTo>
                  <a:cubicBezTo>
                    <a:pt x="1138" y="1419"/>
                    <a:pt x="1145" y="1419"/>
                    <a:pt x="1151" y="1418"/>
                  </a:cubicBezTo>
                  <a:cubicBezTo>
                    <a:pt x="1151" y="1418"/>
                    <a:pt x="1151" y="1417"/>
                    <a:pt x="1152" y="1417"/>
                  </a:cubicBezTo>
                  <a:cubicBezTo>
                    <a:pt x="1158" y="1416"/>
                    <a:pt x="1163" y="1415"/>
                    <a:pt x="1169" y="1414"/>
                  </a:cubicBezTo>
                  <a:cubicBezTo>
                    <a:pt x="1170" y="1414"/>
                    <a:pt x="1172" y="1414"/>
                    <a:pt x="1173" y="1414"/>
                  </a:cubicBezTo>
                  <a:cubicBezTo>
                    <a:pt x="1179" y="1412"/>
                    <a:pt x="1184" y="1411"/>
                    <a:pt x="1190" y="1409"/>
                  </a:cubicBezTo>
                  <a:cubicBezTo>
                    <a:pt x="1191" y="1409"/>
                    <a:pt x="1192" y="1409"/>
                    <a:pt x="1194" y="1409"/>
                  </a:cubicBezTo>
                  <a:cubicBezTo>
                    <a:pt x="1199" y="1407"/>
                    <a:pt x="1205" y="1405"/>
                    <a:pt x="1211" y="1403"/>
                  </a:cubicBezTo>
                  <a:cubicBezTo>
                    <a:pt x="1212" y="1403"/>
                    <a:pt x="1212" y="1403"/>
                    <a:pt x="1212" y="1403"/>
                  </a:cubicBezTo>
                  <a:cubicBezTo>
                    <a:pt x="1218" y="1401"/>
                    <a:pt x="1223" y="1399"/>
                    <a:pt x="1229" y="1397"/>
                  </a:cubicBezTo>
                  <a:cubicBezTo>
                    <a:pt x="1230" y="1397"/>
                    <a:pt x="1231" y="1397"/>
                    <a:pt x="1232" y="1396"/>
                  </a:cubicBezTo>
                  <a:cubicBezTo>
                    <a:pt x="1237" y="1394"/>
                    <a:pt x="1243" y="1392"/>
                    <a:pt x="1248" y="1390"/>
                  </a:cubicBezTo>
                  <a:cubicBezTo>
                    <a:pt x="1249" y="1389"/>
                    <a:pt x="1250" y="1389"/>
                    <a:pt x="1252" y="1388"/>
                  </a:cubicBezTo>
                  <a:cubicBezTo>
                    <a:pt x="1257" y="1386"/>
                    <a:pt x="1262" y="1383"/>
                    <a:pt x="1268" y="1381"/>
                  </a:cubicBezTo>
                  <a:cubicBezTo>
                    <a:pt x="1268" y="1380"/>
                    <a:pt x="1269" y="1380"/>
                    <a:pt x="1269" y="1380"/>
                  </a:cubicBezTo>
                  <a:cubicBezTo>
                    <a:pt x="1274" y="1377"/>
                    <a:pt x="1279" y="1375"/>
                    <a:pt x="1284" y="1372"/>
                  </a:cubicBezTo>
                  <a:cubicBezTo>
                    <a:pt x="1285" y="1372"/>
                    <a:pt x="1286" y="1371"/>
                    <a:pt x="1287" y="1371"/>
                  </a:cubicBezTo>
                  <a:cubicBezTo>
                    <a:pt x="1292" y="1368"/>
                    <a:pt x="1297" y="1365"/>
                    <a:pt x="1302" y="1362"/>
                  </a:cubicBezTo>
                  <a:cubicBezTo>
                    <a:pt x="1303" y="1361"/>
                    <a:pt x="1304" y="1361"/>
                    <a:pt x="1305" y="1360"/>
                  </a:cubicBezTo>
                  <a:cubicBezTo>
                    <a:pt x="1310" y="1357"/>
                    <a:pt x="1315" y="1354"/>
                    <a:pt x="1320" y="1350"/>
                  </a:cubicBezTo>
                  <a:cubicBezTo>
                    <a:pt x="1321" y="1350"/>
                    <a:pt x="1321" y="1349"/>
                    <a:pt x="1322" y="1349"/>
                  </a:cubicBezTo>
                  <a:cubicBezTo>
                    <a:pt x="1326" y="1346"/>
                    <a:pt x="1331" y="1343"/>
                    <a:pt x="1335" y="1339"/>
                  </a:cubicBezTo>
                  <a:cubicBezTo>
                    <a:pt x="1336" y="1339"/>
                    <a:pt x="1337" y="1338"/>
                    <a:pt x="1338" y="1338"/>
                  </a:cubicBezTo>
                  <a:cubicBezTo>
                    <a:pt x="1342" y="1334"/>
                    <a:pt x="1347" y="1330"/>
                    <a:pt x="1351" y="1327"/>
                  </a:cubicBezTo>
                  <a:cubicBezTo>
                    <a:pt x="1352" y="1326"/>
                    <a:pt x="1353" y="1325"/>
                    <a:pt x="1354" y="1324"/>
                  </a:cubicBezTo>
                  <a:cubicBezTo>
                    <a:pt x="1359" y="1320"/>
                    <a:pt x="1363" y="1317"/>
                    <a:pt x="1367" y="1313"/>
                  </a:cubicBezTo>
                  <a:cubicBezTo>
                    <a:pt x="1368" y="1312"/>
                    <a:pt x="1368" y="1311"/>
                    <a:pt x="1369" y="1311"/>
                  </a:cubicBezTo>
                  <a:cubicBezTo>
                    <a:pt x="1373" y="1307"/>
                    <a:pt x="1377" y="1303"/>
                    <a:pt x="1381" y="1299"/>
                  </a:cubicBezTo>
                  <a:cubicBezTo>
                    <a:pt x="1382" y="1299"/>
                    <a:pt x="1382" y="1298"/>
                    <a:pt x="1383" y="1298"/>
                  </a:cubicBezTo>
                  <a:cubicBezTo>
                    <a:pt x="1387" y="1293"/>
                    <a:pt x="1391" y="1289"/>
                    <a:pt x="1395" y="1285"/>
                  </a:cubicBezTo>
                  <a:cubicBezTo>
                    <a:pt x="1396" y="1284"/>
                    <a:pt x="1397" y="1283"/>
                    <a:pt x="1397" y="1282"/>
                  </a:cubicBezTo>
                  <a:cubicBezTo>
                    <a:pt x="1401" y="1278"/>
                    <a:pt x="1405" y="1273"/>
                    <a:pt x="1409" y="1269"/>
                  </a:cubicBezTo>
                  <a:cubicBezTo>
                    <a:pt x="1409" y="1268"/>
                    <a:pt x="1410" y="1267"/>
                    <a:pt x="1410" y="1267"/>
                  </a:cubicBezTo>
                  <a:cubicBezTo>
                    <a:pt x="1414" y="1262"/>
                    <a:pt x="1417" y="1258"/>
                    <a:pt x="1421" y="1253"/>
                  </a:cubicBezTo>
                  <a:cubicBezTo>
                    <a:pt x="1421" y="1253"/>
                    <a:pt x="1422" y="1252"/>
                    <a:pt x="1422" y="1251"/>
                  </a:cubicBezTo>
                  <a:cubicBezTo>
                    <a:pt x="1422" y="1251"/>
                    <a:pt x="1422" y="1251"/>
                    <a:pt x="1423" y="1251"/>
                  </a:cubicBezTo>
                  <a:cubicBezTo>
                    <a:pt x="1423" y="1251"/>
                    <a:pt x="1423" y="1251"/>
                    <a:pt x="1423" y="1251"/>
                  </a:cubicBezTo>
                  <a:cubicBezTo>
                    <a:pt x="1424" y="1252"/>
                    <a:pt x="1424" y="1253"/>
                    <a:pt x="1424" y="1253"/>
                  </a:cubicBezTo>
                  <a:cubicBezTo>
                    <a:pt x="1428" y="1258"/>
                    <a:pt x="1431" y="1262"/>
                    <a:pt x="1435" y="1267"/>
                  </a:cubicBezTo>
                  <a:cubicBezTo>
                    <a:pt x="1435" y="1267"/>
                    <a:pt x="1436" y="1268"/>
                    <a:pt x="1436" y="1269"/>
                  </a:cubicBezTo>
                  <a:cubicBezTo>
                    <a:pt x="1440" y="1273"/>
                    <a:pt x="1444" y="1278"/>
                    <a:pt x="1448" y="1282"/>
                  </a:cubicBezTo>
                  <a:cubicBezTo>
                    <a:pt x="1449" y="1283"/>
                    <a:pt x="1449" y="1284"/>
                    <a:pt x="1450" y="1285"/>
                  </a:cubicBezTo>
                  <a:cubicBezTo>
                    <a:pt x="1454" y="1289"/>
                    <a:pt x="1458" y="1293"/>
                    <a:pt x="1462" y="1298"/>
                  </a:cubicBezTo>
                  <a:cubicBezTo>
                    <a:pt x="1463" y="1298"/>
                    <a:pt x="1464" y="1299"/>
                    <a:pt x="1464" y="1299"/>
                  </a:cubicBezTo>
                  <a:cubicBezTo>
                    <a:pt x="1468" y="1303"/>
                    <a:pt x="1472" y="1307"/>
                    <a:pt x="1476" y="1311"/>
                  </a:cubicBezTo>
                  <a:cubicBezTo>
                    <a:pt x="1477" y="1311"/>
                    <a:pt x="1477" y="1312"/>
                    <a:pt x="1478" y="1313"/>
                  </a:cubicBezTo>
                  <a:cubicBezTo>
                    <a:pt x="1482" y="1317"/>
                    <a:pt x="1487" y="1320"/>
                    <a:pt x="1491" y="1324"/>
                  </a:cubicBezTo>
                  <a:lnTo>
                    <a:pt x="1494" y="1327"/>
                  </a:lnTo>
                  <a:cubicBezTo>
                    <a:pt x="1498" y="1330"/>
                    <a:pt x="1503" y="1334"/>
                    <a:pt x="1508" y="1338"/>
                  </a:cubicBezTo>
                  <a:cubicBezTo>
                    <a:pt x="1508" y="1338"/>
                    <a:pt x="1509" y="1339"/>
                    <a:pt x="1510" y="1339"/>
                  </a:cubicBezTo>
                  <a:cubicBezTo>
                    <a:pt x="1514" y="1343"/>
                    <a:pt x="1519" y="1346"/>
                    <a:pt x="1523" y="1349"/>
                  </a:cubicBezTo>
                  <a:cubicBezTo>
                    <a:pt x="1524" y="1349"/>
                    <a:pt x="1525" y="1350"/>
                    <a:pt x="1525" y="1350"/>
                  </a:cubicBezTo>
                  <a:cubicBezTo>
                    <a:pt x="1530" y="1354"/>
                    <a:pt x="1535" y="1357"/>
                    <a:pt x="1540" y="1360"/>
                  </a:cubicBezTo>
                  <a:cubicBezTo>
                    <a:pt x="1541" y="1361"/>
                    <a:pt x="1542" y="1361"/>
                    <a:pt x="1543" y="1362"/>
                  </a:cubicBezTo>
                  <a:cubicBezTo>
                    <a:pt x="1548" y="1365"/>
                    <a:pt x="1553" y="1368"/>
                    <a:pt x="1558" y="1371"/>
                  </a:cubicBezTo>
                  <a:cubicBezTo>
                    <a:pt x="1559" y="1371"/>
                    <a:pt x="1560" y="1372"/>
                    <a:pt x="1561" y="1372"/>
                  </a:cubicBezTo>
                  <a:cubicBezTo>
                    <a:pt x="1566" y="1375"/>
                    <a:pt x="1571" y="1377"/>
                    <a:pt x="1576" y="1380"/>
                  </a:cubicBezTo>
                  <a:cubicBezTo>
                    <a:pt x="1576" y="1380"/>
                    <a:pt x="1577" y="1380"/>
                    <a:pt x="1577" y="1381"/>
                  </a:cubicBezTo>
                  <a:cubicBezTo>
                    <a:pt x="1583" y="1383"/>
                    <a:pt x="1588" y="1386"/>
                    <a:pt x="1594" y="1388"/>
                  </a:cubicBezTo>
                  <a:cubicBezTo>
                    <a:pt x="1595" y="1389"/>
                    <a:pt x="1596" y="1389"/>
                    <a:pt x="1597" y="1390"/>
                  </a:cubicBezTo>
                  <a:cubicBezTo>
                    <a:pt x="1602" y="1392"/>
                    <a:pt x="1608" y="1394"/>
                    <a:pt x="1613" y="1396"/>
                  </a:cubicBezTo>
                  <a:cubicBezTo>
                    <a:pt x="1614" y="1397"/>
                    <a:pt x="1615" y="1397"/>
                    <a:pt x="1616" y="1397"/>
                  </a:cubicBezTo>
                  <a:cubicBezTo>
                    <a:pt x="1622" y="1399"/>
                    <a:pt x="1627" y="1401"/>
                    <a:pt x="1633" y="1403"/>
                  </a:cubicBezTo>
                  <a:cubicBezTo>
                    <a:pt x="1633" y="1403"/>
                    <a:pt x="1634" y="1403"/>
                    <a:pt x="1634" y="1403"/>
                  </a:cubicBezTo>
                  <a:cubicBezTo>
                    <a:pt x="1640" y="1405"/>
                    <a:pt x="1646" y="1407"/>
                    <a:pt x="1652" y="1409"/>
                  </a:cubicBezTo>
                  <a:cubicBezTo>
                    <a:pt x="1653" y="1409"/>
                    <a:pt x="1654" y="1409"/>
                    <a:pt x="1655" y="1409"/>
                  </a:cubicBezTo>
                  <a:cubicBezTo>
                    <a:pt x="1661" y="1411"/>
                    <a:pt x="1667" y="1412"/>
                    <a:pt x="1673" y="1414"/>
                  </a:cubicBezTo>
                  <a:cubicBezTo>
                    <a:pt x="1674" y="1414"/>
                    <a:pt x="1675" y="1414"/>
                    <a:pt x="1676" y="1414"/>
                  </a:cubicBezTo>
                  <a:cubicBezTo>
                    <a:pt x="1682" y="1415"/>
                    <a:pt x="1688" y="1416"/>
                    <a:pt x="1694" y="1417"/>
                  </a:cubicBezTo>
                  <a:cubicBezTo>
                    <a:pt x="1694" y="1417"/>
                    <a:pt x="1694" y="1418"/>
                    <a:pt x="1694" y="1418"/>
                  </a:cubicBezTo>
                  <a:cubicBezTo>
                    <a:pt x="1701" y="1419"/>
                    <a:pt x="1707" y="1419"/>
                    <a:pt x="1713" y="1420"/>
                  </a:cubicBezTo>
                  <a:cubicBezTo>
                    <a:pt x="1714" y="1420"/>
                    <a:pt x="1715" y="1420"/>
                    <a:pt x="1717" y="1420"/>
                  </a:cubicBezTo>
                  <a:cubicBezTo>
                    <a:pt x="1723" y="1421"/>
                    <a:pt x="1729" y="1421"/>
                    <a:pt x="1735" y="1422"/>
                  </a:cubicBezTo>
                  <a:cubicBezTo>
                    <a:pt x="1736" y="1422"/>
                    <a:pt x="1737" y="1422"/>
                    <a:pt x="1738" y="1422"/>
                  </a:cubicBezTo>
                  <a:cubicBezTo>
                    <a:pt x="1745" y="1422"/>
                    <a:pt x="1751" y="1422"/>
                    <a:pt x="1758" y="1422"/>
                  </a:cubicBezTo>
                  <a:cubicBezTo>
                    <a:pt x="1764" y="1422"/>
                    <a:pt x="1771" y="1422"/>
                    <a:pt x="1777" y="1422"/>
                  </a:cubicBezTo>
                  <a:cubicBezTo>
                    <a:pt x="1778" y="1422"/>
                    <a:pt x="1779" y="1422"/>
                    <a:pt x="1781" y="1422"/>
                  </a:cubicBezTo>
                  <a:cubicBezTo>
                    <a:pt x="1787" y="1421"/>
                    <a:pt x="1793" y="1421"/>
                    <a:pt x="1799" y="1420"/>
                  </a:cubicBezTo>
                  <a:cubicBezTo>
                    <a:pt x="1800" y="1420"/>
                    <a:pt x="1801" y="1420"/>
                    <a:pt x="1802" y="1420"/>
                  </a:cubicBezTo>
                  <a:cubicBezTo>
                    <a:pt x="1809" y="1419"/>
                    <a:pt x="1815" y="1419"/>
                    <a:pt x="1821" y="1418"/>
                  </a:cubicBezTo>
                  <a:cubicBezTo>
                    <a:pt x="1821" y="1418"/>
                    <a:pt x="1821" y="1417"/>
                    <a:pt x="1822" y="1417"/>
                  </a:cubicBezTo>
                  <a:cubicBezTo>
                    <a:pt x="1828" y="1416"/>
                    <a:pt x="1834" y="1415"/>
                    <a:pt x="1840" y="1414"/>
                  </a:cubicBezTo>
                  <a:cubicBezTo>
                    <a:pt x="1841" y="1414"/>
                    <a:pt x="1842" y="1414"/>
                    <a:pt x="1843" y="1414"/>
                  </a:cubicBezTo>
                  <a:cubicBezTo>
                    <a:pt x="1849" y="1412"/>
                    <a:pt x="1855" y="1411"/>
                    <a:pt x="1860" y="1409"/>
                  </a:cubicBezTo>
                  <a:cubicBezTo>
                    <a:pt x="1861" y="1409"/>
                    <a:pt x="1863" y="1409"/>
                    <a:pt x="1864" y="1409"/>
                  </a:cubicBezTo>
                  <a:cubicBezTo>
                    <a:pt x="1870" y="1407"/>
                    <a:pt x="1876" y="1405"/>
                    <a:pt x="1881" y="1403"/>
                  </a:cubicBezTo>
                  <a:cubicBezTo>
                    <a:pt x="1882" y="1403"/>
                    <a:pt x="1882" y="1403"/>
                    <a:pt x="1883" y="1403"/>
                  </a:cubicBezTo>
                  <a:cubicBezTo>
                    <a:pt x="1888" y="1401"/>
                    <a:pt x="1894" y="1399"/>
                    <a:pt x="1899" y="1397"/>
                  </a:cubicBezTo>
                  <a:cubicBezTo>
                    <a:pt x="1900" y="1397"/>
                    <a:pt x="1901" y="1397"/>
                    <a:pt x="1902" y="1396"/>
                  </a:cubicBezTo>
                  <a:cubicBezTo>
                    <a:pt x="1908" y="1394"/>
                    <a:pt x="1913" y="1392"/>
                    <a:pt x="1918" y="1390"/>
                  </a:cubicBezTo>
                  <a:cubicBezTo>
                    <a:pt x="1919" y="1389"/>
                    <a:pt x="1921" y="1389"/>
                    <a:pt x="1922" y="1388"/>
                  </a:cubicBezTo>
                  <a:cubicBezTo>
                    <a:pt x="1927" y="1386"/>
                    <a:pt x="1933" y="1383"/>
                    <a:pt x="1938" y="1381"/>
                  </a:cubicBezTo>
                  <a:cubicBezTo>
                    <a:pt x="1939" y="1380"/>
                    <a:pt x="1939" y="1380"/>
                    <a:pt x="1940" y="1380"/>
                  </a:cubicBezTo>
                  <a:cubicBezTo>
                    <a:pt x="1945" y="1377"/>
                    <a:pt x="1950" y="1375"/>
                    <a:pt x="1955" y="1372"/>
                  </a:cubicBezTo>
                  <a:cubicBezTo>
                    <a:pt x="1955" y="1372"/>
                    <a:pt x="1956" y="1371"/>
                    <a:pt x="1957" y="1371"/>
                  </a:cubicBezTo>
                  <a:cubicBezTo>
                    <a:pt x="1962" y="1368"/>
                    <a:pt x="1967" y="1365"/>
                    <a:pt x="1972" y="1362"/>
                  </a:cubicBezTo>
                  <a:cubicBezTo>
                    <a:pt x="1973" y="1361"/>
                    <a:pt x="1974" y="1361"/>
                    <a:pt x="1976" y="1360"/>
                  </a:cubicBezTo>
                  <a:cubicBezTo>
                    <a:pt x="1980" y="1357"/>
                    <a:pt x="1985" y="1354"/>
                    <a:pt x="1990" y="1350"/>
                  </a:cubicBezTo>
                  <a:cubicBezTo>
                    <a:pt x="1991" y="1350"/>
                    <a:pt x="1991" y="1349"/>
                    <a:pt x="1992" y="1349"/>
                  </a:cubicBezTo>
                  <a:cubicBezTo>
                    <a:pt x="1997" y="1346"/>
                    <a:pt x="2001" y="1343"/>
                    <a:pt x="2006" y="1339"/>
                  </a:cubicBezTo>
                  <a:cubicBezTo>
                    <a:pt x="2006" y="1339"/>
                    <a:pt x="2007" y="1338"/>
                    <a:pt x="2008" y="1338"/>
                  </a:cubicBezTo>
                  <a:cubicBezTo>
                    <a:pt x="2012" y="1334"/>
                    <a:pt x="2017" y="1330"/>
                    <a:pt x="2021" y="1327"/>
                  </a:cubicBezTo>
                  <a:cubicBezTo>
                    <a:pt x="2022" y="1326"/>
                    <a:pt x="2023" y="1325"/>
                    <a:pt x="2024" y="1324"/>
                  </a:cubicBezTo>
                  <a:cubicBezTo>
                    <a:pt x="2029" y="1320"/>
                    <a:pt x="2033" y="1317"/>
                    <a:pt x="2037" y="1313"/>
                  </a:cubicBezTo>
                  <a:cubicBezTo>
                    <a:pt x="2038" y="1312"/>
                    <a:pt x="2039" y="1311"/>
                    <a:pt x="2039" y="1311"/>
                  </a:cubicBezTo>
                  <a:cubicBezTo>
                    <a:pt x="2043" y="1307"/>
                    <a:pt x="2047" y="1303"/>
                    <a:pt x="2051" y="1299"/>
                  </a:cubicBezTo>
                  <a:cubicBezTo>
                    <a:pt x="2052" y="1299"/>
                    <a:pt x="2052" y="1298"/>
                    <a:pt x="2053" y="1298"/>
                  </a:cubicBezTo>
                  <a:cubicBezTo>
                    <a:pt x="2057" y="1293"/>
                    <a:pt x="2061" y="1289"/>
                    <a:pt x="2065" y="1285"/>
                  </a:cubicBezTo>
                  <a:cubicBezTo>
                    <a:pt x="2066" y="1284"/>
                    <a:pt x="2067" y="1283"/>
                    <a:pt x="2068" y="1282"/>
                  </a:cubicBezTo>
                  <a:cubicBezTo>
                    <a:pt x="2071" y="1278"/>
                    <a:pt x="2075" y="1273"/>
                    <a:pt x="2079" y="1269"/>
                  </a:cubicBezTo>
                  <a:cubicBezTo>
                    <a:pt x="2080" y="1268"/>
                    <a:pt x="2080" y="1267"/>
                    <a:pt x="2081" y="1267"/>
                  </a:cubicBezTo>
                  <a:cubicBezTo>
                    <a:pt x="2084" y="1262"/>
                    <a:pt x="2088" y="1258"/>
                    <a:pt x="2091" y="1253"/>
                  </a:cubicBezTo>
                  <a:cubicBezTo>
                    <a:pt x="2091" y="1253"/>
                    <a:pt x="2092" y="1252"/>
                    <a:pt x="2092" y="1251"/>
                  </a:cubicBezTo>
                  <a:cubicBezTo>
                    <a:pt x="2092" y="1251"/>
                    <a:pt x="2093" y="1251"/>
                    <a:pt x="2093" y="1251"/>
                  </a:cubicBezTo>
                  <a:cubicBezTo>
                    <a:pt x="2093" y="1251"/>
                    <a:pt x="2093" y="1251"/>
                    <a:pt x="2093" y="1251"/>
                  </a:cubicBezTo>
                  <a:cubicBezTo>
                    <a:pt x="2094" y="1252"/>
                    <a:pt x="2094" y="1253"/>
                    <a:pt x="2095" y="1253"/>
                  </a:cubicBezTo>
                  <a:cubicBezTo>
                    <a:pt x="2098" y="1258"/>
                    <a:pt x="2101" y="1262"/>
                    <a:pt x="2105" y="1267"/>
                  </a:cubicBezTo>
                  <a:cubicBezTo>
                    <a:pt x="2106" y="1267"/>
                    <a:pt x="2106" y="1268"/>
                    <a:pt x="2107" y="1269"/>
                  </a:cubicBezTo>
                  <a:cubicBezTo>
                    <a:pt x="2110" y="1273"/>
                    <a:pt x="2114" y="1278"/>
                    <a:pt x="2118" y="1282"/>
                  </a:cubicBezTo>
                  <a:cubicBezTo>
                    <a:pt x="2119" y="1283"/>
                    <a:pt x="2120" y="1284"/>
                    <a:pt x="2121" y="1285"/>
                  </a:cubicBezTo>
                  <a:cubicBezTo>
                    <a:pt x="2124" y="1289"/>
                    <a:pt x="2128" y="1293"/>
                    <a:pt x="2133" y="1298"/>
                  </a:cubicBezTo>
                  <a:cubicBezTo>
                    <a:pt x="2133" y="1298"/>
                    <a:pt x="2134" y="1299"/>
                    <a:pt x="2134" y="1299"/>
                  </a:cubicBezTo>
                  <a:cubicBezTo>
                    <a:pt x="2138" y="1303"/>
                    <a:pt x="2142" y="1307"/>
                    <a:pt x="2146" y="1311"/>
                  </a:cubicBezTo>
                  <a:cubicBezTo>
                    <a:pt x="2147" y="1311"/>
                    <a:pt x="2148" y="1312"/>
                    <a:pt x="2148" y="1313"/>
                  </a:cubicBezTo>
                  <a:cubicBezTo>
                    <a:pt x="2152" y="1317"/>
                    <a:pt x="2157" y="1320"/>
                    <a:pt x="2161" y="1324"/>
                  </a:cubicBezTo>
                  <a:cubicBezTo>
                    <a:pt x="2162" y="1325"/>
                    <a:pt x="2163" y="1326"/>
                    <a:pt x="2164" y="1327"/>
                  </a:cubicBezTo>
                  <a:cubicBezTo>
                    <a:pt x="2169" y="1330"/>
                    <a:pt x="2173" y="1334"/>
                    <a:pt x="2178" y="1338"/>
                  </a:cubicBezTo>
                  <a:cubicBezTo>
                    <a:pt x="2179" y="1338"/>
                    <a:pt x="2179" y="1339"/>
                    <a:pt x="2180" y="1339"/>
                  </a:cubicBezTo>
                  <a:cubicBezTo>
                    <a:pt x="2184" y="1343"/>
                    <a:pt x="2189" y="1346"/>
                    <a:pt x="2194" y="1349"/>
                  </a:cubicBezTo>
                  <a:cubicBezTo>
                    <a:pt x="2194" y="1349"/>
                    <a:pt x="2195" y="1350"/>
                    <a:pt x="2195" y="1350"/>
                  </a:cubicBezTo>
                  <a:cubicBezTo>
                    <a:pt x="2200" y="1354"/>
                    <a:pt x="2205" y="1357"/>
                    <a:pt x="2210" y="1360"/>
                  </a:cubicBezTo>
                  <a:cubicBezTo>
                    <a:pt x="2211" y="1361"/>
                    <a:pt x="2212" y="1361"/>
                    <a:pt x="2213" y="1362"/>
                  </a:cubicBezTo>
                  <a:cubicBezTo>
                    <a:pt x="2218" y="1365"/>
                    <a:pt x="2223" y="1368"/>
                    <a:pt x="2228" y="1371"/>
                  </a:cubicBezTo>
                  <a:cubicBezTo>
                    <a:pt x="2229" y="1371"/>
                    <a:pt x="2230" y="1372"/>
                    <a:pt x="2231" y="1372"/>
                  </a:cubicBezTo>
                  <a:cubicBezTo>
                    <a:pt x="2236" y="1375"/>
                    <a:pt x="2241" y="1377"/>
                    <a:pt x="2246" y="1380"/>
                  </a:cubicBezTo>
                  <a:cubicBezTo>
                    <a:pt x="2247" y="1380"/>
                    <a:pt x="2247" y="1380"/>
                    <a:pt x="2248" y="1381"/>
                  </a:cubicBezTo>
                  <a:cubicBezTo>
                    <a:pt x="2253" y="1383"/>
                    <a:pt x="2258" y="1386"/>
                    <a:pt x="2264" y="1388"/>
                  </a:cubicBezTo>
                  <a:cubicBezTo>
                    <a:pt x="2265" y="1389"/>
                    <a:pt x="2266" y="1389"/>
                    <a:pt x="2267" y="1390"/>
                  </a:cubicBezTo>
                  <a:cubicBezTo>
                    <a:pt x="2273" y="1392"/>
                    <a:pt x="2278" y="1394"/>
                    <a:pt x="2284" y="1396"/>
                  </a:cubicBezTo>
                  <a:cubicBezTo>
                    <a:pt x="2285" y="1397"/>
                    <a:pt x="2286" y="1397"/>
                    <a:pt x="2287" y="1397"/>
                  </a:cubicBezTo>
                  <a:cubicBezTo>
                    <a:pt x="2292" y="1399"/>
                    <a:pt x="2297" y="1401"/>
                    <a:pt x="2303" y="1403"/>
                  </a:cubicBezTo>
                  <a:cubicBezTo>
                    <a:pt x="2303" y="1403"/>
                    <a:pt x="2304" y="1403"/>
                    <a:pt x="2304" y="1403"/>
                  </a:cubicBezTo>
                  <a:cubicBezTo>
                    <a:pt x="2310" y="1405"/>
                    <a:pt x="2316" y="1407"/>
                    <a:pt x="2322" y="1409"/>
                  </a:cubicBezTo>
                  <a:cubicBezTo>
                    <a:pt x="2323" y="1409"/>
                    <a:pt x="2324" y="1409"/>
                    <a:pt x="2325" y="1409"/>
                  </a:cubicBezTo>
                  <a:cubicBezTo>
                    <a:pt x="2331" y="1411"/>
                    <a:pt x="2337" y="1412"/>
                    <a:pt x="2343" y="1414"/>
                  </a:cubicBezTo>
                  <a:cubicBezTo>
                    <a:pt x="2344" y="1414"/>
                    <a:pt x="2345" y="1414"/>
                    <a:pt x="2346" y="1414"/>
                  </a:cubicBezTo>
                  <a:cubicBezTo>
                    <a:pt x="2352" y="1415"/>
                    <a:pt x="2358" y="1416"/>
                    <a:pt x="2364" y="1417"/>
                  </a:cubicBezTo>
                  <a:cubicBezTo>
                    <a:pt x="2364" y="1417"/>
                    <a:pt x="2364" y="1418"/>
                    <a:pt x="2365" y="1418"/>
                  </a:cubicBezTo>
                  <a:cubicBezTo>
                    <a:pt x="2371" y="1419"/>
                    <a:pt x="2377" y="1419"/>
                    <a:pt x="2383" y="1420"/>
                  </a:cubicBezTo>
                  <a:cubicBezTo>
                    <a:pt x="2384" y="1420"/>
                    <a:pt x="2386" y="1420"/>
                    <a:pt x="2387" y="1420"/>
                  </a:cubicBezTo>
                  <a:cubicBezTo>
                    <a:pt x="2393" y="1421"/>
                    <a:pt x="2399" y="1421"/>
                    <a:pt x="2405" y="1422"/>
                  </a:cubicBezTo>
                  <a:cubicBezTo>
                    <a:pt x="2406" y="1422"/>
                    <a:pt x="2407" y="1422"/>
                    <a:pt x="2409" y="1422"/>
                  </a:cubicBezTo>
                  <a:cubicBezTo>
                    <a:pt x="2415" y="1422"/>
                    <a:pt x="2421" y="1422"/>
                    <a:pt x="2428" y="1422"/>
                  </a:cubicBezTo>
                  <a:cubicBezTo>
                    <a:pt x="2430" y="1422"/>
                    <a:pt x="2432" y="1422"/>
                    <a:pt x="2435" y="1422"/>
                  </a:cubicBezTo>
                  <a:lnTo>
                    <a:pt x="2435" y="2325"/>
                  </a:lnTo>
                  <a:lnTo>
                    <a:pt x="1340" y="2325"/>
                  </a:lnTo>
                  <a:lnTo>
                    <a:pt x="1340" y="1805"/>
                  </a:lnTo>
                  <a:cubicBezTo>
                    <a:pt x="1340" y="1670"/>
                    <a:pt x="1230" y="1559"/>
                    <a:pt x="1094" y="1559"/>
                  </a:cubicBezTo>
                  <a:lnTo>
                    <a:pt x="875" y="1559"/>
                  </a:lnTo>
                  <a:cubicBezTo>
                    <a:pt x="740" y="1559"/>
                    <a:pt x="629" y="1670"/>
                    <a:pt x="629" y="1805"/>
                  </a:cubicBezTo>
                  <a:lnTo>
                    <a:pt x="629" y="2325"/>
                  </a:lnTo>
                  <a:lnTo>
                    <a:pt x="410" y="2325"/>
                  </a:lnTo>
                  <a:lnTo>
                    <a:pt x="410" y="1422"/>
                  </a:lnTo>
                  <a:cubicBezTo>
                    <a:pt x="413" y="1422"/>
                    <a:pt x="415" y="1422"/>
                    <a:pt x="417" y="1422"/>
                  </a:cubicBezTo>
                  <a:cubicBezTo>
                    <a:pt x="424" y="1422"/>
                    <a:pt x="430" y="1422"/>
                    <a:pt x="437" y="1422"/>
                  </a:cubicBezTo>
                  <a:lnTo>
                    <a:pt x="437" y="1422"/>
                  </a:lnTo>
                  <a:close/>
                  <a:moveTo>
                    <a:pt x="173" y="1067"/>
                  </a:moveTo>
                  <a:lnTo>
                    <a:pt x="173" y="1067"/>
                  </a:lnTo>
                  <a:lnTo>
                    <a:pt x="661" y="1067"/>
                  </a:lnTo>
                  <a:cubicBezTo>
                    <a:pt x="661" y="1069"/>
                    <a:pt x="660" y="1071"/>
                    <a:pt x="660" y="1073"/>
                  </a:cubicBezTo>
                  <a:cubicBezTo>
                    <a:pt x="659" y="1074"/>
                    <a:pt x="659" y="1075"/>
                    <a:pt x="659" y="1076"/>
                  </a:cubicBezTo>
                  <a:cubicBezTo>
                    <a:pt x="658" y="1080"/>
                    <a:pt x="656" y="1084"/>
                    <a:pt x="655" y="1087"/>
                  </a:cubicBezTo>
                  <a:cubicBezTo>
                    <a:pt x="655" y="1088"/>
                    <a:pt x="654" y="1089"/>
                    <a:pt x="654" y="1089"/>
                  </a:cubicBezTo>
                  <a:cubicBezTo>
                    <a:pt x="653" y="1092"/>
                    <a:pt x="652" y="1095"/>
                    <a:pt x="651" y="1098"/>
                  </a:cubicBezTo>
                  <a:cubicBezTo>
                    <a:pt x="650" y="1100"/>
                    <a:pt x="650" y="1101"/>
                    <a:pt x="649" y="1102"/>
                  </a:cubicBezTo>
                  <a:cubicBezTo>
                    <a:pt x="648" y="1104"/>
                    <a:pt x="647" y="1107"/>
                    <a:pt x="646" y="1109"/>
                  </a:cubicBezTo>
                  <a:cubicBezTo>
                    <a:pt x="645" y="1110"/>
                    <a:pt x="645" y="1112"/>
                    <a:pt x="644" y="1113"/>
                  </a:cubicBezTo>
                  <a:cubicBezTo>
                    <a:pt x="643" y="1115"/>
                    <a:pt x="642" y="1118"/>
                    <a:pt x="641" y="1120"/>
                  </a:cubicBezTo>
                  <a:cubicBezTo>
                    <a:pt x="640" y="1121"/>
                    <a:pt x="640" y="1122"/>
                    <a:pt x="639" y="1124"/>
                  </a:cubicBezTo>
                  <a:cubicBezTo>
                    <a:pt x="638" y="1126"/>
                    <a:pt x="636" y="1128"/>
                    <a:pt x="635" y="1131"/>
                  </a:cubicBezTo>
                  <a:cubicBezTo>
                    <a:pt x="634" y="1132"/>
                    <a:pt x="634" y="1133"/>
                    <a:pt x="633" y="1134"/>
                  </a:cubicBezTo>
                  <a:cubicBezTo>
                    <a:pt x="631" y="1137"/>
                    <a:pt x="629" y="1140"/>
                    <a:pt x="627" y="1143"/>
                  </a:cubicBezTo>
                  <a:cubicBezTo>
                    <a:pt x="627" y="1144"/>
                    <a:pt x="627" y="1144"/>
                    <a:pt x="626" y="1145"/>
                  </a:cubicBezTo>
                  <a:cubicBezTo>
                    <a:pt x="624" y="1148"/>
                    <a:pt x="622" y="1150"/>
                    <a:pt x="621" y="1153"/>
                  </a:cubicBezTo>
                  <a:cubicBezTo>
                    <a:pt x="620" y="1154"/>
                    <a:pt x="619" y="1155"/>
                    <a:pt x="618" y="1156"/>
                  </a:cubicBezTo>
                  <a:cubicBezTo>
                    <a:pt x="617" y="1158"/>
                    <a:pt x="615" y="1160"/>
                    <a:pt x="614" y="1162"/>
                  </a:cubicBezTo>
                  <a:cubicBezTo>
                    <a:pt x="613" y="1163"/>
                    <a:pt x="612" y="1164"/>
                    <a:pt x="611" y="1165"/>
                  </a:cubicBezTo>
                  <a:cubicBezTo>
                    <a:pt x="609" y="1167"/>
                    <a:pt x="608" y="1169"/>
                    <a:pt x="606" y="1171"/>
                  </a:cubicBezTo>
                  <a:cubicBezTo>
                    <a:pt x="605" y="1172"/>
                    <a:pt x="604" y="1173"/>
                    <a:pt x="603" y="1174"/>
                  </a:cubicBezTo>
                  <a:cubicBezTo>
                    <a:pt x="602" y="1176"/>
                    <a:pt x="600" y="1178"/>
                    <a:pt x="598" y="1180"/>
                  </a:cubicBezTo>
                  <a:cubicBezTo>
                    <a:pt x="597" y="1181"/>
                    <a:pt x="596" y="1182"/>
                    <a:pt x="596" y="1183"/>
                  </a:cubicBezTo>
                  <a:cubicBezTo>
                    <a:pt x="593" y="1185"/>
                    <a:pt x="590" y="1188"/>
                    <a:pt x="587" y="1191"/>
                  </a:cubicBezTo>
                  <a:cubicBezTo>
                    <a:pt x="587" y="1191"/>
                    <a:pt x="587" y="1191"/>
                    <a:pt x="587" y="1191"/>
                  </a:cubicBezTo>
                  <a:cubicBezTo>
                    <a:pt x="584" y="1194"/>
                    <a:pt x="581" y="1196"/>
                    <a:pt x="579" y="1198"/>
                  </a:cubicBezTo>
                  <a:cubicBezTo>
                    <a:pt x="578" y="1199"/>
                    <a:pt x="577" y="1200"/>
                    <a:pt x="576" y="1201"/>
                  </a:cubicBezTo>
                  <a:cubicBezTo>
                    <a:pt x="574" y="1202"/>
                    <a:pt x="572" y="1204"/>
                    <a:pt x="570" y="1205"/>
                  </a:cubicBezTo>
                  <a:cubicBezTo>
                    <a:pt x="569" y="1206"/>
                    <a:pt x="568" y="1207"/>
                    <a:pt x="567" y="1208"/>
                  </a:cubicBezTo>
                  <a:cubicBezTo>
                    <a:pt x="565" y="1209"/>
                    <a:pt x="563" y="1211"/>
                    <a:pt x="561" y="1212"/>
                  </a:cubicBezTo>
                  <a:cubicBezTo>
                    <a:pt x="560" y="1213"/>
                    <a:pt x="558" y="1214"/>
                    <a:pt x="557" y="1215"/>
                  </a:cubicBezTo>
                  <a:cubicBezTo>
                    <a:pt x="555" y="1216"/>
                    <a:pt x="553" y="1218"/>
                    <a:pt x="551" y="1219"/>
                  </a:cubicBezTo>
                  <a:cubicBezTo>
                    <a:pt x="550" y="1220"/>
                    <a:pt x="549" y="1220"/>
                    <a:pt x="548" y="1221"/>
                  </a:cubicBezTo>
                  <a:cubicBezTo>
                    <a:pt x="544" y="1223"/>
                    <a:pt x="541" y="1225"/>
                    <a:pt x="538" y="1227"/>
                  </a:cubicBezTo>
                  <a:cubicBezTo>
                    <a:pt x="538" y="1227"/>
                    <a:pt x="537" y="1227"/>
                    <a:pt x="537" y="1227"/>
                  </a:cubicBezTo>
                  <a:cubicBezTo>
                    <a:pt x="534" y="1229"/>
                    <a:pt x="531" y="1231"/>
                    <a:pt x="528" y="1232"/>
                  </a:cubicBezTo>
                  <a:cubicBezTo>
                    <a:pt x="527" y="1233"/>
                    <a:pt x="526" y="1233"/>
                    <a:pt x="524" y="1234"/>
                  </a:cubicBezTo>
                  <a:cubicBezTo>
                    <a:pt x="522" y="1235"/>
                    <a:pt x="520" y="1236"/>
                    <a:pt x="517" y="1237"/>
                  </a:cubicBezTo>
                  <a:cubicBezTo>
                    <a:pt x="516" y="1238"/>
                    <a:pt x="515" y="1238"/>
                    <a:pt x="513" y="1239"/>
                  </a:cubicBezTo>
                  <a:cubicBezTo>
                    <a:pt x="511" y="1240"/>
                    <a:pt x="509" y="1241"/>
                    <a:pt x="506" y="1242"/>
                  </a:cubicBezTo>
                  <a:cubicBezTo>
                    <a:pt x="505" y="1242"/>
                    <a:pt x="504" y="1243"/>
                    <a:pt x="503" y="1243"/>
                  </a:cubicBezTo>
                  <a:cubicBezTo>
                    <a:pt x="500" y="1244"/>
                    <a:pt x="498" y="1245"/>
                    <a:pt x="495" y="1246"/>
                  </a:cubicBezTo>
                  <a:cubicBezTo>
                    <a:pt x="494" y="1246"/>
                    <a:pt x="493" y="1246"/>
                    <a:pt x="492" y="1247"/>
                  </a:cubicBezTo>
                  <a:cubicBezTo>
                    <a:pt x="488" y="1248"/>
                    <a:pt x="484" y="1249"/>
                    <a:pt x="480" y="1250"/>
                  </a:cubicBezTo>
                  <a:cubicBezTo>
                    <a:pt x="480" y="1250"/>
                    <a:pt x="480" y="1250"/>
                    <a:pt x="480" y="1250"/>
                  </a:cubicBezTo>
                  <a:cubicBezTo>
                    <a:pt x="476" y="1251"/>
                    <a:pt x="473" y="1252"/>
                    <a:pt x="469" y="1253"/>
                  </a:cubicBezTo>
                  <a:cubicBezTo>
                    <a:pt x="468" y="1253"/>
                    <a:pt x="467" y="1253"/>
                    <a:pt x="465" y="1254"/>
                  </a:cubicBezTo>
                  <a:cubicBezTo>
                    <a:pt x="463" y="1254"/>
                    <a:pt x="460" y="1255"/>
                    <a:pt x="458" y="1255"/>
                  </a:cubicBezTo>
                  <a:cubicBezTo>
                    <a:pt x="456" y="1255"/>
                    <a:pt x="455" y="1255"/>
                    <a:pt x="453" y="1256"/>
                  </a:cubicBezTo>
                  <a:cubicBezTo>
                    <a:pt x="451" y="1256"/>
                    <a:pt x="448" y="1256"/>
                    <a:pt x="446" y="1257"/>
                  </a:cubicBezTo>
                  <a:cubicBezTo>
                    <a:pt x="444" y="1257"/>
                    <a:pt x="443" y="1257"/>
                    <a:pt x="441" y="1257"/>
                  </a:cubicBezTo>
                  <a:cubicBezTo>
                    <a:pt x="439" y="1257"/>
                    <a:pt x="436" y="1258"/>
                    <a:pt x="433" y="1258"/>
                  </a:cubicBezTo>
                  <a:cubicBezTo>
                    <a:pt x="432" y="1258"/>
                    <a:pt x="431" y="1258"/>
                    <a:pt x="429" y="1258"/>
                  </a:cubicBezTo>
                  <a:cubicBezTo>
                    <a:pt x="425" y="1258"/>
                    <a:pt x="421" y="1258"/>
                    <a:pt x="417" y="1258"/>
                  </a:cubicBezTo>
                  <a:cubicBezTo>
                    <a:pt x="412" y="1258"/>
                    <a:pt x="407" y="1258"/>
                    <a:pt x="402" y="1258"/>
                  </a:cubicBezTo>
                  <a:cubicBezTo>
                    <a:pt x="401" y="1258"/>
                    <a:pt x="400" y="1258"/>
                    <a:pt x="399" y="1258"/>
                  </a:cubicBezTo>
                  <a:cubicBezTo>
                    <a:pt x="388" y="1257"/>
                    <a:pt x="378" y="1255"/>
                    <a:pt x="367" y="1253"/>
                  </a:cubicBezTo>
                  <a:cubicBezTo>
                    <a:pt x="367" y="1253"/>
                    <a:pt x="367" y="1253"/>
                    <a:pt x="367" y="1253"/>
                  </a:cubicBezTo>
                  <a:cubicBezTo>
                    <a:pt x="361" y="1252"/>
                    <a:pt x="356" y="1251"/>
                    <a:pt x="351" y="1249"/>
                  </a:cubicBezTo>
                  <a:cubicBezTo>
                    <a:pt x="265" y="1225"/>
                    <a:pt x="197" y="1155"/>
                    <a:pt x="173" y="1067"/>
                  </a:cubicBezTo>
                  <a:lnTo>
                    <a:pt x="173" y="1067"/>
                  </a:lnTo>
                  <a:close/>
                  <a:moveTo>
                    <a:pt x="507" y="482"/>
                  </a:moveTo>
                  <a:lnTo>
                    <a:pt x="507" y="482"/>
                  </a:lnTo>
                  <a:cubicBezTo>
                    <a:pt x="515" y="469"/>
                    <a:pt x="520" y="454"/>
                    <a:pt x="520" y="438"/>
                  </a:cubicBezTo>
                  <a:lnTo>
                    <a:pt x="520" y="246"/>
                  </a:lnTo>
                  <a:cubicBezTo>
                    <a:pt x="520" y="201"/>
                    <a:pt x="557" y="164"/>
                    <a:pt x="602" y="164"/>
                  </a:cubicBezTo>
                  <a:lnTo>
                    <a:pt x="2243" y="164"/>
                  </a:lnTo>
                  <a:cubicBezTo>
                    <a:pt x="2288" y="164"/>
                    <a:pt x="2325" y="201"/>
                    <a:pt x="2325" y="246"/>
                  </a:cubicBezTo>
                  <a:lnTo>
                    <a:pt x="2325" y="438"/>
                  </a:lnTo>
                  <a:cubicBezTo>
                    <a:pt x="2325" y="454"/>
                    <a:pt x="2330" y="469"/>
                    <a:pt x="2339" y="482"/>
                  </a:cubicBezTo>
                  <a:lnTo>
                    <a:pt x="2612" y="903"/>
                  </a:lnTo>
                  <a:lnTo>
                    <a:pt x="233" y="903"/>
                  </a:lnTo>
                  <a:lnTo>
                    <a:pt x="507" y="482"/>
                  </a:lnTo>
                  <a:lnTo>
                    <a:pt x="507" y="482"/>
                  </a:lnTo>
                  <a:close/>
                  <a:moveTo>
                    <a:pt x="1329" y="1076"/>
                  </a:moveTo>
                  <a:lnTo>
                    <a:pt x="1329" y="1076"/>
                  </a:lnTo>
                  <a:cubicBezTo>
                    <a:pt x="1328" y="1080"/>
                    <a:pt x="1327" y="1084"/>
                    <a:pt x="1325" y="1087"/>
                  </a:cubicBezTo>
                  <a:cubicBezTo>
                    <a:pt x="1325" y="1088"/>
                    <a:pt x="1325" y="1089"/>
                    <a:pt x="1324" y="1089"/>
                  </a:cubicBezTo>
                  <a:cubicBezTo>
                    <a:pt x="1323" y="1092"/>
                    <a:pt x="1322" y="1095"/>
                    <a:pt x="1321" y="1098"/>
                  </a:cubicBezTo>
                  <a:cubicBezTo>
                    <a:pt x="1321" y="1100"/>
                    <a:pt x="1320" y="1101"/>
                    <a:pt x="1319" y="1102"/>
                  </a:cubicBezTo>
                  <a:cubicBezTo>
                    <a:pt x="1318" y="1104"/>
                    <a:pt x="1317" y="1107"/>
                    <a:pt x="1316" y="1109"/>
                  </a:cubicBezTo>
                  <a:cubicBezTo>
                    <a:pt x="1316" y="1110"/>
                    <a:pt x="1315" y="1112"/>
                    <a:pt x="1314" y="1113"/>
                  </a:cubicBezTo>
                  <a:cubicBezTo>
                    <a:pt x="1313" y="1115"/>
                    <a:pt x="1312" y="1118"/>
                    <a:pt x="1311" y="1120"/>
                  </a:cubicBezTo>
                  <a:cubicBezTo>
                    <a:pt x="1310" y="1121"/>
                    <a:pt x="1310" y="1122"/>
                    <a:pt x="1309" y="1124"/>
                  </a:cubicBezTo>
                  <a:cubicBezTo>
                    <a:pt x="1308" y="1126"/>
                    <a:pt x="1306" y="1128"/>
                    <a:pt x="1305" y="1131"/>
                  </a:cubicBezTo>
                  <a:cubicBezTo>
                    <a:pt x="1305" y="1132"/>
                    <a:pt x="1304" y="1133"/>
                    <a:pt x="1303" y="1134"/>
                  </a:cubicBezTo>
                  <a:cubicBezTo>
                    <a:pt x="1301" y="1137"/>
                    <a:pt x="1299" y="1140"/>
                    <a:pt x="1297" y="1143"/>
                  </a:cubicBezTo>
                  <a:cubicBezTo>
                    <a:pt x="1297" y="1144"/>
                    <a:pt x="1297" y="1144"/>
                    <a:pt x="1296" y="1145"/>
                  </a:cubicBezTo>
                  <a:cubicBezTo>
                    <a:pt x="1295" y="1148"/>
                    <a:pt x="1293" y="1150"/>
                    <a:pt x="1291" y="1153"/>
                  </a:cubicBezTo>
                  <a:cubicBezTo>
                    <a:pt x="1290" y="1154"/>
                    <a:pt x="1289" y="1155"/>
                    <a:pt x="1289" y="1156"/>
                  </a:cubicBezTo>
                  <a:cubicBezTo>
                    <a:pt x="1287" y="1158"/>
                    <a:pt x="1285" y="1160"/>
                    <a:pt x="1284" y="1162"/>
                  </a:cubicBezTo>
                  <a:cubicBezTo>
                    <a:pt x="1283" y="1163"/>
                    <a:pt x="1282" y="1164"/>
                    <a:pt x="1281" y="1165"/>
                  </a:cubicBezTo>
                  <a:cubicBezTo>
                    <a:pt x="1280" y="1167"/>
                    <a:pt x="1278" y="1169"/>
                    <a:pt x="1276" y="1171"/>
                  </a:cubicBezTo>
                  <a:cubicBezTo>
                    <a:pt x="1275" y="1172"/>
                    <a:pt x="1274" y="1173"/>
                    <a:pt x="1274" y="1174"/>
                  </a:cubicBezTo>
                  <a:cubicBezTo>
                    <a:pt x="1272" y="1176"/>
                    <a:pt x="1270" y="1178"/>
                    <a:pt x="1268" y="1180"/>
                  </a:cubicBezTo>
                  <a:cubicBezTo>
                    <a:pt x="1267" y="1181"/>
                    <a:pt x="1267" y="1182"/>
                    <a:pt x="1266" y="1183"/>
                  </a:cubicBezTo>
                  <a:cubicBezTo>
                    <a:pt x="1263" y="1185"/>
                    <a:pt x="1260" y="1188"/>
                    <a:pt x="1258" y="1191"/>
                  </a:cubicBezTo>
                  <a:cubicBezTo>
                    <a:pt x="1257" y="1191"/>
                    <a:pt x="1257" y="1191"/>
                    <a:pt x="1257" y="1191"/>
                  </a:cubicBezTo>
                  <a:cubicBezTo>
                    <a:pt x="1254" y="1194"/>
                    <a:pt x="1252" y="1196"/>
                    <a:pt x="1249" y="1198"/>
                  </a:cubicBezTo>
                  <a:cubicBezTo>
                    <a:pt x="1248" y="1199"/>
                    <a:pt x="1247" y="1200"/>
                    <a:pt x="1246" y="1201"/>
                  </a:cubicBezTo>
                  <a:cubicBezTo>
                    <a:pt x="1244" y="1202"/>
                    <a:pt x="1242" y="1204"/>
                    <a:pt x="1240" y="1205"/>
                  </a:cubicBezTo>
                  <a:cubicBezTo>
                    <a:pt x="1239" y="1206"/>
                    <a:pt x="1238" y="1207"/>
                    <a:pt x="1237" y="1208"/>
                  </a:cubicBezTo>
                  <a:cubicBezTo>
                    <a:pt x="1235" y="1209"/>
                    <a:pt x="1233" y="1211"/>
                    <a:pt x="1231" y="1212"/>
                  </a:cubicBezTo>
                  <a:cubicBezTo>
                    <a:pt x="1230" y="1213"/>
                    <a:pt x="1229" y="1214"/>
                    <a:pt x="1227" y="1215"/>
                  </a:cubicBezTo>
                  <a:cubicBezTo>
                    <a:pt x="1225" y="1216"/>
                    <a:pt x="1223" y="1218"/>
                    <a:pt x="1221" y="1219"/>
                  </a:cubicBezTo>
                  <a:cubicBezTo>
                    <a:pt x="1220" y="1220"/>
                    <a:pt x="1219" y="1220"/>
                    <a:pt x="1218" y="1221"/>
                  </a:cubicBezTo>
                  <a:cubicBezTo>
                    <a:pt x="1215" y="1223"/>
                    <a:pt x="1211" y="1225"/>
                    <a:pt x="1208" y="1227"/>
                  </a:cubicBezTo>
                  <a:cubicBezTo>
                    <a:pt x="1208" y="1227"/>
                    <a:pt x="1208" y="1227"/>
                    <a:pt x="1207" y="1227"/>
                  </a:cubicBezTo>
                  <a:cubicBezTo>
                    <a:pt x="1204" y="1229"/>
                    <a:pt x="1201" y="1231"/>
                    <a:pt x="1198" y="1232"/>
                  </a:cubicBezTo>
                  <a:cubicBezTo>
                    <a:pt x="1197" y="1233"/>
                    <a:pt x="1196" y="1233"/>
                    <a:pt x="1195" y="1234"/>
                  </a:cubicBezTo>
                  <a:cubicBezTo>
                    <a:pt x="1192" y="1235"/>
                    <a:pt x="1190" y="1236"/>
                    <a:pt x="1188" y="1237"/>
                  </a:cubicBezTo>
                  <a:cubicBezTo>
                    <a:pt x="1186" y="1238"/>
                    <a:pt x="1185" y="1238"/>
                    <a:pt x="1184" y="1239"/>
                  </a:cubicBezTo>
                  <a:cubicBezTo>
                    <a:pt x="1181" y="1240"/>
                    <a:pt x="1179" y="1241"/>
                    <a:pt x="1177" y="1242"/>
                  </a:cubicBezTo>
                  <a:cubicBezTo>
                    <a:pt x="1175" y="1242"/>
                    <a:pt x="1174" y="1243"/>
                    <a:pt x="1173" y="1243"/>
                  </a:cubicBezTo>
                  <a:cubicBezTo>
                    <a:pt x="1170" y="1244"/>
                    <a:pt x="1168" y="1245"/>
                    <a:pt x="1165" y="1246"/>
                  </a:cubicBezTo>
                  <a:cubicBezTo>
                    <a:pt x="1164" y="1246"/>
                    <a:pt x="1163" y="1246"/>
                    <a:pt x="1162" y="1247"/>
                  </a:cubicBezTo>
                  <a:cubicBezTo>
                    <a:pt x="1158" y="1248"/>
                    <a:pt x="1154" y="1249"/>
                    <a:pt x="1151" y="1250"/>
                  </a:cubicBezTo>
                  <a:cubicBezTo>
                    <a:pt x="1151" y="1250"/>
                    <a:pt x="1150" y="1250"/>
                    <a:pt x="1150" y="1250"/>
                  </a:cubicBezTo>
                  <a:cubicBezTo>
                    <a:pt x="1147" y="1251"/>
                    <a:pt x="1143" y="1252"/>
                    <a:pt x="1139" y="1253"/>
                  </a:cubicBezTo>
                  <a:cubicBezTo>
                    <a:pt x="1138" y="1253"/>
                    <a:pt x="1137" y="1253"/>
                    <a:pt x="1136" y="1254"/>
                  </a:cubicBezTo>
                  <a:cubicBezTo>
                    <a:pt x="1133" y="1254"/>
                    <a:pt x="1130" y="1255"/>
                    <a:pt x="1128" y="1255"/>
                  </a:cubicBezTo>
                  <a:cubicBezTo>
                    <a:pt x="1126" y="1255"/>
                    <a:pt x="1125" y="1255"/>
                    <a:pt x="1123" y="1256"/>
                  </a:cubicBezTo>
                  <a:cubicBezTo>
                    <a:pt x="1121" y="1256"/>
                    <a:pt x="1118" y="1256"/>
                    <a:pt x="1116" y="1257"/>
                  </a:cubicBezTo>
                  <a:cubicBezTo>
                    <a:pt x="1114" y="1257"/>
                    <a:pt x="1113" y="1257"/>
                    <a:pt x="1111" y="1257"/>
                  </a:cubicBezTo>
                  <a:cubicBezTo>
                    <a:pt x="1109" y="1257"/>
                    <a:pt x="1106" y="1258"/>
                    <a:pt x="1103" y="1258"/>
                  </a:cubicBezTo>
                  <a:cubicBezTo>
                    <a:pt x="1102" y="1258"/>
                    <a:pt x="1101" y="1258"/>
                    <a:pt x="1100" y="1258"/>
                  </a:cubicBezTo>
                  <a:cubicBezTo>
                    <a:pt x="1096" y="1258"/>
                    <a:pt x="1092" y="1258"/>
                    <a:pt x="1087" y="1258"/>
                  </a:cubicBezTo>
                  <a:cubicBezTo>
                    <a:pt x="1083" y="1258"/>
                    <a:pt x="1079" y="1258"/>
                    <a:pt x="1075" y="1258"/>
                  </a:cubicBezTo>
                  <a:cubicBezTo>
                    <a:pt x="1074" y="1258"/>
                    <a:pt x="1073" y="1258"/>
                    <a:pt x="1072" y="1258"/>
                  </a:cubicBezTo>
                  <a:cubicBezTo>
                    <a:pt x="1069" y="1258"/>
                    <a:pt x="1066" y="1257"/>
                    <a:pt x="1063" y="1257"/>
                  </a:cubicBezTo>
                  <a:cubicBezTo>
                    <a:pt x="1062" y="1257"/>
                    <a:pt x="1061" y="1257"/>
                    <a:pt x="1059" y="1257"/>
                  </a:cubicBezTo>
                  <a:cubicBezTo>
                    <a:pt x="1057" y="1256"/>
                    <a:pt x="1054" y="1256"/>
                    <a:pt x="1051" y="1256"/>
                  </a:cubicBezTo>
                  <a:cubicBezTo>
                    <a:pt x="1050" y="1255"/>
                    <a:pt x="1049" y="1255"/>
                    <a:pt x="1047" y="1255"/>
                  </a:cubicBezTo>
                  <a:cubicBezTo>
                    <a:pt x="1045" y="1255"/>
                    <a:pt x="1042" y="1254"/>
                    <a:pt x="1039" y="1254"/>
                  </a:cubicBezTo>
                  <a:cubicBezTo>
                    <a:pt x="1038" y="1253"/>
                    <a:pt x="1037" y="1253"/>
                    <a:pt x="1036" y="1253"/>
                  </a:cubicBezTo>
                  <a:cubicBezTo>
                    <a:pt x="1032" y="1252"/>
                    <a:pt x="1028" y="1251"/>
                    <a:pt x="1025" y="1250"/>
                  </a:cubicBezTo>
                  <a:cubicBezTo>
                    <a:pt x="1025" y="1250"/>
                    <a:pt x="1024" y="1250"/>
                    <a:pt x="1024" y="1250"/>
                  </a:cubicBezTo>
                  <a:cubicBezTo>
                    <a:pt x="1020" y="1249"/>
                    <a:pt x="1017" y="1248"/>
                    <a:pt x="1013" y="1247"/>
                  </a:cubicBezTo>
                  <a:cubicBezTo>
                    <a:pt x="1012" y="1246"/>
                    <a:pt x="1011" y="1246"/>
                    <a:pt x="1010" y="1246"/>
                  </a:cubicBezTo>
                  <a:cubicBezTo>
                    <a:pt x="1007" y="1245"/>
                    <a:pt x="1005" y="1244"/>
                    <a:pt x="1002" y="1243"/>
                  </a:cubicBezTo>
                  <a:cubicBezTo>
                    <a:pt x="1001" y="1243"/>
                    <a:pt x="1000" y="1242"/>
                    <a:pt x="998" y="1242"/>
                  </a:cubicBezTo>
                  <a:cubicBezTo>
                    <a:pt x="996" y="1241"/>
                    <a:pt x="994" y="1240"/>
                    <a:pt x="991" y="1239"/>
                  </a:cubicBezTo>
                  <a:cubicBezTo>
                    <a:pt x="990" y="1238"/>
                    <a:pt x="989" y="1238"/>
                    <a:pt x="987" y="1237"/>
                  </a:cubicBezTo>
                  <a:cubicBezTo>
                    <a:pt x="985" y="1236"/>
                    <a:pt x="983" y="1235"/>
                    <a:pt x="980" y="1234"/>
                  </a:cubicBezTo>
                  <a:cubicBezTo>
                    <a:pt x="979" y="1233"/>
                    <a:pt x="978" y="1233"/>
                    <a:pt x="977" y="1232"/>
                  </a:cubicBezTo>
                  <a:cubicBezTo>
                    <a:pt x="974" y="1231"/>
                    <a:pt x="971" y="1229"/>
                    <a:pt x="968" y="1227"/>
                  </a:cubicBezTo>
                  <a:cubicBezTo>
                    <a:pt x="967" y="1227"/>
                    <a:pt x="967" y="1227"/>
                    <a:pt x="967" y="1227"/>
                  </a:cubicBezTo>
                  <a:cubicBezTo>
                    <a:pt x="964" y="1225"/>
                    <a:pt x="960" y="1223"/>
                    <a:pt x="957" y="1221"/>
                  </a:cubicBezTo>
                  <a:cubicBezTo>
                    <a:pt x="956" y="1220"/>
                    <a:pt x="955" y="1220"/>
                    <a:pt x="954" y="1219"/>
                  </a:cubicBezTo>
                  <a:cubicBezTo>
                    <a:pt x="952" y="1218"/>
                    <a:pt x="950" y="1216"/>
                    <a:pt x="947" y="1215"/>
                  </a:cubicBezTo>
                  <a:cubicBezTo>
                    <a:pt x="946" y="1214"/>
                    <a:pt x="945" y="1213"/>
                    <a:pt x="944" y="1212"/>
                  </a:cubicBezTo>
                  <a:cubicBezTo>
                    <a:pt x="942" y="1211"/>
                    <a:pt x="940" y="1209"/>
                    <a:pt x="938" y="1208"/>
                  </a:cubicBezTo>
                  <a:cubicBezTo>
                    <a:pt x="937" y="1207"/>
                    <a:pt x="936" y="1206"/>
                    <a:pt x="935" y="1205"/>
                  </a:cubicBezTo>
                  <a:cubicBezTo>
                    <a:pt x="933" y="1204"/>
                    <a:pt x="931" y="1202"/>
                    <a:pt x="929" y="1201"/>
                  </a:cubicBezTo>
                  <a:cubicBezTo>
                    <a:pt x="928" y="1200"/>
                    <a:pt x="927" y="1199"/>
                    <a:pt x="926" y="1198"/>
                  </a:cubicBezTo>
                  <a:cubicBezTo>
                    <a:pt x="923" y="1196"/>
                    <a:pt x="921" y="1194"/>
                    <a:pt x="918" y="1191"/>
                  </a:cubicBezTo>
                  <a:cubicBezTo>
                    <a:pt x="918" y="1191"/>
                    <a:pt x="918" y="1191"/>
                    <a:pt x="917" y="1191"/>
                  </a:cubicBezTo>
                  <a:cubicBezTo>
                    <a:pt x="915" y="1188"/>
                    <a:pt x="912" y="1185"/>
                    <a:pt x="909" y="1183"/>
                  </a:cubicBezTo>
                  <a:cubicBezTo>
                    <a:pt x="908" y="1182"/>
                    <a:pt x="908" y="1181"/>
                    <a:pt x="907" y="1180"/>
                  </a:cubicBezTo>
                  <a:cubicBezTo>
                    <a:pt x="905" y="1178"/>
                    <a:pt x="903" y="1176"/>
                    <a:pt x="901" y="1174"/>
                  </a:cubicBezTo>
                  <a:cubicBezTo>
                    <a:pt x="900" y="1173"/>
                    <a:pt x="899" y="1172"/>
                    <a:pt x="899" y="1171"/>
                  </a:cubicBezTo>
                  <a:cubicBezTo>
                    <a:pt x="897" y="1169"/>
                    <a:pt x="895" y="1167"/>
                    <a:pt x="894" y="1165"/>
                  </a:cubicBezTo>
                  <a:cubicBezTo>
                    <a:pt x="893" y="1164"/>
                    <a:pt x="892" y="1163"/>
                    <a:pt x="891" y="1162"/>
                  </a:cubicBezTo>
                  <a:cubicBezTo>
                    <a:pt x="890" y="1160"/>
                    <a:pt x="888" y="1158"/>
                    <a:pt x="886" y="1156"/>
                  </a:cubicBezTo>
                  <a:cubicBezTo>
                    <a:pt x="886" y="1155"/>
                    <a:pt x="885" y="1154"/>
                    <a:pt x="884" y="1153"/>
                  </a:cubicBezTo>
                  <a:cubicBezTo>
                    <a:pt x="882" y="1150"/>
                    <a:pt x="880" y="1148"/>
                    <a:pt x="878" y="1145"/>
                  </a:cubicBezTo>
                  <a:cubicBezTo>
                    <a:pt x="878" y="1144"/>
                    <a:pt x="878" y="1144"/>
                    <a:pt x="878" y="1143"/>
                  </a:cubicBezTo>
                  <a:cubicBezTo>
                    <a:pt x="875" y="1140"/>
                    <a:pt x="873" y="1137"/>
                    <a:pt x="871" y="1134"/>
                  </a:cubicBezTo>
                  <a:cubicBezTo>
                    <a:pt x="871" y="1133"/>
                    <a:pt x="870" y="1132"/>
                    <a:pt x="870" y="1131"/>
                  </a:cubicBezTo>
                  <a:cubicBezTo>
                    <a:pt x="868" y="1128"/>
                    <a:pt x="867" y="1126"/>
                    <a:pt x="866" y="1124"/>
                  </a:cubicBezTo>
                  <a:cubicBezTo>
                    <a:pt x="865" y="1122"/>
                    <a:pt x="864" y="1121"/>
                    <a:pt x="864" y="1120"/>
                  </a:cubicBezTo>
                  <a:cubicBezTo>
                    <a:pt x="863" y="1118"/>
                    <a:pt x="862" y="1115"/>
                    <a:pt x="860" y="1113"/>
                  </a:cubicBezTo>
                  <a:cubicBezTo>
                    <a:pt x="860" y="1112"/>
                    <a:pt x="859" y="1110"/>
                    <a:pt x="859" y="1109"/>
                  </a:cubicBezTo>
                  <a:cubicBezTo>
                    <a:pt x="858" y="1107"/>
                    <a:pt x="856" y="1104"/>
                    <a:pt x="855" y="1102"/>
                  </a:cubicBezTo>
                  <a:cubicBezTo>
                    <a:pt x="855" y="1101"/>
                    <a:pt x="854" y="1100"/>
                    <a:pt x="854" y="1098"/>
                  </a:cubicBezTo>
                  <a:cubicBezTo>
                    <a:pt x="853" y="1095"/>
                    <a:pt x="852" y="1092"/>
                    <a:pt x="850" y="1089"/>
                  </a:cubicBezTo>
                  <a:cubicBezTo>
                    <a:pt x="850" y="1089"/>
                    <a:pt x="850" y="1088"/>
                    <a:pt x="850" y="1087"/>
                  </a:cubicBezTo>
                  <a:cubicBezTo>
                    <a:pt x="848" y="1084"/>
                    <a:pt x="847" y="1080"/>
                    <a:pt x="846" y="1076"/>
                  </a:cubicBezTo>
                  <a:cubicBezTo>
                    <a:pt x="846" y="1075"/>
                    <a:pt x="845" y="1074"/>
                    <a:pt x="845" y="1073"/>
                  </a:cubicBezTo>
                  <a:cubicBezTo>
                    <a:pt x="844" y="1071"/>
                    <a:pt x="844" y="1069"/>
                    <a:pt x="843" y="1067"/>
                  </a:cubicBezTo>
                  <a:lnTo>
                    <a:pt x="1332" y="1067"/>
                  </a:lnTo>
                  <a:cubicBezTo>
                    <a:pt x="1331" y="1069"/>
                    <a:pt x="1330" y="1071"/>
                    <a:pt x="1330" y="1073"/>
                  </a:cubicBezTo>
                  <a:cubicBezTo>
                    <a:pt x="1330" y="1074"/>
                    <a:pt x="1329" y="1075"/>
                    <a:pt x="1329" y="1076"/>
                  </a:cubicBezTo>
                  <a:lnTo>
                    <a:pt x="1329" y="1076"/>
                  </a:lnTo>
                  <a:close/>
                  <a:moveTo>
                    <a:pt x="1999" y="1076"/>
                  </a:moveTo>
                  <a:lnTo>
                    <a:pt x="1999" y="1076"/>
                  </a:lnTo>
                  <a:cubicBezTo>
                    <a:pt x="1998" y="1080"/>
                    <a:pt x="1997" y="1084"/>
                    <a:pt x="1995" y="1087"/>
                  </a:cubicBezTo>
                  <a:cubicBezTo>
                    <a:pt x="1995" y="1088"/>
                    <a:pt x="1995" y="1089"/>
                    <a:pt x="1995" y="1089"/>
                  </a:cubicBezTo>
                  <a:cubicBezTo>
                    <a:pt x="1994" y="1092"/>
                    <a:pt x="1992" y="1095"/>
                    <a:pt x="1991" y="1098"/>
                  </a:cubicBezTo>
                  <a:cubicBezTo>
                    <a:pt x="1991" y="1100"/>
                    <a:pt x="1990" y="1101"/>
                    <a:pt x="1990" y="1102"/>
                  </a:cubicBezTo>
                  <a:cubicBezTo>
                    <a:pt x="1989" y="1104"/>
                    <a:pt x="1988" y="1107"/>
                    <a:pt x="1987" y="1109"/>
                  </a:cubicBezTo>
                  <a:cubicBezTo>
                    <a:pt x="1986" y="1110"/>
                    <a:pt x="1985" y="1112"/>
                    <a:pt x="1985" y="1113"/>
                  </a:cubicBezTo>
                  <a:cubicBezTo>
                    <a:pt x="1984" y="1115"/>
                    <a:pt x="1982" y="1118"/>
                    <a:pt x="1981" y="1120"/>
                  </a:cubicBezTo>
                  <a:cubicBezTo>
                    <a:pt x="1981" y="1121"/>
                    <a:pt x="1980" y="1122"/>
                    <a:pt x="1979" y="1124"/>
                  </a:cubicBezTo>
                  <a:cubicBezTo>
                    <a:pt x="1978" y="1126"/>
                    <a:pt x="1977" y="1128"/>
                    <a:pt x="1975" y="1131"/>
                  </a:cubicBezTo>
                  <a:cubicBezTo>
                    <a:pt x="1975" y="1132"/>
                    <a:pt x="1974" y="1133"/>
                    <a:pt x="1974" y="1134"/>
                  </a:cubicBezTo>
                  <a:cubicBezTo>
                    <a:pt x="1972" y="1137"/>
                    <a:pt x="1970" y="1140"/>
                    <a:pt x="1968" y="1143"/>
                  </a:cubicBezTo>
                  <a:cubicBezTo>
                    <a:pt x="1967" y="1144"/>
                    <a:pt x="1967" y="1144"/>
                    <a:pt x="1967" y="1145"/>
                  </a:cubicBezTo>
                  <a:cubicBezTo>
                    <a:pt x="1965" y="1148"/>
                    <a:pt x="1963" y="1150"/>
                    <a:pt x="1961" y="1153"/>
                  </a:cubicBezTo>
                  <a:cubicBezTo>
                    <a:pt x="1960" y="1154"/>
                    <a:pt x="1959" y="1155"/>
                    <a:pt x="1959" y="1156"/>
                  </a:cubicBezTo>
                  <a:cubicBezTo>
                    <a:pt x="1957" y="1158"/>
                    <a:pt x="1956" y="1160"/>
                    <a:pt x="1954" y="1162"/>
                  </a:cubicBezTo>
                  <a:cubicBezTo>
                    <a:pt x="1953" y="1163"/>
                    <a:pt x="1952" y="1164"/>
                    <a:pt x="1951" y="1165"/>
                  </a:cubicBezTo>
                  <a:cubicBezTo>
                    <a:pt x="1950" y="1167"/>
                    <a:pt x="1948" y="1169"/>
                    <a:pt x="1947" y="1171"/>
                  </a:cubicBezTo>
                  <a:cubicBezTo>
                    <a:pt x="1946" y="1172"/>
                    <a:pt x="1945" y="1173"/>
                    <a:pt x="1944" y="1174"/>
                  </a:cubicBezTo>
                  <a:cubicBezTo>
                    <a:pt x="1942" y="1176"/>
                    <a:pt x="1940" y="1178"/>
                    <a:pt x="1938" y="1180"/>
                  </a:cubicBezTo>
                  <a:cubicBezTo>
                    <a:pt x="1937" y="1181"/>
                    <a:pt x="1937" y="1182"/>
                    <a:pt x="1936" y="1183"/>
                  </a:cubicBezTo>
                  <a:cubicBezTo>
                    <a:pt x="1933" y="1185"/>
                    <a:pt x="1931" y="1188"/>
                    <a:pt x="1928" y="1191"/>
                  </a:cubicBezTo>
                  <a:cubicBezTo>
                    <a:pt x="1928" y="1191"/>
                    <a:pt x="1927" y="1191"/>
                    <a:pt x="1927" y="1191"/>
                  </a:cubicBezTo>
                  <a:cubicBezTo>
                    <a:pt x="1924" y="1194"/>
                    <a:pt x="1922" y="1196"/>
                    <a:pt x="1919" y="1198"/>
                  </a:cubicBezTo>
                  <a:cubicBezTo>
                    <a:pt x="1918" y="1199"/>
                    <a:pt x="1917" y="1200"/>
                    <a:pt x="1916" y="1201"/>
                  </a:cubicBezTo>
                  <a:cubicBezTo>
                    <a:pt x="1914" y="1202"/>
                    <a:pt x="1912" y="1204"/>
                    <a:pt x="1910" y="1205"/>
                  </a:cubicBezTo>
                  <a:cubicBezTo>
                    <a:pt x="1909" y="1206"/>
                    <a:pt x="1908" y="1207"/>
                    <a:pt x="1907" y="1208"/>
                  </a:cubicBezTo>
                  <a:cubicBezTo>
                    <a:pt x="1905" y="1209"/>
                    <a:pt x="1903" y="1211"/>
                    <a:pt x="1901" y="1212"/>
                  </a:cubicBezTo>
                  <a:cubicBezTo>
                    <a:pt x="1900" y="1213"/>
                    <a:pt x="1899" y="1214"/>
                    <a:pt x="1898" y="1215"/>
                  </a:cubicBezTo>
                  <a:cubicBezTo>
                    <a:pt x="1895" y="1216"/>
                    <a:pt x="1893" y="1218"/>
                    <a:pt x="1891" y="1219"/>
                  </a:cubicBezTo>
                  <a:cubicBezTo>
                    <a:pt x="1890" y="1220"/>
                    <a:pt x="1889" y="1220"/>
                    <a:pt x="1888" y="1221"/>
                  </a:cubicBezTo>
                  <a:cubicBezTo>
                    <a:pt x="1885" y="1223"/>
                    <a:pt x="1882" y="1225"/>
                    <a:pt x="1878" y="1227"/>
                  </a:cubicBezTo>
                  <a:cubicBezTo>
                    <a:pt x="1878" y="1227"/>
                    <a:pt x="1878" y="1227"/>
                    <a:pt x="1878" y="1227"/>
                  </a:cubicBezTo>
                  <a:cubicBezTo>
                    <a:pt x="1874" y="1229"/>
                    <a:pt x="1871" y="1231"/>
                    <a:pt x="1868" y="1232"/>
                  </a:cubicBezTo>
                  <a:cubicBezTo>
                    <a:pt x="1867" y="1233"/>
                    <a:pt x="1866" y="1233"/>
                    <a:pt x="1865" y="1234"/>
                  </a:cubicBezTo>
                  <a:cubicBezTo>
                    <a:pt x="1862" y="1235"/>
                    <a:pt x="1860" y="1236"/>
                    <a:pt x="1858" y="1237"/>
                  </a:cubicBezTo>
                  <a:cubicBezTo>
                    <a:pt x="1856" y="1238"/>
                    <a:pt x="1855" y="1238"/>
                    <a:pt x="1854" y="1239"/>
                  </a:cubicBezTo>
                  <a:cubicBezTo>
                    <a:pt x="1852" y="1240"/>
                    <a:pt x="1849" y="1241"/>
                    <a:pt x="1847" y="1242"/>
                  </a:cubicBezTo>
                  <a:cubicBezTo>
                    <a:pt x="1846" y="1242"/>
                    <a:pt x="1844" y="1243"/>
                    <a:pt x="1843" y="1243"/>
                  </a:cubicBezTo>
                  <a:cubicBezTo>
                    <a:pt x="1840" y="1244"/>
                    <a:pt x="1838" y="1245"/>
                    <a:pt x="1835" y="1246"/>
                  </a:cubicBezTo>
                  <a:cubicBezTo>
                    <a:pt x="1834" y="1246"/>
                    <a:pt x="1833" y="1246"/>
                    <a:pt x="1832" y="1247"/>
                  </a:cubicBezTo>
                  <a:cubicBezTo>
                    <a:pt x="1828" y="1248"/>
                    <a:pt x="1825" y="1249"/>
                    <a:pt x="1821" y="1250"/>
                  </a:cubicBezTo>
                  <a:cubicBezTo>
                    <a:pt x="1821" y="1250"/>
                    <a:pt x="1821" y="1250"/>
                    <a:pt x="1820" y="1250"/>
                  </a:cubicBezTo>
                  <a:cubicBezTo>
                    <a:pt x="1817" y="1251"/>
                    <a:pt x="1813" y="1252"/>
                    <a:pt x="1810" y="1253"/>
                  </a:cubicBezTo>
                  <a:cubicBezTo>
                    <a:pt x="1808" y="1253"/>
                    <a:pt x="1807" y="1253"/>
                    <a:pt x="1806" y="1254"/>
                  </a:cubicBezTo>
                  <a:cubicBezTo>
                    <a:pt x="1803" y="1254"/>
                    <a:pt x="1801" y="1255"/>
                    <a:pt x="1798" y="1255"/>
                  </a:cubicBezTo>
                  <a:cubicBezTo>
                    <a:pt x="1797" y="1255"/>
                    <a:pt x="1795" y="1255"/>
                    <a:pt x="1794" y="1256"/>
                  </a:cubicBezTo>
                  <a:cubicBezTo>
                    <a:pt x="1791" y="1256"/>
                    <a:pt x="1789" y="1256"/>
                    <a:pt x="1786" y="1257"/>
                  </a:cubicBezTo>
                  <a:cubicBezTo>
                    <a:pt x="1785" y="1257"/>
                    <a:pt x="1783" y="1257"/>
                    <a:pt x="1782" y="1257"/>
                  </a:cubicBezTo>
                  <a:cubicBezTo>
                    <a:pt x="1779" y="1257"/>
                    <a:pt x="1776" y="1258"/>
                    <a:pt x="1774" y="1258"/>
                  </a:cubicBezTo>
                  <a:cubicBezTo>
                    <a:pt x="1772" y="1258"/>
                    <a:pt x="1771" y="1258"/>
                    <a:pt x="1770" y="1258"/>
                  </a:cubicBezTo>
                  <a:cubicBezTo>
                    <a:pt x="1766" y="1258"/>
                    <a:pt x="1762" y="1258"/>
                    <a:pt x="1758" y="1258"/>
                  </a:cubicBezTo>
                  <a:cubicBezTo>
                    <a:pt x="1754" y="1258"/>
                    <a:pt x="1750" y="1258"/>
                    <a:pt x="1746" y="1258"/>
                  </a:cubicBezTo>
                  <a:cubicBezTo>
                    <a:pt x="1744" y="1258"/>
                    <a:pt x="1743" y="1258"/>
                    <a:pt x="1742" y="1258"/>
                  </a:cubicBezTo>
                  <a:cubicBezTo>
                    <a:pt x="1739" y="1258"/>
                    <a:pt x="1736" y="1257"/>
                    <a:pt x="1734" y="1257"/>
                  </a:cubicBezTo>
                  <a:cubicBezTo>
                    <a:pt x="1732" y="1257"/>
                    <a:pt x="1731" y="1257"/>
                    <a:pt x="1729" y="1257"/>
                  </a:cubicBezTo>
                  <a:cubicBezTo>
                    <a:pt x="1727" y="1256"/>
                    <a:pt x="1724" y="1256"/>
                    <a:pt x="1722" y="1256"/>
                  </a:cubicBezTo>
                  <a:cubicBezTo>
                    <a:pt x="1720" y="1255"/>
                    <a:pt x="1719" y="1255"/>
                    <a:pt x="1717" y="1255"/>
                  </a:cubicBezTo>
                  <a:cubicBezTo>
                    <a:pt x="1715" y="1255"/>
                    <a:pt x="1712" y="1254"/>
                    <a:pt x="1709" y="1254"/>
                  </a:cubicBezTo>
                  <a:cubicBezTo>
                    <a:pt x="1708" y="1253"/>
                    <a:pt x="1707" y="1253"/>
                    <a:pt x="1706" y="1253"/>
                  </a:cubicBezTo>
                  <a:cubicBezTo>
                    <a:pt x="1702" y="1252"/>
                    <a:pt x="1698" y="1251"/>
                    <a:pt x="1695" y="1250"/>
                  </a:cubicBezTo>
                  <a:cubicBezTo>
                    <a:pt x="1695" y="1250"/>
                    <a:pt x="1695" y="1250"/>
                    <a:pt x="1694" y="1250"/>
                  </a:cubicBezTo>
                  <a:cubicBezTo>
                    <a:pt x="1691" y="1249"/>
                    <a:pt x="1687" y="1248"/>
                    <a:pt x="1683" y="1247"/>
                  </a:cubicBezTo>
                  <a:cubicBezTo>
                    <a:pt x="1682" y="1246"/>
                    <a:pt x="1681" y="1246"/>
                    <a:pt x="1680" y="1246"/>
                  </a:cubicBezTo>
                  <a:cubicBezTo>
                    <a:pt x="1677" y="1245"/>
                    <a:pt x="1675" y="1244"/>
                    <a:pt x="1672" y="1243"/>
                  </a:cubicBezTo>
                  <a:cubicBezTo>
                    <a:pt x="1671" y="1243"/>
                    <a:pt x="1670" y="1242"/>
                    <a:pt x="1668" y="1242"/>
                  </a:cubicBezTo>
                  <a:cubicBezTo>
                    <a:pt x="1666" y="1241"/>
                    <a:pt x="1664" y="1240"/>
                    <a:pt x="1661" y="1239"/>
                  </a:cubicBezTo>
                  <a:cubicBezTo>
                    <a:pt x="1660" y="1238"/>
                    <a:pt x="1659" y="1238"/>
                    <a:pt x="1658" y="1237"/>
                  </a:cubicBezTo>
                  <a:cubicBezTo>
                    <a:pt x="1655" y="1236"/>
                    <a:pt x="1653" y="1235"/>
                    <a:pt x="1650" y="1234"/>
                  </a:cubicBezTo>
                  <a:cubicBezTo>
                    <a:pt x="1649" y="1233"/>
                    <a:pt x="1648" y="1233"/>
                    <a:pt x="1647" y="1232"/>
                  </a:cubicBezTo>
                  <a:cubicBezTo>
                    <a:pt x="1644" y="1231"/>
                    <a:pt x="1641" y="1229"/>
                    <a:pt x="1638" y="1227"/>
                  </a:cubicBezTo>
                  <a:cubicBezTo>
                    <a:pt x="1638" y="1227"/>
                    <a:pt x="1637" y="1227"/>
                    <a:pt x="1637" y="1227"/>
                  </a:cubicBezTo>
                  <a:cubicBezTo>
                    <a:pt x="1634" y="1225"/>
                    <a:pt x="1630" y="1223"/>
                    <a:pt x="1627" y="1221"/>
                  </a:cubicBezTo>
                  <a:cubicBezTo>
                    <a:pt x="1626" y="1220"/>
                    <a:pt x="1625" y="1220"/>
                    <a:pt x="1624" y="1219"/>
                  </a:cubicBezTo>
                  <a:cubicBezTo>
                    <a:pt x="1622" y="1218"/>
                    <a:pt x="1620" y="1216"/>
                    <a:pt x="1618" y="1215"/>
                  </a:cubicBezTo>
                  <a:cubicBezTo>
                    <a:pt x="1616" y="1214"/>
                    <a:pt x="1615" y="1213"/>
                    <a:pt x="1614" y="1212"/>
                  </a:cubicBezTo>
                  <a:cubicBezTo>
                    <a:pt x="1612" y="1211"/>
                    <a:pt x="1610" y="1209"/>
                    <a:pt x="1608" y="1208"/>
                  </a:cubicBezTo>
                  <a:cubicBezTo>
                    <a:pt x="1607" y="1207"/>
                    <a:pt x="1606" y="1206"/>
                    <a:pt x="1605" y="1205"/>
                  </a:cubicBezTo>
                  <a:cubicBezTo>
                    <a:pt x="1603" y="1204"/>
                    <a:pt x="1601" y="1202"/>
                    <a:pt x="1599" y="1201"/>
                  </a:cubicBezTo>
                  <a:cubicBezTo>
                    <a:pt x="1598" y="1200"/>
                    <a:pt x="1597" y="1199"/>
                    <a:pt x="1596" y="1198"/>
                  </a:cubicBezTo>
                  <a:cubicBezTo>
                    <a:pt x="1593" y="1196"/>
                    <a:pt x="1591" y="1194"/>
                    <a:pt x="1588" y="1191"/>
                  </a:cubicBezTo>
                  <a:cubicBezTo>
                    <a:pt x="1588" y="1191"/>
                    <a:pt x="1588" y="1191"/>
                    <a:pt x="1588" y="1191"/>
                  </a:cubicBezTo>
                  <a:cubicBezTo>
                    <a:pt x="1585" y="1188"/>
                    <a:pt x="1582" y="1185"/>
                    <a:pt x="1579" y="1183"/>
                  </a:cubicBezTo>
                  <a:cubicBezTo>
                    <a:pt x="1579" y="1182"/>
                    <a:pt x="1578" y="1181"/>
                    <a:pt x="1577" y="1180"/>
                  </a:cubicBezTo>
                  <a:cubicBezTo>
                    <a:pt x="1575" y="1178"/>
                    <a:pt x="1573" y="1176"/>
                    <a:pt x="1571" y="1174"/>
                  </a:cubicBezTo>
                  <a:cubicBezTo>
                    <a:pt x="1571" y="1173"/>
                    <a:pt x="1570" y="1172"/>
                    <a:pt x="1569" y="1171"/>
                  </a:cubicBezTo>
                  <a:cubicBezTo>
                    <a:pt x="1567" y="1169"/>
                    <a:pt x="1566" y="1167"/>
                    <a:pt x="1564" y="1165"/>
                  </a:cubicBezTo>
                  <a:cubicBezTo>
                    <a:pt x="1563" y="1164"/>
                    <a:pt x="1562" y="1163"/>
                    <a:pt x="1561" y="1162"/>
                  </a:cubicBezTo>
                  <a:cubicBezTo>
                    <a:pt x="1560" y="1160"/>
                    <a:pt x="1558" y="1158"/>
                    <a:pt x="1557" y="1156"/>
                  </a:cubicBezTo>
                  <a:cubicBezTo>
                    <a:pt x="1556" y="1155"/>
                    <a:pt x="1555" y="1154"/>
                    <a:pt x="1554" y="1153"/>
                  </a:cubicBezTo>
                  <a:cubicBezTo>
                    <a:pt x="1552" y="1150"/>
                    <a:pt x="1551" y="1148"/>
                    <a:pt x="1549" y="1145"/>
                  </a:cubicBezTo>
                  <a:cubicBezTo>
                    <a:pt x="1548" y="1144"/>
                    <a:pt x="1548" y="1144"/>
                    <a:pt x="1548" y="1143"/>
                  </a:cubicBezTo>
                  <a:cubicBezTo>
                    <a:pt x="1546" y="1140"/>
                    <a:pt x="1544" y="1137"/>
                    <a:pt x="1542" y="1134"/>
                  </a:cubicBezTo>
                  <a:cubicBezTo>
                    <a:pt x="1541" y="1133"/>
                    <a:pt x="1541" y="1132"/>
                    <a:pt x="1540" y="1131"/>
                  </a:cubicBezTo>
                  <a:cubicBezTo>
                    <a:pt x="1539" y="1128"/>
                    <a:pt x="1537" y="1126"/>
                    <a:pt x="1536" y="1124"/>
                  </a:cubicBezTo>
                  <a:cubicBezTo>
                    <a:pt x="1535" y="1122"/>
                    <a:pt x="1535" y="1121"/>
                    <a:pt x="1534" y="1120"/>
                  </a:cubicBezTo>
                  <a:cubicBezTo>
                    <a:pt x="1533" y="1118"/>
                    <a:pt x="1532" y="1115"/>
                    <a:pt x="1531" y="1113"/>
                  </a:cubicBezTo>
                  <a:cubicBezTo>
                    <a:pt x="1530" y="1112"/>
                    <a:pt x="1529" y="1110"/>
                    <a:pt x="1529" y="1109"/>
                  </a:cubicBezTo>
                  <a:cubicBezTo>
                    <a:pt x="1528" y="1107"/>
                    <a:pt x="1527" y="1104"/>
                    <a:pt x="1526" y="1102"/>
                  </a:cubicBezTo>
                  <a:cubicBezTo>
                    <a:pt x="1525" y="1101"/>
                    <a:pt x="1525" y="1100"/>
                    <a:pt x="1524" y="1098"/>
                  </a:cubicBezTo>
                  <a:cubicBezTo>
                    <a:pt x="1523" y="1095"/>
                    <a:pt x="1522" y="1092"/>
                    <a:pt x="1521" y="1089"/>
                  </a:cubicBezTo>
                  <a:cubicBezTo>
                    <a:pt x="1520" y="1089"/>
                    <a:pt x="1520" y="1088"/>
                    <a:pt x="1520" y="1087"/>
                  </a:cubicBezTo>
                  <a:cubicBezTo>
                    <a:pt x="1519" y="1084"/>
                    <a:pt x="1517" y="1080"/>
                    <a:pt x="1516" y="1076"/>
                  </a:cubicBezTo>
                  <a:cubicBezTo>
                    <a:pt x="1516" y="1075"/>
                    <a:pt x="1516" y="1074"/>
                    <a:pt x="1515" y="1073"/>
                  </a:cubicBezTo>
                  <a:cubicBezTo>
                    <a:pt x="1515" y="1071"/>
                    <a:pt x="1514" y="1069"/>
                    <a:pt x="1514" y="1067"/>
                  </a:cubicBezTo>
                  <a:lnTo>
                    <a:pt x="2002" y="1067"/>
                  </a:lnTo>
                  <a:cubicBezTo>
                    <a:pt x="2001" y="1069"/>
                    <a:pt x="2001" y="1071"/>
                    <a:pt x="2000" y="1073"/>
                  </a:cubicBezTo>
                  <a:cubicBezTo>
                    <a:pt x="2000" y="1074"/>
                    <a:pt x="1999" y="1075"/>
                    <a:pt x="1999" y="1076"/>
                  </a:cubicBezTo>
                  <a:lnTo>
                    <a:pt x="1999" y="1076"/>
                  </a:lnTo>
                  <a:close/>
                  <a:moveTo>
                    <a:pt x="2494" y="1249"/>
                  </a:moveTo>
                  <a:lnTo>
                    <a:pt x="2494" y="1249"/>
                  </a:lnTo>
                  <a:cubicBezTo>
                    <a:pt x="2489" y="1251"/>
                    <a:pt x="2484" y="1252"/>
                    <a:pt x="2478" y="1253"/>
                  </a:cubicBezTo>
                  <a:cubicBezTo>
                    <a:pt x="2478" y="1253"/>
                    <a:pt x="2478" y="1253"/>
                    <a:pt x="2478" y="1253"/>
                  </a:cubicBezTo>
                  <a:cubicBezTo>
                    <a:pt x="2467" y="1255"/>
                    <a:pt x="2457" y="1257"/>
                    <a:pt x="2446" y="1258"/>
                  </a:cubicBezTo>
                  <a:cubicBezTo>
                    <a:pt x="2445" y="1258"/>
                    <a:pt x="2444" y="1258"/>
                    <a:pt x="2443" y="1258"/>
                  </a:cubicBezTo>
                  <a:cubicBezTo>
                    <a:pt x="2438" y="1258"/>
                    <a:pt x="2433" y="1258"/>
                    <a:pt x="2428" y="1258"/>
                  </a:cubicBezTo>
                  <a:cubicBezTo>
                    <a:pt x="2424" y="1258"/>
                    <a:pt x="2420" y="1258"/>
                    <a:pt x="2416" y="1258"/>
                  </a:cubicBezTo>
                  <a:cubicBezTo>
                    <a:pt x="2415" y="1258"/>
                    <a:pt x="2413" y="1258"/>
                    <a:pt x="2412" y="1258"/>
                  </a:cubicBezTo>
                  <a:cubicBezTo>
                    <a:pt x="2409" y="1258"/>
                    <a:pt x="2407" y="1257"/>
                    <a:pt x="2404" y="1257"/>
                  </a:cubicBezTo>
                  <a:cubicBezTo>
                    <a:pt x="2402" y="1257"/>
                    <a:pt x="2401" y="1257"/>
                    <a:pt x="2399" y="1257"/>
                  </a:cubicBezTo>
                  <a:cubicBezTo>
                    <a:pt x="2397" y="1256"/>
                    <a:pt x="2394" y="1256"/>
                    <a:pt x="2392" y="1256"/>
                  </a:cubicBezTo>
                  <a:cubicBezTo>
                    <a:pt x="2390" y="1255"/>
                    <a:pt x="2389" y="1255"/>
                    <a:pt x="2388" y="1255"/>
                  </a:cubicBezTo>
                  <a:cubicBezTo>
                    <a:pt x="2385" y="1255"/>
                    <a:pt x="2382" y="1254"/>
                    <a:pt x="2380" y="1254"/>
                  </a:cubicBezTo>
                  <a:cubicBezTo>
                    <a:pt x="2378" y="1253"/>
                    <a:pt x="2377" y="1253"/>
                    <a:pt x="2376" y="1253"/>
                  </a:cubicBezTo>
                  <a:cubicBezTo>
                    <a:pt x="2372" y="1252"/>
                    <a:pt x="2369" y="1251"/>
                    <a:pt x="2365" y="1250"/>
                  </a:cubicBezTo>
                  <a:cubicBezTo>
                    <a:pt x="2365" y="1250"/>
                    <a:pt x="2365" y="1250"/>
                    <a:pt x="2365" y="1250"/>
                  </a:cubicBezTo>
                  <a:cubicBezTo>
                    <a:pt x="2361" y="1249"/>
                    <a:pt x="2357" y="1248"/>
                    <a:pt x="2354" y="1247"/>
                  </a:cubicBezTo>
                  <a:cubicBezTo>
                    <a:pt x="2352" y="1246"/>
                    <a:pt x="2351" y="1246"/>
                    <a:pt x="2350" y="1246"/>
                  </a:cubicBezTo>
                  <a:cubicBezTo>
                    <a:pt x="2348" y="1245"/>
                    <a:pt x="2345" y="1244"/>
                    <a:pt x="2343" y="1243"/>
                  </a:cubicBezTo>
                  <a:cubicBezTo>
                    <a:pt x="2341" y="1243"/>
                    <a:pt x="2340" y="1242"/>
                    <a:pt x="2339" y="1242"/>
                  </a:cubicBezTo>
                  <a:cubicBezTo>
                    <a:pt x="2336" y="1241"/>
                    <a:pt x="2334" y="1240"/>
                    <a:pt x="2332" y="1239"/>
                  </a:cubicBezTo>
                  <a:cubicBezTo>
                    <a:pt x="2330" y="1238"/>
                    <a:pt x="2329" y="1238"/>
                    <a:pt x="2328" y="1237"/>
                  </a:cubicBezTo>
                  <a:cubicBezTo>
                    <a:pt x="2325" y="1236"/>
                    <a:pt x="2323" y="1235"/>
                    <a:pt x="2321" y="1234"/>
                  </a:cubicBezTo>
                  <a:cubicBezTo>
                    <a:pt x="2320" y="1233"/>
                    <a:pt x="2318" y="1233"/>
                    <a:pt x="2317" y="1232"/>
                  </a:cubicBezTo>
                  <a:cubicBezTo>
                    <a:pt x="2314" y="1231"/>
                    <a:pt x="2311" y="1229"/>
                    <a:pt x="2308" y="1227"/>
                  </a:cubicBezTo>
                  <a:cubicBezTo>
                    <a:pt x="2308" y="1227"/>
                    <a:pt x="2308" y="1227"/>
                    <a:pt x="2307" y="1227"/>
                  </a:cubicBezTo>
                  <a:cubicBezTo>
                    <a:pt x="2304" y="1225"/>
                    <a:pt x="2301" y="1223"/>
                    <a:pt x="2297" y="1221"/>
                  </a:cubicBezTo>
                  <a:cubicBezTo>
                    <a:pt x="2296" y="1220"/>
                    <a:pt x="2296" y="1220"/>
                    <a:pt x="2295" y="1219"/>
                  </a:cubicBezTo>
                  <a:cubicBezTo>
                    <a:pt x="2292" y="1218"/>
                    <a:pt x="2290" y="1216"/>
                    <a:pt x="2288" y="1215"/>
                  </a:cubicBezTo>
                  <a:cubicBezTo>
                    <a:pt x="2287" y="1214"/>
                    <a:pt x="2286" y="1213"/>
                    <a:pt x="2284" y="1212"/>
                  </a:cubicBezTo>
                  <a:cubicBezTo>
                    <a:pt x="2282" y="1211"/>
                    <a:pt x="2280" y="1209"/>
                    <a:pt x="2278" y="1208"/>
                  </a:cubicBezTo>
                  <a:cubicBezTo>
                    <a:pt x="2277" y="1207"/>
                    <a:pt x="2276" y="1206"/>
                    <a:pt x="2275" y="1205"/>
                  </a:cubicBezTo>
                  <a:cubicBezTo>
                    <a:pt x="2273" y="1204"/>
                    <a:pt x="2271" y="1202"/>
                    <a:pt x="2269" y="1201"/>
                  </a:cubicBezTo>
                  <a:cubicBezTo>
                    <a:pt x="2268" y="1200"/>
                    <a:pt x="2267" y="1199"/>
                    <a:pt x="2266" y="1198"/>
                  </a:cubicBezTo>
                  <a:cubicBezTo>
                    <a:pt x="2264" y="1196"/>
                    <a:pt x="2261" y="1194"/>
                    <a:pt x="2259" y="1191"/>
                  </a:cubicBezTo>
                  <a:cubicBezTo>
                    <a:pt x="2258" y="1191"/>
                    <a:pt x="2258" y="1191"/>
                    <a:pt x="2258" y="1191"/>
                  </a:cubicBezTo>
                  <a:cubicBezTo>
                    <a:pt x="2255" y="1188"/>
                    <a:pt x="2252" y="1185"/>
                    <a:pt x="2250" y="1183"/>
                  </a:cubicBezTo>
                  <a:cubicBezTo>
                    <a:pt x="2249" y="1182"/>
                    <a:pt x="2248" y="1181"/>
                    <a:pt x="2247" y="1180"/>
                  </a:cubicBezTo>
                  <a:cubicBezTo>
                    <a:pt x="2245" y="1178"/>
                    <a:pt x="2244" y="1176"/>
                    <a:pt x="2242" y="1174"/>
                  </a:cubicBezTo>
                  <a:cubicBezTo>
                    <a:pt x="2241" y="1173"/>
                    <a:pt x="2240" y="1172"/>
                    <a:pt x="2239" y="1171"/>
                  </a:cubicBezTo>
                  <a:cubicBezTo>
                    <a:pt x="2237" y="1169"/>
                    <a:pt x="2236" y="1167"/>
                    <a:pt x="2234" y="1165"/>
                  </a:cubicBezTo>
                  <a:cubicBezTo>
                    <a:pt x="2233" y="1164"/>
                    <a:pt x="2232" y="1163"/>
                    <a:pt x="2232" y="1162"/>
                  </a:cubicBezTo>
                  <a:cubicBezTo>
                    <a:pt x="2230" y="1160"/>
                    <a:pt x="2228" y="1158"/>
                    <a:pt x="2227" y="1156"/>
                  </a:cubicBezTo>
                  <a:cubicBezTo>
                    <a:pt x="2226" y="1155"/>
                    <a:pt x="2225" y="1154"/>
                    <a:pt x="2225" y="1153"/>
                  </a:cubicBezTo>
                  <a:cubicBezTo>
                    <a:pt x="2223" y="1150"/>
                    <a:pt x="2221" y="1148"/>
                    <a:pt x="2219" y="1145"/>
                  </a:cubicBezTo>
                  <a:cubicBezTo>
                    <a:pt x="2219" y="1144"/>
                    <a:pt x="2218" y="1144"/>
                    <a:pt x="2218" y="1143"/>
                  </a:cubicBezTo>
                  <a:cubicBezTo>
                    <a:pt x="2216" y="1140"/>
                    <a:pt x="2214" y="1137"/>
                    <a:pt x="2212" y="1134"/>
                  </a:cubicBezTo>
                  <a:cubicBezTo>
                    <a:pt x="2211" y="1133"/>
                    <a:pt x="2211" y="1132"/>
                    <a:pt x="2210" y="1131"/>
                  </a:cubicBezTo>
                  <a:cubicBezTo>
                    <a:pt x="2209" y="1128"/>
                    <a:pt x="2207" y="1126"/>
                    <a:pt x="2206" y="1124"/>
                  </a:cubicBezTo>
                  <a:cubicBezTo>
                    <a:pt x="2206" y="1122"/>
                    <a:pt x="2205" y="1121"/>
                    <a:pt x="2204" y="1120"/>
                  </a:cubicBezTo>
                  <a:cubicBezTo>
                    <a:pt x="2203" y="1118"/>
                    <a:pt x="2202" y="1115"/>
                    <a:pt x="2201" y="1113"/>
                  </a:cubicBezTo>
                  <a:cubicBezTo>
                    <a:pt x="2200" y="1112"/>
                    <a:pt x="2200" y="1110"/>
                    <a:pt x="2199" y="1109"/>
                  </a:cubicBezTo>
                  <a:cubicBezTo>
                    <a:pt x="2198" y="1107"/>
                    <a:pt x="2197" y="1104"/>
                    <a:pt x="2196" y="1102"/>
                  </a:cubicBezTo>
                  <a:cubicBezTo>
                    <a:pt x="2195" y="1101"/>
                    <a:pt x="2195" y="1100"/>
                    <a:pt x="2194" y="1098"/>
                  </a:cubicBezTo>
                  <a:cubicBezTo>
                    <a:pt x="2193" y="1095"/>
                    <a:pt x="2192" y="1092"/>
                    <a:pt x="2191" y="1089"/>
                  </a:cubicBezTo>
                  <a:cubicBezTo>
                    <a:pt x="2191" y="1089"/>
                    <a:pt x="2190" y="1088"/>
                    <a:pt x="2190" y="1087"/>
                  </a:cubicBezTo>
                  <a:cubicBezTo>
                    <a:pt x="2189" y="1084"/>
                    <a:pt x="2188" y="1080"/>
                    <a:pt x="2186" y="1076"/>
                  </a:cubicBezTo>
                  <a:cubicBezTo>
                    <a:pt x="2186" y="1075"/>
                    <a:pt x="2186" y="1074"/>
                    <a:pt x="2185" y="1073"/>
                  </a:cubicBezTo>
                  <a:cubicBezTo>
                    <a:pt x="2185" y="1071"/>
                    <a:pt x="2184" y="1069"/>
                    <a:pt x="2184" y="1067"/>
                  </a:cubicBezTo>
                  <a:lnTo>
                    <a:pt x="2672" y="1067"/>
                  </a:lnTo>
                  <a:cubicBezTo>
                    <a:pt x="2648" y="1155"/>
                    <a:pt x="2580" y="1225"/>
                    <a:pt x="2494" y="1249"/>
                  </a:cubicBezTo>
                  <a:lnTo>
                    <a:pt x="2494" y="1249"/>
                  </a:lnTo>
                  <a:close/>
                  <a:moveTo>
                    <a:pt x="2599" y="2326"/>
                  </a:moveTo>
                  <a:lnTo>
                    <a:pt x="2599" y="2326"/>
                  </a:lnTo>
                  <a:lnTo>
                    <a:pt x="2599" y="1385"/>
                  </a:lnTo>
                  <a:cubicBezTo>
                    <a:pt x="2744" y="1319"/>
                    <a:pt x="2845" y="1170"/>
                    <a:pt x="2845" y="998"/>
                  </a:cubicBezTo>
                  <a:cubicBezTo>
                    <a:pt x="2845" y="995"/>
                    <a:pt x="2845" y="993"/>
                    <a:pt x="2845" y="990"/>
                  </a:cubicBezTo>
                  <a:cubicBezTo>
                    <a:pt x="2846" y="972"/>
                    <a:pt x="2841" y="955"/>
                    <a:pt x="2832" y="940"/>
                  </a:cubicBezTo>
                  <a:cubicBezTo>
                    <a:pt x="2832" y="940"/>
                    <a:pt x="2831" y="940"/>
                    <a:pt x="2831" y="940"/>
                  </a:cubicBezTo>
                  <a:lnTo>
                    <a:pt x="2641" y="646"/>
                  </a:lnTo>
                  <a:cubicBezTo>
                    <a:pt x="2640" y="646"/>
                    <a:pt x="2640" y="645"/>
                    <a:pt x="2640" y="644"/>
                  </a:cubicBezTo>
                  <a:lnTo>
                    <a:pt x="2489" y="413"/>
                  </a:lnTo>
                  <a:lnTo>
                    <a:pt x="2489" y="246"/>
                  </a:lnTo>
                  <a:cubicBezTo>
                    <a:pt x="2489" y="110"/>
                    <a:pt x="2379" y="0"/>
                    <a:pt x="2243" y="0"/>
                  </a:cubicBezTo>
                  <a:lnTo>
                    <a:pt x="602" y="0"/>
                  </a:lnTo>
                  <a:cubicBezTo>
                    <a:pt x="466" y="0"/>
                    <a:pt x="356" y="110"/>
                    <a:pt x="356" y="246"/>
                  </a:cubicBezTo>
                  <a:lnTo>
                    <a:pt x="356" y="413"/>
                  </a:lnTo>
                  <a:lnTo>
                    <a:pt x="14" y="940"/>
                  </a:lnTo>
                  <a:cubicBezTo>
                    <a:pt x="14" y="940"/>
                    <a:pt x="14" y="940"/>
                    <a:pt x="14" y="940"/>
                  </a:cubicBezTo>
                  <a:cubicBezTo>
                    <a:pt x="4" y="954"/>
                    <a:pt x="0" y="971"/>
                    <a:pt x="0" y="988"/>
                  </a:cubicBezTo>
                  <a:cubicBezTo>
                    <a:pt x="0" y="992"/>
                    <a:pt x="0" y="995"/>
                    <a:pt x="0" y="998"/>
                  </a:cubicBezTo>
                  <a:cubicBezTo>
                    <a:pt x="0" y="1170"/>
                    <a:pt x="101" y="1319"/>
                    <a:pt x="246" y="1385"/>
                  </a:cubicBezTo>
                  <a:lnTo>
                    <a:pt x="246" y="2326"/>
                  </a:lnTo>
                  <a:cubicBezTo>
                    <a:pt x="109" y="2333"/>
                    <a:pt x="0" y="2446"/>
                    <a:pt x="0" y="2585"/>
                  </a:cubicBezTo>
                  <a:cubicBezTo>
                    <a:pt x="0" y="2728"/>
                    <a:pt x="117" y="2845"/>
                    <a:pt x="260" y="2845"/>
                  </a:cubicBezTo>
                  <a:lnTo>
                    <a:pt x="2585" y="2845"/>
                  </a:lnTo>
                  <a:cubicBezTo>
                    <a:pt x="2728" y="2845"/>
                    <a:pt x="2845" y="2728"/>
                    <a:pt x="2845" y="2585"/>
                  </a:cubicBezTo>
                  <a:cubicBezTo>
                    <a:pt x="2845" y="2446"/>
                    <a:pt x="2736" y="2333"/>
                    <a:pt x="2599" y="23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6">
              <a:extLst>
                <a:ext uri="{FF2B5EF4-FFF2-40B4-BE49-F238E27FC236}">
                  <a16:creationId xmlns:a16="http://schemas.microsoft.com/office/drawing/2014/main" id="{5D134EC8-D00B-4008-A464-AC8502E31854}"/>
                </a:ext>
              </a:extLst>
            </p:cNvPr>
            <p:cNvSpPr>
              <a:spLocks noEditPoints="1"/>
            </p:cNvSpPr>
            <p:nvPr/>
          </p:nvSpPr>
          <p:spPr bwMode="auto">
            <a:xfrm>
              <a:off x="3614738" y="3487738"/>
              <a:ext cx="677863" cy="471488"/>
            </a:xfrm>
            <a:custGeom>
              <a:avLst/>
              <a:gdLst>
                <a:gd name="T0" fmla="*/ 246 w 711"/>
                <a:gd name="T1" fmla="*/ 164 h 493"/>
                <a:gd name="T2" fmla="*/ 246 w 711"/>
                <a:gd name="T3" fmla="*/ 164 h 493"/>
                <a:gd name="T4" fmla="*/ 465 w 711"/>
                <a:gd name="T5" fmla="*/ 164 h 493"/>
                <a:gd name="T6" fmla="*/ 547 w 711"/>
                <a:gd name="T7" fmla="*/ 246 h 493"/>
                <a:gd name="T8" fmla="*/ 465 w 711"/>
                <a:gd name="T9" fmla="*/ 328 h 493"/>
                <a:gd name="T10" fmla="*/ 246 w 711"/>
                <a:gd name="T11" fmla="*/ 328 h 493"/>
                <a:gd name="T12" fmla="*/ 164 w 711"/>
                <a:gd name="T13" fmla="*/ 246 h 493"/>
                <a:gd name="T14" fmla="*/ 246 w 711"/>
                <a:gd name="T15" fmla="*/ 164 h 493"/>
                <a:gd name="T16" fmla="*/ 246 w 711"/>
                <a:gd name="T17" fmla="*/ 164 h 493"/>
                <a:gd name="T18" fmla="*/ 246 w 711"/>
                <a:gd name="T19" fmla="*/ 493 h 493"/>
                <a:gd name="T20" fmla="*/ 246 w 711"/>
                <a:gd name="T21" fmla="*/ 493 h 493"/>
                <a:gd name="T22" fmla="*/ 465 w 711"/>
                <a:gd name="T23" fmla="*/ 493 h 493"/>
                <a:gd name="T24" fmla="*/ 711 w 711"/>
                <a:gd name="T25" fmla="*/ 246 h 493"/>
                <a:gd name="T26" fmla="*/ 465 w 711"/>
                <a:gd name="T27" fmla="*/ 0 h 493"/>
                <a:gd name="T28" fmla="*/ 246 w 711"/>
                <a:gd name="T29" fmla="*/ 0 h 493"/>
                <a:gd name="T30" fmla="*/ 0 w 711"/>
                <a:gd name="T31" fmla="*/ 246 h 493"/>
                <a:gd name="T32" fmla="*/ 246 w 711"/>
                <a:gd name="T33" fmla="*/ 49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1" h="493">
                  <a:moveTo>
                    <a:pt x="246" y="164"/>
                  </a:moveTo>
                  <a:lnTo>
                    <a:pt x="246" y="164"/>
                  </a:lnTo>
                  <a:lnTo>
                    <a:pt x="465" y="164"/>
                  </a:lnTo>
                  <a:cubicBezTo>
                    <a:pt x="510" y="164"/>
                    <a:pt x="547" y="201"/>
                    <a:pt x="547" y="246"/>
                  </a:cubicBezTo>
                  <a:cubicBezTo>
                    <a:pt x="547" y="292"/>
                    <a:pt x="510" y="328"/>
                    <a:pt x="465" y="328"/>
                  </a:cubicBezTo>
                  <a:lnTo>
                    <a:pt x="246" y="328"/>
                  </a:lnTo>
                  <a:cubicBezTo>
                    <a:pt x="201" y="328"/>
                    <a:pt x="164" y="292"/>
                    <a:pt x="164" y="246"/>
                  </a:cubicBezTo>
                  <a:cubicBezTo>
                    <a:pt x="164" y="201"/>
                    <a:pt x="201" y="164"/>
                    <a:pt x="246" y="164"/>
                  </a:cubicBezTo>
                  <a:lnTo>
                    <a:pt x="246" y="164"/>
                  </a:lnTo>
                  <a:close/>
                  <a:moveTo>
                    <a:pt x="246" y="493"/>
                  </a:moveTo>
                  <a:lnTo>
                    <a:pt x="246" y="493"/>
                  </a:lnTo>
                  <a:lnTo>
                    <a:pt x="465" y="493"/>
                  </a:lnTo>
                  <a:cubicBezTo>
                    <a:pt x="600" y="493"/>
                    <a:pt x="711" y="382"/>
                    <a:pt x="711" y="246"/>
                  </a:cubicBezTo>
                  <a:cubicBezTo>
                    <a:pt x="711" y="111"/>
                    <a:pt x="600" y="0"/>
                    <a:pt x="465" y="0"/>
                  </a:cubicBezTo>
                  <a:lnTo>
                    <a:pt x="246" y="0"/>
                  </a:lnTo>
                  <a:cubicBezTo>
                    <a:pt x="110" y="0"/>
                    <a:pt x="0" y="111"/>
                    <a:pt x="0" y="246"/>
                  </a:cubicBezTo>
                  <a:cubicBezTo>
                    <a:pt x="0" y="382"/>
                    <a:pt x="110" y="493"/>
                    <a:pt x="246" y="49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7">
              <a:extLst>
                <a:ext uri="{FF2B5EF4-FFF2-40B4-BE49-F238E27FC236}">
                  <a16:creationId xmlns:a16="http://schemas.microsoft.com/office/drawing/2014/main" id="{AC01A4BC-A8EC-4ACD-A8D9-A136408AF20F}"/>
                </a:ext>
              </a:extLst>
            </p:cNvPr>
            <p:cNvSpPr>
              <a:spLocks/>
            </p:cNvSpPr>
            <p:nvPr/>
          </p:nvSpPr>
          <p:spPr bwMode="auto">
            <a:xfrm>
              <a:off x="2779713" y="2338388"/>
              <a:ext cx="1512888" cy="157163"/>
            </a:xfrm>
            <a:custGeom>
              <a:avLst/>
              <a:gdLst>
                <a:gd name="T0" fmla="*/ 1587 w 1587"/>
                <a:gd name="T1" fmla="*/ 82 h 164"/>
                <a:gd name="T2" fmla="*/ 1587 w 1587"/>
                <a:gd name="T3" fmla="*/ 82 h 164"/>
                <a:gd name="T4" fmla="*/ 1505 w 1587"/>
                <a:gd name="T5" fmla="*/ 0 h 164"/>
                <a:gd name="T6" fmla="*/ 82 w 1587"/>
                <a:gd name="T7" fmla="*/ 0 h 164"/>
                <a:gd name="T8" fmla="*/ 0 w 1587"/>
                <a:gd name="T9" fmla="*/ 82 h 164"/>
                <a:gd name="T10" fmla="*/ 82 w 1587"/>
                <a:gd name="T11" fmla="*/ 164 h 164"/>
                <a:gd name="T12" fmla="*/ 1505 w 1587"/>
                <a:gd name="T13" fmla="*/ 164 h 164"/>
                <a:gd name="T14" fmla="*/ 1587 w 1587"/>
                <a:gd name="T15" fmla="*/ 82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7" h="164">
                  <a:moveTo>
                    <a:pt x="1587" y="82"/>
                  </a:moveTo>
                  <a:lnTo>
                    <a:pt x="1587" y="82"/>
                  </a:lnTo>
                  <a:cubicBezTo>
                    <a:pt x="1587" y="36"/>
                    <a:pt x="1550" y="0"/>
                    <a:pt x="1505" y="0"/>
                  </a:cubicBezTo>
                  <a:lnTo>
                    <a:pt x="82" y="0"/>
                  </a:lnTo>
                  <a:cubicBezTo>
                    <a:pt x="37" y="0"/>
                    <a:pt x="0" y="36"/>
                    <a:pt x="0" y="82"/>
                  </a:cubicBezTo>
                  <a:cubicBezTo>
                    <a:pt x="0" y="127"/>
                    <a:pt x="37" y="164"/>
                    <a:pt x="82" y="164"/>
                  </a:cubicBezTo>
                  <a:lnTo>
                    <a:pt x="1505" y="164"/>
                  </a:lnTo>
                  <a:cubicBezTo>
                    <a:pt x="1550" y="164"/>
                    <a:pt x="1587" y="127"/>
                    <a:pt x="1587" y="8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8">
              <a:extLst>
                <a:ext uri="{FF2B5EF4-FFF2-40B4-BE49-F238E27FC236}">
                  <a16:creationId xmlns:a16="http://schemas.microsoft.com/office/drawing/2014/main" id="{F23C2650-B064-4C53-BD0D-6FBEB84569D3}"/>
                </a:ext>
              </a:extLst>
            </p:cNvPr>
            <p:cNvSpPr>
              <a:spLocks noEditPoints="1"/>
            </p:cNvSpPr>
            <p:nvPr/>
          </p:nvSpPr>
          <p:spPr bwMode="auto">
            <a:xfrm>
              <a:off x="1193800" y="1087438"/>
              <a:ext cx="4684713" cy="4694238"/>
            </a:xfrm>
            <a:custGeom>
              <a:avLst/>
              <a:gdLst>
                <a:gd name="T0" fmla="*/ 2456 w 4912"/>
                <a:gd name="T1" fmla="*/ 0 h 4913"/>
                <a:gd name="T2" fmla="*/ 2456 w 4912"/>
                <a:gd name="T3" fmla="*/ 0 h 4913"/>
                <a:gd name="T4" fmla="*/ 0 w 4912"/>
                <a:gd name="T5" fmla="*/ 2456 h 4913"/>
                <a:gd name="T6" fmla="*/ 2456 w 4912"/>
                <a:gd name="T7" fmla="*/ 4913 h 4913"/>
                <a:gd name="T8" fmla="*/ 4912 w 4912"/>
                <a:gd name="T9" fmla="*/ 2456 h 4913"/>
                <a:gd name="T10" fmla="*/ 2456 w 4912"/>
                <a:gd name="T11" fmla="*/ 0 h 4913"/>
                <a:gd name="T12" fmla="*/ 2456 w 4912"/>
                <a:gd name="T13" fmla="*/ 0 h 4913"/>
                <a:gd name="T14" fmla="*/ 2456 w 4912"/>
                <a:gd name="T15" fmla="*/ 4708 h 4913"/>
                <a:gd name="T16" fmla="*/ 2456 w 4912"/>
                <a:gd name="T17" fmla="*/ 4708 h 4913"/>
                <a:gd name="T18" fmla="*/ 204 w 4912"/>
                <a:gd name="T19" fmla="*/ 2456 h 4913"/>
                <a:gd name="T20" fmla="*/ 2456 w 4912"/>
                <a:gd name="T21" fmla="*/ 205 h 4913"/>
                <a:gd name="T22" fmla="*/ 4707 w 4912"/>
                <a:gd name="T23" fmla="*/ 2456 h 4913"/>
                <a:gd name="T24" fmla="*/ 2456 w 4912"/>
                <a:gd name="T25" fmla="*/ 4708 h 4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12" h="4913">
                  <a:moveTo>
                    <a:pt x="2456" y="0"/>
                  </a:moveTo>
                  <a:lnTo>
                    <a:pt x="2456" y="0"/>
                  </a:lnTo>
                  <a:cubicBezTo>
                    <a:pt x="1099" y="0"/>
                    <a:pt x="0" y="1100"/>
                    <a:pt x="0" y="2456"/>
                  </a:cubicBezTo>
                  <a:cubicBezTo>
                    <a:pt x="0" y="3813"/>
                    <a:pt x="1099" y="4913"/>
                    <a:pt x="2456" y="4913"/>
                  </a:cubicBezTo>
                  <a:cubicBezTo>
                    <a:pt x="3812" y="4913"/>
                    <a:pt x="4912" y="3813"/>
                    <a:pt x="4912" y="2456"/>
                  </a:cubicBezTo>
                  <a:cubicBezTo>
                    <a:pt x="4912" y="1100"/>
                    <a:pt x="3812" y="0"/>
                    <a:pt x="2456" y="0"/>
                  </a:cubicBezTo>
                  <a:lnTo>
                    <a:pt x="2456" y="0"/>
                  </a:lnTo>
                  <a:close/>
                  <a:moveTo>
                    <a:pt x="2456" y="4708"/>
                  </a:moveTo>
                  <a:lnTo>
                    <a:pt x="2456" y="4708"/>
                  </a:lnTo>
                  <a:cubicBezTo>
                    <a:pt x="1214" y="4708"/>
                    <a:pt x="204" y="3698"/>
                    <a:pt x="204" y="2456"/>
                  </a:cubicBezTo>
                  <a:cubicBezTo>
                    <a:pt x="204" y="1215"/>
                    <a:pt x="1214" y="205"/>
                    <a:pt x="2456" y="205"/>
                  </a:cubicBezTo>
                  <a:cubicBezTo>
                    <a:pt x="3697" y="205"/>
                    <a:pt x="4707" y="1215"/>
                    <a:pt x="4707" y="2456"/>
                  </a:cubicBezTo>
                  <a:cubicBezTo>
                    <a:pt x="4707" y="3698"/>
                    <a:pt x="3697" y="4708"/>
                    <a:pt x="2456" y="47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63" name="Group 262">
            <a:extLst>
              <a:ext uri="{FF2B5EF4-FFF2-40B4-BE49-F238E27FC236}">
                <a16:creationId xmlns:a16="http://schemas.microsoft.com/office/drawing/2014/main" id="{109EC334-6E1E-4460-A3CB-3B71EF845418}"/>
              </a:ext>
            </a:extLst>
          </p:cNvPr>
          <p:cNvGrpSpPr/>
          <p:nvPr/>
        </p:nvGrpSpPr>
        <p:grpSpPr>
          <a:xfrm>
            <a:off x="2289965" y="3287897"/>
            <a:ext cx="357339" cy="358065"/>
            <a:chOff x="6318250" y="1087438"/>
            <a:chExt cx="4684713" cy="4694238"/>
          </a:xfrm>
          <a:solidFill>
            <a:schemeClr val="bg2"/>
          </a:solidFill>
        </p:grpSpPr>
        <p:sp>
          <p:nvSpPr>
            <p:cNvPr id="264" name="Freeform 9">
              <a:extLst>
                <a:ext uri="{FF2B5EF4-FFF2-40B4-BE49-F238E27FC236}">
                  <a16:creationId xmlns:a16="http://schemas.microsoft.com/office/drawing/2014/main" id="{F8CCBAD1-0793-433D-8C17-7D595F09F313}"/>
                </a:ext>
              </a:extLst>
            </p:cNvPr>
            <p:cNvSpPr>
              <a:spLocks/>
            </p:cNvSpPr>
            <p:nvPr/>
          </p:nvSpPr>
          <p:spPr bwMode="auto">
            <a:xfrm>
              <a:off x="8747125" y="3017838"/>
              <a:ext cx="465138" cy="182563"/>
            </a:xfrm>
            <a:custGeom>
              <a:avLst/>
              <a:gdLst>
                <a:gd name="T0" fmla="*/ 7 w 488"/>
                <a:gd name="T1" fmla="*/ 20 h 191"/>
                <a:gd name="T2" fmla="*/ 11 w 488"/>
                <a:gd name="T3" fmla="*/ 31 h 191"/>
                <a:gd name="T4" fmla="*/ 15 w 488"/>
                <a:gd name="T5" fmla="*/ 42 h 191"/>
                <a:gd name="T6" fmla="*/ 21 w 488"/>
                <a:gd name="T7" fmla="*/ 53 h 191"/>
                <a:gd name="T8" fmla="*/ 27 w 488"/>
                <a:gd name="T9" fmla="*/ 64 h 191"/>
                <a:gd name="T10" fmla="*/ 34 w 488"/>
                <a:gd name="T11" fmla="*/ 76 h 191"/>
                <a:gd name="T12" fmla="*/ 41 w 488"/>
                <a:gd name="T13" fmla="*/ 86 h 191"/>
                <a:gd name="T14" fmla="*/ 48 w 488"/>
                <a:gd name="T15" fmla="*/ 95 h 191"/>
                <a:gd name="T16" fmla="*/ 55 w 488"/>
                <a:gd name="T17" fmla="*/ 104 h 191"/>
                <a:gd name="T18" fmla="*/ 64 w 488"/>
                <a:gd name="T19" fmla="*/ 113 h 191"/>
                <a:gd name="T20" fmla="*/ 74 w 488"/>
                <a:gd name="T21" fmla="*/ 124 h 191"/>
                <a:gd name="T22" fmla="*/ 83 w 488"/>
                <a:gd name="T23" fmla="*/ 131 h 191"/>
                <a:gd name="T24" fmla="*/ 92 w 488"/>
                <a:gd name="T25" fmla="*/ 138 h 191"/>
                <a:gd name="T26" fmla="*/ 101 w 488"/>
                <a:gd name="T27" fmla="*/ 145 h 191"/>
                <a:gd name="T28" fmla="*/ 111 w 488"/>
                <a:gd name="T29" fmla="*/ 152 h 191"/>
                <a:gd name="T30" fmla="*/ 124 w 488"/>
                <a:gd name="T31" fmla="*/ 160 h 191"/>
                <a:gd name="T32" fmla="*/ 134 w 488"/>
                <a:gd name="T33" fmla="*/ 165 h 191"/>
                <a:gd name="T34" fmla="*/ 144 w 488"/>
                <a:gd name="T35" fmla="*/ 170 h 191"/>
                <a:gd name="T36" fmla="*/ 155 w 488"/>
                <a:gd name="T37" fmla="*/ 175 h 191"/>
                <a:gd name="T38" fmla="*/ 167 w 488"/>
                <a:gd name="T39" fmla="*/ 179 h 191"/>
                <a:gd name="T40" fmla="*/ 181 w 488"/>
                <a:gd name="T41" fmla="*/ 183 h 191"/>
                <a:gd name="T42" fmla="*/ 192 w 488"/>
                <a:gd name="T43" fmla="*/ 186 h 191"/>
                <a:gd name="T44" fmla="*/ 204 w 488"/>
                <a:gd name="T45" fmla="*/ 188 h 191"/>
                <a:gd name="T46" fmla="*/ 216 w 488"/>
                <a:gd name="T47" fmla="*/ 190 h 191"/>
                <a:gd name="T48" fmla="*/ 228 w 488"/>
                <a:gd name="T49" fmla="*/ 191 h 191"/>
                <a:gd name="T50" fmla="*/ 244 w 488"/>
                <a:gd name="T51" fmla="*/ 191 h 191"/>
                <a:gd name="T52" fmla="*/ 260 w 488"/>
                <a:gd name="T53" fmla="*/ 191 h 191"/>
                <a:gd name="T54" fmla="*/ 273 w 488"/>
                <a:gd name="T55" fmla="*/ 190 h 191"/>
                <a:gd name="T56" fmla="*/ 285 w 488"/>
                <a:gd name="T57" fmla="*/ 188 h 191"/>
                <a:gd name="T58" fmla="*/ 296 w 488"/>
                <a:gd name="T59" fmla="*/ 186 h 191"/>
                <a:gd name="T60" fmla="*/ 307 w 488"/>
                <a:gd name="T61" fmla="*/ 183 h 191"/>
                <a:gd name="T62" fmla="*/ 322 w 488"/>
                <a:gd name="T63" fmla="*/ 179 h 191"/>
                <a:gd name="T64" fmla="*/ 333 w 488"/>
                <a:gd name="T65" fmla="*/ 175 h 191"/>
                <a:gd name="T66" fmla="*/ 344 w 488"/>
                <a:gd name="T67" fmla="*/ 170 h 191"/>
                <a:gd name="T68" fmla="*/ 355 w 488"/>
                <a:gd name="T69" fmla="*/ 165 h 191"/>
                <a:gd name="T70" fmla="*/ 365 w 488"/>
                <a:gd name="T71" fmla="*/ 160 h 191"/>
                <a:gd name="T72" fmla="*/ 378 w 488"/>
                <a:gd name="T73" fmla="*/ 152 h 191"/>
                <a:gd name="T74" fmla="*/ 388 w 488"/>
                <a:gd name="T75" fmla="*/ 145 h 191"/>
                <a:gd name="T76" fmla="*/ 397 w 488"/>
                <a:gd name="T77" fmla="*/ 138 h 191"/>
                <a:gd name="T78" fmla="*/ 406 w 488"/>
                <a:gd name="T79" fmla="*/ 131 h 191"/>
                <a:gd name="T80" fmla="*/ 414 w 488"/>
                <a:gd name="T81" fmla="*/ 124 h 191"/>
                <a:gd name="T82" fmla="*/ 425 w 488"/>
                <a:gd name="T83" fmla="*/ 113 h 191"/>
                <a:gd name="T84" fmla="*/ 433 w 488"/>
                <a:gd name="T85" fmla="*/ 104 h 191"/>
                <a:gd name="T86" fmla="*/ 441 w 488"/>
                <a:gd name="T87" fmla="*/ 95 h 191"/>
                <a:gd name="T88" fmla="*/ 448 w 488"/>
                <a:gd name="T89" fmla="*/ 86 h 191"/>
                <a:gd name="T90" fmla="*/ 454 w 488"/>
                <a:gd name="T91" fmla="*/ 76 h 191"/>
                <a:gd name="T92" fmla="*/ 462 w 488"/>
                <a:gd name="T93" fmla="*/ 64 h 191"/>
                <a:gd name="T94" fmla="*/ 468 w 488"/>
                <a:gd name="T95" fmla="*/ 53 h 191"/>
                <a:gd name="T96" fmla="*/ 473 w 488"/>
                <a:gd name="T97" fmla="*/ 42 h 191"/>
                <a:gd name="T98" fmla="*/ 478 w 488"/>
                <a:gd name="T99" fmla="*/ 31 h 191"/>
                <a:gd name="T100" fmla="*/ 482 w 488"/>
                <a:gd name="T101" fmla="*/ 20 h 191"/>
                <a:gd name="T102" fmla="*/ 487 w 488"/>
                <a:gd name="T103" fmla="*/ 6 h 191"/>
                <a:gd name="T104" fmla="*/ 0 w 488"/>
                <a:gd name="T105" fmla="*/ 0 h 191"/>
                <a:gd name="T106" fmla="*/ 3 w 488"/>
                <a:gd name="T107" fmla="*/ 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8" h="191">
                  <a:moveTo>
                    <a:pt x="7" y="20"/>
                  </a:moveTo>
                  <a:lnTo>
                    <a:pt x="7" y="20"/>
                  </a:lnTo>
                  <a:cubicBezTo>
                    <a:pt x="7" y="21"/>
                    <a:pt x="7" y="22"/>
                    <a:pt x="7" y="22"/>
                  </a:cubicBezTo>
                  <a:cubicBezTo>
                    <a:pt x="8" y="25"/>
                    <a:pt x="10" y="28"/>
                    <a:pt x="11" y="31"/>
                  </a:cubicBezTo>
                  <a:cubicBezTo>
                    <a:pt x="11" y="33"/>
                    <a:pt x="12" y="34"/>
                    <a:pt x="12" y="35"/>
                  </a:cubicBezTo>
                  <a:cubicBezTo>
                    <a:pt x="13" y="37"/>
                    <a:pt x="14" y="40"/>
                    <a:pt x="15" y="42"/>
                  </a:cubicBezTo>
                  <a:cubicBezTo>
                    <a:pt x="16" y="43"/>
                    <a:pt x="17" y="45"/>
                    <a:pt x="17" y="46"/>
                  </a:cubicBezTo>
                  <a:cubicBezTo>
                    <a:pt x="18" y="48"/>
                    <a:pt x="19" y="51"/>
                    <a:pt x="21" y="53"/>
                  </a:cubicBezTo>
                  <a:cubicBezTo>
                    <a:pt x="21" y="54"/>
                    <a:pt x="22" y="55"/>
                    <a:pt x="23" y="57"/>
                  </a:cubicBezTo>
                  <a:cubicBezTo>
                    <a:pt x="24" y="59"/>
                    <a:pt x="25" y="61"/>
                    <a:pt x="27" y="64"/>
                  </a:cubicBezTo>
                  <a:cubicBezTo>
                    <a:pt x="27" y="65"/>
                    <a:pt x="28" y="66"/>
                    <a:pt x="28" y="67"/>
                  </a:cubicBezTo>
                  <a:cubicBezTo>
                    <a:pt x="30" y="70"/>
                    <a:pt x="32" y="73"/>
                    <a:pt x="34" y="76"/>
                  </a:cubicBezTo>
                  <a:cubicBezTo>
                    <a:pt x="35" y="77"/>
                    <a:pt x="35" y="77"/>
                    <a:pt x="35" y="78"/>
                  </a:cubicBezTo>
                  <a:cubicBezTo>
                    <a:pt x="37" y="81"/>
                    <a:pt x="39" y="83"/>
                    <a:pt x="41" y="86"/>
                  </a:cubicBezTo>
                  <a:cubicBezTo>
                    <a:pt x="42" y="87"/>
                    <a:pt x="42" y="88"/>
                    <a:pt x="43" y="89"/>
                  </a:cubicBezTo>
                  <a:cubicBezTo>
                    <a:pt x="45" y="91"/>
                    <a:pt x="46" y="93"/>
                    <a:pt x="48" y="95"/>
                  </a:cubicBezTo>
                  <a:cubicBezTo>
                    <a:pt x="49" y="96"/>
                    <a:pt x="50" y="97"/>
                    <a:pt x="51" y="98"/>
                  </a:cubicBezTo>
                  <a:cubicBezTo>
                    <a:pt x="52" y="100"/>
                    <a:pt x="54" y="102"/>
                    <a:pt x="55" y="104"/>
                  </a:cubicBezTo>
                  <a:cubicBezTo>
                    <a:pt x="56" y="105"/>
                    <a:pt x="57" y="106"/>
                    <a:pt x="58" y="107"/>
                  </a:cubicBezTo>
                  <a:cubicBezTo>
                    <a:pt x="60" y="109"/>
                    <a:pt x="62" y="111"/>
                    <a:pt x="64" y="113"/>
                  </a:cubicBezTo>
                  <a:cubicBezTo>
                    <a:pt x="64" y="114"/>
                    <a:pt x="65" y="115"/>
                    <a:pt x="66" y="116"/>
                  </a:cubicBezTo>
                  <a:cubicBezTo>
                    <a:pt x="69" y="118"/>
                    <a:pt x="71" y="121"/>
                    <a:pt x="74" y="124"/>
                  </a:cubicBezTo>
                  <a:cubicBezTo>
                    <a:pt x="74" y="124"/>
                    <a:pt x="75" y="124"/>
                    <a:pt x="75" y="124"/>
                  </a:cubicBezTo>
                  <a:cubicBezTo>
                    <a:pt x="77" y="127"/>
                    <a:pt x="80" y="129"/>
                    <a:pt x="83" y="131"/>
                  </a:cubicBezTo>
                  <a:cubicBezTo>
                    <a:pt x="84" y="132"/>
                    <a:pt x="85" y="133"/>
                    <a:pt x="85" y="134"/>
                  </a:cubicBezTo>
                  <a:cubicBezTo>
                    <a:pt x="87" y="135"/>
                    <a:pt x="89" y="137"/>
                    <a:pt x="92" y="138"/>
                  </a:cubicBezTo>
                  <a:cubicBezTo>
                    <a:pt x="93" y="139"/>
                    <a:pt x="94" y="140"/>
                    <a:pt x="95" y="141"/>
                  </a:cubicBezTo>
                  <a:cubicBezTo>
                    <a:pt x="97" y="142"/>
                    <a:pt x="99" y="144"/>
                    <a:pt x="101" y="145"/>
                  </a:cubicBezTo>
                  <a:cubicBezTo>
                    <a:pt x="102" y="146"/>
                    <a:pt x="103" y="147"/>
                    <a:pt x="104" y="148"/>
                  </a:cubicBezTo>
                  <a:cubicBezTo>
                    <a:pt x="106" y="149"/>
                    <a:pt x="109" y="151"/>
                    <a:pt x="111" y="152"/>
                  </a:cubicBezTo>
                  <a:cubicBezTo>
                    <a:pt x="112" y="153"/>
                    <a:pt x="113" y="153"/>
                    <a:pt x="114" y="154"/>
                  </a:cubicBezTo>
                  <a:cubicBezTo>
                    <a:pt x="117" y="156"/>
                    <a:pt x="120" y="158"/>
                    <a:pt x="124" y="160"/>
                  </a:cubicBezTo>
                  <a:cubicBezTo>
                    <a:pt x="124" y="160"/>
                    <a:pt x="124" y="160"/>
                    <a:pt x="124" y="160"/>
                  </a:cubicBezTo>
                  <a:cubicBezTo>
                    <a:pt x="127" y="162"/>
                    <a:pt x="131" y="164"/>
                    <a:pt x="134" y="165"/>
                  </a:cubicBezTo>
                  <a:cubicBezTo>
                    <a:pt x="135" y="166"/>
                    <a:pt x="136" y="166"/>
                    <a:pt x="137" y="167"/>
                  </a:cubicBezTo>
                  <a:cubicBezTo>
                    <a:pt x="139" y="168"/>
                    <a:pt x="142" y="169"/>
                    <a:pt x="144" y="170"/>
                  </a:cubicBezTo>
                  <a:cubicBezTo>
                    <a:pt x="145" y="171"/>
                    <a:pt x="147" y="171"/>
                    <a:pt x="148" y="172"/>
                  </a:cubicBezTo>
                  <a:cubicBezTo>
                    <a:pt x="150" y="173"/>
                    <a:pt x="153" y="174"/>
                    <a:pt x="155" y="175"/>
                  </a:cubicBezTo>
                  <a:cubicBezTo>
                    <a:pt x="156" y="175"/>
                    <a:pt x="158" y="176"/>
                    <a:pt x="159" y="176"/>
                  </a:cubicBezTo>
                  <a:cubicBezTo>
                    <a:pt x="161" y="177"/>
                    <a:pt x="164" y="178"/>
                    <a:pt x="167" y="179"/>
                  </a:cubicBezTo>
                  <a:cubicBezTo>
                    <a:pt x="168" y="179"/>
                    <a:pt x="169" y="179"/>
                    <a:pt x="170" y="180"/>
                  </a:cubicBezTo>
                  <a:cubicBezTo>
                    <a:pt x="174" y="181"/>
                    <a:pt x="177" y="182"/>
                    <a:pt x="181" y="183"/>
                  </a:cubicBezTo>
                  <a:cubicBezTo>
                    <a:pt x="181" y="183"/>
                    <a:pt x="181" y="183"/>
                    <a:pt x="182" y="183"/>
                  </a:cubicBezTo>
                  <a:cubicBezTo>
                    <a:pt x="185" y="184"/>
                    <a:pt x="189" y="185"/>
                    <a:pt x="192" y="186"/>
                  </a:cubicBezTo>
                  <a:cubicBezTo>
                    <a:pt x="194" y="186"/>
                    <a:pt x="195" y="186"/>
                    <a:pt x="196" y="187"/>
                  </a:cubicBezTo>
                  <a:cubicBezTo>
                    <a:pt x="199" y="187"/>
                    <a:pt x="201" y="188"/>
                    <a:pt x="204" y="188"/>
                  </a:cubicBezTo>
                  <a:cubicBezTo>
                    <a:pt x="205" y="188"/>
                    <a:pt x="207" y="188"/>
                    <a:pt x="208" y="189"/>
                  </a:cubicBezTo>
                  <a:cubicBezTo>
                    <a:pt x="211" y="189"/>
                    <a:pt x="213" y="189"/>
                    <a:pt x="216" y="190"/>
                  </a:cubicBezTo>
                  <a:cubicBezTo>
                    <a:pt x="217" y="190"/>
                    <a:pt x="219" y="190"/>
                    <a:pt x="220" y="190"/>
                  </a:cubicBezTo>
                  <a:cubicBezTo>
                    <a:pt x="223" y="190"/>
                    <a:pt x="226" y="191"/>
                    <a:pt x="228" y="191"/>
                  </a:cubicBezTo>
                  <a:cubicBezTo>
                    <a:pt x="230" y="191"/>
                    <a:pt x="231" y="191"/>
                    <a:pt x="232" y="191"/>
                  </a:cubicBezTo>
                  <a:cubicBezTo>
                    <a:pt x="236" y="191"/>
                    <a:pt x="240" y="191"/>
                    <a:pt x="244" y="191"/>
                  </a:cubicBezTo>
                  <a:cubicBezTo>
                    <a:pt x="248" y="191"/>
                    <a:pt x="252" y="191"/>
                    <a:pt x="256" y="191"/>
                  </a:cubicBezTo>
                  <a:cubicBezTo>
                    <a:pt x="258" y="191"/>
                    <a:pt x="259" y="191"/>
                    <a:pt x="260" y="191"/>
                  </a:cubicBezTo>
                  <a:cubicBezTo>
                    <a:pt x="263" y="191"/>
                    <a:pt x="266" y="190"/>
                    <a:pt x="268" y="190"/>
                  </a:cubicBezTo>
                  <a:cubicBezTo>
                    <a:pt x="270" y="190"/>
                    <a:pt x="271" y="190"/>
                    <a:pt x="273" y="190"/>
                  </a:cubicBezTo>
                  <a:cubicBezTo>
                    <a:pt x="275" y="189"/>
                    <a:pt x="278" y="189"/>
                    <a:pt x="280" y="189"/>
                  </a:cubicBezTo>
                  <a:cubicBezTo>
                    <a:pt x="282" y="188"/>
                    <a:pt x="283" y="188"/>
                    <a:pt x="285" y="188"/>
                  </a:cubicBezTo>
                  <a:cubicBezTo>
                    <a:pt x="287" y="188"/>
                    <a:pt x="290" y="187"/>
                    <a:pt x="292" y="187"/>
                  </a:cubicBezTo>
                  <a:cubicBezTo>
                    <a:pt x="294" y="186"/>
                    <a:pt x="295" y="186"/>
                    <a:pt x="296" y="186"/>
                  </a:cubicBezTo>
                  <a:cubicBezTo>
                    <a:pt x="300" y="185"/>
                    <a:pt x="303" y="184"/>
                    <a:pt x="307" y="183"/>
                  </a:cubicBezTo>
                  <a:cubicBezTo>
                    <a:pt x="307" y="183"/>
                    <a:pt x="307" y="183"/>
                    <a:pt x="307" y="183"/>
                  </a:cubicBezTo>
                  <a:cubicBezTo>
                    <a:pt x="311" y="182"/>
                    <a:pt x="315" y="181"/>
                    <a:pt x="319" y="180"/>
                  </a:cubicBezTo>
                  <a:cubicBezTo>
                    <a:pt x="320" y="179"/>
                    <a:pt x="321" y="179"/>
                    <a:pt x="322" y="179"/>
                  </a:cubicBezTo>
                  <a:cubicBezTo>
                    <a:pt x="325" y="178"/>
                    <a:pt x="327" y="177"/>
                    <a:pt x="330" y="176"/>
                  </a:cubicBezTo>
                  <a:cubicBezTo>
                    <a:pt x="331" y="176"/>
                    <a:pt x="332" y="175"/>
                    <a:pt x="333" y="175"/>
                  </a:cubicBezTo>
                  <a:cubicBezTo>
                    <a:pt x="336" y="174"/>
                    <a:pt x="338" y="173"/>
                    <a:pt x="340" y="172"/>
                  </a:cubicBezTo>
                  <a:cubicBezTo>
                    <a:pt x="342" y="171"/>
                    <a:pt x="343" y="171"/>
                    <a:pt x="344" y="170"/>
                  </a:cubicBezTo>
                  <a:cubicBezTo>
                    <a:pt x="347" y="169"/>
                    <a:pt x="349" y="168"/>
                    <a:pt x="351" y="167"/>
                  </a:cubicBezTo>
                  <a:cubicBezTo>
                    <a:pt x="353" y="166"/>
                    <a:pt x="354" y="166"/>
                    <a:pt x="355" y="165"/>
                  </a:cubicBezTo>
                  <a:cubicBezTo>
                    <a:pt x="358" y="164"/>
                    <a:pt x="361" y="162"/>
                    <a:pt x="364" y="160"/>
                  </a:cubicBezTo>
                  <a:cubicBezTo>
                    <a:pt x="364" y="160"/>
                    <a:pt x="365" y="160"/>
                    <a:pt x="365" y="160"/>
                  </a:cubicBezTo>
                  <a:cubicBezTo>
                    <a:pt x="368" y="158"/>
                    <a:pt x="371" y="156"/>
                    <a:pt x="375" y="154"/>
                  </a:cubicBezTo>
                  <a:cubicBezTo>
                    <a:pt x="376" y="153"/>
                    <a:pt x="377" y="153"/>
                    <a:pt x="378" y="152"/>
                  </a:cubicBezTo>
                  <a:cubicBezTo>
                    <a:pt x="380" y="151"/>
                    <a:pt x="382" y="149"/>
                    <a:pt x="384" y="148"/>
                  </a:cubicBezTo>
                  <a:cubicBezTo>
                    <a:pt x="385" y="147"/>
                    <a:pt x="387" y="146"/>
                    <a:pt x="388" y="145"/>
                  </a:cubicBezTo>
                  <a:cubicBezTo>
                    <a:pt x="390" y="144"/>
                    <a:pt x="392" y="142"/>
                    <a:pt x="394" y="141"/>
                  </a:cubicBezTo>
                  <a:cubicBezTo>
                    <a:pt x="395" y="140"/>
                    <a:pt x="396" y="139"/>
                    <a:pt x="397" y="138"/>
                  </a:cubicBezTo>
                  <a:cubicBezTo>
                    <a:pt x="399" y="137"/>
                    <a:pt x="401" y="135"/>
                    <a:pt x="403" y="134"/>
                  </a:cubicBezTo>
                  <a:cubicBezTo>
                    <a:pt x="404" y="133"/>
                    <a:pt x="405" y="132"/>
                    <a:pt x="406" y="131"/>
                  </a:cubicBezTo>
                  <a:cubicBezTo>
                    <a:pt x="408" y="129"/>
                    <a:pt x="411" y="127"/>
                    <a:pt x="414" y="124"/>
                  </a:cubicBezTo>
                  <a:cubicBezTo>
                    <a:pt x="414" y="124"/>
                    <a:pt x="414" y="124"/>
                    <a:pt x="414" y="124"/>
                  </a:cubicBezTo>
                  <a:cubicBezTo>
                    <a:pt x="417" y="121"/>
                    <a:pt x="420" y="118"/>
                    <a:pt x="423" y="116"/>
                  </a:cubicBezTo>
                  <a:cubicBezTo>
                    <a:pt x="423" y="115"/>
                    <a:pt x="424" y="114"/>
                    <a:pt x="425" y="113"/>
                  </a:cubicBezTo>
                  <a:cubicBezTo>
                    <a:pt x="427" y="111"/>
                    <a:pt x="429" y="109"/>
                    <a:pt x="430" y="107"/>
                  </a:cubicBezTo>
                  <a:cubicBezTo>
                    <a:pt x="431" y="106"/>
                    <a:pt x="432" y="105"/>
                    <a:pt x="433" y="104"/>
                  </a:cubicBezTo>
                  <a:cubicBezTo>
                    <a:pt x="435" y="102"/>
                    <a:pt x="436" y="100"/>
                    <a:pt x="438" y="98"/>
                  </a:cubicBezTo>
                  <a:cubicBezTo>
                    <a:pt x="439" y="97"/>
                    <a:pt x="440" y="96"/>
                    <a:pt x="441" y="95"/>
                  </a:cubicBezTo>
                  <a:cubicBezTo>
                    <a:pt x="442" y="93"/>
                    <a:pt x="444" y="91"/>
                    <a:pt x="445" y="89"/>
                  </a:cubicBezTo>
                  <a:cubicBezTo>
                    <a:pt x="446" y="88"/>
                    <a:pt x="447" y="87"/>
                    <a:pt x="448" y="86"/>
                  </a:cubicBezTo>
                  <a:cubicBezTo>
                    <a:pt x="450" y="83"/>
                    <a:pt x="451" y="81"/>
                    <a:pt x="453" y="78"/>
                  </a:cubicBezTo>
                  <a:cubicBezTo>
                    <a:pt x="454" y="77"/>
                    <a:pt x="454" y="77"/>
                    <a:pt x="454" y="76"/>
                  </a:cubicBezTo>
                  <a:cubicBezTo>
                    <a:pt x="456" y="73"/>
                    <a:pt x="458" y="70"/>
                    <a:pt x="460" y="67"/>
                  </a:cubicBezTo>
                  <a:cubicBezTo>
                    <a:pt x="461" y="66"/>
                    <a:pt x="461" y="65"/>
                    <a:pt x="462" y="64"/>
                  </a:cubicBezTo>
                  <a:cubicBezTo>
                    <a:pt x="463" y="61"/>
                    <a:pt x="465" y="59"/>
                    <a:pt x="466" y="57"/>
                  </a:cubicBezTo>
                  <a:cubicBezTo>
                    <a:pt x="467" y="55"/>
                    <a:pt x="467" y="54"/>
                    <a:pt x="468" y="53"/>
                  </a:cubicBezTo>
                  <a:cubicBezTo>
                    <a:pt x="469" y="51"/>
                    <a:pt x="470" y="48"/>
                    <a:pt x="471" y="46"/>
                  </a:cubicBezTo>
                  <a:cubicBezTo>
                    <a:pt x="472" y="45"/>
                    <a:pt x="473" y="43"/>
                    <a:pt x="473" y="42"/>
                  </a:cubicBezTo>
                  <a:cubicBezTo>
                    <a:pt x="474" y="40"/>
                    <a:pt x="475" y="37"/>
                    <a:pt x="476" y="35"/>
                  </a:cubicBezTo>
                  <a:cubicBezTo>
                    <a:pt x="477" y="34"/>
                    <a:pt x="477" y="33"/>
                    <a:pt x="478" y="31"/>
                  </a:cubicBezTo>
                  <a:cubicBezTo>
                    <a:pt x="479" y="28"/>
                    <a:pt x="480" y="25"/>
                    <a:pt x="481" y="22"/>
                  </a:cubicBezTo>
                  <a:cubicBezTo>
                    <a:pt x="482" y="22"/>
                    <a:pt x="482" y="21"/>
                    <a:pt x="482" y="20"/>
                  </a:cubicBezTo>
                  <a:cubicBezTo>
                    <a:pt x="483" y="17"/>
                    <a:pt x="485" y="13"/>
                    <a:pt x="486" y="9"/>
                  </a:cubicBezTo>
                  <a:cubicBezTo>
                    <a:pt x="486" y="8"/>
                    <a:pt x="486" y="7"/>
                    <a:pt x="487" y="6"/>
                  </a:cubicBezTo>
                  <a:cubicBezTo>
                    <a:pt x="487" y="4"/>
                    <a:pt x="488" y="2"/>
                    <a:pt x="488" y="0"/>
                  </a:cubicBezTo>
                  <a:lnTo>
                    <a:pt x="0" y="0"/>
                  </a:lnTo>
                  <a:cubicBezTo>
                    <a:pt x="1" y="2"/>
                    <a:pt x="1" y="4"/>
                    <a:pt x="2" y="6"/>
                  </a:cubicBezTo>
                  <a:cubicBezTo>
                    <a:pt x="2" y="7"/>
                    <a:pt x="2" y="8"/>
                    <a:pt x="3" y="9"/>
                  </a:cubicBezTo>
                  <a:cubicBezTo>
                    <a:pt x="4" y="13"/>
                    <a:pt x="5" y="17"/>
                    <a:pt x="7" y="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0">
              <a:extLst>
                <a:ext uri="{FF2B5EF4-FFF2-40B4-BE49-F238E27FC236}">
                  <a16:creationId xmlns:a16="http://schemas.microsoft.com/office/drawing/2014/main" id="{86320FFB-9B83-4E81-BBA5-FA7B96FC802C}"/>
                </a:ext>
              </a:extLst>
            </p:cNvPr>
            <p:cNvSpPr>
              <a:spLocks/>
            </p:cNvSpPr>
            <p:nvPr/>
          </p:nvSpPr>
          <p:spPr bwMode="auto">
            <a:xfrm>
              <a:off x="8059738" y="3644900"/>
              <a:ext cx="365125" cy="574675"/>
            </a:xfrm>
            <a:custGeom>
              <a:avLst/>
              <a:gdLst>
                <a:gd name="T0" fmla="*/ 82 w 383"/>
                <a:gd name="T1" fmla="*/ 0 h 602"/>
                <a:gd name="T2" fmla="*/ 82 w 383"/>
                <a:gd name="T3" fmla="*/ 0 h 602"/>
                <a:gd name="T4" fmla="*/ 0 w 383"/>
                <a:gd name="T5" fmla="*/ 82 h 602"/>
                <a:gd name="T6" fmla="*/ 0 w 383"/>
                <a:gd name="T7" fmla="*/ 602 h 602"/>
                <a:gd name="T8" fmla="*/ 383 w 383"/>
                <a:gd name="T9" fmla="*/ 602 h 602"/>
                <a:gd name="T10" fmla="*/ 383 w 383"/>
                <a:gd name="T11" fmla="*/ 82 h 602"/>
                <a:gd name="T12" fmla="*/ 301 w 383"/>
                <a:gd name="T13" fmla="*/ 0 h 602"/>
                <a:gd name="T14" fmla="*/ 82 w 383"/>
                <a:gd name="T15" fmla="*/ 0 h 6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3" h="602">
                  <a:moveTo>
                    <a:pt x="82" y="0"/>
                  </a:moveTo>
                  <a:lnTo>
                    <a:pt x="82" y="0"/>
                  </a:lnTo>
                  <a:cubicBezTo>
                    <a:pt x="37" y="0"/>
                    <a:pt x="0" y="37"/>
                    <a:pt x="0" y="82"/>
                  </a:cubicBezTo>
                  <a:lnTo>
                    <a:pt x="0" y="602"/>
                  </a:lnTo>
                  <a:lnTo>
                    <a:pt x="383" y="602"/>
                  </a:lnTo>
                  <a:lnTo>
                    <a:pt x="383" y="82"/>
                  </a:lnTo>
                  <a:cubicBezTo>
                    <a:pt x="383" y="37"/>
                    <a:pt x="346" y="0"/>
                    <a:pt x="301" y="0"/>
                  </a:cubicBezTo>
                  <a:lnTo>
                    <a:pt x="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1">
              <a:extLst>
                <a:ext uri="{FF2B5EF4-FFF2-40B4-BE49-F238E27FC236}">
                  <a16:creationId xmlns:a16="http://schemas.microsoft.com/office/drawing/2014/main" id="{B70EB578-3DD7-4D90-83F0-77004C223110}"/>
                </a:ext>
              </a:extLst>
            </p:cNvPr>
            <p:cNvSpPr>
              <a:spLocks/>
            </p:cNvSpPr>
            <p:nvPr/>
          </p:nvSpPr>
          <p:spPr bwMode="auto">
            <a:xfrm>
              <a:off x="8107363" y="3017838"/>
              <a:ext cx="466725" cy="182563"/>
            </a:xfrm>
            <a:custGeom>
              <a:avLst/>
              <a:gdLst>
                <a:gd name="T0" fmla="*/ 6 w 488"/>
                <a:gd name="T1" fmla="*/ 20 h 191"/>
                <a:gd name="T2" fmla="*/ 11 w 488"/>
                <a:gd name="T3" fmla="*/ 31 h 191"/>
                <a:gd name="T4" fmla="*/ 15 w 488"/>
                <a:gd name="T5" fmla="*/ 42 h 191"/>
                <a:gd name="T6" fmla="*/ 20 w 488"/>
                <a:gd name="T7" fmla="*/ 53 h 191"/>
                <a:gd name="T8" fmla="*/ 26 w 488"/>
                <a:gd name="T9" fmla="*/ 64 h 191"/>
                <a:gd name="T10" fmla="*/ 34 w 488"/>
                <a:gd name="T11" fmla="*/ 76 h 191"/>
                <a:gd name="T12" fmla="*/ 41 w 488"/>
                <a:gd name="T13" fmla="*/ 86 h 191"/>
                <a:gd name="T14" fmla="*/ 48 w 488"/>
                <a:gd name="T15" fmla="*/ 95 h 191"/>
                <a:gd name="T16" fmla="*/ 55 w 488"/>
                <a:gd name="T17" fmla="*/ 104 h 191"/>
                <a:gd name="T18" fmla="*/ 63 w 488"/>
                <a:gd name="T19" fmla="*/ 113 h 191"/>
                <a:gd name="T20" fmla="*/ 74 w 488"/>
                <a:gd name="T21" fmla="*/ 124 h 191"/>
                <a:gd name="T22" fmla="*/ 82 w 488"/>
                <a:gd name="T23" fmla="*/ 131 h 191"/>
                <a:gd name="T24" fmla="*/ 91 w 488"/>
                <a:gd name="T25" fmla="*/ 138 h 191"/>
                <a:gd name="T26" fmla="*/ 101 w 488"/>
                <a:gd name="T27" fmla="*/ 145 h 191"/>
                <a:gd name="T28" fmla="*/ 111 w 488"/>
                <a:gd name="T29" fmla="*/ 152 h 191"/>
                <a:gd name="T30" fmla="*/ 123 w 488"/>
                <a:gd name="T31" fmla="*/ 160 h 191"/>
                <a:gd name="T32" fmla="*/ 134 w 488"/>
                <a:gd name="T33" fmla="*/ 165 h 191"/>
                <a:gd name="T34" fmla="*/ 144 w 488"/>
                <a:gd name="T35" fmla="*/ 170 h 191"/>
                <a:gd name="T36" fmla="*/ 155 w 488"/>
                <a:gd name="T37" fmla="*/ 175 h 191"/>
                <a:gd name="T38" fmla="*/ 166 w 488"/>
                <a:gd name="T39" fmla="*/ 179 h 191"/>
                <a:gd name="T40" fmla="*/ 181 w 488"/>
                <a:gd name="T41" fmla="*/ 183 h 191"/>
                <a:gd name="T42" fmla="*/ 192 w 488"/>
                <a:gd name="T43" fmla="*/ 186 h 191"/>
                <a:gd name="T44" fmla="*/ 204 w 488"/>
                <a:gd name="T45" fmla="*/ 188 h 191"/>
                <a:gd name="T46" fmla="*/ 216 w 488"/>
                <a:gd name="T47" fmla="*/ 190 h 191"/>
                <a:gd name="T48" fmla="*/ 228 w 488"/>
                <a:gd name="T49" fmla="*/ 191 h 191"/>
                <a:gd name="T50" fmla="*/ 244 w 488"/>
                <a:gd name="T51" fmla="*/ 191 h 191"/>
                <a:gd name="T52" fmla="*/ 260 w 488"/>
                <a:gd name="T53" fmla="*/ 191 h 191"/>
                <a:gd name="T54" fmla="*/ 272 w 488"/>
                <a:gd name="T55" fmla="*/ 190 h 191"/>
                <a:gd name="T56" fmla="*/ 284 w 488"/>
                <a:gd name="T57" fmla="*/ 188 h 191"/>
                <a:gd name="T58" fmla="*/ 296 w 488"/>
                <a:gd name="T59" fmla="*/ 186 h 191"/>
                <a:gd name="T60" fmla="*/ 307 w 488"/>
                <a:gd name="T61" fmla="*/ 183 h 191"/>
                <a:gd name="T62" fmla="*/ 322 w 488"/>
                <a:gd name="T63" fmla="*/ 179 h 191"/>
                <a:gd name="T64" fmla="*/ 333 w 488"/>
                <a:gd name="T65" fmla="*/ 175 h 191"/>
                <a:gd name="T66" fmla="*/ 344 w 488"/>
                <a:gd name="T67" fmla="*/ 170 h 191"/>
                <a:gd name="T68" fmla="*/ 355 w 488"/>
                <a:gd name="T69" fmla="*/ 165 h 191"/>
                <a:gd name="T70" fmla="*/ 365 w 488"/>
                <a:gd name="T71" fmla="*/ 160 h 191"/>
                <a:gd name="T72" fmla="*/ 377 w 488"/>
                <a:gd name="T73" fmla="*/ 152 h 191"/>
                <a:gd name="T74" fmla="*/ 387 w 488"/>
                <a:gd name="T75" fmla="*/ 145 h 191"/>
                <a:gd name="T76" fmla="*/ 397 w 488"/>
                <a:gd name="T77" fmla="*/ 138 h 191"/>
                <a:gd name="T78" fmla="*/ 406 w 488"/>
                <a:gd name="T79" fmla="*/ 131 h 191"/>
                <a:gd name="T80" fmla="*/ 414 w 488"/>
                <a:gd name="T81" fmla="*/ 124 h 191"/>
                <a:gd name="T82" fmla="*/ 425 w 488"/>
                <a:gd name="T83" fmla="*/ 113 h 191"/>
                <a:gd name="T84" fmla="*/ 433 w 488"/>
                <a:gd name="T85" fmla="*/ 104 h 191"/>
                <a:gd name="T86" fmla="*/ 440 w 488"/>
                <a:gd name="T87" fmla="*/ 95 h 191"/>
                <a:gd name="T88" fmla="*/ 447 w 488"/>
                <a:gd name="T89" fmla="*/ 86 h 191"/>
                <a:gd name="T90" fmla="*/ 454 w 488"/>
                <a:gd name="T91" fmla="*/ 76 h 191"/>
                <a:gd name="T92" fmla="*/ 462 w 488"/>
                <a:gd name="T93" fmla="*/ 64 h 191"/>
                <a:gd name="T94" fmla="*/ 468 w 488"/>
                <a:gd name="T95" fmla="*/ 53 h 191"/>
                <a:gd name="T96" fmla="*/ 473 w 488"/>
                <a:gd name="T97" fmla="*/ 42 h 191"/>
                <a:gd name="T98" fmla="*/ 478 w 488"/>
                <a:gd name="T99" fmla="*/ 31 h 191"/>
                <a:gd name="T100" fmla="*/ 482 w 488"/>
                <a:gd name="T101" fmla="*/ 20 h 191"/>
                <a:gd name="T102" fmla="*/ 486 w 488"/>
                <a:gd name="T103" fmla="*/ 6 h 191"/>
                <a:gd name="T104" fmla="*/ 0 w 488"/>
                <a:gd name="T105" fmla="*/ 0 h 191"/>
                <a:gd name="T106" fmla="*/ 3 w 488"/>
                <a:gd name="T107" fmla="*/ 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8" h="191">
                  <a:moveTo>
                    <a:pt x="6" y="20"/>
                  </a:moveTo>
                  <a:lnTo>
                    <a:pt x="6" y="20"/>
                  </a:lnTo>
                  <a:cubicBezTo>
                    <a:pt x="7" y="21"/>
                    <a:pt x="7" y="22"/>
                    <a:pt x="7" y="22"/>
                  </a:cubicBezTo>
                  <a:cubicBezTo>
                    <a:pt x="8" y="25"/>
                    <a:pt x="9" y="28"/>
                    <a:pt x="11" y="31"/>
                  </a:cubicBezTo>
                  <a:cubicBezTo>
                    <a:pt x="11" y="33"/>
                    <a:pt x="12" y="34"/>
                    <a:pt x="12" y="35"/>
                  </a:cubicBezTo>
                  <a:cubicBezTo>
                    <a:pt x="13" y="37"/>
                    <a:pt x="14" y="40"/>
                    <a:pt x="15" y="42"/>
                  </a:cubicBezTo>
                  <a:cubicBezTo>
                    <a:pt x="16" y="43"/>
                    <a:pt x="16" y="45"/>
                    <a:pt x="17" y="46"/>
                  </a:cubicBezTo>
                  <a:cubicBezTo>
                    <a:pt x="18" y="48"/>
                    <a:pt x="19" y="51"/>
                    <a:pt x="20" y="53"/>
                  </a:cubicBezTo>
                  <a:cubicBezTo>
                    <a:pt x="21" y="54"/>
                    <a:pt x="22" y="55"/>
                    <a:pt x="22" y="57"/>
                  </a:cubicBezTo>
                  <a:cubicBezTo>
                    <a:pt x="24" y="59"/>
                    <a:pt x="25" y="61"/>
                    <a:pt x="26" y="64"/>
                  </a:cubicBezTo>
                  <a:cubicBezTo>
                    <a:pt x="27" y="65"/>
                    <a:pt x="28" y="66"/>
                    <a:pt x="28" y="67"/>
                  </a:cubicBezTo>
                  <a:cubicBezTo>
                    <a:pt x="30" y="70"/>
                    <a:pt x="32" y="73"/>
                    <a:pt x="34" y="76"/>
                  </a:cubicBezTo>
                  <a:cubicBezTo>
                    <a:pt x="34" y="77"/>
                    <a:pt x="35" y="77"/>
                    <a:pt x="35" y="78"/>
                  </a:cubicBezTo>
                  <a:cubicBezTo>
                    <a:pt x="37" y="81"/>
                    <a:pt x="39" y="83"/>
                    <a:pt x="41" y="86"/>
                  </a:cubicBezTo>
                  <a:cubicBezTo>
                    <a:pt x="41" y="87"/>
                    <a:pt x="42" y="88"/>
                    <a:pt x="43" y="89"/>
                  </a:cubicBezTo>
                  <a:cubicBezTo>
                    <a:pt x="45" y="91"/>
                    <a:pt x="46" y="93"/>
                    <a:pt x="48" y="95"/>
                  </a:cubicBezTo>
                  <a:cubicBezTo>
                    <a:pt x="49" y="96"/>
                    <a:pt x="49" y="97"/>
                    <a:pt x="50" y="98"/>
                  </a:cubicBezTo>
                  <a:cubicBezTo>
                    <a:pt x="52" y="100"/>
                    <a:pt x="54" y="102"/>
                    <a:pt x="55" y="104"/>
                  </a:cubicBezTo>
                  <a:cubicBezTo>
                    <a:pt x="56" y="105"/>
                    <a:pt x="57" y="106"/>
                    <a:pt x="58" y="107"/>
                  </a:cubicBezTo>
                  <a:cubicBezTo>
                    <a:pt x="60" y="109"/>
                    <a:pt x="62" y="111"/>
                    <a:pt x="63" y="113"/>
                  </a:cubicBezTo>
                  <a:cubicBezTo>
                    <a:pt x="64" y="114"/>
                    <a:pt x="65" y="115"/>
                    <a:pt x="66" y="116"/>
                  </a:cubicBezTo>
                  <a:cubicBezTo>
                    <a:pt x="68" y="118"/>
                    <a:pt x="71" y="121"/>
                    <a:pt x="74" y="124"/>
                  </a:cubicBezTo>
                  <a:cubicBezTo>
                    <a:pt x="74" y="124"/>
                    <a:pt x="74" y="124"/>
                    <a:pt x="75" y="124"/>
                  </a:cubicBezTo>
                  <a:cubicBezTo>
                    <a:pt x="77" y="127"/>
                    <a:pt x="80" y="129"/>
                    <a:pt x="82" y="131"/>
                  </a:cubicBezTo>
                  <a:cubicBezTo>
                    <a:pt x="83" y="132"/>
                    <a:pt x="84" y="133"/>
                    <a:pt x="85" y="134"/>
                  </a:cubicBezTo>
                  <a:cubicBezTo>
                    <a:pt x="87" y="135"/>
                    <a:pt x="89" y="137"/>
                    <a:pt x="91" y="138"/>
                  </a:cubicBezTo>
                  <a:cubicBezTo>
                    <a:pt x="92" y="139"/>
                    <a:pt x="94" y="140"/>
                    <a:pt x="95" y="141"/>
                  </a:cubicBezTo>
                  <a:cubicBezTo>
                    <a:pt x="97" y="142"/>
                    <a:pt x="99" y="144"/>
                    <a:pt x="101" y="145"/>
                  </a:cubicBezTo>
                  <a:cubicBezTo>
                    <a:pt x="102" y="146"/>
                    <a:pt x="103" y="147"/>
                    <a:pt x="104" y="148"/>
                  </a:cubicBezTo>
                  <a:cubicBezTo>
                    <a:pt x="106" y="149"/>
                    <a:pt x="109" y="151"/>
                    <a:pt x="111" y="152"/>
                  </a:cubicBezTo>
                  <a:cubicBezTo>
                    <a:pt x="112" y="153"/>
                    <a:pt x="113" y="153"/>
                    <a:pt x="114" y="154"/>
                  </a:cubicBezTo>
                  <a:cubicBezTo>
                    <a:pt x="117" y="156"/>
                    <a:pt x="120" y="158"/>
                    <a:pt x="123" y="160"/>
                  </a:cubicBezTo>
                  <a:cubicBezTo>
                    <a:pt x="124" y="160"/>
                    <a:pt x="124" y="160"/>
                    <a:pt x="124" y="160"/>
                  </a:cubicBezTo>
                  <a:cubicBezTo>
                    <a:pt x="127" y="162"/>
                    <a:pt x="130" y="164"/>
                    <a:pt x="134" y="165"/>
                  </a:cubicBezTo>
                  <a:cubicBezTo>
                    <a:pt x="135" y="166"/>
                    <a:pt x="136" y="166"/>
                    <a:pt x="137" y="167"/>
                  </a:cubicBezTo>
                  <a:cubicBezTo>
                    <a:pt x="139" y="168"/>
                    <a:pt x="142" y="169"/>
                    <a:pt x="144" y="170"/>
                  </a:cubicBezTo>
                  <a:cubicBezTo>
                    <a:pt x="145" y="171"/>
                    <a:pt x="147" y="171"/>
                    <a:pt x="148" y="172"/>
                  </a:cubicBezTo>
                  <a:cubicBezTo>
                    <a:pt x="150" y="173"/>
                    <a:pt x="152" y="174"/>
                    <a:pt x="155" y="175"/>
                  </a:cubicBezTo>
                  <a:cubicBezTo>
                    <a:pt x="156" y="175"/>
                    <a:pt x="157" y="176"/>
                    <a:pt x="159" y="176"/>
                  </a:cubicBezTo>
                  <a:cubicBezTo>
                    <a:pt x="161" y="177"/>
                    <a:pt x="164" y="178"/>
                    <a:pt x="166" y="179"/>
                  </a:cubicBezTo>
                  <a:cubicBezTo>
                    <a:pt x="167" y="179"/>
                    <a:pt x="169" y="179"/>
                    <a:pt x="170" y="180"/>
                  </a:cubicBezTo>
                  <a:cubicBezTo>
                    <a:pt x="173" y="181"/>
                    <a:pt x="177" y="182"/>
                    <a:pt x="181" y="183"/>
                  </a:cubicBezTo>
                  <a:cubicBezTo>
                    <a:pt x="181" y="183"/>
                    <a:pt x="181" y="183"/>
                    <a:pt x="181" y="183"/>
                  </a:cubicBezTo>
                  <a:cubicBezTo>
                    <a:pt x="185" y="184"/>
                    <a:pt x="189" y="185"/>
                    <a:pt x="192" y="186"/>
                  </a:cubicBezTo>
                  <a:cubicBezTo>
                    <a:pt x="193" y="186"/>
                    <a:pt x="195" y="186"/>
                    <a:pt x="196" y="187"/>
                  </a:cubicBezTo>
                  <a:cubicBezTo>
                    <a:pt x="198" y="187"/>
                    <a:pt x="201" y="188"/>
                    <a:pt x="204" y="188"/>
                  </a:cubicBezTo>
                  <a:cubicBezTo>
                    <a:pt x="205" y="188"/>
                    <a:pt x="207" y="188"/>
                    <a:pt x="208" y="189"/>
                  </a:cubicBezTo>
                  <a:cubicBezTo>
                    <a:pt x="211" y="189"/>
                    <a:pt x="213" y="189"/>
                    <a:pt x="216" y="190"/>
                  </a:cubicBezTo>
                  <a:cubicBezTo>
                    <a:pt x="217" y="190"/>
                    <a:pt x="219" y="190"/>
                    <a:pt x="220" y="190"/>
                  </a:cubicBezTo>
                  <a:cubicBezTo>
                    <a:pt x="223" y="190"/>
                    <a:pt x="225" y="191"/>
                    <a:pt x="228" y="191"/>
                  </a:cubicBezTo>
                  <a:cubicBezTo>
                    <a:pt x="229" y="191"/>
                    <a:pt x="231" y="191"/>
                    <a:pt x="232" y="191"/>
                  </a:cubicBezTo>
                  <a:cubicBezTo>
                    <a:pt x="236" y="191"/>
                    <a:pt x="240" y="191"/>
                    <a:pt x="244" y="191"/>
                  </a:cubicBezTo>
                  <a:cubicBezTo>
                    <a:pt x="248" y="191"/>
                    <a:pt x="252" y="191"/>
                    <a:pt x="256" y="191"/>
                  </a:cubicBezTo>
                  <a:cubicBezTo>
                    <a:pt x="257" y="191"/>
                    <a:pt x="259" y="191"/>
                    <a:pt x="260" y="191"/>
                  </a:cubicBezTo>
                  <a:cubicBezTo>
                    <a:pt x="263" y="191"/>
                    <a:pt x="265" y="190"/>
                    <a:pt x="268" y="190"/>
                  </a:cubicBezTo>
                  <a:cubicBezTo>
                    <a:pt x="270" y="190"/>
                    <a:pt x="271" y="190"/>
                    <a:pt x="272" y="190"/>
                  </a:cubicBezTo>
                  <a:cubicBezTo>
                    <a:pt x="275" y="189"/>
                    <a:pt x="278" y="189"/>
                    <a:pt x="280" y="189"/>
                  </a:cubicBezTo>
                  <a:cubicBezTo>
                    <a:pt x="282" y="188"/>
                    <a:pt x="283" y="188"/>
                    <a:pt x="284" y="188"/>
                  </a:cubicBezTo>
                  <a:cubicBezTo>
                    <a:pt x="287" y="188"/>
                    <a:pt x="290" y="187"/>
                    <a:pt x="292" y="187"/>
                  </a:cubicBezTo>
                  <a:cubicBezTo>
                    <a:pt x="293" y="186"/>
                    <a:pt x="295" y="186"/>
                    <a:pt x="296" y="186"/>
                  </a:cubicBezTo>
                  <a:cubicBezTo>
                    <a:pt x="300" y="185"/>
                    <a:pt x="303" y="184"/>
                    <a:pt x="307" y="183"/>
                  </a:cubicBezTo>
                  <a:cubicBezTo>
                    <a:pt x="307" y="183"/>
                    <a:pt x="307" y="183"/>
                    <a:pt x="307" y="183"/>
                  </a:cubicBezTo>
                  <a:cubicBezTo>
                    <a:pt x="311" y="182"/>
                    <a:pt x="315" y="181"/>
                    <a:pt x="318" y="180"/>
                  </a:cubicBezTo>
                  <a:cubicBezTo>
                    <a:pt x="320" y="179"/>
                    <a:pt x="321" y="179"/>
                    <a:pt x="322" y="179"/>
                  </a:cubicBezTo>
                  <a:cubicBezTo>
                    <a:pt x="324" y="178"/>
                    <a:pt x="327" y="177"/>
                    <a:pt x="329" y="176"/>
                  </a:cubicBezTo>
                  <a:cubicBezTo>
                    <a:pt x="331" y="176"/>
                    <a:pt x="332" y="175"/>
                    <a:pt x="333" y="175"/>
                  </a:cubicBezTo>
                  <a:cubicBezTo>
                    <a:pt x="336" y="174"/>
                    <a:pt x="338" y="173"/>
                    <a:pt x="340" y="172"/>
                  </a:cubicBezTo>
                  <a:cubicBezTo>
                    <a:pt x="342" y="171"/>
                    <a:pt x="343" y="171"/>
                    <a:pt x="344" y="170"/>
                  </a:cubicBezTo>
                  <a:cubicBezTo>
                    <a:pt x="347" y="169"/>
                    <a:pt x="349" y="168"/>
                    <a:pt x="351" y="167"/>
                  </a:cubicBezTo>
                  <a:cubicBezTo>
                    <a:pt x="352" y="166"/>
                    <a:pt x="353" y="166"/>
                    <a:pt x="355" y="165"/>
                  </a:cubicBezTo>
                  <a:cubicBezTo>
                    <a:pt x="358" y="164"/>
                    <a:pt x="361" y="162"/>
                    <a:pt x="364" y="160"/>
                  </a:cubicBezTo>
                  <a:cubicBezTo>
                    <a:pt x="364" y="160"/>
                    <a:pt x="364" y="160"/>
                    <a:pt x="365" y="160"/>
                  </a:cubicBezTo>
                  <a:cubicBezTo>
                    <a:pt x="368" y="158"/>
                    <a:pt x="371" y="156"/>
                    <a:pt x="374" y="154"/>
                  </a:cubicBezTo>
                  <a:cubicBezTo>
                    <a:pt x="375" y="153"/>
                    <a:pt x="376" y="153"/>
                    <a:pt x="377" y="152"/>
                  </a:cubicBezTo>
                  <a:cubicBezTo>
                    <a:pt x="380" y="151"/>
                    <a:pt x="382" y="149"/>
                    <a:pt x="384" y="148"/>
                  </a:cubicBezTo>
                  <a:cubicBezTo>
                    <a:pt x="385" y="147"/>
                    <a:pt x="386" y="146"/>
                    <a:pt x="387" y="145"/>
                  </a:cubicBezTo>
                  <a:cubicBezTo>
                    <a:pt x="389" y="144"/>
                    <a:pt x="392" y="142"/>
                    <a:pt x="393" y="141"/>
                  </a:cubicBezTo>
                  <a:cubicBezTo>
                    <a:pt x="395" y="140"/>
                    <a:pt x="396" y="139"/>
                    <a:pt x="397" y="138"/>
                  </a:cubicBezTo>
                  <a:cubicBezTo>
                    <a:pt x="399" y="137"/>
                    <a:pt x="401" y="135"/>
                    <a:pt x="403" y="134"/>
                  </a:cubicBezTo>
                  <a:cubicBezTo>
                    <a:pt x="404" y="133"/>
                    <a:pt x="405" y="132"/>
                    <a:pt x="406" y="131"/>
                  </a:cubicBezTo>
                  <a:cubicBezTo>
                    <a:pt x="408" y="129"/>
                    <a:pt x="411" y="127"/>
                    <a:pt x="413" y="124"/>
                  </a:cubicBezTo>
                  <a:cubicBezTo>
                    <a:pt x="414" y="124"/>
                    <a:pt x="414" y="124"/>
                    <a:pt x="414" y="124"/>
                  </a:cubicBezTo>
                  <a:cubicBezTo>
                    <a:pt x="417" y="121"/>
                    <a:pt x="420" y="118"/>
                    <a:pt x="422" y="116"/>
                  </a:cubicBezTo>
                  <a:cubicBezTo>
                    <a:pt x="423" y="115"/>
                    <a:pt x="424" y="114"/>
                    <a:pt x="425" y="113"/>
                  </a:cubicBezTo>
                  <a:cubicBezTo>
                    <a:pt x="427" y="111"/>
                    <a:pt x="428" y="109"/>
                    <a:pt x="430" y="107"/>
                  </a:cubicBezTo>
                  <a:cubicBezTo>
                    <a:pt x="431" y="106"/>
                    <a:pt x="432" y="105"/>
                    <a:pt x="433" y="104"/>
                  </a:cubicBezTo>
                  <a:cubicBezTo>
                    <a:pt x="435" y="102"/>
                    <a:pt x="436" y="100"/>
                    <a:pt x="438" y="98"/>
                  </a:cubicBezTo>
                  <a:cubicBezTo>
                    <a:pt x="439" y="97"/>
                    <a:pt x="440" y="96"/>
                    <a:pt x="440" y="95"/>
                  </a:cubicBezTo>
                  <a:cubicBezTo>
                    <a:pt x="442" y="93"/>
                    <a:pt x="444" y="91"/>
                    <a:pt x="445" y="89"/>
                  </a:cubicBezTo>
                  <a:cubicBezTo>
                    <a:pt x="446" y="88"/>
                    <a:pt x="447" y="87"/>
                    <a:pt x="447" y="86"/>
                  </a:cubicBezTo>
                  <a:cubicBezTo>
                    <a:pt x="449" y="83"/>
                    <a:pt x="451" y="81"/>
                    <a:pt x="453" y="78"/>
                  </a:cubicBezTo>
                  <a:cubicBezTo>
                    <a:pt x="453" y="77"/>
                    <a:pt x="454" y="77"/>
                    <a:pt x="454" y="76"/>
                  </a:cubicBezTo>
                  <a:cubicBezTo>
                    <a:pt x="456" y="73"/>
                    <a:pt x="458" y="70"/>
                    <a:pt x="460" y="67"/>
                  </a:cubicBezTo>
                  <a:cubicBezTo>
                    <a:pt x="461" y="66"/>
                    <a:pt x="461" y="65"/>
                    <a:pt x="462" y="64"/>
                  </a:cubicBezTo>
                  <a:cubicBezTo>
                    <a:pt x="463" y="61"/>
                    <a:pt x="464" y="59"/>
                    <a:pt x="466" y="57"/>
                  </a:cubicBezTo>
                  <a:cubicBezTo>
                    <a:pt x="466" y="55"/>
                    <a:pt x="467" y="54"/>
                    <a:pt x="468" y="53"/>
                  </a:cubicBezTo>
                  <a:cubicBezTo>
                    <a:pt x="469" y="51"/>
                    <a:pt x="470" y="48"/>
                    <a:pt x="471" y="46"/>
                  </a:cubicBezTo>
                  <a:cubicBezTo>
                    <a:pt x="472" y="45"/>
                    <a:pt x="472" y="43"/>
                    <a:pt x="473" y="42"/>
                  </a:cubicBezTo>
                  <a:cubicBezTo>
                    <a:pt x="474" y="40"/>
                    <a:pt x="475" y="37"/>
                    <a:pt x="476" y="35"/>
                  </a:cubicBezTo>
                  <a:cubicBezTo>
                    <a:pt x="477" y="34"/>
                    <a:pt x="477" y="33"/>
                    <a:pt x="478" y="31"/>
                  </a:cubicBezTo>
                  <a:cubicBezTo>
                    <a:pt x="479" y="28"/>
                    <a:pt x="480" y="25"/>
                    <a:pt x="481" y="22"/>
                  </a:cubicBezTo>
                  <a:cubicBezTo>
                    <a:pt x="481" y="22"/>
                    <a:pt x="482" y="21"/>
                    <a:pt x="482" y="20"/>
                  </a:cubicBezTo>
                  <a:cubicBezTo>
                    <a:pt x="483" y="17"/>
                    <a:pt x="484" y="13"/>
                    <a:pt x="485" y="9"/>
                  </a:cubicBezTo>
                  <a:cubicBezTo>
                    <a:pt x="486" y="8"/>
                    <a:pt x="486" y="7"/>
                    <a:pt x="486" y="6"/>
                  </a:cubicBezTo>
                  <a:cubicBezTo>
                    <a:pt x="487" y="4"/>
                    <a:pt x="488" y="2"/>
                    <a:pt x="488" y="0"/>
                  </a:cubicBezTo>
                  <a:lnTo>
                    <a:pt x="0" y="0"/>
                  </a:lnTo>
                  <a:cubicBezTo>
                    <a:pt x="1" y="2"/>
                    <a:pt x="1" y="4"/>
                    <a:pt x="2" y="6"/>
                  </a:cubicBezTo>
                  <a:cubicBezTo>
                    <a:pt x="2" y="7"/>
                    <a:pt x="2" y="8"/>
                    <a:pt x="3" y="9"/>
                  </a:cubicBezTo>
                  <a:cubicBezTo>
                    <a:pt x="4" y="13"/>
                    <a:pt x="5" y="17"/>
                    <a:pt x="6" y="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2">
              <a:extLst>
                <a:ext uri="{FF2B5EF4-FFF2-40B4-BE49-F238E27FC236}">
                  <a16:creationId xmlns:a16="http://schemas.microsoft.com/office/drawing/2014/main" id="{CFAD26D8-0B92-409F-906D-A92004591789}"/>
                </a:ext>
              </a:extLst>
            </p:cNvPr>
            <p:cNvSpPr>
              <a:spLocks noEditPoints="1"/>
            </p:cNvSpPr>
            <p:nvPr/>
          </p:nvSpPr>
          <p:spPr bwMode="auto">
            <a:xfrm>
              <a:off x="7526338" y="2155825"/>
              <a:ext cx="2268538" cy="704850"/>
            </a:xfrm>
            <a:custGeom>
              <a:avLst/>
              <a:gdLst>
                <a:gd name="T0" fmla="*/ 1900 w 2378"/>
                <a:gd name="T1" fmla="*/ 356 h 739"/>
                <a:gd name="T2" fmla="*/ 1900 w 2378"/>
                <a:gd name="T3" fmla="*/ 356 h 739"/>
                <a:gd name="T4" fmla="*/ 478 w 2378"/>
                <a:gd name="T5" fmla="*/ 356 h 739"/>
                <a:gd name="T6" fmla="*/ 396 w 2378"/>
                <a:gd name="T7" fmla="*/ 274 h 739"/>
                <a:gd name="T8" fmla="*/ 478 w 2378"/>
                <a:gd name="T9" fmla="*/ 192 h 739"/>
                <a:gd name="T10" fmla="*/ 1900 w 2378"/>
                <a:gd name="T11" fmla="*/ 192 h 739"/>
                <a:gd name="T12" fmla="*/ 1982 w 2378"/>
                <a:gd name="T13" fmla="*/ 274 h 739"/>
                <a:gd name="T14" fmla="*/ 1900 w 2378"/>
                <a:gd name="T15" fmla="*/ 356 h 739"/>
                <a:gd name="T16" fmla="*/ 1900 w 2378"/>
                <a:gd name="T17" fmla="*/ 356 h 739"/>
                <a:gd name="T18" fmla="*/ 2105 w 2378"/>
                <a:gd name="T19" fmla="*/ 318 h 739"/>
                <a:gd name="T20" fmla="*/ 2105 w 2378"/>
                <a:gd name="T21" fmla="*/ 318 h 739"/>
                <a:gd name="T22" fmla="*/ 2092 w 2378"/>
                <a:gd name="T23" fmla="*/ 274 h 739"/>
                <a:gd name="T24" fmla="*/ 2092 w 2378"/>
                <a:gd name="T25" fmla="*/ 82 h 739"/>
                <a:gd name="T26" fmla="*/ 2010 w 2378"/>
                <a:gd name="T27" fmla="*/ 0 h 739"/>
                <a:gd name="T28" fmla="*/ 369 w 2378"/>
                <a:gd name="T29" fmla="*/ 0 h 739"/>
                <a:gd name="T30" fmla="*/ 286 w 2378"/>
                <a:gd name="T31" fmla="*/ 82 h 739"/>
                <a:gd name="T32" fmla="*/ 286 w 2378"/>
                <a:gd name="T33" fmla="*/ 274 h 739"/>
                <a:gd name="T34" fmla="*/ 273 w 2378"/>
                <a:gd name="T35" fmla="*/ 318 h 739"/>
                <a:gd name="T36" fmla="*/ 0 w 2378"/>
                <a:gd name="T37" fmla="*/ 739 h 739"/>
                <a:gd name="T38" fmla="*/ 2378 w 2378"/>
                <a:gd name="T39" fmla="*/ 739 h 739"/>
                <a:gd name="T40" fmla="*/ 2105 w 2378"/>
                <a:gd name="T41" fmla="*/ 318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8" h="739">
                  <a:moveTo>
                    <a:pt x="1900" y="356"/>
                  </a:moveTo>
                  <a:lnTo>
                    <a:pt x="1900" y="356"/>
                  </a:lnTo>
                  <a:lnTo>
                    <a:pt x="478" y="356"/>
                  </a:lnTo>
                  <a:cubicBezTo>
                    <a:pt x="433" y="356"/>
                    <a:pt x="396" y="319"/>
                    <a:pt x="396" y="274"/>
                  </a:cubicBezTo>
                  <a:cubicBezTo>
                    <a:pt x="396" y="228"/>
                    <a:pt x="433" y="192"/>
                    <a:pt x="478" y="192"/>
                  </a:cubicBezTo>
                  <a:lnTo>
                    <a:pt x="1900" y="192"/>
                  </a:lnTo>
                  <a:cubicBezTo>
                    <a:pt x="1946" y="192"/>
                    <a:pt x="1982" y="228"/>
                    <a:pt x="1982" y="274"/>
                  </a:cubicBezTo>
                  <a:cubicBezTo>
                    <a:pt x="1982" y="319"/>
                    <a:pt x="1946" y="356"/>
                    <a:pt x="1900" y="356"/>
                  </a:cubicBezTo>
                  <a:lnTo>
                    <a:pt x="1900" y="356"/>
                  </a:lnTo>
                  <a:close/>
                  <a:moveTo>
                    <a:pt x="2105" y="318"/>
                  </a:moveTo>
                  <a:lnTo>
                    <a:pt x="2105" y="318"/>
                  </a:lnTo>
                  <a:cubicBezTo>
                    <a:pt x="2096" y="305"/>
                    <a:pt x="2092" y="290"/>
                    <a:pt x="2092" y="274"/>
                  </a:cubicBezTo>
                  <a:lnTo>
                    <a:pt x="2092" y="82"/>
                  </a:lnTo>
                  <a:cubicBezTo>
                    <a:pt x="2092" y="37"/>
                    <a:pt x="2055" y="0"/>
                    <a:pt x="2010" y="0"/>
                  </a:cubicBezTo>
                  <a:lnTo>
                    <a:pt x="369" y="0"/>
                  </a:lnTo>
                  <a:cubicBezTo>
                    <a:pt x="323" y="0"/>
                    <a:pt x="286" y="37"/>
                    <a:pt x="286" y="82"/>
                  </a:cubicBezTo>
                  <a:lnTo>
                    <a:pt x="286" y="274"/>
                  </a:lnTo>
                  <a:cubicBezTo>
                    <a:pt x="286" y="290"/>
                    <a:pt x="282" y="305"/>
                    <a:pt x="273" y="318"/>
                  </a:cubicBezTo>
                  <a:lnTo>
                    <a:pt x="0" y="739"/>
                  </a:lnTo>
                  <a:lnTo>
                    <a:pt x="2378" y="739"/>
                  </a:lnTo>
                  <a:lnTo>
                    <a:pt x="2105" y="31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
              <a:extLst>
                <a:ext uri="{FF2B5EF4-FFF2-40B4-BE49-F238E27FC236}">
                  <a16:creationId xmlns:a16="http://schemas.microsoft.com/office/drawing/2014/main" id="{618FB6C9-140E-4E17-8468-A068233928AD}"/>
                </a:ext>
              </a:extLst>
            </p:cNvPr>
            <p:cNvSpPr>
              <a:spLocks noEditPoints="1"/>
            </p:cNvSpPr>
            <p:nvPr/>
          </p:nvSpPr>
          <p:spPr bwMode="auto">
            <a:xfrm>
              <a:off x="7694613" y="3194050"/>
              <a:ext cx="1930400" cy="1025525"/>
            </a:xfrm>
            <a:custGeom>
              <a:avLst/>
              <a:gdLst>
                <a:gd name="T0" fmla="*/ 1559 w 2024"/>
                <a:gd name="T1" fmla="*/ 801 h 1074"/>
                <a:gd name="T2" fmla="*/ 2024 w 2024"/>
                <a:gd name="T3" fmla="*/ 1074 h 1074"/>
                <a:gd name="T4" fmla="*/ 1995 w 2024"/>
                <a:gd name="T5" fmla="*/ 171 h 1074"/>
                <a:gd name="T6" fmla="*/ 1936 w 2024"/>
                <a:gd name="T7" fmla="*/ 163 h 1074"/>
                <a:gd name="T8" fmla="*/ 1893 w 2024"/>
                <a:gd name="T9" fmla="*/ 152 h 1074"/>
                <a:gd name="T10" fmla="*/ 1837 w 2024"/>
                <a:gd name="T11" fmla="*/ 130 h 1074"/>
                <a:gd name="T12" fmla="*/ 1800 w 2024"/>
                <a:gd name="T13" fmla="*/ 109 h 1074"/>
                <a:gd name="T14" fmla="*/ 1754 w 2024"/>
                <a:gd name="T15" fmla="*/ 76 h 1074"/>
                <a:gd name="T16" fmla="*/ 1722 w 2024"/>
                <a:gd name="T17" fmla="*/ 47 h 1074"/>
                <a:gd name="T18" fmla="*/ 1684 w 2024"/>
                <a:gd name="T19" fmla="*/ 2 h 1074"/>
                <a:gd name="T20" fmla="*/ 1670 w 2024"/>
                <a:gd name="T21" fmla="*/ 16 h 1074"/>
                <a:gd name="T22" fmla="*/ 1641 w 2024"/>
                <a:gd name="T23" fmla="*/ 48 h 1074"/>
                <a:gd name="T24" fmla="*/ 1597 w 2024"/>
                <a:gd name="T25" fmla="*/ 87 h 1074"/>
                <a:gd name="T26" fmla="*/ 1562 w 2024"/>
                <a:gd name="T27" fmla="*/ 111 h 1074"/>
                <a:gd name="T28" fmla="*/ 1511 w 2024"/>
                <a:gd name="T29" fmla="*/ 137 h 1074"/>
                <a:gd name="T30" fmla="*/ 1471 w 2024"/>
                <a:gd name="T31" fmla="*/ 152 h 1074"/>
                <a:gd name="T32" fmla="*/ 1411 w 2024"/>
                <a:gd name="T33" fmla="*/ 166 h 1074"/>
                <a:gd name="T34" fmla="*/ 1367 w 2024"/>
                <a:gd name="T35" fmla="*/ 171 h 1074"/>
                <a:gd name="T36" fmla="*/ 1303 w 2024"/>
                <a:gd name="T37" fmla="*/ 169 h 1074"/>
                <a:gd name="T38" fmla="*/ 1245 w 2024"/>
                <a:gd name="T39" fmla="*/ 158 h 1074"/>
                <a:gd name="T40" fmla="*/ 1203 w 2024"/>
                <a:gd name="T41" fmla="*/ 145 h 1074"/>
                <a:gd name="T42" fmla="*/ 1150 w 2024"/>
                <a:gd name="T43" fmla="*/ 121 h 1074"/>
                <a:gd name="T44" fmla="*/ 1113 w 2024"/>
                <a:gd name="T45" fmla="*/ 98 h 1074"/>
                <a:gd name="T46" fmla="*/ 1068 w 2024"/>
                <a:gd name="T47" fmla="*/ 62 h 1074"/>
                <a:gd name="T48" fmla="*/ 1037 w 2024"/>
                <a:gd name="T49" fmla="*/ 31 h 1074"/>
                <a:gd name="T50" fmla="*/ 1012 w 2024"/>
                <a:gd name="T51" fmla="*/ 0 h 1074"/>
                <a:gd name="T52" fmla="*/ 987 w 2024"/>
                <a:gd name="T53" fmla="*/ 31 h 1074"/>
                <a:gd name="T54" fmla="*/ 957 w 2024"/>
                <a:gd name="T55" fmla="*/ 62 h 1074"/>
                <a:gd name="T56" fmla="*/ 911 w 2024"/>
                <a:gd name="T57" fmla="*/ 98 h 1074"/>
                <a:gd name="T58" fmla="*/ 874 w 2024"/>
                <a:gd name="T59" fmla="*/ 121 h 1074"/>
                <a:gd name="T60" fmla="*/ 821 w 2024"/>
                <a:gd name="T61" fmla="*/ 145 h 1074"/>
                <a:gd name="T62" fmla="*/ 780 w 2024"/>
                <a:gd name="T63" fmla="*/ 158 h 1074"/>
                <a:gd name="T64" fmla="*/ 722 w 2024"/>
                <a:gd name="T65" fmla="*/ 169 h 1074"/>
                <a:gd name="T66" fmla="*/ 658 w 2024"/>
                <a:gd name="T67" fmla="*/ 171 h 1074"/>
                <a:gd name="T68" fmla="*/ 613 w 2024"/>
                <a:gd name="T69" fmla="*/ 166 h 1074"/>
                <a:gd name="T70" fmla="*/ 553 w 2024"/>
                <a:gd name="T71" fmla="*/ 152 h 1074"/>
                <a:gd name="T72" fmla="*/ 513 w 2024"/>
                <a:gd name="T73" fmla="*/ 137 h 1074"/>
                <a:gd name="T74" fmla="*/ 462 w 2024"/>
                <a:gd name="T75" fmla="*/ 111 h 1074"/>
                <a:gd name="T76" fmla="*/ 427 w 2024"/>
                <a:gd name="T77" fmla="*/ 87 h 1074"/>
                <a:gd name="T78" fmla="*/ 383 w 2024"/>
                <a:gd name="T79" fmla="*/ 48 h 1074"/>
                <a:gd name="T80" fmla="*/ 354 w 2024"/>
                <a:gd name="T81" fmla="*/ 16 h 1074"/>
                <a:gd name="T82" fmla="*/ 340 w 2024"/>
                <a:gd name="T83" fmla="*/ 2 h 1074"/>
                <a:gd name="T84" fmla="*/ 302 w 2024"/>
                <a:gd name="T85" fmla="*/ 47 h 1074"/>
                <a:gd name="T86" fmla="*/ 271 w 2024"/>
                <a:gd name="T87" fmla="*/ 76 h 1074"/>
                <a:gd name="T88" fmla="*/ 225 w 2024"/>
                <a:gd name="T89" fmla="*/ 109 h 1074"/>
                <a:gd name="T90" fmla="*/ 187 w 2024"/>
                <a:gd name="T91" fmla="*/ 130 h 1074"/>
                <a:gd name="T92" fmla="*/ 132 w 2024"/>
                <a:gd name="T93" fmla="*/ 152 h 1074"/>
                <a:gd name="T94" fmla="*/ 89 w 2024"/>
                <a:gd name="T95" fmla="*/ 163 h 1074"/>
                <a:gd name="T96" fmla="*/ 30 w 2024"/>
                <a:gd name="T97" fmla="*/ 171 h 1074"/>
                <a:gd name="T98" fmla="*/ 219 w 2024"/>
                <a:gd name="T99" fmla="*/ 1074 h 1074"/>
                <a:gd name="T100" fmla="*/ 930 w 2024"/>
                <a:gd name="T101" fmla="*/ 107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24" h="1074">
                  <a:moveTo>
                    <a:pt x="1340" y="308"/>
                  </a:moveTo>
                  <a:lnTo>
                    <a:pt x="1340" y="308"/>
                  </a:lnTo>
                  <a:lnTo>
                    <a:pt x="1559" y="308"/>
                  </a:lnTo>
                  <a:cubicBezTo>
                    <a:pt x="1695" y="308"/>
                    <a:pt x="1805" y="419"/>
                    <a:pt x="1805" y="554"/>
                  </a:cubicBezTo>
                  <a:cubicBezTo>
                    <a:pt x="1805" y="690"/>
                    <a:pt x="1695" y="801"/>
                    <a:pt x="1559" y="801"/>
                  </a:cubicBezTo>
                  <a:lnTo>
                    <a:pt x="1340" y="801"/>
                  </a:lnTo>
                  <a:cubicBezTo>
                    <a:pt x="1205" y="801"/>
                    <a:pt x="1094" y="690"/>
                    <a:pt x="1094" y="554"/>
                  </a:cubicBezTo>
                  <a:cubicBezTo>
                    <a:pt x="1094" y="419"/>
                    <a:pt x="1205" y="308"/>
                    <a:pt x="1340" y="308"/>
                  </a:cubicBezTo>
                  <a:lnTo>
                    <a:pt x="1340" y="308"/>
                  </a:lnTo>
                  <a:close/>
                  <a:moveTo>
                    <a:pt x="2024" y="1074"/>
                  </a:moveTo>
                  <a:lnTo>
                    <a:pt x="2024" y="1074"/>
                  </a:lnTo>
                  <a:lnTo>
                    <a:pt x="2024" y="171"/>
                  </a:lnTo>
                  <a:cubicBezTo>
                    <a:pt x="2022" y="171"/>
                    <a:pt x="2020" y="171"/>
                    <a:pt x="2018" y="171"/>
                  </a:cubicBezTo>
                  <a:cubicBezTo>
                    <a:pt x="2011" y="171"/>
                    <a:pt x="2005" y="171"/>
                    <a:pt x="1998" y="171"/>
                  </a:cubicBezTo>
                  <a:cubicBezTo>
                    <a:pt x="1997" y="171"/>
                    <a:pt x="1996" y="171"/>
                    <a:pt x="1995" y="171"/>
                  </a:cubicBezTo>
                  <a:cubicBezTo>
                    <a:pt x="1989" y="170"/>
                    <a:pt x="1982" y="170"/>
                    <a:pt x="1976" y="169"/>
                  </a:cubicBezTo>
                  <a:cubicBezTo>
                    <a:pt x="1975" y="169"/>
                    <a:pt x="1974" y="169"/>
                    <a:pt x="1973" y="169"/>
                  </a:cubicBezTo>
                  <a:cubicBezTo>
                    <a:pt x="1967" y="168"/>
                    <a:pt x="1960" y="168"/>
                    <a:pt x="1954" y="167"/>
                  </a:cubicBezTo>
                  <a:cubicBezTo>
                    <a:pt x="1954" y="167"/>
                    <a:pt x="1954" y="166"/>
                    <a:pt x="1954" y="166"/>
                  </a:cubicBezTo>
                  <a:cubicBezTo>
                    <a:pt x="1947" y="165"/>
                    <a:pt x="1942" y="164"/>
                    <a:pt x="1936" y="163"/>
                  </a:cubicBezTo>
                  <a:cubicBezTo>
                    <a:pt x="1935" y="163"/>
                    <a:pt x="1933" y="163"/>
                    <a:pt x="1932" y="163"/>
                  </a:cubicBezTo>
                  <a:cubicBezTo>
                    <a:pt x="1927" y="161"/>
                    <a:pt x="1921" y="160"/>
                    <a:pt x="1915" y="158"/>
                  </a:cubicBezTo>
                  <a:cubicBezTo>
                    <a:pt x="1914" y="158"/>
                    <a:pt x="1913" y="158"/>
                    <a:pt x="1911" y="158"/>
                  </a:cubicBezTo>
                  <a:cubicBezTo>
                    <a:pt x="1906" y="156"/>
                    <a:pt x="1900" y="154"/>
                    <a:pt x="1894" y="152"/>
                  </a:cubicBezTo>
                  <a:cubicBezTo>
                    <a:pt x="1894" y="152"/>
                    <a:pt x="1893" y="152"/>
                    <a:pt x="1893" y="152"/>
                  </a:cubicBezTo>
                  <a:cubicBezTo>
                    <a:pt x="1887" y="150"/>
                    <a:pt x="1882" y="148"/>
                    <a:pt x="1876" y="146"/>
                  </a:cubicBezTo>
                  <a:cubicBezTo>
                    <a:pt x="1875" y="146"/>
                    <a:pt x="1874" y="146"/>
                    <a:pt x="1873" y="145"/>
                  </a:cubicBezTo>
                  <a:cubicBezTo>
                    <a:pt x="1868" y="143"/>
                    <a:pt x="1862" y="141"/>
                    <a:pt x="1857" y="139"/>
                  </a:cubicBezTo>
                  <a:cubicBezTo>
                    <a:pt x="1856" y="138"/>
                    <a:pt x="1855" y="138"/>
                    <a:pt x="1853" y="137"/>
                  </a:cubicBezTo>
                  <a:cubicBezTo>
                    <a:pt x="1848" y="135"/>
                    <a:pt x="1843" y="132"/>
                    <a:pt x="1837" y="130"/>
                  </a:cubicBezTo>
                  <a:cubicBezTo>
                    <a:pt x="1837" y="129"/>
                    <a:pt x="1836" y="129"/>
                    <a:pt x="1836" y="129"/>
                  </a:cubicBezTo>
                  <a:cubicBezTo>
                    <a:pt x="1831" y="126"/>
                    <a:pt x="1826" y="124"/>
                    <a:pt x="1821" y="121"/>
                  </a:cubicBezTo>
                  <a:cubicBezTo>
                    <a:pt x="1820" y="121"/>
                    <a:pt x="1819" y="120"/>
                    <a:pt x="1818" y="120"/>
                  </a:cubicBezTo>
                  <a:cubicBezTo>
                    <a:pt x="1813" y="117"/>
                    <a:pt x="1808" y="114"/>
                    <a:pt x="1803" y="111"/>
                  </a:cubicBezTo>
                  <a:cubicBezTo>
                    <a:pt x="1802" y="110"/>
                    <a:pt x="1801" y="110"/>
                    <a:pt x="1800" y="109"/>
                  </a:cubicBezTo>
                  <a:cubicBezTo>
                    <a:pt x="1795" y="106"/>
                    <a:pt x="1790" y="103"/>
                    <a:pt x="1785" y="99"/>
                  </a:cubicBezTo>
                  <a:cubicBezTo>
                    <a:pt x="1784" y="99"/>
                    <a:pt x="1784" y="98"/>
                    <a:pt x="1783" y="98"/>
                  </a:cubicBezTo>
                  <a:cubicBezTo>
                    <a:pt x="1779" y="95"/>
                    <a:pt x="1774" y="92"/>
                    <a:pt x="1770" y="88"/>
                  </a:cubicBezTo>
                  <a:cubicBezTo>
                    <a:pt x="1769" y="88"/>
                    <a:pt x="1768" y="87"/>
                    <a:pt x="1767" y="87"/>
                  </a:cubicBezTo>
                  <a:cubicBezTo>
                    <a:pt x="1763" y="83"/>
                    <a:pt x="1758" y="79"/>
                    <a:pt x="1754" y="76"/>
                  </a:cubicBezTo>
                  <a:cubicBezTo>
                    <a:pt x="1753" y="75"/>
                    <a:pt x="1752" y="74"/>
                    <a:pt x="1751" y="73"/>
                  </a:cubicBezTo>
                  <a:cubicBezTo>
                    <a:pt x="1746" y="69"/>
                    <a:pt x="1742" y="66"/>
                    <a:pt x="1738" y="62"/>
                  </a:cubicBezTo>
                  <a:cubicBezTo>
                    <a:pt x="1737" y="61"/>
                    <a:pt x="1737" y="60"/>
                    <a:pt x="1736" y="60"/>
                  </a:cubicBezTo>
                  <a:cubicBezTo>
                    <a:pt x="1732" y="56"/>
                    <a:pt x="1728" y="52"/>
                    <a:pt x="1724" y="48"/>
                  </a:cubicBezTo>
                  <a:cubicBezTo>
                    <a:pt x="1723" y="48"/>
                    <a:pt x="1723" y="47"/>
                    <a:pt x="1722" y="47"/>
                  </a:cubicBezTo>
                  <a:cubicBezTo>
                    <a:pt x="1718" y="42"/>
                    <a:pt x="1714" y="38"/>
                    <a:pt x="1710" y="34"/>
                  </a:cubicBezTo>
                  <a:cubicBezTo>
                    <a:pt x="1709" y="33"/>
                    <a:pt x="1709" y="32"/>
                    <a:pt x="1708" y="31"/>
                  </a:cubicBezTo>
                  <a:cubicBezTo>
                    <a:pt x="1704" y="27"/>
                    <a:pt x="1700" y="22"/>
                    <a:pt x="1696" y="18"/>
                  </a:cubicBezTo>
                  <a:cubicBezTo>
                    <a:pt x="1696" y="17"/>
                    <a:pt x="1695" y="16"/>
                    <a:pt x="1695" y="16"/>
                  </a:cubicBezTo>
                  <a:cubicBezTo>
                    <a:pt x="1691" y="11"/>
                    <a:pt x="1688" y="7"/>
                    <a:pt x="1684" y="2"/>
                  </a:cubicBezTo>
                  <a:cubicBezTo>
                    <a:pt x="1684" y="2"/>
                    <a:pt x="1683" y="1"/>
                    <a:pt x="1683" y="0"/>
                  </a:cubicBezTo>
                  <a:cubicBezTo>
                    <a:pt x="1683" y="0"/>
                    <a:pt x="1683" y="0"/>
                    <a:pt x="1682" y="0"/>
                  </a:cubicBezTo>
                  <a:cubicBezTo>
                    <a:pt x="1682" y="0"/>
                    <a:pt x="1682" y="0"/>
                    <a:pt x="1682" y="0"/>
                  </a:cubicBezTo>
                  <a:cubicBezTo>
                    <a:pt x="1681" y="1"/>
                    <a:pt x="1681" y="2"/>
                    <a:pt x="1681" y="2"/>
                  </a:cubicBezTo>
                  <a:cubicBezTo>
                    <a:pt x="1677" y="7"/>
                    <a:pt x="1674" y="11"/>
                    <a:pt x="1670" y="16"/>
                  </a:cubicBezTo>
                  <a:cubicBezTo>
                    <a:pt x="1670" y="16"/>
                    <a:pt x="1669" y="17"/>
                    <a:pt x="1669" y="18"/>
                  </a:cubicBezTo>
                  <a:cubicBezTo>
                    <a:pt x="1665" y="22"/>
                    <a:pt x="1661" y="27"/>
                    <a:pt x="1657" y="31"/>
                  </a:cubicBezTo>
                  <a:cubicBezTo>
                    <a:pt x="1656" y="32"/>
                    <a:pt x="1656" y="33"/>
                    <a:pt x="1655" y="34"/>
                  </a:cubicBezTo>
                  <a:cubicBezTo>
                    <a:pt x="1651" y="38"/>
                    <a:pt x="1647" y="42"/>
                    <a:pt x="1643" y="47"/>
                  </a:cubicBezTo>
                  <a:cubicBezTo>
                    <a:pt x="1642" y="47"/>
                    <a:pt x="1641" y="48"/>
                    <a:pt x="1641" y="48"/>
                  </a:cubicBezTo>
                  <a:cubicBezTo>
                    <a:pt x="1637" y="52"/>
                    <a:pt x="1633" y="56"/>
                    <a:pt x="1629" y="60"/>
                  </a:cubicBezTo>
                  <a:cubicBezTo>
                    <a:pt x="1628" y="60"/>
                    <a:pt x="1628" y="61"/>
                    <a:pt x="1627" y="62"/>
                  </a:cubicBezTo>
                  <a:cubicBezTo>
                    <a:pt x="1623" y="66"/>
                    <a:pt x="1618" y="69"/>
                    <a:pt x="1614" y="73"/>
                  </a:cubicBezTo>
                  <a:cubicBezTo>
                    <a:pt x="1613" y="74"/>
                    <a:pt x="1612" y="75"/>
                    <a:pt x="1611" y="76"/>
                  </a:cubicBezTo>
                  <a:cubicBezTo>
                    <a:pt x="1607" y="79"/>
                    <a:pt x="1602" y="83"/>
                    <a:pt x="1597" y="87"/>
                  </a:cubicBezTo>
                  <a:cubicBezTo>
                    <a:pt x="1597" y="87"/>
                    <a:pt x="1596" y="88"/>
                    <a:pt x="1595" y="88"/>
                  </a:cubicBezTo>
                  <a:cubicBezTo>
                    <a:pt x="1591" y="92"/>
                    <a:pt x="1586" y="95"/>
                    <a:pt x="1582" y="98"/>
                  </a:cubicBezTo>
                  <a:cubicBezTo>
                    <a:pt x="1581" y="98"/>
                    <a:pt x="1580" y="99"/>
                    <a:pt x="1580" y="99"/>
                  </a:cubicBezTo>
                  <a:cubicBezTo>
                    <a:pt x="1575" y="103"/>
                    <a:pt x="1570" y="106"/>
                    <a:pt x="1565" y="109"/>
                  </a:cubicBezTo>
                  <a:cubicBezTo>
                    <a:pt x="1564" y="110"/>
                    <a:pt x="1563" y="110"/>
                    <a:pt x="1562" y="111"/>
                  </a:cubicBezTo>
                  <a:cubicBezTo>
                    <a:pt x="1557" y="114"/>
                    <a:pt x="1552" y="117"/>
                    <a:pt x="1547" y="120"/>
                  </a:cubicBezTo>
                  <a:cubicBezTo>
                    <a:pt x="1546" y="120"/>
                    <a:pt x="1545" y="121"/>
                    <a:pt x="1544" y="121"/>
                  </a:cubicBezTo>
                  <a:cubicBezTo>
                    <a:pt x="1539" y="124"/>
                    <a:pt x="1534" y="126"/>
                    <a:pt x="1529" y="129"/>
                  </a:cubicBezTo>
                  <a:cubicBezTo>
                    <a:pt x="1529" y="129"/>
                    <a:pt x="1528" y="129"/>
                    <a:pt x="1528" y="130"/>
                  </a:cubicBezTo>
                  <a:cubicBezTo>
                    <a:pt x="1522" y="132"/>
                    <a:pt x="1517" y="135"/>
                    <a:pt x="1511" y="137"/>
                  </a:cubicBezTo>
                  <a:cubicBezTo>
                    <a:pt x="1510" y="138"/>
                    <a:pt x="1509" y="138"/>
                    <a:pt x="1508" y="139"/>
                  </a:cubicBezTo>
                  <a:cubicBezTo>
                    <a:pt x="1503" y="141"/>
                    <a:pt x="1497" y="143"/>
                    <a:pt x="1492" y="145"/>
                  </a:cubicBezTo>
                  <a:cubicBezTo>
                    <a:pt x="1491" y="146"/>
                    <a:pt x="1490" y="146"/>
                    <a:pt x="1489" y="146"/>
                  </a:cubicBezTo>
                  <a:cubicBezTo>
                    <a:pt x="1483" y="148"/>
                    <a:pt x="1478" y="150"/>
                    <a:pt x="1472" y="152"/>
                  </a:cubicBezTo>
                  <a:cubicBezTo>
                    <a:pt x="1472" y="152"/>
                    <a:pt x="1471" y="152"/>
                    <a:pt x="1471" y="152"/>
                  </a:cubicBezTo>
                  <a:cubicBezTo>
                    <a:pt x="1465" y="154"/>
                    <a:pt x="1459" y="156"/>
                    <a:pt x="1453" y="158"/>
                  </a:cubicBezTo>
                  <a:cubicBezTo>
                    <a:pt x="1452" y="158"/>
                    <a:pt x="1451" y="158"/>
                    <a:pt x="1450" y="158"/>
                  </a:cubicBezTo>
                  <a:cubicBezTo>
                    <a:pt x="1444" y="160"/>
                    <a:pt x="1438" y="161"/>
                    <a:pt x="1432" y="163"/>
                  </a:cubicBezTo>
                  <a:cubicBezTo>
                    <a:pt x="1431" y="163"/>
                    <a:pt x="1430" y="163"/>
                    <a:pt x="1429" y="163"/>
                  </a:cubicBezTo>
                  <a:cubicBezTo>
                    <a:pt x="1423" y="164"/>
                    <a:pt x="1417" y="165"/>
                    <a:pt x="1411" y="166"/>
                  </a:cubicBezTo>
                  <a:cubicBezTo>
                    <a:pt x="1411" y="166"/>
                    <a:pt x="1411" y="167"/>
                    <a:pt x="1411" y="167"/>
                  </a:cubicBezTo>
                  <a:cubicBezTo>
                    <a:pt x="1404" y="168"/>
                    <a:pt x="1398" y="168"/>
                    <a:pt x="1392" y="169"/>
                  </a:cubicBezTo>
                  <a:cubicBezTo>
                    <a:pt x="1391" y="169"/>
                    <a:pt x="1390" y="169"/>
                    <a:pt x="1388" y="169"/>
                  </a:cubicBezTo>
                  <a:cubicBezTo>
                    <a:pt x="1382" y="170"/>
                    <a:pt x="1376" y="170"/>
                    <a:pt x="1370" y="171"/>
                  </a:cubicBezTo>
                  <a:cubicBezTo>
                    <a:pt x="1369" y="171"/>
                    <a:pt x="1368" y="171"/>
                    <a:pt x="1367" y="171"/>
                  </a:cubicBezTo>
                  <a:cubicBezTo>
                    <a:pt x="1360" y="171"/>
                    <a:pt x="1354" y="171"/>
                    <a:pt x="1347" y="171"/>
                  </a:cubicBezTo>
                  <a:cubicBezTo>
                    <a:pt x="1341" y="171"/>
                    <a:pt x="1334" y="171"/>
                    <a:pt x="1328" y="171"/>
                  </a:cubicBezTo>
                  <a:cubicBezTo>
                    <a:pt x="1327" y="171"/>
                    <a:pt x="1326" y="171"/>
                    <a:pt x="1325" y="171"/>
                  </a:cubicBezTo>
                  <a:cubicBezTo>
                    <a:pt x="1318" y="170"/>
                    <a:pt x="1312" y="170"/>
                    <a:pt x="1306" y="169"/>
                  </a:cubicBezTo>
                  <a:cubicBezTo>
                    <a:pt x="1305" y="169"/>
                    <a:pt x="1304" y="169"/>
                    <a:pt x="1303" y="169"/>
                  </a:cubicBezTo>
                  <a:cubicBezTo>
                    <a:pt x="1296" y="168"/>
                    <a:pt x="1290" y="168"/>
                    <a:pt x="1284" y="167"/>
                  </a:cubicBezTo>
                  <a:cubicBezTo>
                    <a:pt x="1284" y="167"/>
                    <a:pt x="1284" y="166"/>
                    <a:pt x="1283" y="166"/>
                  </a:cubicBezTo>
                  <a:cubicBezTo>
                    <a:pt x="1277" y="165"/>
                    <a:pt x="1271" y="164"/>
                    <a:pt x="1265" y="163"/>
                  </a:cubicBezTo>
                  <a:cubicBezTo>
                    <a:pt x="1264" y="163"/>
                    <a:pt x="1263" y="163"/>
                    <a:pt x="1262" y="163"/>
                  </a:cubicBezTo>
                  <a:cubicBezTo>
                    <a:pt x="1256" y="161"/>
                    <a:pt x="1250" y="160"/>
                    <a:pt x="1245" y="158"/>
                  </a:cubicBezTo>
                  <a:cubicBezTo>
                    <a:pt x="1244" y="158"/>
                    <a:pt x="1242" y="158"/>
                    <a:pt x="1241" y="158"/>
                  </a:cubicBezTo>
                  <a:cubicBezTo>
                    <a:pt x="1235" y="156"/>
                    <a:pt x="1229" y="154"/>
                    <a:pt x="1224" y="152"/>
                  </a:cubicBezTo>
                  <a:cubicBezTo>
                    <a:pt x="1223" y="152"/>
                    <a:pt x="1223" y="152"/>
                    <a:pt x="1222" y="152"/>
                  </a:cubicBezTo>
                  <a:cubicBezTo>
                    <a:pt x="1217" y="150"/>
                    <a:pt x="1211" y="148"/>
                    <a:pt x="1206" y="146"/>
                  </a:cubicBezTo>
                  <a:cubicBezTo>
                    <a:pt x="1205" y="146"/>
                    <a:pt x="1204" y="146"/>
                    <a:pt x="1203" y="145"/>
                  </a:cubicBezTo>
                  <a:cubicBezTo>
                    <a:pt x="1197" y="143"/>
                    <a:pt x="1192" y="141"/>
                    <a:pt x="1187" y="139"/>
                  </a:cubicBezTo>
                  <a:cubicBezTo>
                    <a:pt x="1185" y="138"/>
                    <a:pt x="1184" y="138"/>
                    <a:pt x="1183" y="137"/>
                  </a:cubicBezTo>
                  <a:cubicBezTo>
                    <a:pt x="1178" y="135"/>
                    <a:pt x="1172" y="132"/>
                    <a:pt x="1167" y="130"/>
                  </a:cubicBezTo>
                  <a:cubicBezTo>
                    <a:pt x="1167" y="129"/>
                    <a:pt x="1166" y="129"/>
                    <a:pt x="1165" y="129"/>
                  </a:cubicBezTo>
                  <a:cubicBezTo>
                    <a:pt x="1160" y="126"/>
                    <a:pt x="1155" y="124"/>
                    <a:pt x="1150" y="121"/>
                  </a:cubicBezTo>
                  <a:cubicBezTo>
                    <a:pt x="1150" y="121"/>
                    <a:pt x="1149" y="120"/>
                    <a:pt x="1148" y="120"/>
                  </a:cubicBezTo>
                  <a:cubicBezTo>
                    <a:pt x="1143" y="117"/>
                    <a:pt x="1138" y="114"/>
                    <a:pt x="1133" y="111"/>
                  </a:cubicBezTo>
                  <a:cubicBezTo>
                    <a:pt x="1132" y="110"/>
                    <a:pt x="1131" y="110"/>
                    <a:pt x="1129" y="109"/>
                  </a:cubicBezTo>
                  <a:cubicBezTo>
                    <a:pt x="1125" y="106"/>
                    <a:pt x="1120" y="103"/>
                    <a:pt x="1115" y="99"/>
                  </a:cubicBezTo>
                  <a:cubicBezTo>
                    <a:pt x="1114" y="99"/>
                    <a:pt x="1114" y="98"/>
                    <a:pt x="1113" y="98"/>
                  </a:cubicBezTo>
                  <a:cubicBezTo>
                    <a:pt x="1108" y="95"/>
                    <a:pt x="1104" y="92"/>
                    <a:pt x="1099" y="88"/>
                  </a:cubicBezTo>
                  <a:cubicBezTo>
                    <a:pt x="1099" y="88"/>
                    <a:pt x="1098" y="87"/>
                    <a:pt x="1097" y="87"/>
                  </a:cubicBezTo>
                  <a:cubicBezTo>
                    <a:pt x="1093" y="83"/>
                    <a:pt x="1088" y="79"/>
                    <a:pt x="1084" y="76"/>
                  </a:cubicBezTo>
                  <a:lnTo>
                    <a:pt x="1081" y="73"/>
                  </a:lnTo>
                  <a:cubicBezTo>
                    <a:pt x="1076" y="69"/>
                    <a:pt x="1072" y="66"/>
                    <a:pt x="1068" y="62"/>
                  </a:cubicBezTo>
                  <a:cubicBezTo>
                    <a:pt x="1067" y="61"/>
                    <a:pt x="1066" y="60"/>
                    <a:pt x="1066" y="60"/>
                  </a:cubicBezTo>
                  <a:cubicBezTo>
                    <a:pt x="1062" y="56"/>
                    <a:pt x="1058" y="52"/>
                    <a:pt x="1054" y="48"/>
                  </a:cubicBezTo>
                  <a:cubicBezTo>
                    <a:pt x="1053" y="48"/>
                    <a:pt x="1053" y="47"/>
                    <a:pt x="1052" y="47"/>
                  </a:cubicBezTo>
                  <a:cubicBezTo>
                    <a:pt x="1048" y="42"/>
                    <a:pt x="1044" y="38"/>
                    <a:pt x="1040" y="34"/>
                  </a:cubicBezTo>
                  <a:cubicBezTo>
                    <a:pt x="1039" y="33"/>
                    <a:pt x="1038" y="32"/>
                    <a:pt x="1037" y="31"/>
                  </a:cubicBezTo>
                  <a:cubicBezTo>
                    <a:pt x="1034" y="27"/>
                    <a:pt x="1030" y="22"/>
                    <a:pt x="1026" y="18"/>
                  </a:cubicBezTo>
                  <a:cubicBezTo>
                    <a:pt x="1026" y="17"/>
                    <a:pt x="1025" y="16"/>
                    <a:pt x="1024" y="16"/>
                  </a:cubicBezTo>
                  <a:cubicBezTo>
                    <a:pt x="1021" y="11"/>
                    <a:pt x="1017" y="7"/>
                    <a:pt x="1014" y="2"/>
                  </a:cubicBezTo>
                  <a:cubicBezTo>
                    <a:pt x="1014" y="2"/>
                    <a:pt x="1013" y="1"/>
                    <a:pt x="1013" y="0"/>
                  </a:cubicBezTo>
                  <a:cubicBezTo>
                    <a:pt x="1013" y="0"/>
                    <a:pt x="1012" y="0"/>
                    <a:pt x="1012" y="0"/>
                  </a:cubicBezTo>
                  <a:cubicBezTo>
                    <a:pt x="1012" y="0"/>
                    <a:pt x="1012" y="0"/>
                    <a:pt x="1012" y="0"/>
                  </a:cubicBezTo>
                  <a:cubicBezTo>
                    <a:pt x="1011" y="1"/>
                    <a:pt x="1011" y="2"/>
                    <a:pt x="1010" y="2"/>
                  </a:cubicBezTo>
                  <a:cubicBezTo>
                    <a:pt x="1007" y="7"/>
                    <a:pt x="1004" y="11"/>
                    <a:pt x="1000" y="16"/>
                  </a:cubicBezTo>
                  <a:cubicBezTo>
                    <a:pt x="999" y="16"/>
                    <a:pt x="999" y="17"/>
                    <a:pt x="998" y="18"/>
                  </a:cubicBezTo>
                  <a:cubicBezTo>
                    <a:pt x="995" y="22"/>
                    <a:pt x="991" y="27"/>
                    <a:pt x="987" y="31"/>
                  </a:cubicBezTo>
                  <a:cubicBezTo>
                    <a:pt x="986" y="32"/>
                    <a:pt x="985" y="33"/>
                    <a:pt x="984" y="34"/>
                  </a:cubicBezTo>
                  <a:cubicBezTo>
                    <a:pt x="981" y="38"/>
                    <a:pt x="977" y="42"/>
                    <a:pt x="972" y="47"/>
                  </a:cubicBezTo>
                  <a:cubicBezTo>
                    <a:pt x="972" y="47"/>
                    <a:pt x="971" y="48"/>
                    <a:pt x="971" y="48"/>
                  </a:cubicBezTo>
                  <a:cubicBezTo>
                    <a:pt x="967" y="52"/>
                    <a:pt x="963" y="56"/>
                    <a:pt x="959" y="60"/>
                  </a:cubicBezTo>
                  <a:cubicBezTo>
                    <a:pt x="958" y="60"/>
                    <a:pt x="957" y="61"/>
                    <a:pt x="957" y="62"/>
                  </a:cubicBezTo>
                  <a:cubicBezTo>
                    <a:pt x="953" y="66"/>
                    <a:pt x="948" y="69"/>
                    <a:pt x="944" y="73"/>
                  </a:cubicBezTo>
                  <a:cubicBezTo>
                    <a:pt x="943" y="74"/>
                    <a:pt x="942" y="75"/>
                    <a:pt x="941" y="76"/>
                  </a:cubicBezTo>
                  <a:cubicBezTo>
                    <a:pt x="936" y="79"/>
                    <a:pt x="932" y="83"/>
                    <a:pt x="927" y="87"/>
                  </a:cubicBezTo>
                  <a:cubicBezTo>
                    <a:pt x="926" y="87"/>
                    <a:pt x="926" y="88"/>
                    <a:pt x="925" y="88"/>
                  </a:cubicBezTo>
                  <a:cubicBezTo>
                    <a:pt x="921" y="92"/>
                    <a:pt x="916" y="95"/>
                    <a:pt x="911" y="98"/>
                  </a:cubicBezTo>
                  <a:cubicBezTo>
                    <a:pt x="911" y="98"/>
                    <a:pt x="910" y="99"/>
                    <a:pt x="910" y="99"/>
                  </a:cubicBezTo>
                  <a:cubicBezTo>
                    <a:pt x="905" y="103"/>
                    <a:pt x="900" y="106"/>
                    <a:pt x="895" y="109"/>
                  </a:cubicBezTo>
                  <a:cubicBezTo>
                    <a:pt x="894" y="110"/>
                    <a:pt x="893" y="110"/>
                    <a:pt x="892" y="111"/>
                  </a:cubicBezTo>
                  <a:cubicBezTo>
                    <a:pt x="887" y="114"/>
                    <a:pt x="882" y="117"/>
                    <a:pt x="877" y="120"/>
                  </a:cubicBezTo>
                  <a:cubicBezTo>
                    <a:pt x="876" y="120"/>
                    <a:pt x="875" y="121"/>
                    <a:pt x="874" y="121"/>
                  </a:cubicBezTo>
                  <a:cubicBezTo>
                    <a:pt x="869" y="124"/>
                    <a:pt x="864" y="126"/>
                    <a:pt x="859" y="129"/>
                  </a:cubicBezTo>
                  <a:cubicBezTo>
                    <a:pt x="858" y="129"/>
                    <a:pt x="858" y="129"/>
                    <a:pt x="857" y="130"/>
                  </a:cubicBezTo>
                  <a:cubicBezTo>
                    <a:pt x="852" y="132"/>
                    <a:pt x="847" y="135"/>
                    <a:pt x="841" y="137"/>
                  </a:cubicBezTo>
                  <a:cubicBezTo>
                    <a:pt x="840" y="138"/>
                    <a:pt x="839" y="138"/>
                    <a:pt x="838" y="139"/>
                  </a:cubicBezTo>
                  <a:cubicBezTo>
                    <a:pt x="832" y="141"/>
                    <a:pt x="827" y="143"/>
                    <a:pt x="821" y="145"/>
                  </a:cubicBezTo>
                  <a:cubicBezTo>
                    <a:pt x="820" y="146"/>
                    <a:pt x="819" y="146"/>
                    <a:pt x="818" y="146"/>
                  </a:cubicBezTo>
                  <a:cubicBezTo>
                    <a:pt x="813" y="148"/>
                    <a:pt x="808" y="150"/>
                    <a:pt x="802" y="152"/>
                  </a:cubicBezTo>
                  <a:cubicBezTo>
                    <a:pt x="802" y="152"/>
                    <a:pt x="801" y="152"/>
                    <a:pt x="801" y="152"/>
                  </a:cubicBezTo>
                  <a:cubicBezTo>
                    <a:pt x="795" y="154"/>
                    <a:pt x="789" y="156"/>
                    <a:pt x="783" y="158"/>
                  </a:cubicBezTo>
                  <a:cubicBezTo>
                    <a:pt x="782" y="158"/>
                    <a:pt x="781" y="158"/>
                    <a:pt x="780" y="158"/>
                  </a:cubicBezTo>
                  <a:cubicBezTo>
                    <a:pt x="774" y="160"/>
                    <a:pt x="768" y="161"/>
                    <a:pt x="762" y="163"/>
                  </a:cubicBezTo>
                  <a:cubicBezTo>
                    <a:pt x="761" y="163"/>
                    <a:pt x="760" y="163"/>
                    <a:pt x="759" y="163"/>
                  </a:cubicBezTo>
                  <a:cubicBezTo>
                    <a:pt x="753" y="164"/>
                    <a:pt x="747" y="165"/>
                    <a:pt x="741" y="166"/>
                  </a:cubicBezTo>
                  <a:cubicBezTo>
                    <a:pt x="741" y="166"/>
                    <a:pt x="741" y="167"/>
                    <a:pt x="740" y="167"/>
                  </a:cubicBezTo>
                  <a:cubicBezTo>
                    <a:pt x="734" y="168"/>
                    <a:pt x="728" y="168"/>
                    <a:pt x="722" y="169"/>
                  </a:cubicBezTo>
                  <a:cubicBezTo>
                    <a:pt x="721" y="169"/>
                    <a:pt x="719" y="169"/>
                    <a:pt x="718" y="169"/>
                  </a:cubicBezTo>
                  <a:cubicBezTo>
                    <a:pt x="712" y="170"/>
                    <a:pt x="706" y="170"/>
                    <a:pt x="700" y="171"/>
                  </a:cubicBezTo>
                  <a:cubicBezTo>
                    <a:pt x="699" y="171"/>
                    <a:pt x="698" y="171"/>
                    <a:pt x="696" y="171"/>
                  </a:cubicBezTo>
                  <a:cubicBezTo>
                    <a:pt x="690" y="171"/>
                    <a:pt x="684" y="171"/>
                    <a:pt x="677" y="171"/>
                  </a:cubicBezTo>
                  <a:cubicBezTo>
                    <a:pt x="671" y="171"/>
                    <a:pt x="664" y="171"/>
                    <a:pt x="658" y="171"/>
                  </a:cubicBezTo>
                  <a:cubicBezTo>
                    <a:pt x="657" y="171"/>
                    <a:pt x="655" y="171"/>
                    <a:pt x="654" y="171"/>
                  </a:cubicBezTo>
                  <a:cubicBezTo>
                    <a:pt x="648" y="170"/>
                    <a:pt x="642" y="170"/>
                    <a:pt x="636" y="169"/>
                  </a:cubicBezTo>
                  <a:cubicBezTo>
                    <a:pt x="635" y="169"/>
                    <a:pt x="634" y="169"/>
                    <a:pt x="632" y="169"/>
                  </a:cubicBezTo>
                  <a:cubicBezTo>
                    <a:pt x="626" y="168"/>
                    <a:pt x="620" y="168"/>
                    <a:pt x="614" y="167"/>
                  </a:cubicBezTo>
                  <a:cubicBezTo>
                    <a:pt x="614" y="167"/>
                    <a:pt x="613" y="166"/>
                    <a:pt x="613" y="166"/>
                  </a:cubicBezTo>
                  <a:cubicBezTo>
                    <a:pt x="607" y="165"/>
                    <a:pt x="601" y="164"/>
                    <a:pt x="595" y="163"/>
                  </a:cubicBezTo>
                  <a:cubicBezTo>
                    <a:pt x="594" y="163"/>
                    <a:pt x="593" y="163"/>
                    <a:pt x="592" y="163"/>
                  </a:cubicBezTo>
                  <a:cubicBezTo>
                    <a:pt x="586" y="161"/>
                    <a:pt x="580" y="160"/>
                    <a:pt x="574" y="158"/>
                  </a:cubicBezTo>
                  <a:cubicBezTo>
                    <a:pt x="573" y="158"/>
                    <a:pt x="572" y="158"/>
                    <a:pt x="571" y="158"/>
                  </a:cubicBezTo>
                  <a:cubicBezTo>
                    <a:pt x="565" y="156"/>
                    <a:pt x="559" y="154"/>
                    <a:pt x="553" y="152"/>
                  </a:cubicBezTo>
                  <a:cubicBezTo>
                    <a:pt x="553" y="152"/>
                    <a:pt x="553" y="152"/>
                    <a:pt x="552" y="152"/>
                  </a:cubicBezTo>
                  <a:cubicBezTo>
                    <a:pt x="547" y="150"/>
                    <a:pt x="541" y="148"/>
                    <a:pt x="536" y="146"/>
                  </a:cubicBezTo>
                  <a:cubicBezTo>
                    <a:pt x="535" y="146"/>
                    <a:pt x="534" y="146"/>
                    <a:pt x="533" y="145"/>
                  </a:cubicBezTo>
                  <a:cubicBezTo>
                    <a:pt x="527" y="143"/>
                    <a:pt x="522" y="141"/>
                    <a:pt x="516" y="139"/>
                  </a:cubicBezTo>
                  <a:cubicBezTo>
                    <a:pt x="515" y="138"/>
                    <a:pt x="514" y="138"/>
                    <a:pt x="513" y="137"/>
                  </a:cubicBezTo>
                  <a:cubicBezTo>
                    <a:pt x="508" y="135"/>
                    <a:pt x="502" y="132"/>
                    <a:pt x="497" y="130"/>
                  </a:cubicBezTo>
                  <a:cubicBezTo>
                    <a:pt x="496" y="129"/>
                    <a:pt x="496" y="129"/>
                    <a:pt x="495" y="129"/>
                  </a:cubicBezTo>
                  <a:cubicBezTo>
                    <a:pt x="490" y="126"/>
                    <a:pt x="485" y="124"/>
                    <a:pt x="480" y="121"/>
                  </a:cubicBezTo>
                  <a:cubicBezTo>
                    <a:pt x="479" y="121"/>
                    <a:pt x="478" y="120"/>
                    <a:pt x="478" y="120"/>
                  </a:cubicBezTo>
                  <a:cubicBezTo>
                    <a:pt x="472" y="117"/>
                    <a:pt x="467" y="114"/>
                    <a:pt x="462" y="111"/>
                  </a:cubicBezTo>
                  <a:cubicBezTo>
                    <a:pt x="461" y="110"/>
                    <a:pt x="460" y="110"/>
                    <a:pt x="459" y="109"/>
                  </a:cubicBezTo>
                  <a:cubicBezTo>
                    <a:pt x="454" y="106"/>
                    <a:pt x="449" y="103"/>
                    <a:pt x="445" y="99"/>
                  </a:cubicBezTo>
                  <a:cubicBezTo>
                    <a:pt x="444" y="99"/>
                    <a:pt x="443" y="98"/>
                    <a:pt x="443" y="98"/>
                  </a:cubicBezTo>
                  <a:cubicBezTo>
                    <a:pt x="438" y="95"/>
                    <a:pt x="434" y="92"/>
                    <a:pt x="429" y="88"/>
                  </a:cubicBezTo>
                  <a:cubicBezTo>
                    <a:pt x="428" y="88"/>
                    <a:pt x="428" y="87"/>
                    <a:pt x="427" y="87"/>
                  </a:cubicBezTo>
                  <a:cubicBezTo>
                    <a:pt x="422" y="83"/>
                    <a:pt x="418" y="79"/>
                    <a:pt x="413" y="76"/>
                  </a:cubicBezTo>
                  <a:cubicBezTo>
                    <a:pt x="412" y="75"/>
                    <a:pt x="411" y="74"/>
                    <a:pt x="410" y="73"/>
                  </a:cubicBezTo>
                  <a:cubicBezTo>
                    <a:pt x="406" y="69"/>
                    <a:pt x="402" y="66"/>
                    <a:pt x="397" y="62"/>
                  </a:cubicBezTo>
                  <a:cubicBezTo>
                    <a:pt x="397" y="61"/>
                    <a:pt x="396" y="60"/>
                    <a:pt x="395" y="60"/>
                  </a:cubicBezTo>
                  <a:cubicBezTo>
                    <a:pt x="391" y="56"/>
                    <a:pt x="387" y="52"/>
                    <a:pt x="383" y="48"/>
                  </a:cubicBezTo>
                  <a:cubicBezTo>
                    <a:pt x="383" y="48"/>
                    <a:pt x="382" y="47"/>
                    <a:pt x="382" y="47"/>
                  </a:cubicBezTo>
                  <a:cubicBezTo>
                    <a:pt x="378" y="42"/>
                    <a:pt x="374" y="38"/>
                    <a:pt x="370" y="34"/>
                  </a:cubicBezTo>
                  <a:cubicBezTo>
                    <a:pt x="369" y="33"/>
                    <a:pt x="368" y="32"/>
                    <a:pt x="367" y="31"/>
                  </a:cubicBezTo>
                  <a:cubicBezTo>
                    <a:pt x="363" y="27"/>
                    <a:pt x="360" y="22"/>
                    <a:pt x="356" y="18"/>
                  </a:cubicBezTo>
                  <a:cubicBezTo>
                    <a:pt x="355" y="17"/>
                    <a:pt x="355" y="16"/>
                    <a:pt x="354" y="16"/>
                  </a:cubicBezTo>
                  <a:cubicBezTo>
                    <a:pt x="351" y="11"/>
                    <a:pt x="347" y="7"/>
                    <a:pt x="344" y="2"/>
                  </a:cubicBezTo>
                  <a:cubicBezTo>
                    <a:pt x="343" y="2"/>
                    <a:pt x="343" y="1"/>
                    <a:pt x="343" y="0"/>
                  </a:cubicBezTo>
                  <a:cubicBezTo>
                    <a:pt x="342" y="0"/>
                    <a:pt x="342" y="0"/>
                    <a:pt x="342" y="0"/>
                  </a:cubicBezTo>
                  <a:cubicBezTo>
                    <a:pt x="342" y="0"/>
                    <a:pt x="342" y="0"/>
                    <a:pt x="341" y="0"/>
                  </a:cubicBezTo>
                  <a:cubicBezTo>
                    <a:pt x="341" y="1"/>
                    <a:pt x="341" y="2"/>
                    <a:pt x="340" y="2"/>
                  </a:cubicBezTo>
                  <a:cubicBezTo>
                    <a:pt x="337" y="7"/>
                    <a:pt x="333" y="11"/>
                    <a:pt x="330" y="16"/>
                  </a:cubicBezTo>
                  <a:cubicBezTo>
                    <a:pt x="329" y="16"/>
                    <a:pt x="329" y="17"/>
                    <a:pt x="328" y="18"/>
                  </a:cubicBezTo>
                  <a:cubicBezTo>
                    <a:pt x="324" y="22"/>
                    <a:pt x="321" y="27"/>
                    <a:pt x="317" y="31"/>
                  </a:cubicBezTo>
                  <a:cubicBezTo>
                    <a:pt x="316" y="32"/>
                    <a:pt x="315" y="33"/>
                    <a:pt x="314" y="34"/>
                  </a:cubicBezTo>
                  <a:cubicBezTo>
                    <a:pt x="310" y="38"/>
                    <a:pt x="306" y="42"/>
                    <a:pt x="302" y="47"/>
                  </a:cubicBezTo>
                  <a:cubicBezTo>
                    <a:pt x="302" y="47"/>
                    <a:pt x="301" y="48"/>
                    <a:pt x="300" y="48"/>
                  </a:cubicBezTo>
                  <a:cubicBezTo>
                    <a:pt x="297" y="52"/>
                    <a:pt x="293" y="56"/>
                    <a:pt x="288" y="60"/>
                  </a:cubicBezTo>
                  <a:cubicBezTo>
                    <a:pt x="288" y="60"/>
                    <a:pt x="287" y="61"/>
                    <a:pt x="287" y="62"/>
                  </a:cubicBezTo>
                  <a:cubicBezTo>
                    <a:pt x="282" y="66"/>
                    <a:pt x="278" y="69"/>
                    <a:pt x="273" y="73"/>
                  </a:cubicBezTo>
                  <a:cubicBezTo>
                    <a:pt x="273" y="74"/>
                    <a:pt x="272" y="75"/>
                    <a:pt x="271" y="76"/>
                  </a:cubicBezTo>
                  <a:cubicBezTo>
                    <a:pt x="266" y="79"/>
                    <a:pt x="262" y="83"/>
                    <a:pt x="257" y="87"/>
                  </a:cubicBezTo>
                  <a:cubicBezTo>
                    <a:pt x="256" y="87"/>
                    <a:pt x="255" y="88"/>
                    <a:pt x="255" y="88"/>
                  </a:cubicBezTo>
                  <a:cubicBezTo>
                    <a:pt x="250" y="92"/>
                    <a:pt x="246" y="95"/>
                    <a:pt x="241" y="98"/>
                  </a:cubicBezTo>
                  <a:cubicBezTo>
                    <a:pt x="241" y="98"/>
                    <a:pt x="240" y="99"/>
                    <a:pt x="239" y="99"/>
                  </a:cubicBezTo>
                  <a:cubicBezTo>
                    <a:pt x="235" y="103"/>
                    <a:pt x="230" y="106"/>
                    <a:pt x="225" y="109"/>
                  </a:cubicBezTo>
                  <a:cubicBezTo>
                    <a:pt x="224" y="110"/>
                    <a:pt x="223" y="110"/>
                    <a:pt x="221" y="111"/>
                  </a:cubicBezTo>
                  <a:cubicBezTo>
                    <a:pt x="217" y="114"/>
                    <a:pt x="211" y="117"/>
                    <a:pt x="206" y="120"/>
                  </a:cubicBezTo>
                  <a:cubicBezTo>
                    <a:pt x="206" y="120"/>
                    <a:pt x="205" y="121"/>
                    <a:pt x="204" y="121"/>
                  </a:cubicBezTo>
                  <a:cubicBezTo>
                    <a:pt x="199" y="124"/>
                    <a:pt x="194" y="126"/>
                    <a:pt x="189" y="129"/>
                  </a:cubicBezTo>
                  <a:cubicBezTo>
                    <a:pt x="188" y="129"/>
                    <a:pt x="188" y="129"/>
                    <a:pt x="187" y="130"/>
                  </a:cubicBezTo>
                  <a:cubicBezTo>
                    <a:pt x="182" y="132"/>
                    <a:pt x="176" y="135"/>
                    <a:pt x="171" y="137"/>
                  </a:cubicBezTo>
                  <a:cubicBezTo>
                    <a:pt x="170" y="138"/>
                    <a:pt x="169" y="138"/>
                    <a:pt x="168" y="139"/>
                  </a:cubicBezTo>
                  <a:cubicBezTo>
                    <a:pt x="162" y="141"/>
                    <a:pt x="157" y="143"/>
                    <a:pt x="151" y="145"/>
                  </a:cubicBezTo>
                  <a:cubicBezTo>
                    <a:pt x="150" y="146"/>
                    <a:pt x="149" y="146"/>
                    <a:pt x="148" y="146"/>
                  </a:cubicBezTo>
                  <a:cubicBezTo>
                    <a:pt x="143" y="148"/>
                    <a:pt x="137" y="150"/>
                    <a:pt x="132" y="152"/>
                  </a:cubicBezTo>
                  <a:cubicBezTo>
                    <a:pt x="131" y="152"/>
                    <a:pt x="131" y="152"/>
                    <a:pt x="130" y="152"/>
                  </a:cubicBezTo>
                  <a:cubicBezTo>
                    <a:pt x="125" y="154"/>
                    <a:pt x="119" y="156"/>
                    <a:pt x="113" y="158"/>
                  </a:cubicBezTo>
                  <a:cubicBezTo>
                    <a:pt x="112" y="158"/>
                    <a:pt x="111" y="158"/>
                    <a:pt x="109" y="158"/>
                  </a:cubicBezTo>
                  <a:cubicBezTo>
                    <a:pt x="104" y="160"/>
                    <a:pt x="98" y="161"/>
                    <a:pt x="92" y="163"/>
                  </a:cubicBezTo>
                  <a:cubicBezTo>
                    <a:pt x="91" y="163"/>
                    <a:pt x="90" y="163"/>
                    <a:pt x="89" y="163"/>
                  </a:cubicBezTo>
                  <a:cubicBezTo>
                    <a:pt x="83" y="164"/>
                    <a:pt x="77" y="165"/>
                    <a:pt x="71" y="166"/>
                  </a:cubicBezTo>
                  <a:cubicBezTo>
                    <a:pt x="71" y="166"/>
                    <a:pt x="70" y="167"/>
                    <a:pt x="70" y="167"/>
                  </a:cubicBezTo>
                  <a:cubicBezTo>
                    <a:pt x="64" y="168"/>
                    <a:pt x="58" y="168"/>
                    <a:pt x="52" y="169"/>
                  </a:cubicBezTo>
                  <a:cubicBezTo>
                    <a:pt x="50" y="169"/>
                    <a:pt x="49" y="169"/>
                    <a:pt x="48" y="169"/>
                  </a:cubicBezTo>
                  <a:cubicBezTo>
                    <a:pt x="42" y="170"/>
                    <a:pt x="36" y="170"/>
                    <a:pt x="30" y="171"/>
                  </a:cubicBezTo>
                  <a:cubicBezTo>
                    <a:pt x="29" y="171"/>
                    <a:pt x="27" y="171"/>
                    <a:pt x="26" y="171"/>
                  </a:cubicBezTo>
                  <a:cubicBezTo>
                    <a:pt x="20" y="171"/>
                    <a:pt x="13" y="171"/>
                    <a:pt x="7" y="171"/>
                  </a:cubicBezTo>
                  <a:cubicBezTo>
                    <a:pt x="5" y="171"/>
                    <a:pt x="2" y="171"/>
                    <a:pt x="0" y="171"/>
                  </a:cubicBezTo>
                  <a:lnTo>
                    <a:pt x="0" y="1074"/>
                  </a:lnTo>
                  <a:lnTo>
                    <a:pt x="219" y="1074"/>
                  </a:lnTo>
                  <a:lnTo>
                    <a:pt x="219" y="554"/>
                  </a:lnTo>
                  <a:cubicBezTo>
                    <a:pt x="219" y="419"/>
                    <a:pt x="329" y="308"/>
                    <a:pt x="465" y="308"/>
                  </a:cubicBezTo>
                  <a:lnTo>
                    <a:pt x="684" y="308"/>
                  </a:lnTo>
                  <a:cubicBezTo>
                    <a:pt x="820" y="308"/>
                    <a:pt x="930" y="419"/>
                    <a:pt x="930" y="554"/>
                  </a:cubicBezTo>
                  <a:lnTo>
                    <a:pt x="930" y="1074"/>
                  </a:lnTo>
                  <a:lnTo>
                    <a:pt x="2024" y="10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4">
              <a:extLst>
                <a:ext uri="{FF2B5EF4-FFF2-40B4-BE49-F238E27FC236}">
                  <a16:creationId xmlns:a16="http://schemas.microsoft.com/office/drawing/2014/main" id="{FA4AEFC6-6A1F-45E5-8F15-0EEC9C8F68DD}"/>
                </a:ext>
              </a:extLst>
            </p:cNvPr>
            <p:cNvSpPr>
              <a:spLocks/>
            </p:cNvSpPr>
            <p:nvPr/>
          </p:nvSpPr>
          <p:spPr bwMode="auto">
            <a:xfrm>
              <a:off x="9385300" y="3017838"/>
              <a:ext cx="466725" cy="182563"/>
            </a:xfrm>
            <a:custGeom>
              <a:avLst/>
              <a:gdLst>
                <a:gd name="T0" fmla="*/ 489 w 489"/>
                <a:gd name="T1" fmla="*/ 0 h 191"/>
                <a:gd name="T2" fmla="*/ 489 w 489"/>
                <a:gd name="T3" fmla="*/ 0 h 191"/>
                <a:gd name="T4" fmla="*/ 0 w 489"/>
                <a:gd name="T5" fmla="*/ 0 h 191"/>
                <a:gd name="T6" fmla="*/ 2 w 489"/>
                <a:gd name="T7" fmla="*/ 6 h 191"/>
                <a:gd name="T8" fmla="*/ 3 w 489"/>
                <a:gd name="T9" fmla="*/ 9 h 191"/>
                <a:gd name="T10" fmla="*/ 7 w 489"/>
                <a:gd name="T11" fmla="*/ 20 h 191"/>
                <a:gd name="T12" fmla="*/ 7 w 489"/>
                <a:gd name="T13" fmla="*/ 22 h 191"/>
                <a:gd name="T14" fmla="*/ 11 w 489"/>
                <a:gd name="T15" fmla="*/ 31 h 191"/>
                <a:gd name="T16" fmla="*/ 12 w 489"/>
                <a:gd name="T17" fmla="*/ 35 h 191"/>
                <a:gd name="T18" fmla="*/ 16 w 489"/>
                <a:gd name="T19" fmla="*/ 42 h 191"/>
                <a:gd name="T20" fmla="*/ 17 w 489"/>
                <a:gd name="T21" fmla="*/ 46 h 191"/>
                <a:gd name="T22" fmla="*/ 21 w 489"/>
                <a:gd name="T23" fmla="*/ 53 h 191"/>
                <a:gd name="T24" fmla="*/ 23 w 489"/>
                <a:gd name="T25" fmla="*/ 57 h 191"/>
                <a:gd name="T26" fmla="*/ 27 w 489"/>
                <a:gd name="T27" fmla="*/ 64 h 191"/>
                <a:gd name="T28" fmla="*/ 28 w 489"/>
                <a:gd name="T29" fmla="*/ 67 h 191"/>
                <a:gd name="T30" fmla="*/ 35 w 489"/>
                <a:gd name="T31" fmla="*/ 76 h 191"/>
                <a:gd name="T32" fmla="*/ 35 w 489"/>
                <a:gd name="T33" fmla="*/ 78 h 191"/>
                <a:gd name="T34" fmla="*/ 41 w 489"/>
                <a:gd name="T35" fmla="*/ 86 h 191"/>
                <a:gd name="T36" fmla="*/ 43 w 489"/>
                <a:gd name="T37" fmla="*/ 89 h 191"/>
                <a:gd name="T38" fmla="*/ 48 w 489"/>
                <a:gd name="T39" fmla="*/ 95 h 191"/>
                <a:gd name="T40" fmla="*/ 51 w 489"/>
                <a:gd name="T41" fmla="*/ 98 h 191"/>
                <a:gd name="T42" fmla="*/ 56 w 489"/>
                <a:gd name="T43" fmla="*/ 104 h 191"/>
                <a:gd name="T44" fmla="*/ 58 w 489"/>
                <a:gd name="T45" fmla="*/ 107 h 191"/>
                <a:gd name="T46" fmla="*/ 64 w 489"/>
                <a:gd name="T47" fmla="*/ 113 h 191"/>
                <a:gd name="T48" fmla="*/ 66 w 489"/>
                <a:gd name="T49" fmla="*/ 116 h 191"/>
                <a:gd name="T50" fmla="*/ 74 w 489"/>
                <a:gd name="T51" fmla="*/ 124 h 191"/>
                <a:gd name="T52" fmla="*/ 75 w 489"/>
                <a:gd name="T53" fmla="*/ 124 h 191"/>
                <a:gd name="T54" fmla="*/ 83 w 489"/>
                <a:gd name="T55" fmla="*/ 131 h 191"/>
                <a:gd name="T56" fmla="*/ 86 w 489"/>
                <a:gd name="T57" fmla="*/ 134 h 191"/>
                <a:gd name="T58" fmla="*/ 92 w 489"/>
                <a:gd name="T59" fmla="*/ 138 h 191"/>
                <a:gd name="T60" fmla="*/ 95 w 489"/>
                <a:gd name="T61" fmla="*/ 141 h 191"/>
                <a:gd name="T62" fmla="*/ 101 w 489"/>
                <a:gd name="T63" fmla="*/ 145 h 191"/>
                <a:gd name="T64" fmla="*/ 104 w 489"/>
                <a:gd name="T65" fmla="*/ 148 h 191"/>
                <a:gd name="T66" fmla="*/ 111 w 489"/>
                <a:gd name="T67" fmla="*/ 152 h 191"/>
                <a:gd name="T68" fmla="*/ 114 w 489"/>
                <a:gd name="T69" fmla="*/ 154 h 191"/>
                <a:gd name="T70" fmla="*/ 124 w 489"/>
                <a:gd name="T71" fmla="*/ 160 h 191"/>
                <a:gd name="T72" fmla="*/ 125 w 489"/>
                <a:gd name="T73" fmla="*/ 160 h 191"/>
                <a:gd name="T74" fmla="*/ 134 w 489"/>
                <a:gd name="T75" fmla="*/ 165 h 191"/>
                <a:gd name="T76" fmla="*/ 137 w 489"/>
                <a:gd name="T77" fmla="*/ 167 h 191"/>
                <a:gd name="T78" fmla="*/ 144 w 489"/>
                <a:gd name="T79" fmla="*/ 170 h 191"/>
                <a:gd name="T80" fmla="*/ 148 w 489"/>
                <a:gd name="T81" fmla="*/ 172 h 191"/>
                <a:gd name="T82" fmla="*/ 155 w 489"/>
                <a:gd name="T83" fmla="*/ 175 h 191"/>
                <a:gd name="T84" fmla="*/ 159 w 489"/>
                <a:gd name="T85" fmla="*/ 176 h 191"/>
                <a:gd name="T86" fmla="*/ 167 w 489"/>
                <a:gd name="T87" fmla="*/ 179 h 191"/>
                <a:gd name="T88" fmla="*/ 170 w 489"/>
                <a:gd name="T89" fmla="*/ 180 h 191"/>
                <a:gd name="T90" fmla="*/ 181 w 489"/>
                <a:gd name="T91" fmla="*/ 183 h 191"/>
                <a:gd name="T92" fmla="*/ 182 w 489"/>
                <a:gd name="T93" fmla="*/ 183 h 191"/>
                <a:gd name="T94" fmla="*/ 193 w 489"/>
                <a:gd name="T95" fmla="*/ 186 h 191"/>
                <a:gd name="T96" fmla="*/ 196 w 489"/>
                <a:gd name="T97" fmla="*/ 187 h 191"/>
                <a:gd name="T98" fmla="*/ 204 w 489"/>
                <a:gd name="T99" fmla="*/ 188 h 191"/>
                <a:gd name="T100" fmla="*/ 208 w 489"/>
                <a:gd name="T101" fmla="*/ 189 h 191"/>
                <a:gd name="T102" fmla="*/ 216 w 489"/>
                <a:gd name="T103" fmla="*/ 190 h 191"/>
                <a:gd name="T104" fmla="*/ 220 w 489"/>
                <a:gd name="T105" fmla="*/ 190 h 191"/>
                <a:gd name="T106" fmla="*/ 229 w 489"/>
                <a:gd name="T107" fmla="*/ 191 h 191"/>
                <a:gd name="T108" fmla="*/ 232 w 489"/>
                <a:gd name="T109" fmla="*/ 191 h 191"/>
                <a:gd name="T110" fmla="*/ 244 w 489"/>
                <a:gd name="T111" fmla="*/ 191 h 191"/>
                <a:gd name="T112" fmla="*/ 260 w 489"/>
                <a:gd name="T113" fmla="*/ 191 h 191"/>
                <a:gd name="T114" fmla="*/ 263 w 489"/>
                <a:gd name="T115" fmla="*/ 191 h 191"/>
                <a:gd name="T116" fmla="*/ 295 w 489"/>
                <a:gd name="T117" fmla="*/ 186 h 191"/>
                <a:gd name="T118" fmla="*/ 295 w 489"/>
                <a:gd name="T119" fmla="*/ 186 h 191"/>
                <a:gd name="T120" fmla="*/ 311 w 489"/>
                <a:gd name="T121" fmla="*/ 182 h 191"/>
                <a:gd name="T122" fmla="*/ 489 w 489"/>
                <a:gd name="T12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9" h="191">
                  <a:moveTo>
                    <a:pt x="489" y="0"/>
                  </a:moveTo>
                  <a:lnTo>
                    <a:pt x="489" y="0"/>
                  </a:lnTo>
                  <a:lnTo>
                    <a:pt x="0" y="0"/>
                  </a:lnTo>
                  <a:cubicBezTo>
                    <a:pt x="1" y="2"/>
                    <a:pt x="1" y="4"/>
                    <a:pt x="2" y="6"/>
                  </a:cubicBezTo>
                  <a:cubicBezTo>
                    <a:pt x="2" y="7"/>
                    <a:pt x="3" y="8"/>
                    <a:pt x="3" y="9"/>
                  </a:cubicBezTo>
                  <a:cubicBezTo>
                    <a:pt x="4" y="13"/>
                    <a:pt x="5" y="17"/>
                    <a:pt x="7" y="20"/>
                  </a:cubicBezTo>
                  <a:cubicBezTo>
                    <a:pt x="7" y="21"/>
                    <a:pt x="7" y="22"/>
                    <a:pt x="7" y="22"/>
                  </a:cubicBezTo>
                  <a:cubicBezTo>
                    <a:pt x="9" y="25"/>
                    <a:pt x="10" y="28"/>
                    <a:pt x="11" y="31"/>
                  </a:cubicBezTo>
                  <a:cubicBezTo>
                    <a:pt x="11" y="33"/>
                    <a:pt x="12" y="34"/>
                    <a:pt x="12" y="35"/>
                  </a:cubicBezTo>
                  <a:cubicBezTo>
                    <a:pt x="13" y="37"/>
                    <a:pt x="15" y="40"/>
                    <a:pt x="16" y="42"/>
                  </a:cubicBezTo>
                  <a:cubicBezTo>
                    <a:pt x="16" y="43"/>
                    <a:pt x="17" y="45"/>
                    <a:pt x="17" y="46"/>
                  </a:cubicBezTo>
                  <a:cubicBezTo>
                    <a:pt x="19" y="48"/>
                    <a:pt x="20" y="51"/>
                    <a:pt x="21" y="53"/>
                  </a:cubicBezTo>
                  <a:cubicBezTo>
                    <a:pt x="21" y="54"/>
                    <a:pt x="22" y="55"/>
                    <a:pt x="23" y="57"/>
                  </a:cubicBezTo>
                  <a:cubicBezTo>
                    <a:pt x="24" y="59"/>
                    <a:pt x="25" y="61"/>
                    <a:pt x="27" y="64"/>
                  </a:cubicBezTo>
                  <a:cubicBezTo>
                    <a:pt x="27" y="65"/>
                    <a:pt x="28" y="66"/>
                    <a:pt x="28" y="67"/>
                  </a:cubicBezTo>
                  <a:cubicBezTo>
                    <a:pt x="30" y="70"/>
                    <a:pt x="32" y="73"/>
                    <a:pt x="35" y="76"/>
                  </a:cubicBezTo>
                  <a:cubicBezTo>
                    <a:pt x="35" y="77"/>
                    <a:pt x="35" y="77"/>
                    <a:pt x="35" y="78"/>
                  </a:cubicBezTo>
                  <a:cubicBezTo>
                    <a:pt x="37" y="81"/>
                    <a:pt x="39" y="83"/>
                    <a:pt x="41" y="86"/>
                  </a:cubicBezTo>
                  <a:cubicBezTo>
                    <a:pt x="42" y="87"/>
                    <a:pt x="43" y="88"/>
                    <a:pt x="43" y="89"/>
                  </a:cubicBezTo>
                  <a:cubicBezTo>
                    <a:pt x="45" y="91"/>
                    <a:pt x="47" y="93"/>
                    <a:pt x="48" y="95"/>
                  </a:cubicBezTo>
                  <a:cubicBezTo>
                    <a:pt x="49" y="96"/>
                    <a:pt x="50" y="97"/>
                    <a:pt x="51" y="98"/>
                  </a:cubicBezTo>
                  <a:cubicBezTo>
                    <a:pt x="52" y="100"/>
                    <a:pt x="54" y="102"/>
                    <a:pt x="56" y="104"/>
                  </a:cubicBezTo>
                  <a:cubicBezTo>
                    <a:pt x="57" y="105"/>
                    <a:pt x="57" y="106"/>
                    <a:pt x="58" y="107"/>
                  </a:cubicBezTo>
                  <a:cubicBezTo>
                    <a:pt x="60" y="109"/>
                    <a:pt x="62" y="111"/>
                    <a:pt x="64" y="113"/>
                  </a:cubicBezTo>
                  <a:cubicBezTo>
                    <a:pt x="65" y="114"/>
                    <a:pt x="65" y="115"/>
                    <a:pt x="66" y="116"/>
                  </a:cubicBezTo>
                  <a:cubicBezTo>
                    <a:pt x="69" y="118"/>
                    <a:pt x="72" y="121"/>
                    <a:pt x="74" y="124"/>
                  </a:cubicBezTo>
                  <a:cubicBezTo>
                    <a:pt x="75" y="124"/>
                    <a:pt x="75" y="124"/>
                    <a:pt x="75" y="124"/>
                  </a:cubicBezTo>
                  <a:cubicBezTo>
                    <a:pt x="78" y="127"/>
                    <a:pt x="80" y="129"/>
                    <a:pt x="83" y="131"/>
                  </a:cubicBezTo>
                  <a:cubicBezTo>
                    <a:pt x="84" y="132"/>
                    <a:pt x="85" y="133"/>
                    <a:pt x="86" y="134"/>
                  </a:cubicBezTo>
                  <a:cubicBezTo>
                    <a:pt x="88" y="135"/>
                    <a:pt x="90" y="137"/>
                    <a:pt x="92" y="138"/>
                  </a:cubicBezTo>
                  <a:cubicBezTo>
                    <a:pt x="93" y="139"/>
                    <a:pt x="94" y="140"/>
                    <a:pt x="95" y="141"/>
                  </a:cubicBezTo>
                  <a:cubicBezTo>
                    <a:pt x="97" y="142"/>
                    <a:pt x="99" y="144"/>
                    <a:pt x="101" y="145"/>
                  </a:cubicBezTo>
                  <a:cubicBezTo>
                    <a:pt x="102" y="146"/>
                    <a:pt x="103" y="147"/>
                    <a:pt x="104" y="148"/>
                  </a:cubicBezTo>
                  <a:cubicBezTo>
                    <a:pt x="107" y="149"/>
                    <a:pt x="109" y="151"/>
                    <a:pt x="111" y="152"/>
                  </a:cubicBezTo>
                  <a:cubicBezTo>
                    <a:pt x="112" y="153"/>
                    <a:pt x="113" y="153"/>
                    <a:pt x="114" y="154"/>
                  </a:cubicBezTo>
                  <a:cubicBezTo>
                    <a:pt x="117" y="156"/>
                    <a:pt x="121" y="158"/>
                    <a:pt x="124" y="160"/>
                  </a:cubicBezTo>
                  <a:cubicBezTo>
                    <a:pt x="124" y="160"/>
                    <a:pt x="124" y="160"/>
                    <a:pt x="125" y="160"/>
                  </a:cubicBezTo>
                  <a:cubicBezTo>
                    <a:pt x="128" y="162"/>
                    <a:pt x="131" y="164"/>
                    <a:pt x="134" y="165"/>
                  </a:cubicBezTo>
                  <a:cubicBezTo>
                    <a:pt x="135" y="166"/>
                    <a:pt x="136" y="166"/>
                    <a:pt x="137" y="167"/>
                  </a:cubicBezTo>
                  <a:cubicBezTo>
                    <a:pt x="140" y="168"/>
                    <a:pt x="142" y="169"/>
                    <a:pt x="144" y="170"/>
                  </a:cubicBezTo>
                  <a:cubicBezTo>
                    <a:pt x="146" y="171"/>
                    <a:pt x="147" y="171"/>
                    <a:pt x="148" y="172"/>
                  </a:cubicBezTo>
                  <a:cubicBezTo>
                    <a:pt x="151" y="173"/>
                    <a:pt x="153" y="174"/>
                    <a:pt x="155" y="175"/>
                  </a:cubicBezTo>
                  <a:cubicBezTo>
                    <a:pt x="157" y="175"/>
                    <a:pt x="158" y="176"/>
                    <a:pt x="159" y="176"/>
                  </a:cubicBezTo>
                  <a:cubicBezTo>
                    <a:pt x="162" y="177"/>
                    <a:pt x="164" y="178"/>
                    <a:pt x="167" y="179"/>
                  </a:cubicBezTo>
                  <a:cubicBezTo>
                    <a:pt x="168" y="179"/>
                    <a:pt x="169" y="179"/>
                    <a:pt x="170" y="180"/>
                  </a:cubicBezTo>
                  <a:cubicBezTo>
                    <a:pt x="174" y="181"/>
                    <a:pt x="178" y="182"/>
                    <a:pt x="181" y="183"/>
                  </a:cubicBezTo>
                  <a:cubicBezTo>
                    <a:pt x="181" y="183"/>
                    <a:pt x="182" y="183"/>
                    <a:pt x="182" y="183"/>
                  </a:cubicBezTo>
                  <a:cubicBezTo>
                    <a:pt x="185" y="184"/>
                    <a:pt x="189" y="185"/>
                    <a:pt x="193" y="186"/>
                  </a:cubicBezTo>
                  <a:cubicBezTo>
                    <a:pt x="194" y="186"/>
                    <a:pt x="195" y="186"/>
                    <a:pt x="196" y="187"/>
                  </a:cubicBezTo>
                  <a:cubicBezTo>
                    <a:pt x="199" y="187"/>
                    <a:pt x="202" y="188"/>
                    <a:pt x="204" y="188"/>
                  </a:cubicBezTo>
                  <a:cubicBezTo>
                    <a:pt x="206" y="188"/>
                    <a:pt x="207" y="188"/>
                    <a:pt x="208" y="189"/>
                  </a:cubicBezTo>
                  <a:cubicBezTo>
                    <a:pt x="211" y="189"/>
                    <a:pt x="214" y="189"/>
                    <a:pt x="216" y="190"/>
                  </a:cubicBezTo>
                  <a:cubicBezTo>
                    <a:pt x="218" y="190"/>
                    <a:pt x="219" y="190"/>
                    <a:pt x="220" y="190"/>
                  </a:cubicBezTo>
                  <a:cubicBezTo>
                    <a:pt x="223" y="190"/>
                    <a:pt x="226" y="191"/>
                    <a:pt x="229" y="191"/>
                  </a:cubicBezTo>
                  <a:cubicBezTo>
                    <a:pt x="230" y="191"/>
                    <a:pt x="231" y="191"/>
                    <a:pt x="232" y="191"/>
                  </a:cubicBezTo>
                  <a:cubicBezTo>
                    <a:pt x="236" y="191"/>
                    <a:pt x="240" y="191"/>
                    <a:pt x="244" y="191"/>
                  </a:cubicBezTo>
                  <a:cubicBezTo>
                    <a:pt x="250" y="191"/>
                    <a:pt x="255" y="191"/>
                    <a:pt x="260" y="191"/>
                  </a:cubicBezTo>
                  <a:cubicBezTo>
                    <a:pt x="261" y="191"/>
                    <a:pt x="262" y="191"/>
                    <a:pt x="263" y="191"/>
                  </a:cubicBezTo>
                  <a:cubicBezTo>
                    <a:pt x="273" y="190"/>
                    <a:pt x="284" y="188"/>
                    <a:pt x="295" y="186"/>
                  </a:cubicBezTo>
                  <a:cubicBezTo>
                    <a:pt x="295" y="186"/>
                    <a:pt x="295" y="186"/>
                    <a:pt x="295" y="186"/>
                  </a:cubicBezTo>
                  <a:cubicBezTo>
                    <a:pt x="300" y="185"/>
                    <a:pt x="306" y="184"/>
                    <a:pt x="311" y="182"/>
                  </a:cubicBezTo>
                  <a:cubicBezTo>
                    <a:pt x="397" y="158"/>
                    <a:pt x="465" y="88"/>
                    <a:pt x="4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5">
              <a:extLst>
                <a:ext uri="{FF2B5EF4-FFF2-40B4-BE49-F238E27FC236}">
                  <a16:creationId xmlns:a16="http://schemas.microsoft.com/office/drawing/2014/main" id="{EA028280-1989-4C7A-9F21-8F2E85A5EFB0}"/>
                </a:ext>
              </a:extLst>
            </p:cNvPr>
            <p:cNvSpPr>
              <a:spLocks/>
            </p:cNvSpPr>
            <p:nvPr/>
          </p:nvSpPr>
          <p:spPr bwMode="auto">
            <a:xfrm>
              <a:off x="8894763" y="3644900"/>
              <a:ext cx="365125" cy="157163"/>
            </a:xfrm>
            <a:custGeom>
              <a:avLst/>
              <a:gdLst>
                <a:gd name="T0" fmla="*/ 82 w 383"/>
                <a:gd name="T1" fmla="*/ 164 h 164"/>
                <a:gd name="T2" fmla="*/ 82 w 383"/>
                <a:gd name="T3" fmla="*/ 164 h 164"/>
                <a:gd name="T4" fmla="*/ 301 w 383"/>
                <a:gd name="T5" fmla="*/ 164 h 164"/>
                <a:gd name="T6" fmla="*/ 383 w 383"/>
                <a:gd name="T7" fmla="*/ 82 h 164"/>
                <a:gd name="T8" fmla="*/ 301 w 383"/>
                <a:gd name="T9" fmla="*/ 0 h 164"/>
                <a:gd name="T10" fmla="*/ 82 w 383"/>
                <a:gd name="T11" fmla="*/ 0 h 164"/>
                <a:gd name="T12" fmla="*/ 0 w 383"/>
                <a:gd name="T13" fmla="*/ 82 h 164"/>
                <a:gd name="T14" fmla="*/ 82 w 383"/>
                <a:gd name="T15" fmla="*/ 164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3" h="164">
                  <a:moveTo>
                    <a:pt x="82" y="164"/>
                  </a:moveTo>
                  <a:lnTo>
                    <a:pt x="82" y="164"/>
                  </a:lnTo>
                  <a:lnTo>
                    <a:pt x="301" y="164"/>
                  </a:lnTo>
                  <a:cubicBezTo>
                    <a:pt x="347" y="164"/>
                    <a:pt x="383" y="128"/>
                    <a:pt x="383" y="82"/>
                  </a:cubicBezTo>
                  <a:cubicBezTo>
                    <a:pt x="383" y="37"/>
                    <a:pt x="347" y="0"/>
                    <a:pt x="301" y="0"/>
                  </a:cubicBezTo>
                  <a:lnTo>
                    <a:pt x="82" y="0"/>
                  </a:lnTo>
                  <a:cubicBezTo>
                    <a:pt x="37" y="0"/>
                    <a:pt x="0" y="37"/>
                    <a:pt x="0" y="82"/>
                  </a:cubicBezTo>
                  <a:cubicBezTo>
                    <a:pt x="0" y="128"/>
                    <a:pt x="37" y="164"/>
                    <a:pt x="82" y="16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6">
              <a:extLst>
                <a:ext uri="{FF2B5EF4-FFF2-40B4-BE49-F238E27FC236}">
                  <a16:creationId xmlns:a16="http://schemas.microsoft.com/office/drawing/2014/main" id="{6C7F970F-7ECB-4C25-A319-B37945D816E6}"/>
                </a:ext>
              </a:extLst>
            </p:cNvPr>
            <p:cNvSpPr>
              <a:spLocks noEditPoints="1"/>
            </p:cNvSpPr>
            <p:nvPr/>
          </p:nvSpPr>
          <p:spPr bwMode="auto">
            <a:xfrm>
              <a:off x="6318250" y="1087438"/>
              <a:ext cx="4684713" cy="4694238"/>
            </a:xfrm>
            <a:custGeom>
              <a:avLst/>
              <a:gdLst>
                <a:gd name="T0" fmla="*/ 3879 w 4912"/>
                <a:gd name="T1" fmla="*/ 3539 h 4913"/>
                <a:gd name="T2" fmla="*/ 3879 w 4912"/>
                <a:gd name="T3" fmla="*/ 3539 h 4913"/>
                <a:gd name="T4" fmla="*/ 3619 w 4912"/>
                <a:gd name="T5" fmla="*/ 3799 h 4913"/>
                <a:gd name="T6" fmla="*/ 1294 w 4912"/>
                <a:gd name="T7" fmla="*/ 3799 h 4913"/>
                <a:gd name="T8" fmla="*/ 1034 w 4912"/>
                <a:gd name="T9" fmla="*/ 3539 h 4913"/>
                <a:gd name="T10" fmla="*/ 1280 w 4912"/>
                <a:gd name="T11" fmla="*/ 3280 h 4913"/>
                <a:gd name="T12" fmla="*/ 1280 w 4912"/>
                <a:gd name="T13" fmla="*/ 2339 h 4913"/>
                <a:gd name="T14" fmla="*/ 1034 w 4912"/>
                <a:gd name="T15" fmla="*/ 1952 h 4913"/>
                <a:gd name="T16" fmla="*/ 1034 w 4912"/>
                <a:gd name="T17" fmla="*/ 1942 h 4913"/>
                <a:gd name="T18" fmla="*/ 1047 w 4912"/>
                <a:gd name="T19" fmla="*/ 1894 h 4913"/>
                <a:gd name="T20" fmla="*/ 1047 w 4912"/>
                <a:gd name="T21" fmla="*/ 1894 h 4913"/>
                <a:gd name="T22" fmla="*/ 1389 w 4912"/>
                <a:gd name="T23" fmla="*/ 1367 h 4913"/>
                <a:gd name="T24" fmla="*/ 1389 w 4912"/>
                <a:gd name="T25" fmla="*/ 1200 h 4913"/>
                <a:gd name="T26" fmla="*/ 1636 w 4912"/>
                <a:gd name="T27" fmla="*/ 954 h 4913"/>
                <a:gd name="T28" fmla="*/ 3277 w 4912"/>
                <a:gd name="T29" fmla="*/ 954 h 4913"/>
                <a:gd name="T30" fmla="*/ 3523 w 4912"/>
                <a:gd name="T31" fmla="*/ 1200 h 4913"/>
                <a:gd name="T32" fmla="*/ 3523 w 4912"/>
                <a:gd name="T33" fmla="*/ 1367 h 4913"/>
                <a:gd name="T34" fmla="*/ 3673 w 4912"/>
                <a:gd name="T35" fmla="*/ 1598 h 4913"/>
                <a:gd name="T36" fmla="*/ 3674 w 4912"/>
                <a:gd name="T37" fmla="*/ 1600 h 4913"/>
                <a:gd name="T38" fmla="*/ 3865 w 4912"/>
                <a:gd name="T39" fmla="*/ 1894 h 4913"/>
                <a:gd name="T40" fmla="*/ 3865 w 4912"/>
                <a:gd name="T41" fmla="*/ 1894 h 4913"/>
                <a:gd name="T42" fmla="*/ 3878 w 4912"/>
                <a:gd name="T43" fmla="*/ 1944 h 4913"/>
                <a:gd name="T44" fmla="*/ 3879 w 4912"/>
                <a:gd name="T45" fmla="*/ 1952 h 4913"/>
                <a:gd name="T46" fmla="*/ 3632 w 4912"/>
                <a:gd name="T47" fmla="*/ 2339 h 4913"/>
                <a:gd name="T48" fmla="*/ 3632 w 4912"/>
                <a:gd name="T49" fmla="*/ 3280 h 4913"/>
                <a:gd name="T50" fmla="*/ 3879 w 4912"/>
                <a:gd name="T51" fmla="*/ 3539 h 4913"/>
                <a:gd name="T52" fmla="*/ 3879 w 4912"/>
                <a:gd name="T53" fmla="*/ 3539 h 4913"/>
                <a:gd name="T54" fmla="*/ 2456 w 4912"/>
                <a:gd name="T55" fmla="*/ 0 h 4913"/>
                <a:gd name="T56" fmla="*/ 2456 w 4912"/>
                <a:gd name="T57" fmla="*/ 0 h 4913"/>
                <a:gd name="T58" fmla="*/ 0 w 4912"/>
                <a:gd name="T59" fmla="*/ 2456 h 4913"/>
                <a:gd name="T60" fmla="*/ 2456 w 4912"/>
                <a:gd name="T61" fmla="*/ 4913 h 4913"/>
                <a:gd name="T62" fmla="*/ 4912 w 4912"/>
                <a:gd name="T63" fmla="*/ 2456 h 4913"/>
                <a:gd name="T64" fmla="*/ 2456 w 4912"/>
                <a:gd name="T65" fmla="*/ 0 h 4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12" h="4913">
                  <a:moveTo>
                    <a:pt x="3879" y="3539"/>
                  </a:moveTo>
                  <a:lnTo>
                    <a:pt x="3879" y="3539"/>
                  </a:lnTo>
                  <a:cubicBezTo>
                    <a:pt x="3879" y="3682"/>
                    <a:pt x="3762" y="3799"/>
                    <a:pt x="3619" y="3799"/>
                  </a:cubicBezTo>
                  <a:lnTo>
                    <a:pt x="1294" y="3799"/>
                  </a:lnTo>
                  <a:cubicBezTo>
                    <a:pt x="1150" y="3799"/>
                    <a:pt x="1034" y="3682"/>
                    <a:pt x="1034" y="3539"/>
                  </a:cubicBezTo>
                  <a:cubicBezTo>
                    <a:pt x="1034" y="3400"/>
                    <a:pt x="1143" y="3287"/>
                    <a:pt x="1280" y="3280"/>
                  </a:cubicBezTo>
                  <a:lnTo>
                    <a:pt x="1280" y="2339"/>
                  </a:lnTo>
                  <a:cubicBezTo>
                    <a:pt x="1135" y="2273"/>
                    <a:pt x="1034" y="2124"/>
                    <a:pt x="1034" y="1952"/>
                  </a:cubicBezTo>
                  <a:cubicBezTo>
                    <a:pt x="1034" y="1949"/>
                    <a:pt x="1034" y="1946"/>
                    <a:pt x="1034" y="1942"/>
                  </a:cubicBezTo>
                  <a:cubicBezTo>
                    <a:pt x="1033" y="1925"/>
                    <a:pt x="1038" y="1908"/>
                    <a:pt x="1047" y="1894"/>
                  </a:cubicBezTo>
                  <a:cubicBezTo>
                    <a:pt x="1047" y="1894"/>
                    <a:pt x="1047" y="1894"/>
                    <a:pt x="1047" y="1894"/>
                  </a:cubicBezTo>
                  <a:lnTo>
                    <a:pt x="1389" y="1367"/>
                  </a:lnTo>
                  <a:lnTo>
                    <a:pt x="1389" y="1200"/>
                  </a:lnTo>
                  <a:cubicBezTo>
                    <a:pt x="1389" y="1064"/>
                    <a:pt x="1500" y="954"/>
                    <a:pt x="1636" y="954"/>
                  </a:cubicBezTo>
                  <a:lnTo>
                    <a:pt x="3277" y="954"/>
                  </a:lnTo>
                  <a:cubicBezTo>
                    <a:pt x="3413" y="954"/>
                    <a:pt x="3523" y="1064"/>
                    <a:pt x="3523" y="1200"/>
                  </a:cubicBezTo>
                  <a:lnTo>
                    <a:pt x="3523" y="1367"/>
                  </a:lnTo>
                  <a:lnTo>
                    <a:pt x="3673" y="1598"/>
                  </a:lnTo>
                  <a:cubicBezTo>
                    <a:pt x="3674" y="1599"/>
                    <a:pt x="3674" y="1600"/>
                    <a:pt x="3674" y="1600"/>
                  </a:cubicBezTo>
                  <a:lnTo>
                    <a:pt x="3865" y="1894"/>
                  </a:lnTo>
                  <a:cubicBezTo>
                    <a:pt x="3865" y="1894"/>
                    <a:pt x="3865" y="1894"/>
                    <a:pt x="3865" y="1894"/>
                  </a:cubicBezTo>
                  <a:cubicBezTo>
                    <a:pt x="3875" y="1909"/>
                    <a:pt x="3880" y="1926"/>
                    <a:pt x="3878" y="1944"/>
                  </a:cubicBezTo>
                  <a:cubicBezTo>
                    <a:pt x="3879" y="1947"/>
                    <a:pt x="3879" y="1949"/>
                    <a:pt x="3879" y="1952"/>
                  </a:cubicBezTo>
                  <a:cubicBezTo>
                    <a:pt x="3879" y="2124"/>
                    <a:pt x="3777" y="2273"/>
                    <a:pt x="3632" y="2339"/>
                  </a:cubicBezTo>
                  <a:lnTo>
                    <a:pt x="3632" y="3280"/>
                  </a:lnTo>
                  <a:cubicBezTo>
                    <a:pt x="3769" y="3287"/>
                    <a:pt x="3879" y="3400"/>
                    <a:pt x="3879" y="3539"/>
                  </a:cubicBezTo>
                  <a:lnTo>
                    <a:pt x="3879" y="3539"/>
                  </a:lnTo>
                  <a:close/>
                  <a:moveTo>
                    <a:pt x="2456" y="0"/>
                  </a:moveTo>
                  <a:lnTo>
                    <a:pt x="2456" y="0"/>
                  </a:lnTo>
                  <a:cubicBezTo>
                    <a:pt x="1100" y="0"/>
                    <a:pt x="0" y="1100"/>
                    <a:pt x="0" y="2456"/>
                  </a:cubicBezTo>
                  <a:cubicBezTo>
                    <a:pt x="0" y="3813"/>
                    <a:pt x="1100" y="4913"/>
                    <a:pt x="2456" y="4913"/>
                  </a:cubicBezTo>
                  <a:cubicBezTo>
                    <a:pt x="3813" y="4913"/>
                    <a:pt x="4912" y="3813"/>
                    <a:pt x="4912" y="2456"/>
                  </a:cubicBezTo>
                  <a:cubicBezTo>
                    <a:pt x="4912" y="1100"/>
                    <a:pt x="3813" y="0"/>
                    <a:pt x="245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7">
              <a:extLst>
                <a:ext uri="{FF2B5EF4-FFF2-40B4-BE49-F238E27FC236}">
                  <a16:creationId xmlns:a16="http://schemas.microsoft.com/office/drawing/2014/main" id="{ED19F7F9-BD3F-4BE5-8331-321D159A9ED5}"/>
                </a:ext>
              </a:extLst>
            </p:cNvPr>
            <p:cNvSpPr>
              <a:spLocks/>
            </p:cNvSpPr>
            <p:nvPr/>
          </p:nvSpPr>
          <p:spPr bwMode="auto">
            <a:xfrm>
              <a:off x="7469188" y="3017838"/>
              <a:ext cx="465138" cy="182563"/>
            </a:xfrm>
            <a:custGeom>
              <a:avLst/>
              <a:gdLst>
                <a:gd name="T0" fmla="*/ 193 w 488"/>
                <a:gd name="T1" fmla="*/ 186 h 191"/>
                <a:gd name="T2" fmla="*/ 193 w 488"/>
                <a:gd name="T3" fmla="*/ 186 h 191"/>
                <a:gd name="T4" fmla="*/ 194 w 488"/>
                <a:gd name="T5" fmla="*/ 186 h 191"/>
                <a:gd name="T6" fmla="*/ 226 w 488"/>
                <a:gd name="T7" fmla="*/ 191 h 191"/>
                <a:gd name="T8" fmla="*/ 229 w 488"/>
                <a:gd name="T9" fmla="*/ 191 h 191"/>
                <a:gd name="T10" fmla="*/ 244 w 488"/>
                <a:gd name="T11" fmla="*/ 191 h 191"/>
                <a:gd name="T12" fmla="*/ 256 w 488"/>
                <a:gd name="T13" fmla="*/ 191 h 191"/>
                <a:gd name="T14" fmla="*/ 260 w 488"/>
                <a:gd name="T15" fmla="*/ 191 h 191"/>
                <a:gd name="T16" fmla="*/ 268 w 488"/>
                <a:gd name="T17" fmla="*/ 190 h 191"/>
                <a:gd name="T18" fmla="*/ 272 w 488"/>
                <a:gd name="T19" fmla="*/ 190 h 191"/>
                <a:gd name="T20" fmla="*/ 280 w 488"/>
                <a:gd name="T21" fmla="*/ 189 h 191"/>
                <a:gd name="T22" fmla="*/ 284 w 488"/>
                <a:gd name="T23" fmla="*/ 188 h 191"/>
                <a:gd name="T24" fmla="*/ 292 w 488"/>
                <a:gd name="T25" fmla="*/ 187 h 191"/>
                <a:gd name="T26" fmla="*/ 296 w 488"/>
                <a:gd name="T27" fmla="*/ 186 h 191"/>
                <a:gd name="T28" fmla="*/ 307 w 488"/>
                <a:gd name="T29" fmla="*/ 183 h 191"/>
                <a:gd name="T30" fmla="*/ 307 w 488"/>
                <a:gd name="T31" fmla="*/ 183 h 191"/>
                <a:gd name="T32" fmla="*/ 318 w 488"/>
                <a:gd name="T33" fmla="*/ 180 h 191"/>
                <a:gd name="T34" fmla="*/ 322 w 488"/>
                <a:gd name="T35" fmla="*/ 179 h 191"/>
                <a:gd name="T36" fmla="*/ 329 w 488"/>
                <a:gd name="T37" fmla="*/ 176 h 191"/>
                <a:gd name="T38" fmla="*/ 333 w 488"/>
                <a:gd name="T39" fmla="*/ 175 h 191"/>
                <a:gd name="T40" fmla="*/ 340 w 488"/>
                <a:gd name="T41" fmla="*/ 172 h 191"/>
                <a:gd name="T42" fmla="*/ 344 w 488"/>
                <a:gd name="T43" fmla="*/ 170 h 191"/>
                <a:gd name="T44" fmla="*/ 351 w 488"/>
                <a:gd name="T45" fmla="*/ 167 h 191"/>
                <a:gd name="T46" fmla="*/ 354 w 488"/>
                <a:gd name="T47" fmla="*/ 165 h 191"/>
                <a:gd name="T48" fmla="*/ 364 w 488"/>
                <a:gd name="T49" fmla="*/ 160 h 191"/>
                <a:gd name="T50" fmla="*/ 364 w 488"/>
                <a:gd name="T51" fmla="*/ 160 h 191"/>
                <a:gd name="T52" fmla="*/ 374 w 488"/>
                <a:gd name="T53" fmla="*/ 154 h 191"/>
                <a:gd name="T54" fmla="*/ 377 w 488"/>
                <a:gd name="T55" fmla="*/ 152 h 191"/>
                <a:gd name="T56" fmla="*/ 384 w 488"/>
                <a:gd name="T57" fmla="*/ 148 h 191"/>
                <a:gd name="T58" fmla="*/ 387 w 488"/>
                <a:gd name="T59" fmla="*/ 145 h 191"/>
                <a:gd name="T60" fmla="*/ 393 w 488"/>
                <a:gd name="T61" fmla="*/ 141 h 191"/>
                <a:gd name="T62" fmla="*/ 397 w 488"/>
                <a:gd name="T63" fmla="*/ 138 h 191"/>
                <a:gd name="T64" fmla="*/ 403 w 488"/>
                <a:gd name="T65" fmla="*/ 134 h 191"/>
                <a:gd name="T66" fmla="*/ 405 w 488"/>
                <a:gd name="T67" fmla="*/ 131 h 191"/>
                <a:gd name="T68" fmla="*/ 413 w 488"/>
                <a:gd name="T69" fmla="*/ 124 h 191"/>
                <a:gd name="T70" fmla="*/ 414 w 488"/>
                <a:gd name="T71" fmla="*/ 124 h 191"/>
                <a:gd name="T72" fmla="*/ 422 w 488"/>
                <a:gd name="T73" fmla="*/ 116 h 191"/>
                <a:gd name="T74" fmla="*/ 424 w 488"/>
                <a:gd name="T75" fmla="*/ 113 h 191"/>
                <a:gd name="T76" fmla="*/ 430 w 488"/>
                <a:gd name="T77" fmla="*/ 107 h 191"/>
                <a:gd name="T78" fmla="*/ 433 w 488"/>
                <a:gd name="T79" fmla="*/ 104 h 191"/>
                <a:gd name="T80" fmla="*/ 438 w 488"/>
                <a:gd name="T81" fmla="*/ 98 h 191"/>
                <a:gd name="T82" fmla="*/ 440 w 488"/>
                <a:gd name="T83" fmla="*/ 95 h 191"/>
                <a:gd name="T84" fmla="*/ 445 w 488"/>
                <a:gd name="T85" fmla="*/ 89 h 191"/>
                <a:gd name="T86" fmla="*/ 447 w 488"/>
                <a:gd name="T87" fmla="*/ 86 h 191"/>
                <a:gd name="T88" fmla="*/ 453 w 488"/>
                <a:gd name="T89" fmla="*/ 78 h 191"/>
                <a:gd name="T90" fmla="*/ 454 w 488"/>
                <a:gd name="T91" fmla="*/ 76 h 191"/>
                <a:gd name="T92" fmla="*/ 460 w 488"/>
                <a:gd name="T93" fmla="*/ 67 h 191"/>
                <a:gd name="T94" fmla="*/ 461 w 488"/>
                <a:gd name="T95" fmla="*/ 64 h 191"/>
                <a:gd name="T96" fmla="*/ 466 w 488"/>
                <a:gd name="T97" fmla="*/ 57 h 191"/>
                <a:gd name="T98" fmla="*/ 467 w 488"/>
                <a:gd name="T99" fmla="*/ 53 h 191"/>
                <a:gd name="T100" fmla="*/ 471 w 488"/>
                <a:gd name="T101" fmla="*/ 46 h 191"/>
                <a:gd name="T102" fmla="*/ 473 w 488"/>
                <a:gd name="T103" fmla="*/ 42 h 191"/>
                <a:gd name="T104" fmla="*/ 476 w 488"/>
                <a:gd name="T105" fmla="*/ 35 h 191"/>
                <a:gd name="T106" fmla="*/ 477 w 488"/>
                <a:gd name="T107" fmla="*/ 31 h 191"/>
                <a:gd name="T108" fmla="*/ 481 w 488"/>
                <a:gd name="T109" fmla="*/ 22 h 191"/>
                <a:gd name="T110" fmla="*/ 482 w 488"/>
                <a:gd name="T111" fmla="*/ 20 h 191"/>
                <a:gd name="T112" fmla="*/ 485 w 488"/>
                <a:gd name="T113" fmla="*/ 9 h 191"/>
                <a:gd name="T114" fmla="*/ 486 w 488"/>
                <a:gd name="T115" fmla="*/ 6 h 191"/>
                <a:gd name="T116" fmla="*/ 488 w 488"/>
                <a:gd name="T117" fmla="*/ 0 h 191"/>
                <a:gd name="T118" fmla="*/ 0 w 488"/>
                <a:gd name="T119" fmla="*/ 0 h 191"/>
                <a:gd name="T120" fmla="*/ 177 w 488"/>
                <a:gd name="T121" fmla="*/ 182 h 191"/>
                <a:gd name="T122" fmla="*/ 193 w 488"/>
                <a:gd name="T123"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8" h="191">
                  <a:moveTo>
                    <a:pt x="193" y="186"/>
                  </a:moveTo>
                  <a:lnTo>
                    <a:pt x="193" y="186"/>
                  </a:lnTo>
                  <a:cubicBezTo>
                    <a:pt x="194" y="186"/>
                    <a:pt x="194" y="186"/>
                    <a:pt x="194" y="186"/>
                  </a:cubicBezTo>
                  <a:cubicBezTo>
                    <a:pt x="204" y="188"/>
                    <a:pt x="215" y="190"/>
                    <a:pt x="226" y="191"/>
                  </a:cubicBezTo>
                  <a:cubicBezTo>
                    <a:pt x="227" y="191"/>
                    <a:pt x="228" y="191"/>
                    <a:pt x="229" y="191"/>
                  </a:cubicBezTo>
                  <a:cubicBezTo>
                    <a:pt x="234" y="191"/>
                    <a:pt x="239" y="191"/>
                    <a:pt x="244" y="191"/>
                  </a:cubicBezTo>
                  <a:cubicBezTo>
                    <a:pt x="248" y="191"/>
                    <a:pt x="252" y="191"/>
                    <a:pt x="256" y="191"/>
                  </a:cubicBezTo>
                  <a:cubicBezTo>
                    <a:pt x="257" y="191"/>
                    <a:pt x="258" y="191"/>
                    <a:pt x="260" y="191"/>
                  </a:cubicBezTo>
                  <a:cubicBezTo>
                    <a:pt x="262" y="191"/>
                    <a:pt x="265" y="190"/>
                    <a:pt x="268" y="190"/>
                  </a:cubicBezTo>
                  <a:cubicBezTo>
                    <a:pt x="269" y="190"/>
                    <a:pt x="271" y="190"/>
                    <a:pt x="272" y="190"/>
                  </a:cubicBezTo>
                  <a:cubicBezTo>
                    <a:pt x="275" y="189"/>
                    <a:pt x="277" y="189"/>
                    <a:pt x="280" y="189"/>
                  </a:cubicBezTo>
                  <a:cubicBezTo>
                    <a:pt x="281" y="188"/>
                    <a:pt x="283" y="188"/>
                    <a:pt x="284" y="188"/>
                  </a:cubicBezTo>
                  <a:cubicBezTo>
                    <a:pt x="287" y="188"/>
                    <a:pt x="289" y="187"/>
                    <a:pt x="292" y="187"/>
                  </a:cubicBezTo>
                  <a:cubicBezTo>
                    <a:pt x="293" y="186"/>
                    <a:pt x="295" y="186"/>
                    <a:pt x="296" y="186"/>
                  </a:cubicBezTo>
                  <a:cubicBezTo>
                    <a:pt x="299" y="185"/>
                    <a:pt x="303" y="184"/>
                    <a:pt x="307" y="183"/>
                  </a:cubicBezTo>
                  <a:cubicBezTo>
                    <a:pt x="307" y="183"/>
                    <a:pt x="307" y="183"/>
                    <a:pt x="307" y="183"/>
                  </a:cubicBezTo>
                  <a:cubicBezTo>
                    <a:pt x="311" y="182"/>
                    <a:pt x="315" y="181"/>
                    <a:pt x="318" y="180"/>
                  </a:cubicBezTo>
                  <a:cubicBezTo>
                    <a:pt x="319" y="179"/>
                    <a:pt x="320" y="179"/>
                    <a:pt x="322" y="179"/>
                  </a:cubicBezTo>
                  <a:cubicBezTo>
                    <a:pt x="324" y="178"/>
                    <a:pt x="327" y="177"/>
                    <a:pt x="329" y="176"/>
                  </a:cubicBezTo>
                  <a:cubicBezTo>
                    <a:pt x="330" y="176"/>
                    <a:pt x="332" y="175"/>
                    <a:pt x="333" y="175"/>
                  </a:cubicBezTo>
                  <a:cubicBezTo>
                    <a:pt x="335" y="174"/>
                    <a:pt x="338" y="173"/>
                    <a:pt x="340" y="172"/>
                  </a:cubicBezTo>
                  <a:cubicBezTo>
                    <a:pt x="341" y="171"/>
                    <a:pt x="343" y="171"/>
                    <a:pt x="344" y="170"/>
                  </a:cubicBezTo>
                  <a:cubicBezTo>
                    <a:pt x="346" y="169"/>
                    <a:pt x="349" y="168"/>
                    <a:pt x="351" y="167"/>
                  </a:cubicBezTo>
                  <a:cubicBezTo>
                    <a:pt x="352" y="166"/>
                    <a:pt x="353" y="166"/>
                    <a:pt x="354" y="165"/>
                  </a:cubicBezTo>
                  <a:cubicBezTo>
                    <a:pt x="357" y="164"/>
                    <a:pt x="361" y="162"/>
                    <a:pt x="364" y="160"/>
                  </a:cubicBezTo>
                  <a:cubicBezTo>
                    <a:pt x="364" y="160"/>
                    <a:pt x="364" y="160"/>
                    <a:pt x="364" y="160"/>
                  </a:cubicBezTo>
                  <a:cubicBezTo>
                    <a:pt x="368" y="158"/>
                    <a:pt x="371" y="156"/>
                    <a:pt x="374" y="154"/>
                  </a:cubicBezTo>
                  <a:cubicBezTo>
                    <a:pt x="375" y="153"/>
                    <a:pt x="376" y="153"/>
                    <a:pt x="377" y="152"/>
                  </a:cubicBezTo>
                  <a:cubicBezTo>
                    <a:pt x="379" y="151"/>
                    <a:pt x="382" y="149"/>
                    <a:pt x="384" y="148"/>
                  </a:cubicBezTo>
                  <a:cubicBezTo>
                    <a:pt x="385" y="147"/>
                    <a:pt x="386" y="146"/>
                    <a:pt x="387" y="145"/>
                  </a:cubicBezTo>
                  <a:cubicBezTo>
                    <a:pt x="389" y="144"/>
                    <a:pt x="391" y="142"/>
                    <a:pt x="393" y="141"/>
                  </a:cubicBezTo>
                  <a:cubicBezTo>
                    <a:pt x="394" y="140"/>
                    <a:pt x="395" y="139"/>
                    <a:pt x="397" y="138"/>
                  </a:cubicBezTo>
                  <a:cubicBezTo>
                    <a:pt x="399" y="137"/>
                    <a:pt x="401" y="135"/>
                    <a:pt x="403" y="134"/>
                  </a:cubicBezTo>
                  <a:cubicBezTo>
                    <a:pt x="404" y="133"/>
                    <a:pt x="405" y="132"/>
                    <a:pt x="405" y="131"/>
                  </a:cubicBezTo>
                  <a:cubicBezTo>
                    <a:pt x="408" y="129"/>
                    <a:pt x="411" y="127"/>
                    <a:pt x="413" y="124"/>
                  </a:cubicBezTo>
                  <a:cubicBezTo>
                    <a:pt x="413" y="124"/>
                    <a:pt x="414" y="124"/>
                    <a:pt x="414" y="124"/>
                  </a:cubicBezTo>
                  <a:cubicBezTo>
                    <a:pt x="417" y="121"/>
                    <a:pt x="419" y="118"/>
                    <a:pt x="422" y="116"/>
                  </a:cubicBezTo>
                  <a:cubicBezTo>
                    <a:pt x="423" y="115"/>
                    <a:pt x="424" y="114"/>
                    <a:pt x="424" y="113"/>
                  </a:cubicBezTo>
                  <a:cubicBezTo>
                    <a:pt x="426" y="111"/>
                    <a:pt x="428" y="109"/>
                    <a:pt x="430" y="107"/>
                  </a:cubicBezTo>
                  <a:cubicBezTo>
                    <a:pt x="431" y="106"/>
                    <a:pt x="432" y="105"/>
                    <a:pt x="433" y="104"/>
                  </a:cubicBezTo>
                  <a:cubicBezTo>
                    <a:pt x="434" y="102"/>
                    <a:pt x="436" y="100"/>
                    <a:pt x="438" y="98"/>
                  </a:cubicBezTo>
                  <a:cubicBezTo>
                    <a:pt x="438" y="97"/>
                    <a:pt x="439" y="96"/>
                    <a:pt x="440" y="95"/>
                  </a:cubicBezTo>
                  <a:cubicBezTo>
                    <a:pt x="442" y="93"/>
                    <a:pt x="443" y="91"/>
                    <a:pt x="445" y="89"/>
                  </a:cubicBezTo>
                  <a:cubicBezTo>
                    <a:pt x="446" y="88"/>
                    <a:pt x="446" y="87"/>
                    <a:pt x="447" y="86"/>
                  </a:cubicBezTo>
                  <a:cubicBezTo>
                    <a:pt x="449" y="83"/>
                    <a:pt x="451" y="81"/>
                    <a:pt x="453" y="78"/>
                  </a:cubicBezTo>
                  <a:cubicBezTo>
                    <a:pt x="453" y="77"/>
                    <a:pt x="453" y="77"/>
                    <a:pt x="454" y="76"/>
                  </a:cubicBezTo>
                  <a:cubicBezTo>
                    <a:pt x="456" y="73"/>
                    <a:pt x="458" y="70"/>
                    <a:pt x="460" y="67"/>
                  </a:cubicBezTo>
                  <a:cubicBezTo>
                    <a:pt x="460" y="66"/>
                    <a:pt x="461" y="65"/>
                    <a:pt x="461" y="64"/>
                  </a:cubicBezTo>
                  <a:cubicBezTo>
                    <a:pt x="463" y="61"/>
                    <a:pt x="464" y="59"/>
                    <a:pt x="466" y="57"/>
                  </a:cubicBezTo>
                  <a:cubicBezTo>
                    <a:pt x="466" y="55"/>
                    <a:pt x="467" y="54"/>
                    <a:pt x="467" y="53"/>
                  </a:cubicBezTo>
                  <a:cubicBezTo>
                    <a:pt x="469" y="51"/>
                    <a:pt x="470" y="48"/>
                    <a:pt x="471" y="46"/>
                  </a:cubicBezTo>
                  <a:cubicBezTo>
                    <a:pt x="471" y="45"/>
                    <a:pt x="472" y="43"/>
                    <a:pt x="473" y="42"/>
                  </a:cubicBezTo>
                  <a:cubicBezTo>
                    <a:pt x="474" y="40"/>
                    <a:pt x="475" y="37"/>
                    <a:pt x="476" y="35"/>
                  </a:cubicBezTo>
                  <a:cubicBezTo>
                    <a:pt x="476" y="34"/>
                    <a:pt x="477" y="33"/>
                    <a:pt x="477" y="31"/>
                  </a:cubicBezTo>
                  <a:cubicBezTo>
                    <a:pt x="479" y="28"/>
                    <a:pt x="480" y="25"/>
                    <a:pt x="481" y="22"/>
                  </a:cubicBezTo>
                  <a:cubicBezTo>
                    <a:pt x="481" y="22"/>
                    <a:pt x="481" y="21"/>
                    <a:pt x="482" y="20"/>
                  </a:cubicBezTo>
                  <a:cubicBezTo>
                    <a:pt x="483" y="17"/>
                    <a:pt x="484" y="13"/>
                    <a:pt x="485" y="9"/>
                  </a:cubicBezTo>
                  <a:cubicBezTo>
                    <a:pt x="486" y="8"/>
                    <a:pt x="486" y="7"/>
                    <a:pt x="486" y="6"/>
                  </a:cubicBezTo>
                  <a:cubicBezTo>
                    <a:pt x="487" y="4"/>
                    <a:pt x="487" y="2"/>
                    <a:pt x="488" y="0"/>
                  </a:cubicBezTo>
                  <a:lnTo>
                    <a:pt x="0" y="0"/>
                  </a:lnTo>
                  <a:cubicBezTo>
                    <a:pt x="23" y="88"/>
                    <a:pt x="91" y="158"/>
                    <a:pt x="177" y="182"/>
                  </a:cubicBezTo>
                  <a:cubicBezTo>
                    <a:pt x="183" y="184"/>
                    <a:pt x="188" y="185"/>
                    <a:pt x="193" y="18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8">
              <a:extLst>
                <a:ext uri="{FF2B5EF4-FFF2-40B4-BE49-F238E27FC236}">
                  <a16:creationId xmlns:a16="http://schemas.microsoft.com/office/drawing/2014/main" id="{6FDAF6B4-BC8A-4FE8-B069-D4004EA4458B}"/>
                </a:ext>
              </a:extLst>
            </p:cNvPr>
            <p:cNvSpPr>
              <a:spLocks/>
            </p:cNvSpPr>
            <p:nvPr/>
          </p:nvSpPr>
          <p:spPr bwMode="auto">
            <a:xfrm>
              <a:off x="7459663" y="4376738"/>
              <a:ext cx="2401888" cy="184150"/>
            </a:xfrm>
            <a:custGeom>
              <a:avLst/>
              <a:gdLst>
                <a:gd name="T0" fmla="*/ 96 w 2517"/>
                <a:gd name="T1" fmla="*/ 0 h 192"/>
                <a:gd name="T2" fmla="*/ 96 w 2517"/>
                <a:gd name="T3" fmla="*/ 0 h 192"/>
                <a:gd name="T4" fmla="*/ 0 w 2517"/>
                <a:gd name="T5" fmla="*/ 96 h 192"/>
                <a:gd name="T6" fmla="*/ 96 w 2517"/>
                <a:gd name="T7" fmla="*/ 192 h 192"/>
                <a:gd name="T8" fmla="*/ 2421 w 2517"/>
                <a:gd name="T9" fmla="*/ 192 h 192"/>
                <a:gd name="T10" fmla="*/ 2517 w 2517"/>
                <a:gd name="T11" fmla="*/ 96 h 192"/>
                <a:gd name="T12" fmla="*/ 2421 w 2517"/>
                <a:gd name="T13" fmla="*/ 0 h 192"/>
                <a:gd name="T14" fmla="*/ 96 w 2517"/>
                <a:gd name="T15" fmla="*/ 0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17" h="192">
                  <a:moveTo>
                    <a:pt x="96" y="0"/>
                  </a:moveTo>
                  <a:lnTo>
                    <a:pt x="96" y="0"/>
                  </a:lnTo>
                  <a:cubicBezTo>
                    <a:pt x="43" y="0"/>
                    <a:pt x="0" y="43"/>
                    <a:pt x="0" y="96"/>
                  </a:cubicBezTo>
                  <a:cubicBezTo>
                    <a:pt x="0" y="149"/>
                    <a:pt x="43" y="192"/>
                    <a:pt x="96" y="192"/>
                  </a:cubicBezTo>
                  <a:lnTo>
                    <a:pt x="2421" y="192"/>
                  </a:lnTo>
                  <a:cubicBezTo>
                    <a:pt x="2474" y="192"/>
                    <a:pt x="2517" y="149"/>
                    <a:pt x="2517" y="96"/>
                  </a:cubicBezTo>
                  <a:cubicBezTo>
                    <a:pt x="2517" y="43"/>
                    <a:pt x="2474" y="0"/>
                    <a:pt x="2421" y="0"/>
                  </a:cubicBezTo>
                  <a:lnTo>
                    <a:pt x="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4" name="TextBox 273">
            <a:extLst>
              <a:ext uri="{FF2B5EF4-FFF2-40B4-BE49-F238E27FC236}">
                <a16:creationId xmlns:a16="http://schemas.microsoft.com/office/drawing/2014/main" id="{3636799C-F97E-493C-AA7F-A29F5134ACCF}"/>
              </a:ext>
            </a:extLst>
          </p:cNvPr>
          <p:cNvSpPr txBox="1"/>
          <p:nvPr/>
        </p:nvSpPr>
        <p:spPr>
          <a:xfrm>
            <a:off x="2266898" y="3732917"/>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Retail</a:t>
            </a:r>
            <a:br>
              <a:rPr lang="en-US" sz="1000" dirty="0">
                <a:solidFill>
                  <a:srgbClr val="313131"/>
                </a:solidFill>
              </a:rPr>
            </a:br>
            <a:r>
              <a:rPr lang="en-US" sz="1000" dirty="0">
                <a:solidFill>
                  <a:srgbClr val="313131"/>
                </a:solidFill>
              </a:rPr>
              <a:t>Shop</a:t>
            </a:r>
          </a:p>
        </p:txBody>
      </p:sp>
    </p:spTree>
    <p:extLst>
      <p:ext uri="{BB962C8B-B14F-4D97-AF65-F5344CB8AC3E}">
        <p14:creationId xmlns:p14="http://schemas.microsoft.com/office/powerpoint/2010/main" val="1325205469"/>
      </p:ext>
    </p:extLst>
  </p:cSld>
  <p:clrMapOvr>
    <a:masterClrMapping/>
  </p:clrMapOvr>
  <p:transition>
    <p:fade/>
  </p:transition>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Manufacturing</a:t>
            </a:r>
            <a:endParaRPr lang="en-GB" dirty="0"/>
          </a:p>
        </p:txBody>
      </p:sp>
      <p:sp>
        <p:nvSpPr>
          <p:cNvPr id="4" name="Title 3"/>
          <p:cNvSpPr>
            <a:spLocks noGrp="1"/>
          </p:cNvSpPr>
          <p:nvPr>
            <p:ph type="title"/>
          </p:nvPr>
        </p:nvSpPr>
        <p:spPr/>
        <p:txBody>
          <a:bodyPr/>
          <a:lstStyle/>
          <a:p>
            <a:r>
              <a:rPr lang="en-GB" dirty="0"/>
              <a:t>Iconography</a:t>
            </a:r>
          </a:p>
        </p:txBody>
      </p:sp>
      <p:sp>
        <p:nvSpPr>
          <p:cNvPr id="69" name="TextBox 68">
            <a:extLst>
              <a:ext uri="{FF2B5EF4-FFF2-40B4-BE49-F238E27FC236}">
                <a16:creationId xmlns:a16="http://schemas.microsoft.com/office/drawing/2014/main" id="{38182BB8-A67A-420C-A71A-D24E1D18BBE7}"/>
              </a:ext>
            </a:extLst>
          </p:cNvPr>
          <p:cNvSpPr txBox="1"/>
          <p:nvPr/>
        </p:nvSpPr>
        <p:spPr>
          <a:xfrm>
            <a:off x="1322782" y="2114067"/>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lmet mining</a:t>
            </a:r>
          </a:p>
        </p:txBody>
      </p:sp>
      <p:sp>
        <p:nvSpPr>
          <p:cNvPr id="70" name="TextBox 69">
            <a:extLst>
              <a:ext uri="{FF2B5EF4-FFF2-40B4-BE49-F238E27FC236}">
                <a16:creationId xmlns:a16="http://schemas.microsoft.com/office/drawing/2014/main" id="{F9D3A39E-63AC-4967-8ADB-1D1C77687C59}"/>
              </a:ext>
            </a:extLst>
          </p:cNvPr>
          <p:cNvSpPr txBox="1"/>
          <p:nvPr/>
        </p:nvSpPr>
        <p:spPr>
          <a:xfrm>
            <a:off x="2195549"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elmet</a:t>
            </a:r>
          </a:p>
        </p:txBody>
      </p:sp>
      <p:sp>
        <p:nvSpPr>
          <p:cNvPr id="71" name="TextBox 70">
            <a:extLst>
              <a:ext uri="{FF2B5EF4-FFF2-40B4-BE49-F238E27FC236}">
                <a16:creationId xmlns:a16="http://schemas.microsoft.com/office/drawing/2014/main" id="{BE3227E9-0D3B-447F-98E7-D37F069B3062}"/>
              </a:ext>
            </a:extLst>
          </p:cNvPr>
          <p:cNvSpPr txBox="1"/>
          <p:nvPr/>
        </p:nvSpPr>
        <p:spPr>
          <a:xfrm>
            <a:off x="450015"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uler</a:t>
            </a:r>
          </a:p>
        </p:txBody>
      </p:sp>
      <p:sp>
        <p:nvSpPr>
          <p:cNvPr id="72" name="TextBox 71">
            <a:extLst>
              <a:ext uri="{FF2B5EF4-FFF2-40B4-BE49-F238E27FC236}">
                <a16:creationId xmlns:a16="http://schemas.microsoft.com/office/drawing/2014/main" id="{F530CB37-95BF-4B2F-8C8B-DEDABD5FEC5B}"/>
              </a:ext>
            </a:extLst>
          </p:cNvPr>
          <p:cNvSpPr txBox="1"/>
          <p:nvPr/>
        </p:nvSpPr>
        <p:spPr>
          <a:xfrm>
            <a:off x="3068316"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crewdriver</a:t>
            </a:r>
          </a:p>
        </p:txBody>
      </p:sp>
      <p:sp>
        <p:nvSpPr>
          <p:cNvPr id="73" name="TextBox 72">
            <a:extLst>
              <a:ext uri="{FF2B5EF4-FFF2-40B4-BE49-F238E27FC236}">
                <a16:creationId xmlns:a16="http://schemas.microsoft.com/office/drawing/2014/main" id="{7DB804FB-ECD5-42E9-B2F4-D1AFD3772D63}"/>
              </a:ext>
            </a:extLst>
          </p:cNvPr>
          <p:cNvSpPr txBox="1"/>
          <p:nvPr/>
        </p:nvSpPr>
        <p:spPr>
          <a:xfrm>
            <a:off x="5686617"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ctory</a:t>
            </a:r>
          </a:p>
        </p:txBody>
      </p:sp>
      <p:sp>
        <p:nvSpPr>
          <p:cNvPr id="74" name="TextBox 73">
            <a:extLst>
              <a:ext uri="{FF2B5EF4-FFF2-40B4-BE49-F238E27FC236}">
                <a16:creationId xmlns:a16="http://schemas.microsoft.com/office/drawing/2014/main" id="{02ABEBC1-7AA0-489D-8440-8976BF2EE5C5}"/>
              </a:ext>
            </a:extLst>
          </p:cNvPr>
          <p:cNvSpPr txBox="1"/>
          <p:nvPr/>
        </p:nvSpPr>
        <p:spPr>
          <a:xfrm>
            <a:off x="4813850"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ammer</a:t>
            </a:r>
          </a:p>
        </p:txBody>
      </p:sp>
      <p:sp>
        <p:nvSpPr>
          <p:cNvPr id="75" name="TextBox 74">
            <a:extLst>
              <a:ext uri="{FF2B5EF4-FFF2-40B4-BE49-F238E27FC236}">
                <a16:creationId xmlns:a16="http://schemas.microsoft.com/office/drawing/2014/main" id="{14C1F1ED-0724-4AA7-A40B-FA030BF6D27C}"/>
              </a:ext>
            </a:extLst>
          </p:cNvPr>
          <p:cNvSpPr txBox="1"/>
          <p:nvPr/>
        </p:nvSpPr>
        <p:spPr>
          <a:xfrm>
            <a:off x="3941083"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mpass</a:t>
            </a:r>
          </a:p>
        </p:txBody>
      </p:sp>
      <p:sp>
        <p:nvSpPr>
          <p:cNvPr id="76" name="TextBox 75">
            <a:extLst>
              <a:ext uri="{FF2B5EF4-FFF2-40B4-BE49-F238E27FC236}">
                <a16:creationId xmlns:a16="http://schemas.microsoft.com/office/drawing/2014/main" id="{C3B00B2C-72FE-4317-9F97-139AAA26CA67}"/>
              </a:ext>
            </a:extLst>
          </p:cNvPr>
          <p:cNvSpPr txBox="1"/>
          <p:nvPr/>
        </p:nvSpPr>
        <p:spPr>
          <a:xfrm>
            <a:off x="8308093" y="211406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rane</a:t>
            </a:r>
          </a:p>
        </p:txBody>
      </p:sp>
      <p:sp>
        <p:nvSpPr>
          <p:cNvPr id="77" name="TextBox 76">
            <a:extLst>
              <a:ext uri="{FF2B5EF4-FFF2-40B4-BE49-F238E27FC236}">
                <a16:creationId xmlns:a16="http://schemas.microsoft.com/office/drawing/2014/main" id="{DC2AB08F-317D-4A17-B1B7-63C1A36C8B3E}"/>
              </a:ext>
            </a:extLst>
          </p:cNvPr>
          <p:cNvSpPr txBox="1"/>
          <p:nvPr/>
        </p:nvSpPr>
        <p:spPr>
          <a:xfrm>
            <a:off x="7432151" y="211406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anner</a:t>
            </a:r>
          </a:p>
        </p:txBody>
      </p:sp>
      <p:sp>
        <p:nvSpPr>
          <p:cNvPr id="78" name="TextBox 77">
            <a:extLst>
              <a:ext uri="{FF2B5EF4-FFF2-40B4-BE49-F238E27FC236}">
                <a16:creationId xmlns:a16="http://schemas.microsoft.com/office/drawing/2014/main" id="{5C4382E5-46FF-4BC2-878D-97961EDE2F02}"/>
              </a:ext>
            </a:extLst>
          </p:cNvPr>
          <p:cNvSpPr txBox="1"/>
          <p:nvPr/>
        </p:nvSpPr>
        <p:spPr>
          <a:xfrm>
            <a:off x="9169218"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ork lift truck</a:t>
            </a:r>
          </a:p>
        </p:txBody>
      </p:sp>
      <p:sp>
        <p:nvSpPr>
          <p:cNvPr id="79" name="TextBox 78">
            <a:extLst>
              <a:ext uri="{FF2B5EF4-FFF2-40B4-BE49-F238E27FC236}">
                <a16:creationId xmlns:a16="http://schemas.microsoft.com/office/drawing/2014/main" id="{7F436757-5FB4-4A4A-8A0B-744C4B701847}"/>
              </a:ext>
            </a:extLst>
          </p:cNvPr>
          <p:cNvSpPr txBox="1"/>
          <p:nvPr/>
        </p:nvSpPr>
        <p:spPr>
          <a:xfrm>
            <a:off x="10914748"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D</a:t>
            </a:r>
          </a:p>
        </p:txBody>
      </p:sp>
      <p:sp>
        <p:nvSpPr>
          <p:cNvPr id="80" name="TextBox 79">
            <a:extLst>
              <a:ext uri="{FF2B5EF4-FFF2-40B4-BE49-F238E27FC236}">
                <a16:creationId xmlns:a16="http://schemas.microsoft.com/office/drawing/2014/main" id="{C82F5C7E-BBB0-45AE-A837-0E46BC35F56B}"/>
              </a:ext>
            </a:extLst>
          </p:cNvPr>
          <p:cNvSpPr txBox="1"/>
          <p:nvPr/>
        </p:nvSpPr>
        <p:spPr>
          <a:xfrm>
            <a:off x="6559384"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Factory 2</a:t>
            </a:r>
          </a:p>
        </p:txBody>
      </p:sp>
      <p:sp>
        <p:nvSpPr>
          <p:cNvPr id="81" name="TextBox 80">
            <a:extLst>
              <a:ext uri="{FF2B5EF4-FFF2-40B4-BE49-F238E27FC236}">
                <a16:creationId xmlns:a16="http://schemas.microsoft.com/office/drawing/2014/main" id="{1378E319-B723-4A80-B703-09A2545E9E81}"/>
              </a:ext>
            </a:extLst>
          </p:cNvPr>
          <p:cNvSpPr txBox="1"/>
          <p:nvPr/>
        </p:nvSpPr>
        <p:spPr>
          <a:xfrm>
            <a:off x="10041985" y="211406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oolbox</a:t>
            </a:r>
          </a:p>
        </p:txBody>
      </p:sp>
      <p:grpSp>
        <p:nvGrpSpPr>
          <p:cNvPr id="82" name="Group 806">
            <a:extLst>
              <a:ext uri="{FF2B5EF4-FFF2-40B4-BE49-F238E27FC236}">
                <a16:creationId xmlns:a16="http://schemas.microsoft.com/office/drawing/2014/main" id="{02F77090-2582-4E2F-83D6-68198E684C0E}"/>
              </a:ext>
            </a:extLst>
          </p:cNvPr>
          <p:cNvGrpSpPr>
            <a:grpSpLocks noChangeAspect="1"/>
          </p:cNvGrpSpPr>
          <p:nvPr/>
        </p:nvGrpSpPr>
        <p:grpSpPr bwMode="auto">
          <a:xfrm>
            <a:off x="918722" y="1700213"/>
            <a:ext cx="369021" cy="369021"/>
            <a:chOff x="3458" y="3061"/>
            <a:chExt cx="340" cy="340"/>
          </a:xfrm>
          <a:solidFill>
            <a:schemeClr val="accent3"/>
          </a:solidFill>
        </p:grpSpPr>
        <p:sp>
          <p:nvSpPr>
            <p:cNvPr id="83" name="Freeform 807">
              <a:extLst>
                <a:ext uri="{FF2B5EF4-FFF2-40B4-BE49-F238E27FC236}">
                  <a16:creationId xmlns:a16="http://schemas.microsoft.com/office/drawing/2014/main" id="{1FF143BD-3BF3-4EA0-9697-112120166333}"/>
                </a:ext>
              </a:extLst>
            </p:cNvPr>
            <p:cNvSpPr>
              <a:spLocks noEditPoints="1"/>
            </p:cNvSpPr>
            <p:nvPr/>
          </p:nvSpPr>
          <p:spPr bwMode="auto">
            <a:xfrm>
              <a:off x="3522" y="3181"/>
              <a:ext cx="212" cy="99"/>
            </a:xfrm>
            <a:custGeom>
              <a:avLst/>
              <a:gdLst>
                <a:gd name="T0" fmla="*/ 309 w 320"/>
                <a:gd name="T1" fmla="*/ 0 h 149"/>
                <a:gd name="T2" fmla="*/ 10 w 320"/>
                <a:gd name="T3" fmla="*/ 0 h 149"/>
                <a:gd name="T4" fmla="*/ 0 w 320"/>
                <a:gd name="T5" fmla="*/ 11 h 149"/>
                <a:gd name="T6" fmla="*/ 0 w 320"/>
                <a:gd name="T7" fmla="*/ 139 h 149"/>
                <a:gd name="T8" fmla="*/ 10 w 320"/>
                <a:gd name="T9" fmla="*/ 149 h 149"/>
                <a:gd name="T10" fmla="*/ 309 w 320"/>
                <a:gd name="T11" fmla="*/ 149 h 149"/>
                <a:gd name="T12" fmla="*/ 320 w 320"/>
                <a:gd name="T13" fmla="*/ 139 h 149"/>
                <a:gd name="T14" fmla="*/ 320 w 320"/>
                <a:gd name="T15" fmla="*/ 11 h 149"/>
                <a:gd name="T16" fmla="*/ 309 w 320"/>
                <a:gd name="T17" fmla="*/ 0 h 149"/>
                <a:gd name="T18" fmla="*/ 298 w 320"/>
                <a:gd name="T19" fmla="*/ 128 h 149"/>
                <a:gd name="T20" fmla="*/ 21 w 320"/>
                <a:gd name="T21" fmla="*/ 128 h 149"/>
                <a:gd name="T22" fmla="*/ 21 w 320"/>
                <a:gd name="T23" fmla="*/ 21 h 149"/>
                <a:gd name="T24" fmla="*/ 42 w 320"/>
                <a:gd name="T25" fmla="*/ 21 h 149"/>
                <a:gd name="T26" fmla="*/ 42 w 320"/>
                <a:gd name="T27" fmla="*/ 53 h 149"/>
                <a:gd name="T28" fmla="*/ 53 w 320"/>
                <a:gd name="T29" fmla="*/ 64 h 149"/>
                <a:gd name="T30" fmla="*/ 64 w 320"/>
                <a:gd name="T31" fmla="*/ 53 h 149"/>
                <a:gd name="T32" fmla="*/ 64 w 320"/>
                <a:gd name="T33" fmla="*/ 21 h 149"/>
                <a:gd name="T34" fmla="*/ 85 w 320"/>
                <a:gd name="T35" fmla="*/ 21 h 149"/>
                <a:gd name="T36" fmla="*/ 85 w 320"/>
                <a:gd name="T37" fmla="*/ 85 h 149"/>
                <a:gd name="T38" fmla="*/ 96 w 320"/>
                <a:gd name="T39" fmla="*/ 96 h 149"/>
                <a:gd name="T40" fmla="*/ 106 w 320"/>
                <a:gd name="T41" fmla="*/ 85 h 149"/>
                <a:gd name="T42" fmla="*/ 106 w 320"/>
                <a:gd name="T43" fmla="*/ 21 h 149"/>
                <a:gd name="T44" fmla="*/ 128 w 320"/>
                <a:gd name="T45" fmla="*/ 21 h 149"/>
                <a:gd name="T46" fmla="*/ 128 w 320"/>
                <a:gd name="T47" fmla="*/ 53 h 149"/>
                <a:gd name="T48" fmla="*/ 138 w 320"/>
                <a:gd name="T49" fmla="*/ 64 h 149"/>
                <a:gd name="T50" fmla="*/ 149 w 320"/>
                <a:gd name="T51" fmla="*/ 53 h 149"/>
                <a:gd name="T52" fmla="*/ 149 w 320"/>
                <a:gd name="T53" fmla="*/ 21 h 149"/>
                <a:gd name="T54" fmla="*/ 170 w 320"/>
                <a:gd name="T55" fmla="*/ 21 h 149"/>
                <a:gd name="T56" fmla="*/ 170 w 320"/>
                <a:gd name="T57" fmla="*/ 85 h 149"/>
                <a:gd name="T58" fmla="*/ 181 w 320"/>
                <a:gd name="T59" fmla="*/ 96 h 149"/>
                <a:gd name="T60" fmla="*/ 192 w 320"/>
                <a:gd name="T61" fmla="*/ 85 h 149"/>
                <a:gd name="T62" fmla="*/ 192 w 320"/>
                <a:gd name="T63" fmla="*/ 21 h 149"/>
                <a:gd name="T64" fmla="*/ 213 w 320"/>
                <a:gd name="T65" fmla="*/ 21 h 149"/>
                <a:gd name="T66" fmla="*/ 213 w 320"/>
                <a:gd name="T67" fmla="*/ 53 h 149"/>
                <a:gd name="T68" fmla="*/ 224 w 320"/>
                <a:gd name="T69" fmla="*/ 64 h 149"/>
                <a:gd name="T70" fmla="*/ 234 w 320"/>
                <a:gd name="T71" fmla="*/ 53 h 149"/>
                <a:gd name="T72" fmla="*/ 234 w 320"/>
                <a:gd name="T73" fmla="*/ 21 h 149"/>
                <a:gd name="T74" fmla="*/ 256 w 320"/>
                <a:gd name="T75" fmla="*/ 21 h 149"/>
                <a:gd name="T76" fmla="*/ 256 w 320"/>
                <a:gd name="T77" fmla="*/ 85 h 149"/>
                <a:gd name="T78" fmla="*/ 266 w 320"/>
                <a:gd name="T79" fmla="*/ 96 h 149"/>
                <a:gd name="T80" fmla="*/ 277 w 320"/>
                <a:gd name="T81" fmla="*/ 85 h 149"/>
                <a:gd name="T82" fmla="*/ 277 w 320"/>
                <a:gd name="T83" fmla="*/ 21 h 149"/>
                <a:gd name="T84" fmla="*/ 298 w 320"/>
                <a:gd name="T85" fmla="*/ 21 h 149"/>
                <a:gd name="T86" fmla="*/ 298 w 320"/>
                <a:gd name="T87"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0" h="149">
                  <a:moveTo>
                    <a:pt x="309" y="0"/>
                  </a:moveTo>
                  <a:cubicBezTo>
                    <a:pt x="10" y="0"/>
                    <a:pt x="10" y="0"/>
                    <a:pt x="10" y="0"/>
                  </a:cubicBezTo>
                  <a:cubicBezTo>
                    <a:pt x="4" y="0"/>
                    <a:pt x="0" y="5"/>
                    <a:pt x="0" y="11"/>
                  </a:cubicBezTo>
                  <a:cubicBezTo>
                    <a:pt x="0" y="139"/>
                    <a:pt x="0" y="139"/>
                    <a:pt x="0" y="139"/>
                  </a:cubicBezTo>
                  <a:cubicBezTo>
                    <a:pt x="0" y="145"/>
                    <a:pt x="4" y="149"/>
                    <a:pt x="10" y="149"/>
                  </a:cubicBezTo>
                  <a:cubicBezTo>
                    <a:pt x="309" y="149"/>
                    <a:pt x="309" y="149"/>
                    <a:pt x="309" y="149"/>
                  </a:cubicBezTo>
                  <a:cubicBezTo>
                    <a:pt x="315" y="149"/>
                    <a:pt x="320" y="145"/>
                    <a:pt x="320" y="139"/>
                  </a:cubicBezTo>
                  <a:cubicBezTo>
                    <a:pt x="320" y="11"/>
                    <a:pt x="320" y="11"/>
                    <a:pt x="320" y="11"/>
                  </a:cubicBezTo>
                  <a:cubicBezTo>
                    <a:pt x="320" y="5"/>
                    <a:pt x="315" y="0"/>
                    <a:pt x="309" y="0"/>
                  </a:cubicBezTo>
                  <a:close/>
                  <a:moveTo>
                    <a:pt x="298" y="128"/>
                  </a:moveTo>
                  <a:cubicBezTo>
                    <a:pt x="21" y="128"/>
                    <a:pt x="21" y="128"/>
                    <a:pt x="21" y="128"/>
                  </a:cubicBezTo>
                  <a:cubicBezTo>
                    <a:pt x="21" y="21"/>
                    <a:pt x="21" y="21"/>
                    <a:pt x="21" y="21"/>
                  </a:cubicBezTo>
                  <a:cubicBezTo>
                    <a:pt x="42" y="21"/>
                    <a:pt x="42" y="21"/>
                    <a:pt x="42" y="21"/>
                  </a:cubicBezTo>
                  <a:cubicBezTo>
                    <a:pt x="42" y="53"/>
                    <a:pt x="42" y="53"/>
                    <a:pt x="42" y="53"/>
                  </a:cubicBezTo>
                  <a:cubicBezTo>
                    <a:pt x="42" y="59"/>
                    <a:pt x="47" y="64"/>
                    <a:pt x="53" y="64"/>
                  </a:cubicBezTo>
                  <a:cubicBezTo>
                    <a:pt x="59" y="64"/>
                    <a:pt x="64" y="59"/>
                    <a:pt x="64" y="53"/>
                  </a:cubicBezTo>
                  <a:cubicBezTo>
                    <a:pt x="64" y="21"/>
                    <a:pt x="64" y="21"/>
                    <a:pt x="64" y="21"/>
                  </a:cubicBezTo>
                  <a:cubicBezTo>
                    <a:pt x="85" y="21"/>
                    <a:pt x="85" y="21"/>
                    <a:pt x="85" y="21"/>
                  </a:cubicBezTo>
                  <a:cubicBezTo>
                    <a:pt x="85" y="85"/>
                    <a:pt x="85" y="85"/>
                    <a:pt x="85" y="85"/>
                  </a:cubicBezTo>
                  <a:cubicBezTo>
                    <a:pt x="85" y="91"/>
                    <a:pt x="90" y="96"/>
                    <a:pt x="96" y="96"/>
                  </a:cubicBezTo>
                  <a:cubicBezTo>
                    <a:pt x="102" y="96"/>
                    <a:pt x="106" y="91"/>
                    <a:pt x="106" y="85"/>
                  </a:cubicBezTo>
                  <a:cubicBezTo>
                    <a:pt x="106" y="21"/>
                    <a:pt x="106" y="21"/>
                    <a:pt x="106" y="21"/>
                  </a:cubicBezTo>
                  <a:cubicBezTo>
                    <a:pt x="128" y="21"/>
                    <a:pt x="128" y="21"/>
                    <a:pt x="128" y="21"/>
                  </a:cubicBezTo>
                  <a:cubicBezTo>
                    <a:pt x="128" y="53"/>
                    <a:pt x="128" y="53"/>
                    <a:pt x="128" y="53"/>
                  </a:cubicBezTo>
                  <a:cubicBezTo>
                    <a:pt x="128" y="59"/>
                    <a:pt x="132" y="64"/>
                    <a:pt x="138" y="64"/>
                  </a:cubicBezTo>
                  <a:cubicBezTo>
                    <a:pt x="144" y="64"/>
                    <a:pt x="149" y="59"/>
                    <a:pt x="149" y="53"/>
                  </a:cubicBezTo>
                  <a:cubicBezTo>
                    <a:pt x="149" y="21"/>
                    <a:pt x="149" y="21"/>
                    <a:pt x="149" y="21"/>
                  </a:cubicBezTo>
                  <a:cubicBezTo>
                    <a:pt x="170" y="21"/>
                    <a:pt x="170" y="21"/>
                    <a:pt x="170" y="21"/>
                  </a:cubicBezTo>
                  <a:cubicBezTo>
                    <a:pt x="170" y="85"/>
                    <a:pt x="170" y="85"/>
                    <a:pt x="170" y="85"/>
                  </a:cubicBezTo>
                  <a:cubicBezTo>
                    <a:pt x="170" y="91"/>
                    <a:pt x="175" y="96"/>
                    <a:pt x="181" y="96"/>
                  </a:cubicBezTo>
                  <a:cubicBezTo>
                    <a:pt x="187" y="96"/>
                    <a:pt x="192" y="91"/>
                    <a:pt x="192" y="85"/>
                  </a:cubicBezTo>
                  <a:cubicBezTo>
                    <a:pt x="192" y="21"/>
                    <a:pt x="192" y="21"/>
                    <a:pt x="192" y="21"/>
                  </a:cubicBezTo>
                  <a:cubicBezTo>
                    <a:pt x="213" y="21"/>
                    <a:pt x="213" y="21"/>
                    <a:pt x="213" y="21"/>
                  </a:cubicBezTo>
                  <a:cubicBezTo>
                    <a:pt x="213" y="53"/>
                    <a:pt x="213" y="53"/>
                    <a:pt x="213" y="53"/>
                  </a:cubicBezTo>
                  <a:cubicBezTo>
                    <a:pt x="213" y="59"/>
                    <a:pt x="218" y="64"/>
                    <a:pt x="224" y="64"/>
                  </a:cubicBezTo>
                  <a:cubicBezTo>
                    <a:pt x="230" y="64"/>
                    <a:pt x="234" y="59"/>
                    <a:pt x="234" y="53"/>
                  </a:cubicBezTo>
                  <a:cubicBezTo>
                    <a:pt x="234" y="21"/>
                    <a:pt x="234" y="21"/>
                    <a:pt x="234" y="21"/>
                  </a:cubicBezTo>
                  <a:cubicBezTo>
                    <a:pt x="256" y="21"/>
                    <a:pt x="256" y="21"/>
                    <a:pt x="256" y="21"/>
                  </a:cubicBezTo>
                  <a:cubicBezTo>
                    <a:pt x="256" y="85"/>
                    <a:pt x="256" y="85"/>
                    <a:pt x="256" y="85"/>
                  </a:cubicBezTo>
                  <a:cubicBezTo>
                    <a:pt x="256" y="91"/>
                    <a:pt x="260" y="96"/>
                    <a:pt x="266" y="96"/>
                  </a:cubicBezTo>
                  <a:cubicBezTo>
                    <a:pt x="272" y="96"/>
                    <a:pt x="277" y="91"/>
                    <a:pt x="277" y="85"/>
                  </a:cubicBezTo>
                  <a:cubicBezTo>
                    <a:pt x="277" y="21"/>
                    <a:pt x="277" y="21"/>
                    <a:pt x="277" y="21"/>
                  </a:cubicBezTo>
                  <a:cubicBezTo>
                    <a:pt x="298" y="21"/>
                    <a:pt x="298" y="21"/>
                    <a:pt x="298" y="21"/>
                  </a:cubicBezTo>
                  <a:lnTo>
                    <a:pt x="298" y="1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808">
              <a:extLst>
                <a:ext uri="{FF2B5EF4-FFF2-40B4-BE49-F238E27FC236}">
                  <a16:creationId xmlns:a16="http://schemas.microsoft.com/office/drawing/2014/main" id="{4C132D0E-A5B8-4B49-93B0-C9C01A3F103D}"/>
                </a:ext>
              </a:extLst>
            </p:cNvPr>
            <p:cNvSpPr>
              <a:spLocks noEditPoints="1"/>
            </p:cNvSpPr>
            <p:nvPr/>
          </p:nvSpPr>
          <p:spPr bwMode="auto">
            <a:xfrm>
              <a:off x="3458" y="30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5" name="Freeform 812">
            <a:extLst>
              <a:ext uri="{FF2B5EF4-FFF2-40B4-BE49-F238E27FC236}">
                <a16:creationId xmlns:a16="http://schemas.microsoft.com/office/drawing/2014/main" id="{F49C62B0-D2DB-4323-BF78-BE03A7BBDF36}"/>
              </a:ext>
            </a:extLst>
          </p:cNvPr>
          <p:cNvSpPr>
            <a:spLocks noChangeAspect="1" noEditPoints="1"/>
          </p:cNvSpPr>
          <p:nvPr/>
        </p:nvSpPr>
        <p:spPr bwMode="auto">
          <a:xfrm>
            <a:off x="483073" y="1700213"/>
            <a:ext cx="369021" cy="370106"/>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6" name="Freeform 270">
            <a:extLst>
              <a:ext uri="{FF2B5EF4-FFF2-40B4-BE49-F238E27FC236}">
                <a16:creationId xmlns:a16="http://schemas.microsoft.com/office/drawing/2014/main" id="{BC125B09-A791-466F-9D32-FDEF609D44F2}"/>
              </a:ext>
            </a:extLst>
          </p:cNvPr>
          <p:cNvSpPr>
            <a:spLocks noChangeAspect="1" noEditPoints="1"/>
          </p:cNvSpPr>
          <p:nvPr/>
        </p:nvSpPr>
        <p:spPr bwMode="auto">
          <a:xfrm>
            <a:off x="1354371" y="1700213"/>
            <a:ext cx="368120" cy="367041"/>
          </a:xfrm>
          <a:custGeom>
            <a:avLst/>
            <a:gdLst>
              <a:gd name="T0" fmla="*/ 266 w 512"/>
              <a:gd name="T1" fmla="*/ 288 h 512"/>
              <a:gd name="T2" fmla="*/ 245 w 512"/>
              <a:gd name="T3" fmla="*/ 288 h 512"/>
              <a:gd name="T4" fmla="*/ 192 w 512"/>
              <a:gd name="T5" fmla="*/ 288 h 512"/>
              <a:gd name="T6" fmla="*/ 320 w 512"/>
              <a:gd name="T7" fmla="*/ 288 h 512"/>
              <a:gd name="T8" fmla="*/ 362 w 512"/>
              <a:gd name="T9" fmla="*/ 294 h 512"/>
              <a:gd name="T10" fmla="*/ 341 w 512"/>
              <a:gd name="T11" fmla="*/ 192 h 512"/>
              <a:gd name="T12" fmla="*/ 330 w 512"/>
              <a:gd name="T13" fmla="*/ 261 h 512"/>
              <a:gd name="T14" fmla="*/ 320 w 512"/>
              <a:gd name="T15" fmla="*/ 157 h 512"/>
              <a:gd name="T16" fmla="*/ 288 w 512"/>
              <a:gd name="T17" fmla="*/ 142 h 512"/>
              <a:gd name="T18" fmla="*/ 295 w 512"/>
              <a:gd name="T19" fmla="*/ 197 h 512"/>
              <a:gd name="T20" fmla="*/ 277 w 512"/>
              <a:gd name="T21" fmla="*/ 208 h 512"/>
              <a:gd name="T22" fmla="*/ 266 w 512"/>
              <a:gd name="T23" fmla="*/ 189 h 512"/>
              <a:gd name="T24" fmla="*/ 266 w 512"/>
              <a:gd name="T25" fmla="*/ 128 h 512"/>
              <a:gd name="T26" fmla="*/ 245 w 512"/>
              <a:gd name="T27" fmla="*/ 128 h 512"/>
              <a:gd name="T28" fmla="*/ 245 w 512"/>
              <a:gd name="T29" fmla="*/ 189 h 512"/>
              <a:gd name="T30" fmla="*/ 235 w 512"/>
              <a:gd name="T31" fmla="*/ 208 h 512"/>
              <a:gd name="T32" fmla="*/ 217 w 512"/>
              <a:gd name="T33" fmla="*/ 197 h 512"/>
              <a:gd name="T34" fmla="*/ 224 w 512"/>
              <a:gd name="T35" fmla="*/ 142 h 512"/>
              <a:gd name="T36" fmla="*/ 192 w 512"/>
              <a:gd name="T37" fmla="*/ 157 h 512"/>
              <a:gd name="T38" fmla="*/ 181 w 512"/>
              <a:gd name="T39" fmla="*/ 261 h 512"/>
              <a:gd name="T40" fmla="*/ 170 w 512"/>
              <a:gd name="T41" fmla="*/ 192 h 512"/>
              <a:gd name="T42" fmla="*/ 149 w 512"/>
              <a:gd name="T43" fmla="*/ 294 h 512"/>
              <a:gd name="T44" fmla="*/ 192 w 512"/>
              <a:gd name="T45" fmla="*/ 288 h 512"/>
              <a:gd name="T46" fmla="*/ 256 w 512"/>
              <a:gd name="T47" fmla="*/ 512 h 512"/>
              <a:gd name="T48" fmla="*/ 256 w 512"/>
              <a:gd name="T49" fmla="*/ 0 h 512"/>
              <a:gd name="T50" fmla="*/ 414 w 512"/>
              <a:gd name="T51" fmla="*/ 289 h 512"/>
              <a:gd name="T52" fmla="*/ 384 w 512"/>
              <a:gd name="T53" fmla="*/ 273 h 512"/>
              <a:gd name="T54" fmla="*/ 341 w 512"/>
              <a:gd name="T55" fmla="*/ 156 h 512"/>
              <a:gd name="T56" fmla="*/ 335 w 512"/>
              <a:gd name="T57" fmla="*/ 141 h 512"/>
              <a:gd name="T58" fmla="*/ 288 w 512"/>
              <a:gd name="T59" fmla="*/ 120 h 512"/>
              <a:gd name="T60" fmla="*/ 277 w 512"/>
              <a:gd name="T61" fmla="*/ 106 h 512"/>
              <a:gd name="T62" fmla="*/ 224 w 512"/>
              <a:gd name="T63" fmla="*/ 117 h 512"/>
              <a:gd name="T64" fmla="*/ 187 w 512"/>
              <a:gd name="T65" fmla="*/ 135 h 512"/>
              <a:gd name="T66" fmla="*/ 170 w 512"/>
              <a:gd name="T67" fmla="*/ 150 h 512"/>
              <a:gd name="T68" fmla="*/ 128 w 512"/>
              <a:gd name="T69" fmla="*/ 260 h 512"/>
              <a:gd name="T70" fmla="*/ 104 w 512"/>
              <a:gd name="T71" fmla="*/ 281 h 512"/>
              <a:gd name="T72" fmla="*/ 96 w 512"/>
              <a:gd name="T73" fmla="*/ 324 h 512"/>
              <a:gd name="T74" fmla="*/ 119 w 512"/>
              <a:gd name="T75" fmla="*/ 370 h 512"/>
              <a:gd name="T76" fmla="*/ 393 w 512"/>
              <a:gd name="T77" fmla="*/ 370 h 512"/>
              <a:gd name="T78" fmla="*/ 415 w 512"/>
              <a:gd name="T79" fmla="*/ 324 h 512"/>
              <a:gd name="T80" fmla="*/ 256 w 512"/>
              <a:gd name="T81" fmla="*/ 245 h 512"/>
              <a:gd name="T82" fmla="*/ 256 w 512"/>
              <a:gd name="T83" fmla="*/ 330 h 512"/>
              <a:gd name="T84" fmla="*/ 256 w 512"/>
              <a:gd name="T85" fmla="*/ 245 h 512"/>
              <a:gd name="T86" fmla="*/ 224 w 512"/>
              <a:gd name="T87" fmla="*/ 288 h 512"/>
              <a:gd name="T88" fmla="*/ 288 w 512"/>
              <a:gd name="T89" fmla="*/ 288 h 512"/>
              <a:gd name="T90" fmla="*/ 384 w 512"/>
              <a:gd name="T91" fmla="*/ 296 h 512"/>
              <a:gd name="T92" fmla="*/ 382 w 512"/>
              <a:gd name="T93" fmla="*/ 304 h 512"/>
              <a:gd name="T94" fmla="*/ 303 w 512"/>
              <a:gd name="T95" fmla="*/ 330 h 512"/>
              <a:gd name="T96" fmla="*/ 256 w 512"/>
              <a:gd name="T97" fmla="*/ 352 h 512"/>
              <a:gd name="T98" fmla="*/ 208 w 512"/>
              <a:gd name="T99" fmla="*/ 330 h 512"/>
              <a:gd name="T100" fmla="*/ 130 w 512"/>
              <a:gd name="T101" fmla="*/ 304 h 512"/>
              <a:gd name="T102" fmla="*/ 128 w 512"/>
              <a:gd name="T103" fmla="*/ 296 h 512"/>
              <a:gd name="T104" fmla="*/ 117 w 512"/>
              <a:gd name="T105" fmla="*/ 319 h 512"/>
              <a:gd name="T106" fmla="*/ 256 w 512"/>
              <a:gd name="T107" fmla="*/ 362 h 512"/>
              <a:gd name="T108" fmla="*/ 394 w 512"/>
              <a:gd name="T109" fmla="*/ 319 h 512"/>
              <a:gd name="T110" fmla="*/ 384 w 512"/>
              <a:gd name="T111" fmla="*/ 29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56" y="277"/>
                </a:moveTo>
                <a:cubicBezTo>
                  <a:pt x="262" y="277"/>
                  <a:pt x="266" y="282"/>
                  <a:pt x="266" y="288"/>
                </a:cubicBezTo>
                <a:cubicBezTo>
                  <a:pt x="266" y="294"/>
                  <a:pt x="262" y="298"/>
                  <a:pt x="256" y="298"/>
                </a:cubicBezTo>
                <a:cubicBezTo>
                  <a:pt x="250" y="298"/>
                  <a:pt x="245" y="294"/>
                  <a:pt x="245" y="288"/>
                </a:cubicBezTo>
                <a:cubicBezTo>
                  <a:pt x="245" y="282"/>
                  <a:pt x="250" y="277"/>
                  <a:pt x="256" y="277"/>
                </a:cubicBezTo>
                <a:close/>
                <a:moveTo>
                  <a:pt x="192" y="288"/>
                </a:moveTo>
                <a:cubicBezTo>
                  <a:pt x="192" y="252"/>
                  <a:pt x="220" y="224"/>
                  <a:pt x="256" y="224"/>
                </a:cubicBezTo>
                <a:cubicBezTo>
                  <a:pt x="291" y="224"/>
                  <a:pt x="320" y="252"/>
                  <a:pt x="320" y="288"/>
                </a:cubicBezTo>
                <a:cubicBezTo>
                  <a:pt x="320" y="295"/>
                  <a:pt x="319" y="301"/>
                  <a:pt x="317" y="307"/>
                </a:cubicBezTo>
                <a:cubicBezTo>
                  <a:pt x="345" y="303"/>
                  <a:pt x="358" y="297"/>
                  <a:pt x="362" y="294"/>
                </a:cubicBezTo>
                <a:cubicBezTo>
                  <a:pt x="362" y="260"/>
                  <a:pt x="362" y="260"/>
                  <a:pt x="362" y="260"/>
                </a:cubicBezTo>
                <a:cubicBezTo>
                  <a:pt x="362" y="232"/>
                  <a:pt x="352" y="209"/>
                  <a:pt x="341" y="192"/>
                </a:cubicBezTo>
                <a:cubicBezTo>
                  <a:pt x="341" y="250"/>
                  <a:pt x="341" y="250"/>
                  <a:pt x="341" y="250"/>
                </a:cubicBezTo>
                <a:cubicBezTo>
                  <a:pt x="341" y="256"/>
                  <a:pt x="336" y="261"/>
                  <a:pt x="330" y="261"/>
                </a:cubicBezTo>
                <a:cubicBezTo>
                  <a:pt x="324" y="261"/>
                  <a:pt x="320" y="256"/>
                  <a:pt x="320" y="250"/>
                </a:cubicBezTo>
                <a:cubicBezTo>
                  <a:pt x="320" y="157"/>
                  <a:pt x="320" y="157"/>
                  <a:pt x="320" y="157"/>
                </a:cubicBezTo>
                <a:cubicBezTo>
                  <a:pt x="318" y="156"/>
                  <a:pt x="316" y="155"/>
                  <a:pt x="314" y="154"/>
                </a:cubicBezTo>
                <a:cubicBezTo>
                  <a:pt x="304" y="149"/>
                  <a:pt x="297" y="145"/>
                  <a:pt x="288" y="142"/>
                </a:cubicBezTo>
                <a:cubicBezTo>
                  <a:pt x="288" y="186"/>
                  <a:pt x="288" y="186"/>
                  <a:pt x="288" y="186"/>
                </a:cubicBezTo>
                <a:cubicBezTo>
                  <a:pt x="295" y="197"/>
                  <a:pt x="295" y="197"/>
                  <a:pt x="295" y="197"/>
                </a:cubicBezTo>
                <a:cubicBezTo>
                  <a:pt x="298" y="202"/>
                  <a:pt x="296" y="208"/>
                  <a:pt x="291" y="211"/>
                </a:cubicBezTo>
                <a:cubicBezTo>
                  <a:pt x="286" y="214"/>
                  <a:pt x="280" y="213"/>
                  <a:pt x="277" y="208"/>
                </a:cubicBezTo>
                <a:cubicBezTo>
                  <a:pt x="268" y="194"/>
                  <a:pt x="268" y="194"/>
                  <a:pt x="268" y="194"/>
                </a:cubicBezTo>
                <a:cubicBezTo>
                  <a:pt x="267" y="193"/>
                  <a:pt x="266" y="191"/>
                  <a:pt x="266" y="189"/>
                </a:cubicBezTo>
                <a:cubicBezTo>
                  <a:pt x="266" y="129"/>
                  <a:pt x="266" y="129"/>
                  <a:pt x="266" y="129"/>
                </a:cubicBezTo>
                <a:cubicBezTo>
                  <a:pt x="266" y="128"/>
                  <a:pt x="266" y="128"/>
                  <a:pt x="266" y="128"/>
                </a:cubicBezTo>
                <a:cubicBezTo>
                  <a:pt x="245" y="128"/>
                  <a:pt x="245" y="128"/>
                  <a:pt x="245" y="128"/>
                </a:cubicBezTo>
                <a:cubicBezTo>
                  <a:pt x="245" y="128"/>
                  <a:pt x="245" y="128"/>
                  <a:pt x="245" y="128"/>
                </a:cubicBezTo>
                <a:cubicBezTo>
                  <a:pt x="245" y="129"/>
                  <a:pt x="245" y="129"/>
                  <a:pt x="245" y="129"/>
                </a:cubicBezTo>
                <a:cubicBezTo>
                  <a:pt x="245" y="189"/>
                  <a:pt x="245" y="189"/>
                  <a:pt x="245" y="189"/>
                </a:cubicBezTo>
                <a:cubicBezTo>
                  <a:pt x="245" y="191"/>
                  <a:pt x="244" y="193"/>
                  <a:pt x="243" y="194"/>
                </a:cubicBezTo>
                <a:cubicBezTo>
                  <a:pt x="235" y="208"/>
                  <a:pt x="235" y="208"/>
                  <a:pt x="235" y="208"/>
                </a:cubicBezTo>
                <a:cubicBezTo>
                  <a:pt x="232" y="213"/>
                  <a:pt x="225" y="214"/>
                  <a:pt x="220" y="211"/>
                </a:cubicBezTo>
                <a:cubicBezTo>
                  <a:pt x="215" y="208"/>
                  <a:pt x="214" y="202"/>
                  <a:pt x="217" y="197"/>
                </a:cubicBezTo>
                <a:cubicBezTo>
                  <a:pt x="224" y="186"/>
                  <a:pt x="224" y="186"/>
                  <a:pt x="224" y="186"/>
                </a:cubicBezTo>
                <a:cubicBezTo>
                  <a:pt x="224" y="142"/>
                  <a:pt x="224" y="142"/>
                  <a:pt x="224" y="142"/>
                </a:cubicBezTo>
                <a:cubicBezTo>
                  <a:pt x="215" y="145"/>
                  <a:pt x="207" y="149"/>
                  <a:pt x="197" y="154"/>
                </a:cubicBezTo>
                <a:cubicBezTo>
                  <a:pt x="195" y="155"/>
                  <a:pt x="194" y="156"/>
                  <a:pt x="192" y="157"/>
                </a:cubicBezTo>
                <a:cubicBezTo>
                  <a:pt x="192" y="250"/>
                  <a:pt x="192" y="250"/>
                  <a:pt x="192" y="250"/>
                </a:cubicBezTo>
                <a:cubicBezTo>
                  <a:pt x="192" y="256"/>
                  <a:pt x="187" y="261"/>
                  <a:pt x="181" y="261"/>
                </a:cubicBezTo>
                <a:cubicBezTo>
                  <a:pt x="175" y="261"/>
                  <a:pt x="170" y="256"/>
                  <a:pt x="170" y="250"/>
                </a:cubicBezTo>
                <a:cubicBezTo>
                  <a:pt x="170" y="192"/>
                  <a:pt x="170" y="192"/>
                  <a:pt x="170" y="192"/>
                </a:cubicBezTo>
                <a:cubicBezTo>
                  <a:pt x="160" y="209"/>
                  <a:pt x="149" y="232"/>
                  <a:pt x="149" y="260"/>
                </a:cubicBezTo>
                <a:cubicBezTo>
                  <a:pt x="149" y="294"/>
                  <a:pt x="149" y="294"/>
                  <a:pt x="149" y="294"/>
                </a:cubicBezTo>
                <a:cubicBezTo>
                  <a:pt x="153" y="297"/>
                  <a:pt x="166" y="303"/>
                  <a:pt x="195" y="307"/>
                </a:cubicBezTo>
                <a:cubicBezTo>
                  <a:pt x="193" y="301"/>
                  <a:pt x="192" y="295"/>
                  <a:pt x="192" y="2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89"/>
                </a:moveTo>
                <a:cubicBezTo>
                  <a:pt x="414" y="285"/>
                  <a:pt x="411" y="282"/>
                  <a:pt x="407" y="281"/>
                </a:cubicBezTo>
                <a:cubicBezTo>
                  <a:pt x="384" y="273"/>
                  <a:pt x="384" y="273"/>
                  <a:pt x="384" y="273"/>
                </a:cubicBezTo>
                <a:cubicBezTo>
                  <a:pt x="384" y="260"/>
                  <a:pt x="384" y="260"/>
                  <a:pt x="384" y="260"/>
                </a:cubicBezTo>
                <a:cubicBezTo>
                  <a:pt x="384" y="225"/>
                  <a:pt x="368" y="186"/>
                  <a:pt x="341" y="156"/>
                </a:cubicBezTo>
                <a:cubicBezTo>
                  <a:pt x="341" y="150"/>
                  <a:pt x="341" y="150"/>
                  <a:pt x="341" y="150"/>
                </a:cubicBezTo>
                <a:cubicBezTo>
                  <a:pt x="341" y="146"/>
                  <a:pt x="339" y="143"/>
                  <a:pt x="335" y="141"/>
                </a:cubicBezTo>
                <a:cubicBezTo>
                  <a:pt x="331" y="139"/>
                  <a:pt x="327" y="137"/>
                  <a:pt x="324" y="135"/>
                </a:cubicBezTo>
                <a:cubicBezTo>
                  <a:pt x="312" y="129"/>
                  <a:pt x="302" y="123"/>
                  <a:pt x="288" y="120"/>
                </a:cubicBezTo>
                <a:cubicBezTo>
                  <a:pt x="288" y="117"/>
                  <a:pt x="288" y="117"/>
                  <a:pt x="288" y="117"/>
                </a:cubicBezTo>
                <a:cubicBezTo>
                  <a:pt x="288" y="111"/>
                  <a:pt x="283" y="106"/>
                  <a:pt x="277" y="106"/>
                </a:cubicBezTo>
                <a:cubicBezTo>
                  <a:pt x="234" y="106"/>
                  <a:pt x="234" y="106"/>
                  <a:pt x="234" y="106"/>
                </a:cubicBezTo>
                <a:cubicBezTo>
                  <a:pt x="228" y="106"/>
                  <a:pt x="224" y="111"/>
                  <a:pt x="224" y="117"/>
                </a:cubicBezTo>
                <a:cubicBezTo>
                  <a:pt x="224" y="120"/>
                  <a:pt x="224" y="120"/>
                  <a:pt x="224" y="120"/>
                </a:cubicBezTo>
                <a:cubicBezTo>
                  <a:pt x="210" y="123"/>
                  <a:pt x="200" y="129"/>
                  <a:pt x="187" y="135"/>
                </a:cubicBezTo>
                <a:cubicBezTo>
                  <a:pt x="184" y="137"/>
                  <a:pt x="180" y="139"/>
                  <a:pt x="176" y="141"/>
                </a:cubicBezTo>
                <a:cubicBezTo>
                  <a:pt x="173" y="143"/>
                  <a:pt x="170" y="146"/>
                  <a:pt x="170" y="150"/>
                </a:cubicBezTo>
                <a:cubicBezTo>
                  <a:pt x="170" y="156"/>
                  <a:pt x="170" y="156"/>
                  <a:pt x="170" y="156"/>
                </a:cubicBezTo>
                <a:cubicBezTo>
                  <a:pt x="144" y="186"/>
                  <a:pt x="128" y="225"/>
                  <a:pt x="128" y="260"/>
                </a:cubicBezTo>
                <a:cubicBezTo>
                  <a:pt x="128" y="273"/>
                  <a:pt x="128" y="273"/>
                  <a:pt x="128" y="273"/>
                </a:cubicBezTo>
                <a:cubicBezTo>
                  <a:pt x="104" y="281"/>
                  <a:pt x="104" y="281"/>
                  <a:pt x="104" y="281"/>
                </a:cubicBezTo>
                <a:cubicBezTo>
                  <a:pt x="100" y="282"/>
                  <a:pt x="98" y="285"/>
                  <a:pt x="97" y="289"/>
                </a:cubicBezTo>
                <a:cubicBezTo>
                  <a:pt x="96" y="291"/>
                  <a:pt x="93" y="310"/>
                  <a:pt x="96" y="324"/>
                </a:cubicBezTo>
                <a:cubicBezTo>
                  <a:pt x="100" y="338"/>
                  <a:pt x="115" y="365"/>
                  <a:pt x="117" y="368"/>
                </a:cubicBezTo>
                <a:cubicBezTo>
                  <a:pt x="118" y="369"/>
                  <a:pt x="118" y="369"/>
                  <a:pt x="119" y="370"/>
                </a:cubicBezTo>
                <a:cubicBezTo>
                  <a:pt x="129" y="381"/>
                  <a:pt x="199" y="384"/>
                  <a:pt x="256" y="384"/>
                </a:cubicBezTo>
                <a:cubicBezTo>
                  <a:pt x="312" y="384"/>
                  <a:pt x="382" y="381"/>
                  <a:pt x="393" y="370"/>
                </a:cubicBezTo>
                <a:cubicBezTo>
                  <a:pt x="393" y="369"/>
                  <a:pt x="394" y="369"/>
                  <a:pt x="394" y="368"/>
                </a:cubicBezTo>
                <a:cubicBezTo>
                  <a:pt x="396" y="365"/>
                  <a:pt x="411" y="338"/>
                  <a:pt x="415" y="324"/>
                </a:cubicBezTo>
                <a:cubicBezTo>
                  <a:pt x="419" y="310"/>
                  <a:pt x="415" y="291"/>
                  <a:pt x="414" y="289"/>
                </a:cubicBezTo>
                <a:close/>
                <a:moveTo>
                  <a:pt x="256" y="245"/>
                </a:moveTo>
                <a:cubicBezTo>
                  <a:pt x="279" y="245"/>
                  <a:pt x="298" y="264"/>
                  <a:pt x="298" y="288"/>
                </a:cubicBezTo>
                <a:cubicBezTo>
                  <a:pt x="298" y="311"/>
                  <a:pt x="279" y="330"/>
                  <a:pt x="256" y="330"/>
                </a:cubicBezTo>
                <a:cubicBezTo>
                  <a:pt x="232" y="330"/>
                  <a:pt x="213" y="311"/>
                  <a:pt x="213" y="288"/>
                </a:cubicBezTo>
                <a:cubicBezTo>
                  <a:pt x="213" y="264"/>
                  <a:pt x="232" y="245"/>
                  <a:pt x="256" y="245"/>
                </a:cubicBezTo>
                <a:close/>
                <a:moveTo>
                  <a:pt x="256" y="256"/>
                </a:moveTo>
                <a:cubicBezTo>
                  <a:pt x="238" y="256"/>
                  <a:pt x="224" y="270"/>
                  <a:pt x="224" y="288"/>
                </a:cubicBezTo>
                <a:cubicBezTo>
                  <a:pt x="224" y="305"/>
                  <a:pt x="238" y="320"/>
                  <a:pt x="256" y="320"/>
                </a:cubicBezTo>
                <a:cubicBezTo>
                  <a:pt x="273" y="320"/>
                  <a:pt x="288" y="305"/>
                  <a:pt x="288" y="288"/>
                </a:cubicBezTo>
                <a:cubicBezTo>
                  <a:pt x="288" y="270"/>
                  <a:pt x="273" y="256"/>
                  <a:pt x="256" y="256"/>
                </a:cubicBezTo>
                <a:close/>
                <a:moveTo>
                  <a:pt x="384" y="296"/>
                </a:moveTo>
                <a:cubicBezTo>
                  <a:pt x="384" y="298"/>
                  <a:pt x="384" y="298"/>
                  <a:pt x="384" y="298"/>
                </a:cubicBezTo>
                <a:cubicBezTo>
                  <a:pt x="384" y="301"/>
                  <a:pt x="383" y="303"/>
                  <a:pt x="382" y="304"/>
                </a:cubicBezTo>
                <a:cubicBezTo>
                  <a:pt x="379" y="308"/>
                  <a:pt x="365" y="324"/>
                  <a:pt x="305" y="330"/>
                </a:cubicBezTo>
                <a:cubicBezTo>
                  <a:pt x="304" y="330"/>
                  <a:pt x="304" y="330"/>
                  <a:pt x="303" y="330"/>
                </a:cubicBezTo>
                <a:cubicBezTo>
                  <a:pt x="303" y="330"/>
                  <a:pt x="303" y="330"/>
                  <a:pt x="303" y="330"/>
                </a:cubicBezTo>
                <a:cubicBezTo>
                  <a:pt x="292" y="343"/>
                  <a:pt x="275" y="352"/>
                  <a:pt x="256" y="352"/>
                </a:cubicBezTo>
                <a:cubicBezTo>
                  <a:pt x="237" y="352"/>
                  <a:pt x="220" y="343"/>
                  <a:pt x="208" y="330"/>
                </a:cubicBezTo>
                <a:cubicBezTo>
                  <a:pt x="208" y="330"/>
                  <a:pt x="208" y="330"/>
                  <a:pt x="208" y="330"/>
                </a:cubicBezTo>
                <a:cubicBezTo>
                  <a:pt x="208" y="330"/>
                  <a:pt x="207" y="330"/>
                  <a:pt x="207" y="330"/>
                </a:cubicBezTo>
                <a:cubicBezTo>
                  <a:pt x="146" y="324"/>
                  <a:pt x="132" y="308"/>
                  <a:pt x="130" y="304"/>
                </a:cubicBezTo>
                <a:cubicBezTo>
                  <a:pt x="128" y="303"/>
                  <a:pt x="128" y="301"/>
                  <a:pt x="128" y="298"/>
                </a:cubicBezTo>
                <a:cubicBezTo>
                  <a:pt x="128" y="296"/>
                  <a:pt x="128" y="296"/>
                  <a:pt x="128" y="296"/>
                </a:cubicBezTo>
                <a:cubicBezTo>
                  <a:pt x="117" y="299"/>
                  <a:pt x="117" y="299"/>
                  <a:pt x="117" y="299"/>
                </a:cubicBezTo>
                <a:cubicBezTo>
                  <a:pt x="116" y="305"/>
                  <a:pt x="116" y="313"/>
                  <a:pt x="117" y="319"/>
                </a:cubicBezTo>
                <a:cubicBezTo>
                  <a:pt x="119" y="327"/>
                  <a:pt x="129" y="345"/>
                  <a:pt x="134" y="355"/>
                </a:cubicBezTo>
                <a:cubicBezTo>
                  <a:pt x="140" y="357"/>
                  <a:pt x="167" y="362"/>
                  <a:pt x="256" y="362"/>
                </a:cubicBezTo>
                <a:cubicBezTo>
                  <a:pt x="345" y="362"/>
                  <a:pt x="371" y="357"/>
                  <a:pt x="377" y="355"/>
                </a:cubicBezTo>
                <a:cubicBezTo>
                  <a:pt x="382" y="345"/>
                  <a:pt x="392" y="327"/>
                  <a:pt x="394" y="319"/>
                </a:cubicBezTo>
                <a:cubicBezTo>
                  <a:pt x="396" y="313"/>
                  <a:pt x="395" y="305"/>
                  <a:pt x="395" y="299"/>
                </a:cubicBezTo>
                <a:lnTo>
                  <a:pt x="384" y="29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87" name="Group 86">
            <a:extLst>
              <a:ext uri="{FF2B5EF4-FFF2-40B4-BE49-F238E27FC236}">
                <a16:creationId xmlns:a16="http://schemas.microsoft.com/office/drawing/2014/main" id="{EAC8599E-2110-4606-B66A-62C857764DAF}"/>
              </a:ext>
            </a:extLst>
          </p:cNvPr>
          <p:cNvGrpSpPr>
            <a:grpSpLocks noChangeAspect="1"/>
          </p:cNvGrpSpPr>
          <p:nvPr/>
        </p:nvGrpSpPr>
        <p:grpSpPr bwMode="auto">
          <a:xfrm>
            <a:off x="1789119" y="1700213"/>
            <a:ext cx="367041" cy="368120"/>
            <a:chOff x="6522" y="1505"/>
            <a:chExt cx="340" cy="341"/>
          </a:xfrm>
          <a:solidFill>
            <a:schemeClr val="accent3"/>
          </a:solidFill>
        </p:grpSpPr>
        <p:sp>
          <p:nvSpPr>
            <p:cNvPr id="88" name="Freeform 274">
              <a:extLst>
                <a:ext uri="{FF2B5EF4-FFF2-40B4-BE49-F238E27FC236}">
                  <a16:creationId xmlns:a16="http://schemas.microsoft.com/office/drawing/2014/main" id="{668181B3-DB30-4A1C-9306-0D7A186104AD}"/>
                </a:ext>
              </a:extLst>
            </p:cNvPr>
            <p:cNvSpPr>
              <a:spLocks noEditPoints="1"/>
            </p:cNvSpPr>
            <p:nvPr/>
          </p:nvSpPr>
          <p:spPr bwMode="auto">
            <a:xfrm>
              <a:off x="6522" y="150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275">
              <a:extLst>
                <a:ext uri="{FF2B5EF4-FFF2-40B4-BE49-F238E27FC236}">
                  <a16:creationId xmlns:a16="http://schemas.microsoft.com/office/drawing/2014/main" id="{29061287-79E3-4C1F-BC41-1B8A79E985A3}"/>
                </a:ext>
              </a:extLst>
            </p:cNvPr>
            <p:cNvSpPr>
              <a:spLocks noEditPoints="1"/>
            </p:cNvSpPr>
            <p:nvPr/>
          </p:nvSpPr>
          <p:spPr bwMode="auto">
            <a:xfrm>
              <a:off x="6584" y="1576"/>
              <a:ext cx="216" cy="185"/>
            </a:xfrm>
            <a:custGeom>
              <a:avLst/>
              <a:gdLst>
                <a:gd name="T0" fmla="*/ 314 w 326"/>
                <a:gd name="T1" fmla="*/ 175 h 278"/>
                <a:gd name="T2" fmla="*/ 291 w 326"/>
                <a:gd name="T3" fmla="*/ 154 h 278"/>
                <a:gd name="T4" fmla="*/ 248 w 326"/>
                <a:gd name="T5" fmla="*/ 44 h 278"/>
                <a:gd name="T6" fmla="*/ 231 w 326"/>
                <a:gd name="T7" fmla="*/ 29 h 278"/>
                <a:gd name="T8" fmla="*/ 195 w 326"/>
                <a:gd name="T9" fmla="*/ 11 h 278"/>
                <a:gd name="T10" fmla="*/ 141 w 326"/>
                <a:gd name="T11" fmla="*/ 0 h 278"/>
                <a:gd name="T12" fmla="*/ 131 w 326"/>
                <a:gd name="T13" fmla="*/ 14 h 278"/>
                <a:gd name="T14" fmla="*/ 83 w 326"/>
                <a:gd name="T15" fmla="*/ 35 h 278"/>
                <a:gd name="T16" fmla="*/ 77 w 326"/>
                <a:gd name="T17" fmla="*/ 50 h 278"/>
                <a:gd name="T18" fmla="*/ 35 w 326"/>
                <a:gd name="T19" fmla="*/ 167 h 278"/>
                <a:gd name="T20" fmla="*/ 4 w 326"/>
                <a:gd name="T21" fmla="*/ 183 h 278"/>
                <a:gd name="T22" fmla="*/ 24 w 326"/>
                <a:gd name="T23" fmla="*/ 262 h 278"/>
                <a:gd name="T24" fmla="*/ 163 w 326"/>
                <a:gd name="T25" fmla="*/ 278 h 278"/>
                <a:gd name="T26" fmla="*/ 301 w 326"/>
                <a:gd name="T27" fmla="*/ 262 h 278"/>
                <a:gd name="T28" fmla="*/ 321 w 326"/>
                <a:gd name="T29" fmla="*/ 183 h 278"/>
                <a:gd name="T30" fmla="*/ 77 w 326"/>
                <a:gd name="T31" fmla="*/ 86 h 278"/>
                <a:gd name="T32" fmla="*/ 88 w 326"/>
                <a:gd name="T33" fmla="*/ 155 h 278"/>
                <a:gd name="T34" fmla="*/ 99 w 326"/>
                <a:gd name="T35" fmla="*/ 51 h 278"/>
                <a:gd name="T36" fmla="*/ 131 w 326"/>
                <a:gd name="T37" fmla="*/ 36 h 278"/>
                <a:gd name="T38" fmla="*/ 124 w 326"/>
                <a:gd name="T39" fmla="*/ 91 h 278"/>
                <a:gd name="T40" fmla="*/ 142 w 326"/>
                <a:gd name="T41" fmla="*/ 102 h 278"/>
                <a:gd name="T42" fmla="*/ 152 w 326"/>
                <a:gd name="T43" fmla="*/ 83 h 278"/>
                <a:gd name="T44" fmla="*/ 152 w 326"/>
                <a:gd name="T45" fmla="*/ 22 h 278"/>
                <a:gd name="T46" fmla="*/ 173 w 326"/>
                <a:gd name="T47" fmla="*/ 22 h 278"/>
                <a:gd name="T48" fmla="*/ 173 w 326"/>
                <a:gd name="T49" fmla="*/ 83 h 278"/>
                <a:gd name="T50" fmla="*/ 184 w 326"/>
                <a:gd name="T51" fmla="*/ 102 h 278"/>
                <a:gd name="T52" fmla="*/ 202 w 326"/>
                <a:gd name="T53" fmla="*/ 91 h 278"/>
                <a:gd name="T54" fmla="*/ 195 w 326"/>
                <a:gd name="T55" fmla="*/ 36 h 278"/>
                <a:gd name="T56" fmla="*/ 227 w 326"/>
                <a:gd name="T57" fmla="*/ 51 h 278"/>
                <a:gd name="T58" fmla="*/ 237 w 326"/>
                <a:gd name="T59" fmla="*/ 155 h 278"/>
                <a:gd name="T60" fmla="*/ 248 w 326"/>
                <a:gd name="T61" fmla="*/ 86 h 278"/>
                <a:gd name="T62" fmla="*/ 269 w 326"/>
                <a:gd name="T63" fmla="*/ 188 h 278"/>
                <a:gd name="T64" fmla="*/ 227 w 326"/>
                <a:gd name="T65" fmla="*/ 182 h 278"/>
                <a:gd name="T66" fmla="*/ 99 w 326"/>
                <a:gd name="T67" fmla="*/ 182 h 278"/>
                <a:gd name="T68" fmla="*/ 56 w 326"/>
                <a:gd name="T69" fmla="*/ 188 h 278"/>
                <a:gd name="T70" fmla="*/ 205 w 326"/>
                <a:gd name="T71" fmla="*/ 182 h 278"/>
                <a:gd name="T72" fmla="*/ 120 w 326"/>
                <a:gd name="T73" fmla="*/ 182 h 278"/>
                <a:gd name="T74" fmla="*/ 205 w 326"/>
                <a:gd name="T75" fmla="*/ 182 h 278"/>
                <a:gd name="T76" fmla="*/ 284 w 326"/>
                <a:gd name="T77" fmla="*/ 249 h 278"/>
                <a:gd name="T78" fmla="*/ 41 w 326"/>
                <a:gd name="T79" fmla="*/ 249 h 278"/>
                <a:gd name="T80" fmla="*/ 24 w 326"/>
                <a:gd name="T81" fmla="*/ 193 h 278"/>
                <a:gd name="T82" fmla="*/ 35 w 326"/>
                <a:gd name="T83" fmla="*/ 192 h 278"/>
                <a:gd name="T84" fmla="*/ 114 w 326"/>
                <a:gd name="T85" fmla="*/ 224 h 278"/>
                <a:gd name="T86" fmla="*/ 115 w 326"/>
                <a:gd name="T87" fmla="*/ 224 h 278"/>
                <a:gd name="T88" fmla="*/ 210 w 326"/>
                <a:gd name="T89" fmla="*/ 224 h 278"/>
                <a:gd name="T90" fmla="*/ 212 w 326"/>
                <a:gd name="T91" fmla="*/ 224 h 278"/>
                <a:gd name="T92" fmla="*/ 291 w 326"/>
                <a:gd name="T93" fmla="*/ 192 h 278"/>
                <a:gd name="T94" fmla="*/ 302 w 326"/>
                <a:gd name="T95" fmla="*/ 193 h 278"/>
                <a:gd name="T96" fmla="*/ 131 w 326"/>
                <a:gd name="T97" fmla="*/ 182 h 278"/>
                <a:gd name="T98" fmla="*/ 195 w 326"/>
                <a:gd name="T99" fmla="*/ 182 h 278"/>
                <a:gd name="T100" fmla="*/ 131 w 326"/>
                <a:gd name="T101" fmla="*/ 182 h 278"/>
                <a:gd name="T102" fmla="*/ 163 w 326"/>
                <a:gd name="T103" fmla="*/ 192 h 278"/>
                <a:gd name="T104" fmla="*/ 163 w 326"/>
                <a:gd name="T105" fmla="*/ 17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6" h="278">
                  <a:moveTo>
                    <a:pt x="321" y="183"/>
                  </a:moveTo>
                  <a:cubicBezTo>
                    <a:pt x="321" y="179"/>
                    <a:pt x="318" y="176"/>
                    <a:pt x="314" y="175"/>
                  </a:cubicBezTo>
                  <a:cubicBezTo>
                    <a:pt x="291" y="167"/>
                    <a:pt x="291" y="167"/>
                    <a:pt x="291" y="167"/>
                  </a:cubicBezTo>
                  <a:cubicBezTo>
                    <a:pt x="291" y="154"/>
                    <a:pt x="291" y="154"/>
                    <a:pt x="291" y="154"/>
                  </a:cubicBezTo>
                  <a:cubicBezTo>
                    <a:pt x="291" y="119"/>
                    <a:pt x="275" y="80"/>
                    <a:pt x="248" y="50"/>
                  </a:cubicBezTo>
                  <a:cubicBezTo>
                    <a:pt x="248" y="44"/>
                    <a:pt x="248" y="44"/>
                    <a:pt x="248" y="44"/>
                  </a:cubicBezTo>
                  <a:cubicBezTo>
                    <a:pt x="248" y="40"/>
                    <a:pt x="246" y="37"/>
                    <a:pt x="242" y="35"/>
                  </a:cubicBezTo>
                  <a:cubicBezTo>
                    <a:pt x="238" y="33"/>
                    <a:pt x="234" y="31"/>
                    <a:pt x="231" y="29"/>
                  </a:cubicBezTo>
                  <a:cubicBezTo>
                    <a:pt x="219" y="23"/>
                    <a:pt x="209" y="17"/>
                    <a:pt x="195" y="14"/>
                  </a:cubicBezTo>
                  <a:cubicBezTo>
                    <a:pt x="195" y="11"/>
                    <a:pt x="195" y="11"/>
                    <a:pt x="195" y="11"/>
                  </a:cubicBezTo>
                  <a:cubicBezTo>
                    <a:pt x="195" y="5"/>
                    <a:pt x="190" y="0"/>
                    <a:pt x="184" y="0"/>
                  </a:cubicBezTo>
                  <a:cubicBezTo>
                    <a:pt x="141" y="0"/>
                    <a:pt x="141" y="0"/>
                    <a:pt x="141" y="0"/>
                  </a:cubicBezTo>
                  <a:cubicBezTo>
                    <a:pt x="135" y="0"/>
                    <a:pt x="131" y="5"/>
                    <a:pt x="131" y="11"/>
                  </a:cubicBezTo>
                  <a:cubicBezTo>
                    <a:pt x="131" y="14"/>
                    <a:pt x="131" y="14"/>
                    <a:pt x="131" y="14"/>
                  </a:cubicBezTo>
                  <a:cubicBezTo>
                    <a:pt x="117" y="17"/>
                    <a:pt x="107" y="23"/>
                    <a:pt x="94" y="29"/>
                  </a:cubicBezTo>
                  <a:cubicBezTo>
                    <a:pt x="91" y="31"/>
                    <a:pt x="87" y="33"/>
                    <a:pt x="83" y="35"/>
                  </a:cubicBezTo>
                  <a:cubicBezTo>
                    <a:pt x="80" y="37"/>
                    <a:pt x="77" y="40"/>
                    <a:pt x="77" y="44"/>
                  </a:cubicBezTo>
                  <a:cubicBezTo>
                    <a:pt x="77" y="50"/>
                    <a:pt x="77" y="50"/>
                    <a:pt x="77" y="50"/>
                  </a:cubicBezTo>
                  <a:cubicBezTo>
                    <a:pt x="51" y="80"/>
                    <a:pt x="35" y="119"/>
                    <a:pt x="35" y="154"/>
                  </a:cubicBezTo>
                  <a:cubicBezTo>
                    <a:pt x="35" y="167"/>
                    <a:pt x="35" y="167"/>
                    <a:pt x="35" y="167"/>
                  </a:cubicBezTo>
                  <a:cubicBezTo>
                    <a:pt x="11" y="175"/>
                    <a:pt x="11" y="175"/>
                    <a:pt x="11" y="175"/>
                  </a:cubicBezTo>
                  <a:cubicBezTo>
                    <a:pt x="7" y="176"/>
                    <a:pt x="5" y="179"/>
                    <a:pt x="4" y="183"/>
                  </a:cubicBezTo>
                  <a:cubicBezTo>
                    <a:pt x="3" y="185"/>
                    <a:pt x="0" y="204"/>
                    <a:pt x="3" y="218"/>
                  </a:cubicBezTo>
                  <a:cubicBezTo>
                    <a:pt x="7" y="232"/>
                    <a:pt x="22" y="259"/>
                    <a:pt x="24" y="262"/>
                  </a:cubicBezTo>
                  <a:cubicBezTo>
                    <a:pt x="25" y="263"/>
                    <a:pt x="25" y="263"/>
                    <a:pt x="26" y="264"/>
                  </a:cubicBezTo>
                  <a:cubicBezTo>
                    <a:pt x="36" y="275"/>
                    <a:pt x="106" y="278"/>
                    <a:pt x="163" y="278"/>
                  </a:cubicBezTo>
                  <a:cubicBezTo>
                    <a:pt x="219" y="278"/>
                    <a:pt x="289" y="275"/>
                    <a:pt x="300" y="264"/>
                  </a:cubicBezTo>
                  <a:cubicBezTo>
                    <a:pt x="300" y="263"/>
                    <a:pt x="301" y="263"/>
                    <a:pt x="301" y="262"/>
                  </a:cubicBezTo>
                  <a:cubicBezTo>
                    <a:pt x="303" y="259"/>
                    <a:pt x="318" y="232"/>
                    <a:pt x="322" y="218"/>
                  </a:cubicBezTo>
                  <a:cubicBezTo>
                    <a:pt x="326" y="204"/>
                    <a:pt x="322" y="185"/>
                    <a:pt x="321" y="183"/>
                  </a:cubicBezTo>
                  <a:close/>
                  <a:moveTo>
                    <a:pt x="56" y="154"/>
                  </a:moveTo>
                  <a:cubicBezTo>
                    <a:pt x="56" y="126"/>
                    <a:pt x="67" y="103"/>
                    <a:pt x="77" y="86"/>
                  </a:cubicBezTo>
                  <a:cubicBezTo>
                    <a:pt x="77" y="144"/>
                    <a:pt x="77" y="144"/>
                    <a:pt x="77" y="144"/>
                  </a:cubicBezTo>
                  <a:cubicBezTo>
                    <a:pt x="77" y="150"/>
                    <a:pt x="82" y="155"/>
                    <a:pt x="88" y="155"/>
                  </a:cubicBezTo>
                  <a:cubicBezTo>
                    <a:pt x="94" y="155"/>
                    <a:pt x="99" y="150"/>
                    <a:pt x="99" y="144"/>
                  </a:cubicBezTo>
                  <a:cubicBezTo>
                    <a:pt x="99" y="51"/>
                    <a:pt x="99" y="51"/>
                    <a:pt x="99" y="51"/>
                  </a:cubicBezTo>
                  <a:cubicBezTo>
                    <a:pt x="101" y="50"/>
                    <a:pt x="102" y="49"/>
                    <a:pt x="104" y="48"/>
                  </a:cubicBezTo>
                  <a:cubicBezTo>
                    <a:pt x="114" y="43"/>
                    <a:pt x="122" y="39"/>
                    <a:pt x="131" y="36"/>
                  </a:cubicBezTo>
                  <a:cubicBezTo>
                    <a:pt x="131" y="80"/>
                    <a:pt x="131" y="80"/>
                    <a:pt x="131" y="80"/>
                  </a:cubicBezTo>
                  <a:cubicBezTo>
                    <a:pt x="124" y="91"/>
                    <a:pt x="124" y="91"/>
                    <a:pt x="124" y="91"/>
                  </a:cubicBezTo>
                  <a:cubicBezTo>
                    <a:pt x="121" y="96"/>
                    <a:pt x="122" y="102"/>
                    <a:pt x="127" y="105"/>
                  </a:cubicBezTo>
                  <a:cubicBezTo>
                    <a:pt x="132" y="108"/>
                    <a:pt x="139" y="107"/>
                    <a:pt x="142" y="102"/>
                  </a:cubicBezTo>
                  <a:cubicBezTo>
                    <a:pt x="150" y="88"/>
                    <a:pt x="150" y="88"/>
                    <a:pt x="150" y="88"/>
                  </a:cubicBezTo>
                  <a:cubicBezTo>
                    <a:pt x="151" y="87"/>
                    <a:pt x="152" y="85"/>
                    <a:pt x="152" y="83"/>
                  </a:cubicBezTo>
                  <a:cubicBezTo>
                    <a:pt x="152" y="23"/>
                    <a:pt x="152" y="23"/>
                    <a:pt x="152" y="23"/>
                  </a:cubicBezTo>
                  <a:cubicBezTo>
                    <a:pt x="152" y="23"/>
                    <a:pt x="152" y="23"/>
                    <a:pt x="152" y="22"/>
                  </a:cubicBezTo>
                  <a:cubicBezTo>
                    <a:pt x="152" y="22"/>
                    <a:pt x="152" y="22"/>
                    <a:pt x="152" y="22"/>
                  </a:cubicBezTo>
                  <a:cubicBezTo>
                    <a:pt x="173" y="22"/>
                    <a:pt x="173" y="22"/>
                    <a:pt x="173" y="22"/>
                  </a:cubicBezTo>
                  <a:cubicBezTo>
                    <a:pt x="173" y="23"/>
                    <a:pt x="173" y="23"/>
                    <a:pt x="173" y="23"/>
                  </a:cubicBezTo>
                  <a:cubicBezTo>
                    <a:pt x="173" y="83"/>
                    <a:pt x="173" y="83"/>
                    <a:pt x="173" y="83"/>
                  </a:cubicBezTo>
                  <a:cubicBezTo>
                    <a:pt x="173" y="85"/>
                    <a:pt x="174" y="87"/>
                    <a:pt x="175" y="88"/>
                  </a:cubicBezTo>
                  <a:cubicBezTo>
                    <a:pt x="184" y="102"/>
                    <a:pt x="184" y="102"/>
                    <a:pt x="184" y="102"/>
                  </a:cubicBezTo>
                  <a:cubicBezTo>
                    <a:pt x="187" y="107"/>
                    <a:pt x="193" y="108"/>
                    <a:pt x="198" y="105"/>
                  </a:cubicBezTo>
                  <a:cubicBezTo>
                    <a:pt x="203" y="102"/>
                    <a:pt x="205" y="96"/>
                    <a:pt x="202" y="91"/>
                  </a:cubicBezTo>
                  <a:cubicBezTo>
                    <a:pt x="195" y="80"/>
                    <a:pt x="195" y="80"/>
                    <a:pt x="195" y="80"/>
                  </a:cubicBezTo>
                  <a:cubicBezTo>
                    <a:pt x="195" y="36"/>
                    <a:pt x="195" y="36"/>
                    <a:pt x="195" y="36"/>
                  </a:cubicBezTo>
                  <a:cubicBezTo>
                    <a:pt x="204" y="39"/>
                    <a:pt x="211" y="43"/>
                    <a:pt x="221" y="48"/>
                  </a:cubicBezTo>
                  <a:cubicBezTo>
                    <a:pt x="223" y="49"/>
                    <a:pt x="225" y="50"/>
                    <a:pt x="227" y="51"/>
                  </a:cubicBezTo>
                  <a:cubicBezTo>
                    <a:pt x="227" y="144"/>
                    <a:pt x="227" y="144"/>
                    <a:pt x="227" y="144"/>
                  </a:cubicBezTo>
                  <a:cubicBezTo>
                    <a:pt x="227" y="150"/>
                    <a:pt x="231" y="155"/>
                    <a:pt x="237" y="155"/>
                  </a:cubicBezTo>
                  <a:cubicBezTo>
                    <a:pt x="243" y="155"/>
                    <a:pt x="248" y="150"/>
                    <a:pt x="248" y="144"/>
                  </a:cubicBezTo>
                  <a:cubicBezTo>
                    <a:pt x="248" y="86"/>
                    <a:pt x="248" y="86"/>
                    <a:pt x="248" y="86"/>
                  </a:cubicBezTo>
                  <a:cubicBezTo>
                    <a:pt x="259" y="103"/>
                    <a:pt x="269" y="126"/>
                    <a:pt x="269" y="154"/>
                  </a:cubicBezTo>
                  <a:cubicBezTo>
                    <a:pt x="269" y="188"/>
                    <a:pt x="269" y="188"/>
                    <a:pt x="269" y="188"/>
                  </a:cubicBezTo>
                  <a:cubicBezTo>
                    <a:pt x="265" y="191"/>
                    <a:pt x="252" y="197"/>
                    <a:pt x="224" y="201"/>
                  </a:cubicBezTo>
                  <a:cubicBezTo>
                    <a:pt x="226" y="195"/>
                    <a:pt x="227" y="189"/>
                    <a:pt x="227" y="182"/>
                  </a:cubicBezTo>
                  <a:cubicBezTo>
                    <a:pt x="227" y="146"/>
                    <a:pt x="198" y="118"/>
                    <a:pt x="163" y="118"/>
                  </a:cubicBezTo>
                  <a:cubicBezTo>
                    <a:pt x="127" y="118"/>
                    <a:pt x="99" y="146"/>
                    <a:pt x="99" y="182"/>
                  </a:cubicBezTo>
                  <a:cubicBezTo>
                    <a:pt x="99" y="189"/>
                    <a:pt x="100" y="195"/>
                    <a:pt x="102" y="201"/>
                  </a:cubicBezTo>
                  <a:cubicBezTo>
                    <a:pt x="73" y="197"/>
                    <a:pt x="60" y="191"/>
                    <a:pt x="56" y="188"/>
                  </a:cubicBezTo>
                  <a:lnTo>
                    <a:pt x="56" y="154"/>
                  </a:lnTo>
                  <a:close/>
                  <a:moveTo>
                    <a:pt x="205" y="182"/>
                  </a:moveTo>
                  <a:cubicBezTo>
                    <a:pt x="205" y="205"/>
                    <a:pt x="186" y="224"/>
                    <a:pt x="163" y="224"/>
                  </a:cubicBezTo>
                  <a:cubicBezTo>
                    <a:pt x="139" y="224"/>
                    <a:pt x="120" y="205"/>
                    <a:pt x="120" y="182"/>
                  </a:cubicBezTo>
                  <a:cubicBezTo>
                    <a:pt x="120" y="158"/>
                    <a:pt x="139" y="139"/>
                    <a:pt x="163" y="139"/>
                  </a:cubicBezTo>
                  <a:cubicBezTo>
                    <a:pt x="186" y="139"/>
                    <a:pt x="205" y="158"/>
                    <a:pt x="205" y="182"/>
                  </a:cubicBezTo>
                  <a:close/>
                  <a:moveTo>
                    <a:pt x="301" y="213"/>
                  </a:moveTo>
                  <a:cubicBezTo>
                    <a:pt x="299" y="221"/>
                    <a:pt x="289" y="239"/>
                    <a:pt x="284" y="249"/>
                  </a:cubicBezTo>
                  <a:cubicBezTo>
                    <a:pt x="278" y="251"/>
                    <a:pt x="252" y="256"/>
                    <a:pt x="163" y="256"/>
                  </a:cubicBezTo>
                  <a:cubicBezTo>
                    <a:pt x="74" y="256"/>
                    <a:pt x="47" y="251"/>
                    <a:pt x="41" y="249"/>
                  </a:cubicBezTo>
                  <a:cubicBezTo>
                    <a:pt x="36" y="239"/>
                    <a:pt x="26" y="221"/>
                    <a:pt x="24" y="213"/>
                  </a:cubicBezTo>
                  <a:cubicBezTo>
                    <a:pt x="23" y="207"/>
                    <a:pt x="23" y="199"/>
                    <a:pt x="24" y="193"/>
                  </a:cubicBezTo>
                  <a:cubicBezTo>
                    <a:pt x="35" y="190"/>
                    <a:pt x="35" y="190"/>
                    <a:pt x="35" y="190"/>
                  </a:cubicBezTo>
                  <a:cubicBezTo>
                    <a:pt x="35" y="192"/>
                    <a:pt x="35" y="192"/>
                    <a:pt x="35" y="192"/>
                  </a:cubicBezTo>
                  <a:cubicBezTo>
                    <a:pt x="35" y="195"/>
                    <a:pt x="35" y="197"/>
                    <a:pt x="37" y="198"/>
                  </a:cubicBezTo>
                  <a:cubicBezTo>
                    <a:pt x="39" y="202"/>
                    <a:pt x="53" y="218"/>
                    <a:pt x="114" y="224"/>
                  </a:cubicBezTo>
                  <a:cubicBezTo>
                    <a:pt x="114" y="224"/>
                    <a:pt x="115" y="224"/>
                    <a:pt x="115" y="224"/>
                  </a:cubicBezTo>
                  <a:cubicBezTo>
                    <a:pt x="115" y="224"/>
                    <a:pt x="115" y="224"/>
                    <a:pt x="115" y="224"/>
                  </a:cubicBezTo>
                  <a:cubicBezTo>
                    <a:pt x="127" y="237"/>
                    <a:pt x="144" y="246"/>
                    <a:pt x="163" y="246"/>
                  </a:cubicBezTo>
                  <a:cubicBezTo>
                    <a:pt x="182" y="246"/>
                    <a:pt x="199" y="237"/>
                    <a:pt x="210" y="224"/>
                  </a:cubicBezTo>
                  <a:cubicBezTo>
                    <a:pt x="210" y="224"/>
                    <a:pt x="210" y="224"/>
                    <a:pt x="210" y="224"/>
                  </a:cubicBezTo>
                  <a:cubicBezTo>
                    <a:pt x="211" y="224"/>
                    <a:pt x="211" y="224"/>
                    <a:pt x="212" y="224"/>
                  </a:cubicBezTo>
                  <a:cubicBezTo>
                    <a:pt x="272" y="218"/>
                    <a:pt x="286" y="202"/>
                    <a:pt x="289" y="198"/>
                  </a:cubicBezTo>
                  <a:cubicBezTo>
                    <a:pt x="290" y="197"/>
                    <a:pt x="291" y="195"/>
                    <a:pt x="291" y="192"/>
                  </a:cubicBezTo>
                  <a:cubicBezTo>
                    <a:pt x="291" y="190"/>
                    <a:pt x="291" y="190"/>
                    <a:pt x="291" y="190"/>
                  </a:cubicBezTo>
                  <a:cubicBezTo>
                    <a:pt x="302" y="193"/>
                    <a:pt x="302" y="193"/>
                    <a:pt x="302" y="193"/>
                  </a:cubicBezTo>
                  <a:cubicBezTo>
                    <a:pt x="302" y="199"/>
                    <a:pt x="303" y="207"/>
                    <a:pt x="301" y="213"/>
                  </a:cubicBezTo>
                  <a:close/>
                  <a:moveTo>
                    <a:pt x="131" y="182"/>
                  </a:moveTo>
                  <a:cubicBezTo>
                    <a:pt x="131" y="199"/>
                    <a:pt x="145" y="214"/>
                    <a:pt x="163" y="214"/>
                  </a:cubicBezTo>
                  <a:cubicBezTo>
                    <a:pt x="180" y="214"/>
                    <a:pt x="195" y="199"/>
                    <a:pt x="195" y="182"/>
                  </a:cubicBezTo>
                  <a:cubicBezTo>
                    <a:pt x="195" y="164"/>
                    <a:pt x="180" y="150"/>
                    <a:pt x="163" y="150"/>
                  </a:cubicBezTo>
                  <a:cubicBezTo>
                    <a:pt x="145" y="150"/>
                    <a:pt x="131" y="164"/>
                    <a:pt x="131" y="182"/>
                  </a:cubicBezTo>
                  <a:close/>
                  <a:moveTo>
                    <a:pt x="173" y="182"/>
                  </a:moveTo>
                  <a:cubicBezTo>
                    <a:pt x="173" y="188"/>
                    <a:pt x="169" y="192"/>
                    <a:pt x="163" y="192"/>
                  </a:cubicBezTo>
                  <a:cubicBezTo>
                    <a:pt x="157" y="192"/>
                    <a:pt x="152" y="188"/>
                    <a:pt x="152" y="182"/>
                  </a:cubicBezTo>
                  <a:cubicBezTo>
                    <a:pt x="152" y="176"/>
                    <a:pt x="157" y="171"/>
                    <a:pt x="163" y="171"/>
                  </a:cubicBezTo>
                  <a:cubicBezTo>
                    <a:pt x="169" y="171"/>
                    <a:pt x="173" y="176"/>
                    <a:pt x="173"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0" name="Freeform 279">
            <a:extLst>
              <a:ext uri="{FF2B5EF4-FFF2-40B4-BE49-F238E27FC236}">
                <a16:creationId xmlns:a16="http://schemas.microsoft.com/office/drawing/2014/main" id="{9E7338DE-E275-4BD2-8F1C-1B9E7BA6100F}"/>
              </a:ext>
            </a:extLst>
          </p:cNvPr>
          <p:cNvSpPr>
            <a:spLocks noChangeAspect="1" noEditPoints="1"/>
          </p:cNvSpPr>
          <p:nvPr/>
        </p:nvSpPr>
        <p:spPr bwMode="auto">
          <a:xfrm>
            <a:off x="2222788" y="1700213"/>
            <a:ext cx="367041" cy="367041"/>
          </a:xfrm>
          <a:custGeom>
            <a:avLst/>
            <a:gdLst>
              <a:gd name="T0" fmla="*/ 149 w 512"/>
              <a:gd name="T1" fmla="*/ 294 h 512"/>
              <a:gd name="T2" fmla="*/ 170 w 512"/>
              <a:gd name="T3" fmla="*/ 192 h 512"/>
              <a:gd name="T4" fmla="*/ 181 w 512"/>
              <a:gd name="T5" fmla="*/ 261 h 512"/>
              <a:gd name="T6" fmla="*/ 192 w 512"/>
              <a:gd name="T7" fmla="*/ 157 h 512"/>
              <a:gd name="T8" fmla="*/ 224 w 512"/>
              <a:gd name="T9" fmla="*/ 142 h 512"/>
              <a:gd name="T10" fmla="*/ 217 w 512"/>
              <a:gd name="T11" fmla="*/ 197 h 512"/>
              <a:gd name="T12" fmla="*/ 235 w 512"/>
              <a:gd name="T13" fmla="*/ 208 h 512"/>
              <a:gd name="T14" fmla="*/ 245 w 512"/>
              <a:gd name="T15" fmla="*/ 189 h 512"/>
              <a:gd name="T16" fmla="*/ 245 w 512"/>
              <a:gd name="T17" fmla="*/ 128 h 512"/>
              <a:gd name="T18" fmla="*/ 266 w 512"/>
              <a:gd name="T19" fmla="*/ 129 h 512"/>
              <a:gd name="T20" fmla="*/ 268 w 512"/>
              <a:gd name="T21" fmla="*/ 194 h 512"/>
              <a:gd name="T22" fmla="*/ 279 w 512"/>
              <a:gd name="T23" fmla="*/ 211 h 512"/>
              <a:gd name="T24" fmla="*/ 283 w 512"/>
              <a:gd name="T25" fmla="*/ 213 h 512"/>
              <a:gd name="T26" fmla="*/ 285 w 512"/>
              <a:gd name="T27" fmla="*/ 213 h 512"/>
              <a:gd name="T28" fmla="*/ 287 w 512"/>
              <a:gd name="T29" fmla="*/ 213 h 512"/>
              <a:gd name="T30" fmla="*/ 294 w 512"/>
              <a:gd name="T31" fmla="*/ 197 h 512"/>
              <a:gd name="T32" fmla="*/ 288 w 512"/>
              <a:gd name="T33" fmla="*/ 142 h 512"/>
              <a:gd name="T34" fmla="*/ 320 w 512"/>
              <a:gd name="T35" fmla="*/ 157 h 512"/>
              <a:gd name="T36" fmla="*/ 330 w 512"/>
              <a:gd name="T37" fmla="*/ 261 h 512"/>
              <a:gd name="T38" fmla="*/ 341 w 512"/>
              <a:gd name="T39" fmla="*/ 192 h 512"/>
              <a:gd name="T40" fmla="*/ 362 w 512"/>
              <a:gd name="T41" fmla="*/ 293 h 512"/>
              <a:gd name="T42" fmla="*/ 384 w 512"/>
              <a:gd name="T43" fmla="*/ 297 h 512"/>
              <a:gd name="T44" fmla="*/ 379 w 512"/>
              <a:gd name="T45" fmla="*/ 307 h 512"/>
              <a:gd name="T46" fmla="*/ 130 w 512"/>
              <a:gd name="T47" fmla="*/ 305 h 512"/>
              <a:gd name="T48" fmla="*/ 128 w 512"/>
              <a:gd name="T49" fmla="*/ 297 h 512"/>
              <a:gd name="T50" fmla="*/ 118 w 512"/>
              <a:gd name="T51" fmla="*/ 319 h 512"/>
              <a:gd name="T52" fmla="*/ 256 w 512"/>
              <a:gd name="T53" fmla="*/ 362 h 512"/>
              <a:gd name="T54" fmla="*/ 257 w 512"/>
              <a:gd name="T55" fmla="*/ 362 h 512"/>
              <a:gd name="T56" fmla="*/ 394 w 512"/>
              <a:gd name="T57" fmla="*/ 319 h 512"/>
              <a:gd name="T58" fmla="*/ 384 w 512"/>
              <a:gd name="T59" fmla="*/ 297 h 512"/>
              <a:gd name="T60" fmla="*/ 256 w 512"/>
              <a:gd name="T61" fmla="*/ 512 h 512"/>
              <a:gd name="T62" fmla="*/ 256 w 512"/>
              <a:gd name="T63" fmla="*/ 0 h 512"/>
              <a:gd name="T64" fmla="*/ 414 w 512"/>
              <a:gd name="T65" fmla="*/ 289 h 512"/>
              <a:gd name="T66" fmla="*/ 384 w 512"/>
              <a:gd name="T67" fmla="*/ 274 h 512"/>
              <a:gd name="T68" fmla="*/ 341 w 512"/>
              <a:gd name="T69" fmla="*/ 156 h 512"/>
              <a:gd name="T70" fmla="*/ 335 w 512"/>
              <a:gd name="T71" fmla="*/ 141 h 512"/>
              <a:gd name="T72" fmla="*/ 288 w 512"/>
              <a:gd name="T73" fmla="*/ 120 h 512"/>
              <a:gd name="T74" fmla="*/ 277 w 512"/>
              <a:gd name="T75" fmla="*/ 106 h 512"/>
              <a:gd name="T76" fmla="*/ 224 w 512"/>
              <a:gd name="T77" fmla="*/ 117 h 512"/>
              <a:gd name="T78" fmla="*/ 187 w 512"/>
              <a:gd name="T79" fmla="*/ 135 h 512"/>
              <a:gd name="T80" fmla="*/ 170 w 512"/>
              <a:gd name="T81" fmla="*/ 150 h 512"/>
              <a:gd name="T82" fmla="*/ 128 w 512"/>
              <a:gd name="T83" fmla="*/ 260 h 512"/>
              <a:gd name="T84" fmla="*/ 105 w 512"/>
              <a:gd name="T85" fmla="*/ 281 h 512"/>
              <a:gd name="T86" fmla="*/ 97 w 512"/>
              <a:gd name="T87" fmla="*/ 325 h 512"/>
              <a:gd name="T88" fmla="*/ 119 w 512"/>
              <a:gd name="T89" fmla="*/ 370 h 512"/>
              <a:gd name="T90" fmla="*/ 256 w 512"/>
              <a:gd name="T91" fmla="*/ 384 h 512"/>
              <a:gd name="T92" fmla="*/ 393 w 512"/>
              <a:gd name="T93" fmla="*/ 370 h 512"/>
              <a:gd name="T94" fmla="*/ 415 w 512"/>
              <a:gd name="T95" fmla="*/ 32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311"/>
                </a:moveTo>
                <a:cubicBezTo>
                  <a:pt x="182" y="311"/>
                  <a:pt x="160" y="298"/>
                  <a:pt x="149" y="294"/>
                </a:cubicBezTo>
                <a:cubicBezTo>
                  <a:pt x="149" y="260"/>
                  <a:pt x="149" y="260"/>
                  <a:pt x="149" y="260"/>
                </a:cubicBezTo>
                <a:cubicBezTo>
                  <a:pt x="149" y="232"/>
                  <a:pt x="160" y="209"/>
                  <a:pt x="170" y="192"/>
                </a:cubicBezTo>
                <a:cubicBezTo>
                  <a:pt x="170" y="250"/>
                  <a:pt x="170" y="250"/>
                  <a:pt x="170" y="250"/>
                </a:cubicBezTo>
                <a:cubicBezTo>
                  <a:pt x="170" y="256"/>
                  <a:pt x="175" y="261"/>
                  <a:pt x="181" y="261"/>
                </a:cubicBezTo>
                <a:cubicBezTo>
                  <a:pt x="187" y="261"/>
                  <a:pt x="192" y="256"/>
                  <a:pt x="192" y="250"/>
                </a:cubicBezTo>
                <a:cubicBezTo>
                  <a:pt x="192" y="157"/>
                  <a:pt x="192" y="157"/>
                  <a:pt x="192" y="157"/>
                </a:cubicBezTo>
                <a:cubicBezTo>
                  <a:pt x="192" y="156"/>
                  <a:pt x="195" y="155"/>
                  <a:pt x="197" y="154"/>
                </a:cubicBezTo>
                <a:cubicBezTo>
                  <a:pt x="207" y="149"/>
                  <a:pt x="213" y="145"/>
                  <a:pt x="224" y="142"/>
                </a:cubicBezTo>
                <a:cubicBezTo>
                  <a:pt x="224" y="186"/>
                  <a:pt x="224" y="186"/>
                  <a:pt x="224" y="186"/>
                </a:cubicBezTo>
                <a:cubicBezTo>
                  <a:pt x="217" y="197"/>
                  <a:pt x="217" y="197"/>
                  <a:pt x="217" y="197"/>
                </a:cubicBezTo>
                <a:cubicBezTo>
                  <a:pt x="214" y="202"/>
                  <a:pt x="215" y="208"/>
                  <a:pt x="220" y="211"/>
                </a:cubicBezTo>
                <a:cubicBezTo>
                  <a:pt x="225" y="214"/>
                  <a:pt x="232" y="213"/>
                  <a:pt x="235" y="208"/>
                </a:cubicBezTo>
                <a:cubicBezTo>
                  <a:pt x="243" y="194"/>
                  <a:pt x="243" y="194"/>
                  <a:pt x="243" y="194"/>
                </a:cubicBezTo>
                <a:cubicBezTo>
                  <a:pt x="244" y="193"/>
                  <a:pt x="245" y="191"/>
                  <a:pt x="245" y="189"/>
                </a:cubicBezTo>
                <a:cubicBezTo>
                  <a:pt x="245" y="129"/>
                  <a:pt x="245" y="129"/>
                  <a:pt x="245" y="129"/>
                </a:cubicBezTo>
                <a:cubicBezTo>
                  <a:pt x="245" y="128"/>
                  <a:pt x="245" y="128"/>
                  <a:pt x="245" y="128"/>
                </a:cubicBezTo>
                <a:cubicBezTo>
                  <a:pt x="266" y="128"/>
                  <a:pt x="266" y="128"/>
                  <a:pt x="266" y="128"/>
                </a:cubicBezTo>
                <a:cubicBezTo>
                  <a:pt x="266" y="129"/>
                  <a:pt x="266" y="129"/>
                  <a:pt x="266" y="129"/>
                </a:cubicBezTo>
                <a:cubicBezTo>
                  <a:pt x="266" y="189"/>
                  <a:pt x="266" y="189"/>
                  <a:pt x="266" y="189"/>
                </a:cubicBezTo>
                <a:cubicBezTo>
                  <a:pt x="266" y="191"/>
                  <a:pt x="267" y="193"/>
                  <a:pt x="268" y="194"/>
                </a:cubicBezTo>
                <a:cubicBezTo>
                  <a:pt x="276" y="208"/>
                  <a:pt x="276" y="208"/>
                  <a:pt x="276" y="208"/>
                </a:cubicBezTo>
                <a:cubicBezTo>
                  <a:pt x="277" y="209"/>
                  <a:pt x="278" y="210"/>
                  <a:pt x="279" y="211"/>
                </a:cubicBezTo>
                <a:cubicBezTo>
                  <a:pt x="279" y="211"/>
                  <a:pt x="279" y="211"/>
                  <a:pt x="279" y="211"/>
                </a:cubicBezTo>
                <a:cubicBezTo>
                  <a:pt x="280" y="212"/>
                  <a:pt x="281" y="212"/>
                  <a:pt x="283" y="213"/>
                </a:cubicBezTo>
                <a:cubicBezTo>
                  <a:pt x="283" y="213"/>
                  <a:pt x="283" y="213"/>
                  <a:pt x="283" y="213"/>
                </a:cubicBezTo>
                <a:cubicBezTo>
                  <a:pt x="284" y="213"/>
                  <a:pt x="284" y="213"/>
                  <a:pt x="285" y="213"/>
                </a:cubicBezTo>
                <a:cubicBezTo>
                  <a:pt x="286" y="213"/>
                  <a:pt x="286" y="213"/>
                  <a:pt x="286" y="213"/>
                </a:cubicBezTo>
                <a:cubicBezTo>
                  <a:pt x="287" y="213"/>
                  <a:pt x="287" y="213"/>
                  <a:pt x="287" y="213"/>
                </a:cubicBezTo>
                <a:cubicBezTo>
                  <a:pt x="288" y="213"/>
                  <a:pt x="290" y="212"/>
                  <a:pt x="291" y="211"/>
                </a:cubicBezTo>
                <a:cubicBezTo>
                  <a:pt x="296" y="208"/>
                  <a:pt x="297" y="202"/>
                  <a:pt x="294" y="197"/>
                </a:cubicBezTo>
                <a:cubicBezTo>
                  <a:pt x="288" y="186"/>
                  <a:pt x="288" y="186"/>
                  <a:pt x="288" y="186"/>
                </a:cubicBezTo>
                <a:cubicBezTo>
                  <a:pt x="288" y="142"/>
                  <a:pt x="288" y="142"/>
                  <a:pt x="288" y="142"/>
                </a:cubicBezTo>
                <a:cubicBezTo>
                  <a:pt x="298" y="145"/>
                  <a:pt x="304" y="149"/>
                  <a:pt x="314" y="154"/>
                </a:cubicBezTo>
                <a:cubicBezTo>
                  <a:pt x="316" y="155"/>
                  <a:pt x="320" y="156"/>
                  <a:pt x="320" y="157"/>
                </a:cubicBezTo>
                <a:cubicBezTo>
                  <a:pt x="320" y="250"/>
                  <a:pt x="320" y="250"/>
                  <a:pt x="320" y="250"/>
                </a:cubicBezTo>
                <a:cubicBezTo>
                  <a:pt x="320" y="256"/>
                  <a:pt x="324" y="261"/>
                  <a:pt x="330" y="261"/>
                </a:cubicBezTo>
                <a:cubicBezTo>
                  <a:pt x="336" y="261"/>
                  <a:pt x="341" y="256"/>
                  <a:pt x="341" y="250"/>
                </a:cubicBezTo>
                <a:cubicBezTo>
                  <a:pt x="341" y="192"/>
                  <a:pt x="341" y="192"/>
                  <a:pt x="341" y="192"/>
                </a:cubicBezTo>
                <a:cubicBezTo>
                  <a:pt x="352" y="209"/>
                  <a:pt x="362" y="232"/>
                  <a:pt x="362" y="260"/>
                </a:cubicBezTo>
                <a:cubicBezTo>
                  <a:pt x="362" y="293"/>
                  <a:pt x="362" y="293"/>
                  <a:pt x="362" y="293"/>
                </a:cubicBezTo>
                <a:cubicBezTo>
                  <a:pt x="352" y="298"/>
                  <a:pt x="329" y="311"/>
                  <a:pt x="256" y="311"/>
                </a:cubicBezTo>
                <a:close/>
                <a:moveTo>
                  <a:pt x="384" y="297"/>
                </a:moveTo>
                <a:cubicBezTo>
                  <a:pt x="384" y="298"/>
                  <a:pt x="384" y="298"/>
                  <a:pt x="384" y="298"/>
                </a:cubicBezTo>
                <a:cubicBezTo>
                  <a:pt x="384" y="302"/>
                  <a:pt x="382" y="305"/>
                  <a:pt x="379" y="307"/>
                </a:cubicBezTo>
                <a:cubicBezTo>
                  <a:pt x="371" y="314"/>
                  <a:pt x="343" y="332"/>
                  <a:pt x="256" y="332"/>
                </a:cubicBezTo>
                <a:cubicBezTo>
                  <a:pt x="155" y="332"/>
                  <a:pt x="133" y="309"/>
                  <a:pt x="130" y="305"/>
                </a:cubicBezTo>
                <a:cubicBezTo>
                  <a:pt x="128" y="303"/>
                  <a:pt x="128" y="301"/>
                  <a:pt x="128" y="298"/>
                </a:cubicBezTo>
                <a:cubicBezTo>
                  <a:pt x="128" y="297"/>
                  <a:pt x="128" y="297"/>
                  <a:pt x="128" y="297"/>
                </a:cubicBezTo>
                <a:cubicBezTo>
                  <a:pt x="118" y="300"/>
                  <a:pt x="118" y="300"/>
                  <a:pt x="118" y="300"/>
                </a:cubicBezTo>
                <a:cubicBezTo>
                  <a:pt x="117" y="306"/>
                  <a:pt x="116" y="314"/>
                  <a:pt x="118" y="319"/>
                </a:cubicBezTo>
                <a:cubicBezTo>
                  <a:pt x="120" y="328"/>
                  <a:pt x="130" y="346"/>
                  <a:pt x="135" y="355"/>
                </a:cubicBezTo>
                <a:cubicBezTo>
                  <a:pt x="141" y="357"/>
                  <a:pt x="167" y="362"/>
                  <a:pt x="256" y="362"/>
                </a:cubicBezTo>
                <a:cubicBezTo>
                  <a:pt x="256" y="362"/>
                  <a:pt x="256" y="362"/>
                  <a:pt x="256" y="362"/>
                </a:cubicBezTo>
                <a:cubicBezTo>
                  <a:pt x="256" y="362"/>
                  <a:pt x="256" y="362"/>
                  <a:pt x="257" y="362"/>
                </a:cubicBezTo>
                <a:cubicBezTo>
                  <a:pt x="345" y="362"/>
                  <a:pt x="371" y="357"/>
                  <a:pt x="377" y="355"/>
                </a:cubicBezTo>
                <a:cubicBezTo>
                  <a:pt x="383" y="346"/>
                  <a:pt x="392" y="328"/>
                  <a:pt x="394" y="319"/>
                </a:cubicBezTo>
                <a:cubicBezTo>
                  <a:pt x="396" y="314"/>
                  <a:pt x="395" y="306"/>
                  <a:pt x="395" y="300"/>
                </a:cubicBezTo>
                <a:lnTo>
                  <a:pt x="384" y="29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89"/>
                </a:moveTo>
                <a:cubicBezTo>
                  <a:pt x="414" y="286"/>
                  <a:pt x="411" y="282"/>
                  <a:pt x="407" y="281"/>
                </a:cubicBezTo>
                <a:cubicBezTo>
                  <a:pt x="384" y="274"/>
                  <a:pt x="384" y="274"/>
                  <a:pt x="384" y="274"/>
                </a:cubicBezTo>
                <a:cubicBezTo>
                  <a:pt x="384" y="260"/>
                  <a:pt x="384" y="260"/>
                  <a:pt x="384" y="260"/>
                </a:cubicBezTo>
                <a:cubicBezTo>
                  <a:pt x="384" y="225"/>
                  <a:pt x="373" y="186"/>
                  <a:pt x="341" y="156"/>
                </a:cubicBezTo>
                <a:cubicBezTo>
                  <a:pt x="341" y="150"/>
                  <a:pt x="341" y="150"/>
                  <a:pt x="341" y="150"/>
                </a:cubicBezTo>
                <a:cubicBezTo>
                  <a:pt x="341" y="146"/>
                  <a:pt x="339" y="143"/>
                  <a:pt x="335" y="141"/>
                </a:cubicBezTo>
                <a:cubicBezTo>
                  <a:pt x="331" y="139"/>
                  <a:pt x="327" y="137"/>
                  <a:pt x="324" y="135"/>
                </a:cubicBezTo>
                <a:cubicBezTo>
                  <a:pt x="312" y="129"/>
                  <a:pt x="301" y="123"/>
                  <a:pt x="288" y="120"/>
                </a:cubicBezTo>
                <a:cubicBezTo>
                  <a:pt x="288" y="117"/>
                  <a:pt x="288" y="117"/>
                  <a:pt x="288" y="117"/>
                </a:cubicBezTo>
                <a:cubicBezTo>
                  <a:pt x="288" y="111"/>
                  <a:pt x="283" y="106"/>
                  <a:pt x="277" y="106"/>
                </a:cubicBezTo>
                <a:cubicBezTo>
                  <a:pt x="234" y="106"/>
                  <a:pt x="234" y="106"/>
                  <a:pt x="234" y="106"/>
                </a:cubicBezTo>
                <a:cubicBezTo>
                  <a:pt x="228" y="106"/>
                  <a:pt x="224" y="111"/>
                  <a:pt x="224" y="117"/>
                </a:cubicBezTo>
                <a:cubicBezTo>
                  <a:pt x="224" y="120"/>
                  <a:pt x="224" y="120"/>
                  <a:pt x="224" y="120"/>
                </a:cubicBezTo>
                <a:cubicBezTo>
                  <a:pt x="210" y="123"/>
                  <a:pt x="200" y="129"/>
                  <a:pt x="187" y="135"/>
                </a:cubicBezTo>
                <a:cubicBezTo>
                  <a:pt x="184" y="137"/>
                  <a:pt x="180" y="139"/>
                  <a:pt x="176" y="141"/>
                </a:cubicBezTo>
                <a:cubicBezTo>
                  <a:pt x="173" y="143"/>
                  <a:pt x="170" y="146"/>
                  <a:pt x="170" y="150"/>
                </a:cubicBezTo>
                <a:cubicBezTo>
                  <a:pt x="170" y="156"/>
                  <a:pt x="170" y="156"/>
                  <a:pt x="170" y="156"/>
                </a:cubicBezTo>
                <a:cubicBezTo>
                  <a:pt x="138" y="186"/>
                  <a:pt x="128" y="225"/>
                  <a:pt x="128" y="260"/>
                </a:cubicBezTo>
                <a:cubicBezTo>
                  <a:pt x="128" y="274"/>
                  <a:pt x="128" y="274"/>
                  <a:pt x="128" y="274"/>
                </a:cubicBezTo>
                <a:cubicBezTo>
                  <a:pt x="105" y="281"/>
                  <a:pt x="105" y="281"/>
                  <a:pt x="105" y="281"/>
                </a:cubicBezTo>
                <a:cubicBezTo>
                  <a:pt x="101" y="283"/>
                  <a:pt x="99" y="286"/>
                  <a:pt x="98" y="289"/>
                </a:cubicBezTo>
                <a:cubicBezTo>
                  <a:pt x="97" y="291"/>
                  <a:pt x="94" y="310"/>
                  <a:pt x="97" y="325"/>
                </a:cubicBezTo>
                <a:cubicBezTo>
                  <a:pt x="101" y="339"/>
                  <a:pt x="116" y="365"/>
                  <a:pt x="118" y="368"/>
                </a:cubicBezTo>
                <a:cubicBezTo>
                  <a:pt x="118" y="369"/>
                  <a:pt x="119" y="370"/>
                  <a:pt x="119" y="370"/>
                </a:cubicBezTo>
                <a:cubicBezTo>
                  <a:pt x="128" y="379"/>
                  <a:pt x="174" y="384"/>
                  <a:pt x="256" y="384"/>
                </a:cubicBezTo>
                <a:cubicBezTo>
                  <a:pt x="256" y="384"/>
                  <a:pt x="256" y="384"/>
                  <a:pt x="256" y="384"/>
                </a:cubicBezTo>
                <a:cubicBezTo>
                  <a:pt x="256" y="384"/>
                  <a:pt x="256" y="384"/>
                  <a:pt x="257" y="384"/>
                </a:cubicBezTo>
                <a:cubicBezTo>
                  <a:pt x="338" y="384"/>
                  <a:pt x="384" y="379"/>
                  <a:pt x="393" y="370"/>
                </a:cubicBezTo>
                <a:cubicBezTo>
                  <a:pt x="393" y="370"/>
                  <a:pt x="394" y="369"/>
                  <a:pt x="394" y="368"/>
                </a:cubicBezTo>
                <a:cubicBezTo>
                  <a:pt x="396" y="365"/>
                  <a:pt x="411" y="339"/>
                  <a:pt x="415" y="325"/>
                </a:cubicBezTo>
                <a:cubicBezTo>
                  <a:pt x="419" y="310"/>
                  <a:pt x="415" y="291"/>
                  <a:pt x="414" y="28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1" name="Group 282">
            <a:extLst>
              <a:ext uri="{FF2B5EF4-FFF2-40B4-BE49-F238E27FC236}">
                <a16:creationId xmlns:a16="http://schemas.microsoft.com/office/drawing/2014/main" id="{47FD77BD-66AF-4485-8CA5-B2D2FDD5EEAD}"/>
              </a:ext>
            </a:extLst>
          </p:cNvPr>
          <p:cNvGrpSpPr>
            <a:grpSpLocks noChangeAspect="1"/>
          </p:cNvGrpSpPr>
          <p:nvPr/>
        </p:nvGrpSpPr>
        <p:grpSpPr bwMode="auto">
          <a:xfrm>
            <a:off x="2656457" y="1700213"/>
            <a:ext cx="367041" cy="367041"/>
            <a:chOff x="7007" y="1580"/>
            <a:chExt cx="340" cy="340"/>
          </a:xfrm>
          <a:solidFill>
            <a:schemeClr val="accent3"/>
          </a:solidFill>
        </p:grpSpPr>
        <p:sp>
          <p:nvSpPr>
            <p:cNvPr id="92" name="Freeform 278">
              <a:extLst>
                <a:ext uri="{FF2B5EF4-FFF2-40B4-BE49-F238E27FC236}">
                  <a16:creationId xmlns:a16="http://schemas.microsoft.com/office/drawing/2014/main" id="{19FF3E60-28A2-4AD8-8654-0F74DF2246AC}"/>
                </a:ext>
              </a:extLst>
            </p:cNvPr>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 name="Freeform 279">
              <a:extLst>
                <a:ext uri="{FF2B5EF4-FFF2-40B4-BE49-F238E27FC236}">
                  <a16:creationId xmlns:a16="http://schemas.microsoft.com/office/drawing/2014/main" id="{1D61C59D-9F28-4C8E-A84C-0E075843A584}"/>
                </a:ext>
              </a:extLst>
            </p:cNvPr>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4" name="Group 911">
            <a:extLst>
              <a:ext uri="{FF2B5EF4-FFF2-40B4-BE49-F238E27FC236}">
                <a16:creationId xmlns:a16="http://schemas.microsoft.com/office/drawing/2014/main" id="{65D95FA9-6F37-4DD0-89A6-8F2F0DBB9BFE}"/>
              </a:ext>
            </a:extLst>
          </p:cNvPr>
          <p:cNvGrpSpPr>
            <a:grpSpLocks noChangeAspect="1"/>
          </p:cNvGrpSpPr>
          <p:nvPr/>
        </p:nvGrpSpPr>
        <p:grpSpPr bwMode="auto">
          <a:xfrm>
            <a:off x="3525775" y="1700213"/>
            <a:ext cx="369021" cy="369021"/>
            <a:chOff x="2629" y="3468"/>
            <a:chExt cx="340" cy="340"/>
          </a:xfrm>
          <a:solidFill>
            <a:schemeClr val="accent4"/>
          </a:solidFill>
        </p:grpSpPr>
        <p:sp>
          <p:nvSpPr>
            <p:cNvPr id="95" name="Freeform 912">
              <a:extLst>
                <a:ext uri="{FF2B5EF4-FFF2-40B4-BE49-F238E27FC236}">
                  <a16:creationId xmlns:a16="http://schemas.microsoft.com/office/drawing/2014/main" id="{38037376-1B89-4F17-BC52-479E090A574F}"/>
                </a:ext>
              </a:extLst>
            </p:cNvPr>
            <p:cNvSpPr>
              <a:spLocks noEditPoints="1"/>
            </p:cNvSpPr>
            <p:nvPr/>
          </p:nvSpPr>
          <p:spPr bwMode="auto">
            <a:xfrm>
              <a:off x="2629" y="346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 name="Freeform 913">
              <a:extLst>
                <a:ext uri="{FF2B5EF4-FFF2-40B4-BE49-F238E27FC236}">
                  <a16:creationId xmlns:a16="http://schemas.microsoft.com/office/drawing/2014/main" id="{AA445FC6-45D6-47AA-895E-F3521E0D67FD}"/>
                </a:ext>
              </a:extLst>
            </p:cNvPr>
            <p:cNvSpPr>
              <a:spLocks noEditPoints="1"/>
            </p:cNvSpPr>
            <p:nvPr/>
          </p:nvSpPr>
          <p:spPr bwMode="auto">
            <a:xfrm>
              <a:off x="2770" y="3532"/>
              <a:ext cx="57" cy="212"/>
            </a:xfrm>
            <a:custGeom>
              <a:avLst/>
              <a:gdLst>
                <a:gd name="T0" fmla="*/ 43 w 85"/>
                <a:gd name="T1" fmla="*/ 0 h 320"/>
                <a:gd name="T2" fmla="*/ 0 w 85"/>
                <a:gd name="T3" fmla="*/ 42 h 320"/>
                <a:gd name="T4" fmla="*/ 0 w 85"/>
                <a:gd name="T5" fmla="*/ 160 h 320"/>
                <a:gd name="T6" fmla="*/ 11 w 85"/>
                <a:gd name="T7" fmla="*/ 170 h 320"/>
                <a:gd name="T8" fmla="*/ 32 w 85"/>
                <a:gd name="T9" fmla="*/ 170 h 320"/>
                <a:gd name="T10" fmla="*/ 32 w 85"/>
                <a:gd name="T11" fmla="*/ 277 h 320"/>
                <a:gd name="T12" fmla="*/ 23 w 85"/>
                <a:gd name="T13" fmla="*/ 282 h 320"/>
                <a:gd name="T14" fmla="*/ 22 w 85"/>
                <a:gd name="T15" fmla="*/ 292 h 320"/>
                <a:gd name="T16" fmla="*/ 33 w 85"/>
                <a:gd name="T17" fmla="*/ 314 h 320"/>
                <a:gd name="T18" fmla="*/ 43 w 85"/>
                <a:gd name="T19" fmla="*/ 320 h 320"/>
                <a:gd name="T20" fmla="*/ 52 w 85"/>
                <a:gd name="T21" fmla="*/ 314 h 320"/>
                <a:gd name="T22" fmla="*/ 63 w 85"/>
                <a:gd name="T23" fmla="*/ 292 h 320"/>
                <a:gd name="T24" fmla="*/ 62 w 85"/>
                <a:gd name="T25" fmla="*/ 282 h 320"/>
                <a:gd name="T26" fmla="*/ 53 w 85"/>
                <a:gd name="T27" fmla="*/ 277 h 320"/>
                <a:gd name="T28" fmla="*/ 53 w 85"/>
                <a:gd name="T29" fmla="*/ 170 h 320"/>
                <a:gd name="T30" fmla="*/ 75 w 85"/>
                <a:gd name="T31" fmla="*/ 170 h 320"/>
                <a:gd name="T32" fmla="*/ 85 w 85"/>
                <a:gd name="T33" fmla="*/ 160 h 320"/>
                <a:gd name="T34" fmla="*/ 85 w 85"/>
                <a:gd name="T35" fmla="*/ 42 h 320"/>
                <a:gd name="T36" fmla="*/ 43 w 85"/>
                <a:gd name="T37" fmla="*/ 0 h 320"/>
                <a:gd name="T38" fmla="*/ 64 w 85"/>
                <a:gd name="T39" fmla="*/ 149 h 320"/>
                <a:gd name="T40" fmla="*/ 21 w 85"/>
                <a:gd name="T41" fmla="*/ 149 h 320"/>
                <a:gd name="T42" fmla="*/ 21 w 85"/>
                <a:gd name="T43" fmla="*/ 42 h 320"/>
                <a:gd name="T44" fmla="*/ 43 w 85"/>
                <a:gd name="T45" fmla="*/ 21 h 320"/>
                <a:gd name="T46" fmla="*/ 64 w 85"/>
                <a:gd name="T47" fmla="*/ 42 h 320"/>
                <a:gd name="T48" fmla="*/ 64 w 85"/>
                <a:gd name="T4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320">
                  <a:moveTo>
                    <a:pt x="43" y="0"/>
                  </a:moveTo>
                  <a:cubicBezTo>
                    <a:pt x="19" y="0"/>
                    <a:pt x="0" y="19"/>
                    <a:pt x="0" y="42"/>
                  </a:cubicBezTo>
                  <a:cubicBezTo>
                    <a:pt x="0" y="160"/>
                    <a:pt x="0" y="160"/>
                    <a:pt x="0" y="160"/>
                  </a:cubicBezTo>
                  <a:cubicBezTo>
                    <a:pt x="0" y="166"/>
                    <a:pt x="5" y="170"/>
                    <a:pt x="11" y="170"/>
                  </a:cubicBezTo>
                  <a:cubicBezTo>
                    <a:pt x="32" y="170"/>
                    <a:pt x="32" y="170"/>
                    <a:pt x="32" y="170"/>
                  </a:cubicBezTo>
                  <a:cubicBezTo>
                    <a:pt x="32" y="277"/>
                    <a:pt x="32" y="277"/>
                    <a:pt x="32" y="277"/>
                  </a:cubicBezTo>
                  <a:cubicBezTo>
                    <a:pt x="28" y="277"/>
                    <a:pt x="25" y="279"/>
                    <a:pt x="23" y="282"/>
                  </a:cubicBezTo>
                  <a:cubicBezTo>
                    <a:pt x="21" y="285"/>
                    <a:pt x="21" y="289"/>
                    <a:pt x="22" y="292"/>
                  </a:cubicBezTo>
                  <a:cubicBezTo>
                    <a:pt x="33" y="314"/>
                    <a:pt x="33" y="314"/>
                    <a:pt x="33" y="314"/>
                  </a:cubicBezTo>
                  <a:cubicBezTo>
                    <a:pt x="35" y="317"/>
                    <a:pt x="39" y="320"/>
                    <a:pt x="43" y="320"/>
                  </a:cubicBezTo>
                  <a:cubicBezTo>
                    <a:pt x="47" y="320"/>
                    <a:pt x="50" y="317"/>
                    <a:pt x="52" y="314"/>
                  </a:cubicBezTo>
                  <a:cubicBezTo>
                    <a:pt x="63" y="292"/>
                    <a:pt x="63" y="292"/>
                    <a:pt x="63" y="292"/>
                  </a:cubicBezTo>
                  <a:cubicBezTo>
                    <a:pt x="65" y="289"/>
                    <a:pt x="64" y="285"/>
                    <a:pt x="62" y="282"/>
                  </a:cubicBezTo>
                  <a:cubicBezTo>
                    <a:pt x="60" y="279"/>
                    <a:pt x="57" y="277"/>
                    <a:pt x="53" y="277"/>
                  </a:cubicBezTo>
                  <a:cubicBezTo>
                    <a:pt x="53" y="170"/>
                    <a:pt x="53" y="170"/>
                    <a:pt x="53" y="170"/>
                  </a:cubicBezTo>
                  <a:cubicBezTo>
                    <a:pt x="75" y="170"/>
                    <a:pt x="75" y="170"/>
                    <a:pt x="75" y="170"/>
                  </a:cubicBezTo>
                  <a:cubicBezTo>
                    <a:pt x="81" y="170"/>
                    <a:pt x="85" y="166"/>
                    <a:pt x="85" y="160"/>
                  </a:cubicBezTo>
                  <a:cubicBezTo>
                    <a:pt x="85" y="42"/>
                    <a:pt x="85" y="42"/>
                    <a:pt x="85" y="42"/>
                  </a:cubicBezTo>
                  <a:cubicBezTo>
                    <a:pt x="85" y="19"/>
                    <a:pt x="66" y="0"/>
                    <a:pt x="43" y="0"/>
                  </a:cubicBezTo>
                  <a:close/>
                  <a:moveTo>
                    <a:pt x="64" y="149"/>
                  </a:moveTo>
                  <a:cubicBezTo>
                    <a:pt x="21" y="149"/>
                    <a:pt x="21" y="149"/>
                    <a:pt x="21" y="149"/>
                  </a:cubicBezTo>
                  <a:cubicBezTo>
                    <a:pt x="21" y="42"/>
                    <a:pt x="21" y="42"/>
                    <a:pt x="21" y="42"/>
                  </a:cubicBezTo>
                  <a:cubicBezTo>
                    <a:pt x="21" y="31"/>
                    <a:pt x="31" y="21"/>
                    <a:pt x="43" y="21"/>
                  </a:cubicBezTo>
                  <a:cubicBezTo>
                    <a:pt x="54" y="21"/>
                    <a:pt x="64" y="31"/>
                    <a:pt x="64" y="42"/>
                  </a:cubicBezTo>
                  <a:lnTo>
                    <a:pt x="64"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7" name="Freeform 917">
            <a:extLst>
              <a:ext uri="{FF2B5EF4-FFF2-40B4-BE49-F238E27FC236}">
                <a16:creationId xmlns:a16="http://schemas.microsoft.com/office/drawing/2014/main" id="{6C0B6DA1-A65E-4C4D-A337-F089D464F919}"/>
              </a:ext>
            </a:extLst>
          </p:cNvPr>
          <p:cNvSpPr>
            <a:spLocks noChangeAspect="1" noEditPoints="1"/>
          </p:cNvSpPr>
          <p:nvPr/>
        </p:nvSpPr>
        <p:spPr bwMode="auto">
          <a:xfrm>
            <a:off x="3090126" y="1700213"/>
            <a:ext cx="369021" cy="370106"/>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8" name="Freeform 75">
            <a:extLst>
              <a:ext uri="{FF2B5EF4-FFF2-40B4-BE49-F238E27FC236}">
                <a16:creationId xmlns:a16="http://schemas.microsoft.com/office/drawing/2014/main" id="{68C67D2A-0A9C-4685-9C07-5BB395797B42}"/>
              </a:ext>
            </a:extLst>
          </p:cNvPr>
          <p:cNvSpPr>
            <a:spLocks noChangeAspect="1" noEditPoints="1"/>
          </p:cNvSpPr>
          <p:nvPr/>
        </p:nvSpPr>
        <p:spPr bwMode="auto">
          <a:xfrm>
            <a:off x="3961424" y="1700213"/>
            <a:ext cx="367631" cy="367631"/>
          </a:xfrm>
          <a:custGeom>
            <a:avLst/>
            <a:gdLst>
              <a:gd name="T0" fmla="*/ 267 w 512"/>
              <a:gd name="T1" fmla="*/ 200 h 512"/>
              <a:gd name="T2" fmla="*/ 290 w 512"/>
              <a:gd name="T3" fmla="*/ 256 h 512"/>
              <a:gd name="T4" fmla="*/ 266 w 512"/>
              <a:gd name="T5" fmla="*/ 256 h 512"/>
              <a:gd name="T6" fmla="*/ 266 w 512"/>
              <a:gd name="T7" fmla="*/ 245 h 512"/>
              <a:gd name="T8" fmla="*/ 256 w 512"/>
              <a:gd name="T9" fmla="*/ 234 h 512"/>
              <a:gd name="T10" fmla="*/ 245 w 512"/>
              <a:gd name="T11" fmla="*/ 245 h 512"/>
              <a:gd name="T12" fmla="*/ 245 w 512"/>
              <a:gd name="T13" fmla="*/ 256 h 512"/>
              <a:gd name="T14" fmla="*/ 222 w 512"/>
              <a:gd name="T15" fmla="*/ 256 h 512"/>
              <a:gd name="T16" fmla="*/ 244 w 512"/>
              <a:gd name="T17" fmla="*/ 200 h 512"/>
              <a:gd name="T18" fmla="*/ 238 w 512"/>
              <a:gd name="T19" fmla="*/ 187 h 512"/>
              <a:gd name="T20" fmla="*/ 224 w 512"/>
              <a:gd name="T21" fmla="*/ 192 h 512"/>
              <a:gd name="T22" fmla="*/ 224 w 512"/>
              <a:gd name="T23" fmla="*/ 194 h 512"/>
              <a:gd name="T24" fmla="*/ 220 w 512"/>
              <a:gd name="T25" fmla="*/ 178 h 512"/>
              <a:gd name="T26" fmla="*/ 256 w 512"/>
              <a:gd name="T27" fmla="*/ 143 h 512"/>
              <a:gd name="T28" fmla="*/ 291 w 512"/>
              <a:gd name="T29" fmla="*/ 178 h 512"/>
              <a:gd name="T30" fmla="*/ 287 w 512"/>
              <a:gd name="T31" fmla="*/ 194 h 512"/>
              <a:gd name="T32" fmla="*/ 287 w 512"/>
              <a:gd name="T33" fmla="*/ 192 h 512"/>
              <a:gd name="T34" fmla="*/ 273 w 512"/>
              <a:gd name="T35" fmla="*/ 187 h 512"/>
              <a:gd name="T36" fmla="*/ 267 w 512"/>
              <a:gd name="T37" fmla="*/ 20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2 w 512"/>
              <a:gd name="T49" fmla="*/ 401 h 512"/>
              <a:gd name="T50" fmla="*/ 321 w 512"/>
              <a:gd name="T51" fmla="*/ 277 h 512"/>
              <a:gd name="T52" fmla="*/ 341 w 512"/>
              <a:gd name="T53" fmla="*/ 277 h 512"/>
              <a:gd name="T54" fmla="*/ 352 w 512"/>
              <a:gd name="T55" fmla="*/ 266 h 512"/>
              <a:gd name="T56" fmla="*/ 341 w 512"/>
              <a:gd name="T57" fmla="*/ 256 h 512"/>
              <a:gd name="T58" fmla="*/ 313 w 512"/>
              <a:gd name="T59" fmla="*/ 256 h 512"/>
              <a:gd name="T60" fmla="*/ 297 w 512"/>
              <a:gd name="T61" fmla="*/ 217 h 512"/>
              <a:gd name="T62" fmla="*/ 312 w 512"/>
              <a:gd name="T63" fmla="*/ 178 h 512"/>
              <a:gd name="T64" fmla="*/ 266 w 512"/>
              <a:gd name="T65" fmla="*/ 123 h 512"/>
              <a:gd name="T66" fmla="*/ 266 w 512"/>
              <a:gd name="T67" fmla="*/ 106 h 512"/>
              <a:gd name="T68" fmla="*/ 256 w 512"/>
              <a:gd name="T69" fmla="*/ 96 h 512"/>
              <a:gd name="T70" fmla="*/ 245 w 512"/>
              <a:gd name="T71" fmla="*/ 106 h 512"/>
              <a:gd name="T72" fmla="*/ 245 w 512"/>
              <a:gd name="T73" fmla="*/ 123 h 512"/>
              <a:gd name="T74" fmla="*/ 199 w 512"/>
              <a:gd name="T75" fmla="*/ 178 h 512"/>
              <a:gd name="T76" fmla="*/ 214 w 512"/>
              <a:gd name="T77" fmla="*/ 217 h 512"/>
              <a:gd name="T78" fmla="*/ 199 w 512"/>
              <a:gd name="T79" fmla="*/ 256 h 512"/>
              <a:gd name="T80" fmla="*/ 170 w 512"/>
              <a:gd name="T81" fmla="*/ 256 h 512"/>
              <a:gd name="T82" fmla="*/ 160 w 512"/>
              <a:gd name="T83" fmla="*/ 266 h 512"/>
              <a:gd name="T84" fmla="*/ 170 w 512"/>
              <a:gd name="T85" fmla="*/ 277 h 512"/>
              <a:gd name="T86" fmla="*/ 190 w 512"/>
              <a:gd name="T87" fmla="*/ 277 h 512"/>
              <a:gd name="T88" fmla="*/ 139 w 512"/>
              <a:gd name="T89" fmla="*/ 401 h 512"/>
              <a:gd name="T90" fmla="*/ 145 w 512"/>
              <a:gd name="T91" fmla="*/ 415 h 512"/>
              <a:gd name="T92" fmla="*/ 149 w 512"/>
              <a:gd name="T93" fmla="*/ 416 h 512"/>
              <a:gd name="T94" fmla="*/ 159 w 512"/>
              <a:gd name="T95" fmla="*/ 409 h 512"/>
              <a:gd name="T96" fmla="*/ 213 w 512"/>
              <a:gd name="T97" fmla="*/ 277 h 512"/>
              <a:gd name="T98" fmla="*/ 245 w 512"/>
              <a:gd name="T99" fmla="*/ 277 h 512"/>
              <a:gd name="T100" fmla="*/ 245 w 512"/>
              <a:gd name="T101" fmla="*/ 288 h 512"/>
              <a:gd name="T102" fmla="*/ 256 w 512"/>
              <a:gd name="T103" fmla="*/ 298 h 512"/>
              <a:gd name="T104" fmla="*/ 266 w 512"/>
              <a:gd name="T105" fmla="*/ 288 h 512"/>
              <a:gd name="T106" fmla="*/ 266 w 512"/>
              <a:gd name="T107" fmla="*/ 277 h 512"/>
              <a:gd name="T108" fmla="*/ 298 w 512"/>
              <a:gd name="T109" fmla="*/ 277 h 512"/>
              <a:gd name="T110" fmla="*/ 352 w 512"/>
              <a:gd name="T111" fmla="*/ 409 h 512"/>
              <a:gd name="T112" fmla="*/ 362 w 512"/>
              <a:gd name="T113" fmla="*/ 416 h 512"/>
              <a:gd name="T114" fmla="*/ 366 w 512"/>
              <a:gd name="T115" fmla="*/ 415 h 512"/>
              <a:gd name="T116" fmla="*/ 372 w 512"/>
              <a:gd name="T117" fmla="*/ 40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67" y="200"/>
                </a:moveTo>
                <a:cubicBezTo>
                  <a:pt x="290" y="256"/>
                  <a:pt x="290" y="256"/>
                  <a:pt x="290" y="256"/>
                </a:cubicBezTo>
                <a:cubicBezTo>
                  <a:pt x="266" y="256"/>
                  <a:pt x="266" y="256"/>
                  <a:pt x="266" y="256"/>
                </a:cubicBezTo>
                <a:cubicBezTo>
                  <a:pt x="266" y="245"/>
                  <a:pt x="266" y="245"/>
                  <a:pt x="266" y="245"/>
                </a:cubicBezTo>
                <a:cubicBezTo>
                  <a:pt x="266" y="239"/>
                  <a:pt x="262" y="234"/>
                  <a:pt x="256" y="234"/>
                </a:cubicBezTo>
                <a:cubicBezTo>
                  <a:pt x="250" y="234"/>
                  <a:pt x="245" y="239"/>
                  <a:pt x="245" y="245"/>
                </a:cubicBezTo>
                <a:cubicBezTo>
                  <a:pt x="245" y="256"/>
                  <a:pt x="245" y="256"/>
                  <a:pt x="245" y="256"/>
                </a:cubicBezTo>
                <a:cubicBezTo>
                  <a:pt x="222" y="256"/>
                  <a:pt x="222" y="256"/>
                  <a:pt x="222" y="256"/>
                </a:cubicBezTo>
                <a:cubicBezTo>
                  <a:pt x="244" y="200"/>
                  <a:pt x="244" y="200"/>
                  <a:pt x="244" y="200"/>
                </a:cubicBezTo>
                <a:cubicBezTo>
                  <a:pt x="246" y="195"/>
                  <a:pt x="244" y="189"/>
                  <a:pt x="238" y="187"/>
                </a:cubicBezTo>
                <a:cubicBezTo>
                  <a:pt x="233" y="184"/>
                  <a:pt x="227" y="187"/>
                  <a:pt x="224" y="192"/>
                </a:cubicBezTo>
                <a:cubicBezTo>
                  <a:pt x="224" y="194"/>
                  <a:pt x="224" y="194"/>
                  <a:pt x="224" y="194"/>
                </a:cubicBezTo>
                <a:cubicBezTo>
                  <a:pt x="222" y="189"/>
                  <a:pt x="220" y="184"/>
                  <a:pt x="220" y="178"/>
                </a:cubicBezTo>
                <a:cubicBezTo>
                  <a:pt x="220" y="159"/>
                  <a:pt x="236" y="143"/>
                  <a:pt x="256" y="143"/>
                </a:cubicBezTo>
                <a:cubicBezTo>
                  <a:pt x="275" y="143"/>
                  <a:pt x="291" y="159"/>
                  <a:pt x="291" y="178"/>
                </a:cubicBezTo>
                <a:cubicBezTo>
                  <a:pt x="291" y="184"/>
                  <a:pt x="290" y="189"/>
                  <a:pt x="287" y="194"/>
                </a:cubicBezTo>
                <a:cubicBezTo>
                  <a:pt x="287" y="192"/>
                  <a:pt x="287" y="192"/>
                  <a:pt x="287" y="192"/>
                </a:cubicBezTo>
                <a:cubicBezTo>
                  <a:pt x="285" y="187"/>
                  <a:pt x="278" y="184"/>
                  <a:pt x="273" y="187"/>
                </a:cubicBezTo>
                <a:cubicBezTo>
                  <a:pt x="268" y="189"/>
                  <a:pt x="265" y="195"/>
                  <a:pt x="267" y="20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401"/>
                </a:moveTo>
                <a:cubicBezTo>
                  <a:pt x="321" y="277"/>
                  <a:pt x="321" y="277"/>
                  <a:pt x="321" y="277"/>
                </a:cubicBezTo>
                <a:cubicBezTo>
                  <a:pt x="341" y="277"/>
                  <a:pt x="341" y="277"/>
                  <a:pt x="341" y="277"/>
                </a:cubicBezTo>
                <a:cubicBezTo>
                  <a:pt x="347" y="277"/>
                  <a:pt x="352" y="272"/>
                  <a:pt x="352" y="266"/>
                </a:cubicBezTo>
                <a:cubicBezTo>
                  <a:pt x="352" y="260"/>
                  <a:pt x="347" y="256"/>
                  <a:pt x="341" y="256"/>
                </a:cubicBezTo>
                <a:cubicBezTo>
                  <a:pt x="313" y="256"/>
                  <a:pt x="313" y="256"/>
                  <a:pt x="313" y="256"/>
                </a:cubicBezTo>
                <a:cubicBezTo>
                  <a:pt x="297" y="217"/>
                  <a:pt x="297" y="217"/>
                  <a:pt x="297" y="217"/>
                </a:cubicBezTo>
                <a:cubicBezTo>
                  <a:pt x="307" y="207"/>
                  <a:pt x="312" y="193"/>
                  <a:pt x="312" y="178"/>
                </a:cubicBezTo>
                <a:cubicBezTo>
                  <a:pt x="312" y="151"/>
                  <a:pt x="293" y="128"/>
                  <a:pt x="266" y="123"/>
                </a:cubicBezTo>
                <a:cubicBezTo>
                  <a:pt x="266" y="106"/>
                  <a:pt x="266" y="106"/>
                  <a:pt x="266" y="106"/>
                </a:cubicBezTo>
                <a:cubicBezTo>
                  <a:pt x="266" y="100"/>
                  <a:pt x="262" y="96"/>
                  <a:pt x="256" y="96"/>
                </a:cubicBezTo>
                <a:cubicBezTo>
                  <a:pt x="250" y="96"/>
                  <a:pt x="245" y="100"/>
                  <a:pt x="245" y="106"/>
                </a:cubicBezTo>
                <a:cubicBezTo>
                  <a:pt x="245" y="123"/>
                  <a:pt x="245" y="123"/>
                  <a:pt x="245" y="123"/>
                </a:cubicBezTo>
                <a:cubicBezTo>
                  <a:pt x="219" y="128"/>
                  <a:pt x="199" y="151"/>
                  <a:pt x="199" y="178"/>
                </a:cubicBezTo>
                <a:cubicBezTo>
                  <a:pt x="199" y="193"/>
                  <a:pt x="204" y="207"/>
                  <a:pt x="214" y="217"/>
                </a:cubicBezTo>
                <a:cubicBezTo>
                  <a:pt x="199" y="256"/>
                  <a:pt x="199" y="256"/>
                  <a:pt x="199" y="256"/>
                </a:cubicBezTo>
                <a:cubicBezTo>
                  <a:pt x="170" y="256"/>
                  <a:pt x="170" y="256"/>
                  <a:pt x="170" y="256"/>
                </a:cubicBezTo>
                <a:cubicBezTo>
                  <a:pt x="164" y="256"/>
                  <a:pt x="160" y="260"/>
                  <a:pt x="160" y="266"/>
                </a:cubicBezTo>
                <a:cubicBezTo>
                  <a:pt x="160" y="272"/>
                  <a:pt x="164" y="277"/>
                  <a:pt x="170" y="277"/>
                </a:cubicBezTo>
                <a:cubicBezTo>
                  <a:pt x="190" y="277"/>
                  <a:pt x="190" y="277"/>
                  <a:pt x="190" y="277"/>
                </a:cubicBezTo>
                <a:cubicBezTo>
                  <a:pt x="139" y="401"/>
                  <a:pt x="139" y="401"/>
                  <a:pt x="139" y="401"/>
                </a:cubicBezTo>
                <a:cubicBezTo>
                  <a:pt x="137" y="406"/>
                  <a:pt x="140" y="413"/>
                  <a:pt x="145" y="415"/>
                </a:cubicBezTo>
                <a:cubicBezTo>
                  <a:pt x="146" y="415"/>
                  <a:pt x="148" y="416"/>
                  <a:pt x="149" y="416"/>
                </a:cubicBezTo>
                <a:cubicBezTo>
                  <a:pt x="153" y="416"/>
                  <a:pt x="157" y="413"/>
                  <a:pt x="159" y="409"/>
                </a:cubicBezTo>
                <a:cubicBezTo>
                  <a:pt x="213" y="277"/>
                  <a:pt x="213" y="277"/>
                  <a:pt x="213" y="277"/>
                </a:cubicBezTo>
                <a:cubicBezTo>
                  <a:pt x="245" y="277"/>
                  <a:pt x="245" y="277"/>
                  <a:pt x="245" y="277"/>
                </a:cubicBezTo>
                <a:cubicBezTo>
                  <a:pt x="245" y="288"/>
                  <a:pt x="245" y="288"/>
                  <a:pt x="245" y="288"/>
                </a:cubicBezTo>
                <a:cubicBezTo>
                  <a:pt x="245" y="294"/>
                  <a:pt x="250" y="298"/>
                  <a:pt x="256" y="298"/>
                </a:cubicBezTo>
                <a:cubicBezTo>
                  <a:pt x="262" y="298"/>
                  <a:pt x="266" y="294"/>
                  <a:pt x="266" y="288"/>
                </a:cubicBezTo>
                <a:cubicBezTo>
                  <a:pt x="266" y="277"/>
                  <a:pt x="266" y="277"/>
                  <a:pt x="266" y="277"/>
                </a:cubicBezTo>
                <a:cubicBezTo>
                  <a:pt x="298" y="277"/>
                  <a:pt x="298" y="277"/>
                  <a:pt x="298" y="277"/>
                </a:cubicBezTo>
                <a:cubicBezTo>
                  <a:pt x="352" y="409"/>
                  <a:pt x="352" y="409"/>
                  <a:pt x="352" y="409"/>
                </a:cubicBezTo>
                <a:cubicBezTo>
                  <a:pt x="354" y="413"/>
                  <a:pt x="358" y="416"/>
                  <a:pt x="362" y="416"/>
                </a:cubicBezTo>
                <a:cubicBezTo>
                  <a:pt x="364" y="416"/>
                  <a:pt x="365" y="415"/>
                  <a:pt x="366" y="415"/>
                </a:cubicBezTo>
                <a:cubicBezTo>
                  <a:pt x="372" y="413"/>
                  <a:pt x="374" y="406"/>
                  <a:pt x="372" y="40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9" name="Freeform 79">
            <a:extLst>
              <a:ext uri="{FF2B5EF4-FFF2-40B4-BE49-F238E27FC236}">
                <a16:creationId xmlns:a16="http://schemas.microsoft.com/office/drawing/2014/main" id="{40401215-AFA9-44A3-A71A-5173F27AF6FB}"/>
              </a:ext>
            </a:extLst>
          </p:cNvPr>
          <p:cNvSpPr>
            <a:spLocks noChangeAspect="1" noEditPoints="1"/>
          </p:cNvSpPr>
          <p:nvPr/>
        </p:nvSpPr>
        <p:spPr bwMode="auto">
          <a:xfrm>
            <a:off x="4395683" y="1700213"/>
            <a:ext cx="367631" cy="367631"/>
          </a:xfrm>
          <a:custGeom>
            <a:avLst/>
            <a:gdLst>
              <a:gd name="T0" fmla="*/ 341 w 512"/>
              <a:gd name="T1" fmla="*/ 277 h 512"/>
              <a:gd name="T2" fmla="*/ 341 w 512"/>
              <a:gd name="T3" fmla="*/ 256 h 512"/>
              <a:gd name="T4" fmla="*/ 297 w 512"/>
              <a:gd name="T5" fmla="*/ 217 h 512"/>
              <a:gd name="T6" fmla="*/ 266 w 512"/>
              <a:gd name="T7" fmla="*/ 123 h 512"/>
              <a:gd name="T8" fmla="*/ 256 w 512"/>
              <a:gd name="T9" fmla="*/ 96 h 512"/>
              <a:gd name="T10" fmla="*/ 245 w 512"/>
              <a:gd name="T11" fmla="*/ 123 h 512"/>
              <a:gd name="T12" fmla="*/ 214 w 512"/>
              <a:gd name="T13" fmla="*/ 217 h 512"/>
              <a:gd name="T14" fmla="*/ 170 w 512"/>
              <a:gd name="T15" fmla="*/ 256 h 512"/>
              <a:gd name="T16" fmla="*/ 170 w 512"/>
              <a:gd name="T17" fmla="*/ 277 h 512"/>
              <a:gd name="T18" fmla="*/ 139 w 512"/>
              <a:gd name="T19" fmla="*/ 401 h 512"/>
              <a:gd name="T20" fmla="*/ 149 w 512"/>
              <a:gd name="T21" fmla="*/ 416 h 512"/>
              <a:gd name="T22" fmla="*/ 213 w 512"/>
              <a:gd name="T23" fmla="*/ 277 h 512"/>
              <a:gd name="T24" fmla="*/ 245 w 512"/>
              <a:gd name="T25" fmla="*/ 288 h 512"/>
              <a:gd name="T26" fmla="*/ 266 w 512"/>
              <a:gd name="T27" fmla="*/ 288 h 512"/>
              <a:gd name="T28" fmla="*/ 298 w 512"/>
              <a:gd name="T29" fmla="*/ 277 h 512"/>
              <a:gd name="T30" fmla="*/ 362 w 512"/>
              <a:gd name="T31" fmla="*/ 416 h 512"/>
              <a:gd name="T32" fmla="*/ 372 w 512"/>
              <a:gd name="T33" fmla="*/ 401 h 512"/>
              <a:gd name="T34" fmla="*/ 266 w 512"/>
              <a:gd name="T35" fmla="*/ 256 h 512"/>
              <a:gd name="T36" fmla="*/ 256 w 512"/>
              <a:gd name="T37" fmla="*/ 234 h 512"/>
              <a:gd name="T38" fmla="*/ 245 w 512"/>
              <a:gd name="T39" fmla="*/ 256 h 512"/>
              <a:gd name="T40" fmla="*/ 244 w 512"/>
              <a:gd name="T41" fmla="*/ 200 h 512"/>
              <a:gd name="T42" fmla="*/ 224 w 512"/>
              <a:gd name="T43" fmla="*/ 192 h 512"/>
              <a:gd name="T44" fmla="*/ 220 w 512"/>
              <a:gd name="T45" fmla="*/ 178 h 512"/>
              <a:gd name="T46" fmla="*/ 291 w 512"/>
              <a:gd name="T47" fmla="*/ 178 h 512"/>
              <a:gd name="T48" fmla="*/ 287 w 512"/>
              <a:gd name="T49" fmla="*/ 192 h 512"/>
              <a:gd name="T50" fmla="*/ 267 w 512"/>
              <a:gd name="T51" fmla="*/ 200 h 512"/>
              <a:gd name="T52" fmla="*/ 266 w 512"/>
              <a:gd name="T53" fmla="*/ 256 h 512"/>
              <a:gd name="T54" fmla="*/ 0 w 512"/>
              <a:gd name="T55" fmla="*/ 256 h 512"/>
              <a:gd name="T56" fmla="*/ 512 w 512"/>
              <a:gd name="T57" fmla="*/ 256 h 512"/>
              <a:gd name="T58" fmla="*/ 256 w 512"/>
              <a:gd name="T59" fmla="*/ 490 h 512"/>
              <a:gd name="T60" fmla="*/ 256 w 512"/>
              <a:gd name="T61" fmla="*/ 21 h 512"/>
              <a:gd name="T62" fmla="*/ 256 w 512"/>
              <a:gd name="T63"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1" y="277"/>
                </a:moveTo>
                <a:cubicBezTo>
                  <a:pt x="341" y="277"/>
                  <a:pt x="341" y="277"/>
                  <a:pt x="341" y="277"/>
                </a:cubicBezTo>
                <a:cubicBezTo>
                  <a:pt x="347" y="277"/>
                  <a:pt x="352" y="272"/>
                  <a:pt x="352" y="266"/>
                </a:cubicBezTo>
                <a:cubicBezTo>
                  <a:pt x="352" y="260"/>
                  <a:pt x="347" y="256"/>
                  <a:pt x="341" y="256"/>
                </a:cubicBezTo>
                <a:cubicBezTo>
                  <a:pt x="313" y="256"/>
                  <a:pt x="313" y="256"/>
                  <a:pt x="313" y="256"/>
                </a:cubicBezTo>
                <a:cubicBezTo>
                  <a:pt x="297" y="217"/>
                  <a:pt x="297" y="217"/>
                  <a:pt x="297" y="217"/>
                </a:cubicBezTo>
                <a:cubicBezTo>
                  <a:pt x="307" y="207"/>
                  <a:pt x="312" y="193"/>
                  <a:pt x="312" y="178"/>
                </a:cubicBezTo>
                <a:cubicBezTo>
                  <a:pt x="312" y="151"/>
                  <a:pt x="293" y="128"/>
                  <a:pt x="266" y="123"/>
                </a:cubicBezTo>
                <a:cubicBezTo>
                  <a:pt x="266" y="106"/>
                  <a:pt x="266" y="106"/>
                  <a:pt x="266" y="106"/>
                </a:cubicBezTo>
                <a:cubicBezTo>
                  <a:pt x="266" y="100"/>
                  <a:pt x="262" y="96"/>
                  <a:pt x="256" y="96"/>
                </a:cubicBezTo>
                <a:cubicBezTo>
                  <a:pt x="250" y="96"/>
                  <a:pt x="245" y="100"/>
                  <a:pt x="245" y="106"/>
                </a:cubicBezTo>
                <a:cubicBezTo>
                  <a:pt x="245" y="123"/>
                  <a:pt x="245" y="123"/>
                  <a:pt x="245" y="123"/>
                </a:cubicBezTo>
                <a:cubicBezTo>
                  <a:pt x="219" y="128"/>
                  <a:pt x="199" y="151"/>
                  <a:pt x="199" y="178"/>
                </a:cubicBezTo>
                <a:cubicBezTo>
                  <a:pt x="199" y="193"/>
                  <a:pt x="204" y="207"/>
                  <a:pt x="214" y="217"/>
                </a:cubicBezTo>
                <a:cubicBezTo>
                  <a:pt x="199" y="256"/>
                  <a:pt x="199" y="256"/>
                  <a:pt x="199" y="256"/>
                </a:cubicBezTo>
                <a:cubicBezTo>
                  <a:pt x="170" y="256"/>
                  <a:pt x="170" y="256"/>
                  <a:pt x="170" y="256"/>
                </a:cubicBezTo>
                <a:cubicBezTo>
                  <a:pt x="164" y="256"/>
                  <a:pt x="160" y="260"/>
                  <a:pt x="160" y="266"/>
                </a:cubicBezTo>
                <a:cubicBezTo>
                  <a:pt x="160" y="272"/>
                  <a:pt x="164" y="277"/>
                  <a:pt x="170" y="277"/>
                </a:cubicBezTo>
                <a:cubicBezTo>
                  <a:pt x="190" y="277"/>
                  <a:pt x="190" y="277"/>
                  <a:pt x="190" y="277"/>
                </a:cubicBezTo>
                <a:cubicBezTo>
                  <a:pt x="139" y="401"/>
                  <a:pt x="139" y="401"/>
                  <a:pt x="139" y="401"/>
                </a:cubicBezTo>
                <a:cubicBezTo>
                  <a:pt x="137" y="406"/>
                  <a:pt x="140" y="413"/>
                  <a:pt x="145" y="415"/>
                </a:cubicBezTo>
                <a:cubicBezTo>
                  <a:pt x="146" y="415"/>
                  <a:pt x="148" y="416"/>
                  <a:pt x="149" y="416"/>
                </a:cubicBezTo>
                <a:cubicBezTo>
                  <a:pt x="153" y="416"/>
                  <a:pt x="157" y="413"/>
                  <a:pt x="159" y="409"/>
                </a:cubicBezTo>
                <a:cubicBezTo>
                  <a:pt x="213" y="277"/>
                  <a:pt x="213" y="277"/>
                  <a:pt x="213" y="277"/>
                </a:cubicBezTo>
                <a:cubicBezTo>
                  <a:pt x="245" y="277"/>
                  <a:pt x="245" y="277"/>
                  <a:pt x="245" y="277"/>
                </a:cubicBezTo>
                <a:cubicBezTo>
                  <a:pt x="245" y="288"/>
                  <a:pt x="245" y="288"/>
                  <a:pt x="245" y="288"/>
                </a:cubicBezTo>
                <a:cubicBezTo>
                  <a:pt x="245" y="294"/>
                  <a:pt x="250" y="298"/>
                  <a:pt x="256" y="298"/>
                </a:cubicBezTo>
                <a:cubicBezTo>
                  <a:pt x="262" y="298"/>
                  <a:pt x="266" y="294"/>
                  <a:pt x="266" y="288"/>
                </a:cubicBezTo>
                <a:cubicBezTo>
                  <a:pt x="266" y="277"/>
                  <a:pt x="266" y="277"/>
                  <a:pt x="266" y="277"/>
                </a:cubicBezTo>
                <a:cubicBezTo>
                  <a:pt x="298" y="277"/>
                  <a:pt x="298" y="277"/>
                  <a:pt x="298" y="277"/>
                </a:cubicBezTo>
                <a:cubicBezTo>
                  <a:pt x="352" y="409"/>
                  <a:pt x="352" y="409"/>
                  <a:pt x="352" y="409"/>
                </a:cubicBezTo>
                <a:cubicBezTo>
                  <a:pt x="354" y="413"/>
                  <a:pt x="358" y="416"/>
                  <a:pt x="362" y="416"/>
                </a:cubicBezTo>
                <a:cubicBezTo>
                  <a:pt x="364" y="416"/>
                  <a:pt x="365" y="415"/>
                  <a:pt x="366" y="415"/>
                </a:cubicBezTo>
                <a:cubicBezTo>
                  <a:pt x="372" y="413"/>
                  <a:pt x="374" y="406"/>
                  <a:pt x="372" y="401"/>
                </a:cubicBezTo>
                <a:lnTo>
                  <a:pt x="321" y="277"/>
                </a:lnTo>
                <a:close/>
                <a:moveTo>
                  <a:pt x="266" y="256"/>
                </a:moveTo>
                <a:cubicBezTo>
                  <a:pt x="266" y="245"/>
                  <a:pt x="266" y="245"/>
                  <a:pt x="266" y="245"/>
                </a:cubicBezTo>
                <a:cubicBezTo>
                  <a:pt x="266" y="239"/>
                  <a:pt x="262" y="234"/>
                  <a:pt x="256" y="234"/>
                </a:cubicBezTo>
                <a:cubicBezTo>
                  <a:pt x="250" y="234"/>
                  <a:pt x="245" y="239"/>
                  <a:pt x="245" y="245"/>
                </a:cubicBezTo>
                <a:cubicBezTo>
                  <a:pt x="245" y="256"/>
                  <a:pt x="245" y="256"/>
                  <a:pt x="245" y="256"/>
                </a:cubicBezTo>
                <a:cubicBezTo>
                  <a:pt x="222" y="256"/>
                  <a:pt x="222" y="256"/>
                  <a:pt x="222" y="256"/>
                </a:cubicBezTo>
                <a:cubicBezTo>
                  <a:pt x="244" y="200"/>
                  <a:pt x="244" y="200"/>
                  <a:pt x="244" y="200"/>
                </a:cubicBezTo>
                <a:cubicBezTo>
                  <a:pt x="246" y="195"/>
                  <a:pt x="244" y="189"/>
                  <a:pt x="238" y="187"/>
                </a:cubicBezTo>
                <a:cubicBezTo>
                  <a:pt x="233" y="184"/>
                  <a:pt x="227" y="187"/>
                  <a:pt x="224" y="192"/>
                </a:cubicBezTo>
                <a:cubicBezTo>
                  <a:pt x="224" y="194"/>
                  <a:pt x="224" y="194"/>
                  <a:pt x="224" y="194"/>
                </a:cubicBezTo>
                <a:cubicBezTo>
                  <a:pt x="222" y="189"/>
                  <a:pt x="220" y="184"/>
                  <a:pt x="220" y="178"/>
                </a:cubicBezTo>
                <a:cubicBezTo>
                  <a:pt x="220" y="159"/>
                  <a:pt x="236" y="143"/>
                  <a:pt x="256" y="143"/>
                </a:cubicBezTo>
                <a:cubicBezTo>
                  <a:pt x="275" y="143"/>
                  <a:pt x="291" y="159"/>
                  <a:pt x="291" y="178"/>
                </a:cubicBezTo>
                <a:cubicBezTo>
                  <a:pt x="291" y="184"/>
                  <a:pt x="290" y="189"/>
                  <a:pt x="287" y="194"/>
                </a:cubicBezTo>
                <a:cubicBezTo>
                  <a:pt x="287" y="192"/>
                  <a:pt x="287" y="192"/>
                  <a:pt x="287" y="192"/>
                </a:cubicBezTo>
                <a:cubicBezTo>
                  <a:pt x="285" y="187"/>
                  <a:pt x="278" y="184"/>
                  <a:pt x="273" y="187"/>
                </a:cubicBezTo>
                <a:cubicBezTo>
                  <a:pt x="268" y="189"/>
                  <a:pt x="265" y="195"/>
                  <a:pt x="267" y="200"/>
                </a:cubicBezTo>
                <a:cubicBezTo>
                  <a:pt x="290" y="256"/>
                  <a:pt x="290" y="256"/>
                  <a:pt x="290" y="256"/>
                </a:cubicBezTo>
                <a:lnTo>
                  <a:pt x="266"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0" name="Freeform 134">
            <a:extLst>
              <a:ext uri="{FF2B5EF4-FFF2-40B4-BE49-F238E27FC236}">
                <a16:creationId xmlns:a16="http://schemas.microsoft.com/office/drawing/2014/main" id="{F92735D5-9E0D-418B-A85B-F5EB1AD6B8B5}"/>
              </a:ext>
            </a:extLst>
          </p:cNvPr>
          <p:cNvSpPr>
            <a:spLocks noChangeAspect="1" noEditPoints="1"/>
          </p:cNvSpPr>
          <p:nvPr/>
        </p:nvSpPr>
        <p:spPr bwMode="auto">
          <a:xfrm>
            <a:off x="4829942" y="1700213"/>
            <a:ext cx="367041" cy="368120"/>
          </a:xfrm>
          <a:custGeom>
            <a:avLst/>
            <a:gdLst>
              <a:gd name="T0" fmla="*/ 256 w 512"/>
              <a:gd name="T1" fmla="*/ 128 h 512"/>
              <a:gd name="T2" fmla="*/ 234 w 512"/>
              <a:gd name="T3" fmla="*/ 128 h 512"/>
              <a:gd name="T4" fmla="*/ 234 w 512"/>
              <a:gd name="T5" fmla="*/ 117 h 512"/>
              <a:gd name="T6" fmla="*/ 256 w 512"/>
              <a:gd name="T7" fmla="*/ 117 h 512"/>
              <a:gd name="T8" fmla="*/ 256 w 512"/>
              <a:gd name="T9" fmla="*/ 128 h 512"/>
              <a:gd name="T10" fmla="*/ 192 w 512"/>
              <a:gd name="T11" fmla="*/ 164 h 512"/>
              <a:gd name="T12" fmla="*/ 149 w 512"/>
              <a:gd name="T13" fmla="*/ 180 h 512"/>
              <a:gd name="T14" fmla="*/ 149 w 512"/>
              <a:gd name="T15" fmla="*/ 192 h 512"/>
              <a:gd name="T16" fmla="*/ 298 w 512"/>
              <a:gd name="T17" fmla="*/ 192 h 512"/>
              <a:gd name="T18" fmla="*/ 298 w 512"/>
              <a:gd name="T19" fmla="*/ 149 h 512"/>
              <a:gd name="T20" fmla="*/ 201 w 512"/>
              <a:gd name="T21" fmla="*/ 149 h 512"/>
              <a:gd name="T22" fmla="*/ 192 w 512"/>
              <a:gd name="T23" fmla="*/ 164 h 512"/>
              <a:gd name="T24" fmla="*/ 234 w 512"/>
              <a:gd name="T25" fmla="*/ 394 h 512"/>
              <a:gd name="T26" fmla="*/ 256 w 512"/>
              <a:gd name="T27" fmla="*/ 394 h 512"/>
              <a:gd name="T28" fmla="*/ 256 w 512"/>
              <a:gd name="T29" fmla="*/ 213 h 512"/>
              <a:gd name="T30" fmla="*/ 234 w 512"/>
              <a:gd name="T31" fmla="*/ 213 h 512"/>
              <a:gd name="T32" fmla="*/ 234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73 w 512"/>
              <a:gd name="T45" fmla="*/ 117 h 512"/>
              <a:gd name="T46" fmla="*/ 362 w 512"/>
              <a:gd name="T47" fmla="*/ 106 h 512"/>
              <a:gd name="T48" fmla="*/ 320 w 512"/>
              <a:gd name="T49" fmla="*/ 106 h 512"/>
              <a:gd name="T50" fmla="*/ 309 w 512"/>
              <a:gd name="T51" fmla="*/ 117 h 512"/>
              <a:gd name="T52" fmla="*/ 309 w 512"/>
              <a:gd name="T53" fmla="*/ 128 h 512"/>
              <a:gd name="T54" fmla="*/ 277 w 512"/>
              <a:gd name="T55" fmla="*/ 128 h 512"/>
              <a:gd name="T56" fmla="*/ 277 w 512"/>
              <a:gd name="T57" fmla="*/ 106 h 512"/>
              <a:gd name="T58" fmla="*/ 266 w 512"/>
              <a:gd name="T59" fmla="*/ 96 h 512"/>
              <a:gd name="T60" fmla="*/ 224 w 512"/>
              <a:gd name="T61" fmla="*/ 96 h 512"/>
              <a:gd name="T62" fmla="*/ 213 w 512"/>
              <a:gd name="T63" fmla="*/ 106 h 512"/>
              <a:gd name="T64" fmla="*/ 213 w 512"/>
              <a:gd name="T65" fmla="*/ 128 h 512"/>
              <a:gd name="T66" fmla="*/ 192 w 512"/>
              <a:gd name="T67" fmla="*/ 128 h 512"/>
              <a:gd name="T68" fmla="*/ 181 w 512"/>
              <a:gd name="T69" fmla="*/ 138 h 512"/>
              <a:gd name="T70" fmla="*/ 177 w 512"/>
              <a:gd name="T71" fmla="*/ 149 h 512"/>
              <a:gd name="T72" fmla="*/ 138 w 512"/>
              <a:gd name="T73" fmla="*/ 160 h 512"/>
              <a:gd name="T74" fmla="*/ 131 w 512"/>
              <a:gd name="T75" fmla="*/ 163 h 512"/>
              <a:gd name="T76" fmla="*/ 128 w 512"/>
              <a:gd name="T77" fmla="*/ 170 h 512"/>
              <a:gd name="T78" fmla="*/ 128 w 512"/>
              <a:gd name="T79" fmla="*/ 202 h 512"/>
              <a:gd name="T80" fmla="*/ 138 w 512"/>
              <a:gd name="T81" fmla="*/ 213 h 512"/>
              <a:gd name="T82" fmla="*/ 213 w 512"/>
              <a:gd name="T83" fmla="*/ 213 h 512"/>
              <a:gd name="T84" fmla="*/ 213 w 512"/>
              <a:gd name="T85" fmla="*/ 405 h 512"/>
              <a:gd name="T86" fmla="*/ 224 w 512"/>
              <a:gd name="T87" fmla="*/ 416 h 512"/>
              <a:gd name="T88" fmla="*/ 266 w 512"/>
              <a:gd name="T89" fmla="*/ 416 h 512"/>
              <a:gd name="T90" fmla="*/ 277 w 512"/>
              <a:gd name="T91" fmla="*/ 405 h 512"/>
              <a:gd name="T92" fmla="*/ 277 w 512"/>
              <a:gd name="T93" fmla="*/ 213 h 512"/>
              <a:gd name="T94" fmla="*/ 309 w 512"/>
              <a:gd name="T95" fmla="*/ 213 h 512"/>
              <a:gd name="T96" fmla="*/ 309 w 512"/>
              <a:gd name="T97" fmla="*/ 224 h 512"/>
              <a:gd name="T98" fmla="*/ 320 w 512"/>
              <a:gd name="T99" fmla="*/ 234 h 512"/>
              <a:gd name="T100" fmla="*/ 362 w 512"/>
              <a:gd name="T101" fmla="*/ 234 h 512"/>
              <a:gd name="T102" fmla="*/ 373 w 512"/>
              <a:gd name="T103" fmla="*/ 224 h 512"/>
              <a:gd name="T104" fmla="*/ 373 w 512"/>
              <a:gd name="T105" fmla="*/ 117 h 512"/>
              <a:gd name="T106" fmla="*/ 330 w 512"/>
              <a:gd name="T107" fmla="*/ 213 h 512"/>
              <a:gd name="T108" fmla="*/ 352 w 512"/>
              <a:gd name="T109" fmla="*/ 213 h 512"/>
              <a:gd name="T110" fmla="*/ 352 w 512"/>
              <a:gd name="T111" fmla="*/ 128 h 512"/>
              <a:gd name="T112" fmla="*/ 330 w 512"/>
              <a:gd name="T113" fmla="*/ 128 h 512"/>
              <a:gd name="T114" fmla="*/ 330 w 512"/>
              <a:gd name="T11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128"/>
                </a:moveTo>
                <a:cubicBezTo>
                  <a:pt x="234" y="128"/>
                  <a:pt x="234" y="128"/>
                  <a:pt x="234" y="128"/>
                </a:cubicBezTo>
                <a:cubicBezTo>
                  <a:pt x="234" y="117"/>
                  <a:pt x="234" y="117"/>
                  <a:pt x="234" y="117"/>
                </a:cubicBezTo>
                <a:cubicBezTo>
                  <a:pt x="256" y="117"/>
                  <a:pt x="256" y="117"/>
                  <a:pt x="256" y="117"/>
                </a:cubicBezTo>
                <a:lnTo>
                  <a:pt x="256" y="128"/>
                </a:lnTo>
                <a:close/>
                <a:moveTo>
                  <a:pt x="192" y="164"/>
                </a:moveTo>
                <a:cubicBezTo>
                  <a:pt x="180" y="176"/>
                  <a:pt x="161" y="179"/>
                  <a:pt x="149" y="180"/>
                </a:cubicBezTo>
                <a:cubicBezTo>
                  <a:pt x="149" y="192"/>
                  <a:pt x="149" y="192"/>
                  <a:pt x="149" y="192"/>
                </a:cubicBezTo>
                <a:cubicBezTo>
                  <a:pt x="298" y="192"/>
                  <a:pt x="298" y="192"/>
                  <a:pt x="298" y="192"/>
                </a:cubicBezTo>
                <a:cubicBezTo>
                  <a:pt x="298" y="149"/>
                  <a:pt x="298" y="149"/>
                  <a:pt x="298" y="149"/>
                </a:cubicBezTo>
                <a:cubicBezTo>
                  <a:pt x="201" y="149"/>
                  <a:pt x="201" y="149"/>
                  <a:pt x="201" y="149"/>
                </a:cubicBezTo>
                <a:cubicBezTo>
                  <a:pt x="199" y="155"/>
                  <a:pt x="196" y="160"/>
                  <a:pt x="192" y="164"/>
                </a:cubicBezTo>
                <a:close/>
                <a:moveTo>
                  <a:pt x="234" y="394"/>
                </a:moveTo>
                <a:cubicBezTo>
                  <a:pt x="256" y="394"/>
                  <a:pt x="256" y="394"/>
                  <a:pt x="256" y="394"/>
                </a:cubicBezTo>
                <a:cubicBezTo>
                  <a:pt x="256" y="213"/>
                  <a:pt x="256" y="213"/>
                  <a:pt x="256" y="213"/>
                </a:cubicBezTo>
                <a:cubicBezTo>
                  <a:pt x="234" y="213"/>
                  <a:pt x="234" y="213"/>
                  <a:pt x="234" y="213"/>
                </a:cubicBezTo>
                <a:lnTo>
                  <a:pt x="234"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320" y="106"/>
                  <a:pt x="320" y="106"/>
                  <a:pt x="320" y="106"/>
                </a:cubicBezTo>
                <a:cubicBezTo>
                  <a:pt x="314" y="106"/>
                  <a:pt x="309" y="111"/>
                  <a:pt x="309" y="117"/>
                </a:cubicBezTo>
                <a:cubicBezTo>
                  <a:pt x="309" y="128"/>
                  <a:pt x="309" y="128"/>
                  <a:pt x="309" y="128"/>
                </a:cubicBezTo>
                <a:cubicBezTo>
                  <a:pt x="277" y="128"/>
                  <a:pt x="277" y="128"/>
                  <a:pt x="277" y="128"/>
                </a:cubicBezTo>
                <a:cubicBezTo>
                  <a:pt x="277" y="106"/>
                  <a:pt x="277" y="106"/>
                  <a:pt x="277" y="106"/>
                </a:cubicBezTo>
                <a:cubicBezTo>
                  <a:pt x="277" y="100"/>
                  <a:pt x="272" y="96"/>
                  <a:pt x="266" y="96"/>
                </a:cubicBezTo>
                <a:cubicBezTo>
                  <a:pt x="224" y="96"/>
                  <a:pt x="224" y="96"/>
                  <a:pt x="224" y="96"/>
                </a:cubicBezTo>
                <a:cubicBezTo>
                  <a:pt x="218" y="96"/>
                  <a:pt x="213" y="100"/>
                  <a:pt x="213" y="106"/>
                </a:cubicBezTo>
                <a:cubicBezTo>
                  <a:pt x="213" y="128"/>
                  <a:pt x="213" y="128"/>
                  <a:pt x="213" y="128"/>
                </a:cubicBezTo>
                <a:cubicBezTo>
                  <a:pt x="192" y="128"/>
                  <a:pt x="192" y="128"/>
                  <a:pt x="192" y="128"/>
                </a:cubicBezTo>
                <a:cubicBezTo>
                  <a:pt x="186" y="128"/>
                  <a:pt x="181" y="132"/>
                  <a:pt x="181" y="138"/>
                </a:cubicBezTo>
                <a:cubicBezTo>
                  <a:pt x="181" y="143"/>
                  <a:pt x="180" y="146"/>
                  <a:pt x="177" y="149"/>
                </a:cubicBezTo>
                <a:cubicBezTo>
                  <a:pt x="167" y="158"/>
                  <a:pt x="146" y="160"/>
                  <a:pt x="138" y="160"/>
                </a:cubicBezTo>
                <a:cubicBezTo>
                  <a:pt x="136" y="160"/>
                  <a:pt x="133" y="161"/>
                  <a:pt x="131" y="163"/>
                </a:cubicBezTo>
                <a:cubicBezTo>
                  <a:pt x="129" y="165"/>
                  <a:pt x="128" y="167"/>
                  <a:pt x="128" y="170"/>
                </a:cubicBezTo>
                <a:cubicBezTo>
                  <a:pt x="128" y="202"/>
                  <a:pt x="128" y="202"/>
                  <a:pt x="128" y="202"/>
                </a:cubicBezTo>
                <a:cubicBezTo>
                  <a:pt x="128" y="208"/>
                  <a:pt x="132" y="213"/>
                  <a:pt x="138" y="213"/>
                </a:cubicBezTo>
                <a:cubicBezTo>
                  <a:pt x="213" y="213"/>
                  <a:pt x="213" y="213"/>
                  <a:pt x="213" y="213"/>
                </a:cubicBezTo>
                <a:cubicBezTo>
                  <a:pt x="213" y="405"/>
                  <a:pt x="213" y="405"/>
                  <a:pt x="213" y="405"/>
                </a:cubicBezTo>
                <a:cubicBezTo>
                  <a:pt x="213" y="411"/>
                  <a:pt x="218" y="416"/>
                  <a:pt x="224" y="416"/>
                </a:cubicBezTo>
                <a:cubicBezTo>
                  <a:pt x="266" y="416"/>
                  <a:pt x="266" y="416"/>
                  <a:pt x="266" y="416"/>
                </a:cubicBezTo>
                <a:cubicBezTo>
                  <a:pt x="272" y="416"/>
                  <a:pt x="277" y="411"/>
                  <a:pt x="277" y="405"/>
                </a:cubicBezTo>
                <a:cubicBezTo>
                  <a:pt x="277" y="213"/>
                  <a:pt x="277" y="213"/>
                  <a:pt x="277" y="213"/>
                </a:cubicBezTo>
                <a:cubicBezTo>
                  <a:pt x="309" y="213"/>
                  <a:pt x="309" y="213"/>
                  <a:pt x="309" y="213"/>
                </a:cubicBezTo>
                <a:cubicBezTo>
                  <a:pt x="309" y="224"/>
                  <a:pt x="309" y="224"/>
                  <a:pt x="309" y="224"/>
                </a:cubicBezTo>
                <a:cubicBezTo>
                  <a:pt x="309" y="230"/>
                  <a:pt x="314" y="234"/>
                  <a:pt x="320" y="234"/>
                </a:cubicBezTo>
                <a:cubicBezTo>
                  <a:pt x="362" y="234"/>
                  <a:pt x="362" y="234"/>
                  <a:pt x="362" y="234"/>
                </a:cubicBezTo>
                <a:cubicBezTo>
                  <a:pt x="368" y="234"/>
                  <a:pt x="373" y="230"/>
                  <a:pt x="373" y="224"/>
                </a:cubicBezTo>
                <a:lnTo>
                  <a:pt x="373" y="117"/>
                </a:lnTo>
                <a:close/>
                <a:moveTo>
                  <a:pt x="330" y="213"/>
                </a:moveTo>
                <a:cubicBezTo>
                  <a:pt x="352" y="213"/>
                  <a:pt x="352" y="213"/>
                  <a:pt x="352" y="213"/>
                </a:cubicBezTo>
                <a:cubicBezTo>
                  <a:pt x="352" y="128"/>
                  <a:pt x="352" y="128"/>
                  <a:pt x="352" y="128"/>
                </a:cubicBezTo>
                <a:cubicBezTo>
                  <a:pt x="330" y="128"/>
                  <a:pt x="330" y="128"/>
                  <a:pt x="330" y="128"/>
                </a:cubicBezTo>
                <a:lnTo>
                  <a:pt x="330" y="21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1" name="Group 137">
            <a:extLst>
              <a:ext uri="{FF2B5EF4-FFF2-40B4-BE49-F238E27FC236}">
                <a16:creationId xmlns:a16="http://schemas.microsoft.com/office/drawing/2014/main" id="{BBF0C079-69E6-45AB-A853-84B3DC1700AF}"/>
              </a:ext>
            </a:extLst>
          </p:cNvPr>
          <p:cNvGrpSpPr>
            <a:grpSpLocks noChangeAspect="1"/>
          </p:cNvGrpSpPr>
          <p:nvPr/>
        </p:nvGrpSpPr>
        <p:grpSpPr bwMode="auto">
          <a:xfrm>
            <a:off x="5263611" y="1700213"/>
            <a:ext cx="367041" cy="367041"/>
            <a:chOff x="4032" y="1187"/>
            <a:chExt cx="340" cy="340"/>
          </a:xfrm>
          <a:solidFill>
            <a:schemeClr val="accent2"/>
          </a:solidFill>
        </p:grpSpPr>
        <p:sp>
          <p:nvSpPr>
            <p:cNvPr id="102" name="Freeform 138">
              <a:extLst>
                <a:ext uri="{FF2B5EF4-FFF2-40B4-BE49-F238E27FC236}">
                  <a16:creationId xmlns:a16="http://schemas.microsoft.com/office/drawing/2014/main" id="{9E3EAF38-E48B-4C7F-8E4C-67D1B8A8688A}"/>
                </a:ext>
              </a:extLst>
            </p:cNvPr>
            <p:cNvSpPr>
              <a:spLocks noEditPoints="1"/>
            </p:cNvSpPr>
            <p:nvPr/>
          </p:nvSpPr>
          <p:spPr bwMode="auto">
            <a:xfrm>
              <a:off x="4032" y="11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 name="Freeform 139">
              <a:extLst>
                <a:ext uri="{FF2B5EF4-FFF2-40B4-BE49-F238E27FC236}">
                  <a16:creationId xmlns:a16="http://schemas.microsoft.com/office/drawing/2014/main" id="{29E9B975-9C67-48C2-902E-55EFB7843C1B}"/>
                </a:ext>
              </a:extLst>
            </p:cNvPr>
            <p:cNvSpPr>
              <a:spLocks noEditPoints="1"/>
            </p:cNvSpPr>
            <p:nvPr/>
          </p:nvSpPr>
          <p:spPr bwMode="auto">
            <a:xfrm>
              <a:off x="4117" y="1251"/>
              <a:ext cx="163" cy="212"/>
            </a:xfrm>
            <a:custGeom>
              <a:avLst/>
              <a:gdLst>
                <a:gd name="T0" fmla="*/ 234 w 245"/>
                <a:gd name="T1" fmla="*/ 10 h 320"/>
                <a:gd name="T2" fmla="*/ 192 w 245"/>
                <a:gd name="T3" fmla="*/ 10 h 320"/>
                <a:gd name="T4" fmla="*/ 181 w 245"/>
                <a:gd name="T5" fmla="*/ 21 h 320"/>
                <a:gd name="T6" fmla="*/ 181 w 245"/>
                <a:gd name="T7" fmla="*/ 32 h 320"/>
                <a:gd name="T8" fmla="*/ 149 w 245"/>
                <a:gd name="T9" fmla="*/ 32 h 320"/>
                <a:gd name="T10" fmla="*/ 149 w 245"/>
                <a:gd name="T11" fmla="*/ 10 h 320"/>
                <a:gd name="T12" fmla="*/ 138 w 245"/>
                <a:gd name="T13" fmla="*/ 0 h 320"/>
                <a:gd name="T14" fmla="*/ 96 w 245"/>
                <a:gd name="T15" fmla="*/ 0 h 320"/>
                <a:gd name="T16" fmla="*/ 85 w 245"/>
                <a:gd name="T17" fmla="*/ 10 h 320"/>
                <a:gd name="T18" fmla="*/ 85 w 245"/>
                <a:gd name="T19" fmla="*/ 32 h 320"/>
                <a:gd name="T20" fmla="*/ 64 w 245"/>
                <a:gd name="T21" fmla="*/ 32 h 320"/>
                <a:gd name="T22" fmla="*/ 53 w 245"/>
                <a:gd name="T23" fmla="*/ 42 h 320"/>
                <a:gd name="T24" fmla="*/ 49 w 245"/>
                <a:gd name="T25" fmla="*/ 53 h 320"/>
                <a:gd name="T26" fmla="*/ 10 w 245"/>
                <a:gd name="T27" fmla="*/ 64 h 320"/>
                <a:gd name="T28" fmla="*/ 3 w 245"/>
                <a:gd name="T29" fmla="*/ 67 h 320"/>
                <a:gd name="T30" fmla="*/ 0 w 245"/>
                <a:gd name="T31" fmla="*/ 74 h 320"/>
                <a:gd name="T32" fmla="*/ 0 w 245"/>
                <a:gd name="T33" fmla="*/ 106 h 320"/>
                <a:gd name="T34" fmla="*/ 10 w 245"/>
                <a:gd name="T35" fmla="*/ 117 h 320"/>
                <a:gd name="T36" fmla="*/ 85 w 245"/>
                <a:gd name="T37" fmla="*/ 117 h 320"/>
                <a:gd name="T38" fmla="*/ 85 w 245"/>
                <a:gd name="T39" fmla="*/ 309 h 320"/>
                <a:gd name="T40" fmla="*/ 96 w 245"/>
                <a:gd name="T41" fmla="*/ 320 h 320"/>
                <a:gd name="T42" fmla="*/ 138 w 245"/>
                <a:gd name="T43" fmla="*/ 320 h 320"/>
                <a:gd name="T44" fmla="*/ 149 w 245"/>
                <a:gd name="T45" fmla="*/ 309 h 320"/>
                <a:gd name="T46" fmla="*/ 149 w 245"/>
                <a:gd name="T47" fmla="*/ 117 h 320"/>
                <a:gd name="T48" fmla="*/ 181 w 245"/>
                <a:gd name="T49" fmla="*/ 117 h 320"/>
                <a:gd name="T50" fmla="*/ 181 w 245"/>
                <a:gd name="T51" fmla="*/ 128 h 320"/>
                <a:gd name="T52" fmla="*/ 192 w 245"/>
                <a:gd name="T53" fmla="*/ 138 h 320"/>
                <a:gd name="T54" fmla="*/ 234 w 245"/>
                <a:gd name="T55" fmla="*/ 138 h 320"/>
                <a:gd name="T56" fmla="*/ 245 w 245"/>
                <a:gd name="T57" fmla="*/ 128 h 320"/>
                <a:gd name="T58" fmla="*/ 245 w 245"/>
                <a:gd name="T59" fmla="*/ 21 h 320"/>
                <a:gd name="T60" fmla="*/ 234 w 245"/>
                <a:gd name="T61" fmla="*/ 10 h 320"/>
                <a:gd name="T62" fmla="*/ 106 w 245"/>
                <a:gd name="T63" fmla="*/ 21 h 320"/>
                <a:gd name="T64" fmla="*/ 128 w 245"/>
                <a:gd name="T65" fmla="*/ 21 h 320"/>
                <a:gd name="T66" fmla="*/ 128 w 245"/>
                <a:gd name="T67" fmla="*/ 32 h 320"/>
                <a:gd name="T68" fmla="*/ 106 w 245"/>
                <a:gd name="T69" fmla="*/ 32 h 320"/>
                <a:gd name="T70" fmla="*/ 106 w 245"/>
                <a:gd name="T71" fmla="*/ 21 h 320"/>
                <a:gd name="T72" fmla="*/ 128 w 245"/>
                <a:gd name="T73" fmla="*/ 298 h 320"/>
                <a:gd name="T74" fmla="*/ 106 w 245"/>
                <a:gd name="T75" fmla="*/ 298 h 320"/>
                <a:gd name="T76" fmla="*/ 106 w 245"/>
                <a:gd name="T77" fmla="*/ 117 h 320"/>
                <a:gd name="T78" fmla="*/ 128 w 245"/>
                <a:gd name="T79" fmla="*/ 117 h 320"/>
                <a:gd name="T80" fmla="*/ 128 w 245"/>
                <a:gd name="T81" fmla="*/ 298 h 320"/>
                <a:gd name="T82" fmla="*/ 170 w 245"/>
                <a:gd name="T83" fmla="*/ 96 h 320"/>
                <a:gd name="T84" fmla="*/ 21 w 245"/>
                <a:gd name="T85" fmla="*/ 96 h 320"/>
                <a:gd name="T86" fmla="*/ 21 w 245"/>
                <a:gd name="T87" fmla="*/ 84 h 320"/>
                <a:gd name="T88" fmla="*/ 64 w 245"/>
                <a:gd name="T89" fmla="*/ 68 h 320"/>
                <a:gd name="T90" fmla="*/ 73 w 245"/>
                <a:gd name="T91" fmla="*/ 53 h 320"/>
                <a:gd name="T92" fmla="*/ 170 w 245"/>
                <a:gd name="T93" fmla="*/ 53 h 320"/>
                <a:gd name="T94" fmla="*/ 170 w 245"/>
                <a:gd name="T95" fmla="*/ 96 h 320"/>
                <a:gd name="T96" fmla="*/ 224 w 245"/>
                <a:gd name="T97" fmla="*/ 117 h 320"/>
                <a:gd name="T98" fmla="*/ 202 w 245"/>
                <a:gd name="T99" fmla="*/ 117 h 320"/>
                <a:gd name="T100" fmla="*/ 202 w 245"/>
                <a:gd name="T101" fmla="*/ 32 h 320"/>
                <a:gd name="T102" fmla="*/ 224 w 245"/>
                <a:gd name="T103" fmla="*/ 32 h 320"/>
                <a:gd name="T104" fmla="*/ 224 w 245"/>
                <a:gd name="T105"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320">
                  <a:moveTo>
                    <a:pt x="234" y="10"/>
                  </a:moveTo>
                  <a:cubicBezTo>
                    <a:pt x="192" y="10"/>
                    <a:pt x="192" y="10"/>
                    <a:pt x="192" y="10"/>
                  </a:cubicBezTo>
                  <a:cubicBezTo>
                    <a:pt x="186" y="10"/>
                    <a:pt x="181" y="15"/>
                    <a:pt x="181" y="21"/>
                  </a:cubicBezTo>
                  <a:cubicBezTo>
                    <a:pt x="181" y="32"/>
                    <a:pt x="181" y="32"/>
                    <a:pt x="181" y="32"/>
                  </a:cubicBezTo>
                  <a:cubicBezTo>
                    <a:pt x="149" y="32"/>
                    <a:pt x="149" y="32"/>
                    <a:pt x="149" y="32"/>
                  </a:cubicBezTo>
                  <a:cubicBezTo>
                    <a:pt x="149" y="10"/>
                    <a:pt x="149" y="10"/>
                    <a:pt x="149" y="10"/>
                  </a:cubicBezTo>
                  <a:cubicBezTo>
                    <a:pt x="149" y="4"/>
                    <a:pt x="144" y="0"/>
                    <a:pt x="138" y="0"/>
                  </a:cubicBezTo>
                  <a:cubicBezTo>
                    <a:pt x="96" y="0"/>
                    <a:pt x="96" y="0"/>
                    <a:pt x="96" y="0"/>
                  </a:cubicBezTo>
                  <a:cubicBezTo>
                    <a:pt x="90" y="0"/>
                    <a:pt x="85" y="4"/>
                    <a:pt x="85" y="10"/>
                  </a:cubicBezTo>
                  <a:cubicBezTo>
                    <a:pt x="85" y="32"/>
                    <a:pt x="85" y="32"/>
                    <a:pt x="85" y="32"/>
                  </a:cubicBezTo>
                  <a:cubicBezTo>
                    <a:pt x="64" y="32"/>
                    <a:pt x="64" y="32"/>
                    <a:pt x="64" y="32"/>
                  </a:cubicBezTo>
                  <a:cubicBezTo>
                    <a:pt x="58" y="32"/>
                    <a:pt x="53" y="36"/>
                    <a:pt x="53" y="42"/>
                  </a:cubicBezTo>
                  <a:cubicBezTo>
                    <a:pt x="53" y="47"/>
                    <a:pt x="52" y="50"/>
                    <a:pt x="49" y="53"/>
                  </a:cubicBezTo>
                  <a:cubicBezTo>
                    <a:pt x="39" y="62"/>
                    <a:pt x="18" y="64"/>
                    <a:pt x="10" y="64"/>
                  </a:cubicBezTo>
                  <a:cubicBezTo>
                    <a:pt x="8" y="64"/>
                    <a:pt x="5" y="65"/>
                    <a:pt x="3" y="67"/>
                  </a:cubicBezTo>
                  <a:cubicBezTo>
                    <a:pt x="1" y="69"/>
                    <a:pt x="0" y="71"/>
                    <a:pt x="0" y="74"/>
                  </a:cubicBezTo>
                  <a:cubicBezTo>
                    <a:pt x="0" y="106"/>
                    <a:pt x="0" y="106"/>
                    <a:pt x="0" y="106"/>
                  </a:cubicBezTo>
                  <a:cubicBezTo>
                    <a:pt x="0" y="112"/>
                    <a:pt x="4" y="117"/>
                    <a:pt x="10" y="117"/>
                  </a:cubicBezTo>
                  <a:cubicBezTo>
                    <a:pt x="85" y="117"/>
                    <a:pt x="85" y="117"/>
                    <a:pt x="85" y="117"/>
                  </a:cubicBezTo>
                  <a:cubicBezTo>
                    <a:pt x="85" y="309"/>
                    <a:pt x="85" y="309"/>
                    <a:pt x="85" y="309"/>
                  </a:cubicBezTo>
                  <a:cubicBezTo>
                    <a:pt x="85" y="315"/>
                    <a:pt x="90" y="320"/>
                    <a:pt x="96" y="320"/>
                  </a:cubicBezTo>
                  <a:cubicBezTo>
                    <a:pt x="138" y="320"/>
                    <a:pt x="138" y="320"/>
                    <a:pt x="138" y="320"/>
                  </a:cubicBezTo>
                  <a:cubicBezTo>
                    <a:pt x="144" y="320"/>
                    <a:pt x="149" y="315"/>
                    <a:pt x="149" y="309"/>
                  </a:cubicBezTo>
                  <a:cubicBezTo>
                    <a:pt x="149" y="117"/>
                    <a:pt x="149" y="117"/>
                    <a:pt x="149" y="117"/>
                  </a:cubicBezTo>
                  <a:cubicBezTo>
                    <a:pt x="181" y="117"/>
                    <a:pt x="181" y="117"/>
                    <a:pt x="181" y="117"/>
                  </a:cubicBezTo>
                  <a:cubicBezTo>
                    <a:pt x="181" y="128"/>
                    <a:pt x="181" y="128"/>
                    <a:pt x="181" y="128"/>
                  </a:cubicBezTo>
                  <a:cubicBezTo>
                    <a:pt x="181" y="134"/>
                    <a:pt x="186" y="138"/>
                    <a:pt x="192" y="138"/>
                  </a:cubicBezTo>
                  <a:cubicBezTo>
                    <a:pt x="234" y="138"/>
                    <a:pt x="234" y="138"/>
                    <a:pt x="234" y="138"/>
                  </a:cubicBezTo>
                  <a:cubicBezTo>
                    <a:pt x="240" y="138"/>
                    <a:pt x="245" y="134"/>
                    <a:pt x="245" y="128"/>
                  </a:cubicBezTo>
                  <a:cubicBezTo>
                    <a:pt x="245" y="21"/>
                    <a:pt x="245" y="21"/>
                    <a:pt x="245" y="21"/>
                  </a:cubicBezTo>
                  <a:cubicBezTo>
                    <a:pt x="245" y="15"/>
                    <a:pt x="240" y="10"/>
                    <a:pt x="234" y="10"/>
                  </a:cubicBezTo>
                  <a:close/>
                  <a:moveTo>
                    <a:pt x="106" y="21"/>
                  </a:moveTo>
                  <a:cubicBezTo>
                    <a:pt x="128" y="21"/>
                    <a:pt x="128" y="21"/>
                    <a:pt x="128" y="21"/>
                  </a:cubicBezTo>
                  <a:cubicBezTo>
                    <a:pt x="128" y="32"/>
                    <a:pt x="128" y="32"/>
                    <a:pt x="128" y="32"/>
                  </a:cubicBezTo>
                  <a:cubicBezTo>
                    <a:pt x="106" y="32"/>
                    <a:pt x="106" y="32"/>
                    <a:pt x="106" y="32"/>
                  </a:cubicBezTo>
                  <a:lnTo>
                    <a:pt x="106" y="21"/>
                  </a:lnTo>
                  <a:close/>
                  <a:moveTo>
                    <a:pt x="128" y="298"/>
                  </a:moveTo>
                  <a:cubicBezTo>
                    <a:pt x="106" y="298"/>
                    <a:pt x="106" y="298"/>
                    <a:pt x="106" y="298"/>
                  </a:cubicBezTo>
                  <a:cubicBezTo>
                    <a:pt x="106" y="117"/>
                    <a:pt x="106" y="117"/>
                    <a:pt x="106" y="117"/>
                  </a:cubicBezTo>
                  <a:cubicBezTo>
                    <a:pt x="128" y="117"/>
                    <a:pt x="128" y="117"/>
                    <a:pt x="128" y="117"/>
                  </a:cubicBezTo>
                  <a:lnTo>
                    <a:pt x="128" y="298"/>
                  </a:lnTo>
                  <a:close/>
                  <a:moveTo>
                    <a:pt x="170" y="96"/>
                  </a:moveTo>
                  <a:cubicBezTo>
                    <a:pt x="21" y="96"/>
                    <a:pt x="21" y="96"/>
                    <a:pt x="21" y="96"/>
                  </a:cubicBezTo>
                  <a:cubicBezTo>
                    <a:pt x="21" y="84"/>
                    <a:pt x="21" y="84"/>
                    <a:pt x="21" y="84"/>
                  </a:cubicBezTo>
                  <a:cubicBezTo>
                    <a:pt x="33" y="83"/>
                    <a:pt x="52" y="80"/>
                    <a:pt x="64" y="68"/>
                  </a:cubicBezTo>
                  <a:cubicBezTo>
                    <a:pt x="68" y="64"/>
                    <a:pt x="71" y="59"/>
                    <a:pt x="73" y="53"/>
                  </a:cubicBezTo>
                  <a:cubicBezTo>
                    <a:pt x="170" y="53"/>
                    <a:pt x="170" y="53"/>
                    <a:pt x="170" y="53"/>
                  </a:cubicBezTo>
                  <a:lnTo>
                    <a:pt x="170" y="96"/>
                  </a:lnTo>
                  <a:close/>
                  <a:moveTo>
                    <a:pt x="224" y="117"/>
                  </a:moveTo>
                  <a:cubicBezTo>
                    <a:pt x="202" y="117"/>
                    <a:pt x="202" y="117"/>
                    <a:pt x="202" y="117"/>
                  </a:cubicBezTo>
                  <a:cubicBezTo>
                    <a:pt x="202" y="32"/>
                    <a:pt x="202" y="32"/>
                    <a:pt x="202" y="32"/>
                  </a:cubicBezTo>
                  <a:cubicBezTo>
                    <a:pt x="224" y="32"/>
                    <a:pt x="224" y="32"/>
                    <a:pt x="224" y="32"/>
                  </a:cubicBezTo>
                  <a:lnTo>
                    <a:pt x="224"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4" name="Freeform 566">
            <a:extLst>
              <a:ext uri="{FF2B5EF4-FFF2-40B4-BE49-F238E27FC236}">
                <a16:creationId xmlns:a16="http://schemas.microsoft.com/office/drawing/2014/main" id="{717D862D-9770-49D1-8EE1-F5E264653303}"/>
              </a:ext>
            </a:extLst>
          </p:cNvPr>
          <p:cNvSpPr>
            <a:spLocks noChangeAspect="1" noEditPoints="1"/>
          </p:cNvSpPr>
          <p:nvPr/>
        </p:nvSpPr>
        <p:spPr bwMode="auto">
          <a:xfrm>
            <a:off x="5697280" y="1700213"/>
            <a:ext cx="367631" cy="367631"/>
          </a:xfrm>
          <a:custGeom>
            <a:avLst/>
            <a:gdLst>
              <a:gd name="T0" fmla="*/ 364 w 512"/>
              <a:gd name="T1" fmla="*/ 138 h 512"/>
              <a:gd name="T2" fmla="*/ 393 w 512"/>
              <a:gd name="T3" fmla="*/ 352 h 512"/>
              <a:gd name="T4" fmla="*/ 310 w 512"/>
              <a:gd name="T5" fmla="*/ 352 h 512"/>
              <a:gd name="T6" fmla="*/ 329 w 512"/>
              <a:gd name="T7" fmla="*/ 138 h 512"/>
              <a:gd name="T8" fmla="*/ 364 w 512"/>
              <a:gd name="T9" fmla="*/ 138 h 512"/>
              <a:gd name="T10" fmla="*/ 213 w 512"/>
              <a:gd name="T11" fmla="*/ 233 h 512"/>
              <a:gd name="T12" fmla="*/ 213 w 512"/>
              <a:gd name="T13" fmla="*/ 352 h 512"/>
              <a:gd name="T14" fmla="*/ 289 w 512"/>
              <a:gd name="T15" fmla="*/ 352 h 512"/>
              <a:gd name="T16" fmla="*/ 294 w 512"/>
              <a:gd name="T17" fmla="*/ 287 h 512"/>
              <a:gd name="T18" fmla="*/ 292 w 512"/>
              <a:gd name="T19" fmla="*/ 286 h 512"/>
              <a:gd name="T20" fmla="*/ 213 w 512"/>
              <a:gd name="T21" fmla="*/ 233 h 512"/>
              <a:gd name="T22" fmla="*/ 117 w 512"/>
              <a:gd name="T23" fmla="*/ 352 h 512"/>
              <a:gd name="T24" fmla="*/ 192 w 512"/>
              <a:gd name="T25" fmla="*/ 352 h 512"/>
              <a:gd name="T26" fmla="*/ 192 w 512"/>
              <a:gd name="T27" fmla="*/ 283 h 512"/>
              <a:gd name="T28" fmla="*/ 117 w 512"/>
              <a:gd name="T29" fmla="*/ 233 h 512"/>
              <a:gd name="T30" fmla="*/ 117 w 512"/>
              <a:gd name="T31" fmla="*/ 352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361 h 512"/>
              <a:gd name="T44" fmla="*/ 384 w 512"/>
              <a:gd name="T45" fmla="*/ 126 h 512"/>
              <a:gd name="T46" fmla="*/ 373 w 512"/>
              <a:gd name="T47" fmla="*/ 117 h 512"/>
              <a:gd name="T48" fmla="*/ 320 w 512"/>
              <a:gd name="T49" fmla="*/ 117 h 512"/>
              <a:gd name="T50" fmla="*/ 309 w 512"/>
              <a:gd name="T51" fmla="*/ 127 h 512"/>
              <a:gd name="T52" fmla="*/ 297 w 512"/>
              <a:gd name="T53" fmla="*/ 263 h 512"/>
              <a:gd name="T54" fmla="*/ 208 w 512"/>
              <a:gd name="T55" fmla="*/ 204 h 512"/>
              <a:gd name="T56" fmla="*/ 197 w 512"/>
              <a:gd name="T57" fmla="*/ 204 h 512"/>
              <a:gd name="T58" fmla="*/ 192 w 512"/>
              <a:gd name="T59" fmla="*/ 213 h 512"/>
              <a:gd name="T60" fmla="*/ 192 w 512"/>
              <a:gd name="T61" fmla="*/ 257 h 512"/>
              <a:gd name="T62" fmla="*/ 112 w 512"/>
              <a:gd name="T63" fmla="*/ 204 h 512"/>
              <a:gd name="T64" fmla="*/ 101 w 512"/>
              <a:gd name="T65" fmla="*/ 204 h 512"/>
              <a:gd name="T66" fmla="*/ 96 w 512"/>
              <a:gd name="T67" fmla="*/ 213 h 512"/>
              <a:gd name="T68" fmla="*/ 96 w 512"/>
              <a:gd name="T69" fmla="*/ 362 h 512"/>
              <a:gd name="T70" fmla="*/ 106 w 512"/>
              <a:gd name="T71" fmla="*/ 373 h 512"/>
              <a:gd name="T72" fmla="*/ 405 w 512"/>
              <a:gd name="T73" fmla="*/ 373 h 512"/>
              <a:gd name="T74" fmla="*/ 413 w 512"/>
              <a:gd name="T75" fmla="*/ 369 h 512"/>
              <a:gd name="T76" fmla="*/ 416 w 512"/>
              <a:gd name="T77"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64" y="138"/>
                </a:moveTo>
                <a:cubicBezTo>
                  <a:pt x="393" y="352"/>
                  <a:pt x="393" y="352"/>
                  <a:pt x="393" y="352"/>
                </a:cubicBezTo>
                <a:cubicBezTo>
                  <a:pt x="310" y="352"/>
                  <a:pt x="310" y="352"/>
                  <a:pt x="310" y="352"/>
                </a:cubicBezTo>
                <a:cubicBezTo>
                  <a:pt x="329" y="138"/>
                  <a:pt x="329" y="138"/>
                  <a:pt x="329" y="138"/>
                </a:cubicBezTo>
                <a:lnTo>
                  <a:pt x="364" y="138"/>
                </a:lnTo>
                <a:close/>
                <a:moveTo>
                  <a:pt x="213" y="233"/>
                </a:moveTo>
                <a:cubicBezTo>
                  <a:pt x="213" y="352"/>
                  <a:pt x="213" y="352"/>
                  <a:pt x="213" y="352"/>
                </a:cubicBezTo>
                <a:cubicBezTo>
                  <a:pt x="289" y="352"/>
                  <a:pt x="289" y="352"/>
                  <a:pt x="289" y="352"/>
                </a:cubicBezTo>
                <a:cubicBezTo>
                  <a:pt x="294" y="287"/>
                  <a:pt x="294" y="287"/>
                  <a:pt x="294" y="287"/>
                </a:cubicBezTo>
                <a:cubicBezTo>
                  <a:pt x="294" y="286"/>
                  <a:pt x="293" y="286"/>
                  <a:pt x="292" y="286"/>
                </a:cubicBezTo>
                <a:lnTo>
                  <a:pt x="213" y="233"/>
                </a:lnTo>
                <a:close/>
                <a:moveTo>
                  <a:pt x="117" y="352"/>
                </a:moveTo>
                <a:cubicBezTo>
                  <a:pt x="192" y="352"/>
                  <a:pt x="192" y="352"/>
                  <a:pt x="192" y="352"/>
                </a:cubicBezTo>
                <a:cubicBezTo>
                  <a:pt x="192" y="283"/>
                  <a:pt x="192" y="283"/>
                  <a:pt x="192" y="283"/>
                </a:cubicBezTo>
                <a:cubicBezTo>
                  <a:pt x="117" y="233"/>
                  <a:pt x="117" y="233"/>
                  <a:pt x="117" y="233"/>
                </a:cubicBezTo>
                <a:lnTo>
                  <a:pt x="117"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361"/>
                </a:moveTo>
                <a:cubicBezTo>
                  <a:pt x="384" y="126"/>
                  <a:pt x="384" y="126"/>
                  <a:pt x="384" y="126"/>
                </a:cubicBezTo>
                <a:cubicBezTo>
                  <a:pt x="383" y="121"/>
                  <a:pt x="378" y="117"/>
                  <a:pt x="373" y="117"/>
                </a:cubicBezTo>
                <a:cubicBezTo>
                  <a:pt x="320" y="117"/>
                  <a:pt x="320" y="117"/>
                  <a:pt x="320" y="117"/>
                </a:cubicBezTo>
                <a:cubicBezTo>
                  <a:pt x="314" y="117"/>
                  <a:pt x="310" y="121"/>
                  <a:pt x="309" y="127"/>
                </a:cubicBezTo>
                <a:cubicBezTo>
                  <a:pt x="297" y="263"/>
                  <a:pt x="297" y="263"/>
                  <a:pt x="297" y="263"/>
                </a:cubicBezTo>
                <a:cubicBezTo>
                  <a:pt x="208" y="204"/>
                  <a:pt x="208" y="204"/>
                  <a:pt x="208" y="204"/>
                </a:cubicBezTo>
                <a:cubicBezTo>
                  <a:pt x="205" y="202"/>
                  <a:pt x="201" y="202"/>
                  <a:pt x="197" y="204"/>
                </a:cubicBezTo>
                <a:cubicBezTo>
                  <a:pt x="194" y="205"/>
                  <a:pt x="192" y="209"/>
                  <a:pt x="192" y="213"/>
                </a:cubicBezTo>
                <a:cubicBezTo>
                  <a:pt x="192" y="257"/>
                  <a:pt x="192" y="257"/>
                  <a:pt x="192" y="257"/>
                </a:cubicBezTo>
                <a:cubicBezTo>
                  <a:pt x="112" y="204"/>
                  <a:pt x="112" y="204"/>
                  <a:pt x="112" y="204"/>
                </a:cubicBezTo>
                <a:cubicBezTo>
                  <a:pt x="109" y="202"/>
                  <a:pt x="105" y="202"/>
                  <a:pt x="101" y="204"/>
                </a:cubicBezTo>
                <a:cubicBezTo>
                  <a:pt x="98" y="205"/>
                  <a:pt x="96" y="209"/>
                  <a:pt x="96" y="213"/>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4"/>
                  <a:pt x="416" y="36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5" name="Group 569">
            <a:extLst>
              <a:ext uri="{FF2B5EF4-FFF2-40B4-BE49-F238E27FC236}">
                <a16:creationId xmlns:a16="http://schemas.microsoft.com/office/drawing/2014/main" id="{FFD28E5B-3737-4CEF-AFAA-A2DEE2269B1B}"/>
              </a:ext>
            </a:extLst>
          </p:cNvPr>
          <p:cNvGrpSpPr>
            <a:grpSpLocks noChangeAspect="1"/>
          </p:cNvGrpSpPr>
          <p:nvPr/>
        </p:nvGrpSpPr>
        <p:grpSpPr bwMode="auto">
          <a:xfrm>
            <a:off x="6131539" y="1700213"/>
            <a:ext cx="367631" cy="367631"/>
            <a:chOff x="5648" y="3248"/>
            <a:chExt cx="340" cy="340"/>
          </a:xfrm>
          <a:solidFill>
            <a:schemeClr val="accent6"/>
          </a:solidFill>
        </p:grpSpPr>
        <p:sp>
          <p:nvSpPr>
            <p:cNvPr id="106" name="Freeform 570">
              <a:extLst>
                <a:ext uri="{FF2B5EF4-FFF2-40B4-BE49-F238E27FC236}">
                  <a16:creationId xmlns:a16="http://schemas.microsoft.com/office/drawing/2014/main" id="{3E9104ED-5A0B-473F-90AA-022DFB65465F}"/>
                </a:ext>
              </a:extLst>
            </p:cNvPr>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7" name="Freeform 571">
              <a:extLst>
                <a:ext uri="{FF2B5EF4-FFF2-40B4-BE49-F238E27FC236}">
                  <a16:creationId xmlns:a16="http://schemas.microsoft.com/office/drawing/2014/main" id="{53D6CCB7-81FD-4A0B-AEFD-659D627A18A8}"/>
                </a:ext>
              </a:extLst>
            </p:cNvPr>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8" name="Freeform 105">
            <a:extLst>
              <a:ext uri="{FF2B5EF4-FFF2-40B4-BE49-F238E27FC236}">
                <a16:creationId xmlns:a16="http://schemas.microsoft.com/office/drawing/2014/main" id="{6703750B-D1B7-4A5E-BC92-AF2B09020E68}"/>
              </a:ext>
            </a:extLst>
          </p:cNvPr>
          <p:cNvSpPr>
            <a:spLocks noChangeAspect="1" noEditPoints="1"/>
          </p:cNvSpPr>
          <p:nvPr/>
        </p:nvSpPr>
        <p:spPr bwMode="auto">
          <a:xfrm>
            <a:off x="8308222" y="1700213"/>
            <a:ext cx="367631" cy="367631"/>
          </a:xfrm>
          <a:custGeom>
            <a:avLst/>
            <a:gdLst>
              <a:gd name="T0" fmla="*/ 330 w 512"/>
              <a:gd name="T1" fmla="*/ 345 h 512"/>
              <a:gd name="T2" fmla="*/ 362 w 512"/>
              <a:gd name="T3" fmla="*/ 306 h 512"/>
              <a:gd name="T4" fmla="*/ 362 w 512"/>
              <a:gd name="T5" fmla="*/ 352 h 512"/>
              <a:gd name="T6" fmla="*/ 330 w 512"/>
              <a:gd name="T7" fmla="*/ 352 h 512"/>
              <a:gd name="T8" fmla="*/ 330 w 512"/>
              <a:gd name="T9" fmla="*/ 345 h 512"/>
              <a:gd name="T10" fmla="*/ 117 w 512"/>
              <a:gd name="T11" fmla="*/ 288 h 512"/>
              <a:gd name="T12" fmla="*/ 181 w 512"/>
              <a:gd name="T13" fmla="*/ 288 h 512"/>
              <a:gd name="T14" fmla="*/ 181 w 512"/>
              <a:gd name="T15" fmla="*/ 256 h 512"/>
              <a:gd name="T16" fmla="*/ 117 w 512"/>
              <a:gd name="T17" fmla="*/ 256 h 512"/>
              <a:gd name="T18" fmla="*/ 117 w 512"/>
              <a:gd name="T19" fmla="*/ 288 h 512"/>
              <a:gd name="T20" fmla="*/ 330 w 512"/>
              <a:gd name="T21" fmla="*/ 121 h 512"/>
              <a:gd name="T22" fmla="*/ 175 w 512"/>
              <a:gd name="T23" fmla="*/ 170 h 512"/>
              <a:gd name="T24" fmla="*/ 330 w 512"/>
              <a:gd name="T25" fmla="*/ 170 h 512"/>
              <a:gd name="T26" fmla="*/ 330 w 512"/>
              <a:gd name="T27" fmla="*/ 121 h 512"/>
              <a:gd name="T28" fmla="*/ 330 w 512"/>
              <a:gd name="T29" fmla="*/ 312 h 512"/>
              <a:gd name="T30" fmla="*/ 362 w 512"/>
              <a:gd name="T31" fmla="*/ 273 h 512"/>
              <a:gd name="T32" fmla="*/ 362 w 512"/>
              <a:gd name="T33" fmla="*/ 232 h 512"/>
              <a:gd name="T34" fmla="*/ 330 w 512"/>
              <a:gd name="T35" fmla="*/ 270 h 512"/>
              <a:gd name="T36" fmla="*/ 330 w 512"/>
              <a:gd name="T37" fmla="*/ 312 h 512"/>
              <a:gd name="T38" fmla="*/ 330 w 512"/>
              <a:gd name="T39" fmla="*/ 237 h 512"/>
              <a:gd name="T40" fmla="*/ 362 w 512"/>
              <a:gd name="T41" fmla="*/ 198 h 512"/>
              <a:gd name="T42" fmla="*/ 362 w 512"/>
              <a:gd name="T43" fmla="*/ 192 h 512"/>
              <a:gd name="T44" fmla="*/ 330 w 512"/>
              <a:gd name="T45" fmla="*/ 192 h 512"/>
              <a:gd name="T46" fmla="*/ 330 w 512"/>
              <a:gd name="T47" fmla="*/ 237 h 512"/>
              <a:gd name="T48" fmla="*/ 352 w 512"/>
              <a:gd name="T49" fmla="*/ 170 h 512"/>
              <a:gd name="T50" fmla="*/ 382 w 512"/>
              <a:gd name="T51" fmla="*/ 170 h 512"/>
              <a:gd name="T52" fmla="*/ 352 w 512"/>
              <a:gd name="T53" fmla="*/ 135 h 512"/>
              <a:gd name="T54" fmla="*/ 352 w 512"/>
              <a:gd name="T55" fmla="*/ 170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3 w 512"/>
              <a:gd name="T67" fmla="*/ 174 h 512"/>
              <a:gd name="T68" fmla="*/ 349 w 512"/>
              <a:gd name="T69" fmla="*/ 99 h 512"/>
              <a:gd name="T70" fmla="*/ 338 w 512"/>
              <a:gd name="T71" fmla="*/ 96 h 512"/>
              <a:gd name="T72" fmla="*/ 103 w 512"/>
              <a:gd name="T73" fmla="*/ 171 h 512"/>
              <a:gd name="T74" fmla="*/ 96 w 512"/>
              <a:gd name="T75" fmla="*/ 183 h 512"/>
              <a:gd name="T76" fmla="*/ 106 w 512"/>
              <a:gd name="T77" fmla="*/ 192 h 512"/>
              <a:gd name="T78" fmla="*/ 138 w 512"/>
              <a:gd name="T79" fmla="*/ 192 h 512"/>
              <a:gd name="T80" fmla="*/ 138 w 512"/>
              <a:gd name="T81" fmla="*/ 234 h 512"/>
              <a:gd name="T82" fmla="*/ 106 w 512"/>
              <a:gd name="T83" fmla="*/ 234 h 512"/>
              <a:gd name="T84" fmla="*/ 96 w 512"/>
              <a:gd name="T85" fmla="*/ 245 h 512"/>
              <a:gd name="T86" fmla="*/ 96 w 512"/>
              <a:gd name="T87" fmla="*/ 298 h 512"/>
              <a:gd name="T88" fmla="*/ 106 w 512"/>
              <a:gd name="T89" fmla="*/ 309 h 512"/>
              <a:gd name="T90" fmla="*/ 192 w 512"/>
              <a:gd name="T91" fmla="*/ 309 h 512"/>
              <a:gd name="T92" fmla="*/ 202 w 512"/>
              <a:gd name="T93" fmla="*/ 298 h 512"/>
              <a:gd name="T94" fmla="*/ 202 w 512"/>
              <a:gd name="T95" fmla="*/ 245 h 512"/>
              <a:gd name="T96" fmla="*/ 192 w 512"/>
              <a:gd name="T97" fmla="*/ 234 h 512"/>
              <a:gd name="T98" fmla="*/ 160 w 512"/>
              <a:gd name="T99" fmla="*/ 234 h 512"/>
              <a:gd name="T100" fmla="*/ 160 w 512"/>
              <a:gd name="T101" fmla="*/ 192 h 512"/>
              <a:gd name="T102" fmla="*/ 309 w 512"/>
              <a:gd name="T103" fmla="*/ 192 h 512"/>
              <a:gd name="T104" fmla="*/ 309 w 512"/>
              <a:gd name="T105" fmla="*/ 352 h 512"/>
              <a:gd name="T106" fmla="*/ 128 w 512"/>
              <a:gd name="T107" fmla="*/ 352 h 512"/>
              <a:gd name="T108" fmla="*/ 117 w 512"/>
              <a:gd name="T109" fmla="*/ 362 h 512"/>
              <a:gd name="T110" fmla="*/ 128 w 512"/>
              <a:gd name="T111" fmla="*/ 373 h 512"/>
              <a:gd name="T112" fmla="*/ 384 w 512"/>
              <a:gd name="T113" fmla="*/ 373 h 512"/>
              <a:gd name="T114" fmla="*/ 394 w 512"/>
              <a:gd name="T115" fmla="*/ 362 h 512"/>
              <a:gd name="T116" fmla="*/ 384 w 512"/>
              <a:gd name="T117" fmla="*/ 352 h 512"/>
              <a:gd name="T118" fmla="*/ 384 w 512"/>
              <a:gd name="T119" fmla="*/ 192 h 512"/>
              <a:gd name="T120" fmla="*/ 405 w 512"/>
              <a:gd name="T121" fmla="*/ 192 h 512"/>
              <a:gd name="T122" fmla="*/ 415 w 512"/>
              <a:gd name="T123" fmla="*/ 185 h 512"/>
              <a:gd name="T124" fmla="*/ 413 w 512"/>
              <a:gd name="T125" fmla="*/ 1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30" y="345"/>
                </a:moveTo>
                <a:cubicBezTo>
                  <a:pt x="362" y="306"/>
                  <a:pt x="362" y="306"/>
                  <a:pt x="362" y="306"/>
                </a:cubicBezTo>
                <a:cubicBezTo>
                  <a:pt x="362" y="352"/>
                  <a:pt x="362" y="352"/>
                  <a:pt x="362" y="352"/>
                </a:cubicBezTo>
                <a:cubicBezTo>
                  <a:pt x="330" y="352"/>
                  <a:pt x="330" y="352"/>
                  <a:pt x="330" y="352"/>
                </a:cubicBezTo>
                <a:lnTo>
                  <a:pt x="330" y="345"/>
                </a:lnTo>
                <a:close/>
                <a:moveTo>
                  <a:pt x="117" y="288"/>
                </a:moveTo>
                <a:cubicBezTo>
                  <a:pt x="181" y="288"/>
                  <a:pt x="181" y="288"/>
                  <a:pt x="181" y="288"/>
                </a:cubicBezTo>
                <a:cubicBezTo>
                  <a:pt x="181" y="256"/>
                  <a:pt x="181" y="256"/>
                  <a:pt x="181" y="256"/>
                </a:cubicBezTo>
                <a:cubicBezTo>
                  <a:pt x="117" y="256"/>
                  <a:pt x="117" y="256"/>
                  <a:pt x="117" y="256"/>
                </a:cubicBezTo>
                <a:lnTo>
                  <a:pt x="117" y="288"/>
                </a:lnTo>
                <a:close/>
                <a:moveTo>
                  <a:pt x="330" y="121"/>
                </a:moveTo>
                <a:cubicBezTo>
                  <a:pt x="175" y="170"/>
                  <a:pt x="175" y="170"/>
                  <a:pt x="175" y="170"/>
                </a:cubicBezTo>
                <a:cubicBezTo>
                  <a:pt x="330" y="170"/>
                  <a:pt x="330" y="170"/>
                  <a:pt x="330" y="170"/>
                </a:cubicBezTo>
                <a:lnTo>
                  <a:pt x="330" y="121"/>
                </a:lnTo>
                <a:close/>
                <a:moveTo>
                  <a:pt x="330" y="312"/>
                </a:moveTo>
                <a:cubicBezTo>
                  <a:pt x="362" y="273"/>
                  <a:pt x="362" y="273"/>
                  <a:pt x="362" y="273"/>
                </a:cubicBezTo>
                <a:cubicBezTo>
                  <a:pt x="362" y="232"/>
                  <a:pt x="362" y="232"/>
                  <a:pt x="362" y="232"/>
                </a:cubicBezTo>
                <a:cubicBezTo>
                  <a:pt x="330" y="270"/>
                  <a:pt x="330" y="270"/>
                  <a:pt x="330" y="270"/>
                </a:cubicBezTo>
                <a:lnTo>
                  <a:pt x="330" y="312"/>
                </a:lnTo>
                <a:close/>
                <a:moveTo>
                  <a:pt x="330" y="237"/>
                </a:moveTo>
                <a:cubicBezTo>
                  <a:pt x="362" y="198"/>
                  <a:pt x="362" y="198"/>
                  <a:pt x="362" y="198"/>
                </a:cubicBezTo>
                <a:cubicBezTo>
                  <a:pt x="362" y="192"/>
                  <a:pt x="362" y="192"/>
                  <a:pt x="362" y="192"/>
                </a:cubicBezTo>
                <a:cubicBezTo>
                  <a:pt x="330" y="192"/>
                  <a:pt x="330" y="192"/>
                  <a:pt x="330" y="192"/>
                </a:cubicBezTo>
                <a:lnTo>
                  <a:pt x="330" y="237"/>
                </a:lnTo>
                <a:close/>
                <a:moveTo>
                  <a:pt x="352" y="170"/>
                </a:moveTo>
                <a:cubicBezTo>
                  <a:pt x="382" y="170"/>
                  <a:pt x="382" y="170"/>
                  <a:pt x="382" y="170"/>
                </a:cubicBezTo>
                <a:cubicBezTo>
                  <a:pt x="352" y="135"/>
                  <a:pt x="352" y="135"/>
                  <a:pt x="352" y="135"/>
                </a:cubicBezTo>
                <a:lnTo>
                  <a:pt x="352"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74"/>
                </a:moveTo>
                <a:cubicBezTo>
                  <a:pt x="349" y="99"/>
                  <a:pt x="349" y="99"/>
                  <a:pt x="349" y="99"/>
                </a:cubicBezTo>
                <a:cubicBezTo>
                  <a:pt x="346" y="96"/>
                  <a:pt x="342" y="95"/>
                  <a:pt x="338" y="96"/>
                </a:cubicBezTo>
                <a:cubicBezTo>
                  <a:pt x="103" y="171"/>
                  <a:pt x="103" y="171"/>
                  <a:pt x="103" y="171"/>
                </a:cubicBezTo>
                <a:cubicBezTo>
                  <a:pt x="98" y="172"/>
                  <a:pt x="95" y="177"/>
                  <a:pt x="96" y="183"/>
                </a:cubicBezTo>
                <a:cubicBezTo>
                  <a:pt x="97" y="188"/>
                  <a:pt x="101" y="192"/>
                  <a:pt x="106" y="192"/>
                </a:cubicBezTo>
                <a:cubicBezTo>
                  <a:pt x="138" y="192"/>
                  <a:pt x="138" y="192"/>
                  <a:pt x="138" y="192"/>
                </a:cubicBezTo>
                <a:cubicBezTo>
                  <a:pt x="138" y="234"/>
                  <a:pt x="138" y="234"/>
                  <a:pt x="138" y="234"/>
                </a:cubicBezTo>
                <a:cubicBezTo>
                  <a:pt x="106" y="234"/>
                  <a:pt x="106" y="234"/>
                  <a:pt x="106" y="234"/>
                </a:cubicBezTo>
                <a:cubicBezTo>
                  <a:pt x="100" y="234"/>
                  <a:pt x="96" y="239"/>
                  <a:pt x="96" y="245"/>
                </a:cubicBezTo>
                <a:cubicBezTo>
                  <a:pt x="96" y="298"/>
                  <a:pt x="96" y="298"/>
                  <a:pt x="96" y="298"/>
                </a:cubicBezTo>
                <a:cubicBezTo>
                  <a:pt x="96" y="304"/>
                  <a:pt x="100" y="309"/>
                  <a:pt x="106" y="309"/>
                </a:cubicBezTo>
                <a:cubicBezTo>
                  <a:pt x="192" y="309"/>
                  <a:pt x="192" y="309"/>
                  <a:pt x="192" y="309"/>
                </a:cubicBezTo>
                <a:cubicBezTo>
                  <a:pt x="198" y="309"/>
                  <a:pt x="202" y="304"/>
                  <a:pt x="202" y="298"/>
                </a:cubicBezTo>
                <a:cubicBezTo>
                  <a:pt x="202" y="245"/>
                  <a:pt x="202" y="245"/>
                  <a:pt x="202" y="245"/>
                </a:cubicBezTo>
                <a:cubicBezTo>
                  <a:pt x="202" y="239"/>
                  <a:pt x="198" y="234"/>
                  <a:pt x="192" y="234"/>
                </a:cubicBezTo>
                <a:cubicBezTo>
                  <a:pt x="160" y="234"/>
                  <a:pt x="160" y="234"/>
                  <a:pt x="160" y="234"/>
                </a:cubicBezTo>
                <a:cubicBezTo>
                  <a:pt x="160" y="192"/>
                  <a:pt x="160" y="192"/>
                  <a:pt x="160" y="192"/>
                </a:cubicBezTo>
                <a:cubicBezTo>
                  <a:pt x="309" y="192"/>
                  <a:pt x="309" y="192"/>
                  <a:pt x="309" y="192"/>
                </a:cubicBezTo>
                <a:cubicBezTo>
                  <a:pt x="309" y="352"/>
                  <a:pt x="309" y="352"/>
                  <a:pt x="309" y="352"/>
                </a:cubicBezTo>
                <a:cubicBezTo>
                  <a:pt x="128" y="352"/>
                  <a:pt x="128" y="352"/>
                  <a:pt x="128" y="352"/>
                </a:cubicBezTo>
                <a:cubicBezTo>
                  <a:pt x="122" y="352"/>
                  <a:pt x="117" y="356"/>
                  <a:pt x="117" y="362"/>
                </a:cubicBezTo>
                <a:cubicBezTo>
                  <a:pt x="117" y="368"/>
                  <a:pt x="122" y="373"/>
                  <a:pt x="128" y="373"/>
                </a:cubicBezTo>
                <a:cubicBezTo>
                  <a:pt x="384" y="373"/>
                  <a:pt x="384" y="373"/>
                  <a:pt x="384" y="373"/>
                </a:cubicBezTo>
                <a:cubicBezTo>
                  <a:pt x="390" y="373"/>
                  <a:pt x="394" y="368"/>
                  <a:pt x="394" y="362"/>
                </a:cubicBezTo>
                <a:cubicBezTo>
                  <a:pt x="394" y="356"/>
                  <a:pt x="390" y="352"/>
                  <a:pt x="384" y="352"/>
                </a:cubicBezTo>
                <a:cubicBezTo>
                  <a:pt x="384" y="192"/>
                  <a:pt x="384" y="192"/>
                  <a:pt x="384" y="192"/>
                </a:cubicBezTo>
                <a:cubicBezTo>
                  <a:pt x="405" y="192"/>
                  <a:pt x="405" y="192"/>
                  <a:pt x="405" y="192"/>
                </a:cubicBezTo>
                <a:cubicBezTo>
                  <a:pt x="409" y="192"/>
                  <a:pt x="413" y="189"/>
                  <a:pt x="415" y="185"/>
                </a:cubicBezTo>
                <a:cubicBezTo>
                  <a:pt x="416" y="182"/>
                  <a:pt x="416" y="177"/>
                  <a:pt x="413" y="1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9" name="Group 108">
            <a:extLst>
              <a:ext uri="{FF2B5EF4-FFF2-40B4-BE49-F238E27FC236}">
                <a16:creationId xmlns:a16="http://schemas.microsoft.com/office/drawing/2014/main" id="{826C2C46-3E0B-40A8-9522-3723340FD5B7}"/>
              </a:ext>
            </a:extLst>
          </p:cNvPr>
          <p:cNvGrpSpPr>
            <a:grpSpLocks noChangeAspect="1"/>
          </p:cNvGrpSpPr>
          <p:nvPr/>
        </p:nvGrpSpPr>
        <p:grpSpPr bwMode="auto">
          <a:xfrm>
            <a:off x="8742481" y="1700213"/>
            <a:ext cx="367631" cy="367631"/>
            <a:chOff x="655" y="442"/>
            <a:chExt cx="340" cy="340"/>
          </a:xfrm>
          <a:solidFill>
            <a:schemeClr val="accent2"/>
          </a:solidFill>
        </p:grpSpPr>
        <p:sp>
          <p:nvSpPr>
            <p:cNvPr id="110" name="Freeform 109">
              <a:extLst>
                <a:ext uri="{FF2B5EF4-FFF2-40B4-BE49-F238E27FC236}">
                  <a16:creationId xmlns:a16="http://schemas.microsoft.com/office/drawing/2014/main" id="{46923139-A36B-40D1-97E6-C3F6F4570E37}"/>
                </a:ext>
              </a:extLst>
            </p:cNvPr>
            <p:cNvSpPr>
              <a:spLocks noEditPoints="1"/>
            </p:cNvSpPr>
            <p:nvPr/>
          </p:nvSpPr>
          <p:spPr bwMode="auto">
            <a:xfrm>
              <a:off x="655" y="4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1" name="Freeform 110">
              <a:extLst>
                <a:ext uri="{FF2B5EF4-FFF2-40B4-BE49-F238E27FC236}">
                  <a16:creationId xmlns:a16="http://schemas.microsoft.com/office/drawing/2014/main" id="{4623C441-21EC-463F-89FA-9769A1E78FAB}"/>
                </a:ext>
              </a:extLst>
            </p:cNvPr>
            <p:cNvSpPr>
              <a:spLocks noEditPoints="1"/>
            </p:cNvSpPr>
            <p:nvPr/>
          </p:nvSpPr>
          <p:spPr bwMode="auto">
            <a:xfrm>
              <a:off x="718" y="505"/>
              <a:ext cx="213" cy="185"/>
            </a:xfrm>
            <a:custGeom>
              <a:avLst/>
              <a:gdLst>
                <a:gd name="T0" fmla="*/ 318 w 321"/>
                <a:gd name="T1" fmla="*/ 79 h 278"/>
                <a:gd name="T2" fmla="*/ 254 w 321"/>
                <a:gd name="T3" fmla="*/ 4 h 278"/>
                <a:gd name="T4" fmla="*/ 243 w 321"/>
                <a:gd name="T5" fmla="*/ 1 h 278"/>
                <a:gd name="T6" fmla="*/ 8 w 321"/>
                <a:gd name="T7" fmla="*/ 76 h 278"/>
                <a:gd name="T8" fmla="*/ 1 w 321"/>
                <a:gd name="T9" fmla="*/ 88 h 278"/>
                <a:gd name="T10" fmla="*/ 11 w 321"/>
                <a:gd name="T11" fmla="*/ 97 h 278"/>
                <a:gd name="T12" fmla="*/ 43 w 321"/>
                <a:gd name="T13" fmla="*/ 97 h 278"/>
                <a:gd name="T14" fmla="*/ 43 w 321"/>
                <a:gd name="T15" fmla="*/ 139 h 278"/>
                <a:gd name="T16" fmla="*/ 11 w 321"/>
                <a:gd name="T17" fmla="*/ 139 h 278"/>
                <a:gd name="T18" fmla="*/ 1 w 321"/>
                <a:gd name="T19" fmla="*/ 150 h 278"/>
                <a:gd name="T20" fmla="*/ 1 w 321"/>
                <a:gd name="T21" fmla="*/ 203 h 278"/>
                <a:gd name="T22" fmla="*/ 11 w 321"/>
                <a:gd name="T23" fmla="*/ 214 h 278"/>
                <a:gd name="T24" fmla="*/ 97 w 321"/>
                <a:gd name="T25" fmla="*/ 214 h 278"/>
                <a:gd name="T26" fmla="*/ 107 w 321"/>
                <a:gd name="T27" fmla="*/ 203 h 278"/>
                <a:gd name="T28" fmla="*/ 107 w 321"/>
                <a:gd name="T29" fmla="*/ 150 h 278"/>
                <a:gd name="T30" fmla="*/ 97 w 321"/>
                <a:gd name="T31" fmla="*/ 139 h 278"/>
                <a:gd name="T32" fmla="*/ 65 w 321"/>
                <a:gd name="T33" fmla="*/ 139 h 278"/>
                <a:gd name="T34" fmla="*/ 65 w 321"/>
                <a:gd name="T35" fmla="*/ 97 h 278"/>
                <a:gd name="T36" fmla="*/ 214 w 321"/>
                <a:gd name="T37" fmla="*/ 97 h 278"/>
                <a:gd name="T38" fmla="*/ 214 w 321"/>
                <a:gd name="T39" fmla="*/ 257 h 278"/>
                <a:gd name="T40" fmla="*/ 33 w 321"/>
                <a:gd name="T41" fmla="*/ 257 h 278"/>
                <a:gd name="T42" fmla="*/ 22 w 321"/>
                <a:gd name="T43" fmla="*/ 267 h 278"/>
                <a:gd name="T44" fmla="*/ 33 w 321"/>
                <a:gd name="T45" fmla="*/ 278 h 278"/>
                <a:gd name="T46" fmla="*/ 289 w 321"/>
                <a:gd name="T47" fmla="*/ 278 h 278"/>
                <a:gd name="T48" fmla="*/ 299 w 321"/>
                <a:gd name="T49" fmla="*/ 267 h 278"/>
                <a:gd name="T50" fmla="*/ 289 w 321"/>
                <a:gd name="T51" fmla="*/ 257 h 278"/>
                <a:gd name="T52" fmla="*/ 289 w 321"/>
                <a:gd name="T53" fmla="*/ 97 h 278"/>
                <a:gd name="T54" fmla="*/ 310 w 321"/>
                <a:gd name="T55" fmla="*/ 97 h 278"/>
                <a:gd name="T56" fmla="*/ 320 w 321"/>
                <a:gd name="T57" fmla="*/ 90 h 278"/>
                <a:gd name="T58" fmla="*/ 318 w 321"/>
                <a:gd name="T59" fmla="*/ 79 h 278"/>
                <a:gd name="T60" fmla="*/ 86 w 321"/>
                <a:gd name="T61" fmla="*/ 161 h 278"/>
                <a:gd name="T62" fmla="*/ 86 w 321"/>
                <a:gd name="T63" fmla="*/ 193 h 278"/>
                <a:gd name="T64" fmla="*/ 22 w 321"/>
                <a:gd name="T65" fmla="*/ 193 h 278"/>
                <a:gd name="T66" fmla="*/ 22 w 321"/>
                <a:gd name="T67" fmla="*/ 161 h 278"/>
                <a:gd name="T68" fmla="*/ 86 w 321"/>
                <a:gd name="T69" fmla="*/ 161 h 278"/>
                <a:gd name="T70" fmla="*/ 257 w 321"/>
                <a:gd name="T71" fmla="*/ 75 h 278"/>
                <a:gd name="T72" fmla="*/ 257 w 321"/>
                <a:gd name="T73" fmla="*/ 40 h 278"/>
                <a:gd name="T74" fmla="*/ 287 w 321"/>
                <a:gd name="T75" fmla="*/ 75 h 278"/>
                <a:gd name="T76" fmla="*/ 257 w 321"/>
                <a:gd name="T77" fmla="*/ 75 h 278"/>
                <a:gd name="T78" fmla="*/ 235 w 321"/>
                <a:gd name="T79" fmla="*/ 26 h 278"/>
                <a:gd name="T80" fmla="*/ 235 w 321"/>
                <a:gd name="T81" fmla="*/ 75 h 278"/>
                <a:gd name="T82" fmla="*/ 80 w 321"/>
                <a:gd name="T83" fmla="*/ 75 h 278"/>
                <a:gd name="T84" fmla="*/ 235 w 321"/>
                <a:gd name="T85" fmla="*/ 26 h 278"/>
                <a:gd name="T86" fmla="*/ 267 w 321"/>
                <a:gd name="T87" fmla="*/ 178 h 278"/>
                <a:gd name="T88" fmla="*/ 235 w 321"/>
                <a:gd name="T89" fmla="*/ 217 h 278"/>
                <a:gd name="T90" fmla="*/ 235 w 321"/>
                <a:gd name="T91" fmla="*/ 175 h 278"/>
                <a:gd name="T92" fmla="*/ 267 w 321"/>
                <a:gd name="T93" fmla="*/ 137 h 278"/>
                <a:gd name="T94" fmla="*/ 267 w 321"/>
                <a:gd name="T95" fmla="*/ 178 h 278"/>
                <a:gd name="T96" fmla="*/ 235 w 321"/>
                <a:gd name="T97" fmla="*/ 257 h 278"/>
                <a:gd name="T98" fmla="*/ 235 w 321"/>
                <a:gd name="T99" fmla="*/ 250 h 278"/>
                <a:gd name="T100" fmla="*/ 267 w 321"/>
                <a:gd name="T101" fmla="*/ 211 h 278"/>
                <a:gd name="T102" fmla="*/ 267 w 321"/>
                <a:gd name="T103" fmla="*/ 257 h 278"/>
                <a:gd name="T104" fmla="*/ 235 w 321"/>
                <a:gd name="T105" fmla="*/ 257 h 278"/>
                <a:gd name="T106" fmla="*/ 267 w 321"/>
                <a:gd name="T107" fmla="*/ 103 h 278"/>
                <a:gd name="T108" fmla="*/ 235 w 321"/>
                <a:gd name="T109" fmla="*/ 142 h 278"/>
                <a:gd name="T110" fmla="*/ 235 w 321"/>
                <a:gd name="T111" fmla="*/ 97 h 278"/>
                <a:gd name="T112" fmla="*/ 267 w 321"/>
                <a:gd name="T113" fmla="*/ 97 h 278"/>
                <a:gd name="T114" fmla="*/ 267 w 321"/>
                <a:gd name="T115" fmla="*/ 10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1" h="278">
                  <a:moveTo>
                    <a:pt x="318" y="79"/>
                  </a:moveTo>
                  <a:cubicBezTo>
                    <a:pt x="254" y="4"/>
                    <a:pt x="254" y="4"/>
                    <a:pt x="254" y="4"/>
                  </a:cubicBezTo>
                  <a:cubicBezTo>
                    <a:pt x="251" y="1"/>
                    <a:pt x="247" y="0"/>
                    <a:pt x="243" y="1"/>
                  </a:cubicBezTo>
                  <a:cubicBezTo>
                    <a:pt x="8" y="76"/>
                    <a:pt x="8" y="76"/>
                    <a:pt x="8" y="76"/>
                  </a:cubicBezTo>
                  <a:cubicBezTo>
                    <a:pt x="3" y="77"/>
                    <a:pt x="0" y="82"/>
                    <a:pt x="1" y="88"/>
                  </a:cubicBezTo>
                  <a:cubicBezTo>
                    <a:pt x="2" y="93"/>
                    <a:pt x="6" y="97"/>
                    <a:pt x="11" y="97"/>
                  </a:cubicBezTo>
                  <a:cubicBezTo>
                    <a:pt x="43" y="97"/>
                    <a:pt x="43" y="97"/>
                    <a:pt x="43" y="97"/>
                  </a:cubicBezTo>
                  <a:cubicBezTo>
                    <a:pt x="43" y="139"/>
                    <a:pt x="43" y="139"/>
                    <a:pt x="43" y="139"/>
                  </a:cubicBezTo>
                  <a:cubicBezTo>
                    <a:pt x="11" y="139"/>
                    <a:pt x="11" y="139"/>
                    <a:pt x="11" y="139"/>
                  </a:cubicBezTo>
                  <a:cubicBezTo>
                    <a:pt x="5" y="139"/>
                    <a:pt x="1" y="144"/>
                    <a:pt x="1" y="150"/>
                  </a:cubicBezTo>
                  <a:cubicBezTo>
                    <a:pt x="1" y="203"/>
                    <a:pt x="1" y="203"/>
                    <a:pt x="1" y="203"/>
                  </a:cubicBezTo>
                  <a:cubicBezTo>
                    <a:pt x="1" y="209"/>
                    <a:pt x="5" y="214"/>
                    <a:pt x="11" y="214"/>
                  </a:cubicBezTo>
                  <a:cubicBezTo>
                    <a:pt x="97" y="214"/>
                    <a:pt x="97" y="214"/>
                    <a:pt x="97" y="214"/>
                  </a:cubicBezTo>
                  <a:cubicBezTo>
                    <a:pt x="103" y="214"/>
                    <a:pt x="107" y="209"/>
                    <a:pt x="107" y="203"/>
                  </a:cubicBezTo>
                  <a:cubicBezTo>
                    <a:pt x="107" y="150"/>
                    <a:pt x="107" y="150"/>
                    <a:pt x="107" y="150"/>
                  </a:cubicBezTo>
                  <a:cubicBezTo>
                    <a:pt x="107" y="144"/>
                    <a:pt x="103" y="139"/>
                    <a:pt x="97" y="139"/>
                  </a:cubicBezTo>
                  <a:cubicBezTo>
                    <a:pt x="65" y="139"/>
                    <a:pt x="65" y="139"/>
                    <a:pt x="65" y="139"/>
                  </a:cubicBezTo>
                  <a:cubicBezTo>
                    <a:pt x="65" y="97"/>
                    <a:pt x="65" y="97"/>
                    <a:pt x="65" y="97"/>
                  </a:cubicBezTo>
                  <a:cubicBezTo>
                    <a:pt x="214" y="97"/>
                    <a:pt x="214" y="97"/>
                    <a:pt x="214" y="97"/>
                  </a:cubicBezTo>
                  <a:cubicBezTo>
                    <a:pt x="214" y="257"/>
                    <a:pt x="214" y="257"/>
                    <a:pt x="214" y="257"/>
                  </a:cubicBezTo>
                  <a:cubicBezTo>
                    <a:pt x="33" y="257"/>
                    <a:pt x="33" y="257"/>
                    <a:pt x="33" y="257"/>
                  </a:cubicBezTo>
                  <a:cubicBezTo>
                    <a:pt x="27" y="257"/>
                    <a:pt x="22" y="261"/>
                    <a:pt x="22" y="267"/>
                  </a:cubicBezTo>
                  <a:cubicBezTo>
                    <a:pt x="22" y="273"/>
                    <a:pt x="27" y="278"/>
                    <a:pt x="33" y="278"/>
                  </a:cubicBezTo>
                  <a:cubicBezTo>
                    <a:pt x="289" y="278"/>
                    <a:pt x="289" y="278"/>
                    <a:pt x="289" y="278"/>
                  </a:cubicBezTo>
                  <a:cubicBezTo>
                    <a:pt x="295" y="278"/>
                    <a:pt x="299" y="273"/>
                    <a:pt x="299" y="267"/>
                  </a:cubicBezTo>
                  <a:cubicBezTo>
                    <a:pt x="299" y="261"/>
                    <a:pt x="295" y="257"/>
                    <a:pt x="289" y="257"/>
                  </a:cubicBezTo>
                  <a:cubicBezTo>
                    <a:pt x="289" y="97"/>
                    <a:pt x="289" y="97"/>
                    <a:pt x="289" y="97"/>
                  </a:cubicBezTo>
                  <a:cubicBezTo>
                    <a:pt x="310" y="97"/>
                    <a:pt x="310" y="97"/>
                    <a:pt x="310" y="97"/>
                  </a:cubicBezTo>
                  <a:cubicBezTo>
                    <a:pt x="314" y="97"/>
                    <a:pt x="318" y="94"/>
                    <a:pt x="320" y="90"/>
                  </a:cubicBezTo>
                  <a:cubicBezTo>
                    <a:pt x="321" y="87"/>
                    <a:pt x="321" y="82"/>
                    <a:pt x="318" y="79"/>
                  </a:cubicBezTo>
                  <a:close/>
                  <a:moveTo>
                    <a:pt x="86" y="161"/>
                  </a:moveTo>
                  <a:cubicBezTo>
                    <a:pt x="86" y="193"/>
                    <a:pt x="86" y="193"/>
                    <a:pt x="86" y="193"/>
                  </a:cubicBezTo>
                  <a:cubicBezTo>
                    <a:pt x="22" y="193"/>
                    <a:pt x="22" y="193"/>
                    <a:pt x="22" y="193"/>
                  </a:cubicBezTo>
                  <a:cubicBezTo>
                    <a:pt x="22" y="161"/>
                    <a:pt x="22" y="161"/>
                    <a:pt x="22" y="161"/>
                  </a:cubicBezTo>
                  <a:lnTo>
                    <a:pt x="86" y="161"/>
                  </a:lnTo>
                  <a:close/>
                  <a:moveTo>
                    <a:pt x="257" y="75"/>
                  </a:moveTo>
                  <a:cubicBezTo>
                    <a:pt x="257" y="40"/>
                    <a:pt x="257" y="40"/>
                    <a:pt x="257" y="40"/>
                  </a:cubicBezTo>
                  <a:cubicBezTo>
                    <a:pt x="287" y="75"/>
                    <a:pt x="287" y="75"/>
                    <a:pt x="287" y="75"/>
                  </a:cubicBezTo>
                  <a:lnTo>
                    <a:pt x="257" y="75"/>
                  </a:lnTo>
                  <a:close/>
                  <a:moveTo>
                    <a:pt x="235" y="26"/>
                  </a:moveTo>
                  <a:cubicBezTo>
                    <a:pt x="235" y="75"/>
                    <a:pt x="235" y="75"/>
                    <a:pt x="235" y="75"/>
                  </a:cubicBezTo>
                  <a:cubicBezTo>
                    <a:pt x="80" y="75"/>
                    <a:pt x="80" y="75"/>
                    <a:pt x="80" y="75"/>
                  </a:cubicBezTo>
                  <a:lnTo>
                    <a:pt x="235" y="26"/>
                  </a:lnTo>
                  <a:close/>
                  <a:moveTo>
                    <a:pt x="267" y="178"/>
                  </a:moveTo>
                  <a:cubicBezTo>
                    <a:pt x="235" y="217"/>
                    <a:pt x="235" y="217"/>
                    <a:pt x="235" y="217"/>
                  </a:cubicBezTo>
                  <a:cubicBezTo>
                    <a:pt x="235" y="175"/>
                    <a:pt x="235" y="175"/>
                    <a:pt x="235" y="175"/>
                  </a:cubicBezTo>
                  <a:cubicBezTo>
                    <a:pt x="267" y="137"/>
                    <a:pt x="267" y="137"/>
                    <a:pt x="267" y="137"/>
                  </a:cubicBezTo>
                  <a:lnTo>
                    <a:pt x="267" y="178"/>
                  </a:lnTo>
                  <a:close/>
                  <a:moveTo>
                    <a:pt x="235" y="257"/>
                  </a:moveTo>
                  <a:cubicBezTo>
                    <a:pt x="235" y="250"/>
                    <a:pt x="235" y="250"/>
                    <a:pt x="235" y="250"/>
                  </a:cubicBezTo>
                  <a:cubicBezTo>
                    <a:pt x="267" y="211"/>
                    <a:pt x="267" y="211"/>
                    <a:pt x="267" y="211"/>
                  </a:cubicBezTo>
                  <a:cubicBezTo>
                    <a:pt x="267" y="257"/>
                    <a:pt x="267" y="257"/>
                    <a:pt x="267" y="257"/>
                  </a:cubicBezTo>
                  <a:lnTo>
                    <a:pt x="235" y="257"/>
                  </a:lnTo>
                  <a:close/>
                  <a:moveTo>
                    <a:pt x="267" y="103"/>
                  </a:moveTo>
                  <a:cubicBezTo>
                    <a:pt x="235" y="142"/>
                    <a:pt x="235" y="142"/>
                    <a:pt x="235" y="142"/>
                  </a:cubicBezTo>
                  <a:cubicBezTo>
                    <a:pt x="235" y="97"/>
                    <a:pt x="235" y="97"/>
                    <a:pt x="235" y="97"/>
                  </a:cubicBezTo>
                  <a:cubicBezTo>
                    <a:pt x="267" y="97"/>
                    <a:pt x="267" y="97"/>
                    <a:pt x="267" y="97"/>
                  </a:cubicBezTo>
                  <a:lnTo>
                    <a:pt x="267" y="1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2" name="Group 285">
            <a:extLst>
              <a:ext uri="{FF2B5EF4-FFF2-40B4-BE49-F238E27FC236}">
                <a16:creationId xmlns:a16="http://schemas.microsoft.com/office/drawing/2014/main" id="{91735BDA-F52B-419B-9B36-D9517F31CB55}"/>
              </a:ext>
            </a:extLst>
          </p:cNvPr>
          <p:cNvGrpSpPr>
            <a:grpSpLocks noChangeAspect="1"/>
          </p:cNvGrpSpPr>
          <p:nvPr/>
        </p:nvGrpSpPr>
        <p:grpSpPr bwMode="auto">
          <a:xfrm>
            <a:off x="7870831" y="1700213"/>
            <a:ext cx="370763" cy="369676"/>
            <a:chOff x="388" y="758"/>
            <a:chExt cx="341" cy="340"/>
          </a:xfrm>
          <a:solidFill>
            <a:schemeClr val="accent3"/>
          </a:solidFill>
        </p:grpSpPr>
        <p:sp>
          <p:nvSpPr>
            <p:cNvPr id="113" name="Freeform 286">
              <a:extLst>
                <a:ext uri="{FF2B5EF4-FFF2-40B4-BE49-F238E27FC236}">
                  <a16:creationId xmlns:a16="http://schemas.microsoft.com/office/drawing/2014/main" id="{2A49ACC4-4010-449D-BC4B-E78095F035A4}"/>
                </a:ext>
              </a:extLst>
            </p:cNvPr>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4" name="Freeform 287">
              <a:extLst>
                <a:ext uri="{FF2B5EF4-FFF2-40B4-BE49-F238E27FC236}">
                  <a16:creationId xmlns:a16="http://schemas.microsoft.com/office/drawing/2014/main" id="{79402736-3386-40FB-BDEA-15168E6B9AB4}"/>
                </a:ext>
              </a:extLst>
            </p:cNvPr>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5" name="Freeform 5">
            <a:extLst>
              <a:ext uri="{FF2B5EF4-FFF2-40B4-BE49-F238E27FC236}">
                <a16:creationId xmlns:a16="http://schemas.microsoft.com/office/drawing/2014/main" id="{61DD5AC7-2AD9-40D6-AF60-F71A97E1E769}"/>
              </a:ext>
            </a:extLst>
          </p:cNvPr>
          <p:cNvSpPr>
            <a:spLocks noChangeAspect="1" noEditPoints="1"/>
          </p:cNvSpPr>
          <p:nvPr/>
        </p:nvSpPr>
        <p:spPr bwMode="auto">
          <a:xfrm>
            <a:off x="7434316" y="1700213"/>
            <a:ext cx="369887" cy="369888"/>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6" name="Freeform 575">
            <a:extLst>
              <a:ext uri="{FF2B5EF4-FFF2-40B4-BE49-F238E27FC236}">
                <a16:creationId xmlns:a16="http://schemas.microsoft.com/office/drawing/2014/main" id="{66B923ED-7F60-4740-8109-1BB7D3B0A85C}"/>
              </a:ext>
            </a:extLst>
          </p:cNvPr>
          <p:cNvSpPr>
            <a:spLocks noChangeAspect="1" noEditPoints="1"/>
          </p:cNvSpPr>
          <p:nvPr/>
        </p:nvSpPr>
        <p:spPr bwMode="auto">
          <a:xfrm>
            <a:off x="6565798" y="1700213"/>
            <a:ext cx="367631" cy="367631"/>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7" name="Group 578">
            <a:extLst>
              <a:ext uri="{FF2B5EF4-FFF2-40B4-BE49-F238E27FC236}">
                <a16:creationId xmlns:a16="http://schemas.microsoft.com/office/drawing/2014/main" id="{A1B78C7E-3934-4CB7-AB31-BF23F9A94F9D}"/>
              </a:ext>
            </a:extLst>
          </p:cNvPr>
          <p:cNvGrpSpPr>
            <a:grpSpLocks noChangeAspect="1"/>
          </p:cNvGrpSpPr>
          <p:nvPr/>
        </p:nvGrpSpPr>
        <p:grpSpPr bwMode="auto">
          <a:xfrm>
            <a:off x="7000057" y="1700213"/>
            <a:ext cx="367631" cy="368713"/>
            <a:chOff x="399" y="2382"/>
            <a:chExt cx="340" cy="341"/>
          </a:xfrm>
          <a:solidFill>
            <a:schemeClr val="accent1"/>
          </a:solidFill>
        </p:grpSpPr>
        <p:sp>
          <p:nvSpPr>
            <p:cNvPr id="118" name="Freeform 579">
              <a:extLst>
                <a:ext uri="{FF2B5EF4-FFF2-40B4-BE49-F238E27FC236}">
                  <a16:creationId xmlns:a16="http://schemas.microsoft.com/office/drawing/2014/main" id="{D064764A-857A-4111-92FA-3AB4EC6D8231}"/>
                </a:ext>
              </a:extLst>
            </p:cNvPr>
            <p:cNvSpPr>
              <a:spLocks noEditPoints="1"/>
            </p:cNvSpPr>
            <p:nvPr/>
          </p:nvSpPr>
          <p:spPr bwMode="auto">
            <a:xfrm>
              <a:off x="463" y="2503"/>
              <a:ext cx="212" cy="127"/>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9" name="Freeform 580">
              <a:extLst>
                <a:ext uri="{FF2B5EF4-FFF2-40B4-BE49-F238E27FC236}">
                  <a16:creationId xmlns:a16="http://schemas.microsoft.com/office/drawing/2014/main" id="{28CFA808-5523-4423-9415-39EE47E66298}"/>
                </a:ext>
              </a:extLst>
            </p:cNvPr>
            <p:cNvSpPr>
              <a:spLocks/>
            </p:cNvSpPr>
            <p:nvPr/>
          </p:nvSpPr>
          <p:spPr bwMode="auto">
            <a:xfrm>
              <a:off x="601" y="2445"/>
              <a:ext cx="20" cy="44"/>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0" name="Freeform 581">
              <a:extLst>
                <a:ext uri="{FF2B5EF4-FFF2-40B4-BE49-F238E27FC236}">
                  <a16:creationId xmlns:a16="http://schemas.microsoft.com/office/drawing/2014/main" id="{4F2F7675-1F80-4A78-8F4F-035B043DFEF9}"/>
                </a:ext>
              </a:extLst>
            </p:cNvPr>
            <p:cNvSpPr>
              <a:spLocks/>
            </p:cNvSpPr>
            <p:nvPr/>
          </p:nvSpPr>
          <p:spPr bwMode="auto">
            <a:xfrm>
              <a:off x="629" y="2445"/>
              <a:ext cx="21" cy="44"/>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1" name="Freeform 582">
              <a:extLst>
                <a:ext uri="{FF2B5EF4-FFF2-40B4-BE49-F238E27FC236}">
                  <a16:creationId xmlns:a16="http://schemas.microsoft.com/office/drawing/2014/main" id="{55AE787A-DF6F-4052-BE8A-DC7BC90E7D77}"/>
                </a:ext>
              </a:extLst>
            </p:cNvPr>
            <p:cNvSpPr>
              <a:spLocks noEditPoints="1"/>
            </p:cNvSpPr>
            <p:nvPr/>
          </p:nvSpPr>
          <p:spPr bwMode="auto">
            <a:xfrm>
              <a:off x="399" y="23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2" name="Freeform 933">
            <a:extLst>
              <a:ext uri="{FF2B5EF4-FFF2-40B4-BE49-F238E27FC236}">
                <a16:creationId xmlns:a16="http://schemas.microsoft.com/office/drawing/2014/main" id="{D87BB4E9-4B8B-4DD7-97C5-BB8C99BD4C55}"/>
              </a:ext>
            </a:extLst>
          </p:cNvPr>
          <p:cNvSpPr>
            <a:spLocks noChangeAspect="1" noEditPoints="1"/>
          </p:cNvSpPr>
          <p:nvPr/>
        </p:nvSpPr>
        <p:spPr bwMode="auto">
          <a:xfrm>
            <a:off x="9176740" y="1700213"/>
            <a:ext cx="367631" cy="367631"/>
          </a:xfrm>
          <a:custGeom>
            <a:avLst/>
            <a:gdLst>
              <a:gd name="T0" fmla="*/ 288 w 512"/>
              <a:gd name="T1" fmla="*/ 373 h 512"/>
              <a:gd name="T2" fmla="*/ 288 w 512"/>
              <a:gd name="T3" fmla="*/ 352 h 512"/>
              <a:gd name="T4" fmla="*/ 170 w 512"/>
              <a:gd name="T5" fmla="*/ 352 h 512"/>
              <a:gd name="T6" fmla="*/ 170 w 512"/>
              <a:gd name="T7" fmla="*/ 373 h 512"/>
              <a:gd name="T8" fmla="*/ 170 w 512"/>
              <a:gd name="T9" fmla="*/ 352 h 512"/>
              <a:gd name="T10" fmla="*/ 256 w 512"/>
              <a:gd name="T11" fmla="*/ 512 h 512"/>
              <a:gd name="T12" fmla="*/ 256 w 512"/>
              <a:gd name="T13" fmla="*/ 0 h 512"/>
              <a:gd name="T14" fmla="*/ 405 w 512"/>
              <a:gd name="T15" fmla="*/ 362 h 512"/>
              <a:gd name="T16" fmla="*/ 341 w 512"/>
              <a:gd name="T17" fmla="*/ 352 h 512"/>
              <a:gd name="T18" fmla="*/ 341 w 512"/>
              <a:gd name="T19" fmla="*/ 160 h 512"/>
              <a:gd name="T20" fmla="*/ 320 w 512"/>
              <a:gd name="T21" fmla="*/ 160 h 512"/>
              <a:gd name="T22" fmla="*/ 306 w 512"/>
              <a:gd name="T23" fmla="*/ 298 h 512"/>
              <a:gd name="T24" fmla="*/ 245 w 512"/>
              <a:gd name="T25" fmla="*/ 161 h 512"/>
              <a:gd name="T26" fmla="*/ 174 w 512"/>
              <a:gd name="T27" fmla="*/ 163 h 512"/>
              <a:gd name="T28" fmla="*/ 170 w 512"/>
              <a:gd name="T29" fmla="*/ 266 h 512"/>
              <a:gd name="T30" fmla="*/ 106 w 512"/>
              <a:gd name="T31" fmla="*/ 277 h 512"/>
              <a:gd name="T32" fmla="*/ 117 w 512"/>
              <a:gd name="T33" fmla="*/ 373 h 512"/>
              <a:gd name="T34" fmla="*/ 170 w 512"/>
              <a:gd name="T35" fmla="*/ 394 h 512"/>
              <a:gd name="T36" fmla="*/ 258 w 512"/>
              <a:gd name="T37" fmla="*/ 373 h 512"/>
              <a:gd name="T38" fmla="*/ 318 w 512"/>
              <a:gd name="T39" fmla="*/ 373 h 512"/>
              <a:gd name="T40" fmla="*/ 330 w 512"/>
              <a:gd name="T41" fmla="*/ 373 h 512"/>
              <a:gd name="T42" fmla="*/ 405 w 512"/>
              <a:gd name="T43" fmla="*/ 362 h 512"/>
              <a:gd name="T44" fmla="*/ 189 w 512"/>
              <a:gd name="T45" fmla="*/ 288 h 512"/>
              <a:gd name="T46" fmla="*/ 128 w 512"/>
              <a:gd name="T47" fmla="*/ 352 h 512"/>
              <a:gd name="T48" fmla="*/ 170 w 512"/>
              <a:gd name="T49" fmla="*/ 330 h 512"/>
              <a:gd name="T50" fmla="*/ 258 w 512"/>
              <a:gd name="T51" fmla="*/ 352 h 512"/>
              <a:gd name="T52" fmla="*/ 318 w 512"/>
              <a:gd name="T53" fmla="*/ 352 h 512"/>
              <a:gd name="T54" fmla="*/ 320 w 512"/>
              <a:gd name="T55" fmla="*/ 320 h 512"/>
              <a:gd name="T56" fmla="*/ 240 w 512"/>
              <a:gd name="T57" fmla="*/ 318 h 512"/>
              <a:gd name="T58" fmla="*/ 283 w 512"/>
              <a:gd name="T59" fmla="*/ 298 h 512"/>
              <a:gd name="T60" fmla="*/ 192 w 512"/>
              <a:gd name="T61" fmla="*/ 181 h 512"/>
              <a:gd name="T62" fmla="*/ 197 w 512"/>
              <a:gd name="T63"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98" y="362"/>
                </a:moveTo>
                <a:cubicBezTo>
                  <a:pt x="298" y="368"/>
                  <a:pt x="294" y="373"/>
                  <a:pt x="288" y="373"/>
                </a:cubicBezTo>
                <a:cubicBezTo>
                  <a:pt x="282" y="373"/>
                  <a:pt x="277" y="368"/>
                  <a:pt x="277" y="362"/>
                </a:cubicBezTo>
                <a:cubicBezTo>
                  <a:pt x="277" y="356"/>
                  <a:pt x="282" y="352"/>
                  <a:pt x="288" y="352"/>
                </a:cubicBezTo>
                <a:cubicBezTo>
                  <a:pt x="294" y="352"/>
                  <a:pt x="298" y="356"/>
                  <a:pt x="298" y="362"/>
                </a:cubicBezTo>
                <a:close/>
                <a:moveTo>
                  <a:pt x="170" y="352"/>
                </a:moveTo>
                <a:cubicBezTo>
                  <a:pt x="164" y="352"/>
                  <a:pt x="160" y="356"/>
                  <a:pt x="160" y="362"/>
                </a:cubicBezTo>
                <a:cubicBezTo>
                  <a:pt x="160" y="368"/>
                  <a:pt x="164" y="373"/>
                  <a:pt x="170" y="373"/>
                </a:cubicBezTo>
                <a:cubicBezTo>
                  <a:pt x="176" y="373"/>
                  <a:pt x="181" y="368"/>
                  <a:pt x="181" y="362"/>
                </a:cubicBezTo>
                <a:cubicBezTo>
                  <a:pt x="181" y="356"/>
                  <a:pt x="176" y="352"/>
                  <a:pt x="170"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62"/>
                </a:moveTo>
                <a:cubicBezTo>
                  <a:pt x="405" y="356"/>
                  <a:pt x="400" y="352"/>
                  <a:pt x="394" y="352"/>
                </a:cubicBezTo>
                <a:cubicBezTo>
                  <a:pt x="341" y="352"/>
                  <a:pt x="341" y="352"/>
                  <a:pt x="341" y="352"/>
                </a:cubicBezTo>
                <a:cubicBezTo>
                  <a:pt x="341" y="309"/>
                  <a:pt x="341" y="309"/>
                  <a:pt x="341" y="309"/>
                </a:cubicBezTo>
                <a:cubicBezTo>
                  <a:pt x="341" y="160"/>
                  <a:pt x="341" y="160"/>
                  <a:pt x="341" y="160"/>
                </a:cubicBezTo>
                <a:cubicBezTo>
                  <a:pt x="341" y="154"/>
                  <a:pt x="336" y="149"/>
                  <a:pt x="330" y="149"/>
                </a:cubicBezTo>
                <a:cubicBezTo>
                  <a:pt x="324" y="149"/>
                  <a:pt x="320" y="154"/>
                  <a:pt x="320" y="160"/>
                </a:cubicBezTo>
                <a:cubicBezTo>
                  <a:pt x="320" y="298"/>
                  <a:pt x="320" y="298"/>
                  <a:pt x="320" y="298"/>
                </a:cubicBezTo>
                <a:cubicBezTo>
                  <a:pt x="306" y="298"/>
                  <a:pt x="306" y="298"/>
                  <a:pt x="306" y="298"/>
                </a:cubicBezTo>
                <a:cubicBezTo>
                  <a:pt x="255" y="167"/>
                  <a:pt x="255" y="167"/>
                  <a:pt x="255" y="167"/>
                </a:cubicBezTo>
                <a:cubicBezTo>
                  <a:pt x="253" y="163"/>
                  <a:pt x="250" y="161"/>
                  <a:pt x="245" y="161"/>
                </a:cubicBezTo>
                <a:cubicBezTo>
                  <a:pt x="181" y="160"/>
                  <a:pt x="181" y="160"/>
                  <a:pt x="181" y="160"/>
                </a:cubicBezTo>
                <a:cubicBezTo>
                  <a:pt x="178" y="160"/>
                  <a:pt x="176" y="161"/>
                  <a:pt x="174" y="163"/>
                </a:cubicBezTo>
                <a:cubicBezTo>
                  <a:pt x="171" y="165"/>
                  <a:pt x="170" y="167"/>
                  <a:pt x="170" y="170"/>
                </a:cubicBezTo>
                <a:cubicBezTo>
                  <a:pt x="170" y="266"/>
                  <a:pt x="170" y="266"/>
                  <a:pt x="170" y="266"/>
                </a:cubicBezTo>
                <a:cubicBezTo>
                  <a:pt x="117" y="266"/>
                  <a:pt x="117" y="266"/>
                  <a:pt x="117" y="266"/>
                </a:cubicBezTo>
                <a:cubicBezTo>
                  <a:pt x="111" y="266"/>
                  <a:pt x="106" y="271"/>
                  <a:pt x="106" y="277"/>
                </a:cubicBezTo>
                <a:cubicBezTo>
                  <a:pt x="106" y="362"/>
                  <a:pt x="106" y="362"/>
                  <a:pt x="106" y="362"/>
                </a:cubicBezTo>
                <a:cubicBezTo>
                  <a:pt x="106" y="368"/>
                  <a:pt x="111" y="373"/>
                  <a:pt x="117" y="373"/>
                </a:cubicBezTo>
                <a:cubicBezTo>
                  <a:pt x="140" y="373"/>
                  <a:pt x="140" y="373"/>
                  <a:pt x="140" y="373"/>
                </a:cubicBezTo>
                <a:cubicBezTo>
                  <a:pt x="145" y="385"/>
                  <a:pt x="156" y="394"/>
                  <a:pt x="170" y="394"/>
                </a:cubicBezTo>
                <a:cubicBezTo>
                  <a:pt x="184" y="394"/>
                  <a:pt x="196" y="385"/>
                  <a:pt x="200" y="373"/>
                </a:cubicBezTo>
                <a:cubicBezTo>
                  <a:pt x="258" y="373"/>
                  <a:pt x="258" y="373"/>
                  <a:pt x="258" y="373"/>
                </a:cubicBezTo>
                <a:cubicBezTo>
                  <a:pt x="262" y="385"/>
                  <a:pt x="274" y="394"/>
                  <a:pt x="288" y="394"/>
                </a:cubicBezTo>
                <a:cubicBezTo>
                  <a:pt x="302" y="394"/>
                  <a:pt x="314" y="385"/>
                  <a:pt x="318" y="373"/>
                </a:cubicBezTo>
                <a:cubicBezTo>
                  <a:pt x="318" y="373"/>
                  <a:pt x="319" y="373"/>
                  <a:pt x="320" y="373"/>
                </a:cubicBezTo>
                <a:cubicBezTo>
                  <a:pt x="330" y="373"/>
                  <a:pt x="330" y="373"/>
                  <a:pt x="330" y="373"/>
                </a:cubicBezTo>
                <a:cubicBezTo>
                  <a:pt x="394" y="373"/>
                  <a:pt x="394" y="373"/>
                  <a:pt x="394" y="373"/>
                </a:cubicBezTo>
                <a:cubicBezTo>
                  <a:pt x="400" y="373"/>
                  <a:pt x="405" y="368"/>
                  <a:pt x="405" y="362"/>
                </a:cubicBezTo>
                <a:close/>
                <a:moveTo>
                  <a:pt x="240" y="318"/>
                </a:moveTo>
                <a:cubicBezTo>
                  <a:pt x="189" y="288"/>
                  <a:pt x="189" y="288"/>
                  <a:pt x="189" y="288"/>
                </a:cubicBezTo>
                <a:cubicBezTo>
                  <a:pt x="128" y="288"/>
                  <a:pt x="128" y="288"/>
                  <a:pt x="128" y="288"/>
                </a:cubicBezTo>
                <a:cubicBezTo>
                  <a:pt x="128" y="352"/>
                  <a:pt x="128" y="352"/>
                  <a:pt x="128" y="352"/>
                </a:cubicBezTo>
                <a:cubicBezTo>
                  <a:pt x="140" y="352"/>
                  <a:pt x="140" y="352"/>
                  <a:pt x="140" y="352"/>
                </a:cubicBezTo>
                <a:cubicBezTo>
                  <a:pt x="145" y="339"/>
                  <a:pt x="156" y="330"/>
                  <a:pt x="170" y="330"/>
                </a:cubicBezTo>
                <a:cubicBezTo>
                  <a:pt x="184" y="330"/>
                  <a:pt x="196" y="339"/>
                  <a:pt x="200" y="352"/>
                </a:cubicBezTo>
                <a:cubicBezTo>
                  <a:pt x="258" y="352"/>
                  <a:pt x="258" y="352"/>
                  <a:pt x="258" y="352"/>
                </a:cubicBezTo>
                <a:cubicBezTo>
                  <a:pt x="262" y="339"/>
                  <a:pt x="274" y="330"/>
                  <a:pt x="288" y="330"/>
                </a:cubicBezTo>
                <a:cubicBezTo>
                  <a:pt x="302" y="330"/>
                  <a:pt x="313" y="339"/>
                  <a:pt x="318" y="352"/>
                </a:cubicBezTo>
                <a:cubicBezTo>
                  <a:pt x="318" y="352"/>
                  <a:pt x="318" y="352"/>
                  <a:pt x="320" y="352"/>
                </a:cubicBezTo>
                <a:cubicBezTo>
                  <a:pt x="320" y="320"/>
                  <a:pt x="320" y="320"/>
                  <a:pt x="320" y="320"/>
                </a:cubicBezTo>
                <a:cubicBezTo>
                  <a:pt x="245" y="320"/>
                  <a:pt x="245" y="320"/>
                  <a:pt x="245" y="320"/>
                </a:cubicBezTo>
                <a:cubicBezTo>
                  <a:pt x="243" y="320"/>
                  <a:pt x="241" y="319"/>
                  <a:pt x="240" y="318"/>
                </a:cubicBezTo>
                <a:close/>
                <a:moveTo>
                  <a:pt x="248" y="298"/>
                </a:moveTo>
                <a:cubicBezTo>
                  <a:pt x="283" y="298"/>
                  <a:pt x="283" y="298"/>
                  <a:pt x="283" y="298"/>
                </a:cubicBezTo>
                <a:cubicBezTo>
                  <a:pt x="238" y="182"/>
                  <a:pt x="238" y="182"/>
                  <a:pt x="238" y="182"/>
                </a:cubicBezTo>
                <a:cubicBezTo>
                  <a:pt x="192" y="181"/>
                  <a:pt x="192" y="181"/>
                  <a:pt x="192" y="181"/>
                </a:cubicBezTo>
                <a:cubicBezTo>
                  <a:pt x="192" y="266"/>
                  <a:pt x="192" y="266"/>
                  <a:pt x="192" y="266"/>
                </a:cubicBezTo>
                <a:cubicBezTo>
                  <a:pt x="193" y="266"/>
                  <a:pt x="195" y="267"/>
                  <a:pt x="197" y="268"/>
                </a:cubicBezTo>
                <a:lnTo>
                  <a:pt x="248" y="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3" name="Group 936">
            <a:extLst>
              <a:ext uri="{FF2B5EF4-FFF2-40B4-BE49-F238E27FC236}">
                <a16:creationId xmlns:a16="http://schemas.microsoft.com/office/drawing/2014/main" id="{4FA3A6B7-870A-431A-8E17-9A4392F8FA5C}"/>
              </a:ext>
            </a:extLst>
          </p:cNvPr>
          <p:cNvGrpSpPr>
            <a:grpSpLocks noChangeAspect="1"/>
          </p:cNvGrpSpPr>
          <p:nvPr/>
        </p:nvGrpSpPr>
        <p:grpSpPr bwMode="auto">
          <a:xfrm>
            <a:off x="9610999" y="1700213"/>
            <a:ext cx="367631" cy="367631"/>
            <a:chOff x="4256" y="3585"/>
            <a:chExt cx="340" cy="340"/>
          </a:xfrm>
          <a:solidFill>
            <a:schemeClr val="accent4"/>
          </a:solidFill>
        </p:grpSpPr>
        <p:sp>
          <p:nvSpPr>
            <p:cNvPr id="124" name="Freeform 937">
              <a:extLst>
                <a:ext uri="{FF2B5EF4-FFF2-40B4-BE49-F238E27FC236}">
                  <a16:creationId xmlns:a16="http://schemas.microsoft.com/office/drawing/2014/main" id="{3C9BA193-9CAE-4436-BB0B-C706E838DAE2}"/>
                </a:ext>
              </a:extLst>
            </p:cNvPr>
            <p:cNvSpPr>
              <a:spLocks noEditPoints="1"/>
            </p:cNvSpPr>
            <p:nvPr/>
          </p:nvSpPr>
          <p:spPr bwMode="auto">
            <a:xfrm>
              <a:off x="4256" y="35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5" name="Freeform 938">
              <a:extLst>
                <a:ext uri="{FF2B5EF4-FFF2-40B4-BE49-F238E27FC236}">
                  <a16:creationId xmlns:a16="http://schemas.microsoft.com/office/drawing/2014/main" id="{864A181D-C8D3-4E56-871F-A63EF2D15DDB}"/>
                </a:ext>
              </a:extLst>
            </p:cNvPr>
            <p:cNvSpPr>
              <a:spLocks noEditPoints="1"/>
            </p:cNvSpPr>
            <p:nvPr/>
          </p:nvSpPr>
          <p:spPr bwMode="auto">
            <a:xfrm>
              <a:off x="4326" y="3684"/>
              <a:ext cx="199" cy="163"/>
            </a:xfrm>
            <a:custGeom>
              <a:avLst/>
              <a:gdLst>
                <a:gd name="T0" fmla="*/ 288 w 299"/>
                <a:gd name="T1" fmla="*/ 203 h 245"/>
                <a:gd name="T2" fmla="*/ 235 w 299"/>
                <a:gd name="T3" fmla="*/ 203 h 245"/>
                <a:gd name="T4" fmla="*/ 235 w 299"/>
                <a:gd name="T5" fmla="*/ 160 h 245"/>
                <a:gd name="T6" fmla="*/ 235 w 299"/>
                <a:gd name="T7" fmla="*/ 11 h 245"/>
                <a:gd name="T8" fmla="*/ 224 w 299"/>
                <a:gd name="T9" fmla="*/ 0 h 245"/>
                <a:gd name="T10" fmla="*/ 214 w 299"/>
                <a:gd name="T11" fmla="*/ 11 h 245"/>
                <a:gd name="T12" fmla="*/ 214 w 299"/>
                <a:gd name="T13" fmla="*/ 149 h 245"/>
                <a:gd name="T14" fmla="*/ 200 w 299"/>
                <a:gd name="T15" fmla="*/ 149 h 245"/>
                <a:gd name="T16" fmla="*/ 149 w 299"/>
                <a:gd name="T17" fmla="*/ 18 h 245"/>
                <a:gd name="T18" fmla="*/ 139 w 299"/>
                <a:gd name="T19" fmla="*/ 12 h 245"/>
                <a:gd name="T20" fmla="*/ 75 w 299"/>
                <a:gd name="T21" fmla="*/ 11 h 245"/>
                <a:gd name="T22" fmla="*/ 68 w 299"/>
                <a:gd name="T23" fmla="*/ 14 h 245"/>
                <a:gd name="T24" fmla="*/ 64 w 299"/>
                <a:gd name="T25" fmla="*/ 21 h 245"/>
                <a:gd name="T26" fmla="*/ 64 w 299"/>
                <a:gd name="T27" fmla="*/ 117 h 245"/>
                <a:gd name="T28" fmla="*/ 11 w 299"/>
                <a:gd name="T29" fmla="*/ 117 h 245"/>
                <a:gd name="T30" fmla="*/ 0 w 299"/>
                <a:gd name="T31" fmla="*/ 128 h 245"/>
                <a:gd name="T32" fmla="*/ 0 w 299"/>
                <a:gd name="T33" fmla="*/ 213 h 245"/>
                <a:gd name="T34" fmla="*/ 11 w 299"/>
                <a:gd name="T35" fmla="*/ 224 h 245"/>
                <a:gd name="T36" fmla="*/ 34 w 299"/>
                <a:gd name="T37" fmla="*/ 224 h 245"/>
                <a:gd name="T38" fmla="*/ 64 w 299"/>
                <a:gd name="T39" fmla="*/ 245 h 245"/>
                <a:gd name="T40" fmla="*/ 94 w 299"/>
                <a:gd name="T41" fmla="*/ 224 h 245"/>
                <a:gd name="T42" fmla="*/ 152 w 299"/>
                <a:gd name="T43" fmla="*/ 224 h 245"/>
                <a:gd name="T44" fmla="*/ 182 w 299"/>
                <a:gd name="T45" fmla="*/ 245 h 245"/>
                <a:gd name="T46" fmla="*/ 212 w 299"/>
                <a:gd name="T47" fmla="*/ 224 h 245"/>
                <a:gd name="T48" fmla="*/ 214 w 299"/>
                <a:gd name="T49" fmla="*/ 224 h 245"/>
                <a:gd name="T50" fmla="*/ 224 w 299"/>
                <a:gd name="T51" fmla="*/ 224 h 245"/>
                <a:gd name="T52" fmla="*/ 288 w 299"/>
                <a:gd name="T53" fmla="*/ 224 h 245"/>
                <a:gd name="T54" fmla="*/ 299 w 299"/>
                <a:gd name="T55" fmla="*/ 213 h 245"/>
                <a:gd name="T56" fmla="*/ 288 w 299"/>
                <a:gd name="T57" fmla="*/ 203 h 245"/>
                <a:gd name="T58" fmla="*/ 86 w 299"/>
                <a:gd name="T59" fmla="*/ 32 h 245"/>
                <a:gd name="T60" fmla="*/ 132 w 299"/>
                <a:gd name="T61" fmla="*/ 33 h 245"/>
                <a:gd name="T62" fmla="*/ 177 w 299"/>
                <a:gd name="T63" fmla="*/ 149 h 245"/>
                <a:gd name="T64" fmla="*/ 142 w 299"/>
                <a:gd name="T65" fmla="*/ 149 h 245"/>
                <a:gd name="T66" fmla="*/ 91 w 299"/>
                <a:gd name="T67" fmla="*/ 119 h 245"/>
                <a:gd name="T68" fmla="*/ 86 w 299"/>
                <a:gd name="T69" fmla="*/ 117 h 245"/>
                <a:gd name="T70" fmla="*/ 86 w 299"/>
                <a:gd name="T71" fmla="*/ 32 h 245"/>
                <a:gd name="T72" fmla="*/ 22 w 299"/>
                <a:gd name="T73" fmla="*/ 139 h 245"/>
                <a:gd name="T74" fmla="*/ 83 w 299"/>
                <a:gd name="T75" fmla="*/ 139 h 245"/>
                <a:gd name="T76" fmla="*/ 134 w 299"/>
                <a:gd name="T77" fmla="*/ 169 h 245"/>
                <a:gd name="T78" fmla="*/ 139 w 299"/>
                <a:gd name="T79" fmla="*/ 171 h 245"/>
                <a:gd name="T80" fmla="*/ 214 w 299"/>
                <a:gd name="T81" fmla="*/ 171 h 245"/>
                <a:gd name="T82" fmla="*/ 214 w 299"/>
                <a:gd name="T83" fmla="*/ 203 h 245"/>
                <a:gd name="T84" fmla="*/ 212 w 299"/>
                <a:gd name="T85" fmla="*/ 203 h 245"/>
                <a:gd name="T86" fmla="*/ 182 w 299"/>
                <a:gd name="T87" fmla="*/ 181 h 245"/>
                <a:gd name="T88" fmla="*/ 152 w 299"/>
                <a:gd name="T89" fmla="*/ 203 h 245"/>
                <a:gd name="T90" fmla="*/ 94 w 299"/>
                <a:gd name="T91" fmla="*/ 203 h 245"/>
                <a:gd name="T92" fmla="*/ 64 w 299"/>
                <a:gd name="T93" fmla="*/ 181 h 245"/>
                <a:gd name="T94" fmla="*/ 34 w 299"/>
                <a:gd name="T95" fmla="*/ 203 h 245"/>
                <a:gd name="T96" fmla="*/ 22 w 299"/>
                <a:gd name="T97" fmla="*/ 203 h 245"/>
                <a:gd name="T98" fmla="*/ 22 w 299"/>
                <a:gd name="T99" fmla="*/ 139 h 245"/>
                <a:gd name="T100" fmla="*/ 64 w 299"/>
                <a:gd name="T101" fmla="*/ 224 h 245"/>
                <a:gd name="T102" fmla="*/ 54 w 299"/>
                <a:gd name="T103" fmla="*/ 213 h 245"/>
                <a:gd name="T104" fmla="*/ 64 w 299"/>
                <a:gd name="T105" fmla="*/ 203 h 245"/>
                <a:gd name="T106" fmla="*/ 75 w 299"/>
                <a:gd name="T107" fmla="*/ 213 h 245"/>
                <a:gd name="T108" fmla="*/ 64 w 299"/>
                <a:gd name="T109" fmla="*/ 224 h 245"/>
                <a:gd name="T110" fmla="*/ 182 w 299"/>
                <a:gd name="T111" fmla="*/ 224 h 245"/>
                <a:gd name="T112" fmla="*/ 171 w 299"/>
                <a:gd name="T113" fmla="*/ 213 h 245"/>
                <a:gd name="T114" fmla="*/ 182 w 299"/>
                <a:gd name="T115" fmla="*/ 203 h 245"/>
                <a:gd name="T116" fmla="*/ 192 w 299"/>
                <a:gd name="T117" fmla="*/ 213 h 245"/>
                <a:gd name="T118" fmla="*/ 182 w 299"/>
                <a:gd name="T119" fmla="*/ 224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9" h="245">
                  <a:moveTo>
                    <a:pt x="288" y="203"/>
                  </a:moveTo>
                  <a:cubicBezTo>
                    <a:pt x="235" y="203"/>
                    <a:pt x="235" y="203"/>
                    <a:pt x="235" y="203"/>
                  </a:cubicBezTo>
                  <a:cubicBezTo>
                    <a:pt x="235" y="160"/>
                    <a:pt x="235" y="160"/>
                    <a:pt x="235" y="160"/>
                  </a:cubicBezTo>
                  <a:cubicBezTo>
                    <a:pt x="235" y="11"/>
                    <a:pt x="235" y="11"/>
                    <a:pt x="235" y="11"/>
                  </a:cubicBezTo>
                  <a:cubicBezTo>
                    <a:pt x="235" y="5"/>
                    <a:pt x="230" y="0"/>
                    <a:pt x="224" y="0"/>
                  </a:cubicBezTo>
                  <a:cubicBezTo>
                    <a:pt x="218" y="0"/>
                    <a:pt x="214" y="5"/>
                    <a:pt x="214" y="11"/>
                  </a:cubicBezTo>
                  <a:cubicBezTo>
                    <a:pt x="214" y="149"/>
                    <a:pt x="214" y="149"/>
                    <a:pt x="214" y="149"/>
                  </a:cubicBezTo>
                  <a:cubicBezTo>
                    <a:pt x="200" y="149"/>
                    <a:pt x="200" y="149"/>
                    <a:pt x="200" y="149"/>
                  </a:cubicBezTo>
                  <a:cubicBezTo>
                    <a:pt x="149" y="18"/>
                    <a:pt x="149" y="18"/>
                    <a:pt x="149" y="18"/>
                  </a:cubicBezTo>
                  <a:cubicBezTo>
                    <a:pt x="147" y="14"/>
                    <a:pt x="144" y="12"/>
                    <a:pt x="139" y="12"/>
                  </a:cubicBezTo>
                  <a:cubicBezTo>
                    <a:pt x="75" y="11"/>
                    <a:pt x="75" y="11"/>
                    <a:pt x="75" y="11"/>
                  </a:cubicBezTo>
                  <a:cubicBezTo>
                    <a:pt x="72" y="11"/>
                    <a:pt x="70" y="12"/>
                    <a:pt x="68" y="14"/>
                  </a:cubicBezTo>
                  <a:cubicBezTo>
                    <a:pt x="65" y="16"/>
                    <a:pt x="64" y="18"/>
                    <a:pt x="64" y="21"/>
                  </a:cubicBezTo>
                  <a:cubicBezTo>
                    <a:pt x="64" y="117"/>
                    <a:pt x="64" y="117"/>
                    <a:pt x="64" y="117"/>
                  </a:cubicBezTo>
                  <a:cubicBezTo>
                    <a:pt x="11" y="117"/>
                    <a:pt x="11" y="117"/>
                    <a:pt x="11" y="117"/>
                  </a:cubicBezTo>
                  <a:cubicBezTo>
                    <a:pt x="5" y="117"/>
                    <a:pt x="0" y="122"/>
                    <a:pt x="0" y="128"/>
                  </a:cubicBezTo>
                  <a:cubicBezTo>
                    <a:pt x="0" y="213"/>
                    <a:pt x="0" y="213"/>
                    <a:pt x="0" y="213"/>
                  </a:cubicBezTo>
                  <a:cubicBezTo>
                    <a:pt x="0" y="219"/>
                    <a:pt x="5" y="224"/>
                    <a:pt x="11" y="224"/>
                  </a:cubicBezTo>
                  <a:cubicBezTo>
                    <a:pt x="34" y="224"/>
                    <a:pt x="34" y="224"/>
                    <a:pt x="34" y="224"/>
                  </a:cubicBezTo>
                  <a:cubicBezTo>
                    <a:pt x="39" y="236"/>
                    <a:pt x="50" y="245"/>
                    <a:pt x="64" y="245"/>
                  </a:cubicBezTo>
                  <a:cubicBezTo>
                    <a:pt x="78" y="245"/>
                    <a:pt x="90" y="236"/>
                    <a:pt x="94" y="224"/>
                  </a:cubicBezTo>
                  <a:cubicBezTo>
                    <a:pt x="152" y="224"/>
                    <a:pt x="152" y="224"/>
                    <a:pt x="152" y="224"/>
                  </a:cubicBezTo>
                  <a:cubicBezTo>
                    <a:pt x="156" y="236"/>
                    <a:pt x="168" y="245"/>
                    <a:pt x="182" y="245"/>
                  </a:cubicBezTo>
                  <a:cubicBezTo>
                    <a:pt x="196" y="245"/>
                    <a:pt x="208" y="236"/>
                    <a:pt x="212" y="224"/>
                  </a:cubicBezTo>
                  <a:cubicBezTo>
                    <a:pt x="212" y="224"/>
                    <a:pt x="213" y="224"/>
                    <a:pt x="214" y="224"/>
                  </a:cubicBezTo>
                  <a:cubicBezTo>
                    <a:pt x="224" y="224"/>
                    <a:pt x="224" y="224"/>
                    <a:pt x="224" y="224"/>
                  </a:cubicBezTo>
                  <a:cubicBezTo>
                    <a:pt x="288" y="224"/>
                    <a:pt x="288" y="224"/>
                    <a:pt x="288" y="224"/>
                  </a:cubicBezTo>
                  <a:cubicBezTo>
                    <a:pt x="294" y="224"/>
                    <a:pt x="299" y="219"/>
                    <a:pt x="299" y="213"/>
                  </a:cubicBezTo>
                  <a:cubicBezTo>
                    <a:pt x="299" y="207"/>
                    <a:pt x="294" y="203"/>
                    <a:pt x="288" y="203"/>
                  </a:cubicBezTo>
                  <a:close/>
                  <a:moveTo>
                    <a:pt x="86" y="32"/>
                  </a:moveTo>
                  <a:cubicBezTo>
                    <a:pt x="132" y="33"/>
                    <a:pt x="132" y="33"/>
                    <a:pt x="132" y="33"/>
                  </a:cubicBezTo>
                  <a:cubicBezTo>
                    <a:pt x="177" y="149"/>
                    <a:pt x="177" y="149"/>
                    <a:pt x="177" y="149"/>
                  </a:cubicBezTo>
                  <a:cubicBezTo>
                    <a:pt x="142" y="149"/>
                    <a:pt x="142" y="149"/>
                    <a:pt x="142" y="149"/>
                  </a:cubicBezTo>
                  <a:cubicBezTo>
                    <a:pt x="91" y="119"/>
                    <a:pt x="91" y="119"/>
                    <a:pt x="91" y="119"/>
                  </a:cubicBezTo>
                  <a:cubicBezTo>
                    <a:pt x="89" y="118"/>
                    <a:pt x="87" y="117"/>
                    <a:pt x="86" y="117"/>
                  </a:cubicBezTo>
                  <a:lnTo>
                    <a:pt x="86" y="32"/>
                  </a:lnTo>
                  <a:close/>
                  <a:moveTo>
                    <a:pt x="22" y="139"/>
                  </a:moveTo>
                  <a:cubicBezTo>
                    <a:pt x="83" y="139"/>
                    <a:pt x="83" y="139"/>
                    <a:pt x="83" y="139"/>
                  </a:cubicBezTo>
                  <a:cubicBezTo>
                    <a:pt x="134" y="169"/>
                    <a:pt x="134" y="169"/>
                    <a:pt x="134" y="169"/>
                  </a:cubicBezTo>
                  <a:cubicBezTo>
                    <a:pt x="135" y="170"/>
                    <a:pt x="137" y="171"/>
                    <a:pt x="139" y="171"/>
                  </a:cubicBezTo>
                  <a:cubicBezTo>
                    <a:pt x="214" y="171"/>
                    <a:pt x="214" y="171"/>
                    <a:pt x="214" y="171"/>
                  </a:cubicBezTo>
                  <a:cubicBezTo>
                    <a:pt x="214" y="203"/>
                    <a:pt x="214" y="203"/>
                    <a:pt x="214" y="203"/>
                  </a:cubicBezTo>
                  <a:cubicBezTo>
                    <a:pt x="212" y="203"/>
                    <a:pt x="212" y="203"/>
                    <a:pt x="212" y="203"/>
                  </a:cubicBezTo>
                  <a:cubicBezTo>
                    <a:pt x="207" y="190"/>
                    <a:pt x="196" y="181"/>
                    <a:pt x="182" y="181"/>
                  </a:cubicBezTo>
                  <a:cubicBezTo>
                    <a:pt x="168" y="181"/>
                    <a:pt x="156" y="190"/>
                    <a:pt x="152" y="203"/>
                  </a:cubicBezTo>
                  <a:cubicBezTo>
                    <a:pt x="94" y="203"/>
                    <a:pt x="94" y="203"/>
                    <a:pt x="94" y="203"/>
                  </a:cubicBezTo>
                  <a:cubicBezTo>
                    <a:pt x="90" y="190"/>
                    <a:pt x="78" y="181"/>
                    <a:pt x="64" y="181"/>
                  </a:cubicBezTo>
                  <a:cubicBezTo>
                    <a:pt x="50" y="181"/>
                    <a:pt x="39" y="190"/>
                    <a:pt x="34" y="203"/>
                  </a:cubicBezTo>
                  <a:cubicBezTo>
                    <a:pt x="22" y="203"/>
                    <a:pt x="22" y="203"/>
                    <a:pt x="22" y="203"/>
                  </a:cubicBezTo>
                  <a:lnTo>
                    <a:pt x="22" y="139"/>
                  </a:lnTo>
                  <a:close/>
                  <a:moveTo>
                    <a:pt x="64" y="224"/>
                  </a:moveTo>
                  <a:cubicBezTo>
                    <a:pt x="58" y="224"/>
                    <a:pt x="54" y="219"/>
                    <a:pt x="54" y="213"/>
                  </a:cubicBezTo>
                  <a:cubicBezTo>
                    <a:pt x="54" y="207"/>
                    <a:pt x="58" y="203"/>
                    <a:pt x="64" y="203"/>
                  </a:cubicBezTo>
                  <a:cubicBezTo>
                    <a:pt x="70" y="203"/>
                    <a:pt x="75" y="207"/>
                    <a:pt x="75" y="213"/>
                  </a:cubicBezTo>
                  <a:cubicBezTo>
                    <a:pt x="75" y="219"/>
                    <a:pt x="70" y="224"/>
                    <a:pt x="64" y="224"/>
                  </a:cubicBezTo>
                  <a:close/>
                  <a:moveTo>
                    <a:pt x="182" y="224"/>
                  </a:moveTo>
                  <a:cubicBezTo>
                    <a:pt x="176" y="224"/>
                    <a:pt x="171" y="219"/>
                    <a:pt x="171" y="213"/>
                  </a:cubicBezTo>
                  <a:cubicBezTo>
                    <a:pt x="171" y="207"/>
                    <a:pt x="176" y="203"/>
                    <a:pt x="182" y="203"/>
                  </a:cubicBezTo>
                  <a:cubicBezTo>
                    <a:pt x="188" y="203"/>
                    <a:pt x="192" y="207"/>
                    <a:pt x="192" y="213"/>
                  </a:cubicBezTo>
                  <a:cubicBezTo>
                    <a:pt x="192" y="219"/>
                    <a:pt x="188" y="224"/>
                    <a:pt x="182"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6" name="Freeform 751">
            <a:extLst>
              <a:ext uri="{FF2B5EF4-FFF2-40B4-BE49-F238E27FC236}">
                <a16:creationId xmlns:a16="http://schemas.microsoft.com/office/drawing/2014/main" id="{4A094DCD-FFE2-4B63-93B6-4FF3304D22E6}"/>
              </a:ext>
            </a:extLst>
          </p:cNvPr>
          <p:cNvSpPr>
            <a:spLocks noChangeAspect="1" noEditPoints="1"/>
          </p:cNvSpPr>
          <p:nvPr/>
        </p:nvSpPr>
        <p:spPr bwMode="auto">
          <a:xfrm>
            <a:off x="10918953" y="1700213"/>
            <a:ext cx="367982" cy="367982"/>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7" name="Group 754">
            <a:extLst>
              <a:ext uri="{FF2B5EF4-FFF2-40B4-BE49-F238E27FC236}">
                <a16:creationId xmlns:a16="http://schemas.microsoft.com/office/drawing/2014/main" id="{68BA2E6D-A545-4698-8006-A876686E20CD}"/>
              </a:ext>
            </a:extLst>
          </p:cNvPr>
          <p:cNvGrpSpPr>
            <a:grpSpLocks noChangeAspect="1"/>
          </p:cNvGrpSpPr>
          <p:nvPr/>
        </p:nvGrpSpPr>
        <p:grpSpPr bwMode="auto">
          <a:xfrm>
            <a:off x="11353567" y="1700213"/>
            <a:ext cx="367983" cy="369064"/>
            <a:chOff x="2832" y="3277"/>
            <a:chExt cx="340" cy="341"/>
          </a:xfrm>
          <a:solidFill>
            <a:schemeClr val="accent3"/>
          </a:solidFill>
        </p:grpSpPr>
        <p:sp>
          <p:nvSpPr>
            <p:cNvPr id="128" name="Freeform 755">
              <a:extLst>
                <a:ext uri="{FF2B5EF4-FFF2-40B4-BE49-F238E27FC236}">
                  <a16:creationId xmlns:a16="http://schemas.microsoft.com/office/drawing/2014/main" id="{7AE61835-95D3-4375-B703-360B234D729C}"/>
                </a:ext>
              </a:extLst>
            </p:cNvPr>
            <p:cNvSpPr>
              <a:spLocks noEditPoints="1"/>
            </p:cNvSpPr>
            <p:nvPr/>
          </p:nvSpPr>
          <p:spPr bwMode="auto">
            <a:xfrm>
              <a:off x="2832" y="32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9" name="Freeform 756">
              <a:extLst>
                <a:ext uri="{FF2B5EF4-FFF2-40B4-BE49-F238E27FC236}">
                  <a16:creationId xmlns:a16="http://schemas.microsoft.com/office/drawing/2014/main" id="{269CD8DD-6ED2-454F-85B5-031B689BBF9C}"/>
                </a:ext>
              </a:extLst>
            </p:cNvPr>
            <p:cNvSpPr>
              <a:spLocks noEditPoints="1"/>
            </p:cNvSpPr>
            <p:nvPr/>
          </p:nvSpPr>
          <p:spPr bwMode="auto">
            <a:xfrm>
              <a:off x="2902" y="3355"/>
              <a:ext cx="199" cy="199"/>
            </a:xfrm>
            <a:custGeom>
              <a:avLst/>
              <a:gdLst>
                <a:gd name="T0" fmla="*/ 165 w 299"/>
                <a:gd name="T1" fmla="*/ 29 h 299"/>
                <a:gd name="T2" fmla="*/ 121 w 299"/>
                <a:gd name="T3" fmla="*/ 24 h 299"/>
                <a:gd name="T4" fmla="*/ 154 w 299"/>
                <a:gd name="T5" fmla="*/ 1 h 299"/>
                <a:gd name="T6" fmla="*/ 64 w 299"/>
                <a:gd name="T7" fmla="*/ 61 h 299"/>
                <a:gd name="T8" fmla="*/ 107 w 299"/>
                <a:gd name="T9" fmla="*/ 31 h 299"/>
                <a:gd name="T10" fmla="*/ 54 w 299"/>
                <a:gd name="T11" fmla="*/ 55 h 299"/>
                <a:gd name="T12" fmla="*/ 26 w 299"/>
                <a:gd name="T13" fmla="*/ 56 h 299"/>
                <a:gd name="T14" fmla="*/ 0 w 299"/>
                <a:gd name="T15" fmla="*/ 96 h 299"/>
                <a:gd name="T16" fmla="*/ 22 w 299"/>
                <a:gd name="T17" fmla="*/ 91 h 299"/>
                <a:gd name="T18" fmla="*/ 40 w 299"/>
                <a:gd name="T19" fmla="*/ 88 h 299"/>
                <a:gd name="T20" fmla="*/ 59 w 299"/>
                <a:gd name="T21" fmla="*/ 109 h 299"/>
                <a:gd name="T22" fmla="*/ 107 w 299"/>
                <a:gd name="T23" fmla="*/ 119 h 299"/>
                <a:gd name="T24" fmla="*/ 54 w 299"/>
                <a:gd name="T25" fmla="*/ 95 h 299"/>
                <a:gd name="T26" fmla="*/ 150 w 299"/>
                <a:gd name="T27" fmla="*/ 127 h 299"/>
                <a:gd name="T28" fmla="*/ 126 w 299"/>
                <a:gd name="T29" fmla="*/ 139 h 299"/>
                <a:gd name="T30" fmla="*/ 150 w 299"/>
                <a:gd name="T31" fmla="*/ 171 h 299"/>
                <a:gd name="T32" fmla="*/ 174 w 299"/>
                <a:gd name="T33" fmla="*/ 139 h 299"/>
                <a:gd name="T34" fmla="*/ 231 w 299"/>
                <a:gd name="T35" fmla="*/ 89 h 299"/>
                <a:gd name="T36" fmla="*/ 202 w 299"/>
                <a:gd name="T37" fmla="*/ 125 h 299"/>
                <a:gd name="T38" fmla="*/ 245 w 299"/>
                <a:gd name="T39" fmla="*/ 95 h 299"/>
                <a:gd name="T40" fmla="*/ 273 w 299"/>
                <a:gd name="T41" fmla="*/ 56 h 299"/>
                <a:gd name="T42" fmla="*/ 259 w 299"/>
                <a:gd name="T43" fmla="*/ 88 h 299"/>
                <a:gd name="T44" fmla="*/ 278 w 299"/>
                <a:gd name="T45" fmla="*/ 91 h 299"/>
                <a:gd name="T46" fmla="*/ 299 w 299"/>
                <a:gd name="T47" fmla="*/ 96 h 299"/>
                <a:gd name="T48" fmla="*/ 240 w 299"/>
                <a:gd name="T49" fmla="*/ 41 h 299"/>
                <a:gd name="T50" fmla="*/ 198 w 299"/>
                <a:gd name="T51" fmla="*/ 45 h 299"/>
                <a:gd name="T52" fmla="*/ 245 w 299"/>
                <a:gd name="T53" fmla="*/ 55 h 299"/>
                <a:gd name="T54" fmla="*/ 22 w 299"/>
                <a:gd name="T55" fmla="*/ 160 h 299"/>
                <a:gd name="T56" fmla="*/ 0 w 299"/>
                <a:gd name="T57" fmla="*/ 128 h 299"/>
                <a:gd name="T58" fmla="*/ 35 w 299"/>
                <a:gd name="T59" fmla="*/ 214 h 299"/>
                <a:gd name="T60" fmla="*/ 11 w 299"/>
                <a:gd name="T61" fmla="*/ 181 h 299"/>
                <a:gd name="T62" fmla="*/ 6 w 299"/>
                <a:gd name="T63" fmla="*/ 223 h 299"/>
                <a:gd name="T64" fmla="*/ 39 w 299"/>
                <a:gd name="T65" fmla="*/ 229 h 299"/>
                <a:gd name="T66" fmla="*/ 69 w 299"/>
                <a:gd name="T67" fmla="*/ 232 h 299"/>
                <a:gd name="T68" fmla="*/ 92 w 299"/>
                <a:gd name="T69" fmla="*/ 269 h 299"/>
                <a:gd name="T70" fmla="*/ 102 w 299"/>
                <a:gd name="T71" fmla="*/ 250 h 299"/>
                <a:gd name="T72" fmla="*/ 160 w 299"/>
                <a:gd name="T73" fmla="*/ 203 h 299"/>
                <a:gd name="T74" fmla="*/ 139 w 299"/>
                <a:gd name="T75" fmla="*/ 235 h 299"/>
                <a:gd name="T76" fmla="*/ 160 w 299"/>
                <a:gd name="T77" fmla="*/ 271 h 299"/>
                <a:gd name="T78" fmla="*/ 139 w 299"/>
                <a:gd name="T79" fmla="*/ 267 h 299"/>
                <a:gd name="T80" fmla="*/ 121 w 299"/>
                <a:gd name="T81" fmla="*/ 273 h 299"/>
                <a:gd name="T82" fmla="*/ 150 w 299"/>
                <a:gd name="T83" fmla="*/ 299 h 299"/>
                <a:gd name="T84" fmla="*/ 174 w 299"/>
                <a:gd name="T85" fmla="*/ 289 h 299"/>
                <a:gd name="T86" fmla="*/ 231 w 299"/>
                <a:gd name="T87" fmla="*/ 239 h 299"/>
                <a:gd name="T88" fmla="*/ 202 w 299"/>
                <a:gd name="T89" fmla="*/ 274 h 299"/>
                <a:gd name="T90" fmla="*/ 245 w 299"/>
                <a:gd name="T91" fmla="*/ 244 h 299"/>
                <a:gd name="T92" fmla="*/ 278 w 299"/>
                <a:gd name="T93" fmla="*/ 203 h 299"/>
                <a:gd name="T94" fmla="*/ 259 w 299"/>
                <a:gd name="T95" fmla="*/ 237 h 299"/>
                <a:gd name="T96" fmla="*/ 293 w 299"/>
                <a:gd name="T97" fmla="*/ 234 h 299"/>
                <a:gd name="T98" fmla="*/ 288 w 299"/>
                <a:gd name="T99" fmla="*/ 192 h 299"/>
                <a:gd name="T100" fmla="*/ 278 w 299"/>
                <a:gd name="T101" fmla="*/ 171 h 299"/>
                <a:gd name="T102" fmla="*/ 299 w 299"/>
                <a:gd name="T103" fmla="*/ 13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 h="299">
                  <a:moveTo>
                    <a:pt x="179" y="24"/>
                  </a:moveTo>
                  <a:cubicBezTo>
                    <a:pt x="177" y="28"/>
                    <a:pt x="173" y="30"/>
                    <a:pt x="169" y="30"/>
                  </a:cubicBezTo>
                  <a:cubicBezTo>
                    <a:pt x="168" y="30"/>
                    <a:pt x="166" y="30"/>
                    <a:pt x="165" y="29"/>
                  </a:cubicBezTo>
                  <a:cubicBezTo>
                    <a:pt x="150" y="22"/>
                    <a:pt x="150" y="22"/>
                    <a:pt x="150" y="22"/>
                  </a:cubicBezTo>
                  <a:cubicBezTo>
                    <a:pt x="135" y="29"/>
                    <a:pt x="135" y="29"/>
                    <a:pt x="135" y="29"/>
                  </a:cubicBezTo>
                  <a:cubicBezTo>
                    <a:pt x="129" y="32"/>
                    <a:pt x="123" y="29"/>
                    <a:pt x="121" y="24"/>
                  </a:cubicBezTo>
                  <a:cubicBezTo>
                    <a:pt x="118" y="19"/>
                    <a:pt x="120" y="12"/>
                    <a:pt x="126" y="10"/>
                  </a:cubicBezTo>
                  <a:cubicBezTo>
                    <a:pt x="145" y="1"/>
                    <a:pt x="145" y="1"/>
                    <a:pt x="145" y="1"/>
                  </a:cubicBezTo>
                  <a:cubicBezTo>
                    <a:pt x="148" y="0"/>
                    <a:pt x="151" y="0"/>
                    <a:pt x="154" y="1"/>
                  </a:cubicBezTo>
                  <a:cubicBezTo>
                    <a:pt x="174" y="10"/>
                    <a:pt x="174" y="10"/>
                    <a:pt x="174" y="10"/>
                  </a:cubicBezTo>
                  <a:cubicBezTo>
                    <a:pt x="179" y="12"/>
                    <a:pt x="181" y="19"/>
                    <a:pt x="179" y="24"/>
                  </a:cubicBezTo>
                  <a:close/>
                  <a:moveTo>
                    <a:pt x="64" y="61"/>
                  </a:moveTo>
                  <a:cubicBezTo>
                    <a:pt x="65" y="61"/>
                    <a:pt x="67" y="61"/>
                    <a:pt x="68" y="60"/>
                  </a:cubicBezTo>
                  <a:cubicBezTo>
                    <a:pt x="101" y="45"/>
                    <a:pt x="101" y="45"/>
                    <a:pt x="101" y="45"/>
                  </a:cubicBezTo>
                  <a:cubicBezTo>
                    <a:pt x="107" y="42"/>
                    <a:pt x="109" y="36"/>
                    <a:pt x="107" y="31"/>
                  </a:cubicBezTo>
                  <a:cubicBezTo>
                    <a:pt x="104" y="25"/>
                    <a:pt x="98" y="23"/>
                    <a:pt x="93" y="25"/>
                  </a:cubicBezTo>
                  <a:cubicBezTo>
                    <a:pt x="59" y="41"/>
                    <a:pt x="59" y="41"/>
                    <a:pt x="59" y="41"/>
                  </a:cubicBezTo>
                  <a:cubicBezTo>
                    <a:pt x="54" y="43"/>
                    <a:pt x="52" y="49"/>
                    <a:pt x="54" y="55"/>
                  </a:cubicBezTo>
                  <a:cubicBezTo>
                    <a:pt x="56" y="59"/>
                    <a:pt x="60" y="61"/>
                    <a:pt x="64" y="61"/>
                  </a:cubicBezTo>
                  <a:close/>
                  <a:moveTo>
                    <a:pt x="40" y="61"/>
                  </a:moveTo>
                  <a:cubicBezTo>
                    <a:pt x="38" y="56"/>
                    <a:pt x="31" y="54"/>
                    <a:pt x="26" y="56"/>
                  </a:cubicBezTo>
                  <a:cubicBezTo>
                    <a:pt x="7" y="65"/>
                    <a:pt x="7" y="65"/>
                    <a:pt x="7" y="65"/>
                  </a:cubicBezTo>
                  <a:cubicBezTo>
                    <a:pt x="3" y="67"/>
                    <a:pt x="0" y="71"/>
                    <a:pt x="0" y="75"/>
                  </a:cubicBezTo>
                  <a:cubicBezTo>
                    <a:pt x="0" y="96"/>
                    <a:pt x="0" y="96"/>
                    <a:pt x="0" y="96"/>
                  </a:cubicBezTo>
                  <a:cubicBezTo>
                    <a:pt x="0" y="102"/>
                    <a:pt x="5" y="107"/>
                    <a:pt x="11" y="107"/>
                  </a:cubicBezTo>
                  <a:cubicBezTo>
                    <a:pt x="17" y="107"/>
                    <a:pt x="22" y="102"/>
                    <a:pt x="22" y="96"/>
                  </a:cubicBezTo>
                  <a:cubicBezTo>
                    <a:pt x="22" y="91"/>
                    <a:pt x="22" y="91"/>
                    <a:pt x="22" y="91"/>
                  </a:cubicBezTo>
                  <a:cubicBezTo>
                    <a:pt x="26" y="93"/>
                    <a:pt x="26" y="93"/>
                    <a:pt x="26" y="93"/>
                  </a:cubicBezTo>
                  <a:cubicBezTo>
                    <a:pt x="27" y="94"/>
                    <a:pt x="29" y="94"/>
                    <a:pt x="30" y="94"/>
                  </a:cubicBezTo>
                  <a:cubicBezTo>
                    <a:pt x="34" y="94"/>
                    <a:pt x="38" y="92"/>
                    <a:pt x="40" y="88"/>
                  </a:cubicBezTo>
                  <a:cubicBezTo>
                    <a:pt x="42" y="83"/>
                    <a:pt x="41" y="78"/>
                    <a:pt x="36" y="75"/>
                  </a:cubicBezTo>
                  <a:cubicBezTo>
                    <a:pt x="41" y="72"/>
                    <a:pt x="42" y="66"/>
                    <a:pt x="40" y="61"/>
                  </a:cubicBezTo>
                  <a:close/>
                  <a:moveTo>
                    <a:pt x="59" y="109"/>
                  </a:moveTo>
                  <a:cubicBezTo>
                    <a:pt x="93" y="124"/>
                    <a:pt x="93" y="124"/>
                    <a:pt x="93" y="124"/>
                  </a:cubicBezTo>
                  <a:cubicBezTo>
                    <a:pt x="94" y="125"/>
                    <a:pt x="95" y="125"/>
                    <a:pt x="97" y="125"/>
                  </a:cubicBezTo>
                  <a:cubicBezTo>
                    <a:pt x="101" y="125"/>
                    <a:pt x="105" y="123"/>
                    <a:pt x="107" y="119"/>
                  </a:cubicBezTo>
                  <a:cubicBezTo>
                    <a:pt x="109" y="113"/>
                    <a:pt x="107" y="107"/>
                    <a:pt x="101" y="105"/>
                  </a:cubicBezTo>
                  <a:cubicBezTo>
                    <a:pt x="68" y="89"/>
                    <a:pt x="68" y="89"/>
                    <a:pt x="68" y="89"/>
                  </a:cubicBezTo>
                  <a:cubicBezTo>
                    <a:pt x="63" y="87"/>
                    <a:pt x="56" y="89"/>
                    <a:pt x="54" y="95"/>
                  </a:cubicBezTo>
                  <a:cubicBezTo>
                    <a:pt x="52" y="100"/>
                    <a:pt x="54" y="106"/>
                    <a:pt x="59" y="109"/>
                  </a:cubicBezTo>
                  <a:close/>
                  <a:moveTo>
                    <a:pt x="165" y="120"/>
                  </a:moveTo>
                  <a:cubicBezTo>
                    <a:pt x="150" y="127"/>
                    <a:pt x="150" y="127"/>
                    <a:pt x="150" y="127"/>
                  </a:cubicBezTo>
                  <a:cubicBezTo>
                    <a:pt x="135" y="120"/>
                    <a:pt x="135" y="120"/>
                    <a:pt x="135" y="120"/>
                  </a:cubicBezTo>
                  <a:cubicBezTo>
                    <a:pt x="129" y="118"/>
                    <a:pt x="123" y="120"/>
                    <a:pt x="121" y="125"/>
                  </a:cubicBezTo>
                  <a:cubicBezTo>
                    <a:pt x="118" y="131"/>
                    <a:pt x="120" y="137"/>
                    <a:pt x="126" y="139"/>
                  </a:cubicBezTo>
                  <a:cubicBezTo>
                    <a:pt x="139" y="145"/>
                    <a:pt x="139" y="145"/>
                    <a:pt x="139" y="145"/>
                  </a:cubicBezTo>
                  <a:cubicBezTo>
                    <a:pt x="139" y="160"/>
                    <a:pt x="139" y="160"/>
                    <a:pt x="139" y="160"/>
                  </a:cubicBezTo>
                  <a:cubicBezTo>
                    <a:pt x="139" y="166"/>
                    <a:pt x="144" y="171"/>
                    <a:pt x="150" y="171"/>
                  </a:cubicBezTo>
                  <a:cubicBezTo>
                    <a:pt x="156" y="171"/>
                    <a:pt x="160" y="166"/>
                    <a:pt x="160" y="160"/>
                  </a:cubicBezTo>
                  <a:cubicBezTo>
                    <a:pt x="160" y="145"/>
                    <a:pt x="160" y="145"/>
                    <a:pt x="160" y="145"/>
                  </a:cubicBezTo>
                  <a:cubicBezTo>
                    <a:pt x="174" y="139"/>
                    <a:pt x="174" y="139"/>
                    <a:pt x="174" y="139"/>
                  </a:cubicBezTo>
                  <a:cubicBezTo>
                    <a:pt x="179" y="137"/>
                    <a:pt x="181" y="131"/>
                    <a:pt x="179" y="125"/>
                  </a:cubicBezTo>
                  <a:cubicBezTo>
                    <a:pt x="176" y="120"/>
                    <a:pt x="170" y="118"/>
                    <a:pt x="165" y="120"/>
                  </a:cubicBezTo>
                  <a:close/>
                  <a:moveTo>
                    <a:pt x="231" y="89"/>
                  </a:moveTo>
                  <a:cubicBezTo>
                    <a:pt x="198" y="105"/>
                    <a:pt x="198" y="105"/>
                    <a:pt x="198" y="105"/>
                  </a:cubicBezTo>
                  <a:cubicBezTo>
                    <a:pt x="193" y="107"/>
                    <a:pt x="190" y="113"/>
                    <a:pt x="193" y="119"/>
                  </a:cubicBezTo>
                  <a:cubicBezTo>
                    <a:pt x="194" y="123"/>
                    <a:pt x="198" y="125"/>
                    <a:pt x="202" y="125"/>
                  </a:cubicBezTo>
                  <a:cubicBezTo>
                    <a:pt x="204" y="125"/>
                    <a:pt x="205" y="125"/>
                    <a:pt x="207" y="124"/>
                  </a:cubicBezTo>
                  <a:cubicBezTo>
                    <a:pt x="240" y="109"/>
                    <a:pt x="240" y="109"/>
                    <a:pt x="240" y="109"/>
                  </a:cubicBezTo>
                  <a:cubicBezTo>
                    <a:pt x="245" y="106"/>
                    <a:pt x="248" y="100"/>
                    <a:pt x="245" y="95"/>
                  </a:cubicBezTo>
                  <a:cubicBezTo>
                    <a:pt x="243" y="89"/>
                    <a:pt x="237" y="87"/>
                    <a:pt x="231" y="89"/>
                  </a:cubicBezTo>
                  <a:close/>
                  <a:moveTo>
                    <a:pt x="293" y="65"/>
                  </a:moveTo>
                  <a:cubicBezTo>
                    <a:pt x="273" y="56"/>
                    <a:pt x="273" y="56"/>
                    <a:pt x="273" y="56"/>
                  </a:cubicBezTo>
                  <a:cubicBezTo>
                    <a:pt x="268" y="54"/>
                    <a:pt x="262" y="56"/>
                    <a:pt x="259" y="61"/>
                  </a:cubicBezTo>
                  <a:cubicBezTo>
                    <a:pt x="257" y="66"/>
                    <a:pt x="259" y="72"/>
                    <a:pt x="263" y="75"/>
                  </a:cubicBezTo>
                  <a:cubicBezTo>
                    <a:pt x="259" y="78"/>
                    <a:pt x="257" y="83"/>
                    <a:pt x="259" y="88"/>
                  </a:cubicBezTo>
                  <a:cubicBezTo>
                    <a:pt x="261" y="92"/>
                    <a:pt x="265" y="94"/>
                    <a:pt x="269" y="94"/>
                  </a:cubicBezTo>
                  <a:cubicBezTo>
                    <a:pt x="270" y="94"/>
                    <a:pt x="272" y="94"/>
                    <a:pt x="273" y="93"/>
                  </a:cubicBezTo>
                  <a:cubicBezTo>
                    <a:pt x="278" y="91"/>
                    <a:pt x="278" y="91"/>
                    <a:pt x="278" y="91"/>
                  </a:cubicBezTo>
                  <a:cubicBezTo>
                    <a:pt x="278" y="96"/>
                    <a:pt x="278" y="96"/>
                    <a:pt x="278" y="96"/>
                  </a:cubicBezTo>
                  <a:cubicBezTo>
                    <a:pt x="278" y="102"/>
                    <a:pt x="282" y="107"/>
                    <a:pt x="288" y="107"/>
                  </a:cubicBezTo>
                  <a:cubicBezTo>
                    <a:pt x="294" y="107"/>
                    <a:pt x="299" y="102"/>
                    <a:pt x="299" y="96"/>
                  </a:cubicBezTo>
                  <a:cubicBezTo>
                    <a:pt x="299" y="75"/>
                    <a:pt x="299" y="75"/>
                    <a:pt x="299" y="75"/>
                  </a:cubicBezTo>
                  <a:cubicBezTo>
                    <a:pt x="299" y="71"/>
                    <a:pt x="297" y="67"/>
                    <a:pt x="293" y="65"/>
                  </a:cubicBezTo>
                  <a:close/>
                  <a:moveTo>
                    <a:pt x="240" y="41"/>
                  </a:moveTo>
                  <a:cubicBezTo>
                    <a:pt x="207" y="25"/>
                    <a:pt x="207" y="25"/>
                    <a:pt x="207" y="25"/>
                  </a:cubicBezTo>
                  <a:cubicBezTo>
                    <a:pt x="201" y="23"/>
                    <a:pt x="195" y="25"/>
                    <a:pt x="193" y="31"/>
                  </a:cubicBezTo>
                  <a:cubicBezTo>
                    <a:pt x="190" y="36"/>
                    <a:pt x="193" y="42"/>
                    <a:pt x="198" y="45"/>
                  </a:cubicBezTo>
                  <a:cubicBezTo>
                    <a:pt x="231" y="60"/>
                    <a:pt x="231" y="60"/>
                    <a:pt x="231" y="60"/>
                  </a:cubicBezTo>
                  <a:cubicBezTo>
                    <a:pt x="233" y="61"/>
                    <a:pt x="234" y="61"/>
                    <a:pt x="236" y="61"/>
                  </a:cubicBezTo>
                  <a:cubicBezTo>
                    <a:pt x="240" y="61"/>
                    <a:pt x="244" y="59"/>
                    <a:pt x="245" y="55"/>
                  </a:cubicBezTo>
                  <a:cubicBezTo>
                    <a:pt x="248" y="49"/>
                    <a:pt x="245" y="43"/>
                    <a:pt x="240" y="41"/>
                  </a:cubicBezTo>
                  <a:close/>
                  <a:moveTo>
                    <a:pt x="11" y="171"/>
                  </a:moveTo>
                  <a:cubicBezTo>
                    <a:pt x="17" y="171"/>
                    <a:pt x="22" y="166"/>
                    <a:pt x="22" y="160"/>
                  </a:cubicBezTo>
                  <a:cubicBezTo>
                    <a:pt x="22" y="128"/>
                    <a:pt x="22" y="128"/>
                    <a:pt x="22" y="128"/>
                  </a:cubicBezTo>
                  <a:cubicBezTo>
                    <a:pt x="22" y="122"/>
                    <a:pt x="17" y="117"/>
                    <a:pt x="11" y="117"/>
                  </a:cubicBezTo>
                  <a:cubicBezTo>
                    <a:pt x="5" y="117"/>
                    <a:pt x="0" y="122"/>
                    <a:pt x="0" y="128"/>
                  </a:cubicBezTo>
                  <a:cubicBezTo>
                    <a:pt x="0" y="160"/>
                    <a:pt x="0" y="160"/>
                    <a:pt x="0" y="160"/>
                  </a:cubicBezTo>
                  <a:cubicBezTo>
                    <a:pt x="0" y="166"/>
                    <a:pt x="5" y="171"/>
                    <a:pt x="11" y="171"/>
                  </a:cubicBezTo>
                  <a:close/>
                  <a:moveTo>
                    <a:pt x="35" y="214"/>
                  </a:moveTo>
                  <a:cubicBezTo>
                    <a:pt x="22" y="207"/>
                    <a:pt x="22" y="207"/>
                    <a:pt x="22" y="207"/>
                  </a:cubicBezTo>
                  <a:cubicBezTo>
                    <a:pt x="22" y="192"/>
                    <a:pt x="22" y="192"/>
                    <a:pt x="22" y="192"/>
                  </a:cubicBezTo>
                  <a:cubicBezTo>
                    <a:pt x="22" y="186"/>
                    <a:pt x="17" y="181"/>
                    <a:pt x="11" y="181"/>
                  </a:cubicBezTo>
                  <a:cubicBezTo>
                    <a:pt x="5" y="181"/>
                    <a:pt x="0" y="186"/>
                    <a:pt x="0" y="192"/>
                  </a:cubicBezTo>
                  <a:cubicBezTo>
                    <a:pt x="0" y="213"/>
                    <a:pt x="0" y="213"/>
                    <a:pt x="0" y="213"/>
                  </a:cubicBezTo>
                  <a:cubicBezTo>
                    <a:pt x="0" y="217"/>
                    <a:pt x="2" y="221"/>
                    <a:pt x="6" y="223"/>
                  </a:cubicBezTo>
                  <a:cubicBezTo>
                    <a:pt x="25" y="233"/>
                    <a:pt x="25" y="233"/>
                    <a:pt x="25" y="233"/>
                  </a:cubicBezTo>
                  <a:cubicBezTo>
                    <a:pt x="26" y="234"/>
                    <a:pt x="28" y="234"/>
                    <a:pt x="30" y="234"/>
                  </a:cubicBezTo>
                  <a:cubicBezTo>
                    <a:pt x="34" y="234"/>
                    <a:pt x="37" y="232"/>
                    <a:pt x="39" y="229"/>
                  </a:cubicBezTo>
                  <a:cubicBezTo>
                    <a:pt x="42" y="223"/>
                    <a:pt x="40" y="217"/>
                    <a:pt x="35" y="214"/>
                  </a:cubicBezTo>
                  <a:close/>
                  <a:moveTo>
                    <a:pt x="102" y="250"/>
                  </a:moveTo>
                  <a:cubicBezTo>
                    <a:pt x="69" y="232"/>
                    <a:pt x="69" y="232"/>
                    <a:pt x="69" y="232"/>
                  </a:cubicBezTo>
                  <a:cubicBezTo>
                    <a:pt x="63" y="229"/>
                    <a:pt x="57" y="231"/>
                    <a:pt x="54" y="237"/>
                  </a:cubicBezTo>
                  <a:cubicBezTo>
                    <a:pt x="51" y="242"/>
                    <a:pt x="53" y="248"/>
                    <a:pt x="58" y="251"/>
                  </a:cubicBezTo>
                  <a:cubicBezTo>
                    <a:pt x="92" y="269"/>
                    <a:pt x="92" y="269"/>
                    <a:pt x="92" y="269"/>
                  </a:cubicBezTo>
                  <a:cubicBezTo>
                    <a:pt x="94" y="270"/>
                    <a:pt x="95" y="270"/>
                    <a:pt x="97" y="270"/>
                  </a:cubicBezTo>
                  <a:cubicBezTo>
                    <a:pt x="101" y="270"/>
                    <a:pt x="105" y="268"/>
                    <a:pt x="107" y="265"/>
                  </a:cubicBezTo>
                  <a:cubicBezTo>
                    <a:pt x="109" y="260"/>
                    <a:pt x="107" y="253"/>
                    <a:pt x="102" y="250"/>
                  </a:cubicBezTo>
                  <a:close/>
                  <a:moveTo>
                    <a:pt x="150" y="245"/>
                  </a:moveTo>
                  <a:cubicBezTo>
                    <a:pt x="156" y="245"/>
                    <a:pt x="160" y="241"/>
                    <a:pt x="160" y="235"/>
                  </a:cubicBezTo>
                  <a:cubicBezTo>
                    <a:pt x="160" y="203"/>
                    <a:pt x="160" y="203"/>
                    <a:pt x="160" y="203"/>
                  </a:cubicBezTo>
                  <a:cubicBezTo>
                    <a:pt x="160" y="197"/>
                    <a:pt x="156" y="192"/>
                    <a:pt x="150" y="192"/>
                  </a:cubicBezTo>
                  <a:cubicBezTo>
                    <a:pt x="144" y="192"/>
                    <a:pt x="139" y="197"/>
                    <a:pt x="139" y="203"/>
                  </a:cubicBezTo>
                  <a:cubicBezTo>
                    <a:pt x="139" y="235"/>
                    <a:pt x="139" y="235"/>
                    <a:pt x="139" y="235"/>
                  </a:cubicBezTo>
                  <a:cubicBezTo>
                    <a:pt x="139" y="241"/>
                    <a:pt x="144" y="245"/>
                    <a:pt x="150" y="245"/>
                  </a:cubicBezTo>
                  <a:close/>
                  <a:moveTo>
                    <a:pt x="165" y="269"/>
                  </a:moveTo>
                  <a:cubicBezTo>
                    <a:pt x="160" y="271"/>
                    <a:pt x="160" y="271"/>
                    <a:pt x="160" y="271"/>
                  </a:cubicBezTo>
                  <a:cubicBezTo>
                    <a:pt x="160" y="267"/>
                    <a:pt x="160" y="267"/>
                    <a:pt x="160" y="267"/>
                  </a:cubicBezTo>
                  <a:cubicBezTo>
                    <a:pt x="160" y="261"/>
                    <a:pt x="156" y="256"/>
                    <a:pt x="150" y="256"/>
                  </a:cubicBezTo>
                  <a:cubicBezTo>
                    <a:pt x="144" y="256"/>
                    <a:pt x="139" y="261"/>
                    <a:pt x="139" y="267"/>
                  </a:cubicBezTo>
                  <a:cubicBezTo>
                    <a:pt x="139" y="270"/>
                    <a:pt x="139" y="270"/>
                    <a:pt x="139" y="270"/>
                  </a:cubicBezTo>
                  <a:cubicBezTo>
                    <a:pt x="136" y="268"/>
                    <a:pt x="136" y="268"/>
                    <a:pt x="136" y="268"/>
                  </a:cubicBezTo>
                  <a:cubicBezTo>
                    <a:pt x="131" y="266"/>
                    <a:pt x="124" y="268"/>
                    <a:pt x="121" y="273"/>
                  </a:cubicBezTo>
                  <a:cubicBezTo>
                    <a:pt x="119" y="278"/>
                    <a:pt x="121" y="284"/>
                    <a:pt x="126" y="287"/>
                  </a:cubicBezTo>
                  <a:cubicBezTo>
                    <a:pt x="145" y="297"/>
                    <a:pt x="145" y="297"/>
                    <a:pt x="145" y="297"/>
                  </a:cubicBezTo>
                  <a:cubicBezTo>
                    <a:pt x="146" y="298"/>
                    <a:pt x="148" y="299"/>
                    <a:pt x="150" y="299"/>
                  </a:cubicBezTo>
                  <a:cubicBezTo>
                    <a:pt x="151" y="299"/>
                    <a:pt x="153" y="298"/>
                    <a:pt x="154" y="298"/>
                  </a:cubicBezTo>
                  <a:cubicBezTo>
                    <a:pt x="154" y="298"/>
                    <a:pt x="154" y="298"/>
                    <a:pt x="154" y="298"/>
                  </a:cubicBezTo>
                  <a:cubicBezTo>
                    <a:pt x="174" y="289"/>
                    <a:pt x="174" y="289"/>
                    <a:pt x="174" y="289"/>
                  </a:cubicBezTo>
                  <a:cubicBezTo>
                    <a:pt x="179" y="286"/>
                    <a:pt x="181" y="280"/>
                    <a:pt x="179" y="275"/>
                  </a:cubicBezTo>
                  <a:cubicBezTo>
                    <a:pt x="176" y="269"/>
                    <a:pt x="170" y="267"/>
                    <a:pt x="165" y="269"/>
                  </a:cubicBezTo>
                  <a:close/>
                  <a:moveTo>
                    <a:pt x="231" y="239"/>
                  </a:moveTo>
                  <a:cubicBezTo>
                    <a:pt x="198" y="254"/>
                    <a:pt x="198" y="254"/>
                    <a:pt x="198" y="254"/>
                  </a:cubicBezTo>
                  <a:cubicBezTo>
                    <a:pt x="193" y="256"/>
                    <a:pt x="190" y="263"/>
                    <a:pt x="193" y="268"/>
                  </a:cubicBezTo>
                  <a:cubicBezTo>
                    <a:pt x="194" y="272"/>
                    <a:pt x="198" y="274"/>
                    <a:pt x="202" y="274"/>
                  </a:cubicBezTo>
                  <a:cubicBezTo>
                    <a:pt x="204" y="274"/>
                    <a:pt x="205" y="274"/>
                    <a:pt x="207" y="273"/>
                  </a:cubicBezTo>
                  <a:cubicBezTo>
                    <a:pt x="240" y="258"/>
                    <a:pt x="240" y="258"/>
                    <a:pt x="240" y="258"/>
                  </a:cubicBezTo>
                  <a:cubicBezTo>
                    <a:pt x="245" y="256"/>
                    <a:pt x="248" y="249"/>
                    <a:pt x="245" y="244"/>
                  </a:cubicBezTo>
                  <a:cubicBezTo>
                    <a:pt x="243" y="238"/>
                    <a:pt x="237" y="236"/>
                    <a:pt x="231" y="239"/>
                  </a:cubicBezTo>
                  <a:close/>
                  <a:moveTo>
                    <a:pt x="288" y="192"/>
                  </a:moveTo>
                  <a:cubicBezTo>
                    <a:pt x="282" y="192"/>
                    <a:pt x="278" y="197"/>
                    <a:pt x="278" y="203"/>
                  </a:cubicBezTo>
                  <a:cubicBezTo>
                    <a:pt x="278" y="217"/>
                    <a:pt x="278" y="217"/>
                    <a:pt x="278" y="217"/>
                  </a:cubicBezTo>
                  <a:cubicBezTo>
                    <a:pt x="264" y="223"/>
                    <a:pt x="264" y="223"/>
                    <a:pt x="264" y="223"/>
                  </a:cubicBezTo>
                  <a:cubicBezTo>
                    <a:pt x="259" y="226"/>
                    <a:pt x="257" y="232"/>
                    <a:pt x="259" y="237"/>
                  </a:cubicBezTo>
                  <a:cubicBezTo>
                    <a:pt x="261" y="241"/>
                    <a:pt x="265" y="244"/>
                    <a:pt x="269" y="244"/>
                  </a:cubicBezTo>
                  <a:cubicBezTo>
                    <a:pt x="270" y="244"/>
                    <a:pt x="272" y="243"/>
                    <a:pt x="273" y="243"/>
                  </a:cubicBezTo>
                  <a:cubicBezTo>
                    <a:pt x="293" y="234"/>
                    <a:pt x="293" y="234"/>
                    <a:pt x="293" y="234"/>
                  </a:cubicBezTo>
                  <a:cubicBezTo>
                    <a:pt x="297" y="232"/>
                    <a:pt x="299" y="228"/>
                    <a:pt x="299" y="224"/>
                  </a:cubicBezTo>
                  <a:cubicBezTo>
                    <a:pt x="299" y="203"/>
                    <a:pt x="299" y="203"/>
                    <a:pt x="299" y="203"/>
                  </a:cubicBezTo>
                  <a:cubicBezTo>
                    <a:pt x="299" y="197"/>
                    <a:pt x="294" y="192"/>
                    <a:pt x="288" y="192"/>
                  </a:cubicBezTo>
                  <a:close/>
                  <a:moveTo>
                    <a:pt x="288" y="128"/>
                  </a:moveTo>
                  <a:cubicBezTo>
                    <a:pt x="282" y="128"/>
                    <a:pt x="278" y="133"/>
                    <a:pt x="278" y="139"/>
                  </a:cubicBezTo>
                  <a:cubicBezTo>
                    <a:pt x="278" y="171"/>
                    <a:pt x="278" y="171"/>
                    <a:pt x="278" y="171"/>
                  </a:cubicBezTo>
                  <a:cubicBezTo>
                    <a:pt x="278" y="177"/>
                    <a:pt x="282" y="181"/>
                    <a:pt x="288" y="181"/>
                  </a:cubicBezTo>
                  <a:cubicBezTo>
                    <a:pt x="294" y="181"/>
                    <a:pt x="299" y="177"/>
                    <a:pt x="299" y="171"/>
                  </a:cubicBezTo>
                  <a:cubicBezTo>
                    <a:pt x="299" y="139"/>
                    <a:pt x="299" y="139"/>
                    <a:pt x="299" y="139"/>
                  </a:cubicBezTo>
                  <a:cubicBezTo>
                    <a:pt x="299" y="133"/>
                    <a:pt x="294" y="128"/>
                    <a:pt x="288"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0" name="Group 574">
            <a:extLst>
              <a:ext uri="{FF2B5EF4-FFF2-40B4-BE49-F238E27FC236}">
                <a16:creationId xmlns:a16="http://schemas.microsoft.com/office/drawing/2014/main" id="{32742E44-E519-4932-9F7E-9A2F5FD2DBF2}"/>
              </a:ext>
            </a:extLst>
          </p:cNvPr>
          <p:cNvGrpSpPr>
            <a:grpSpLocks noChangeAspect="1"/>
          </p:cNvGrpSpPr>
          <p:nvPr/>
        </p:nvGrpSpPr>
        <p:grpSpPr bwMode="auto">
          <a:xfrm>
            <a:off x="10482649" y="1700213"/>
            <a:ext cx="369676" cy="370763"/>
            <a:chOff x="1921" y="1949"/>
            <a:chExt cx="340" cy="341"/>
          </a:xfrm>
          <a:solidFill>
            <a:schemeClr val="accent6"/>
          </a:solidFill>
        </p:grpSpPr>
        <p:sp>
          <p:nvSpPr>
            <p:cNvPr id="131" name="Freeform 575">
              <a:extLst>
                <a:ext uri="{FF2B5EF4-FFF2-40B4-BE49-F238E27FC236}">
                  <a16:creationId xmlns:a16="http://schemas.microsoft.com/office/drawing/2014/main" id="{8F809B0D-6343-410B-939C-3DEAC9CB6FA9}"/>
                </a:ext>
              </a:extLst>
            </p:cNvPr>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576">
              <a:extLst>
                <a:ext uri="{FF2B5EF4-FFF2-40B4-BE49-F238E27FC236}">
                  <a16:creationId xmlns:a16="http://schemas.microsoft.com/office/drawing/2014/main" id="{EBC6A479-0D54-4B40-9CE1-35688414D4C3}"/>
                </a:ext>
              </a:extLst>
            </p:cNvPr>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3" name="Freeform 580">
            <a:extLst>
              <a:ext uri="{FF2B5EF4-FFF2-40B4-BE49-F238E27FC236}">
                <a16:creationId xmlns:a16="http://schemas.microsoft.com/office/drawing/2014/main" id="{A1D264F2-B78B-4E24-94C7-6B653F95B5D0}"/>
              </a:ext>
            </a:extLst>
          </p:cNvPr>
          <p:cNvSpPr>
            <a:spLocks noChangeAspect="1" noEditPoints="1"/>
          </p:cNvSpPr>
          <p:nvPr/>
        </p:nvSpPr>
        <p:spPr bwMode="auto">
          <a:xfrm>
            <a:off x="10045258" y="1700213"/>
            <a:ext cx="370763" cy="369676"/>
          </a:xfrm>
          <a:custGeom>
            <a:avLst/>
            <a:gdLst>
              <a:gd name="T0" fmla="*/ 288 w 512"/>
              <a:gd name="T1" fmla="*/ 266 h 512"/>
              <a:gd name="T2" fmla="*/ 373 w 512"/>
              <a:gd name="T3" fmla="*/ 266 h 512"/>
              <a:gd name="T4" fmla="*/ 373 w 512"/>
              <a:gd name="T5" fmla="*/ 352 h 512"/>
              <a:gd name="T6" fmla="*/ 138 w 512"/>
              <a:gd name="T7" fmla="*/ 352 h 512"/>
              <a:gd name="T8" fmla="*/ 138 w 512"/>
              <a:gd name="T9" fmla="*/ 266 h 512"/>
              <a:gd name="T10" fmla="*/ 224 w 512"/>
              <a:gd name="T11" fmla="*/ 266 h 512"/>
              <a:gd name="T12" fmla="*/ 224 w 512"/>
              <a:gd name="T13" fmla="*/ 277 h 512"/>
              <a:gd name="T14" fmla="*/ 234 w 512"/>
              <a:gd name="T15" fmla="*/ 288 h 512"/>
              <a:gd name="T16" fmla="*/ 277 w 512"/>
              <a:gd name="T17" fmla="*/ 288 h 512"/>
              <a:gd name="T18" fmla="*/ 288 w 512"/>
              <a:gd name="T19" fmla="*/ 277 h 512"/>
              <a:gd name="T20" fmla="*/ 288 w 512"/>
              <a:gd name="T21" fmla="*/ 266 h 512"/>
              <a:gd name="T22" fmla="*/ 245 w 512"/>
              <a:gd name="T23" fmla="*/ 245 h 512"/>
              <a:gd name="T24" fmla="*/ 245 w 512"/>
              <a:gd name="T25" fmla="*/ 266 h 512"/>
              <a:gd name="T26" fmla="*/ 266 w 512"/>
              <a:gd name="T27" fmla="*/ 266 h 512"/>
              <a:gd name="T28" fmla="*/ 266 w 512"/>
              <a:gd name="T29" fmla="*/ 245 h 512"/>
              <a:gd name="T30" fmla="*/ 245 w 512"/>
              <a:gd name="T31" fmla="*/ 245 h 512"/>
              <a:gd name="T32" fmla="*/ 288 w 512"/>
              <a:gd name="T33" fmla="*/ 160 h 512"/>
              <a:gd name="T34" fmla="*/ 224 w 512"/>
              <a:gd name="T35" fmla="*/ 160 h 512"/>
              <a:gd name="T36" fmla="*/ 202 w 512"/>
              <a:gd name="T37" fmla="*/ 181 h 512"/>
              <a:gd name="T38" fmla="*/ 309 w 512"/>
              <a:gd name="T39" fmla="*/ 181 h 512"/>
              <a:gd name="T40" fmla="*/ 288 w 512"/>
              <a:gd name="T41" fmla="*/ 16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92 h 512"/>
              <a:gd name="T54" fmla="*/ 405 w 512"/>
              <a:gd name="T55" fmla="*/ 181 h 512"/>
              <a:gd name="T56" fmla="*/ 330 w 512"/>
              <a:gd name="T57" fmla="*/ 181 h 512"/>
              <a:gd name="T58" fmla="*/ 288 w 512"/>
              <a:gd name="T59" fmla="*/ 138 h 512"/>
              <a:gd name="T60" fmla="*/ 224 w 512"/>
              <a:gd name="T61" fmla="*/ 138 h 512"/>
              <a:gd name="T62" fmla="*/ 181 w 512"/>
              <a:gd name="T63" fmla="*/ 181 h 512"/>
              <a:gd name="T64" fmla="*/ 106 w 512"/>
              <a:gd name="T65" fmla="*/ 181 h 512"/>
              <a:gd name="T66" fmla="*/ 96 w 512"/>
              <a:gd name="T67" fmla="*/ 192 h 512"/>
              <a:gd name="T68" fmla="*/ 96 w 512"/>
              <a:gd name="T69" fmla="*/ 256 h 512"/>
              <a:gd name="T70" fmla="*/ 106 w 512"/>
              <a:gd name="T71" fmla="*/ 266 h 512"/>
              <a:gd name="T72" fmla="*/ 117 w 512"/>
              <a:gd name="T73" fmla="*/ 266 h 512"/>
              <a:gd name="T74" fmla="*/ 117 w 512"/>
              <a:gd name="T75" fmla="*/ 362 h 512"/>
              <a:gd name="T76" fmla="*/ 128 w 512"/>
              <a:gd name="T77" fmla="*/ 373 h 512"/>
              <a:gd name="T78" fmla="*/ 384 w 512"/>
              <a:gd name="T79" fmla="*/ 373 h 512"/>
              <a:gd name="T80" fmla="*/ 394 w 512"/>
              <a:gd name="T81" fmla="*/ 362 h 512"/>
              <a:gd name="T82" fmla="*/ 394 w 512"/>
              <a:gd name="T83" fmla="*/ 266 h 512"/>
              <a:gd name="T84" fmla="*/ 405 w 512"/>
              <a:gd name="T85" fmla="*/ 266 h 512"/>
              <a:gd name="T86" fmla="*/ 416 w 512"/>
              <a:gd name="T87" fmla="*/ 256 h 512"/>
              <a:gd name="T88" fmla="*/ 416 w 512"/>
              <a:gd name="T89" fmla="*/ 192 h 512"/>
              <a:gd name="T90" fmla="*/ 117 w 512"/>
              <a:gd name="T91" fmla="*/ 245 h 512"/>
              <a:gd name="T92" fmla="*/ 224 w 512"/>
              <a:gd name="T93" fmla="*/ 245 h 512"/>
              <a:gd name="T94" fmla="*/ 224 w 512"/>
              <a:gd name="T95" fmla="*/ 234 h 512"/>
              <a:gd name="T96" fmla="*/ 234 w 512"/>
              <a:gd name="T97" fmla="*/ 224 h 512"/>
              <a:gd name="T98" fmla="*/ 277 w 512"/>
              <a:gd name="T99" fmla="*/ 224 h 512"/>
              <a:gd name="T100" fmla="*/ 288 w 512"/>
              <a:gd name="T101" fmla="*/ 234 h 512"/>
              <a:gd name="T102" fmla="*/ 288 w 512"/>
              <a:gd name="T103" fmla="*/ 245 h 512"/>
              <a:gd name="T104" fmla="*/ 394 w 512"/>
              <a:gd name="T105" fmla="*/ 245 h 512"/>
              <a:gd name="T106" fmla="*/ 394 w 512"/>
              <a:gd name="T107" fmla="*/ 202 h 512"/>
              <a:gd name="T108" fmla="*/ 117 w 512"/>
              <a:gd name="T109" fmla="*/ 202 h 512"/>
              <a:gd name="T110" fmla="*/ 117 w 512"/>
              <a:gd name="T11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266"/>
                </a:moveTo>
                <a:cubicBezTo>
                  <a:pt x="373" y="266"/>
                  <a:pt x="373" y="266"/>
                  <a:pt x="373" y="266"/>
                </a:cubicBezTo>
                <a:cubicBezTo>
                  <a:pt x="373" y="352"/>
                  <a:pt x="373" y="352"/>
                  <a:pt x="373" y="352"/>
                </a:cubicBezTo>
                <a:cubicBezTo>
                  <a:pt x="138" y="352"/>
                  <a:pt x="138" y="352"/>
                  <a:pt x="138" y="352"/>
                </a:cubicBezTo>
                <a:cubicBezTo>
                  <a:pt x="138" y="266"/>
                  <a:pt x="138" y="266"/>
                  <a:pt x="138" y="266"/>
                </a:cubicBezTo>
                <a:cubicBezTo>
                  <a:pt x="224" y="266"/>
                  <a:pt x="224" y="266"/>
                  <a:pt x="224" y="266"/>
                </a:cubicBezTo>
                <a:cubicBezTo>
                  <a:pt x="224" y="277"/>
                  <a:pt x="224" y="277"/>
                  <a:pt x="224" y="277"/>
                </a:cubicBezTo>
                <a:cubicBezTo>
                  <a:pt x="224" y="283"/>
                  <a:pt x="228" y="288"/>
                  <a:pt x="234" y="288"/>
                </a:cubicBezTo>
                <a:cubicBezTo>
                  <a:pt x="277" y="288"/>
                  <a:pt x="277" y="288"/>
                  <a:pt x="277" y="288"/>
                </a:cubicBezTo>
                <a:cubicBezTo>
                  <a:pt x="283" y="288"/>
                  <a:pt x="288" y="283"/>
                  <a:pt x="288" y="277"/>
                </a:cubicBezTo>
                <a:lnTo>
                  <a:pt x="288" y="266"/>
                </a:lnTo>
                <a:close/>
                <a:moveTo>
                  <a:pt x="245" y="245"/>
                </a:moveTo>
                <a:cubicBezTo>
                  <a:pt x="245" y="266"/>
                  <a:pt x="245" y="266"/>
                  <a:pt x="245" y="266"/>
                </a:cubicBezTo>
                <a:cubicBezTo>
                  <a:pt x="266" y="266"/>
                  <a:pt x="266" y="266"/>
                  <a:pt x="266" y="266"/>
                </a:cubicBezTo>
                <a:cubicBezTo>
                  <a:pt x="266" y="245"/>
                  <a:pt x="266" y="245"/>
                  <a:pt x="266" y="245"/>
                </a:cubicBezTo>
                <a:lnTo>
                  <a:pt x="245" y="245"/>
                </a:lnTo>
                <a:close/>
                <a:moveTo>
                  <a:pt x="288" y="160"/>
                </a:moveTo>
                <a:cubicBezTo>
                  <a:pt x="224" y="160"/>
                  <a:pt x="224" y="160"/>
                  <a:pt x="224" y="160"/>
                </a:cubicBezTo>
                <a:cubicBezTo>
                  <a:pt x="212" y="160"/>
                  <a:pt x="202" y="169"/>
                  <a:pt x="202" y="181"/>
                </a:cubicBezTo>
                <a:cubicBezTo>
                  <a:pt x="309" y="181"/>
                  <a:pt x="309" y="181"/>
                  <a:pt x="309" y="181"/>
                </a:cubicBezTo>
                <a:cubicBezTo>
                  <a:pt x="309" y="169"/>
                  <a:pt x="299" y="160"/>
                  <a:pt x="288"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30" y="181"/>
                  <a:pt x="330" y="181"/>
                  <a:pt x="330" y="181"/>
                </a:cubicBezTo>
                <a:cubicBezTo>
                  <a:pt x="330" y="157"/>
                  <a:pt x="311" y="138"/>
                  <a:pt x="288" y="138"/>
                </a:cubicBezTo>
                <a:cubicBezTo>
                  <a:pt x="224" y="138"/>
                  <a:pt x="224" y="138"/>
                  <a:pt x="224" y="138"/>
                </a:cubicBezTo>
                <a:cubicBezTo>
                  <a:pt x="200" y="138"/>
                  <a:pt x="181" y="157"/>
                  <a:pt x="181" y="181"/>
                </a:cubicBezTo>
                <a:cubicBezTo>
                  <a:pt x="106" y="181"/>
                  <a:pt x="106" y="181"/>
                  <a:pt x="106" y="181"/>
                </a:cubicBezTo>
                <a:cubicBezTo>
                  <a:pt x="100" y="181"/>
                  <a:pt x="96" y="186"/>
                  <a:pt x="96" y="192"/>
                </a:cubicBezTo>
                <a:cubicBezTo>
                  <a:pt x="96" y="256"/>
                  <a:pt x="96" y="256"/>
                  <a:pt x="96" y="256"/>
                </a:cubicBezTo>
                <a:cubicBezTo>
                  <a:pt x="96" y="262"/>
                  <a:pt x="100" y="266"/>
                  <a:pt x="106" y="266"/>
                </a:cubicBezTo>
                <a:cubicBezTo>
                  <a:pt x="117" y="266"/>
                  <a:pt x="117" y="266"/>
                  <a:pt x="117" y="266"/>
                </a:cubicBezTo>
                <a:cubicBezTo>
                  <a:pt x="117" y="362"/>
                  <a:pt x="117" y="362"/>
                  <a:pt x="117" y="362"/>
                </a:cubicBezTo>
                <a:cubicBezTo>
                  <a:pt x="117" y="368"/>
                  <a:pt x="122" y="373"/>
                  <a:pt x="128" y="373"/>
                </a:cubicBezTo>
                <a:cubicBezTo>
                  <a:pt x="384" y="373"/>
                  <a:pt x="384" y="373"/>
                  <a:pt x="384" y="373"/>
                </a:cubicBezTo>
                <a:cubicBezTo>
                  <a:pt x="390" y="373"/>
                  <a:pt x="394" y="368"/>
                  <a:pt x="394" y="362"/>
                </a:cubicBezTo>
                <a:cubicBezTo>
                  <a:pt x="394" y="266"/>
                  <a:pt x="394" y="266"/>
                  <a:pt x="394" y="266"/>
                </a:cubicBezTo>
                <a:cubicBezTo>
                  <a:pt x="405" y="266"/>
                  <a:pt x="405" y="266"/>
                  <a:pt x="405" y="266"/>
                </a:cubicBezTo>
                <a:cubicBezTo>
                  <a:pt x="411" y="266"/>
                  <a:pt x="416" y="262"/>
                  <a:pt x="416" y="256"/>
                </a:cubicBezTo>
                <a:lnTo>
                  <a:pt x="416" y="192"/>
                </a:lnTo>
                <a:close/>
                <a:moveTo>
                  <a:pt x="117" y="245"/>
                </a:moveTo>
                <a:cubicBezTo>
                  <a:pt x="224" y="245"/>
                  <a:pt x="224" y="245"/>
                  <a:pt x="224" y="245"/>
                </a:cubicBezTo>
                <a:cubicBezTo>
                  <a:pt x="224" y="234"/>
                  <a:pt x="224" y="234"/>
                  <a:pt x="224" y="234"/>
                </a:cubicBezTo>
                <a:cubicBezTo>
                  <a:pt x="224" y="228"/>
                  <a:pt x="228" y="224"/>
                  <a:pt x="234" y="224"/>
                </a:cubicBezTo>
                <a:cubicBezTo>
                  <a:pt x="277" y="224"/>
                  <a:pt x="277" y="224"/>
                  <a:pt x="277" y="224"/>
                </a:cubicBezTo>
                <a:cubicBezTo>
                  <a:pt x="283" y="224"/>
                  <a:pt x="288" y="228"/>
                  <a:pt x="288" y="234"/>
                </a:cubicBezTo>
                <a:cubicBezTo>
                  <a:pt x="288" y="245"/>
                  <a:pt x="288" y="245"/>
                  <a:pt x="288" y="245"/>
                </a:cubicBezTo>
                <a:cubicBezTo>
                  <a:pt x="394" y="245"/>
                  <a:pt x="394" y="245"/>
                  <a:pt x="394" y="245"/>
                </a:cubicBezTo>
                <a:cubicBezTo>
                  <a:pt x="394" y="202"/>
                  <a:pt x="394" y="202"/>
                  <a:pt x="394" y="202"/>
                </a:cubicBezTo>
                <a:cubicBezTo>
                  <a:pt x="117" y="202"/>
                  <a:pt x="117" y="202"/>
                  <a:pt x="117" y="202"/>
                </a:cubicBezTo>
                <a:lnTo>
                  <a:pt x="117" y="245"/>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4" name="Freeform 21">
            <a:extLst>
              <a:ext uri="{FF2B5EF4-FFF2-40B4-BE49-F238E27FC236}">
                <a16:creationId xmlns:a16="http://schemas.microsoft.com/office/drawing/2014/main" id="{FFBE96CE-E3A2-4418-93FB-B8A80BAC6DA6}"/>
              </a:ext>
            </a:extLst>
          </p:cNvPr>
          <p:cNvSpPr>
            <a:spLocks noEditPoints="1"/>
          </p:cNvSpPr>
          <p:nvPr/>
        </p:nvSpPr>
        <p:spPr bwMode="auto">
          <a:xfrm>
            <a:off x="905078" y="2473576"/>
            <a:ext cx="365421" cy="363955"/>
          </a:xfrm>
          <a:custGeom>
            <a:avLst/>
            <a:gdLst>
              <a:gd name="T0" fmla="*/ 634 w 2494"/>
              <a:gd name="T1" fmla="*/ 1580 h 2484"/>
              <a:gd name="T2" fmla="*/ 652 w 2494"/>
              <a:gd name="T3" fmla="*/ 1522 h 2484"/>
              <a:gd name="T4" fmla="*/ 764 w 2494"/>
              <a:gd name="T5" fmla="*/ 1506 h 2484"/>
              <a:gd name="T6" fmla="*/ 552 w 2494"/>
              <a:gd name="T7" fmla="*/ 1486 h 2484"/>
              <a:gd name="T8" fmla="*/ 640 w 2494"/>
              <a:gd name="T9" fmla="*/ 1674 h 2484"/>
              <a:gd name="T10" fmla="*/ 982 w 2494"/>
              <a:gd name="T11" fmla="*/ 1554 h 2484"/>
              <a:gd name="T12" fmla="*/ 922 w 2494"/>
              <a:gd name="T13" fmla="*/ 1572 h 2484"/>
              <a:gd name="T14" fmla="*/ 956 w 2494"/>
              <a:gd name="T15" fmla="*/ 1522 h 2484"/>
              <a:gd name="T16" fmla="*/ 1034 w 2494"/>
              <a:gd name="T17" fmla="*/ 1468 h 2484"/>
              <a:gd name="T18" fmla="*/ 830 w 2494"/>
              <a:gd name="T19" fmla="*/ 1530 h 2484"/>
              <a:gd name="T20" fmla="*/ 950 w 2494"/>
              <a:gd name="T21" fmla="*/ 1674 h 2484"/>
              <a:gd name="T22" fmla="*/ 1276 w 2494"/>
              <a:gd name="T23" fmla="*/ 1566 h 2484"/>
              <a:gd name="T24" fmla="*/ 1214 w 2494"/>
              <a:gd name="T25" fmla="*/ 1560 h 2484"/>
              <a:gd name="T26" fmla="*/ 1264 w 2494"/>
              <a:gd name="T27" fmla="*/ 1526 h 2484"/>
              <a:gd name="T28" fmla="*/ 1294 w 2494"/>
              <a:gd name="T29" fmla="*/ 1442 h 2484"/>
              <a:gd name="T30" fmla="*/ 1126 w 2494"/>
              <a:gd name="T31" fmla="*/ 1554 h 2484"/>
              <a:gd name="T32" fmla="*/ 1270 w 2494"/>
              <a:gd name="T33" fmla="*/ 1672 h 2484"/>
              <a:gd name="T34" fmla="*/ 1568 w 2494"/>
              <a:gd name="T35" fmla="*/ 1576 h 2484"/>
              <a:gd name="T36" fmla="*/ 1512 w 2494"/>
              <a:gd name="T37" fmla="*/ 1554 h 2484"/>
              <a:gd name="T38" fmla="*/ 1572 w 2494"/>
              <a:gd name="T39" fmla="*/ 1536 h 2484"/>
              <a:gd name="T40" fmla="*/ 1556 w 2494"/>
              <a:gd name="T41" fmla="*/ 1434 h 2484"/>
              <a:gd name="T42" fmla="*/ 1424 w 2494"/>
              <a:gd name="T43" fmla="*/ 1566 h 2484"/>
              <a:gd name="T44" fmla="*/ 1612 w 2494"/>
              <a:gd name="T45" fmla="*/ 1654 h 2484"/>
              <a:gd name="T46" fmla="*/ 1854 w 2494"/>
              <a:gd name="T47" fmla="*/ 1584 h 2484"/>
              <a:gd name="T48" fmla="*/ 1812 w 2494"/>
              <a:gd name="T49" fmla="*/ 1542 h 2484"/>
              <a:gd name="T50" fmla="*/ 1874 w 2494"/>
              <a:gd name="T51" fmla="*/ 1548 h 2484"/>
              <a:gd name="T52" fmla="*/ 1842 w 2494"/>
              <a:gd name="T53" fmla="*/ 1432 h 2484"/>
              <a:gd name="T54" fmla="*/ 1730 w 2494"/>
              <a:gd name="T55" fmla="*/ 1600 h 2484"/>
              <a:gd name="T56" fmla="*/ 1942 w 2494"/>
              <a:gd name="T57" fmla="*/ 1622 h 2484"/>
              <a:gd name="T58" fmla="*/ 514 w 2494"/>
              <a:gd name="T59" fmla="*/ 1686 h 2484"/>
              <a:gd name="T60" fmla="*/ 484 w 2494"/>
              <a:gd name="T61" fmla="*/ 1430 h 2484"/>
              <a:gd name="T62" fmla="*/ 1802 w 2494"/>
              <a:gd name="T63" fmla="*/ 1212 h 2484"/>
              <a:gd name="T64" fmla="*/ 2120 w 2494"/>
              <a:gd name="T65" fmla="*/ 1418 h 2484"/>
              <a:gd name="T66" fmla="*/ 1900 w 2494"/>
              <a:gd name="T67" fmla="*/ 1310 h 2484"/>
              <a:gd name="T68" fmla="*/ 1350 w 2494"/>
              <a:gd name="T69" fmla="*/ 694 h 2484"/>
              <a:gd name="T70" fmla="*/ 1308 w 2494"/>
              <a:gd name="T71" fmla="*/ 1310 h 2484"/>
              <a:gd name="T72" fmla="*/ 1178 w 2494"/>
              <a:gd name="T73" fmla="*/ 704 h 2484"/>
              <a:gd name="T74" fmla="*/ 580 w 2494"/>
              <a:gd name="T75" fmla="*/ 1272 h 2484"/>
              <a:gd name="T76" fmla="*/ 396 w 2494"/>
              <a:gd name="T77" fmla="*/ 1372 h 2484"/>
              <a:gd name="T78" fmla="*/ 408 w 2494"/>
              <a:gd name="T79" fmla="*/ 1750 h 2484"/>
              <a:gd name="T80" fmla="*/ 2076 w 2494"/>
              <a:gd name="T81" fmla="*/ 1756 h 2484"/>
              <a:gd name="T82" fmla="*/ 2364 w 2494"/>
              <a:gd name="T83" fmla="*/ 1470 h 2484"/>
              <a:gd name="T84" fmla="*/ 1972 w 2494"/>
              <a:gd name="T85" fmla="*/ 2118 h 2484"/>
              <a:gd name="T86" fmla="*/ 1246 w 2494"/>
              <a:gd name="T87" fmla="*/ 2376 h 2484"/>
              <a:gd name="T88" fmla="*/ 562 w 2494"/>
              <a:gd name="T89" fmla="*/ 2150 h 2484"/>
              <a:gd name="T90" fmla="*/ 138 w 2494"/>
              <a:gd name="T91" fmla="*/ 1526 h 2484"/>
              <a:gd name="T92" fmla="*/ 192 w 2494"/>
              <a:gd name="T93" fmla="*/ 798 h 2484"/>
              <a:gd name="T94" fmla="*/ 700 w 2494"/>
              <a:gd name="T95" fmla="*/ 240 h 2484"/>
              <a:gd name="T96" fmla="*/ 1420 w 2494"/>
              <a:gd name="T97" fmla="*/ 116 h 2484"/>
              <a:gd name="T98" fmla="*/ 2090 w 2494"/>
              <a:gd name="T99" fmla="*/ 476 h 2484"/>
              <a:gd name="T100" fmla="*/ 2384 w 2494"/>
              <a:gd name="T101" fmla="*/ 1184 h 2484"/>
              <a:gd name="T102" fmla="*/ 2312 w 2494"/>
              <a:gd name="T103" fmla="*/ 596 h 2484"/>
              <a:gd name="T104" fmla="*/ 1674 w 2494"/>
              <a:gd name="T105" fmla="*/ 76 h 2484"/>
              <a:gd name="T106" fmla="*/ 874 w 2494"/>
              <a:gd name="T107" fmla="*/ 56 h 2484"/>
              <a:gd name="T108" fmla="*/ 212 w 2494"/>
              <a:gd name="T109" fmla="*/ 546 h 2484"/>
              <a:gd name="T110" fmla="*/ 2 w 2494"/>
              <a:gd name="T111" fmla="*/ 1306 h 2484"/>
              <a:gd name="T112" fmla="*/ 322 w 2494"/>
              <a:gd name="T113" fmla="*/ 2076 h 2484"/>
              <a:gd name="T114" fmla="*/ 1056 w 2494"/>
              <a:gd name="T115" fmla="*/ 2468 h 2484"/>
              <a:gd name="T116" fmla="*/ 1840 w 2494"/>
              <a:gd name="T117" fmla="*/ 2334 h 2484"/>
              <a:gd name="T118" fmla="*/ 2394 w 2494"/>
              <a:gd name="T119" fmla="*/ 1724 h 2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94" h="2484">
                <a:moveTo>
                  <a:pt x="684" y="1554"/>
                </a:moveTo>
                <a:lnTo>
                  <a:pt x="684" y="1554"/>
                </a:lnTo>
                <a:lnTo>
                  <a:pt x="684" y="1560"/>
                </a:lnTo>
                <a:lnTo>
                  <a:pt x="682" y="1566"/>
                </a:lnTo>
                <a:lnTo>
                  <a:pt x="678" y="1572"/>
                </a:lnTo>
                <a:lnTo>
                  <a:pt x="674" y="1576"/>
                </a:lnTo>
                <a:lnTo>
                  <a:pt x="670" y="1580"/>
                </a:lnTo>
                <a:lnTo>
                  <a:pt x="664" y="1584"/>
                </a:lnTo>
                <a:lnTo>
                  <a:pt x="658" y="1586"/>
                </a:lnTo>
                <a:lnTo>
                  <a:pt x="652" y="1586"/>
                </a:lnTo>
                <a:lnTo>
                  <a:pt x="652" y="1586"/>
                </a:lnTo>
                <a:lnTo>
                  <a:pt x="646" y="1586"/>
                </a:lnTo>
                <a:lnTo>
                  <a:pt x="640" y="1584"/>
                </a:lnTo>
                <a:lnTo>
                  <a:pt x="634" y="1580"/>
                </a:lnTo>
                <a:lnTo>
                  <a:pt x="628" y="1576"/>
                </a:lnTo>
                <a:lnTo>
                  <a:pt x="624" y="1572"/>
                </a:lnTo>
                <a:lnTo>
                  <a:pt x="622" y="1566"/>
                </a:lnTo>
                <a:lnTo>
                  <a:pt x="620" y="1560"/>
                </a:lnTo>
                <a:lnTo>
                  <a:pt x="620" y="1554"/>
                </a:lnTo>
                <a:lnTo>
                  <a:pt x="620" y="1554"/>
                </a:lnTo>
                <a:lnTo>
                  <a:pt x="620" y="1548"/>
                </a:lnTo>
                <a:lnTo>
                  <a:pt x="622" y="1542"/>
                </a:lnTo>
                <a:lnTo>
                  <a:pt x="624" y="1536"/>
                </a:lnTo>
                <a:lnTo>
                  <a:pt x="628" y="1530"/>
                </a:lnTo>
                <a:lnTo>
                  <a:pt x="634" y="1526"/>
                </a:lnTo>
                <a:lnTo>
                  <a:pt x="640" y="1524"/>
                </a:lnTo>
                <a:lnTo>
                  <a:pt x="646" y="1522"/>
                </a:lnTo>
                <a:lnTo>
                  <a:pt x="652" y="1522"/>
                </a:lnTo>
                <a:lnTo>
                  <a:pt x="652" y="1522"/>
                </a:lnTo>
                <a:lnTo>
                  <a:pt x="658" y="1522"/>
                </a:lnTo>
                <a:lnTo>
                  <a:pt x="664" y="1524"/>
                </a:lnTo>
                <a:lnTo>
                  <a:pt x="670" y="1526"/>
                </a:lnTo>
                <a:lnTo>
                  <a:pt x="674" y="1530"/>
                </a:lnTo>
                <a:lnTo>
                  <a:pt x="678" y="1536"/>
                </a:lnTo>
                <a:lnTo>
                  <a:pt x="682" y="1542"/>
                </a:lnTo>
                <a:lnTo>
                  <a:pt x="684" y="1548"/>
                </a:lnTo>
                <a:lnTo>
                  <a:pt x="684" y="1554"/>
                </a:lnTo>
                <a:close/>
                <a:moveTo>
                  <a:pt x="772" y="1554"/>
                </a:moveTo>
                <a:lnTo>
                  <a:pt x="772" y="1554"/>
                </a:lnTo>
                <a:lnTo>
                  <a:pt x="772" y="1542"/>
                </a:lnTo>
                <a:lnTo>
                  <a:pt x="770" y="1530"/>
                </a:lnTo>
                <a:lnTo>
                  <a:pt x="764" y="1506"/>
                </a:lnTo>
                <a:lnTo>
                  <a:pt x="752" y="1486"/>
                </a:lnTo>
                <a:lnTo>
                  <a:pt x="738" y="1468"/>
                </a:lnTo>
                <a:lnTo>
                  <a:pt x="720" y="1454"/>
                </a:lnTo>
                <a:lnTo>
                  <a:pt x="698" y="1442"/>
                </a:lnTo>
                <a:lnTo>
                  <a:pt x="676" y="1436"/>
                </a:lnTo>
                <a:lnTo>
                  <a:pt x="664" y="1434"/>
                </a:lnTo>
                <a:lnTo>
                  <a:pt x="652" y="1432"/>
                </a:lnTo>
                <a:lnTo>
                  <a:pt x="652" y="1432"/>
                </a:lnTo>
                <a:lnTo>
                  <a:pt x="640" y="1434"/>
                </a:lnTo>
                <a:lnTo>
                  <a:pt x="628" y="1436"/>
                </a:lnTo>
                <a:lnTo>
                  <a:pt x="604" y="1442"/>
                </a:lnTo>
                <a:lnTo>
                  <a:pt x="584" y="1454"/>
                </a:lnTo>
                <a:lnTo>
                  <a:pt x="566" y="1468"/>
                </a:lnTo>
                <a:lnTo>
                  <a:pt x="552" y="1486"/>
                </a:lnTo>
                <a:lnTo>
                  <a:pt x="540" y="1506"/>
                </a:lnTo>
                <a:lnTo>
                  <a:pt x="534" y="1530"/>
                </a:lnTo>
                <a:lnTo>
                  <a:pt x="532" y="1542"/>
                </a:lnTo>
                <a:lnTo>
                  <a:pt x="530" y="1554"/>
                </a:lnTo>
                <a:lnTo>
                  <a:pt x="530" y="1554"/>
                </a:lnTo>
                <a:lnTo>
                  <a:pt x="532" y="1566"/>
                </a:lnTo>
                <a:lnTo>
                  <a:pt x="534" y="1578"/>
                </a:lnTo>
                <a:lnTo>
                  <a:pt x="540" y="1600"/>
                </a:lnTo>
                <a:lnTo>
                  <a:pt x="552" y="1622"/>
                </a:lnTo>
                <a:lnTo>
                  <a:pt x="566" y="1640"/>
                </a:lnTo>
                <a:lnTo>
                  <a:pt x="584" y="1654"/>
                </a:lnTo>
                <a:lnTo>
                  <a:pt x="604" y="1666"/>
                </a:lnTo>
                <a:lnTo>
                  <a:pt x="628" y="1672"/>
                </a:lnTo>
                <a:lnTo>
                  <a:pt x="640" y="1674"/>
                </a:lnTo>
                <a:lnTo>
                  <a:pt x="652" y="1674"/>
                </a:lnTo>
                <a:lnTo>
                  <a:pt x="652" y="1674"/>
                </a:lnTo>
                <a:lnTo>
                  <a:pt x="664" y="1674"/>
                </a:lnTo>
                <a:lnTo>
                  <a:pt x="676" y="1672"/>
                </a:lnTo>
                <a:lnTo>
                  <a:pt x="698" y="1666"/>
                </a:lnTo>
                <a:lnTo>
                  <a:pt x="720" y="1654"/>
                </a:lnTo>
                <a:lnTo>
                  <a:pt x="738" y="1640"/>
                </a:lnTo>
                <a:lnTo>
                  <a:pt x="752" y="1622"/>
                </a:lnTo>
                <a:lnTo>
                  <a:pt x="764" y="1600"/>
                </a:lnTo>
                <a:lnTo>
                  <a:pt x="770" y="1578"/>
                </a:lnTo>
                <a:lnTo>
                  <a:pt x="772" y="1566"/>
                </a:lnTo>
                <a:lnTo>
                  <a:pt x="772" y="1554"/>
                </a:lnTo>
                <a:close/>
                <a:moveTo>
                  <a:pt x="982" y="1554"/>
                </a:moveTo>
                <a:lnTo>
                  <a:pt x="982" y="1554"/>
                </a:lnTo>
                <a:lnTo>
                  <a:pt x="982" y="1560"/>
                </a:lnTo>
                <a:lnTo>
                  <a:pt x="980" y="1566"/>
                </a:lnTo>
                <a:lnTo>
                  <a:pt x="976" y="1572"/>
                </a:lnTo>
                <a:lnTo>
                  <a:pt x="972" y="1576"/>
                </a:lnTo>
                <a:lnTo>
                  <a:pt x="968" y="1580"/>
                </a:lnTo>
                <a:lnTo>
                  <a:pt x="962" y="1584"/>
                </a:lnTo>
                <a:lnTo>
                  <a:pt x="956" y="1586"/>
                </a:lnTo>
                <a:lnTo>
                  <a:pt x="950" y="1586"/>
                </a:lnTo>
                <a:lnTo>
                  <a:pt x="950" y="1586"/>
                </a:lnTo>
                <a:lnTo>
                  <a:pt x="942" y="1586"/>
                </a:lnTo>
                <a:lnTo>
                  <a:pt x="936" y="1584"/>
                </a:lnTo>
                <a:lnTo>
                  <a:pt x="930" y="1580"/>
                </a:lnTo>
                <a:lnTo>
                  <a:pt x="926" y="1576"/>
                </a:lnTo>
                <a:lnTo>
                  <a:pt x="922" y="1572"/>
                </a:lnTo>
                <a:lnTo>
                  <a:pt x="920" y="1566"/>
                </a:lnTo>
                <a:lnTo>
                  <a:pt x="918" y="1560"/>
                </a:lnTo>
                <a:lnTo>
                  <a:pt x="916" y="1554"/>
                </a:lnTo>
                <a:lnTo>
                  <a:pt x="916" y="1554"/>
                </a:lnTo>
                <a:lnTo>
                  <a:pt x="918" y="1548"/>
                </a:lnTo>
                <a:lnTo>
                  <a:pt x="920" y="1542"/>
                </a:lnTo>
                <a:lnTo>
                  <a:pt x="922" y="1536"/>
                </a:lnTo>
                <a:lnTo>
                  <a:pt x="926" y="1530"/>
                </a:lnTo>
                <a:lnTo>
                  <a:pt x="930" y="1526"/>
                </a:lnTo>
                <a:lnTo>
                  <a:pt x="936" y="1524"/>
                </a:lnTo>
                <a:lnTo>
                  <a:pt x="942" y="1522"/>
                </a:lnTo>
                <a:lnTo>
                  <a:pt x="950" y="1522"/>
                </a:lnTo>
                <a:lnTo>
                  <a:pt x="950" y="1522"/>
                </a:lnTo>
                <a:lnTo>
                  <a:pt x="956" y="1522"/>
                </a:lnTo>
                <a:lnTo>
                  <a:pt x="962" y="1524"/>
                </a:lnTo>
                <a:lnTo>
                  <a:pt x="968" y="1526"/>
                </a:lnTo>
                <a:lnTo>
                  <a:pt x="972" y="1530"/>
                </a:lnTo>
                <a:lnTo>
                  <a:pt x="976" y="1536"/>
                </a:lnTo>
                <a:lnTo>
                  <a:pt x="980" y="1542"/>
                </a:lnTo>
                <a:lnTo>
                  <a:pt x="982" y="1548"/>
                </a:lnTo>
                <a:lnTo>
                  <a:pt x="982" y="1554"/>
                </a:lnTo>
                <a:close/>
                <a:moveTo>
                  <a:pt x="1070" y="1554"/>
                </a:moveTo>
                <a:lnTo>
                  <a:pt x="1070" y="1554"/>
                </a:lnTo>
                <a:lnTo>
                  <a:pt x="1070" y="1542"/>
                </a:lnTo>
                <a:lnTo>
                  <a:pt x="1068" y="1530"/>
                </a:lnTo>
                <a:lnTo>
                  <a:pt x="1060" y="1506"/>
                </a:lnTo>
                <a:lnTo>
                  <a:pt x="1050" y="1486"/>
                </a:lnTo>
                <a:lnTo>
                  <a:pt x="1034" y="1468"/>
                </a:lnTo>
                <a:lnTo>
                  <a:pt x="1016" y="1454"/>
                </a:lnTo>
                <a:lnTo>
                  <a:pt x="996" y="1442"/>
                </a:lnTo>
                <a:lnTo>
                  <a:pt x="974" y="1436"/>
                </a:lnTo>
                <a:lnTo>
                  <a:pt x="962" y="1434"/>
                </a:lnTo>
                <a:lnTo>
                  <a:pt x="950" y="1432"/>
                </a:lnTo>
                <a:lnTo>
                  <a:pt x="950" y="1432"/>
                </a:lnTo>
                <a:lnTo>
                  <a:pt x="936" y="1434"/>
                </a:lnTo>
                <a:lnTo>
                  <a:pt x="924" y="1436"/>
                </a:lnTo>
                <a:lnTo>
                  <a:pt x="902" y="1442"/>
                </a:lnTo>
                <a:lnTo>
                  <a:pt x="882" y="1454"/>
                </a:lnTo>
                <a:lnTo>
                  <a:pt x="864" y="1468"/>
                </a:lnTo>
                <a:lnTo>
                  <a:pt x="848" y="1486"/>
                </a:lnTo>
                <a:lnTo>
                  <a:pt x="838" y="1506"/>
                </a:lnTo>
                <a:lnTo>
                  <a:pt x="830" y="1530"/>
                </a:lnTo>
                <a:lnTo>
                  <a:pt x="828" y="1542"/>
                </a:lnTo>
                <a:lnTo>
                  <a:pt x="828" y="1554"/>
                </a:lnTo>
                <a:lnTo>
                  <a:pt x="828" y="1554"/>
                </a:lnTo>
                <a:lnTo>
                  <a:pt x="828" y="1566"/>
                </a:lnTo>
                <a:lnTo>
                  <a:pt x="830" y="1578"/>
                </a:lnTo>
                <a:lnTo>
                  <a:pt x="838" y="1600"/>
                </a:lnTo>
                <a:lnTo>
                  <a:pt x="848" y="1622"/>
                </a:lnTo>
                <a:lnTo>
                  <a:pt x="864" y="1640"/>
                </a:lnTo>
                <a:lnTo>
                  <a:pt x="882" y="1654"/>
                </a:lnTo>
                <a:lnTo>
                  <a:pt x="902" y="1666"/>
                </a:lnTo>
                <a:lnTo>
                  <a:pt x="924" y="1672"/>
                </a:lnTo>
                <a:lnTo>
                  <a:pt x="936" y="1674"/>
                </a:lnTo>
                <a:lnTo>
                  <a:pt x="950" y="1674"/>
                </a:lnTo>
                <a:lnTo>
                  <a:pt x="950" y="1674"/>
                </a:lnTo>
                <a:lnTo>
                  <a:pt x="962" y="1674"/>
                </a:lnTo>
                <a:lnTo>
                  <a:pt x="974" y="1672"/>
                </a:lnTo>
                <a:lnTo>
                  <a:pt x="996" y="1666"/>
                </a:lnTo>
                <a:lnTo>
                  <a:pt x="1016" y="1654"/>
                </a:lnTo>
                <a:lnTo>
                  <a:pt x="1034" y="1640"/>
                </a:lnTo>
                <a:lnTo>
                  <a:pt x="1050" y="1622"/>
                </a:lnTo>
                <a:lnTo>
                  <a:pt x="1060" y="1600"/>
                </a:lnTo>
                <a:lnTo>
                  <a:pt x="1068" y="1578"/>
                </a:lnTo>
                <a:lnTo>
                  <a:pt x="1070" y="1566"/>
                </a:lnTo>
                <a:lnTo>
                  <a:pt x="1070" y="1554"/>
                </a:lnTo>
                <a:close/>
                <a:moveTo>
                  <a:pt x="1280" y="1554"/>
                </a:moveTo>
                <a:lnTo>
                  <a:pt x="1280" y="1554"/>
                </a:lnTo>
                <a:lnTo>
                  <a:pt x="1278" y="1560"/>
                </a:lnTo>
                <a:lnTo>
                  <a:pt x="1276" y="1566"/>
                </a:lnTo>
                <a:lnTo>
                  <a:pt x="1274" y="1572"/>
                </a:lnTo>
                <a:lnTo>
                  <a:pt x="1270" y="1576"/>
                </a:lnTo>
                <a:lnTo>
                  <a:pt x="1264" y="1580"/>
                </a:lnTo>
                <a:lnTo>
                  <a:pt x="1260" y="1584"/>
                </a:lnTo>
                <a:lnTo>
                  <a:pt x="1254" y="1586"/>
                </a:lnTo>
                <a:lnTo>
                  <a:pt x="1246" y="1586"/>
                </a:lnTo>
                <a:lnTo>
                  <a:pt x="1246" y="1586"/>
                </a:lnTo>
                <a:lnTo>
                  <a:pt x="1240" y="1586"/>
                </a:lnTo>
                <a:lnTo>
                  <a:pt x="1234" y="1584"/>
                </a:lnTo>
                <a:lnTo>
                  <a:pt x="1228" y="1580"/>
                </a:lnTo>
                <a:lnTo>
                  <a:pt x="1224" y="1576"/>
                </a:lnTo>
                <a:lnTo>
                  <a:pt x="1220" y="1572"/>
                </a:lnTo>
                <a:lnTo>
                  <a:pt x="1216" y="1566"/>
                </a:lnTo>
                <a:lnTo>
                  <a:pt x="1214" y="1560"/>
                </a:lnTo>
                <a:lnTo>
                  <a:pt x="1214" y="1554"/>
                </a:lnTo>
                <a:lnTo>
                  <a:pt x="1214" y="1554"/>
                </a:lnTo>
                <a:lnTo>
                  <a:pt x="1214" y="1548"/>
                </a:lnTo>
                <a:lnTo>
                  <a:pt x="1216" y="1542"/>
                </a:lnTo>
                <a:lnTo>
                  <a:pt x="1220" y="1536"/>
                </a:lnTo>
                <a:lnTo>
                  <a:pt x="1224" y="1530"/>
                </a:lnTo>
                <a:lnTo>
                  <a:pt x="1228" y="1526"/>
                </a:lnTo>
                <a:lnTo>
                  <a:pt x="1234" y="1524"/>
                </a:lnTo>
                <a:lnTo>
                  <a:pt x="1240" y="1522"/>
                </a:lnTo>
                <a:lnTo>
                  <a:pt x="1246" y="1522"/>
                </a:lnTo>
                <a:lnTo>
                  <a:pt x="1246" y="1522"/>
                </a:lnTo>
                <a:lnTo>
                  <a:pt x="1254" y="1522"/>
                </a:lnTo>
                <a:lnTo>
                  <a:pt x="1260" y="1524"/>
                </a:lnTo>
                <a:lnTo>
                  <a:pt x="1264" y="1526"/>
                </a:lnTo>
                <a:lnTo>
                  <a:pt x="1270" y="1530"/>
                </a:lnTo>
                <a:lnTo>
                  <a:pt x="1274" y="1536"/>
                </a:lnTo>
                <a:lnTo>
                  <a:pt x="1276" y="1542"/>
                </a:lnTo>
                <a:lnTo>
                  <a:pt x="1278" y="1548"/>
                </a:lnTo>
                <a:lnTo>
                  <a:pt x="1280" y="1554"/>
                </a:lnTo>
                <a:close/>
                <a:moveTo>
                  <a:pt x="1368" y="1554"/>
                </a:moveTo>
                <a:lnTo>
                  <a:pt x="1368" y="1554"/>
                </a:lnTo>
                <a:lnTo>
                  <a:pt x="1366" y="1542"/>
                </a:lnTo>
                <a:lnTo>
                  <a:pt x="1366" y="1530"/>
                </a:lnTo>
                <a:lnTo>
                  <a:pt x="1358" y="1506"/>
                </a:lnTo>
                <a:lnTo>
                  <a:pt x="1346" y="1486"/>
                </a:lnTo>
                <a:lnTo>
                  <a:pt x="1332" y="1468"/>
                </a:lnTo>
                <a:lnTo>
                  <a:pt x="1314" y="1454"/>
                </a:lnTo>
                <a:lnTo>
                  <a:pt x="1294" y="1442"/>
                </a:lnTo>
                <a:lnTo>
                  <a:pt x="1270" y="1436"/>
                </a:lnTo>
                <a:lnTo>
                  <a:pt x="1258" y="1434"/>
                </a:lnTo>
                <a:lnTo>
                  <a:pt x="1246" y="1432"/>
                </a:lnTo>
                <a:lnTo>
                  <a:pt x="1246" y="1432"/>
                </a:lnTo>
                <a:lnTo>
                  <a:pt x="1234" y="1434"/>
                </a:lnTo>
                <a:lnTo>
                  <a:pt x="1222" y="1436"/>
                </a:lnTo>
                <a:lnTo>
                  <a:pt x="1200" y="1442"/>
                </a:lnTo>
                <a:lnTo>
                  <a:pt x="1178" y="1454"/>
                </a:lnTo>
                <a:lnTo>
                  <a:pt x="1162" y="1468"/>
                </a:lnTo>
                <a:lnTo>
                  <a:pt x="1146" y="1486"/>
                </a:lnTo>
                <a:lnTo>
                  <a:pt x="1136" y="1506"/>
                </a:lnTo>
                <a:lnTo>
                  <a:pt x="1128" y="1530"/>
                </a:lnTo>
                <a:lnTo>
                  <a:pt x="1126" y="1542"/>
                </a:lnTo>
                <a:lnTo>
                  <a:pt x="1126" y="1554"/>
                </a:lnTo>
                <a:lnTo>
                  <a:pt x="1126" y="1554"/>
                </a:lnTo>
                <a:lnTo>
                  <a:pt x="1126" y="1566"/>
                </a:lnTo>
                <a:lnTo>
                  <a:pt x="1128" y="1578"/>
                </a:lnTo>
                <a:lnTo>
                  <a:pt x="1136" y="1600"/>
                </a:lnTo>
                <a:lnTo>
                  <a:pt x="1146" y="1622"/>
                </a:lnTo>
                <a:lnTo>
                  <a:pt x="1162" y="1640"/>
                </a:lnTo>
                <a:lnTo>
                  <a:pt x="1178" y="1654"/>
                </a:lnTo>
                <a:lnTo>
                  <a:pt x="1200" y="1666"/>
                </a:lnTo>
                <a:lnTo>
                  <a:pt x="1222" y="1672"/>
                </a:lnTo>
                <a:lnTo>
                  <a:pt x="1234" y="1674"/>
                </a:lnTo>
                <a:lnTo>
                  <a:pt x="1246" y="1674"/>
                </a:lnTo>
                <a:lnTo>
                  <a:pt x="1246" y="1674"/>
                </a:lnTo>
                <a:lnTo>
                  <a:pt x="1258" y="1674"/>
                </a:lnTo>
                <a:lnTo>
                  <a:pt x="1270" y="1672"/>
                </a:lnTo>
                <a:lnTo>
                  <a:pt x="1294" y="1666"/>
                </a:lnTo>
                <a:lnTo>
                  <a:pt x="1314" y="1654"/>
                </a:lnTo>
                <a:lnTo>
                  <a:pt x="1332" y="1640"/>
                </a:lnTo>
                <a:lnTo>
                  <a:pt x="1346" y="1622"/>
                </a:lnTo>
                <a:lnTo>
                  <a:pt x="1358" y="1600"/>
                </a:lnTo>
                <a:lnTo>
                  <a:pt x="1366" y="1578"/>
                </a:lnTo>
                <a:lnTo>
                  <a:pt x="1366" y="1566"/>
                </a:lnTo>
                <a:lnTo>
                  <a:pt x="1368" y="1554"/>
                </a:lnTo>
                <a:close/>
                <a:moveTo>
                  <a:pt x="1576" y="1554"/>
                </a:moveTo>
                <a:lnTo>
                  <a:pt x="1576" y="1554"/>
                </a:lnTo>
                <a:lnTo>
                  <a:pt x="1576" y="1560"/>
                </a:lnTo>
                <a:lnTo>
                  <a:pt x="1574" y="1566"/>
                </a:lnTo>
                <a:lnTo>
                  <a:pt x="1572" y="1572"/>
                </a:lnTo>
                <a:lnTo>
                  <a:pt x="1568" y="1576"/>
                </a:lnTo>
                <a:lnTo>
                  <a:pt x="1562" y="1580"/>
                </a:lnTo>
                <a:lnTo>
                  <a:pt x="1556" y="1584"/>
                </a:lnTo>
                <a:lnTo>
                  <a:pt x="1550" y="1586"/>
                </a:lnTo>
                <a:lnTo>
                  <a:pt x="1544" y="1586"/>
                </a:lnTo>
                <a:lnTo>
                  <a:pt x="1544" y="1586"/>
                </a:lnTo>
                <a:lnTo>
                  <a:pt x="1538" y="1586"/>
                </a:lnTo>
                <a:lnTo>
                  <a:pt x="1532" y="1584"/>
                </a:lnTo>
                <a:lnTo>
                  <a:pt x="1526" y="1580"/>
                </a:lnTo>
                <a:lnTo>
                  <a:pt x="1520" y="1576"/>
                </a:lnTo>
                <a:lnTo>
                  <a:pt x="1516" y="1572"/>
                </a:lnTo>
                <a:lnTo>
                  <a:pt x="1514" y="1566"/>
                </a:lnTo>
                <a:lnTo>
                  <a:pt x="1512" y="1560"/>
                </a:lnTo>
                <a:lnTo>
                  <a:pt x="1512" y="1554"/>
                </a:lnTo>
                <a:lnTo>
                  <a:pt x="1512" y="1554"/>
                </a:lnTo>
                <a:lnTo>
                  <a:pt x="1512" y="1548"/>
                </a:lnTo>
                <a:lnTo>
                  <a:pt x="1514" y="1542"/>
                </a:lnTo>
                <a:lnTo>
                  <a:pt x="1516" y="1536"/>
                </a:lnTo>
                <a:lnTo>
                  <a:pt x="1520" y="1530"/>
                </a:lnTo>
                <a:lnTo>
                  <a:pt x="1526" y="1526"/>
                </a:lnTo>
                <a:lnTo>
                  <a:pt x="1532" y="1524"/>
                </a:lnTo>
                <a:lnTo>
                  <a:pt x="1538" y="1522"/>
                </a:lnTo>
                <a:lnTo>
                  <a:pt x="1544" y="1522"/>
                </a:lnTo>
                <a:lnTo>
                  <a:pt x="1544" y="1522"/>
                </a:lnTo>
                <a:lnTo>
                  <a:pt x="1550" y="1522"/>
                </a:lnTo>
                <a:lnTo>
                  <a:pt x="1556" y="1524"/>
                </a:lnTo>
                <a:lnTo>
                  <a:pt x="1562" y="1526"/>
                </a:lnTo>
                <a:lnTo>
                  <a:pt x="1568" y="1530"/>
                </a:lnTo>
                <a:lnTo>
                  <a:pt x="1572" y="1536"/>
                </a:lnTo>
                <a:lnTo>
                  <a:pt x="1574" y="1542"/>
                </a:lnTo>
                <a:lnTo>
                  <a:pt x="1576" y="1548"/>
                </a:lnTo>
                <a:lnTo>
                  <a:pt x="1576" y="1554"/>
                </a:lnTo>
                <a:close/>
                <a:moveTo>
                  <a:pt x="1664" y="1554"/>
                </a:moveTo>
                <a:lnTo>
                  <a:pt x="1664" y="1554"/>
                </a:lnTo>
                <a:lnTo>
                  <a:pt x="1664" y="1542"/>
                </a:lnTo>
                <a:lnTo>
                  <a:pt x="1662" y="1530"/>
                </a:lnTo>
                <a:lnTo>
                  <a:pt x="1656" y="1506"/>
                </a:lnTo>
                <a:lnTo>
                  <a:pt x="1644" y="1486"/>
                </a:lnTo>
                <a:lnTo>
                  <a:pt x="1630" y="1468"/>
                </a:lnTo>
                <a:lnTo>
                  <a:pt x="1612" y="1454"/>
                </a:lnTo>
                <a:lnTo>
                  <a:pt x="1592" y="1442"/>
                </a:lnTo>
                <a:lnTo>
                  <a:pt x="1568" y="1436"/>
                </a:lnTo>
                <a:lnTo>
                  <a:pt x="1556" y="1434"/>
                </a:lnTo>
                <a:lnTo>
                  <a:pt x="1544" y="1432"/>
                </a:lnTo>
                <a:lnTo>
                  <a:pt x="1544" y="1432"/>
                </a:lnTo>
                <a:lnTo>
                  <a:pt x="1532" y="1434"/>
                </a:lnTo>
                <a:lnTo>
                  <a:pt x="1520" y="1436"/>
                </a:lnTo>
                <a:lnTo>
                  <a:pt x="1496" y="1442"/>
                </a:lnTo>
                <a:lnTo>
                  <a:pt x="1476" y="1454"/>
                </a:lnTo>
                <a:lnTo>
                  <a:pt x="1458" y="1468"/>
                </a:lnTo>
                <a:lnTo>
                  <a:pt x="1444" y="1486"/>
                </a:lnTo>
                <a:lnTo>
                  <a:pt x="1432" y="1506"/>
                </a:lnTo>
                <a:lnTo>
                  <a:pt x="1426" y="1530"/>
                </a:lnTo>
                <a:lnTo>
                  <a:pt x="1424" y="1542"/>
                </a:lnTo>
                <a:lnTo>
                  <a:pt x="1422" y="1554"/>
                </a:lnTo>
                <a:lnTo>
                  <a:pt x="1422" y="1554"/>
                </a:lnTo>
                <a:lnTo>
                  <a:pt x="1424" y="1566"/>
                </a:lnTo>
                <a:lnTo>
                  <a:pt x="1426" y="1578"/>
                </a:lnTo>
                <a:lnTo>
                  <a:pt x="1432" y="1600"/>
                </a:lnTo>
                <a:lnTo>
                  <a:pt x="1444" y="1622"/>
                </a:lnTo>
                <a:lnTo>
                  <a:pt x="1458" y="1640"/>
                </a:lnTo>
                <a:lnTo>
                  <a:pt x="1476" y="1654"/>
                </a:lnTo>
                <a:lnTo>
                  <a:pt x="1496" y="1666"/>
                </a:lnTo>
                <a:lnTo>
                  <a:pt x="1520" y="1672"/>
                </a:lnTo>
                <a:lnTo>
                  <a:pt x="1532" y="1674"/>
                </a:lnTo>
                <a:lnTo>
                  <a:pt x="1544" y="1674"/>
                </a:lnTo>
                <a:lnTo>
                  <a:pt x="1544" y="1674"/>
                </a:lnTo>
                <a:lnTo>
                  <a:pt x="1556" y="1674"/>
                </a:lnTo>
                <a:lnTo>
                  <a:pt x="1568" y="1672"/>
                </a:lnTo>
                <a:lnTo>
                  <a:pt x="1592" y="1666"/>
                </a:lnTo>
                <a:lnTo>
                  <a:pt x="1612" y="1654"/>
                </a:lnTo>
                <a:lnTo>
                  <a:pt x="1630" y="1640"/>
                </a:lnTo>
                <a:lnTo>
                  <a:pt x="1644" y="1622"/>
                </a:lnTo>
                <a:lnTo>
                  <a:pt x="1656" y="1600"/>
                </a:lnTo>
                <a:lnTo>
                  <a:pt x="1662" y="1578"/>
                </a:lnTo>
                <a:lnTo>
                  <a:pt x="1664" y="1566"/>
                </a:lnTo>
                <a:lnTo>
                  <a:pt x="1664" y="1554"/>
                </a:lnTo>
                <a:close/>
                <a:moveTo>
                  <a:pt x="1874" y="1554"/>
                </a:moveTo>
                <a:lnTo>
                  <a:pt x="1874" y="1554"/>
                </a:lnTo>
                <a:lnTo>
                  <a:pt x="1874" y="1560"/>
                </a:lnTo>
                <a:lnTo>
                  <a:pt x="1872" y="1566"/>
                </a:lnTo>
                <a:lnTo>
                  <a:pt x="1868" y="1572"/>
                </a:lnTo>
                <a:lnTo>
                  <a:pt x="1864" y="1576"/>
                </a:lnTo>
                <a:lnTo>
                  <a:pt x="1860" y="1580"/>
                </a:lnTo>
                <a:lnTo>
                  <a:pt x="1854" y="1584"/>
                </a:lnTo>
                <a:lnTo>
                  <a:pt x="1848" y="1586"/>
                </a:lnTo>
                <a:lnTo>
                  <a:pt x="1842" y="1586"/>
                </a:lnTo>
                <a:lnTo>
                  <a:pt x="1842" y="1586"/>
                </a:lnTo>
                <a:lnTo>
                  <a:pt x="1834" y="1586"/>
                </a:lnTo>
                <a:lnTo>
                  <a:pt x="1828" y="1584"/>
                </a:lnTo>
                <a:lnTo>
                  <a:pt x="1824" y="1580"/>
                </a:lnTo>
                <a:lnTo>
                  <a:pt x="1818" y="1576"/>
                </a:lnTo>
                <a:lnTo>
                  <a:pt x="1814" y="1572"/>
                </a:lnTo>
                <a:lnTo>
                  <a:pt x="1812" y="1566"/>
                </a:lnTo>
                <a:lnTo>
                  <a:pt x="1810" y="1560"/>
                </a:lnTo>
                <a:lnTo>
                  <a:pt x="1808" y="1554"/>
                </a:lnTo>
                <a:lnTo>
                  <a:pt x="1808" y="1554"/>
                </a:lnTo>
                <a:lnTo>
                  <a:pt x="1810" y="1548"/>
                </a:lnTo>
                <a:lnTo>
                  <a:pt x="1812" y="1542"/>
                </a:lnTo>
                <a:lnTo>
                  <a:pt x="1814" y="1536"/>
                </a:lnTo>
                <a:lnTo>
                  <a:pt x="1818" y="1530"/>
                </a:lnTo>
                <a:lnTo>
                  <a:pt x="1824" y="1526"/>
                </a:lnTo>
                <a:lnTo>
                  <a:pt x="1828" y="1524"/>
                </a:lnTo>
                <a:lnTo>
                  <a:pt x="1834" y="1522"/>
                </a:lnTo>
                <a:lnTo>
                  <a:pt x="1842" y="1522"/>
                </a:lnTo>
                <a:lnTo>
                  <a:pt x="1842" y="1522"/>
                </a:lnTo>
                <a:lnTo>
                  <a:pt x="1848" y="1522"/>
                </a:lnTo>
                <a:lnTo>
                  <a:pt x="1854" y="1524"/>
                </a:lnTo>
                <a:lnTo>
                  <a:pt x="1860" y="1526"/>
                </a:lnTo>
                <a:lnTo>
                  <a:pt x="1864" y="1530"/>
                </a:lnTo>
                <a:lnTo>
                  <a:pt x="1868" y="1536"/>
                </a:lnTo>
                <a:lnTo>
                  <a:pt x="1872" y="1542"/>
                </a:lnTo>
                <a:lnTo>
                  <a:pt x="1874" y="1548"/>
                </a:lnTo>
                <a:lnTo>
                  <a:pt x="1874" y="1554"/>
                </a:lnTo>
                <a:close/>
                <a:moveTo>
                  <a:pt x="1962" y="1554"/>
                </a:moveTo>
                <a:lnTo>
                  <a:pt x="1962" y="1554"/>
                </a:lnTo>
                <a:lnTo>
                  <a:pt x="1962" y="1542"/>
                </a:lnTo>
                <a:lnTo>
                  <a:pt x="1960" y="1530"/>
                </a:lnTo>
                <a:lnTo>
                  <a:pt x="1952" y="1506"/>
                </a:lnTo>
                <a:lnTo>
                  <a:pt x="1942" y="1486"/>
                </a:lnTo>
                <a:lnTo>
                  <a:pt x="1926" y="1468"/>
                </a:lnTo>
                <a:lnTo>
                  <a:pt x="1908" y="1454"/>
                </a:lnTo>
                <a:lnTo>
                  <a:pt x="1888" y="1442"/>
                </a:lnTo>
                <a:lnTo>
                  <a:pt x="1866" y="1436"/>
                </a:lnTo>
                <a:lnTo>
                  <a:pt x="1854" y="1434"/>
                </a:lnTo>
                <a:lnTo>
                  <a:pt x="1842" y="1432"/>
                </a:lnTo>
                <a:lnTo>
                  <a:pt x="1842" y="1432"/>
                </a:lnTo>
                <a:lnTo>
                  <a:pt x="1830" y="1434"/>
                </a:lnTo>
                <a:lnTo>
                  <a:pt x="1818" y="1436"/>
                </a:lnTo>
                <a:lnTo>
                  <a:pt x="1794" y="1442"/>
                </a:lnTo>
                <a:lnTo>
                  <a:pt x="1774" y="1454"/>
                </a:lnTo>
                <a:lnTo>
                  <a:pt x="1756" y="1468"/>
                </a:lnTo>
                <a:lnTo>
                  <a:pt x="1742" y="1486"/>
                </a:lnTo>
                <a:lnTo>
                  <a:pt x="1730" y="1506"/>
                </a:lnTo>
                <a:lnTo>
                  <a:pt x="1722" y="1530"/>
                </a:lnTo>
                <a:lnTo>
                  <a:pt x="1722" y="1542"/>
                </a:lnTo>
                <a:lnTo>
                  <a:pt x="1720" y="1554"/>
                </a:lnTo>
                <a:lnTo>
                  <a:pt x="1720" y="1554"/>
                </a:lnTo>
                <a:lnTo>
                  <a:pt x="1722" y="1566"/>
                </a:lnTo>
                <a:lnTo>
                  <a:pt x="1722" y="1578"/>
                </a:lnTo>
                <a:lnTo>
                  <a:pt x="1730" y="1600"/>
                </a:lnTo>
                <a:lnTo>
                  <a:pt x="1742" y="1622"/>
                </a:lnTo>
                <a:lnTo>
                  <a:pt x="1756" y="1640"/>
                </a:lnTo>
                <a:lnTo>
                  <a:pt x="1774" y="1654"/>
                </a:lnTo>
                <a:lnTo>
                  <a:pt x="1794" y="1666"/>
                </a:lnTo>
                <a:lnTo>
                  <a:pt x="1818" y="1672"/>
                </a:lnTo>
                <a:lnTo>
                  <a:pt x="1830" y="1674"/>
                </a:lnTo>
                <a:lnTo>
                  <a:pt x="1842" y="1674"/>
                </a:lnTo>
                <a:lnTo>
                  <a:pt x="1842" y="1674"/>
                </a:lnTo>
                <a:lnTo>
                  <a:pt x="1854" y="1674"/>
                </a:lnTo>
                <a:lnTo>
                  <a:pt x="1866" y="1672"/>
                </a:lnTo>
                <a:lnTo>
                  <a:pt x="1888" y="1666"/>
                </a:lnTo>
                <a:lnTo>
                  <a:pt x="1908" y="1654"/>
                </a:lnTo>
                <a:lnTo>
                  <a:pt x="1926" y="1640"/>
                </a:lnTo>
                <a:lnTo>
                  <a:pt x="1942" y="1622"/>
                </a:lnTo>
                <a:lnTo>
                  <a:pt x="1952" y="1600"/>
                </a:lnTo>
                <a:lnTo>
                  <a:pt x="1960" y="1578"/>
                </a:lnTo>
                <a:lnTo>
                  <a:pt x="1962" y="1566"/>
                </a:lnTo>
                <a:lnTo>
                  <a:pt x="1962" y="1554"/>
                </a:lnTo>
                <a:close/>
                <a:moveTo>
                  <a:pt x="2024" y="1642"/>
                </a:moveTo>
                <a:lnTo>
                  <a:pt x="2024" y="1642"/>
                </a:lnTo>
                <a:lnTo>
                  <a:pt x="2024" y="1654"/>
                </a:lnTo>
                <a:lnTo>
                  <a:pt x="2020" y="1664"/>
                </a:lnTo>
                <a:lnTo>
                  <a:pt x="2016" y="1672"/>
                </a:lnTo>
                <a:lnTo>
                  <a:pt x="2010" y="1678"/>
                </a:lnTo>
                <a:lnTo>
                  <a:pt x="2004" y="1682"/>
                </a:lnTo>
                <a:lnTo>
                  <a:pt x="1996" y="1684"/>
                </a:lnTo>
                <a:lnTo>
                  <a:pt x="1980" y="1686"/>
                </a:lnTo>
                <a:lnTo>
                  <a:pt x="514" y="1686"/>
                </a:lnTo>
                <a:lnTo>
                  <a:pt x="514" y="1686"/>
                </a:lnTo>
                <a:lnTo>
                  <a:pt x="500" y="1686"/>
                </a:lnTo>
                <a:lnTo>
                  <a:pt x="490" y="1682"/>
                </a:lnTo>
                <a:lnTo>
                  <a:pt x="484" y="1678"/>
                </a:lnTo>
                <a:lnTo>
                  <a:pt x="478" y="1672"/>
                </a:lnTo>
                <a:lnTo>
                  <a:pt x="474" y="1664"/>
                </a:lnTo>
                <a:lnTo>
                  <a:pt x="470" y="1658"/>
                </a:lnTo>
                <a:lnTo>
                  <a:pt x="468" y="1642"/>
                </a:lnTo>
                <a:lnTo>
                  <a:pt x="468" y="1466"/>
                </a:lnTo>
                <a:lnTo>
                  <a:pt x="468" y="1466"/>
                </a:lnTo>
                <a:lnTo>
                  <a:pt x="470" y="1454"/>
                </a:lnTo>
                <a:lnTo>
                  <a:pt x="472" y="1444"/>
                </a:lnTo>
                <a:lnTo>
                  <a:pt x="478" y="1436"/>
                </a:lnTo>
                <a:lnTo>
                  <a:pt x="484" y="1430"/>
                </a:lnTo>
                <a:lnTo>
                  <a:pt x="490" y="1426"/>
                </a:lnTo>
                <a:lnTo>
                  <a:pt x="498" y="1424"/>
                </a:lnTo>
                <a:lnTo>
                  <a:pt x="514" y="1422"/>
                </a:lnTo>
                <a:lnTo>
                  <a:pt x="1980" y="1422"/>
                </a:lnTo>
                <a:lnTo>
                  <a:pt x="1980" y="1422"/>
                </a:lnTo>
                <a:lnTo>
                  <a:pt x="1992" y="1422"/>
                </a:lnTo>
                <a:lnTo>
                  <a:pt x="2002" y="1426"/>
                </a:lnTo>
                <a:lnTo>
                  <a:pt x="2010" y="1430"/>
                </a:lnTo>
                <a:lnTo>
                  <a:pt x="2016" y="1436"/>
                </a:lnTo>
                <a:lnTo>
                  <a:pt x="2020" y="1442"/>
                </a:lnTo>
                <a:lnTo>
                  <a:pt x="2022" y="1450"/>
                </a:lnTo>
                <a:lnTo>
                  <a:pt x="2024" y="1466"/>
                </a:lnTo>
                <a:lnTo>
                  <a:pt x="2024" y="1642"/>
                </a:lnTo>
                <a:close/>
                <a:moveTo>
                  <a:pt x="1802" y="1212"/>
                </a:moveTo>
                <a:lnTo>
                  <a:pt x="1404" y="1212"/>
                </a:lnTo>
                <a:lnTo>
                  <a:pt x="1404" y="808"/>
                </a:lnTo>
                <a:lnTo>
                  <a:pt x="1802" y="808"/>
                </a:lnTo>
                <a:lnTo>
                  <a:pt x="1802" y="1212"/>
                </a:lnTo>
                <a:close/>
                <a:moveTo>
                  <a:pt x="1090" y="1212"/>
                </a:moveTo>
                <a:lnTo>
                  <a:pt x="690" y="1212"/>
                </a:lnTo>
                <a:lnTo>
                  <a:pt x="690" y="808"/>
                </a:lnTo>
                <a:lnTo>
                  <a:pt x="1090" y="808"/>
                </a:lnTo>
                <a:lnTo>
                  <a:pt x="1090" y="1212"/>
                </a:lnTo>
                <a:close/>
                <a:moveTo>
                  <a:pt x="2128" y="1642"/>
                </a:moveTo>
                <a:lnTo>
                  <a:pt x="2128" y="1466"/>
                </a:lnTo>
                <a:lnTo>
                  <a:pt x="2128" y="1466"/>
                </a:lnTo>
                <a:lnTo>
                  <a:pt x="2126" y="1442"/>
                </a:lnTo>
                <a:lnTo>
                  <a:pt x="2120" y="1418"/>
                </a:lnTo>
                <a:lnTo>
                  <a:pt x="2110" y="1392"/>
                </a:lnTo>
                <a:lnTo>
                  <a:pt x="2104" y="1380"/>
                </a:lnTo>
                <a:lnTo>
                  <a:pt x="2096" y="1370"/>
                </a:lnTo>
                <a:lnTo>
                  <a:pt x="2086" y="1358"/>
                </a:lnTo>
                <a:lnTo>
                  <a:pt x="2074" y="1348"/>
                </a:lnTo>
                <a:lnTo>
                  <a:pt x="2062" y="1340"/>
                </a:lnTo>
                <a:lnTo>
                  <a:pt x="2050" y="1332"/>
                </a:lnTo>
                <a:lnTo>
                  <a:pt x="2034" y="1326"/>
                </a:lnTo>
                <a:lnTo>
                  <a:pt x="2018" y="1322"/>
                </a:lnTo>
                <a:lnTo>
                  <a:pt x="2000" y="1318"/>
                </a:lnTo>
                <a:lnTo>
                  <a:pt x="1980" y="1318"/>
                </a:lnTo>
                <a:lnTo>
                  <a:pt x="1890" y="1318"/>
                </a:lnTo>
                <a:lnTo>
                  <a:pt x="1890" y="1318"/>
                </a:lnTo>
                <a:lnTo>
                  <a:pt x="1900" y="1310"/>
                </a:lnTo>
                <a:lnTo>
                  <a:pt x="1908" y="1300"/>
                </a:lnTo>
                <a:lnTo>
                  <a:pt x="1912" y="1286"/>
                </a:lnTo>
                <a:lnTo>
                  <a:pt x="1914" y="1272"/>
                </a:lnTo>
                <a:lnTo>
                  <a:pt x="1914" y="752"/>
                </a:lnTo>
                <a:lnTo>
                  <a:pt x="1914" y="752"/>
                </a:lnTo>
                <a:lnTo>
                  <a:pt x="1912" y="740"/>
                </a:lnTo>
                <a:lnTo>
                  <a:pt x="1910" y="730"/>
                </a:lnTo>
                <a:lnTo>
                  <a:pt x="1906" y="720"/>
                </a:lnTo>
                <a:lnTo>
                  <a:pt x="1900" y="712"/>
                </a:lnTo>
                <a:lnTo>
                  <a:pt x="1892" y="704"/>
                </a:lnTo>
                <a:lnTo>
                  <a:pt x="1882" y="698"/>
                </a:lnTo>
                <a:lnTo>
                  <a:pt x="1872" y="694"/>
                </a:lnTo>
                <a:lnTo>
                  <a:pt x="1860" y="694"/>
                </a:lnTo>
                <a:lnTo>
                  <a:pt x="1350" y="694"/>
                </a:lnTo>
                <a:lnTo>
                  <a:pt x="1350" y="694"/>
                </a:lnTo>
                <a:lnTo>
                  <a:pt x="1340" y="694"/>
                </a:lnTo>
                <a:lnTo>
                  <a:pt x="1328" y="698"/>
                </a:lnTo>
                <a:lnTo>
                  <a:pt x="1318" y="704"/>
                </a:lnTo>
                <a:lnTo>
                  <a:pt x="1310" y="712"/>
                </a:lnTo>
                <a:lnTo>
                  <a:pt x="1302" y="720"/>
                </a:lnTo>
                <a:lnTo>
                  <a:pt x="1298" y="730"/>
                </a:lnTo>
                <a:lnTo>
                  <a:pt x="1294" y="740"/>
                </a:lnTo>
                <a:lnTo>
                  <a:pt x="1292" y="752"/>
                </a:lnTo>
                <a:lnTo>
                  <a:pt x="1292" y="1272"/>
                </a:lnTo>
                <a:lnTo>
                  <a:pt x="1292" y="1272"/>
                </a:lnTo>
                <a:lnTo>
                  <a:pt x="1294" y="1286"/>
                </a:lnTo>
                <a:lnTo>
                  <a:pt x="1300" y="1300"/>
                </a:lnTo>
                <a:lnTo>
                  <a:pt x="1308" y="1310"/>
                </a:lnTo>
                <a:lnTo>
                  <a:pt x="1320" y="1318"/>
                </a:lnTo>
                <a:lnTo>
                  <a:pt x="1176" y="1318"/>
                </a:lnTo>
                <a:lnTo>
                  <a:pt x="1176" y="1318"/>
                </a:lnTo>
                <a:lnTo>
                  <a:pt x="1186" y="1310"/>
                </a:lnTo>
                <a:lnTo>
                  <a:pt x="1194" y="1300"/>
                </a:lnTo>
                <a:lnTo>
                  <a:pt x="1200" y="1286"/>
                </a:lnTo>
                <a:lnTo>
                  <a:pt x="1200" y="1272"/>
                </a:lnTo>
                <a:lnTo>
                  <a:pt x="1200" y="752"/>
                </a:lnTo>
                <a:lnTo>
                  <a:pt x="1200" y="752"/>
                </a:lnTo>
                <a:lnTo>
                  <a:pt x="1200" y="740"/>
                </a:lnTo>
                <a:lnTo>
                  <a:pt x="1196" y="730"/>
                </a:lnTo>
                <a:lnTo>
                  <a:pt x="1192" y="720"/>
                </a:lnTo>
                <a:lnTo>
                  <a:pt x="1186" y="712"/>
                </a:lnTo>
                <a:lnTo>
                  <a:pt x="1178" y="704"/>
                </a:lnTo>
                <a:lnTo>
                  <a:pt x="1170" y="698"/>
                </a:lnTo>
                <a:lnTo>
                  <a:pt x="1160" y="694"/>
                </a:lnTo>
                <a:lnTo>
                  <a:pt x="1148" y="694"/>
                </a:lnTo>
                <a:lnTo>
                  <a:pt x="638" y="694"/>
                </a:lnTo>
                <a:lnTo>
                  <a:pt x="638" y="694"/>
                </a:lnTo>
                <a:lnTo>
                  <a:pt x="626" y="694"/>
                </a:lnTo>
                <a:lnTo>
                  <a:pt x="616" y="698"/>
                </a:lnTo>
                <a:lnTo>
                  <a:pt x="606" y="704"/>
                </a:lnTo>
                <a:lnTo>
                  <a:pt x="596" y="712"/>
                </a:lnTo>
                <a:lnTo>
                  <a:pt x="590" y="720"/>
                </a:lnTo>
                <a:lnTo>
                  <a:pt x="584" y="730"/>
                </a:lnTo>
                <a:lnTo>
                  <a:pt x="580" y="740"/>
                </a:lnTo>
                <a:lnTo>
                  <a:pt x="580" y="752"/>
                </a:lnTo>
                <a:lnTo>
                  <a:pt x="580" y="1272"/>
                </a:lnTo>
                <a:lnTo>
                  <a:pt x="580" y="1272"/>
                </a:lnTo>
                <a:lnTo>
                  <a:pt x="582" y="1286"/>
                </a:lnTo>
                <a:lnTo>
                  <a:pt x="588" y="1300"/>
                </a:lnTo>
                <a:lnTo>
                  <a:pt x="596" y="1310"/>
                </a:lnTo>
                <a:lnTo>
                  <a:pt x="606" y="1318"/>
                </a:lnTo>
                <a:lnTo>
                  <a:pt x="514" y="1318"/>
                </a:lnTo>
                <a:lnTo>
                  <a:pt x="514" y="1318"/>
                </a:lnTo>
                <a:lnTo>
                  <a:pt x="490" y="1320"/>
                </a:lnTo>
                <a:lnTo>
                  <a:pt x="464" y="1326"/>
                </a:lnTo>
                <a:lnTo>
                  <a:pt x="440" y="1336"/>
                </a:lnTo>
                <a:lnTo>
                  <a:pt x="428" y="1342"/>
                </a:lnTo>
                <a:lnTo>
                  <a:pt x="416" y="1350"/>
                </a:lnTo>
                <a:lnTo>
                  <a:pt x="406" y="1360"/>
                </a:lnTo>
                <a:lnTo>
                  <a:pt x="396" y="1372"/>
                </a:lnTo>
                <a:lnTo>
                  <a:pt x="386" y="1384"/>
                </a:lnTo>
                <a:lnTo>
                  <a:pt x="380" y="1396"/>
                </a:lnTo>
                <a:lnTo>
                  <a:pt x="374" y="1412"/>
                </a:lnTo>
                <a:lnTo>
                  <a:pt x="368" y="1428"/>
                </a:lnTo>
                <a:lnTo>
                  <a:pt x="366" y="1446"/>
                </a:lnTo>
                <a:lnTo>
                  <a:pt x="364" y="1466"/>
                </a:lnTo>
                <a:lnTo>
                  <a:pt x="364" y="1642"/>
                </a:lnTo>
                <a:lnTo>
                  <a:pt x="364" y="1642"/>
                </a:lnTo>
                <a:lnTo>
                  <a:pt x="366" y="1666"/>
                </a:lnTo>
                <a:lnTo>
                  <a:pt x="372" y="1690"/>
                </a:lnTo>
                <a:lnTo>
                  <a:pt x="382" y="1714"/>
                </a:lnTo>
                <a:lnTo>
                  <a:pt x="390" y="1726"/>
                </a:lnTo>
                <a:lnTo>
                  <a:pt x="398" y="1738"/>
                </a:lnTo>
                <a:lnTo>
                  <a:pt x="408" y="1750"/>
                </a:lnTo>
                <a:lnTo>
                  <a:pt x="418" y="1758"/>
                </a:lnTo>
                <a:lnTo>
                  <a:pt x="430" y="1768"/>
                </a:lnTo>
                <a:lnTo>
                  <a:pt x="444" y="1776"/>
                </a:lnTo>
                <a:lnTo>
                  <a:pt x="458" y="1782"/>
                </a:lnTo>
                <a:lnTo>
                  <a:pt x="476" y="1786"/>
                </a:lnTo>
                <a:lnTo>
                  <a:pt x="494" y="1790"/>
                </a:lnTo>
                <a:lnTo>
                  <a:pt x="514" y="1790"/>
                </a:lnTo>
                <a:lnTo>
                  <a:pt x="1980" y="1790"/>
                </a:lnTo>
                <a:lnTo>
                  <a:pt x="1980" y="1790"/>
                </a:lnTo>
                <a:lnTo>
                  <a:pt x="2004" y="1788"/>
                </a:lnTo>
                <a:lnTo>
                  <a:pt x="2028" y="1782"/>
                </a:lnTo>
                <a:lnTo>
                  <a:pt x="2054" y="1772"/>
                </a:lnTo>
                <a:lnTo>
                  <a:pt x="2066" y="1764"/>
                </a:lnTo>
                <a:lnTo>
                  <a:pt x="2076" y="1756"/>
                </a:lnTo>
                <a:lnTo>
                  <a:pt x="2088" y="1748"/>
                </a:lnTo>
                <a:lnTo>
                  <a:pt x="2098" y="1736"/>
                </a:lnTo>
                <a:lnTo>
                  <a:pt x="2106" y="1724"/>
                </a:lnTo>
                <a:lnTo>
                  <a:pt x="2114" y="1710"/>
                </a:lnTo>
                <a:lnTo>
                  <a:pt x="2120" y="1696"/>
                </a:lnTo>
                <a:lnTo>
                  <a:pt x="2124" y="1680"/>
                </a:lnTo>
                <a:lnTo>
                  <a:pt x="2128" y="1662"/>
                </a:lnTo>
                <a:lnTo>
                  <a:pt x="2128" y="1642"/>
                </a:lnTo>
                <a:close/>
                <a:moveTo>
                  <a:pt x="2386" y="1242"/>
                </a:moveTo>
                <a:lnTo>
                  <a:pt x="2386" y="1242"/>
                </a:lnTo>
                <a:lnTo>
                  <a:pt x="2384" y="1300"/>
                </a:lnTo>
                <a:lnTo>
                  <a:pt x="2380" y="1358"/>
                </a:lnTo>
                <a:lnTo>
                  <a:pt x="2374" y="1414"/>
                </a:lnTo>
                <a:lnTo>
                  <a:pt x="2364" y="1470"/>
                </a:lnTo>
                <a:lnTo>
                  <a:pt x="2350" y="1526"/>
                </a:lnTo>
                <a:lnTo>
                  <a:pt x="2334" y="1578"/>
                </a:lnTo>
                <a:lnTo>
                  <a:pt x="2316" y="1632"/>
                </a:lnTo>
                <a:lnTo>
                  <a:pt x="2296" y="1684"/>
                </a:lnTo>
                <a:lnTo>
                  <a:pt x="2274" y="1734"/>
                </a:lnTo>
                <a:lnTo>
                  <a:pt x="2248" y="1782"/>
                </a:lnTo>
                <a:lnTo>
                  <a:pt x="2222" y="1830"/>
                </a:lnTo>
                <a:lnTo>
                  <a:pt x="2192" y="1876"/>
                </a:lnTo>
                <a:lnTo>
                  <a:pt x="2160" y="1920"/>
                </a:lnTo>
                <a:lnTo>
                  <a:pt x="2126" y="1964"/>
                </a:lnTo>
                <a:lnTo>
                  <a:pt x="2090" y="2004"/>
                </a:lnTo>
                <a:lnTo>
                  <a:pt x="2052" y="2044"/>
                </a:lnTo>
                <a:lnTo>
                  <a:pt x="2012" y="2082"/>
                </a:lnTo>
                <a:lnTo>
                  <a:pt x="1972" y="2118"/>
                </a:lnTo>
                <a:lnTo>
                  <a:pt x="1928" y="2150"/>
                </a:lnTo>
                <a:lnTo>
                  <a:pt x="1884" y="2182"/>
                </a:lnTo>
                <a:lnTo>
                  <a:pt x="1838" y="2212"/>
                </a:lnTo>
                <a:lnTo>
                  <a:pt x="1790" y="2240"/>
                </a:lnTo>
                <a:lnTo>
                  <a:pt x="1740" y="2264"/>
                </a:lnTo>
                <a:lnTo>
                  <a:pt x="1690" y="2288"/>
                </a:lnTo>
                <a:lnTo>
                  <a:pt x="1638" y="2308"/>
                </a:lnTo>
                <a:lnTo>
                  <a:pt x="1586" y="2326"/>
                </a:lnTo>
                <a:lnTo>
                  <a:pt x="1532" y="2340"/>
                </a:lnTo>
                <a:lnTo>
                  <a:pt x="1476" y="2354"/>
                </a:lnTo>
                <a:lnTo>
                  <a:pt x="1420" y="2364"/>
                </a:lnTo>
                <a:lnTo>
                  <a:pt x="1362" y="2370"/>
                </a:lnTo>
                <a:lnTo>
                  <a:pt x="1306" y="2374"/>
                </a:lnTo>
                <a:lnTo>
                  <a:pt x="1246" y="2376"/>
                </a:lnTo>
                <a:lnTo>
                  <a:pt x="1246" y="2376"/>
                </a:lnTo>
                <a:lnTo>
                  <a:pt x="1188" y="2374"/>
                </a:lnTo>
                <a:lnTo>
                  <a:pt x="1130" y="2370"/>
                </a:lnTo>
                <a:lnTo>
                  <a:pt x="1072" y="2364"/>
                </a:lnTo>
                <a:lnTo>
                  <a:pt x="1016" y="2354"/>
                </a:lnTo>
                <a:lnTo>
                  <a:pt x="960" y="2340"/>
                </a:lnTo>
                <a:lnTo>
                  <a:pt x="906" y="2326"/>
                </a:lnTo>
                <a:lnTo>
                  <a:pt x="852" y="2308"/>
                </a:lnTo>
                <a:lnTo>
                  <a:pt x="800" y="2288"/>
                </a:lnTo>
                <a:lnTo>
                  <a:pt x="750" y="2264"/>
                </a:lnTo>
                <a:lnTo>
                  <a:pt x="700" y="2240"/>
                </a:lnTo>
                <a:lnTo>
                  <a:pt x="652" y="2212"/>
                </a:lnTo>
                <a:lnTo>
                  <a:pt x="606" y="2182"/>
                </a:lnTo>
                <a:lnTo>
                  <a:pt x="562" y="2150"/>
                </a:lnTo>
                <a:lnTo>
                  <a:pt x="518" y="2118"/>
                </a:lnTo>
                <a:lnTo>
                  <a:pt x="476" y="2082"/>
                </a:lnTo>
                <a:lnTo>
                  <a:pt x="438" y="2044"/>
                </a:lnTo>
                <a:lnTo>
                  <a:pt x="400" y="2004"/>
                </a:lnTo>
                <a:lnTo>
                  <a:pt x="364" y="1964"/>
                </a:lnTo>
                <a:lnTo>
                  <a:pt x="330" y="1920"/>
                </a:lnTo>
                <a:lnTo>
                  <a:pt x="298" y="1876"/>
                </a:lnTo>
                <a:lnTo>
                  <a:pt x="268" y="1830"/>
                </a:lnTo>
                <a:lnTo>
                  <a:pt x="240" y="1782"/>
                </a:lnTo>
                <a:lnTo>
                  <a:pt x="216" y="1734"/>
                </a:lnTo>
                <a:lnTo>
                  <a:pt x="192" y="1684"/>
                </a:lnTo>
                <a:lnTo>
                  <a:pt x="172" y="1632"/>
                </a:lnTo>
                <a:lnTo>
                  <a:pt x="154" y="1578"/>
                </a:lnTo>
                <a:lnTo>
                  <a:pt x="138" y="1526"/>
                </a:lnTo>
                <a:lnTo>
                  <a:pt x="126" y="1470"/>
                </a:lnTo>
                <a:lnTo>
                  <a:pt x="116" y="1414"/>
                </a:lnTo>
                <a:lnTo>
                  <a:pt x="108" y="1358"/>
                </a:lnTo>
                <a:lnTo>
                  <a:pt x="104" y="1300"/>
                </a:lnTo>
                <a:lnTo>
                  <a:pt x="102" y="1242"/>
                </a:lnTo>
                <a:lnTo>
                  <a:pt x="102" y="1242"/>
                </a:lnTo>
                <a:lnTo>
                  <a:pt x="104" y="1184"/>
                </a:lnTo>
                <a:lnTo>
                  <a:pt x="108" y="1126"/>
                </a:lnTo>
                <a:lnTo>
                  <a:pt x="116" y="1068"/>
                </a:lnTo>
                <a:lnTo>
                  <a:pt x="126" y="1012"/>
                </a:lnTo>
                <a:lnTo>
                  <a:pt x="138" y="956"/>
                </a:lnTo>
                <a:lnTo>
                  <a:pt x="154" y="902"/>
                </a:lnTo>
                <a:lnTo>
                  <a:pt x="172" y="850"/>
                </a:lnTo>
                <a:lnTo>
                  <a:pt x="192" y="798"/>
                </a:lnTo>
                <a:lnTo>
                  <a:pt x="216" y="748"/>
                </a:lnTo>
                <a:lnTo>
                  <a:pt x="240" y="698"/>
                </a:lnTo>
                <a:lnTo>
                  <a:pt x="268" y="650"/>
                </a:lnTo>
                <a:lnTo>
                  <a:pt x="298" y="604"/>
                </a:lnTo>
                <a:lnTo>
                  <a:pt x="330" y="560"/>
                </a:lnTo>
                <a:lnTo>
                  <a:pt x="364" y="516"/>
                </a:lnTo>
                <a:lnTo>
                  <a:pt x="400" y="476"/>
                </a:lnTo>
                <a:lnTo>
                  <a:pt x="438" y="436"/>
                </a:lnTo>
                <a:lnTo>
                  <a:pt x="476" y="398"/>
                </a:lnTo>
                <a:lnTo>
                  <a:pt x="518" y="362"/>
                </a:lnTo>
                <a:lnTo>
                  <a:pt x="562" y="328"/>
                </a:lnTo>
                <a:lnTo>
                  <a:pt x="606" y="296"/>
                </a:lnTo>
                <a:lnTo>
                  <a:pt x="652" y="266"/>
                </a:lnTo>
                <a:lnTo>
                  <a:pt x="700" y="240"/>
                </a:lnTo>
                <a:lnTo>
                  <a:pt x="750" y="214"/>
                </a:lnTo>
                <a:lnTo>
                  <a:pt x="800" y="192"/>
                </a:lnTo>
                <a:lnTo>
                  <a:pt x="852" y="172"/>
                </a:lnTo>
                <a:lnTo>
                  <a:pt x="906" y="154"/>
                </a:lnTo>
                <a:lnTo>
                  <a:pt x="960" y="138"/>
                </a:lnTo>
                <a:lnTo>
                  <a:pt x="1016" y="126"/>
                </a:lnTo>
                <a:lnTo>
                  <a:pt x="1072" y="116"/>
                </a:lnTo>
                <a:lnTo>
                  <a:pt x="1130" y="108"/>
                </a:lnTo>
                <a:lnTo>
                  <a:pt x="1188" y="104"/>
                </a:lnTo>
                <a:lnTo>
                  <a:pt x="1246" y="102"/>
                </a:lnTo>
                <a:lnTo>
                  <a:pt x="1246" y="102"/>
                </a:lnTo>
                <a:lnTo>
                  <a:pt x="1306" y="104"/>
                </a:lnTo>
                <a:lnTo>
                  <a:pt x="1362" y="108"/>
                </a:lnTo>
                <a:lnTo>
                  <a:pt x="1420" y="116"/>
                </a:lnTo>
                <a:lnTo>
                  <a:pt x="1476" y="126"/>
                </a:lnTo>
                <a:lnTo>
                  <a:pt x="1532" y="138"/>
                </a:lnTo>
                <a:lnTo>
                  <a:pt x="1586" y="154"/>
                </a:lnTo>
                <a:lnTo>
                  <a:pt x="1638" y="172"/>
                </a:lnTo>
                <a:lnTo>
                  <a:pt x="1690" y="192"/>
                </a:lnTo>
                <a:lnTo>
                  <a:pt x="1740" y="214"/>
                </a:lnTo>
                <a:lnTo>
                  <a:pt x="1790" y="240"/>
                </a:lnTo>
                <a:lnTo>
                  <a:pt x="1838" y="266"/>
                </a:lnTo>
                <a:lnTo>
                  <a:pt x="1884" y="296"/>
                </a:lnTo>
                <a:lnTo>
                  <a:pt x="1928" y="328"/>
                </a:lnTo>
                <a:lnTo>
                  <a:pt x="1972" y="362"/>
                </a:lnTo>
                <a:lnTo>
                  <a:pt x="2012" y="398"/>
                </a:lnTo>
                <a:lnTo>
                  <a:pt x="2052" y="436"/>
                </a:lnTo>
                <a:lnTo>
                  <a:pt x="2090" y="476"/>
                </a:lnTo>
                <a:lnTo>
                  <a:pt x="2126" y="516"/>
                </a:lnTo>
                <a:lnTo>
                  <a:pt x="2160" y="560"/>
                </a:lnTo>
                <a:lnTo>
                  <a:pt x="2192" y="604"/>
                </a:lnTo>
                <a:lnTo>
                  <a:pt x="2222" y="650"/>
                </a:lnTo>
                <a:lnTo>
                  <a:pt x="2248" y="698"/>
                </a:lnTo>
                <a:lnTo>
                  <a:pt x="2274" y="748"/>
                </a:lnTo>
                <a:lnTo>
                  <a:pt x="2296" y="798"/>
                </a:lnTo>
                <a:lnTo>
                  <a:pt x="2316" y="850"/>
                </a:lnTo>
                <a:lnTo>
                  <a:pt x="2334" y="902"/>
                </a:lnTo>
                <a:lnTo>
                  <a:pt x="2350" y="956"/>
                </a:lnTo>
                <a:lnTo>
                  <a:pt x="2364" y="1012"/>
                </a:lnTo>
                <a:lnTo>
                  <a:pt x="2374" y="1068"/>
                </a:lnTo>
                <a:lnTo>
                  <a:pt x="2380" y="1126"/>
                </a:lnTo>
                <a:lnTo>
                  <a:pt x="2384" y="1184"/>
                </a:lnTo>
                <a:lnTo>
                  <a:pt x="2386" y="1242"/>
                </a:lnTo>
                <a:close/>
                <a:moveTo>
                  <a:pt x="2494" y="1242"/>
                </a:moveTo>
                <a:lnTo>
                  <a:pt x="2494" y="1242"/>
                </a:lnTo>
                <a:lnTo>
                  <a:pt x="2492" y="1178"/>
                </a:lnTo>
                <a:lnTo>
                  <a:pt x="2486" y="1114"/>
                </a:lnTo>
                <a:lnTo>
                  <a:pt x="2478" y="1052"/>
                </a:lnTo>
                <a:lnTo>
                  <a:pt x="2468" y="990"/>
                </a:lnTo>
                <a:lnTo>
                  <a:pt x="2454" y="930"/>
                </a:lnTo>
                <a:lnTo>
                  <a:pt x="2436" y="872"/>
                </a:lnTo>
                <a:lnTo>
                  <a:pt x="2418" y="814"/>
                </a:lnTo>
                <a:lnTo>
                  <a:pt x="2394" y="758"/>
                </a:lnTo>
                <a:lnTo>
                  <a:pt x="2370" y="702"/>
                </a:lnTo>
                <a:lnTo>
                  <a:pt x="2342" y="648"/>
                </a:lnTo>
                <a:lnTo>
                  <a:pt x="2312" y="596"/>
                </a:lnTo>
                <a:lnTo>
                  <a:pt x="2280" y="546"/>
                </a:lnTo>
                <a:lnTo>
                  <a:pt x="2244" y="498"/>
                </a:lnTo>
                <a:lnTo>
                  <a:pt x="2208" y="450"/>
                </a:lnTo>
                <a:lnTo>
                  <a:pt x="2168" y="406"/>
                </a:lnTo>
                <a:lnTo>
                  <a:pt x="2128" y="362"/>
                </a:lnTo>
                <a:lnTo>
                  <a:pt x="2084" y="322"/>
                </a:lnTo>
                <a:lnTo>
                  <a:pt x="2038" y="282"/>
                </a:lnTo>
                <a:lnTo>
                  <a:pt x="1992" y="246"/>
                </a:lnTo>
                <a:lnTo>
                  <a:pt x="1942" y="212"/>
                </a:lnTo>
                <a:lnTo>
                  <a:pt x="1892" y="180"/>
                </a:lnTo>
                <a:lnTo>
                  <a:pt x="1840" y="150"/>
                </a:lnTo>
                <a:lnTo>
                  <a:pt x="1786" y="122"/>
                </a:lnTo>
                <a:lnTo>
                  <a:pt x="1730" y="98"/>
                </a:lnTo>
                <a:lnTo>
                  <a:pt x="1674" y="76"/>
                </a:lnTo>
                <a:lnTo>
                  <a:pt x="1616" y="56"/>
                </a:lnTo>
                <a:lnTo>
                  <a:pt x="1558" y="40"/>
                </a:lnTo>
                <a:lnTo>
                  <a:pt x="1498" y="26"/>
                </a:lnTo>
                <a:lnTo>
                  <a:pt x="1436" y="14"/>
                </a:lnTo>
                <a:lnTo>
                  <a:pt x="1374" y="6"/>
                </a:lnTo>
                <a:lnTo>
                  <a:pt x="1310" y="2"/>
                </a:lnTo>
                <a:lnTo>
                  <a:pt x="1246" y="0"/>
                </a:lnTo>
                <a:lnTo>
                  <a:pt x="1246" y="0"/>
                </a:lnTo>
                <a:lnTo>
                  <a:pt x="1182" y="2"/>
                </a:lnTo>
                <a:lnTo>
                  <a:pt x="1118" y="6"/>
                </a:lnTo>
                <a:lnTo>
                  <a:pt x="1056" y="14"/>
                </a:lnTo>
                <a:lnTo>
                  <a:pt x="994" y="26"/>
                </a:lnTo>
                <a:lnTo>
                  <a:pt x="934" y="40"/>
                </a:lnTo>
                <a:lnTo>
                  <a:pt x="874" y="56"/>
                </a:lnTo>
                <a:lnTo>
                  <a:pt x="816" y="76"/>
                </a:lnTo>
                <a:lnTo>
                  <a:pt x="760" y="98"/>
                </a:lnTo>
                <a:lnTo>
                  <a:pt x="704" y="122"/>
                </a:lnTo>
                <a:lnTo>
                  <a:pt x="650" y="150"/>
                </a:lnTo>
                <a:lnTo>
                  <a:pt x="598" y="180"/>
                </a:lnTo>
                <a:lnTo>
                  <a:pt x="548" y="212"/>
                </a:lnTo>
                <a:lnTo>
                  <a:pt x="500" y="246"/>
                </a:lnTo>
                <a:lnTo>
                  <a:pt x="452" y="282"/>
                </a:lnTo>
                <a:lnTo>
                  <a:pt x="408" y="322"/>
                </a:lnTo>
                <a:lnTo>
                  <a:pt x="364" y="362"/>
                </a:lnTo>
                <a:lnTo>
                  <a:pt x="322" y="406"/>
                </a:lnTo>
                <a:lnTo>
                  <a:pt x="284" y="450"/>
                </a:lnTo>
                <a:lnTo>
                  <a:pt x="246" y="498"/>
                </a:lnTo>
                <a:lnTo>
                  <a:pt x="212" y="546"/>
                </a:lnTo>
                <a:lnTo>
                  <a:pt x="180" y="596"/>
                </a:lnTo>
                <a:lnTo>
                  <a:pt x="150" y="648"/>
                </a:lnTo>
                <a:lnTo>
                  <a:pt x="122" y="702"/>
                </a:lnTo>
                <a:lnTo>
                  <a:pt x="98" y="758"/>
                </a:lnTo>
                <a:lnTo>
                  <a:pt x="76" y="814"/>
                </a:lnTo>
                <a:lnTo>
                  <a:pt x="56" y="872"/>
                </a:lnTo>
                <a:lnTo>
                  <a:pt x="38" y="930"/>
                </a:lnTo>
                <a:lnTo>
                  <a:pt x="26" y="990"/>
                </a:lnTo>
                <a:lnTo>
                  <a:pt x="14" y="1052"/>
                </a:lnTo>
                <a:lnTo>
                  <a:pt x="6" y="1114"/>
                </a:lnTo>
                <a:lnTo>
                  <a:pt x="2" y="1178"/>
                </a:lnTo>
                <a:lnTo>
                  <a:pt x="0" y="1242"/>
                </a:lnTo>
                <a:lnTo>
                  <a:pt x="0" y="1242"/>
                </a:lnTo>
                <a:lnTo>
                  <a:pt x="2" y="1306"/>
                </a:lnTo>
                <a:lnTo>
                  <a:pt x="6" y="1368"/>
                </a:lnTo>
                <a:lnTo>
                  <a:pt x="14" y="1430"/>
                </a:lnTo>
                <a:lnTo>
                  <a:pt x="26" y="1492"/>
                </a:lnTo>
                <a:lnTo>
                  <a:pt x="38" y="1552"/>
                </a:lnTo>
                <a:lnTo>
                  <a:pt x="56" y="1610"/>
                </a:lnTo>
                <a:lnTo>
                  <a:pt x="76" y="1668"/>
                </a:lnTo>
                <a:lnTo>
                  <a:pt x="98" y="1724"/>
                </a:lnTo>
                <a:lnTo>
                  <a:pt x="122" y="1780"/>
                </a:lnTo>
                <a:lnTo>
                  <a:pt x="150" y="1832"/>
                </a:lnTo>
                <a:lnTo>
                  <a:pt x="180" y="1884"/>
                </a:lnTo>
                <a:lnTo>
                  <a:pt x="212" y="1936"/>
                </a:lnTo>
                <a:lnTo>
                  <a:pt x="246" y="1984"/>
                </a:lnTo>
                <a:lnTo>
                  <a:pt x="284" y="2030"/>
                </a:lnTo>
                <a:lnTo>
                  <a:pt x="322" y="2076"/>
                </a:lnTo>
                <a:lnTo>
                  <a:pt x="364" y="2118"/>
                </a:lnTo>
                <a:lnTo>
                  <a:pt x="408" y="2160"/>
                </a:lnTo>
                <a:lnTo>
                  <a:pt x="452" y="2200"/>
                </a:lnTo>
                <a:lnTo>
                  <a:pt x="500" y="2236"/>
                </a:lnTo>
                <a:lnTo>
                  <a:pt x="548" y="2270"/>
                </a:lnTo>
                <a:lnTo>
                  <a:pt x="598" y="2304"/>
                </a:lnTo>
                <a:lnTo>
                  <a:pt x="650" y="2334"/>
                </a:lnTo>
                <a:lnTo>
                  <a:pt x="704" y="2360"/>
                </a:lnTo>
                <a:lnTo>
                  <a:pt x="760" y="2386"/>
                </a:lnTo>
                <a:lnTo>
                  <a:pt x="816" y="2408"/>
                </a:lnTo>
                <a:lnTo>
                  <a:pt x="874" y="2428"/>
                </a:lnTo>
                <a:lnTo>
                  <a:pt x="934" y="2444"/>
                </a:lnTo>
                <a:lnTo>
                  <a:pt x="994" y="2458"/>
                </a:lnTo>
                <a:lnTo>
                  <a:pt x="1056" y="2468"/>
                </a:lnTo>
                <a:lnTo>
                  <a:pt x="1118" y="2476"/>
                </a:lnTo>
                <a:lnTo>
                  <a:pt x="1182" y="2482"/>
                </a:lnTo>
                <a:lnTo>
                  <a:pt x="1246" y="2484"/>
                </a:lnTo>
                <a:lnTo>
                  <a:pt x="1246" y="2484"/>
                </a:lnTo>
                <a:lnTo>
                  <a:pt x="1310" y="2482"/>
                </a:lnTo>
                <a:lnTo>
                  <a:pt x="1374" y="2476"/>
                </a:lnTo>
                <a:lnTo>
                  <a:pt x="1436" y="2468"/>
                </a:lnTo>
                <a:lnTo>
                  <a:pt x="1498" y="2458"/>
                </a:lnTo>
                <a:lnTo>
                  <a:pt x="1558" y="2444"/>
                </a:lnTo>
                <a:lnTo>
                  <a:pt x="1616" y="2428"/>
                </a:lnTo>
                <a:lnTo>
                  <a:pt x="1674" y="2408"/>
                </a:lnTo>
                <a:lnTo>
                  <a:pt x="1730" y="2386"/>
                </a:lnTo>
                <a:lnTo>
                  <a:pt x="1786" y="2360"/>
                </a:lnTo>
                <a:lnTo>
                  <a:pt x="1840" y="2334"/>
                </a:lnTo>
                <a:lnTo>
                  <a:pt x="1892" y="2304"/>
                </a:lnTo>
                <a:lnTo>
                  <a:pt x="1942" y="2270"/>
                </a:lnTo>
                <a:lnTo>
                  <a:pt x="1992" y="2236"/>
                </a:lnTo>
                <a:lnTo>
                  <a:pt x="2038" y="2200"/>
                </a:lnTo>
                <a:lnTo>
                  <a:pt x="2084" y="2160"/>
                </a:lnTo>
                <a:lnTo>
                  <a:pt x="2128" y="2118"/>
                </a:lnTo>
                <a:lnTo>
                  <a:pt x="2168" y="2076"/>
                </a:lnTo>
                <a:lnTo>
                  <a:pt x="2208" y="2030"/>
                </a:lnTo>
                <a:lnTo>
                  <a:pt x="2244" y="1984"/>
                </a:lnTo>
                <a:lnTo>
                  <a:pt x="2280" y="1936"/>
                </a:lnTo>
                <a:lnTo>
                  <a:pt x="2312" y="1884"/>
                </a:lnTo>
                <a:lnTo>
                  <a:pt x="2342" y="1832"/>
                </a:lnTo>
                <a:lnTo>
                  <a:pt x="2370" y="1780"/>
                </a:lnTo>
                <a:lnTo>
                  <a:pt x="2394" y="1724"/>
                </a:lnTo>
                <a:lnTo>
                  <a:pt x="2418" y="1668"/>
                </a:lnTo>
                <a:lnTo>
                  <a:pt x="2436" y="1610"/>
                </a:lnTo>
                <a:lnTo>
                  <a:pt x="2454" y="1552"/>
                </a:lnTo>
                <a:lnTo>
                  <a:pt x="2468" y="1492"/>
                </a:lnTo>
                <a:lnTo>
                  <a:pt x="2478" y="1430"/>
                </a:lnTo>
                <a:lnTo>
                  <a:pt x="2486" y="1368"/>
                </a:lnTo>
                <a:lnTo>
                  <a:pt x="2492" y="1306"/>
                </a:lnTo>
                <a:lnTo>
                  <a:pt x="2494" y="124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35" name="Freeform 5">
            <a:extLst>
              <a:ext uri="{FF2B5EF4-FFF2-40B4-BE49-F238E27FC236}">
                <a16:creationId xmlns:a16="http://schemas.microsoft.com/office/drawing/2014/main" id="{BD341884-798B-4163-A0A2-B5402F4E5EC4}"/>
              </a:ext>
            </a:extLst>
          </p:cNvPr>
          <p:cNvSpPr>
            <a:spLocks noEditPoints="1"/>
          </p:cNvSpPr>
          <p:nvPr/>
        </p:nvSpPr>
        <p:spPr bwMode="auto">
          <a:xfrm>
            <a:off x="483073" y="2477296"/>
            <a:ext cx="363663" cy="363663"/>
          </a:xfrm>
          <a:custGeom>
            <a:avLst/>
            <a:gdLst>
              <a:gd name="T0" fmla="*/ 678 w 2482"/>
              <a:gd name="T1" fmla="*/ 1552 h 2482"/>
              <a:gd name="T2" fmla="*/ 628 w 2482"/>
              <a:gd name="T3" fmla="*/ 1526 h 2482"/>
              <a:gd name="T4" fmla="*/ 634 w 2482"/>
              <a:gd name="T5" fmla="*/ 1584 h 2482"/>
              <a:gd name="T6" fmla="*/ 976 w 2482"/>
              <a:gd name="T7" fmla="*/ 1552 h 2482"/>
              <a:gd name="T8" fmla="*/ 930 w 2482"/>
              <a:gd name="T9" fmla="*/ 1522 h 2482"/>
              <a:gd name="T10" fmla="*/ 926 w 2482"/>
              <a:gd name="T11" fmla="*/ 1580 h 2482"/>
              <a:gd name="T12" fmla="*/ 976 w 2482"/>
              <a:gd name="T13" fmla="*/ 1552 h 2482"/>
              <a:gd name="T14" fmla="*/ 1234 w 2482"/>
              <a:gd name="T15" fmla="*/ 1520 h 2482"/>
              <a:gd name="T16" fmla="*/ 1218 w 2482"/>
              <a:gd name="T17" fmla="*/ 1576 h 2482"/>
              <a:gd name="T18" fmla="*/ 1272 w 2482"/>
              <a:gd name="T19" fmla="*/ 1560 h 2482"/>
              <a:gd name="T20" fmla="*/ 1538 w 2482"/>
              <a:gd name="T21" fmla="*/ 1520 h 2482"/>
              <a:gd name="T22" fmla="*/ 1512 w 2482"/>
              <a:gd name="T23" fmla="*/ 1572 h 2482"/>
              <a:gd name="T24" fmla="*/ 1568 w 2482"/>
              <a:gd name="T25" fmla="*/ 1566 h 2482"/>
              <a:gd name="T26" fmla="*/ 1836 w 2482"/>
              <a:gd name="T27" fmla="*/ 1520 h 2482"/>
              <a:gd name="T28" fmla="*/ 1806 w 2482"/>
              <a:gd name="T29" fmla="*/ 1566 h 2482"/>
              <a:gd name="T30" fmla="*/ 1862 w 2482"/>
              <a:gd name="T31" fmla="*/ 1572 h 2482"/>
              <a:gd name="T32" fmla="*/ 1882 w 2482"/>
              <a:gd name="T33" fmla="*/ 1664 h 2482"/>
              <a:gd name="T34" fmla="*/ 1718 w 2482"/>
              <a:gd name="T35" fmla="*/ 1578 h 2482"/>
              <a:gd name="T36" fmla="*/ 1824 w 2482"/>
              <a:gd name="T37" fmla="*/ 1432 h 2482"/>
              <a:gd name="T38" fmla="*/ 1956 w 2482"/>
              <a:gd name="T39" fmla="*/ 1552 h 2482"/>
              <a:gd name="T40" fmla="*/ 1538 w 2482"/>
              <a:gd name="T41" fmla="*/ 1674 h 2482"/>
              <a:gd name="T42" fmla="*/ 1418 w 2482"/>
              <a:gd name="T43" fmla="*/ 1552 h 2482"/>
              <a:gd name="T44" fmla="*/ 1550 w 2482"/>
              <a:gd name="T45" fmla="*/ 1432 h 2482"/>
              <a:gd name="T46" fmla="*/ 1362 w 2482"/>
              <a:gd name="T47" fmla="*/ 1566 h 2482"/>
              <a:gd name="T48" fmla="*/ 1216 w 2482"/>
              <a:gd name="T49" fmla="*/ 1672 h 2482"/>
              <a:gd name="T50" fmla="*/ 1130 w 2482"/>
              <a:gd name="T51" fmla="*/ 1506 h 2482"/>
              <a:gd name="T52" fmla="*/ 1308 w 2482"/>
              <a:gd name="T53" fmla="*/ 1452 h 2482"/>
              <a:gd name="T54" fmla="*/ 1044 w 2482"/>
              <a:gd name="T55" fmla="*/ 1620 h 2482"/>
              <a:gd name="T56" fmla="*/ 858 w 2482"/>
              <a:gd name="T57" fmla="*/ 1638 h 2482"/>
              <a:gd name="T58" fmla="*/ 876 w 2482"/>
              <a:gd name="T59" fmla="*/ 1452 h 2482"/>
              <a:gd name="T60" fmla="*/ 1054 w 2482"/>
              <a:gd name="T61" fmla="*/ 1506 h 2482"/>
              <a:gd name="T62" fmla="*/ 692 w 2482"/>
              <a:gd name="T63" fmla="*/ 1664 h 2482"/>
              <a:gd name="T64" fmla="*/ 528 w 2482"/>
              <a:gd name="T65" fmla="*/ 1578 h 2482"/>
              <a:gd name="T66" fmla="*/ 634 w 2482"/>
              <a:gd name="T67" fmla="*/ 1432 h 2482"/>
              <a:gd name="T68" fmla="*/ 766 w 2482"/>
              <a:gd name="T69" fmla="*/ 1552 h 2482"/>
              <a:gd name="T70" fmla="*/ 508 w 2482"/>
              <a:gd name="T71" fmla="*/ 1420 h 2482"/>
              <a:gd name="T72" fmla="*/ 472 w 2482"/>
              <a:gd name="T73" fmla="*/ 1670 h 2482"/>
              <a:gd name="T74" fmla="*/ 2018 w 2482"/>
              <a:gd name="T75" fmla="*/ 1654 h 2482"/>
              <a:gd name="T76" fmla="*/ 2070 w 2482"/>
              <a:gd name="T77" fmla="*/ 1756 h 2482"/>
              <a:gd name="T78" fmla="*/ 424 w 2482"/>
              <a:gd name="T79" fmla="*/ 1766 h 2482"/>
              <a:gd name="T80" fmla="*/ 362 w 2482"/>
              <a:gd name="T81" fmla="*/ 1428 h 2482"/>
              <a:gd name="T82" fmla="*/ 602 w 2482"/>
              <a:gd name="T83" fmla="*/ 1316 h 2482"/>
              <a:gd name="T84" fmla="*/ 600 w 2482"/>
              <a:gd name="T85" fmla="*/ 702 h 2482"/>
              <a:gd name="T86" fmla="*/ 1194 w 2482"/>
              <a:gd name="T87" fmla="*/ 740 h 2482"/>
              <a:gd name="T88" fmla="*/ 1288 w 2482"/>
              <a:gd name="T89" fmla="*/ 1286 h 2482"/>
              <a:gd name="T90" fmla="*/ 1854 w 2482"/>
              <a:gd name="T91" fmla="*/ 692 h 2482"/>
              <a:gd name="T92" fmla="*/ 1906 w 2482"/>
              <a:gd name="T93" fmla="*/ 1286 h 2482"/>
              <a:gd name="T94" fmla="*/ 2080 w 2482"/>
              <a:gd name="T95" fmla="*/ 1358 h 2482"/>
              <a:gd name="T96" fmla="*/ 2456 w 2482"/>
              <a:gd name="T97" fmla="*/ 990 h 2482"/>
              <a:gd name="T98" fmla="*/ 2118 w 2482"/>
              <a:gd name="T99" fmla="*/ 364 h 2482"/>
              <a:gd name="T100" fmla="*/ 1490 w 2482"/>
              <a:gd name="T101" fmla="*/ 26 h 2482"/>
              <a:gd name="T102" fmla="*/ 814 w 2482"/>
              <a:gd name="T103" fmla="*/ 76 h 2482"/>
              <a:gd name="T104" fmla="*/ 246 w 2482"/>
              <a:gd name="T105" fmla="*/ 498 h 2482"/>
              <a:gd name="T106" fmla="*/ 2 w 2482"/>
              <a:gd name="T107" fmla="*/ 1178 h 2482"/>
              <a:gd name="T108" fmla="*/ 150 w 2482"/>
              <a:gd name="T109" fmla="*/ 1832 h 2482"/>
              <a:gd name="T110" fmla="*/ 650 w 2482"/>
              <a:gd name="T111" fmla="*/ 2332 h 2482"/>
              <a:gd name="T112" fmla="*/ 1304 w 2482"/>
              <a:gd name="T113" fmla="*/ 2480 h 2482"/>
              <a:gd name="T114" fmla="*/ 1984 w 2482"/>
              <a:gd name="T115" fmla="*/ 2236 h 2482"/>
              <a:gd name="T116" fmla="*/ 2406 w 2482"/>
              <a:gd name="T117" fmla="*/ 1668 h 2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2" h="2482">
                <a:moveTo>
                  <a:pt x="686" y="1212"/>
                </a:moveTo>
                <a:lnTo>
                  <a:pt x="1084" y="1212"/>
                </a:lnTo>
                <a:lnTo>
                  <a:pt x="1084" y="806"/>
                </a:lnTo>
                <a:lnTo>
                  <a:pt x="686" y="806"/>
                </a:lnTo>
                <a:lnTo>
                  <a:pt x="686" y="1212"/>
                </a:lnTo>
                <a:close/>
                <a:moveTo>
                  <a:pt x="1398" y="1212"/>
                </a:moveTo>
                <a:lnTo>
                  <a:pt x="1796" y="1212"/>
                </a:lnTo>
                <a:lnTo>
                  <a:pt x="1796" y="806"/>
                </a:lnTo>
                <a:lnTo>
                  <a:pt x="1398" y="806"/>
                </a:lnTo>
                <a:lnTo>
                  <a:pt x="1398" y="1212"/>
                </a:lnTo>
                <a:close/>
                <a:moveTo>
                  <a:pt x="678" y="1552"/>
                </a:moveTo>
                <a:lnTo>
                  <a:pt x="678" y="1552"/>
                </a:lnTo>
                <a:lnTo>
                  <a:pt x="678" y="1546"/>
                </a:lnTo>
                <a:lnTo>
                  <a:pt x="676" y="1540"/>
                </a:lnTo>
                <a:lnTo>
                  <a:pt x="674" y="1534"/>
                </a:lnTo>
                <a:lnTo>
                  <a:pt x="670" y="1530"/>
                </a:lnTo>
                <a:lnTo>
                  <a:pt x="664" y="1526"/>
                </a:lnTo>
                <a:lnTo>
                  <a:pt x="658" y="1522"/>
                </a:lnTo>
                <a:lnTo>
                  <a:pt x="652" y="1520"/>
                </a:lnTo>
                <a:lnTo>
                  <a:pt x="646" y="1520"/>
                </a:lnTo>
                <a:lnTo>
                  <a:pt x="646" y="1520"/>
                </a:lnTo>
                <a:lnTo>
                  <a:pt x="640" y="1520"/>
                </a:lnTo>
                <a:lnTo>
                  <a:pt x="634" y="1522"/>
                </a:lnTo>
                <a:lnTo>
                  <a:pt x="628" y="1526"/>
                </a:lnTo>
                <a:lnTo>
                  <a:pt x="622" y="1530"/>
                </a:lnTo>
                <a:lnTo>
                  <a:pt x="618" y="1534"/>
                </a:lnTo>
                <a:lnTo>
                  <a:pt x="616" y="1540"/>
                </a:lnTo>
                <a:lnTo>
                  <a:pt x="614" y="1546"/>
                </a:lnTo>
                <a:lnTo>
                  <a:pt x="614" y="1552"/>
                </a:lnTo>
                <a:lnTo>
                  <a:pt x="614" y="1552"/>
                </a:lnTo>
                <a:lnTo>
                  <a:pt x="614" y="1560"/>
                </a:lnTo>
                <a:lnTo>
                  <a:pt x="616" y="1566"/>
                </a:lnTo>
                <a:lnTo>
                  <a:pt x="618" y="1572"/>
                </a:lnTo>
                <a:lnTo>
                  <a:pt x="622" y="1576"/>
                </a:lnTo>
                <a:lnTo>
                  <a:pt x="628" y="1580"/>
                </a:lnTo>
                <a:lnTo>
                  <a:pt x="634" y="1584"/>
                </a:lnTo>
                <a:lnTo>
                  <a:pt x="640" y="1584"/>
                </a:lnTo>
                <a:lnTo>
                  <a:pt x="646" y="1586"/>
                </a:lnTo>
                <a:lnTo>
                  <a:pt x="646" y="1586"/>
                </a:lnTo>
                <a:lnTo>
                  <a:pt x="652" y="1584"/>
                </a:lnTo>
                <a:lnTo>
                  <a:pt x="658" y="1584"/>
                </a:lnTo>
                <a:lnTo>
                  <a:pt x="664" y="1580"/>
                </a:lnTo>
                <a:lnTo>
                  <a:pt x="670" y="1576"/>
                </a:lnTo>
                <a:lnTo>
                  <a:pt x="674" y="1572"/>
                </a:lnTo>
                <a:lnTo>
                  <a:pt x="676" y="1566"/>
                </a:lnTo>
                <a:lnTo>
                  <a:pt x="678" y="1560"/>
                </a:lnTo>
                <a:lnTo>
                  <a:pt x="678" y="1552"/>
                </a:lnTo>
                <a:close/>
                <a:moveTo>
                  <a:pt x="976" y="1552"/>
                </a:moveTo>
                <a:lnTo>
                  <a:pt x="976" y="1552"/>
                </a:lnTo>
                <a:lnTo>
                  <a:pt x="976" y="1546"/>
                </a:lnTo>
                <a:lnTo>
                  <a:pt x="974" y="1540"/>
                </a:lnTo>
                <a:lnTo>
                  <a:pt x="970" y="1534"/>
                </a:lnTo>
                <a:lnTo>
                  <a:pt x="966" y="1530"/>
                </a:lnTo>
                <a:lnTo>
                  <a:pt x="962" y="1526"/>
                </a:lnTo>
                <a:lnTo>
                  <a:pt x="956" y="1522"/>
                </a:lnTo>
                <a:lnTo>
                  <a:pt x="950" y="1520"/>
                </a:lnTo>
                <a:lnTo>
                  <a:pt x="944" y="1520"/>
                </a:lnTo>
                <a:lnTo>
                  <a:pt x="944" y="1520"/>
                </a:lnTo>
                <a:lnTo>
                  <a:pt x="936" y="1520"/>
                </a:lnTo>
                <a:lnTo>
                  <a:pt x="930" y="1522"/>
                </a:lnTo>
                <a:lnTo>
                  <a:pt x="926" y="1526"/>
                </a:lnTo>
                <a:lnTo>
                  <a:pt x="920" y="1530"/>
                </a:lnTo>
                <a:lnTo>
                  <a:pt x="916" y="1534"/>
                </a:lnTo>
                <a:lnTo>
                  <a:pt x="914" y="1540"/>
                </a:lnTo>
                <a:lnTo>
                  <a:pt x="912" y="1546"/>
                </a:lnTo>
                <a:lnTo>
                  <a:pt x="910" y="1552"/>
                </a:lnTo>
                <a:lnTo>
                  <a:pt x="910" y="1552"/>
                </a:lnTo>
                <a:lnTo>
                  <a:pt x="912" y="1560"/>
                </a:lnTo>
                <a:lnTo>
                  <a:pt x="914" y="1566"/>
                </a:lnTo>
                <a:lnTo>
                  <a:pt x="916" y="1572"/>
                </a:lnTo>
                <a:lnTo>
                  <a:pt x="920" y="1576"/>
                </a:lnTo>
                <a:lnTo>
                  <a:pt x="926" y="1580"/>
                </a:lnTo>
                <a:lnTo>
                  <a:pt x="930" y="1584"/>
                </a:lnTo>
                <a:lnTo>
                  <a:pt x="936" y="1584"/>
                </a:lnTo>
                <a:lnTo>
                  <a:pt x="944" y="1586"/>
                </a:lnTo>
                <a:lnTo>
                  <a:pt x="944" y="1586"/>
                </a:lnTo>
                <a:lnTo>
                  <a:pt x="950" y="1584"/>
                </a:lnTo>
                <a:lnTo>
                  <a:pt x="956" y="1584"/>
                </a:lnTo>
                <a:lnTo>
                  <a:pt x="962" y="1580"/>
                </a:lnTo>
                <a:lnTo>
                  <a:pt x="966" y="1576"/>
                </a:lnTo>
                <a:lnTo>
                  <a:pt x="970" y="1572"/>
                </a:lnTo>
                <a:lnTo>
                  <a:pt x="974" y="1566"/>
                </a:lnTo>
                <a:lnTo>
                  <a:pt x="976" y="1560"/>
                </a:lnTo>
                <a:lnTo>
                  <a:pt x="976" y="1552"/>
                </a:lnTo>
                <a:close/>
                <a:moveTo>
                  <a:pt x="1274" y="1552"/>
                </a:moveTo>
                <a:lnTo>
                  <a:pt x="1274" y="1552"/>
                </a:lnTo>
                <a:lnTo>
                  <a:pt x="1272" y="1546"/>
                </a:lnTo>
                <a:lnTo>
                  <a:pt x="1270" y="1540"/>
                </a:lnTo>
                <a:lnTo>
                  <a:pt x="1268" y="1534"/>
                </a:lnTo>
                <a:lnTo>
                  <a:pt x="1264" y="1530"/>
                </a:lnTo>
                <a:lnTo>
                  <a:pt x="1260" y="1526"/>
                </a:lnTo>
                <a:lnTo>
                  <a:pt x="1254" y="1522"/>
                </a:lnTo>
                <a:lnTo>
                  <a:pt x="1248" y="1520"/>
                </a:lnTo>
                <a:lnTo>
                  <a:pt x="1240" y="1520"/>
                </a:lnTo>
                <a:lnTo>
                  <a:pt x="1240" y="1520"/>
                </a:lnTo>
                <a:lnTo>
                  <a:pt x="1234" y="1520"/>
                </a:lnTo>
                <a:lnTo>
                  <a:pt x="1228" y="1522"/>
                </a:lnTo>
                <a:lnTo>
                  <a:pt x="1222" y="1526"/>
                </a:lnTo>
                <a:lnTo>
                  <a:pt x="1218" y="1530"/>
                </a:lnTo>
                <a:lnTo>
                  <a:pt x="1214" y="1534"/>
                </a:lnTo>
                <a:lnTo>
                  <a:pt x="1210" y="1540"/>
                </a:lnTo>
                <a:lnTo>
                  <a:pt x="1208" y="1546"/>
                </a:lnTo>
                <a:lnTo>
                  <a:pt x="1208" y="1552"/>
                </a:lnTo>
                <a:lnTo>
                  <a:pt x="1208" y="1552"/>
                </a:lnTo>
                <a:lnTo>
                  <a:pt x="1208" y="1560"/>
                </a:lnTo>
                <a:lnTo>
                  <a:pt x="1210" y="1566"/>
                </a:lnTo>
                <a:lnTo>
                  <a:pt x="1214" y="1572"/>
                </a:lnTo>
                <a:lnTo>
                  <a:pt x="1218" y="1576"/>
                </a:lnTo>
                <a:lnTo>
                  <a:pt x="1222" y="1580"/>
                </a:lnTo>
                <a:lnTo>
                  <a:pt x="1228" y="1584"/>
                </a:lnTo>
                <a:lnTo>
                  <a:pt x="1234" y="1584"/>
                </a:lnTo>
                <a:lnTo>
                  <a:pt x="1240" y="1586"/>
                </a:lnTo>
                <a:lnTo>
                  <a:pt x="1240" y="1586"/>
                </a:lnTo>
                <a:lnTo>
                  <a:pt x="1248" y="1584"/>
                </a:lnTo>
                <a:lnTo>
                  <a:pt x="1254" y="1584"/>
                </a:lnTo>
                <a:lnTo>
                  <a:pt x="1260" y="1580"/>
                </a:lnTo>
                <a:lnTo>
                  <a:pt x="1264" y="1576"/>
                </a:lnTo>
                <a:lnTo>
                  <a:pt x="1268" y="1572"/>
                </a:lnTo>
                <a:lnTo>
                  <a:pt x="1270" y="1566"/>
                </a:lnTo>
                <a:lnTo>
                  <a:pt x="1272" y="1560"/>
                </a:lnTo>
                <a:lnTo>
                  <a:pt x="1274" y="1552"/>
                </a:lnTo>
                <a:close/>
                <a:moveTo>
                  <a:pt x="1570" y="1552"/>
                </a:moveTo>
                <a:lnTo>
                  <a:pt x="1570" y="1552"/>
                </a:lnTo>
                <a:lnTo>
                  <a:pt x="1570" y="1546"/>
                </a:lnTo>
                <a:lnTo>
                  <a:pt x="1568" y="1540"/>
                </a:lnTo>
                <a:lnTo>
                  <a:pt x="1566" y="1534"/>
                </a:lnTo>
                <a:lnTo>
                  <a:pt x="1562" y="1530"/>
                </a:lnTo>
                <a:lnTo>
                  <a:pt x="1556" y="1526"/>
                </a:lnTo>
                <a:lnTo>
                  <a:pt x="1550" y="1522"/>
                </a:lnTo>
                <a:lnTo>
                  <a:pt x="1544" y="1520"/>
                </a:lnTo>
                <a:lnTo>
                  <a:pt x="1538" y="1520"/>
                </a:lnTo>
                <a:lnTo>
                  <a:pt x="1538" y="1520"/>
                </a:lnTo>
                <a:lnTo>
                  <a:pt x="1532" y="1520"/>
                </a:lnTo>
                <a:lnTo>
                  <a:pt x="1526" y="1522"/>
                </a:lnTo>
                <a:lnTo>
                  <a:pt x="1520" y="1526"/>
                </a:lnTo>
                <a:lnTo>
                  <a:pt x="1516" y="1530"/>
                </a:lnTo>
                <a:lnTo>
                  <a:pt x="1512" y="1534"/>
                </a:lnTo>
                <a:lnTo>
                  <a:pt x="1508" y="1540"/>
                </a:lnTo>
                <a:lnTo>
                  <a:pt x="1506" y="1546"/>
                </a:lnTo>
                <a:lnTo>
                  <a:pt x="1506" y="1552"/>
                </a:lnTo>
                <a:lnTo>
                  <a:pt x="1506" y="1552"/>
                </a:lnTo>
                <a:lnTo>
                  <a:pt x="1506" y="1560"/>
                </a:lnTo>
                <a:lnTo>
                  <a:pt x="1508" y="1566"/>
                </a:lnTo>
                <a:lnTo>
                  <a:pt x="1512" y="1572"/>
                </a:lnTo>
                <a:lnTo>
                  <a:pt x="1516" y="1576"/>
                </a:lnTo>
                <a:lnTo>
                  <a:pt x="1520" y="1580"/>
                </a:lnTo>
                <a:lnTo>
                  <a:pt x="1526" y="1584"/>
                </a:lnTo>
                <a:lnTo>
                  <a:pt x="1532" y="1584"/>
                </a:lnTo>
                <a:lnTo>
                  <a:pt x="1538" y="1586"/>
                </a:lnTo>
                <a:lnTo>
                  <a:pt x="1538" y="1586"/>
                </a:lnTo>
                <a:lnTo>
                  <a:pt x="1544" y="1584"/>
                </a:lnTo>
                <a:lnTo>
                  <a:pt x="1550" y="1584"/>
                </a:lnTo>
                <a:lnTo>
                  <a:pt x="1556" y="1580"/>
                </a:lnTo>
                <a:lnTo>
                  <a:pt x="1562" y="1576"/>
                </a:lnTo>
                <a:lnTo>
                  <a:pt x="1566" y="1572"/>
                </a:lnTo>
                <a:lnTo>
                  <a:pt x="1568" y="1566"/>
                </a:lnTo>
                <a:lnTo>
                  <a:pt x="1570" y="1560"/>
                </a:lnTo>
                <a:lnTo>
                  <a:pt x="1570" y="1552"/>
                </a:lnTo>
                <a:close/>
                <a:moveTo>
                  <a:pt x="1868" y="1552"/>
                </a:moveTo>
                <a:lnTo>
                  <a:pt x="1868" y="1552"/>
                </a:lnTo>
                <a:lnTo>
                  <a:pt x="1868" y="1546"/>
                </a:lnTo>
                <a:lnTo>
                  <a:pt x="1866" y="1540"/>
                </a:lnTo>
                <a:lnTo>
                  <a:pt x="1862" y="1534"/>
                </a:lnTo>
                <a:lnTo>
                  <a:pt x="1858" y="1530"/>
                </a:lnTo>
                <a:lnTo>
                  <a:pt x="1854" y="1526"/>
                </a:lnTo>
                <a:lnTo>
                  <a:pt x="1848" y="1522"/>
                </a:lnTo>
                <a:lnTo>
                  <a:pt x="1842" y="1520"/>
                </a:lnTo>
                <a:lnTo>
                  <a:pt x="1836" y="1520"/>
                </a:lnTo>
                <a:lnTo>
                  <a:pt x="1836" y="1520"/>
                </a:lnTo>
                <a:lnTo>
                  <a:pt x="1830" y="1520"/>
                </a:lnTo>
                <a:lnTo>
                  <a:pt x="1822" y="1522"/>
                </a:lnTo>
                <a:lnTo>
                  <a:pt x="1818" y="1526"/>
                </a:lnTo>
                <a:lnTo>
                  <a:pt x="1812" y="1530"/>
                </a:lnTo>
                <a:lnTo>
                  <a:pt x="1808" y="1534"/>
                </a:lnTo>
                <a:lnTo>
                  <a:pt x="1806" y="1540"/>
                </a:lnTo>
                <a:lnTo>
                  <a:pt x="1804" y="1546"/>
                </a:lnTo>
                <a:lnTo>
                  <a:pt x="1802" y="1552"/>
                </a:lnTo>
                <a:lnTo>
                  <a:pt x="1802" y="1552"/>
                </a:lnTo>
                <a:lnTo>
                  <a:pt x="1804" y="1560"/>
                </a:lnTo>
                <a:lnTo>
                  <a:pt x="1806" y="1566"/>
                </a:lnTo>
                <a:lnTo>
                  <a:pt x="1808" y="1572"/>
                </a:lnTo>
                <a:lnTo>
                  <a:pt x="1812" y="1576"/>
                </a:lnTo>
                <a:lnTo>
                  <a:pt x="1818" y="1580"/>
                </a:lnTo>
                <a:lnTo>
                  <a:pt x="1822" y="1584"/>
                </a:lnTo>
                <a:lnTo>
                  <a:pt x="1830" y="1584"/>
                </a:lnTo>
                <a:lnTo>
                  <a:pt x="1836" y="1586"/>
                </a:lnTo>
                <a:lnTo>
                  <a:pt x="1836" y="1586"/>
                </a:lnTo>
                <a:lnTo>
                  <a:pt x="1842" y="1584"/>
                </a:lnTo>
                <a:lnTo>
                  <a:pt x="1848" y="1584"/>
                </a:lnTo>
                <a:lnTo>
                  <a:pt x="1854" y="1580"/>
                </a:lnTo>
                <a:lnTo>
                  <a:pt x="1858" y="1576"/>
                </a:lnTo>
                <a:lnTo>
                  <a:pt x="1862" y="1572"/>
                </a:lnTo>
                <a:lnTo>
                  <a:pt x="1866" y="1566"/>
                </a:lnTo>
                <a:lnTo>
                  <a:pt x="1868" y="1560"/>
                </a:lnTo>
                <a:lnTo>
                  <a:pt x="1868" y="1552"/>
                </a:lnTo>
                <a:close/>
                <a:moveTo>
                  <a:pt x="1956" y="1552"/>
                </a:moveTo>
                <a:lnTo>
                  <a:pt x="1956" y="1552"/>
                </a:lnTo>
                <a:lnTo>
                  <a:pt x="1956" y="1566"/>
                </a:lnTo>
                <a:lnTo>
                  <a:pt x="1954" y="1578"/>
                </a:lnTo>
                <a:lnTo>
                  <a:pt x="1948" y="1600"/>
                </a:lnTo>
                <a:lnTo>
                  <a:pt x="1936" y="1620"/>
                </a:lnTo>
                <a:lnTo>
                  <a:pt x="1922" y="1638"/>
                </a:lnTo>
                <a:lnTo>
                  <a:pt x="1904" y="1654"/>
                </a:lnTo>
                <a:lnTo>
                  <a:pt x="1882" y="1664"/>
                </a:lnTo>
                <a:lnTo>
                  <a:pt x="1860" y="1672"/>
                </a:lnTo>
                <a:lnTo>
                  <a:pt x="1848" y="1674"/>
                </a:lnTo>
                <a:lnTo>
                  <a:pt x="1836" y="1674"/>
                </a:lnTo>
                <a:lnTo>
                  <a:pt x="1836" y="1674"/>
                </a:lnTo>
                <a:lnTo>
                  <a:pt x="1824" y="1674"/>
                </a:lnTo>
                <a:lnTo>
                  <a:pt x="1812" y="1672"/>
                </a:lnTo>
                <a:lnTo>
                  <a:pt x="1788" y="1664"/>
                </a:lnTo>
                <a:lnTo>
                  <a:pt x="1768" y="1654"/>
                </a:lnTo>
                <a:lnTo>
                  <a:pt x="1750" y="1638"/>
                </a:lnTo>
                <a:lnTo>
                  <a:pt x="1736" y="1620"/>
                </a:lnTo>
                <a:lnTo>
                  <a:pt x="1724" y="1600"/>
                </a:lnTo>
                <a:lnTo>
                  <a:pt x="1718" y="1578"/>
                </a:lnTo>
                <a:lnTo>
                  <a:pt x="1716" y="1566"/>
                </a:lnTo>
                <a:lnTo>
                  <a:pt x="1714" y="1552"/>
                </a:lnTo>
                <a:lnTo>
                  <a:pt x="1714" y="1552"/>
                </a:lnTo>
                <a:lnTo>
                  <a:pt x="1716" y="1540"/>
                </a:lnTo>
                <a:lnTo>
                  <a:pt x="1718" y="1528"/>
                </a:lnTo>
                <a:lnTo>
                  <a:pt x="1724" y="1506"/>
                </a:lnTo>
                <a:lnTo>
                  <a:pt x="1736" y="1486"/>
                </a:lnTo>
                <a:lnTo>
                  <a:pt x="1750" y="1468"/>
                </a:lnTo>
                <a:lnTo>
                  <a:pt x="1768" y="1452"/>
                </a:lnTo>
                <a:lnTo>
                  <a:pt x="1788" y="1442"/>
                </a:lnTo>
                <a:lnTo>
                  <a:pt x="1812" y="1434"/>
                </a:lnTo>
                <a:lnTo>
                  <a:pt x="1824" y="1432"/>
                </a:lnTo>
                <a:lnTo>
                  <a:pt x="1836" y="1432"/>
                </a:lnTo>
                <a:lnTo>
                  <a:pt x="1836" y="1432"/>
                </a:lnTo>
                <a:lnTo>
                  <a:pt x="1848" y="1432"/>
                </a:lnTo>
                <a:lnTo>
                  <a:pt x="1860" y="1434"/>
                </a:lnTo>
                <a:lnTo>
                  <a:pt x="1882" y="1442"/>
                </a:lnTo>
                <a:lnTo>
                  <a:pt x="1904" y="1452"/>
                </a:lnTo>
                <a:lnTo>
                  <a:pt x="1922" y="1468"/>
                </a:lnTo>
                <a:lnTo>
                  <a:pt x="1936" y="1486"/>
                </a:lnTo>
                <a:lnTo>
                  <a:pt x="1948" y="1506"/>
                </a:lnTo>
                <a:lnTo>
                  <a:pt x="1954" y="1528"/>
                </a:lnTo>
                <a:lnTo>
                  <a:pt x="1956" y="1540"/>
                </a:lnTo>
                <a:lnTo>
                  <a:pt x="1956" y="1552"/>
                </a:lnTo>
                <a:close/>
                <a:moveTo>
                  <a:pt x="1660" y="1552"/>
                </a:moveTo>
                <a:lnTo>
                  <a:pt x="1660" y="1552"/>
                </a:lnTo>
                <a:lnTo>
                  <a:pt x="1658" y="1566"/>
                </a:lnTo>
                <a:lnTo>
                  <a:pt x="1656" y="1578"/>
                </a:lnTo>
                <a:lnTo>
                  <a:pt x="1650" y="1600"/>
                </a:lnTo>
                <a:lnTo>
                  <a:pt x="1638" y="1620"/>
                </a:lnTo>
                <a:lnTo>
                  <a:pt x="1624" y="1638"/>
                </a:lnTo>
                <a:lnTo>
                  <a:pt x="1606" y="1654"/>
                </a:lnTo>
                <a:lnTo>
                  <a:pt x="1586" y="1664"/>
                </a:lnTo>
                <a:lnTo>
                  <a:pt x="1562" y="1672"/>
                </a:lnTo>
                <a:lnTo>
                  <a:pt x="1550" y="1674"/>
                </a:lnTo>
                <a:lnTo>
                  <a:pt x="1538" y="1674"/>
                </a:lnTo>
                <a:lnTo>
                  <a:pt x="1538" y="1674"/>
                </a:lnTo>
                <a:lnTo>
                  <a:pt x="1526" y="1674"/>
                </a:lnTo>
                <a:lnTo>
                  <a:pt x="1514" y="1672"/>
                </a:lnTo>
                <a:lnTo>
                  <a:pt x="1492" y="1664"/>
                </a:lnTo>
                <a:lnTo>
                  <a:pt x="1470" y="1654"/>
                </a:lnTo>
                <a:lnTo>
                  <a:pt x="1452" y="1638"/>
                </a:lnTo>
                <a:lnTo>
                  <a:pt x="1438" y="1620"/>
                </a:lnTo>
                <a:lnTo>
                  <a:pt x="1426" y="1600"/>
                </a:lnTo>
                <a:lnTo>
                  <a:pt x="1420" y="1578"/>
                </a:lnTo>
                <a:lnTo>
                  <a:pt x="1418" y="1566"/>
                </a:lnTo>
                <a:lnTo>
                  <a:pt x="1418" y="1552"/>
                </a:lnTo>
                <a:lnTo>
                  <a:pt x="1418" y="1552"/>
                </a:lnTo>
                <a:lnTo>
                  <a:pt x="1418" y="1540"/>
                </a:lnTo>
                <a:lnTo>
                  <a:pt x="1420" y="1528"/>
                </a:lnTo>
                <a:lnTo>
                  <a:pt x="1426" y="1506"/>
                </a:lnTo>
                <a:lnTo>
                  <a:pt x="1438" y="1486"/>
                </a:lnTo>
                <a:lnTo>
                  <a:pt x="1452" y="1468"/>
                </a:lnTo>
                <a:lnTo>
                  <a:pt x="1470" y="1452"/>
                </a:lnTo>
                <a:lnTo>
                  <a:pt x="1492" y="1442"/>
                </a:lnTo>
                <a:lnTo>
                  <a:pt x="1514" y="1434"/>
                </a:lnTo>
                <a:lnTo>
                  <a:pt x="1526" y="1432"/>
                </a:lnTo>
                <a:lnTo>
                  <a:pt x="1538" y="1432"/>
                </a:lnTo>
                <a:lnTo>
                  <a:pt x="1538" y="1432"/>
                </a:lnTo>
                <a:lnTo>
                  <a:pt x="1550" y="1432"/>
                </a:lnTo>
                <a:lnTo>
                  <a:pt x="1562" y="1434"/>
                </a:lnTo>
                <a:lnTo>
                  <a:pt x="1586" y="1442"/>
                </a:lnTo>
                <a:lnTo>
                  <a:pt x="1606" y="1452"/>
                </a:lnTo>
                <a:lnTo>
                  <a:pt x="1624" y="1468"/>
                </a:lnTo>
                <a:lnTo>
                  <a:pt x="1638" y="1486"/>
                </a:lnTo>
                <a:lnTo>
                  <a:pt x="1650" y="1506"/>
                </a:lnTo>
                <a:lnTo>
                  <a:pt x="1656" y="1528"/>
                </a:lnTo>
                <a:lnTo>
                  <a:pt x="1658" y="1540"/>
                </a:lnTo>
                <a:lnTo>
                  <a:pt x="1660" y="1552"/>
                </a:lnTo>
                <a:close/>
                <a:moveTo>
                  <a:pt x="1362" y="1552"/>
                </a:moveTo>
                <a:lnTo>
                  <a:pt x="1362" y="1552"/>
                </a:lnTo>
                <a:lnTo>
                  <a:pt x="1362" y="1566"/>
                </a:lnTo>
                <a:lnTo>
                  <a:pt x="1360" y="1578"/>
                </a:lnTo>
                <a:lnTo>
                  <a:pt x="1352" y="1600"/>
                </a:lnTo>
                <a:lnTo>
                  <a:pt x="1342" y="1620"/>
                </a:lnTo>
                <a:lnTo>
                  <a:pt x="1326" y="1638"/>
                </a:lnTo>
                <a:lnTo>
                  <a:pt x="1308" y="1654"/>
                </a:lnTo>
                <a:lnTo>
                  <a:pt x="1288" y="1664"/>
                </a:lnTo>
                <a:lnTo>
                  <a:pt x="1266" y="1672"/>
                </a:lnTo>
                <a:lnTo>
                  <a:pt x="1254" y="1674"/>
                </a:lnTo>
                <a:lnTo>
                  <a:pt x="1240" y="1674"/>
                </a:lnTo>
                <a:lnTo>
                  <a:pt x="1240" y="1674"/>
                </a:lnTo>
                <a:lnTo>
                  <a:pt x="1228" y="1674"/>
                </a:lnTo>
                <a:lnTo>
                  <a:pt x="1216" y="1672"/>
                </a:lnTo>
                <a:lnTo>
                  <a:pt x="1194" y="1664"/>
                </a:lnTo>
                <a:lnTo>
                  <a:pt x="1174" y="1654"/>
                </a:lnTo>
                <a:lnTo>
                  <a:pt x="1156" y="1638"/>
                </a:lnTo>
                <a:lnTo>
                  <a:pt x="1140" y="1620"/>
                </a:lnTo>
                <a:lnTo>
                  <a:pt x="1130" y="1600"/>
                </a:lnTo>
                <a:lnTo>
                  <a:pt x="1122" y="1578"/>
                </a:lnTo>
                <a:lnTo>
                  <a:pt x="1120" y="1566"/>
                </a:lnTo>
                <a:lnTo>
                  <a:pt x="1120" y="1552"/>
                </a:lnTo>
                <a:lnTo>
                  <a:pt x="1120" y="1552"/>
                </a:lnTo>
                <a:lnTo>
                  <a:pt x="1120" y="1540"/>
                </a:lnTo>
                <a:lnTo>
                  <a:pt x="1122" y="1528"/>
                </a:lnTo>
                <a:lnTo>
                  <a:pt x="1130" y="1506"/>
                </a:lnTo>
                <a:lnTo>
                  <a:pt x="1140" y="1486"/>
                </a:lnTo>
                <a:lnTo>
                  <a:pt x="1156" y="1468"/>
                </a:lnTo>
                <a:lnTo>
                  <a:pt x="1174" y="1452"/>
                </a:lnTo>
                <a:lnTo>
                  <a:pt x="1194" y="1442"/>
                </a:lnTo>
                <a:lnTo>
                  <a:pt x="1216" y="1434"/>
                </a:lnTo>
                <a:lnTo>
                  <a:pt x="1228" y="1432"/>
                </a:lnTo>
                <a:lnTo>
                  <a:pt x="1240" y="1432"/>
                </a:lnTo>
                <a:lnTo>
                  <a:pt x="1240" y="1432"/>
                </a:lnTo>
                <a:lnTo>
                  <a:pt x="1254" y="1432"/>
                </a:lnTo>
                <a:lnTo>
                  <a:pt x="1266" y="1434"/>
                </a:lnTo>
                <a:lnTo>
                  <a:pt x="1288" y="1442"/>
                </a:lnTo>
                <a:lnTo>
                  <a:pt x="1308" y="1452"/>
                </a:lnTo>
                <a:lnTo>
                  <a:pt x="1326" y="1468"/>
                </a:lnTo>
                <a:lnTo>
                  <a:pt x="1342" y="1486"/>
                </a:lnTo>
                <a:lnTo>
                  <a:pt x="1352" y="1506"/>
                </a:lnTo>
                <a:lnTo>
                  <a:pt x="1360" y="1528"/>
                </a:lnTo>
                <a:lnTo>
                  <a:pt x="1362" y="1540"/>
                </a:lnTo>
                <a:lnTo>
                  <a:pt x="1362" y="1552"/>
                </a:lnTo>
                <a:close/>
                <a:moveTo>
                  <a:pt x="1064" y="1552"/>
                </a:moveTo>
                <a:lnTo>
                  <a:pt x="1064" y="1552"/>
                </a:lnTo>
                <a:lnTo>
                  <a:pt x="1064" y="1566"/>
                </a:lnTo>
                <a:lnTo>
                  <a:pt x="1062" y="1578"/>
                </a:lnTo>
                <a:lnTo>
                  <a:pt x="1054" y="1600"/>
                </a:lnTo>
                <a:lnTo>
                  <a:pt x="1044" y="1620"/>
                </a:lnTo>
                <a:lnTo>
                  <a:pt x="1028" y="1638"/>
                </a:lnTo>
                <a:lnTo>
                  <a:pt x="1010" y="1654"/>
                </a:lnTo>
                <a:lnTo>
                  <a:pt x="990" y="1664"/>
                </a:lnTo>
                <a:lnTo>
                  <a:pt x="968" y="1672"/>
                </a:lnTo>
                <a:lnTo>
                  <a:pt x="956" y="1674"/>
                </a:lnTo>
                <a:lnTo>
                  <a:pt x="944" y="1674"/>
                </a:lnTo>
                <a:lnTo>
                  <a:pt x="944" y="1674"/>
                </a:lnTo>
                <a:lnTo>
                  <a:pt x="932" y="1674"/>
                </a:lnTo>
                <a:lnTo>
                  <a:pt x="920" y="1672"/>
                </a:lnTo>
                <a:lnTo>
                  <a:pt x="896" y="1664"/>
                </a:lnTo>
                <a:lnTo>
                  <a:pt x="876" y="1654"/>
                </a:lnTo>
                <a:lnTo>
                  <a:pt x="858" y="1638"/>
                </a:lnTo>
                <a:lnTo>
                  <a:pt x="844" y="1620"/>
                </a:lnTo>
                <a:lnTo>
                  <a:pt x="832" y="1600"/>
                </a:lnTo>
                <a:lnTo>
                  <a:pt x="824" y="1578"/>
                </a:lnTo>
                <a:lnTo>
                  <a:pt x="822" y="1566"/>
                </a:lnTo>
                <a:lnTo>
                  <a:pt x="822" y="1552"/>
                </a:lnTo>
                <a:lnTo>
                  <a:pt x="822" y="1552"/>
                </a:lnTo>
                <a:lnTo>
                  <a:pt x="822" y="1540"/>
                </a:lnTo>
                <a:lnTo>
                  <a:pt x="824" y="1528"/>
                </a:lnTo>
                <a:lnTo>
                  <a:pt x="832" y="1506"/>
                </a:lnTo>
                <a:lnTo>
                  <a:pt x="844" y="1486"/>
                </a:lnTo>
                <a:lnTo>
                  <a:pt x="858" y="1468"/>
                </a:lnTo>
                <a:lnTo>
                  <a:pt x="876" y="1452"/>
                </a:lnTo>
                <a:lnTo>
                  <a:pt x="896" y="1442"/>
                </a:lnTo>
                <a:lnTo>
                  <a:pt x="920" y="1434"/>
                </a:lnTo>
                <a:lnTo>
                  <a:pt x="932" y="1432"/>
                </a:lnTo>
                <a:lnTo>
                  <a:pt x="944" y="1432"/>
                </a:lnTo>
                <a:lnTo>
                  <a:pt x="944" y="1432"/>
                </a:lnTo>
                <a:lnTo>
                  <a:pt x="956" y="1432"/>
                </a:lnTo>
                <a:lnTo>
                  <a:pt x="968" y="1434"/>
                </a:lnTo>
                <a:lnTo>
                  <a:pt x="990" y="1442"/>
                </a:lnTo>
                <a:lnTo>
                  <a:pt x="1010" y="1452"/>
                </a:lnTo>
                <a:lnTo>
                  <a:pt x="1028" y="1468"/>
                </a:lnTo>
                <a:lnTo>
                  <a:pt x="1044" y="1486"/>
                </a:lnTo>
                <a:lnTo>
                  <a:pt x="1054" y="1506"/>
                </a:lnTo>
                <a:lnTo>
                  <a:pt x="1062" y="1528"/>
                </a:lnTo>
                <a:lnTo>
                  <a:pt x="1064" y="1540"/>
                </a:lnTo>
                <a:lnTo>
                  <a:pt x="1064" y="1552"/>
                </a:lnTo>
                <a:close/>
                <a:moveTo>
                  <a:pt x="766" y="1552"/>
                </a:moveTo>
                <a:lnTo>
                  <a:pt x="766" y="1552"/>
                </a:lnTo>
                <a:lnTo>
                  <a:pt x="766" y="1566"/>
                </a:lnTo>
                <a:lnTo>
                  <a:pt x="764" y="1578"/>
                </a:lnTo>
                <a:lnTo>
                  <a:pt x="758" y="1600"/>
                </a:lnTo>
                <a:lnTo>
                  <a:pt x="746" y="1620"/>
                </a:lnTo>
                <a:lnTo>
                  <a:pt x="732" y="1638"/>
                </a:lnTo>
                <a:lnTo>
                  <a:pt x="714" y="1654"/>
                </a:lnTo>
                <a:lnTo>
                  <a:pt x="692" y="1664"/>
                </a:lnTo>
                <a:lnTo>
                  <a:pt x="670" y="1672"/>
                </a:lnTo>
                <a:lnTo>
                  <a:pt x="658" y="1674"/>
                </a:lnTo>
                <a:lnTo>
                  <a:pt x="646" y="1674"/>
                </a:lnTo>
                <a:lnTo>
                  <a:pt x="646" y="1674"/>
                </a:lnTo>
                <a:lnTo>
                  <a:pt x="634" y="1674"/>
                </a:lnTo>
                <a:lnTo>
                  <a:pt x="622" y="1672"/>
                </a:lnTo>
                <a:lnTo>
                  <a:pt x="598" y="1664"/>
                </a:lnTo>
                <a:lnTo>
                  <a:pt x="578" y="1654"/>
                </a:lnTo>
                <a:lnTo>
                  <a:pt x="560" y="1638"/>
                </a:lnTo>
                <a:lnTo>
                  <a:pt x="546" y="1620"/>
                </a:lnTo>
                <a:lnTo>
                  <a:pt x="534" y="1600"/>
                </a:lnTo>
                <a:lnTo>
                  <a:pt x="528" y="1578"/>
                </a:lnTo>
                <a:lnTo>
                  <a:pt x="526" y="1566"/>
                </a:lnTo>
                <a:lnTo>
                  <a:pt x="524" y="1552"/>
                </a:lnTo>
                <a:lnTo>
                  <a:pt x="524" y="1552"/>
                </a:lnTo>
                <a:lnTo>
                  <a:pt x="526" y="1540"/>
                </a:lnTo>
                <a:lnTo>
                  <a:pt x="528" y="1528"/>
                </a:lnTo>
                <a:lnTo>
                  <a:pt x="534" y="1506"/>
                </a:lnTo>
                <a:lnTo>
                  <a:pt x="546" y="1486"/>
                </a:lnTo>
                <a:lnTo>
                  <a:pt x="560" y="1468"/>
                </a:lnTo>
                <a:lnTo>
                  <a:pt x="578" y="1452"/>
                </a:lnTo>
                <a:lnTo>
                  <a:pt x="598" y="1442"/>
                </a:lnTo>
                <a:lnTo>
                  <a:pt x="622" y="1434"/>
                </a:lnTo>
                <a:lnTo>
                  <a:pt x="634" y="1432"/>
                </a:lnTo>
                <a:lnTo>
                  <a:pt x="646" y="1432"/>
                </a:lnTo>
                <a:lnTo>
                  <a:pt x="646" y="1432"/>
                </a:lnTo>
                <a:lnTo>
                  <a:pt x="658" y="1432"/>
                </a:lnTo>
                <a:lnTo>
                  <a:pt x="670" y="1434"/>
                </a:lnTo>
                <a:lnTo>
                  <a:pt x="692" y="1442"/>
                </a:lnTo>
                <a:lnTo>
                  <a:pt x="714" y="1452"/>
                </a:lnTo>
                <a:lnTo>
                  <a:pt x="732" y="1468"/>
                </a:lnTo>
                <a:lnTo>
                  <a:pt x="746" y="1486"/>
                </a:lnTo>
                <a:lnTo>
                  <a:pt x="758" y="1506"/>
                </a:lnTo>
                <a:lnTo>
                  <a:pt x="764" y="1528"/>
                </a:lnTo>
                <a:lnTo>
                  <a:pt x="766" y="1540"/>
                </a:lnTo>
                <a:lnTo>
                  <a:pt x="766" y="1552"/>
                </a:lnTo>
                <a:close/>
                <a:moveTo>
                  <a:pt x="2018" y="1640"/>
                </a:moveTo>
                <a:lnTo>
                  <a:pt x="2018" y="1466"/>
                </a:lnTo>
                <a:lnTo>
                  <a:pt x="2018" y="1466"/>
                </a:lnTo>
                <a:lnTo>
                  <a:pt x="2016" y="1450"/>
                </a:lnTo>
                <a:lnTo>
                  <a:pt x="2014" y="1442"/>
                </a:lnTo>
                <a:lnTo>
                  <a:pt x="2010" y="1436"/>
                </a:lnTo>
                <a:lnTo>
                  <a:pt x="2004" y="1430"/>
                </a:lnTo>
                <a:lnTo>
                  <a:pt x="1996" y="1424"/>
                </a:lnTo>
                <a:lnTo>
                  <a:pt x="1986" y="1422"/>
                </a:lnTo>
                <a:lnTo>
                  <a:pt x="1974" y="1420"/>
                </a:lnTo>
                <a:lnTo>
                  <a:pt x="508" y="1420"/>
                </a:lnTo>
                <a:lnTo>
                  <a:pt x="508" y="1420"/>
                </a:lnTo>
                <a:lnTo>
                  <a:pt x="492" y="1422"/>
                </a:lnTo>
                <a:lnTo>
                  <a:pt x="484" y="1426"/>
                </a:lnTo>
                <a:lnTo>
                  <a:pt x="478" y="1430"/>
                </a:lnTo>
                <a:lnTo>
                  <a:pt x="472" y="1436"/>
                </a:lnTo>
                <a:lnTo>
                  <a:pt x="466" y="1442"/>
                </a:lnTo>
                <a:lnTo>
                  <a:pt x="464" y="1452"/>
                </a:lnTo>
                <a:lnTo>
                  <a:pt x="462" y="1466"/>
                </a:lnTo>
                <a:lnTo>
                  <a:pt x="462" y="1640"/>
                </a:lnTo>
                <a:lnTo>
                  <a:pt x="462" y="1640"/>
                </a:lnTo>
                <a:lnTo>
                  <a:pt x="464" y="1656"/>
                </a:lnTo>
                <a:lnTo>
                  <a:pt x="468" y="1664"/>
                </a:lnTo>
                <a:lnTo>
                  <a:pt x="472" y="1670"/>
                </a:lnTo>
                <a:lnTo>
                  <a:pt x="478" y="1676"/>
                </a:lnTo>
                <a:lnTo>
                  <a:pt x="486" y="1682"/>
                </a:lnTo>
                <a:lnTo>
                  <a:pt x="494" y="1684"/>
                </a:lnTo>
                <a:lnTo>
                  <a:pt x="508" y="1686"/>
                </a:lnTo>
                <a:lnTo>
                  <a:pt x="1974" y="1686"/>
                </a:lnTo>
                <a:lnTo>
                  <a:pt x="1974" y="1686"/>
                </a:lnTo>
                <a:lnTo>
                  <a:pt x="1990" y="1684"/>
                </a:lnTo>
                <a:lnTo>
                  <a:pt x="1998" y="1680"/>
                </a:lnTo>
                <a:lnTo>
                  <a:pt x="2004" y="1676"/>
                </a:lnTo>
                <a:lnTo>
                  <a:pt x="2010" y="1670"/>
                </a:lnTo>
                <a:lnTo>
                  <a:pt x="2014" y="1662"/>
                </a:lnTo>
                <a:lnTo>
                  <a:pt x="2018" y="1654"/>
                </a:lnTo>
                <a:lnTo>
                  <a:pt x="2018" y="1640"/>
                </a:lnTo>
                <a:close/>
                <a:moveTo>
                  <a:pt x="2122" y="1466"/>
                </a:moveTo>
                <a:lnTo>
                  <a:pt x="2122" y="1640"/>
                </a:lnTo>
                <a:lnTo>
                  <a:pt x="2122" y="1640"/>
                </a:lnTo>
                <a:lnTo>
                  <a:pt x="2122" y="1660"/>
                </a:lnTo>
                <a:lnTo>
                  <a:pt x="2118" y="1678"/>
                </a:lnTo>
                <a:lnTo>
                  <a:pt x="2114" y="1694"/>
                </a:lnTo>
                <a:lnTo>
                  <a:pt x="2108" y="1710"/>
                </a:lnTo>
                <a:lnTo>
                  <a:pt x="2100" y="1724"/>
                </a:lnTo>
                <a:lnTo>
                  <a:pt x="2092" y="1736"/>
                </a:lnTo>
                <a:lnTo>
                  <a:pt x="2082" y="1746"/>
                </a:lnTo>
                <a:lnTo>
                  <a:pt x="2070" y="1756"/>
                </a:lnTo>
                <a:lnTo>
                  <a:pt x="2060" y="1764"/>
                </a:lnTo>
                <a:lnTo>
                  <a:pt x="2048" y="1772"/>
                </a:lnTo>
                <a:lnTo>
                  <a:pt x="2022" y="1782"/>
                </a:lnTo>
                <a:lnTo>
                  <a:pt x="1998" y="1788"/>
                </a:lnTo>
                <a:lnTo>
                  <a:pt x="1974" y="1790"/>
                </a:lnTo>
                <a:lnTo>
                  <a:pt x="508" y="1790"/>
                </a:lnTo>
                <a:lnTo>
                  <a:pt x="508" y="1790"/>
                </a:lnTo>
                <a:lnTo>
                  <a:pt x="488" y="1788"/>
                </a:lnTo>
                <a:lnTo>
                  <a:pt x="470" y="1786"/>
                </a:lnTo>
                <a:lnTo>
                  <a:pt x="454" y="1780"/>
                </a:lnTo>
                <a:lnTo>
                  <a:pt x="438" y="1774"/>
                </a:lnTo>
                <a:lnTo>
                  <a:pt x="424" y="1766"/>
                </a:lnTo>
                <a:lnTo>
                  <a:pt x="412" y="1758"/>
                </a:lnTo>
                <a:lnTo>
                  <a:pt x="402" y="1748"/>
                </a:lnTo>
                <a:lnTo>
                  <a:pt x="392" y="1738"/>
                </a:lnTo>
                <a:lnTo>
                  <a:pt x="384" y="1726"/>
                </a:lnTo>
                <a:lnTo>
                  <a:pt x="376" y="1714"/>
                </a:lnTo>
                <a:lnTo>
                  <a:pt x="366" y="1690"/>
                </a:lnTo>
                <a:lnTo>
                  <a:pt x="360" y="1664"/>
                </a:lnTo>
                <a:lnTo>
                  <a:pt x="358" y="1640"/>
                </a:lnTo>
                <a:lnTo>
                  <a:pt x="358" y="1466"/>
                </a:lnTo>
                <a:lnTo>
                  <a:pt x="358" y="1466"/>
                </a:lnTo>
                <a:lnTo>
                  <a:pt x="360" y="1446"/>
                </a:lnTo>
                <a:lnTo>
                  <a:pt x="362" y="1428"/>
                </a:lnTo>
                <a:lnTo>
                  <a:pt x="368" y="1410"/>
                </a:lnTo>
                <a:lnTo>
                  <a:pt x="374" y="1396"/>
                </a:lnTo>
                <a:lnTo>
                  <a:pt x="382" y="1382"/>
                </a:lnTo>
                <a:lnTo>
                  <a:pt x="390" y="1370"/>
                </a:lnTo>
                <a:lnTo>
                  <a:pt x="400" y="1360"/>
                </a:lnTo>
                <a:lnTo>
                  <a:pt x="410" y="1350"/>
                </a:lnTo>
                <a:lnTo>
                  <a:pt x="422" y="1342"/>
                </a:lnTo>
                <a:lnTo>
                  <a:pt x="434" y="1334"/>
                </a:lnTo>
                <a:lnTo>
                  <a:pt x="458" y="1324"/>
                </a:lnTo>
                <a:lnTo>
                  <a:pt x="484" y="1318"/>
                </a:lnTo>
                <a:lnTo>
                  <a:pt x="508" y="1316"/>
                </a:lnTo>
                <a:lnTo>
                  <a:pt x="602" y="1316"/>
                </a:lnTo>
                <a:lnTo>
                  <a:pt x="602" y="1316"/>
                </a:lnTo>
                <a:lnTo>
                  <a:pt x="590" y="1308"/>
                </a:lnTo>
                <a:lnTo>
                  <a:pt x="582" y="1298"/>
                </a:lnTo>
                <a:lnTo>
                  <a:pt x="576" y="1286"/>
                </a:lnTo>
                <a:lnTo>
                  <a:pt x="574" y="1272"/>
                </a:lnTo>
                <a:lnTo>
                  <a:pt x="574" y="752"/>
                </a:lnTo>
                <a:lnTo>
                  <a:pt x="574" y="752"/>
                </a:lnTo>
                <a:lnTo>
                  <a:pt x="574" y="740"/>
                </a:lnTo>
                <a:lnTo>
                  <a:pt x="578" y="730"/>
                </a:lnTo>
                <a:lnTo>
                  <a:pt x="584" y="718"/>
                </a:lnTo>
                <a:lnTo>
                  <a:pt x="590" y="710"/>
                </a:lnTo>
                <a:lnTo>
                  <a:pt x="600" y="702"/>
                </a:lnTo>
                <a:lnTo>
                  <a:pt x="610" y="698"/>
                </a:lnTo>
                <a:lnTo>
                  <a:pt x="620" y="694"/>
                </a:lnTo>
                <a:lnTo>
                  <a:pt x="632" y="692"/>
                </a:lnTo>
                <a:lnTo>
                  <a:pt x="1142" y="692"/>
                </a:lnTo>
                <a:lnTo>
                  <a:pt x="1142" y="692"/>
                </a:lnTo>
                <a:lnTo>
                  <a:pt x="1154" y="694"/>
                </a:lnTo>
                <a:lnTo>
                  <a:pt x="1164" y="698"/>
                </a:lnTo>
                <a:lnTo>
                  <a:pt x="1172" y="702"/>
                </a:lnTo>
                <a:lnTo>
                  <a:pt x="1180" y="710"/>
                </a:lnTo>
                <a:lnTo>
                  <a:pt x="1186" y="718"/>
                </a:lnTo>
                <a:lnTo>
                  <a:pt x="1192" y="730"/>
                </a:lnTo>
                <a:lnTo>
                  <a:pt x="1194" y="740"/>
                </a:lnTo>
                <a:lnTo>
                  <a:pt x="1194" y="752"/>
                </a:lnTo>
                <a:lnTo>
                  <a:pt x="1194" y="1272"/>
                </a:lnTo>
                <a:lnTo>
                  <a:pt x="1194" y="1272"/>
                </a:lnTo>
                <a:lnTo>
                  <a:pt x="1194" y="1286"/>
                </a:lnTo>
                <a:lnTo>
                  <a:pt x="1188" y="1298"/>
                </a:lnTo>
                <a:lnTo>
                  <a:pt x="1180" y="1308"/>
                </a:lnTo>
                <a:lnTo>
                  <a:pt x="1170" y="1316"/>
                </a:lnTo>
                <a:lnTo>
                  <a:pt x="1314" y="1316"/>
                </a:lnTo>
                <a:lnTo>
                  <a:pt x="1314" y="1316"/>
                </a:lnTo>
                <a:lnTo>
                  <a:pt x="1304" y="1308"/>
                </a:lnTo>
                <a:lnTo>
                  <a:pt x="1294" y="1298"/>
                </a:lnTo>
                <a:lnTo>
                  <a:pt x="1288" y="1286"/>
                </a:lnTo>
                <a:lnTo>
                  <a:pt x="1286" y="1272"/>
                </a:lnTo>
                <a:lnTo>
                  <a:pt x="1286" y="752"/>
                </a:lnTo>
                <a:lnTo>
                  <a:pt x="1286" y="752"/>
                </a:lnTo>
                <a:lnTo>
                  <a:pt x="1288" y="740"/>
                </a:lnTo>
                <a:lnTo>
                  <a:pt x="1292" y="730"/>
                </a:lnTo>
                <a:lnTo>
                  <a:pt x="1296" y="718"/>
                </a:lnTo>
                <a:lnTo>
                  <a:pt x="1304" y="710"/>
                </a:lnTo>
                <a:lnTo>
                  <a:pt x="1312" y="702"/>
                </a:lnTo>
                <a:lnTo>
                  <a:pt x="1322" y="698"/>
                </a:lnTo>
                <a:lnTo>
                  <a:pt x="1334" y="694"/>
                </a:lnTo>
                <a:lnTo>
                  <a:pt x="1346" y="692"/>
                </a:lnTo>
                <a:lnTo>
                  <a:pt x="1854" y="692"/>
                </a:lnTo>
                <a:lnTo>
                  <a:pt x="1854" y="692"/>
                </a:lnTo>
                <a:lnTo>
                  <a:pt x="1866" y="694"/>
                </a:lnTo>
                <a:lnTo>
                  <a:pt x="1876" y="698"/>
                </a:lnTo>
                <a:lnTo>
                  <a:pt x="1886" y="702"/>
                </a:lnTo>
                <a:lnTo>
                  <a:pt x="1894" y="710"/>
                </a:lnTo>
                <a:lnTo>
                  <a:pt x="1900" y="718"/>
                </a:lnTo>
                <a:lnTo>
                  <a:pt x="1904" y="730"/>
                </a:lnTo>
                <a:lnTo>
                  <a:pt x="1908" y="740"/>
                </a:lnTo>
                <a:lnTo>
                  <a:pt x="1908" y="752"/>
                </a:lnTo>
                <a:lnTo>
                  <a:pt x="1908" y="1272"/>
                </a:lnTo>
                <a:lnTo>
                  <a:pt x="1908" y="1272"/>
                </a:lnTo>
                <a:lnTo>
                  <a:pt x="1906" y="1286"/>
                </a:lnTo>
                <a:lnTo>
                  <a:pt x="1902" y="1298"/>
                </a:lnTo>
                <a:lnTo>
                  <a:pt x="1894" y="1308"/>
                </a:lnTo>
                <a:lnTo>
                  <a:pt x="1884" y="1316"/>
                </a:lnTo>
                <a:lnTo>
                  <a:pt x="1974" y="1316"/>
                </a:lnTo>
                <a:lnTo>
                  <a:pt x="1974" y="1316"/>
                </a:lnTo>
                <a:lnTo>
                  <a:pt x="1994" y="1318"/>
                </a:lnTo>
                <a:lnTo>
                  <a:pt x="2012" y="1320"/>
                </a:lnTo>
                <a:lnTo>
                  <a:pt x="2028" y="1326"/>
                </a:lnTo>
                <a:lnTo>
                  <a:pt x="2044" y="1332"/>
                </a:lnTo>
                <a:lnTo>
                  <a:pt x="2056" y="1340"/>
                </a:lnTo>
                <a:lnTo>
                  <a:pt x="2070" y="1348"/>
                </a:lnTo>
                <a:lnTo>
                  <a:pt x="2080" y="1358"/>
                </a:lnTo>
                <a:lnTo>
                  <a:pt x="2090" y="1368"/>
                </a:lnTo>
                <a:lnTo>
                  <a:pt x="2098" y="1380"/>
                </a:lnTo>
                <a:lnTo>
                  <a:pt x="2104" y="1392"/>
                </a:lnTo>
                <a:lnTo>
                  <a:pt x="2114" y="1416"/>
                </a:lnTo>
                <a:lnTo>
                  <a:pt x="2120" y="1442"/>
                </a:lnTo>
                <a:lnTo>
                  <a:pt x="2122" y="1466"/>
                </a:lnTo>
                <a:close/>
                <a:moveTo>
                  <a:pt x="2482" y="1240"/>
                </a:moveTo>
                <a:lnTo>
                  <a:pt x="2482" y="1240"/>
                </a:lnTo>
                <a:lnTo>
                  <a:pt x="2480" y="1178"/>
                </a:lnTo>
                <a:lnTo>
                  <a:pt x="2474" y="1114"/>
                </a:lnTo>
                <a:lnTo>
                  <a:pt x="2468" y="1052"/>
                </a:lnTo>
                <a:lnTo>
                  <a:pt x="2456" y="990"/>
                </a:lnTo>
                <a:lnTo>
                  <a:pt x="2442" y="930"/>
                </a:lnTo>
                <a:lnTo>
                  <a:pt x="2426" y="872"/>
                </a:lnTo>
                <a:lnTo>
                  <a:pt x="2406" y="814"/>
                </a:lnTo>
                <a:lnTo>
                  <a:pt x="2384" y="758"/>
                </a:lnTo>
                <a:lnTo>
                  <a:pt x="2360" y="704"/>
                </a:lnTo>
                <a:lnTo>
                  <a:pt x="2332" y="650"/>
                </a:lnTo>
                <a:lnTo>
                  <a:pt x="2302" y="598"/>
                </a:lnTo>
                <a:lnTo>
                  <a:pt x="2270" y="548"/>
                </a:lnTo>
                <a:lnTo>
                  <a:pt x="2234" y="498"/>
                </a:lnTo>
                <a:lnTo>
                  <a:pt x="2198" y="452"/>
                </a:lnTo>
                <a:lnTo>
                  <a:pt x="2160" y="406"/>
                </a:lnTo>
                <a:lnTo>
                  <a:pt x="2118" y="364"/>
                </a:lnTo>
                <a:lnTo>
                  <a:pt x="2074" y="322"/>
                </a:lnTo>
                <a:lnTo>
                  <a:pt x="2030" y="284"/>
                </a:lnTo>
                <a:lnTo>
                  <a:pt x="1984" y="246"/>
                </a:lnTo>
                <a:lnTo>
                  <a:pt x="1934" y="212"/>
                </a:lnTo>
                <a:lnTo>
                  <a:pt x="1884" y="180"/>
                </a:lnTo>
                <a:lnTo>
                  <a:pt x="1832" y="150"/>
                </a:lnTo>
                <a:lnTo>
                  <a:pt x="1778" y="122"/>
                </a:lnTo>
                <a:lnTo>
                  <a:pt x="1724" y="98"/>
                </a:lnTo>
                <a:lnTo>
                  <a:pt x="1668" y="76"/>
                </a:lnTo>
                <a:lnTo>
                  <a:pt x="1610" y="56"/>
                </a:lnTo>
                <a:lnTo>
                  <a:pt x="1550" y="40"/>
                </a:lnTo>
                <a:lnTo>
                  <a:pt x="1490" y="26"/>
                </a:lnTo>
                <a:lnTo>
                  <a:pt x="1430" y="14"/>
                </a:lnTo>
                <a:lnTo>
                  <a:pt x="1368" y="6"/>
                </a:lnTo>
                <a:lnTo>
                  <a:pt x="1304" y="2"/>
                </a:lnTo>
                <a:lnTo>
                  <a:pt x="1240" y="0"/>
                </a:lnTo>
                <a:lnTo>
                  <a:pt x="1240" y="0"/>
                </a:lnTo>
                <a:lnTo>
                  <a:pt x="1176" y="2"/>
                </a:lnTo>
                <a:lnTo>
                  <a:pt x="1114" y="6"/>
                </a:lnTo>
                <a:lnTo>
                  <a:pt x="1052" y="14"/>
                </a:lnTo>
                <a:lnTo>
                  <a:pt x="990" y="26"/>
                </a:lnTo>
                <a:lnTo>
                  <a:pt x="930" y="40"/>
                </a:lnTo>
                <a:lnTo>
                  <a:pt x="872" y="56"/>
                </a:lnTo>
                <a:lnTo>
                  <a:pt x="814" y="76"/>
                </a:lnTo>
                <a:lnTo>
                  <a:pt x="758" y="98"/>
                </a:lnTo>
                <a:lnTo>
                  <a:pt x="702" y="122"/>
                </a:lnTo>
                <a:lnTo>
                  <a:pt x="650" y="150"/>
                </a:lnTo>
                <a:lnTo>
                  <a:pt x="598" y="180"/>
                </a:lnTo>
                <a:lnTo>
                  <a:pt x="548" y="212"/>
                </a:lnTo>
                <a:lnTo>
                  <a:pt x="498" y="246"/>
                </a:lnTo>
                <a:lnTo>
                  <a:pt x="452" y="284"/>
                </a:lnTo>
                <a:lnTo>
                  <a:pt x="406" y="322"/>
                </a:lnTo>
                <a:lnTo>
                  <a:pt x="364" y="364"/>
                </a:lnTo>
                <a:lnTo>
                  <a:pt x="322" y="406"/>
                </a:lnTo>
                <a:lnTo>
                  <a:pt x="284" y="452"/>
                </a:lnTo>
                <a:lnTo>
                  <a:pt x="246" y="498"/>
                </a:lnTo>
                <a:lnTo>
                  <a:pt x="212" y="548"/>
                </a:lnTo>
                <a:lnTo>
                  <a:pt x="180" y="598"/>
                </a:lnTo>
                <a:lnTo>
                  <a:pt x="150" y="650"/>
                </a:lnTo>
                <a:lnTo>
                  <a:pt x="122" y="704"/>
                </a:lnTo>
                <a:lnTo>
                  <a:pt x="98" y="758"/>
                </a:lnTo>
                <a:lnTo>
                  <a:pt x="76" y="814"/>
                </a:lnTo>
                <a:lnTo>
                  <a:pt x="56" y="872"/>
                </a:lnTo>
                <a:lnTo>
                  <a:pt x="40" y="930"/>
                </a:lnTo>
                <a:lnTo>
                  <a:pt x="26" y="990"/>
                </a:lnTo>
                <a:lnTo>
                  <a:pt x="14" y="1052"/>
                </a:lnTo>
                <a:lnTo>
                  <a:pt x="6" y="1114"/>
                </a:lnTo>
                <a:lnTo>
                  <a:pt x="2" y="1178"/>
                </a:lnTo>
                <a:lnTo>
                  <a:pt x="0" y="1240"/>
                </a:lnTo>
                <a:lnTo>
                  <a:pt x="0" y="1240"/>
                </a:lnTo>
                <a:lnTo>
                  <a:pt x="2" y="1304"/>
                </a:lnTo>
                <a:lnTo>
                  <a:pt x="6" y="1368"/>
                </a:lnTo>
                <a:lnTo>
                  <a:pt x="14" y="1430"/>
                </a:lnTo>
                <a:lnTo>
                  <a:pt x="26" y="1490"/>
                </a:lnTo>
                <a:lnTo>
                  <a:pt x="40" y="1550"/>
                </a:lnTo>
                <a:lnTo>
                  <a:pt x="56" y="1610"/>
                </a:lnTo>
                <a:lnTo>
                  <a:pt x="76" y="1668"/>
                </a:lnTo>
                <a:lnTo>
                  <a:pt x="98" y="1724"/>
                </a:lnTo>
                <a:lnTo>
                  <a:pt x="122" y="1778"/>
                </a:lnTo>
                <a:lnTo>
                  <a:pt x="150" y="1832"/>
                </a:lnTo>
                <a:lnTo>
                  <a:pt x="180" y="1884"/>
                </a:lnTo>
                <a:lnTo>
                  <a:pt x="212" y="1934"/>
                </a:lnTo>
                <a:lnTo>
                  <a:pt x="246" y="1984"/>
                </a:lnTo>
                <a:lnTo>
                  <a:pt x="284" y="2030"/>
                </a:lnTo>
                <a:lnTo>
                  <a:pt x="322" y="2076"/>
                </a:lnTo>
                <a:lnTo>
                  <a:pt x="364" y="2118"/>
                </a:lnTo>
                <a:lnTo>
                  <a:pt x="406" y="2160"/>
                </a:lnTo>
                <a:lnTo>
                  <a:pt x="452" y="2198"/>
                </a:lnTo>
                <a:lnTo>
                  <a:pt x="498" y="2236"/>
                </a:lnTo>
                <a:lnTo>
                  <a:pt x="548" y="2270"/>
                </a:lnTo>
                <a:lnTo>
                  <a:pt x="598" y="2302"/>
                </a:lnTo>
                <a:lnTo>
                  <a:pt x="650" y="2332"/>
                </a:lnTo>
                <a:lnTo>
                  <a:pt x="702" y="2360"/>
                </a:lnTo>
                <a:lnTo>
                  <a:pt x="758" y="2384"/>
                </a:lnTo>
                <a:lnTo>
                  <a:pt x="814" y="2406"/>
                </a:lnTo>
                <a:lnTo>
                  <a:pt x="872" y="2426"/>
                </a:lnTo>
                <a:lnTo>
                  <a:pt x="930" y="2442"/>
                </a:lnTo>
                <a:lnTo>
                  <a:pt x="990" y="2456"/>
                </a:lnTo>
                <a:lnTo>
                  <a:pt x="1052" y="2468"/>
                </a:lnTo>
                <a:lnTo>
                  <a:pt x="1114" y="2476"/>
                </a:lnTo>
                <a:lnTo>
                  <a:pt x="1176" y="2480"/>
                </a:lnTo>
                <a:lnTo>
                  <a:pt x="1240" y="2482"/>
                </a:lnTo>
                <a:lnTo>
                  <a:pt x="1240" y="2482"/>
                </a:lnTo>
                <a:lnTo>
                  <a:pt x="1304" y="2480"/>
                </a:lnTo>
                <a:lnTo>
                  <a:pt x="1368" y="2476"/>
                </a:lnTo>
                <a:lnTo>
                  <a:pt x="1430" y="2468"/>
                </a:lnTo>
                <a:lnTo>
                  <a:pt x="1490" y="2456"/>
                </a:lnTo>
                <a:lnTo>
                  <a:pt x="1550" y="2442"/>
                </a:lnTo>
                <a:lnTo>
                  <a:pt x="1610" y="2426"/>
                </a:lnTo>
                <a:lnTo>
                  <a:pt x="1668" y="2406"/>
                </a:lnTo>
                <a:lnTo>
                  <a:pt x="1724" y="2384"/>
                </a:lnTo>
                <a:lnTo>
                  <a:pt x="1778" y="2360"/>
                </a:lnTo>
                <a:lnTo>
                  <a:pt x="1832" y="2332"/>
                </a:lnTo>
                <a:lnTo>
                  <a:pt x="1884" y="2302"/>
                </a:lnTo>
                <a:lnTo>
                  <a:pt x="1934" y="2270"/>
                </a:lnTo>
                <a:lnTo>
                  <a:pt x="1984" y="2236"/>
                </a:lnTo>
                <a:lnTo>
                  <a:pt x="2030" y="2198"/>
                </a:lnTo>
                <a:lnTo>
                  <a:pt x="2074" y="2160"/>
                </a:lnTo>
                <a:lnTo>
                  <a:pt x="2118" y="2118"/>
                </a:lnTo>
                <a:lnTo>
                  <a:pt x="2160" y="2076"/>
                </a:lnTo>
                <a:lnTo>
                  <a:pt x="2198" y="2030"/>
                </a:lnTo>
                <a:lnTo>
                  <a:pt x="2234" y="1984"/>
                </a:lnTo>
                <a:lnTo>
                  <a:pt x="2270" y="1934"/>
                </a:lnTo>
                <a:lnTo>
                  <a:pt x="2302" y="1884"/>
                </a:lnTo>
                <a:lnTo>
                  <a:pt x="2332" y="1832"/>
                </a:lnTo>
                <a:lnTo>
                  <a:pt x="2360" y="1778"/>
                </a:lnTo>
                <a:lnTo>
                  <a:pt x="2384" y="1724"/>
                </a:lnTo>
                <a:lnTo>
                  <a:pt x="2406" y="1668"/>
                </a:lnTo>
                <a:lnTo>
                  <a:pt x="2426" y="1610"/>
                </a:lnTo>
                <a:lnTo>
                  <a:pt x="2442" y="1550"/>
                </a:lnTo>
                <a:lnTo>
                  <a:pt x="2456" y="1490"/>
                </a:lnTo>
                <a:lnTo>
                  <a:pt x="2468" y="1430"/>
                </a:lnTo>
                <a:lnTo>
                  <a:pt x="2474" y="1368"/>
                </a:lnTo>
                <a:lnTo>
                  <a:pt x="2480" y="1304"/>
                </a:lnTo>
                <a:lnTo>
                  <a:pt x="2482" y="124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TextBox 135">
            <a:extLst>
              <a:ext uri="{FF2B5EF4-FFF2-40B4-BE49-F238E27FC236}">
                <a16:creationId xmlns:a16="http://schemas.microsoft.com/office/drawing/2014/main" id="{AB890849-3E90-4E99-9D0D-9176F9497489}"/>
              </a:ext>
            </a:extLst>
          </p:cNvPr>
          <p:cNvSpPr txBox="1"/>
          <p:nvPr/>
        </p:nvSpPr>
        <p:spPr>
          <a:xfrm>
            <a:off x="478341" y="2901225"/>
            <a:ext cx="830792"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Conveyor Belt</a:t>
            </a:r>
          </a:p>
        </p:txBody>
      </p:sp>
      <p:grpSp>
        <p:nvGrpSpPr>
          <p:cNvPr id="137" name="Group 136">
            <a:extLst>
              <a:ext uri="{FF2B5EF4-FFF2-40B4-BE49-F238E27FC236}">
                <a16:creationId xmlns:a16="http://schemas.microsoft.com/office/drawing/2014/main" id="{A95C083A-75F3-4107-931E-2D95DD2D99D2}"/>
              </a:ext>
            </a:extLst>
          </p:cNvPr>
          <p:cNvGrpSpPr/>
          <p:nvPr/>
        </p:nvGrpSpPr>
        <p:grpSpPr>
          <a:xfrm>
            <a:off x="1483762" y="2461701"/>
            <a:ext cx="372288" cy="375830"/>
            <a:chOff x="4864100" y="2843213"/>
            <a:chExt cx="1168400" cy="1179513"/>
          </a:xfrm>
          <a:solidFill>
            <a:schemeClr val="bg2"/>
          </a:solidFill>
        </p:grpSpPr>
        <p:sp>
          <p:nvSpPr>
            <p:cNvPr id="138" name="Freeform 5">
              <a:extLst>
                <a:ext uri="{FF2B5EF4-FFF2-40B4-BE49-F238E27FC236}">
                  <a16:creationId xmlns:a16="http://schemas.microsoft.com/office/drawing/2014/main" id="{D307BC6D-876D-41C5-BEC9-5B01C1A756BB}"/>
                </a:ext>
              </a:extLst>
            </p:cNvPr>
            <p:cNvSpPr>
              <a:spLocks/>
            </p:cNvSpPr>
            <p:nvPr/>
          </p:nvSpPr>
          <p:spPr bwMode="auto">
            <a:xfrm>
              <a:off x="5153025" y="3211513"/>
              <a:ext cx="273050" cy="107950"/>
            </a:xfrm>
            <a:custGeom>
              <a:avLst/>
              <a:gdLst>
                <a:gd name="T0" fmla="*/ 0 w 284"/>
                <a:gd name="T1" fmla="*/ 0 h 113"/>
                <a:gd name="T2" fmla="*/ 0 w 284"/>
                <a:gd name="T3" fmla="*/ 0 h 113"/>
                <a:gd name="T4" fmla="*/ 284 w 284"/>
                <a:gd name="T5" fmla="*/ 0 h 113"/>
                <a:gd name="T6" fmla="*/ 284 w 284"/>
                <a:gd name="T7" fmla="*/ 113 h 113"/>
                <a:gd name="T8" fmla="*/ 0 w 284"/>
                <a:gd name="T9" fmla="*/ 113 h 113"/>
                <a:gd name="T10" fmla="*/ 0 w 284"/>
                <a:gd name="T11" fmla="*/ 0 h 113"/>
              </a:gdLst>
              <a:ahLst/>
              <a:cxnLst>
                <a:cxn ang="0">
                  <a:pos x="T0" y="T1"/>
                </a:cxn>
                <a:cxn ang="0">
                  <a:pos x="T2" y="T3"/>
                </a:cxn>
                <a:cxn ang="0">
                  <a:pos x="T4" y="T5"/>
                </a:cxn>
                <a:cxn ang="0">
                  <a:pos x="T6" y="T7"/>
                </a:cxn>
                <a:cxn ang="0">
                  <a:pos x="T8" y="T9"/>
                </a:cxn>
                <a:cxn ang="0">
                  <a:pos x="T10" y="T11"/>
                </a:cxn>
              </a:cxnLst>
              <a:rect l="0" t="0" r="r" b="b"/>
              <a:pathLst>
                <a:path w="284" h="113">
                  <a:moveTo>
                    <a:pt x="0" y="0"/>
                  </a:moveTo>
                  <a:lnTo>
                    <a:pt x="0" y="0"/>
                  </a:lnTo>
                  <a:lnTo>
                    <a:pt x="284" y="0"/>
                  </a:lnTo>
                  <a:lnTo>
                    <a:pt x="284"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6">
              <a:extLst>
                <a:ext uri="{FF2B5EF4-FFF2-40B4-BE49-F238E27FC236}">
                  <a16:creationId xmlns:a16="http://schemas.microsoft.com/office/drawing/2014/main" id="{C6F9C125-9C61-402F-BBD3-03DA51D6FCA3}"/>
                </a:ext>
              </a:extLst>
            </p:cNvPr>
            <p:cNvSpPr>
              <a:spLocks/>
            </p:cNvSpPr>
            <p:nvPr/>
          </p:nvSpPr>
          <p:spPr bwMode="auto">
            <a:xfrm>
              <a:off x="5472113" y="3211513"/>
              <a:ext cx="269875" cy="107950"/>
            </a:xfrm>
            <a:custGeom>
              <a:avLst/>
              <a:gdLst>
                <a:gd name="T0" fmla="*/ 0 w 283"/>
                <a:gd name="T1" fmla="*/ 0 h 113"/>
                <a:gd name="T2" fmla="*/ 0 w 283"/>
                <a:gd name="T3" fmla="*/ 0 h 113"/>
                <a:gd name="T4" fmla="*/ 283 w 283"/>
                <a:gd name="T5" fmla="*/ 0 h 113"/>
                <a:gd name="T6" fmla="*/ 283 w 283"/>
                <a:gd name="T7" fmla="*/ 113 h 113"/>
                <a:gd name="T8" fmla="*/ 0 w 283"/>
                <a:gd name="T9" fmla="*/ 113 h 113"/>
                <a:gd name="T10" fmla="*/ 0 w 283"/>
                <a:gd name="T11" fmla="*/ 0 h 113"/>
              </a:gdLst>
              <a:ahLst/>
              <a:cxnLst>
                <a:cxn ang="0">
                  <a:pos x="T0" y="T1"/>
                </a:cxn>
                <a:cxn ang="0">
                  <a:pos x="T2" y="T3"/>
                </a:cxn>
                <a:cxn ang="0">
                  <a:pos x="T4" y="T5"/>
                </a:cxn>
                <a:cxn ang="0">
                  <a:pos x="T6" y="T7"/>
                </a:cxn>
                <a:cxn ang="0">
                  <a:pos x="T8" y="T9"/>
                </a:cxn>
                <a:cxn ang="0">
                  <a:pos x="T10" y="T11"/>
                </a:cxn>
              </a:cxnLst>
              <a:rect l="0" t="0" r="r" b="b"/>
              <a:pathLst>
                <a:path w="283" h="113">
                  <a:moveTo>
                    <a:pt x="0" y="0"/>
                  </a:moveTo>
                  <a:lnTo>
                    <a:pt x="0" y="0"/>
                  </a:lnTo>
                  <a:lnTo>
                    <a:pt x="283" y="0"/>
                  </a:lnTo>
                  <a:lnTo>
                    <a:pt x="283"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7">
              <a:extLst>
                <a:ext uri="{FF2B5EF4-FFF2-40B4-BE49-F238E27FC236}">
                  <a16:creationId xmlns:a16="http://schemas.microsoft.com/office/drawing/2014/main" id="{B792E809-6507-4391-8688-721C53A3B414}"/>
                </a:ext>
              </a:extLst>
            </p:cNvPr>
            <p:cNvSpPr>
              <a:spLocks/>
            </p:cNvSpPr>
            <p:nvPr/>
          </p:nvSpPr>
          <p:spPr bwMode="auto">
            <a:xfrm>
              <a:off x="5308600" y="3371850"/>
              <a:ext cx="271463" cy="107950"/>
            </a:xfrm>
            <a:custGeom>
              <a:avLst/>
              <a:gdLst>
                <a:gd name="T0" fmla="*/ 0 w 284"/>
                <a:gd name="T1" fmla="*/ 0 h 113"/>
                <a:gd name="T2" fmla="*/ 0 w 284"/>
                <a:gd name="T3" fmla="*/ 0 h 113"/>
                <a:gd name="T4" fmla="*/ 284 w 284"/>
                <a:gd name="T5" fmla="*/ 0 h 113"/>
                <a:gd name="T6" fmla="*/ 284 w 284"/>
                <a:gd name="T7" fmla="*/ 113 h 113"/>
                <a:gd name="T8" fmla="*/ 0 w 284"/>
                <a:gd name="T9" fmla="*/ 113 h 113"/>
                <a:gd name="T10" fmla="*/ 0 w 284"/>
                <a:gd name="T11" fmla="*/ 0 h 113"/>
              </a:gdLst>
              <a:ahLst/>
              <a:cxnLst>
                <a:cxn ang="0">
                  <a:pos x="T0" y="T1"/>
                </a:cxn>
                <a:cxn ang="0">
                  <a:pos x="T2" y="T3"/>
                </a:cxn>
                <a:cxn ang="0">
                  <a:pos x="T4" y="T5"/>
                </a:cxn>
                <a:cxn ang="0">
                  <a:pos x="T6" y="T7"/>
                </a:cxn>
                <a:cxn ang="0">
                  <a:pos x="T8" y="T9"/>
                </a:cxn>
                <a:cxn ang="0">
                  <a:pos x="T10" y="T11"/>
                </a:cxn>
              </a:cxnLst>
              <a:rect l="0" t="0" r="r" b="b"/>
              <a:pathLst>
                <a:path w="284" h="113">
                  <a:moveTo>
                    <a:pt x="0" y="0"/>
                  </a:moveTo>
                  <a:lnTo>
                    <a:pt x="0" y="0"/>
                  </a:lnTo>
                  <a:lnTo>
                    <a:pt x="284" y="0"/>
                  </a:lnTo>
                  <a:lnTo>
                    <a:pt x="284"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8">
              <a:extLst>
                <a:ext uri="{FF2B5EF4-FFF2-40B4-BE49-F238E27FC236}">
                  <a16:creationId xmlns:a16="http://schemas.microsoft.com/office/drawing/2014/main" id="{1D8D9BA7-5D39-4A4D-8FFD-2FA0608E1516}"/>
                </a:ext>
              </a:extLst>
            </p:cNvPr>
            <p:cNvSpPr>
              <a:spLocks/>
            </p:cNvSpPr>
            <p:nvPr/>
          </p:nvSpPr>
          <p:spPr bwMode="auto">
            <a:xfrm>
              <a:off x="5153025" y="3544888"/>
              <a:ext cx="273050" cy="107950"/>
            </a:xfrm>
            <a:custGeom>
              <a:avLst/>
              <a:gdLst>
                <a:gd name="T0" fmla="*/ 0 w 284"/>
                <a:gd name="T1" fmla="*/ 0 h 112"/>
                <a:gd name="T2" fmla="*/ 0 w 284"/>
                <a:gd name="T3" fmla="*/ 0 h 112"/>
                <a:gd name="T4" fmla="*/ 284 w 284"/>
                <a:gd name="T5" fmla="*/ 0 h 112"/>
                <a:gd name="T6" fmla="*/ 284 w 284"/>
                <a:gd name="T7" fmla="*/ 112 h 112"/>
                <a:gd name="T8" fmla="*/ 0 w 284"/>
                <a:gd name="T9" fmla="*/ 112 h 112"/>
                <a:gd name="T10" fmla="*/ 0 w 284"/>
                <a:gd name="T11" fmla="*/ 0 h 112"/>
              </a:gdLst>
              <a:ahLst/>
              <a:cxnLst>
                <a:cxn ang="0">
                  <a:pos x="T0" y="T1"/>
                </a:cxn>
                <a:cxn ang="0">
                  <a:pos x="T2" y="T3"/>
                </a:cxn>
                <a:cxn ang="0">
                  <a:pos x="T4" y="T5"/>
                </a:cxn>
                <a:cxn ang="0">
                  <a:pos x="T6" y="T7"/>
                </a:cxn>
                <a:cxn ang="0">
                  <a:pos x="T8" y="T9"/>
                </a:cxn>
                <a:cxn ang="0">
                  <a:pos x="T10" y="T11"/>
                </a:cxn>
              </a:cxnLst>
              <a:rect l="0" t="0" r="r" b="b"/>
              <a:pathLst>
                <a:path w="284" h="112">
                  <a:moveTo>
                    <a:pt x="0" y="0"/>
                  </a:moveTo>
                  <a:lnTo>
                    <a:pt x="0" y="0"/>
                  </a:lnTo>
                  <a:lnTo>
                    <a:pt x="284" y="0"/>
                  </a:lnTo>
                  <a:lnTo>
                    <a:pt x="284" y="112"/>
                  </a:lnTo>
                  <a:lnTo>
                    <a:pt x="0" y="11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9">
              <a:extLst>
                <a:ext uri="{FF2B5EF4-FFF2-40B4-BE49-F238E27FC236}">
                  <a16:creationId xmlns:a16="http://schemas.microsoft.com/office/drawing/2014/main" id="{FC84157D-6C0F-4618-9883-B3DCED4B8E9E}"/>
                </a:ext>
              </a:extLst>
            </p:cNvPr>
            <p:cNvSpPr>
              <a:spLocks/>
            </p:cNvSpPr>
            <p:nvPr/>
          </p:nvSpPr>
          <p:spPr bwMode="auto">
            <a:xfrm>
              <a:off x="5472113" y="3544888"/>
              <a:ext cx="269875" cy="107950"/>
            </a:xfrm>
            <a:custGeom>
              <a:avLst/>
              <a:gdLst>
                <a:gd name="T0" fmla="*/ 0 w 283"/>
                <a:gd name="T1" fmla="*/ 0 h 112"/>
                <a:gd name="T2" fmla="*/ 0 w 283"/>
                <a:gd name="T3" fmla="*/ 0 h 112"/>
                <a:gd name="T4" fmla="*/ 283 w 283"/>
                <a:gd name="T5" fmla="*/ 0 h 112"/>
                <a:gd name="T6" fmla="*/ 283 w 283"/>
                <a:gd name="T7" fmla="*/ 112 h 112"/>
                <a:gd name="T8" fmla="*/ 0 w 283"/>
                <a:gd name="T9" fmla="*/ 112 h 112"/>
                <a:gd name="T10" fmla="*/ 0 w 283"/>
                <a:gd name="T11" fmla="*/ 0 h 112"/>
              </a:gdLst>
              <a:ahLst/>
              <a:cxnLst>
                <a:cxn ang="0">
                  <a:pos x="T0" y="T1"/>
                </a:cxn>
                <a:cxn ang="0">
                  <a:pos x="T2" y="T3"/>
                </a:cxn>
                <a:cxn ang="0">
                  <a:pos x="T4" y="T5"/>
                </a:cxn>
                <a:cxn ang="0">
                  <a:pos x="T6" y="T7"/>
                </a:cxn>
                <a:cxn ang="0">
                  <a:pos x="T8" y="T9"/>
                </a:cxn>
                <a:cxn ang="0">
                  <a:pos x="T10" y="T11"/>
                </a:cxn>
              </a:cxnLst>
              <a:rect l="0" t="0" r="r" b="b"/>
              <a:pathLst>
                <a:path w="283" h="112">
                  <a:moveTo>
                    <a:pt x="0" y="0"/>
                  </a:moveTo>
                  <a:lnTo>
                    <a:pt x="0" y="0"/>
                  </a:lnTo>
                  <a:lnTo>
                    <a:pt x="283" y="0"/>
                  </a:lnTo>
                  <a:lnTo>
                    <a:pt x="283" y="112"/>
                  </a:lnTo>
                  <a:lnTo>
                    <a:pt x="0" y="11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0">
              <a:extLst>
                <a:ext uri="{FF2B5EF4-FFF2-40B4-BE49-F238E27FC236}">
                  <a16:creationId xmlns:a16="http://schemas.microsoft.com/office/drawing/2014/main" id="{C421906D-5D09-4E6D-8357-97566645E52F}"/>
                </a:ext>
              </a:extLst>
            </p:cNvPr>
            <p:cNvSpPr>
              <a:spLocks/>
            </p:cNvSpPr>
            <p:nvPr/>
          </p:nvSpPr>
          <p:spPr bwMode="auto">
            <a:xfrm>
              <a:off x="5153025" y="3544888"/>
              <a:ext cx="273050" cy="107950"/>
            </a:xfrm>
            <a:custGeom>
              <a:avLst/>
              <a:gdLst>
                <a:gd name="T0" fmla="*/ 0 w 284"/>
                <a:gd name="T1" fmla="*/ 0 h 112"/>
                <a:gd name="T2" fmla="*/ 0 w 284"/>
                <a:gd name="T3" fmla="*/ 0 h 112"/>
                <a:gd name="T4" fmla="*/ 284 w 284"/>
                <a:gd name="T5" fmla="*/ 0 h 112"/>
                <a:gd name="T6" fmla="*/ 284 w 284"/>
                <a:gd name="T7" fmla="*/ 112 h 112"/>
                <a:gd name="T8" fmla="*/ 0 w 284"/>
                <a:gd name="T9" fmla="*/ 112 h 112"/>
                <a:gd name="T10" fmla="*/ 0 w 284"/>
                <a:gd name="T11" fmla="*/ 0 h 112"/>
              </a:gdLst>
              <a:ahLst/>
              <a:cxnLst>
                <a:cxn ang="0">
                  <a:pos x="T0" y="T1"/>
                </a:cxn>
                <a:cxn ang="0">
                  <a:pos x="T2" y="T3"/>
                </a:cxn>
                <a:cxn ang="0">
                  <a:pos x="T4" y="T5"/>
                </a:cxn>
                <a:cxn ang="0">
                  <a:pos x="T6" y="T7"/>
                </a:cxn>
                <a:cxn ang="0">
                  <a:pos x="T8" y="T9"/>
                </a:cxn>
                <a:cxn ang="0">
                  <a:pos x="T10" y="T11"/>
                </a:cxn>
              </a:cxnLst>
              <a:rect l="0" t="0" r="r" b="b"/>
              <a:pathLst>
                <a:path w="284" h="112">
                  <a:moveTo>
                    <a:pt x="0" y="0"/>
                  </a:moveTo>
                  <a:lnTo>
                    <a:pt x="0" y="0"/>
                  </a:lnTo>
                  <a:lnTo>
                    <a:pt x="284" y="0"/>
                  </a:lnTo>
                  <a:lnTo>
                    <a:pt x="284" y="112"/>
                  </a:lnTo>
                  <a:lnTo>
                    <a:pt x="0" y="11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1">
              <a:extLst>
                <a:ext uri="{FF2B5EF4-FFF2-40B4-BE49-F238E27FC236}">
                  <a16:creationId xmlns:a16="http://schemas.microsoft.com/office/drawing/2014/main" id="{73376B72-47C9-4D71-A646-359F501D5429}"/>
                </a:ext>
              </a:extLst>
            </p:cNvPr>
            <p:cNvSpPr>
              <a:spLocks/>
            </p:cNvSpPr>
            <p:nvPr/>
          </p:nvSpPr>
          <p:spPr bwMode="auto">
            <a:xfrm>
              <a:off x="5472113" y="3544888"/>
              <a:ext cx="269875" cy="107950"/>
            </a:xfrm>
            <a:custGeom>
              <a:avLst/>
              <a:gdLst>
                <a:gd name="T0" fmla="*/ 0 w 283"/>
                <a:gd name="T1" fmla="*/ 0 h 112"/>
                <a:gd name="T2" fmla="*/ 0 w 283"/>
                <a:gd name="T3" fmla="*/ 0 h 112"/>
                <a:gd name="T4" fmla="*/ 283 w 283"/>
                <a:gd name="T5" fmla="*/ 0 h 112"/>
                <a:gd name="T6" fmla="*/ 283 w 283"/>
                <a:gd name="T7" fmla="*/ 112 h 112"/>
                <a:gd name="T8" fmla="*/ 0 w 283"/>
                <a:gd name="T9" fmla="*/ 112 h 112"/>
                <a:gd name="T10" fmla="*/ 0 w 283"/>
                <a:gd name="T11" fmla="*/ 0 h 112"/>
              </a:gdLst>
              <a:ahLst/>
              <a:cxnLst>
                <a:cxn ang="0">
                  <a:pos x="T0" y="T1"/>
                </a:cxn>
                <a:cxn ang="0">
                  <a:pos x="T2" y="T3"/>
                </a:cxn>
                <a:cxn ang="0">
                  <a:pos x="T4" y="T5"/>
                </a:cxn>
                <a:cxn ang="0">
                  <a:pos x="T6" y="T7"/>
                </a:cxn>
                <a:cxn ang="0">
                  <a:pos x="T8" y="T9"/>
                </a:cxn>
                <a:cxn ang="0">
                  <a:pos x="T10" y="T11"/>
                </a:cxn>
              </a:cxnLst>
              <a:rect l="0" t="0" r="r" b="b"/>
              <a:pathLst>
                <a:path w="283" h="112">
                  <a:moveTo>
                    <a:pt x="0" y="0"/>
                  </a:moveTo>
                  <a:lnTo>
                    <a:pt x="0" y="0"/>
                  </a:lnTo>
                  <a:lnTo>
                    <a:pt x="283" y="0"/>
                  </a:lnTo>
                  <a:lnTo>
                    <a:pt x="283" y="112"/>
                  </a:lnTo>
                  <a:lnTo>
                    <a:pt x="0" y="11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2">
              <a:extLst>
                <a:ext uri="{FF2B5EF4-FFF2-40B4-BE49-F238E27FC236}">
                  <a16:creationId xmlns:a16="http://schemas.microsoft.com/office/drawing/2014/main" id="{9FDB5767-47F6-4888-97D1-9ACBA963880D}"/>
                </a:ext>
              </a:extLst>
            </p:cNvPr>
            <p:cNvSpPr>
              <a:spLocks/>
            </p:cNvSpPr>
            <p:nvPr/>
          </p:nvSpPr>
          <p:spPr bwMode="auto">
            <a:xfrm>
              <a:off x="5153025" y="3211513"/>
              <a:ext cx="273050" cy="107950"/>
            </a:xfrm>
            <a:custGeom>
              <a:avLst/>
              <a:gdLst>
                <a:gd name="T0" fmla="*/ 0 w 284"/>
                <a:gd name="T1" fmla="*/ 0 h 113"/>
                <a:gd name="T2" fmla="*/ 0 w 284"/>
                <a:gd name="T3" fmla="*/ 0 h 113"/>
                <a:gd name="T4" fmla="*/ 284 w 284"/>
                <a:gd name="T5" fmla="*/ 0 h 113"/>
                <a:gd name="T6" fmla="*/ 284 w 284"/>
                <a:gd name="T7" fmla="*/ 113 h 113"/>
                <a:gd name="T8" fmla="*/ 0 w 284"/>
                <a:gd name="T9" fmla="*/ 113 h 113"/>
                <a:gd name="T10" fmla="*/ 0 w 284"/>
                <a:gd name="T11" fmla="*/ 0 h 113"/>
              </a:gdLst>
              <a:ahLst/>
              <a:cxnLst>
                <a:cxn ang="0">
                  <a:pos x="T0" y="T1"/>
                </a:cxn>
                <a:cxn ang="0">
                  <a:pos x="T2" y="T3"/>
                </a:cxn>
                <a:cxn ang="0">
                  <a:pos x="T4" y="T5"/>
                </a:cxn>
                <a:cxn ang="0">
                  <a:pos x="T6" y="T7"/>
                </a:cxn>
                <a:cxn ang="0">
                  <a:pos x="T8" y="T9"/>
                </a:cxn>
                <a:cxn ang="0">
                  <a:pos x="T10" y="T11"/>
                </a:cxn>
              </a:cxnLst>
              <a:rect l="0" t="0" r="r" b="b"/>
              <a:pathLst>
                <a:path w="284" h="113">
                  <a:moveTo>
                    <a:pt x="0" y="0"/>
                  </a:moveTo>
                  <a:lnTo>
                    <a:pt x="0" y="0"/>
                  </a:lnTo>
                  <a:lnTo>
                    <a:pt x="284" y="0"/>
                  </a:lnTo>
                  <a:lnTo>
                    <a:pt x="284"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3">
              <a:extLst>
                <a:ext uri="{FF2B5EF4-FFF2-40B4-BE49-F238E27FC236}">
                  <a16:creationId xmlns:a16="http://schemas.microsoft.com/office/drawing/2014/main" id="{D3BCCA24-53F1-47F9-80EA-1121713AB724}"/>
                </a:ext>
              </a:extLst>
            </p:cNvPr>
            <p:cNvSpPr>
              <a:spLocks/>
            </p:cNvSpPr>
            <p:nvPr/>
          </p:nvSpPr>
          <p:spPr bwMode="auto">
            <a:xfrm>
              <a:off x="5308600" y="3371850"/>
              <a:ext cx="271463" cy="107950"/>
            </a:xfrm>
            <a:custGeom>
              <a:avLst/>
              <a:gdLst>
                <a:gd name="T0" fmla="*/ 0 w 284"/>
                <a:gd name="T1" fmla="*/ 0 h 113"/>
                <a:gd name="T2" fmla="*/ 0 w 284"/>
                <a:gd name="T3" fmla="*/ 0 h 113"/>
                <a:gd name="T4" fmla="*/ 284 w 284"/>
                <a:gd name="T5" fmla="*/ 0 h 113"/>
                <a:gd name="T6" fmla="*/ 284 w 284"/>
                <a:gd name="T7" fmla="*/ 113 h 113"/>
                <a:gd name="T8" fmla="*/ 0 w 284"/>
                <a:gd name="T9" fmla="*/ 113 h 113"/>
                <a:gd name="T10" fmla="*/ 0 w 284"/>
                <a:gd name="T11" fmla="*/ 0 h 113"/>
              </a:gdLst>
              <a:ahLst/>
              <a:cxnLst>
                <a:cxn ang="0">
                  <a:pos x="T0" y="T1"/>
                </a:cxn>
                <a:cxn ang="0">
                  <a:pos x="T2" y="T3"/>
                </a:cxn>
                <a:cxn ang="0">
                  <a:pos x="T4" y="T5"/>
                </a:cxn>
                <a:cxn ang="0">
                  <a:pos x="T6" y="T7"/>
                </a:cxn>
                <a:cxn ang="0">
                  <a:pos x="T8" y="T9"/>
                </a:cxn>
                <a:cxn ang="0">
                  <a:pos x="T10" y="T11"/>
                </a:cxn>
              </a:cxnLst>
              <a:rect l="0" t="0" r="r" b="b"/>
              <a:pathLst>
                <a:path w="284" h="113">
                  <a:moveTo>
                    <a:pt x="0" y="0"/>
                  </a:moveTo>
                  <a:lnTo>
                    <a:pt x="0" y="0"/>
                  </a:lnTo>
                  <a:lnTo>
                    <a:pt x="284" y="0"/>
                  </a:lnTo>
                  <a:lnTo>
                    <a:pt x="284"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4">
              <a:extLst>
                <a:ext uri="{FF2B5EF4-FFF2-40B4-BE49-F238E27FC236}">
                  <a16:creationId xmlns:a16="http://schemas.microsoft.com/office/drawing/2014/main" id="{E30D8E67-C6DF-4209-A2EC-8360BF99559E}"/>
                </a:ext>
              </a:extLst>
            </p:cNvPr>
            <p:cNvSpPr>
              <a:spLocks/>
            </p:cNvSpPr>
            <p:nvPr/>
          </p:nvSpPr>
          <p:spPr bwMode="auto">
            <a:xfrm>
              <a:off x="5472113" y="3211513"/>
              <a:ext cx="269875" cy="107950"/>
            </a:xfrm>
            <a:custGeom>
              <a:avLst/>
              <a:gdLst>
                <a:gd name="T0" fmla="*/ 0 w 283"/>
                <a:gd name="T1" fmla="*/ 0 h 113"/>
                <a:gd name="T2" fmla="*/ 0 w 283"/>
                <a:gd name="T3" fmla="*/ 0 h 113"/>
                <a:gd name="T4" fmla="*/ 283 w 283"/>
                <a:gd name="T5" fmla="*/ 0 h 113"/>
                <a:gd name="T6" fmla="*/ 283 w 283"/>
                <a:gd name="T7" fmla="*/ 113 h 113"/>
                <a:gd name="T8" fmla="*/ 0 w 283"/>
                <a:gd name="T9" fmla="*/ 113 h 113"/>
                <a:gd name="T10" fmla="*/ 0 w 283"/>
                <a:gd name="T11" fmla="*/ 0 h 113"/>
              </a:gdLst>
              <a:ahLst/>
              <a:cxnLst>
                <a:cxn ang="0">
                  <a:pos x="T0" y="T1"/>
                </a:cxn>
                <a:cxn ang="0">
                  <a:pos x="T2" y="T3"/>
                </a:cxn>
                <a:cxn ang="0">
                  <a:pos x="T4" y="T5"/>
                </a:cxn>
                <a:cxn ang="0">
                  <a:pos x="T6" y="T7"/>
                </a:cxn>
                <a:cxn ang="0">
                  <a:pos x="T8" y="T9"/>
                </a:cxn>
                <a:cxn ang="0">
                  <a:pos x="T10" y="T11"/>
                </a:cxn>
              </a:cxnLst>
              <a:rect l="0" t="0" r="r" b="b"/>
              <a:pathLst>
                <a:path w="283" h="113">
                  <a:moveTo>
                    <a:pt x="0" y="0"/>
                  </a:moveTo>
                  <a:lnTo>
                    <a:pt x="0" y="0"/>
                  </a:lnTo>
                  <a:lnTo>
                    <a:pt x="283" y="0"/>
                  </a:lnTo>
                  <a:lnTo>
                    <a:pt x="283" y="113"/>
                  </a:lnTo>
                  <a:lnTo>
                    <a:pt x="0" y="11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5">
              <a:extLst>
                <a:ext uri="{FF2B5EF4-FFF2-40B4-BE49-F238E27FC236}">
                  <a16:creationId xmlns:a16="http://schemas.microsoft.com/office/drawing/2014/main" id="{1081E5DC-D70B-4931-B2E3-74D5ACF48E4B}"/>
                </a:ext>
              </a:extLst>
            </p:cNvPr>
            <p:cNvSpPr>
              <a:spLocks noEditPoints="1"/>
            </p:cNvSpPr>
            <p:nvPr/>
          </p:nvSpPr>
          <p:spPr bwMode="auto">
            <a:xfrm>
              <a:off x="4864100" y="2843213"/>
              <a:ext cx="1168400" cy="1179513"/>
            </a:xfrm>
            <a:custGeom>
              <a:avLst/>
              <a:gdLst>
                <a:gd name="T0" fmla="*/ 964 w 1220"/>
                <a:gd name="T1" fmla="*/ 380 h 1220"/>
                <a:gd name="T2" fmla="*/ 964 w 1220"/>
                <a:gd name="T3" fmla="*/ 380 h 1220"/>
                <a:gd name="T4" fmla="*/ 964 w 1220"/>
                <a:gd name="T5" fmla="*/ 540 h 1220"/>
                <a:gd name="T6" fmla="*/ 794 w 1220"/>
                <a:gd name="T7" fmla="*/ 540 h 1220"/>
                <a:gd name="T8" fmla="*/ 794 w 1220"/>
                <a:gd name="T9" fmla="*/ 679 h 1220"/>
                <a:gd name="T10" fmla="*/ 964 w 1220"/>
                <a:gd name="T11" fmla="*/ 679 h 1220"/>
                <a:gd name="T12" fmla="*/ 964 w 1220"/>
                <a:gd name="T13" fmla="*/ 885 h 1220"/>
                <a:gd name="T14" fmla="*/ 256 w 1220"/>
                <a:gd name="T15" fmla="*/ 885 h 1220"/>
                <a:gd name="T16" fmla="*/ 256 w 1220"/>
                <a:gd name="T17" fmla="*/ 679 h 1220"/>
                <a:gd name="T18" fmla="*/ 417 w 1220"/>
                <a:gd name="T19" fmla="*/ 679 h 1220"/>
                <a:gd name="T20" fmla="*/ 417 w 1220"/>
                <a:gd name="T21" fmla="*/ 540 h 1220"/>
                <a:gd name="T22" fmla="*/ 256 w 1220"/>
                <a:gd name="T23" fmla="*/ 540 h 1220"/>
                <a:gd name="T24" fmla="*/ 256 w 1220"/>
                <a:gd name="T25" fmla="*/ 334 h 1220"/>
                <a:gd name="T26" fmla="*/ 964 w 1220"/>
                <a:gd name="T27" fmla="*/ 334 h 1220"/>
                <a:gd name="T28" fmla="*/ 964 w 1220"/>
                <a:gd name="T29" fmla="*/ 380 h 1220"/>
                <a:gd name="T30" fmla="*/ 964 w 1220"/>
                <a:gd name="T31" fmla="*/ 380 h 1220"/>
                <a:gd name="T32" fmla="*/ 610 w 1220"/>
                <a:gd name="T33" fmla="*/ 0 h 1220"/>
                <a:gd name="T34" fmla="*/ 610 w 1220"/>
                <a:gd name="T35" fmla="*/ 0 h 1220"/>
                <a:gd name="T36" fmla="*/ 0 w 1220"/>
                <a:gd name="T37" fmla="*/ 609 h 1220"/>
                <a:gd name="T38" fmla="*/ 610 w 1220"/>
                <a:gd name="T39" fmla="*/ 1220 h 1220"/>
                <a:gd name="T40" fmla="*/ 1220 w 1220"/>
                <a:gd name="T41" fmla="*/ 609 h 1220"/>
                <a:gd name="T42" fmla="*/ 610 w 1220"/>
                <a:gd name="T43" fmla="*/ 0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0" h="1220">
                  <a:moveTo>
                    <a:pt x="964" y="380"/>
                  </a:moveTo>
                  <a:lnTo>
                    <a:pt x="964" y="380"/>
                  </a:lnTo>
                  <a:lnTo>
                    <a:pt x="964" y="540"/>
                  </a:lnTo>
                  <a:lnTo>
                    <a:pt x="794" y="540"/>
                  </a:lnTo>
                  <a:lnTo>
                    <a:pt x="794" y="679"/>
                  </a:lnTo>
                  <a:lnTo>
                    <a:pt x="964" y="679"/>
                  </a:lnTo>
                  <a:lnTo>
                    <a:pt x="964" y="885"/>
                  </a:lnTo>
                  <a:lnTo>
                    <a:pt x="256" y="885"/>
                  </a:lnTo>
                  <a:lnTo>
                    <a:pt x="256" y="679"/>
                  </a:lnTo>
                  <a:lnTo>
                    <a:pt x="417" y="679"/>
                  </a:lnTo>
                  <a:lnTo>
                    <a:pt x="417" y="540"/>
                  </a:lnTo>
                  <a:lnTo>
                    <a:pt x="256" y="540"/>
                  </a:lnTo>
                  <a:lnTo>
                    <a:pt x="256" y="334"/>
                  </a:lnTo>
                  <a:lnTo>
                    <a:pt x="964" y="334"/>
                  </a:lnTo>
                  <a:lnTo>
                    <a:pt x="964" y="380"/>
                  </a:lnTo>
                  <a:lnTo>
                    <a:pt x="964" y="380"/>
                  </a:lnTo>
                  <a:close/>
                  <a:moveTo>
                    <a:pt x="610" y="0"/>
                  </a:moveTo>
                  <a:lnTo>
                    <a:pt x="610" y="0"/>
                  </a:lnTo>
                  <a:cubicBezTo>
                    <a:pt x="273" y="0"/>
                    <a:pt x="0" y="272"/>
                    <a:pt x="0" y="609"/>
                  </a:cubicBezTo>
                  <a:cubicBezTo>
                    <a:pt x="0" y="946"/>
                    <a:pt x="273" y="1220"/>
                    <a:pt x="610" y="1220"/>
                  </a:cubicBezTo>
                  <a:cubicBezTo>
                    <a:pt x="947" y="1220"/>
                    <a:pt x="1220" y="946"/>
                    <a:pt x="1220" y="609"/>
                  </a:cubicBezTo>
                  <a:cubicBezTo>
                    <a:pt x="1220" y="272"/>
                    <a:pt x="947" y="0"/>
                    <a:pt x="61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9" name="Group 148">
            <a:extLst>
              <a:ext uri="{FF2B5EF4-FFF2-40B4-BE49-F238E27FC236}">
                <a16:creationId xmlns:a16="http://schemas.microsoft.com/office/drawing/2014/main" id="{00BA13BD-D209-4DEE-B68A-5EFCF4AE68EC}"/>
              </a:ext>
            </a:extLst>
          </p:cNvPr>
          <p:cNvGrpSpPr/>
          <p:nvPr/>
        </p:nvGrpSpPr>
        <p:grpSpPr>
          <a:xfrm>
            <a:off x="1914024" y="2461701"/>
            <a:ext cx="372288" cy="375830"/>
            <a:chOff x="6167438" y="2843213"/>
            <a:chExt cx="1168400" cy="1179513"/>
          </a:xfrm>
          <a:solidFill>
            <a:schemeClr val="bg2"/>
          </a:solidFill>
        </p:grpSpPr>
        <p:sp>
          <p:nvSpPr>
            <p:cNvPr id="150" name="Freeform 16">
              <a:extLst>
                <a:ext uri="{FF2B5EF4-FFF2-40B4-BE49-F238E27FC236}">
                  <a16:creationId xmlns:a16="http://schemas.microsoft.com/office/drawing/2014/main" id="{269E349F-C827-40BF-9C52-50D138152E20}"/>
                </a:ext>
              </a:extLst>
            </p:cNvPr>
            <p:cNvSpPr>
              <a:spLocks noEditPoints="1"/>
            </p:cNvSpPr>
            <p:nvPr/>
          </p:nvSpPr>
          <p:spPr bwMode="auto">
            <a:xfrm>
              <a:off x="6167438" y="2843213"/>
              <a:ext cx="1168400" cy="1179513"/>
            </a:xfrm>
            <a:custGeom>
              <a:avLst/>
              <a:gdLst>
                <a:gd name="T0" fmla="*/ 610 w 1220"/>
                <a:gd name="T1" fmla="*/ 0 h 1220"/>
                <a:gd name="T2" fmla="*/ 610 w 1220"/>
                <a:gd name="T3" fmla="*/ 0 h 1220"/>
                <a:gd name="T4" fmla="*/ 0 w 1220"/>
                <a:gd name="T5" fmla="*/ 609 h 1220"/>
                <a:gd name="T6" fmla="*/ 610 w 1220"/>
                <a:gd name="T7" fmla="*/ 1220 h 1220"/>
                <a:gd name="T8" fmla="*/ 1220 w 1220"/>
                <a:gd name="T9" fmla="*/ 609 h 1220"/>
                <a:gd name="T10" fmla="*/ 610 w 1220"/>
                <a:gd name="T11" fmla="*/ 0 h 1220"/>
                <a:gd name="T12" fmla="*/ 610 w 1220"/>
                <a:gd name="T13" fmla="*/ 0 h 1220"/>
                <a:gd name="T14" fmla="*/ 610 w 1220"/>
                <a:gd name="T15" fmla="*/ 52 h 1220"/>
                <a:gd name="T16" fmla="*/ 610 w 1220"/>
                <a:gd name="T17" fmla="*/ 52 h 1220"/>
                <a:gd name="T18" fmla="*/ 1167 w 1220"/>
                <a:gd name="T19" fmla="*/ 609 h 1220"/>
                <a:gd name="T20" fmla="*/ 610 w 1220"/>
                <a:gd name="T21" fmla="*/ 1166 h 1220"/>
                <a:gd name="T22" fmla="*/ 53 w 1220"/>
                <a:gd name="T23" fmla="*/ 609 h 1220"/>
                <a:gd name="T24" fmla="*/ 610 w 1220"/>
                <a:gd name="T25" fmla="*/ 52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0" h="1220">
                  <a:moveTo>
                    <a:pt x="610" y="0"/>
                  </a:moveTo>
                  <a:lnTo>
                    <a:pt x="610" y="0"/>
                  </a:lnTo>
                  <a:cubicBezTo>
                    <a:pt x="273" y="0"/>
                    <a:pt x="0" y="272"/>
                    <a:pt x="0" y="609"/>
                  </a:cubicBezTo>
                  <a:cubicBezTo>
                    <a:pt x="0" y="946"/>
                    <a:pt x="273" y="1220"/>
                    <a:pt x="610" y="1220"/>
                  </a:cubicBezTo>
                  <a:cubicBezTo>
                    <a:pt x="947" y="1220"/>
                    <a:pt x="1220" y="946"/>
                    <a:pt x="1220" y="609"/>
                  </a:cubicBezTo>
                  <a:cubicBezTo>
                    <a:pt x="1220" y="272"/>
                    <a:pt x="947" y="0"/>
                    <a:pt x="610" y="0"/>
                  </a:cubicBezTo>
                  <a:lnTo>
                    <a:pt x="610" y="0"/>
                  </a:lnTo>
                  <a:close/>
                  <a:moveTo>
                    <a:pt x="610" y="52"/>
                  </a:moveTo>
                  <a:lnTo>
                    <a:pt x="610" y="52"/>
                  </a:lnTo>
                  <a:cubicBezTo>
                    <a:pt x="917" y="52"/>
                    <a:pt x="1167" y="302"/>
                    <a:pt x="1167" y="609"/>
                  </a:cubicBezTo>
                  <a:cubicBezTo>
                    <a:pt x="1167" y="916"/>
                    <a:pt x="917" y="1166"/>
                    <a:pt x="610" y="1166"/>
                  </a:cubicBezTo>
                  <a:cubicBezTo>
                    <a:pt x="303" y="1166"/>
                    <a:pt x="53" y="916"/>
                    <a:pt x="53" y="609"/>
                  </a:cubicBezTo>
                  <a:cubicBezTo>
                    <a:pt x="53" y="302"/>
                    <a:pt x="303" y="52"/>
                    <a:pt x="610"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17">
              <a:extLst>
                <a:ext uri="{FF2B5EF4-FFF2-40B4-BE49-F238E27FC236}">
                  <a16:creationId xmlns:a16="http://schemas.microsoft.com/office/drawing/2014/main" id="{81D7C26C-E1ED-45C7-8D27-5337CB00C44F}"/>
                </a:ext>
              </a:extLst>
            </p:cNvPr>
            <p:cNvSpPr>
              <a:spLocks noEditPoints="1"/>
            </p:cNvSpPr>
            <p:nvPr/>
          </p:nvSpPr>
          <p:spPr bwMode="auto">
            <a:xfrm>
              <a:off x="6413500" y="3167063"/>
              <a:ext cx="677863" cy="531813"/>
            </a:xfrm>
            <a:custGeom>
              <a:avLst/>
              <a:gdLst>
                <a:gd name="T0" fmla="*/ 378 w 708"/>
                <a:gd name="T1" fmla="*/ 46 h 551"/>
                <a:gd name="T2" fmla="*/ 378 w 708"/>
                <a:gd name="T3" fmla="*/ 46 h 551"/>
                <a:gd name="T4" fmla="*/ 662 w 708"/>
                <a:gd name="T5" fmla="*/ 46 h 551"/>
                <a:gd name="T6" fmla="*/ 662 w 708"/>
                <a:gd name="T7" fmla="*/ 159 h 551"/>
                <a:gd name="T8" fmla="*/ 378 w 708"/>
                <a:gd name="T9" fmla="*/ 159 h 551"/>
                <a:gd name="T10" fmla="*/ 378 w 708"/>
                <a:gd name="T11" fmla="*/ 46 h 551"/>
                <a:gd name="T12" fmla="*/ 378 w 708"/>
                <a:gd name="T13" fmla="*/ 392 h 551"/>
                <a:gd name="T14" fmla="*/ 378 w 708"/>
                <a:gd name="T15" fmla="*/ 392 h 551"/>
                <a:gd name="T16" fmla="*/ 662 w 708"/>
                <a:gd name="T17" fmla="*/ 392 h 551"/>
                <a:gd name="T18" fmla="*/ 662 w 708"/>
                <a:gd name="T19" fmla="*/ 504 h 551"/>
                <a:gd name="T20" fmla="*/ 378 w 708"/>
                <a:gd name="T21" fmla="*/ 504 h 551"/>
                <a:gd name="T22" fmla="*/ 378 w 708"/>
                <a:gd name="T23" fmla="*/ 392 h 551"/>
                <a:gd name="T24" fmla="*/ 208 w 708"/>
                <a:gd name="T25" fmla="*/ 212 h 551"/>
                <a:gd name="T26" fmla="*/ 208 w 708"/>
                <a:gd name="T27" fmla="*/ 212 h 551"/>
                <a:gd name="T28" fmla="*/ 492 w 708"/>
                <a:gd name="T29" fmla="*/ 212 h 551"/>
                <a:gd name="T30" fmla="*/ 492 w 708"/>
                <a:gd name="T31" fmla="*/ 325 h 551"/>
                <a:gd name="T32" fmla="*/ 208 w 708"/>
                <a:gd name="T33" fmla="*/ 325 h 551"/>
                <a:gd name="T34" fmla="*/ 208 w 708"/>
                <a:gd name="T35" fmla="*/ 212 h 551"/>
                <a:gd name="T36" fmla="*/ 46 w 708"/>
                <a:gd name="T37" fmla="*/ 392 h 551"/>
                <a:gd name="T38" fmla="*/ 46 w 708"/>
                <a:gd name="T39" fmla="*/ 392 h 551"/>
                <a:gd name="T40" fmla="*/ 330 w 708"/>
                <a:gd name="T41" fmla="*/ 392 h 551"/>
                <a:gd name="T42" fmla="*/ 330 w 708"/>
                <a:gd name="T43" fmla="*/ 504 h 551"/>
                <a:gd name="T44" fmla="*/ 46 w 708"/>
                <a:gd name="T45" fmla="*/ 504 h 551"/>
                <a:gd name="T46" fmla="*/ 46 w 708"/>
                <a:gd name="T47" fmla="*/ 392 h 551"/>
                <a:gd name="T48" fmla="*/ 46 w 708"/>
                <a:gd name="T49" fmla="*/ 46 h 551"/>
                <a:gd name="T50" fmla="*/ 46 w 708"/>
                <a:gd name="T51" fmla="*/ 46 h 551"/>
                <a:gd name="T52" fmla="*/ 330 w 708"/>
                <a:gd name="T53" fmla="*/ 46 h 551"/>
                <a:gd name="T54" fmla="*/ 330 w 708"/>
                <a:gd name="T55" fmla="*/ 159 h 551"/>
                <a:gd name="T56" fmla="*/ 46 w 708"/>
                <a:gd name="T57" fmla="*/ 159 h 551"/>
                <a:gd name="T58" fmla="*/ 46 w 708"/>
                <a:gd name="T59" fmla="*/ 46 h 551"/>
                <a:gd name="T60" fmla="*/ 662 w 708"/>
                <a:gd name="T61" fmla="*/ 0 h 551"/>
                <a:gd name="T62" fmla="*/ 662 w 708"/>
                <a:gd name="T63" fmla="*/ 0 h 551"/>
                <a:gd name="T64" fmla="*/ 0 w 708"/>
                <a:gd name="T65" fmla="*/ 0 h 551"/>
                <a:gd name="T66" fmla="*/ 0 w 708"/>
                <a:gd name="T67" fmla="*/ 206 h 551"/>
                <a:gd name="T68" fmla="*/ 161 w 708"/>
                <a:gd name="T69" fmla="*/ 206 h 551"/>
                <a:gd name="T70" fmla="*/ 161 w 708"/>
                <a:gd name="T71" fmla="*/ 345 h 551"/>
                <a:gd name="T72" fmla="*/ 0 w 708"/>
                <a:gd name="T73" fmla="*/ 345 h 551"/>
                <a:gd name="T74" fmla="*/ 0 w 708"/>
                <a:gd name="T75" fmla="*/ 551 h 551"/>
                <a:gd name="T76" fmla="*/ 708 w 708"/>
                <a:gd name="T77" fmla="*/ 551 h 551"/>
                <a:gd name="T78" fmla="*/ 708 w 708"/>
                <a:gd name="T79" fmla="*/ 345 h 551"/>
                <a:gd name="T80" fmla="*/ 539 w 708"/>
                <a:gd name="T81" fmla="*/ 345 h 551"/>
                <a:gd name="T82" fmla="*/ 539 w 708"/>
                <a:gd name="T83" fmla="*/ 206 h 551"/>
                <a:gd name="T84" fmla="*/ 708 w 708"/>
                <a:gd name="T85" fmla="*/ 206 h 551"/>
                <a:gd name="T86" fmla="*/ 708 w 708"/>
                <a:gd name="T87" fmla="*/ 0 h 551"/>
                <a:gd name="T88" fmla="*/ 662 w 708"/>
                <a:gd name="T89"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8" h="551">
                  <a:moveTo>
                    <a:pt x="378" y="46"/>
                  </a:moveTo>
                  <a:lnTo>
                    <a:pt x="378" y="46"/>
                  </a:lnTo>
                  <a:lnTo>
                    <a:pt x="662" y="46"/>
                  </a:lnTo>
                  <a:lnTo>
                    <a:pt x="662" y="159"/>
                  </a:lnTo>
                  <a:lnTo>
                    <a:pt x="378" y="159"/>
                  </a:lnTo>
                  <a:lnTo>
                    <a:pt x="378" y="46"/>
                  </a:lnTo>
                  <a:close/>
                  <a:moveTo>
                    <a:pt x="378" y="392"/>
                  </a:moveTo>
                  <a:lnTo>
                    <a:pt x="378" y="392"/>
                  </a:lnTo>
                  <a:lnTo>
                    <a:pt x="662" y="392"/>
                  </a:lnTo>
                  <a:lnTo>
                    <a:pt x="662" y="504"/>
                  </a:lnTo>
                  <a:lnTo>
                    <a:pt x="378" y="504"/>
                  </a:lnTo>
                  <a:lnTo>
                    <a:pt x="378" y="392"/>
                  </a:lnTo>
                  <a:close/>
                  <a:moveTo>
                    <a:pt x="208" y="212"/>
                  </a:moveTo>
                  <a:lnTo>
                    <a:pt x="208" y="212"/>
                  </a:lnTo>
                  <a:lnTo>
                    <a:pt x="492" y="212"/>
                  </a:lnTo>
                  <a:lnTo>
                    <a:pt x="492" y="325"/>
                  </a:lnTo>
                  <a:lnTo>
                    <a:pt x="208" y="325"/>
                  </a:lnTo>
                  <a:lnTo>
                    <a:pt x="208" y="212"/>
                  </a:lnTo>
                  <a:close/>
                  <a:moveTo>
                    <a:pt x="46" y="392"/>
                  </a:moveTo>
                  <a:lnTo>
                    <a:pt x="46" y="392"/>
                  </a:lnTo>
                  <a:lnTo>
                    <a:pt x="330" y="392"/>
                  </a:lnTo>
                  <a:lnTo>
                    <a:pt x="330" y="504"/>
                  </a:lnTo>
                  <a:lnTo>
                    <a:pt x="46" y="504"/>
                  </a:lnTo>
                  <a:lnTo>
                    <a:pt x="46" y="392"/>
                  </a:lnTo>
                  <a:close/>
                  <a:moveTo>
                    <a:pt x="46" y="46"/>
                  </a:moveTo>
                  <a:lnTo>
                    <a:pt x="46" y="46"/>
                  </a:lnTo>
                  <a:lnTo>
                    <a:pt x="330" y="46"/>
                  </a:lnTo>
                  <a:lnTo>
                    <a:pt x="330" y="159"/>
                  </a:lnTo>
                  <a:lnTo>
                    <a:pt x="46" y="159"/>
                  </a:lnTo>
                  <a:lnTo>
                    <a:pt x="46" y="46"/>
                  </a:lnTo>
                  <a:close/>
                  <a:moveTo>
                    <a:pt x="662" y="0"/>
                  </a:moveTo>
                  <a:lnTo>
                    <a:pt x="662" y="0"/>
                  </a:lnTo>
                  <a:lnTo>
                    <a:pt x="0" y="0"/>
                  </a:lnTo>
                  <a:lnTo>
                    <a:pt x="0" y="206"/>
                  </a:lnTo>
                  <a:lnTo>
                    <a:pt x="161" y="206"/>
                  </a:lnTo>
                  <a:lnTo>
                    <a:pt x="161" y="345"/>
                  </a:lnTo>
                  <a:lnTo>
                    <a:pt x="0" y="345"/>
                  </a:lnTo>
                  <a:lnTo>
                    <a:pt x="0" y="551"/>
                  </a:lnTo>
                  <a:lnTo>
                    <a:pt x="708" y="551"/>
                  </a:lnTo>
                  <a:lnTo>
                    <a:pt x="708" y="345"/>
                  </a:lnTo>
                  <a:lnTo>
                    <a:pt x="539" y="345"/>
                  </a:lnTo>
                  <a:lnTo>
                    <a:pt x="539" y="206"/>
                  </a:lnTo>
                  <a:lnTo>
                    <a:pt x="708" y="206"/>
                  </a:lnTo>
                  <a:lnTo>
                    <a:pt x="708" y="0"/>
                  </a:lnTo>
                  <a:lnTo>
                    <a:pt x="6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52" name="TextBox 151">
            <a:extLst>
              <a:ext uri="{FF2B5EF4-FFF2-40B4-BE49-F238E27FC236}">
                <a16:creationId xmlns:a16="http://schemas.microsoft.com/office/drawing/2014/main" id="{83D080A5-0FCB-481F-B247-B083C9394D8D}"/>
              </a:ext>
            </a:extLst>
          </p:cNvPr>
          <p:cNvSpPr txBox="1"/>
          <p:nvPr/>
        </p:nvSpPr>
        <p:spPr>
          <a:xfrm>
            <a:off x="1481491" y="2901225"/>
            <a:ext cx="8307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rPr>
              <a:t>Bricks</a:t>
            </a:r>
            <a:br>
              <a:rPr lang="en-US" sz="1000" dirty="0">
                <a:solidFill>
                  <a:srgbClr val="313131"/>
                </a:solidFill>
              </a:rPr>
            </a:br>
            <a:r>
              <a:rPr lang="en-US" sz="1000" dirty="0">
                <a:solidFill>
                  <a:srgbClr val="313131"/>
                </a:solidFill>
              </a:rPr>
              <a:t>Wall</a:t>
            </a:r>
          </a:p>
        </p:txBody>
      </p:sp>
    </p:spTree>
    <p:extLst>
      <p:ext uri="{BB962C8B-B14F-4D97-AF65-F5344CB8AC3E}">
        <p14:creationId xmlns:p14="http://schemas.microsoft.com/office/powerpoint/2010/main" val="3196427001"/>
      </p:ext>
    </p:extLst>
  </p:cSld>
  <p:clrMapOvr>
    <a:masterClrMapping/>
  </p:clrMapOvr>
  <p:transition>
    <p:fade/>
  </p:transition>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Travel</a:t>
            </a:r>
            <a:endParaRPr lang="en-GB" dirty="0"/>
          </a:p>
        </p:txBody>
      </p:sp>
      <p:sp>
        <p:nvSpPr>
          <p:cNvPr id="4" name="Title 3"/>
          <p:cNvSpPr>
            <a:spLocks noGrp="1"/>
          </p:cNvSpPr>
          <p:nvPr>
            <p:ph type="title"/>
          </p:nvPr>
        </p:nvSpPr>
        <p:spPr/>
        <p:txBody>
          <a:bodyPr/>
          <a:lstStyle/>
          <a:p>
            <a:r>
              <a:rPr lang="en-GB" dirty="0"/>
              <a:t>Iconography</a:t>
            </a:r>
          </a:p>
        </p:txBody>
      </p:sp>
      <p:sp>
        <p:nvSpPr>
          <p:cNvPr id="208" name="TextBox 207">
            <a:extLst>
              <a:ext uri="{FF2B5EF4-FFF2-40B4-BE49-F238E27FC236}">
                <a16:creationId xmlns:a16="http://schemas.microsoft.com/office/drawing/2014/main" id="{3FC12649-ED6A-46E0-824C-237484BE55FC}"/>
              </a:ext>
            </a:extLst>
          </p:cNvPr>
          <p:cNvSpPr txBox="1"/>
          <p:nvPr/>
        </p:nvSpPr>
        <p:spPr>
          <a:xfrm>
            <a:off x="454029" y="211931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Anchor</a:t>
            </a:r>
          </a:p>
        </p:txBody>
      </p:sp>
      <p:sp>
        <p:nvSpPr>
          <p:cNvPr id="213" name="TextBox 212">
            <a:extLst>
              <a:ext uri="{FF2B5EF4-FFF2-40B4-BE49-F238E27FC236}">
                <a16:creationId xmlns:a16="http://schemas.microsoft.com/office/drawing/2014/main" id="{4112B14A-7EF4-4298-B65E-679901755683}"/>
              </a:ext>
            </a:extLst>
          </p:cNvPr>
          <p:cNvSpPr txBox="1"/>
          <p:nvPr/>
        </p:nvSpPr>
        <p:spPr>
          <a:xfrm>
            <a:off x="1314277" y="211931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cycle</a:t>
            </a:r>
          </a:p>
        </p:txBody>
      </p:sp>
      <p:sp>
        <p:nvSpPr>
          <p:cNvPr id="214" name="TextBox 213">
            <a:extLst>
              <a:ext uri="{FF2B5EF4-FFF2-40B4-BE49-F238E27FC236}">
                <a16:creationId xmlns:a16="http://schemas.microsoft.com/office/drawing/2014/main" id="{889F2332-4DD4-47C0-A01A-9024DB6B396A}"/>
              </a:ext>
            </a:extLst>
          </p:cNvPr>
          <p:cNvSpPr txBox="1"/>
          <p:nvPr/>
        </p:nvSpPr>
        <p:spPr>
          <a:xfrm>
            <a:off x="2189342"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idge 1</a:t>
            </a:r>
          </a:p>
        </p:txBody>
      </p:sp>
      <p:sp>
        <p:nvSpPr>
          <p:cNvPr id="215" name="TextBox 214">
            <a:extLst>
              <a:ext uri="{FF2B5EF4-FFF2-40B4-BE49-F238E27FC236}">
                <a16:creationId xmlns:a16="http://schemas.microsoft.com/office/drawing/2014/main" id="{8E0F7494-6C36-4320-96E4-C345C0BE1254}"/>
              </a:ext>
            </a:extLst>
          </p:cNvPr>
          <p:cNvSpPr txBox="1"/>
          <p:nvPr/>
        </p:nvSpPr>
        <p:spPr>
          <a:xfrm>
            <a:off x="3933122" y="2119313"/>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idge 1 over water</a:t>
            </a:r>
          </a:p>
        </p:txBody>
      </p:sp>
      <p:sp>
        <p:nvSpPr>
          <p:cNvPr id="216" name="TextBox 215">
            <a:extLst>
              <a:ext uri="{FF2B5EF4-FFF2-40B4-BE49-F238E27FC236}">
                <a16:creationId xmlns:a16="http://schemas.microsoft.com/office/drawing/2014/main" id="{78452D6D-448B-434B-BB0D-CD1EFC8D0853}"/>
              </a:ext>
            </a:extLst>
          </p:cNvPr>
          <p:cNvSpPr txBox="1"/>
          <p:nvPr/>
        </p:nvSpPr>
        <p:spPr>
          <a:xfrm>
            <a:off x="3061232"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idge 2</a:t>
            </a:r>
          </a:p>
        </p:txBody>
      </p:sp>
      <p:sp>
        <p:nvSpPr>
          <p:cNvPr id="217" name="TextBox 216">
            <a:extLst>
              <a:ext uri="{FF2B5EF4-FFF2-40B4-BE49-F238E27FC236}">
                <a16:creationId xmlns:a16="http://schemas.microsoft.com/office/drawing/2014/main" id="{718A2E84-E87C-47A0-9EBB-E176D56FFC8B}"/>
              </a:ext>
            </a:extLst>
          </p:cNvPr>
          <p:cNvSpPr txBox="1"/>
          <p:nvPr/>
        </p:nvSpPr>
        <p:spPr>
          <a:xfrm>
            <a:off x="8284105"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on’t walk</a:t>
            </a:r>
          </a:p>
        </p:txBody>
      </p:sp>
      <p:sp>
        <p:nvSpPr>
          <p:cNvPr id="218" name="TextBox 217">
            <a:extLst>
              <a:ext uri="{FF2B5EF4-FFF2-40B4-BE49-F238E27FC236}">
                <a16:creationId xmlns:a16="http://schemas.microsoft.com/office/drawing/2014/main" id="{94481B49-67D2-47DB-B376-978A0FEBB83C}"/>
              </a:ext>
            </a:extLst>
          </p:cNvPr>
          <p:cNvSpPr txBox="1"/>
          <p:nvPr/>
        </p:nvSpPr>
        <p:spPr>
          <a:xfrm>
            <a:off x="7412215"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Walk</a:t>
            </a:r>
          </a:p>
        </p:txBody>
      </p:sp>
      <p:sp>
        <p:nvSpPr>
          <p:cNvPr id="219" name="TextBox 218">
            <a:extLst>
              <a:ext uri="{FF2B5EF4-FFF2-40B4-BE49-F238E27FC236}">
                <a16:creationId xmlns:a16="http://schemas.microsoft.com/office/drawing/2014/main" id="{300D70E3-A647-4978-BA3F-A653D0BBE497}"/>
              </a:ext>
            </a:extLst>
          </p:cNvPr>
          <p:cNvSpPr txBox="1"/>
          <p:nvPr/>
        </p:nvSpPr>
        <p:spPr>
          <a:xfrm>
            <a:off x="9155995" y="2119313"/>
            <a:ext cx="819150"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ffic signal EU</a:t>
            </a:r>
          </a:p>
        </p:txBody>
      </p:sp>
      <p:sp>
        <p:nvSpPr>
          <p:cNvPr id="220" name="TextBox 219">
            <a:extLst>
              <a:ext uri="{FF2B5EF4-FFF2-40B4-BE49-F238E27FC236}">
                <a16:creationId xmlns:a16="http://schemas.microsoft.com/office/drawing/2014/main" id="{586F4BFF-7B61-49BD-8D48-CFF8DE7BBA97}"/>
              </a:ext>
            </a:extLst>
          </p:cNvPr>
          <p:cNvSpPr txBox="1"/>
          <p:nvPr/>
        </p:nvSpPr>
        <p:spPr>
          <a:xfrm>
            <a:off x="10016243" y="211931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ffic signal</a:t>
            </a:r>
          </a:p>
        </p:txBody>
      </p:sp>
      <p:sp>
        <p:nvSpPr>
          <p:cNvPr id="221" name="TextBox 220">
            <a:extLst>
              <a:ext uri="{FF2B5EF4-FFF2-40B4-BE49-F238E27FC236}">
                <a16:creationId xmlns:a16="http://schemas.microsoft.com/office/drawing/2014/main" id="{67F81D05-6844-435E-B3A5-AF6204D71861}"/>
              </a:ext>
            </a:extLst>
          </p:cNvPr>
          <p:cNvSpPr txBox="1"/>
          <p:nvPr/>
        </p:nvSpPr>
        <p:spPr>
          <a:xfrm>
            <a:off x="10891308"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ain</a:t>
            </a:r>
          </a:p>
        </p:txBody>
      </p:sp>
      <p:sp>
        <p:nvSpPr>
          <p:cNvPr id="222" name="TextBox 221">
            <a:extLst>
              <a:ext uri="{FF2B5EF4-FFF2-40B4-BE49-F238E27FC236}">
                <a16:creationId xmlns:a16="http://schemas.microsoft.com/office/drawing/2014/main" id="{502B6B58-8409-4562-BF6B-0E2C0C8AD209}"/>
              </a:ext>
            </a:extLst>
          </p:cNvPr>
          <p:cNvSpPr txBox="1"/>
          <p:nvPr/>
        </p:nvSpPr>
        <p:spPr>
          <a:xfrm>
            <a:off x="1316699"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iefcase</a:t>
            </a:r>
          </a:p>
        </p:txBody>
      </p:sp>
      <p:sp>
        <p:nvSpPr>
          <p:cNvPr id="223" name="TextBox 222">
            <a:extLst>
              <a:ext uri="{FF2B5EF4-FFF2-40B4-BE49-F238E27FC236}">
                <a16:creationId xmlns:a16="http://schemas.microsoft.com/office/drawing/2014/main" id="{36994E3D-D7D0-4AEE-8D8A-598EC53D9A6F}"/>
              </a:ext>
            </a:extLst>
          </p:cNvPr>
          <p:cNvSpPr txBox="1"/>
          <p:nvPr/>
        </p:nvSpPr>
        <p:spPr>
          <a:xfrm>
            <a:off x="2187830"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r</a:t>
            </a:r>
          </a:p>
        </p:txBody>
      </p:sp>
      <p:sp>
        <p:nvSpPr>
          <p:cNvPr id="224" name="TextBox 223">
            <a:extLst>
              <a:ext uri="{FF2B5EF4-FFF2-40B4-BE49-F238E27FC236}">
                <a16:creationId xmlns:a16="http://schemas.microsoft.com/office/drawing/2014/main" id="{51349BE5-8B4B-48F3-9646-A1FBF8121411}"/>
              </a:ext>
            </a:extLst>
          </p:cNvPr>
          <p:cNvSpPr txBox="1"/>
          <p:nvPr/>
        </p:nvSpPr>
        <p:spPr>
          <a:xfrm>
            <a:off x="445568" y="288931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ridge 2 over water</a:t>
            </a:r>
          </a:p>
        </p:txBody>
      </p:sp>
      <p:sp>
        <p:nvSpPr>
          <p:cNvPr id="225" name="TextBox 224">
            <a:extLst>
              <a:ext uri="{FF2B5EF4-FFF2-40B4-BE49-F238E27FC236}">
                <a16:creationId xmlns:a16="http://schemas.microsoft.com/office/drawing/2014/main" id="{F05F709B-C367-43CB-A314-EC789F8D7971}"/>
              </a:ext>
            </a:extLst>
          </p:cNvPr>
          <p:cNvSpPr txBox="1"/>
          <p:nvPr/>
        </p:nvSpPr>
        <p:spPr>
          <a:xfrm>
            <a:off x="3058961"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ar share</a:t>
            </a:r>
          </a:p>
        </p:txBody>
      </p:sp>
      <p:sp>
        <p:nvSpPr>
          <p:cNvPr id="226" name="TextBox 225">
            <a:extLst>
              <a:ext uri="{FF2B5EF4-FFF2-40B4-BE49-F238E27FC236}">
                <a16:creationId xmlns:a16="http://schemas.microsoft.com/office/drawing/2014/main" id="{B8025F79-C4D2-49B6-B37F-126619FA64A4}"/>
              </a:ext>
            </a:extLst>
          </p:cNvPr>
          <p:cNvSpPr txBox="1"/>
          <p:nvPr/>
        </p:nvSpPr>
        <p:spPr>
          <a:xfrm>
            <a:off x="5672354"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p pin</a:t>
            </a:r>
          </a:p>
        </p:txBody>
      </p:sp>
      <p:sp>
        <p:nvSpPr>
          <p:cNvPr id="227" name="TextBox 226">
            <a:extLst>
              <a:ext uri="{FF2B5EF4-FFF2-40B4-BE49-F238E27FC236}">
                <a16:creationId xmlns:a16="http://schemas.microsoft.com/office/drawing/2014/main" id="{7E842170-9CAC-4EF9-A798-C909DAC9109D}"/>
              </a:ext>
            </a:extLst>
          </p:cNvPr>
          <p:cNvSpPr txBox="1"/>
          <p:nvPr/>
        </p:nvSpPr>
        <p:spPr>
          <a:xfrm>
            <a:off x="4801223"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Direction sign</a:t>
            </a:r>
          </a:p>
        </p:txBody>
      </p:sp>
      <p:sp>
        <p:nvSpPr>
          <p:cNvPr id="228" name="TextBox 227">
            <a:extLst>
              <a:ext uri="{FF2B5EF4-FFF2-40B4-BE49-F238E27FC236}">
                <a16:creationId xmlns:a16="http://schemas.microsoft.com/office/drawing/2014/main" id="{FDB43B60-E19C-4D3D-BBB6-EA0F7A1CE783}"/>
              </a:ext>
            </a:extLst>
          </p:cNvPr>
          <p:cNvSpPr txBox="1"/>
          <p:nvPr/>
        </p:nvSpPr>
        <p:spPr>
          <a:xfrm>
            <a:off x="3930092"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ed</a:t>
            </a:r>
          </a:p>
        </p:txBody>
      </p:sp>
      <p:sp>
        <p:nvSpPr>
          <p:cNvPr id="229" name="TextBox 228">
            <a:extLst>
              <a:ext uri="{FF2B5EF4-FFF2-40B4-BE49-F238E27FC236}">
                <a16:creationId xmlns:a16="http://schemas.microsoft.com/office/drawing/2014/main" id="{D35F932B-71A7-4158-9174-EDE377AAE8FD}"/>
              </a:ext>
            </a:extLst>
          </p:cNvPr>
          <p:cNvSpPr txBox="1"/>
          <p:nvPr/>
        </p:nvSpPr>
        <p:spPr>
          <a:xfrm>
            <a:off x="6543485" y="2889315"/>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lane </a:t>
            </a:r>
          </a:p>
        </p:txBody>
      </p:sp>
      <p:sp>
        <p:nvSpPr>
          <p:cNvPr id="230" name="TextBox 229">
            <a:extLst>
              <a:ext uri="{FF2B5EF4-FFF2-40B4-BE49-F238E27FC236}">
                <a16:creationId xmlns:a16="http://schemas.microsoft.com/office/drawing/2014/main" id="{795D3180-00BF-4021-9D21-89C0F0A6DAA9}"/>
              </a:ext>
            </a:extLst>
          </p:cNvPr>
          <p:cNvSpPr txBox="1"/>
          <p:nvPr/>
        </p:nvSpPr>
        <p:spPr>
          <a:xfrm>
            <a:off x="7402974" y="288931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ail boat</a:t>
            </a:r>
          </a:p>
        </p:txBody>
      </p:sp>
      <p:sp>
        <p:nvSpPr>
          <p:cNvPr id="231" name="TextBox 230">
            <a:extLst>
              <a:ext uri="{FF2B5EF4-FFF2-40B4-BE49-F238E27FC236}">
                <a16:creationId xmlns:a16="http://schemas.microsoft.com/office/drawing/2014/main" id="{4C5F1E48-6DF7-4499-93D1-00AD7FCAC1EA}"/>
              </a:ext>
            </a:extLst>
          </p:cNvPr>
          <p:cNvSpPr txBox="1"/>
          <p:nvPr/>
        </p:nvSpPr>
        <p:spPr>
          <a:xfrm>
            <a:off x="8277280" y="2889315"/>
            <a:ext cx="830792"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hequered flag</a:t>
            </a:r>
          </a:p>
        </p:txBody>
      </p:sp>
      <p:sp>
        <p:nvSpPr>
          <p:cNvPr id="232" name="TextBox 231">
            <a:extLst>
              <a:ext uri="{FF2B5EF4-FFF2-40B4-BE49-F238E27FC236}">
                <a16:creationId xmlns:a16="http://schemas.microsoft.com/office/drawing/2014/main" id="{5F9602D8-F955-48B5-8F13-EFCBD6C8E6A5}"/>
              </a:ext>
            </a:extLst>
          </p:cNvPr>
          <p:cNvSpPr txBox="1"/>
          <p:nvPr/>
        </p:nvSpPr>
        <p:spPr>
          <a:xfrm>
            <a:off x="10019542"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Petrol can</a:t>
            </a:r>
          </a:p>
        </p:txBody>
      </p:sp>
      <p:sp>
        <p:nvSpPr>
          <p:cNvPr id="233" name="TextBox 232">
            <a:extLst>
              <a:ext uri="{FF2B5EF4-FFF2-40B4-BE49-F238E27FC236}">
                <a16:creationId xmlns:a16="http://schemas.microsoft.com/office/drawing/2014/main" id="{72E590FF-E5C7-482D-9DBE-DAAF1EEE193F}"/>
              </a:ext>
            </a:extLst>
          </p:cNvPr>
          <p:cNvSpPr txBox="1"/>
          <p:nvPr/>
        </p:nvSpPr>
        <p:spPr>
          <a:xfrm>
            <a:off x="10890670"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elf drive car</a:t>
            </a:r>
          </a:p>
        </p:txBody>
      </p:sp>
      <p:sp>
        <p:nvSpPr>
          <p:cNvPr id="234" name="TextBox 233">
            <a:extLst>
              <a:ext uri="{FF2B5EF4-FFF2-40B4-BE49-F238E27FC236}">
                <a16:creationId xmlns:a16="http://schemas.microsoft.com/office/drawing/2014/main" id="{CA8C9A6A-B6B8-4454-B406-C534BF324590}"/>
              </a:ext>
            </a:extLst>
          </p:cNvPr>
          <p:cNvSpPr txBox="1"/>
          <p:nvPr/>
        </p:nvSpPr>
        <p:spPr>
          <a:xfrm>
            <a:off x="9148411" y="2889315"/>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hip</a:t>
            </a:r>
          </a:p>
        </p:txBody>
      </p:sp>
      <p:sp>
        <p:nvSpPr>
          <p:cNvPr id="235" name="TextBox 234">
            <a:extLst>
              <a:ext uri="{FF2B5EF4-FFF2-40B4-BE49-F238E27FC236}">
                <a16:creationId xmlns:a16="http://schemas.microsoft.com/office/drawing/2014/main" id="{13FF14F5-8F2B-4EB7-8C35-A681CA875B73}"/>
              </a:ext>
            </a:extLst>
          </p:cNvPr>
          <p:cNvSpPr txBox="1"/>
          <p:nvPr/>
        </p:nvSpPr>
        <p:spPr>
          <a:xfrm>
            <a:off x="469900" y="366409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Truck</a:t>
            </a:r>
          </a:p>
        </p:txBody>
      </p:sp>
      <p:sp>
        <p:nvSpPr>
          <p:cNvPr id="236" name="TextBox 235">
            <a:extLst>
              <a:ext uri="{FF2B5EF4-FFF2-40B4-BE49-F238E27FC236}">
                <a16:creationId xmlns:a16="http://schemas.microsoft.com/office/drawing/2014/main" id="{788F2E1A-DA9E-4B92-BA66-BB6BF638E9A1}"/>
              </a:ext>
            </a:extLst>
          </p:cNvPr>
          <p:cNvSpPr txBox="1"/>
          <p:nvPr/>
        </p:nvSpPr>
        <p:spPr>
          <a:xfrm>
            <a:off x="2181508" y="3664093"/>
            <a:ext cx="8815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peedometer</a:t>
            </a:r>
          </a:p>
        </p:txBody>
      </p:sp>
      <p:sp>
        <p:nvSpPr>
          <p:cNvPr id="237" name="TextBox 236">
            <a:extLst>
              <a:ext uri="{FF2B5EF4-FFF2-40B4-BE49-F238E27FC236}">
                <a16:creationId xmlns:a16="http://schemas.microsoft.com/office/drawing/2014/main" id="{7D088F65-F346-41C0-AA71-88FF00EBAD90}"/>
              </a:ext>
            </a:extLst>
          </p:cNvPr>
          <p:cNvSpPr txBox="1"/>
          <p:nvPr/>
        </p:nvSpPr>
        <p:spPr>
          <a:xfrm>
            <a:off x="1325704" y="366409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Binoculars</a:t>
            </a:r>
          </a:p>
        </p:txBody>
      </p:sp>
      <p:sp>
        <p:nvSpPr>
          <p:cNvPr id="238" name="TextBox 237">
            <a:extLst>
              <a:ext uri="{FF2B5EF4-FFF2-40B4-BE49-F238E27FC236}">
                <a16:creationId xmlns:a16="http://schemas.microsoft.com/office/drawing/2014/main" id="{8C3093BE-B4F3-4898-A4D1-54D7A2841629}"/>
              </a:ext>
            </a:extLst>
          </p:cNvPr>
          <p:cNvSpPr txBox="1"/>
          <p:nvPr/>
        </p:nvSpPr>
        <p:spPr>
          <a:xfrm>
            <a:off x="3088112" y="366409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uitcase</a:t>
            </a:r>
          </a:p>
        </p:txBody>
      </p:sp>
      <p:sp>
        <p:nvSpPr>
          <p:cNvPr id="239" name="TextBox 238">
            <a:extLst>
              <a:ext uri="{FF2B5EF4-FFF2-40B4-BE49-F238E27FC236}">
                <a16:creationId xmlns:a16="http://schemas.microsoft.com/office/drawing/2014/main" id="{208CECCB-0E52-4353-B401-0DD6C7357D51}"/>
              </a:ext>
            </a:extLst>
          </p:cNvPr>
          <p:cNvSpPr txBox="1"/>
          <p:nvPr/>
        </p:nvSpPr>
        <p:spPr>
          <a:xfrm>
            <a:off x="3932274" y="366409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Map</a:t>
            </a:r>
          </a:p>
        </p:txBody>
      </p:sp>
      <p:sp>
        <p:nvSpPr>
          <p:cNvPr id="240" name="TextBox 239">
            <a:extLst>
              <a:ext uri="{FF2B5EF4-FFF2-40B4-BE49-F238E27FC236}">
                <a16:creationId xmlns:a16="http://schemas.microsoft.com/office/drawing/2014/main" id="{06210321-C95C-4DE5-8FA3-1644D5025205}"/>
              </a:ext>
            </a:extLst>
          </p:cNvPr>
          <p:cNvSpPr txBox="1"/>
          <p:nvPr/>
        </p:nvSpPr>
        <p:spPr>
          <a:xfrm>
            <a:off x="4791253" y="366409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GV</a:t>
            </a:r>
          </a:p>
        </p:txBody>
      </p:sp>
      <p:sp>
        <p:nvSpPr>
          <p:cNvPr id="241" name="TextBox 240">
            <a:extLst>
              <a:ext uri="{FF2B5EF4-FFF2-40B4-BE49-F238E27FC236}">
                <a16:creationId xmlns:a16="http://schemas.microsoft.com/office/drawing/2014/main" id="{A03E30A1-2137-488D-B43B-7BF61B19FDAF}"/>
              </a:ext>
            </a:extLst>
          </p:cNvPr>
          <p:cNvSpPr txBox="1"/>
          <p:nvPr/>
        </p:nvSpPr>
        <p:spPr>
          <a:xfrm>
            <a:off x="5647056" y="366409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Compass</a:t>
            </a:r>
          </a:p>
        </p:txBody>
      </p:sp>
      <p:sp>
        <p:nvSpPr>
          <p:cNvPr id="242" name="Freeform 55">
            <a:extLst>
              <a:ext uri="{FF2B5EF4-FFF2-40B4-BE49-F238E27FC236}">
                <a16:creationId xmlns:a16="http://schemas.microsoft.com/office/drawing/2014/main" id="{1A5F5E4A-AADF-4A46-9433-C982E1033C9F}"/>
              </a:ext>
            </a:extLst>
          </p:cNvPr>
          <p:cNvSpPr>
            <a:spLocks noChangeAspect="1" noEditPoints="1"/>
          </p:cNvSpPr>
          <p:nvPr/>
        </p:nvSpPr>
        <p:spPr bwMode="auto">
          <a:xfrm>
            <a:off x="475296" y="1698655"/>
            <a:ext cx="368253" cy="368152"/>
          </a:xfrm>
          <a:custGeom>
            <a:avLst/>
            <a:gdLst>
              <a:gd name="T0" fmla="*/ 256 w 512"/>
              <a:gd name="T1" fmla="*/ 160 h 512"/>
              <a:gd name="T2" fmla="*/ 234 w 512"/>
              <a:gd name="T3" fmla="*/ 138 h 512"/>
              <a:gd name="T4" fmla="*/ 256 w 512"/>
              <a:gd name="T5" fmla="*/ 117 h 512"/>
              <a:gd name="T6" fmla="*/ 277 w 512"/>
              <a:gd name="T7" fmla="*/ 138 h 512"/>
              <a:gd name="T8" fmla="*/ 256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3 w 512"/>
              <a:gd name="T21" fmla="*/ 347 h 512"/>
              <a:gd name="T22" fmla="*/ 383 w 512"/>
              <a:gd name="T23" fmla="*/ 326 h 512"/>
              <a:gd name="T24" fmla="*/ 373 w 512"/>
              <a:gd name="T25" fmla="*/ 320 h 512"/>
              <a:gd name="T26" fmla="*/ 352 w 512"/>
              <a:gd name="T27" fmla="*/ 320 h 512"/>
              <a:gd name="T28" fmla="*/ 341 w 512"/>
              <a:gd name="T29" fmla="*/ 330 h 512"/>
              <a:gd name="T30" fmla="*/ 352 w 512"/>
              <a:gd name="T31" fmla="*/ 341 h 512"/>
              <a:gd name="T32" fmla="*/ 354 w 512"/>
              <a:gd name="T33" fmla="*/ 341 h 512"/>
              <a:gd name="T34" fmla="*/ 266 w 512"/>
              <a:gd name="T35" fmla="*/ 394 h 512"/>
              <a:gd name="T36" fmla="*/ 266 w 512"/>
              <a:gd name="T37" fmla="*/ 234 h 512"/>
              <a:gd name="T38" fmla="*/ 288 w 512"/>
              <a:gd name="T39" fmla="*/ 234 h 512"/>
              <a:gd name="T40" fmla="*/ 298 w 512"/>
              <a:gd name="T41" fmla="*/ 224 h 512"/>
              <a:gd name="T42" fmla="*/ 288 w 512"/>
              <a:gd name="T43" fmla="*/ 213 h 512"/>
              <a:gd name="T44" fmla="*/ 266 w 512"/>
              <a:gd name="T45" fmla="*/ 213 h 512"/>
              <a:gd name="T46" fmla="*/ 266 w 512"/>
              <a:gd name="T47" fmla="*/ 179 h 512"/>
              <a:gd name="T48" fmla="*/ 298 w 512"/>
              <a:gd name="T49" fmla="*/ 138 h 512"/>
              <a:gd name="T50" fmla="*/ 256 w 512"/>
              <a:gd name="T51" fmla="*/ 96 h 512"/>
              <a:gd name="T52" fmla="*/ 213 w 512"/>
              <a:gd name="T53" fmla="*/ 138 h 512"/>
              <a:gd name="T54" fmla="*/ 245 w 512"/>
              <a:gd name="T55" fmla="*/ 179 h 512"/>
              <a:gd name="T56" fmla="*/ 245 w 512"/>
              <a:gd name="T57" fmla="*/ 213 h 512"/>
              <a:gd name="T58" fmla="*/ 224 w 512"/>
              <a:gd name="T59" fmla="*/ 213 h 512"/>
              <a:gd name="T60" fmla="*/ 213 w 512"/>
              <a:gd name="T61" fmla="*/ 224 h 512"/>
              <a:gd name="T62" fmla="*/ 224 w 512"/>
              <a:gd name="T63" fmla="*/ 234 h 512"/>
              <a:gd name="T64" fmla="*/ 245 w 512"/>
              <a:gd name="T65" fmla="*/ 234 h 512"/>
              <a:gd name="T66" fmla="*/ 245 w 512"/>
              <a:gd name="T67" fmla="*/ 394 h 512"/>
              <a:gd name="T68" fmla="*/ 157 w 512"/>
              <a:gd name="T69" fmla="*/ 341 h 512"/>
              <a:gd name="T70" fmla="*/ 160 w 512"/>
              <a:gd name="T71" fmla="*/ 341 h 512"/>
              <a:gd name="T72" fmla="*/ 170 w 512"/>
              <a:gd name="T73" fmla="*/ 330 h 512"/>
              <a:gd name="T74" fmla="*/ 160 w 512"/>
              <a:gd name="T75" fmla="*/ 320 h 512"/>
              <a:gd name="T76" fmla="*/ 139 w 512"/>
              <a:gd name="T77" fmla="*/ 320 h 512"/>
              <a:gd name="T78" fmla="*/ 139 w 512"/>
              <a:gd name="T79" fmla="*/ 320 h 512"/>
              <a:gd name="T80" fmla="*/ 138 w 512"/>
              <a:gd name="T81" fmla="*/ 320 h 512"/>
              <a:gd name="T82" fmla="*/ 129 w 512"/>
              <a:gd name="T83" fmla="*/ 326 h 512"/>
              <a:gd name="T84" fmla="*/ 118 w 512"/>
              <a:gd name="T85" fmla="*/ 347 h 512"/>
              <a:gd name="T86" fmla="*/ 123 w 512"/>
              <a:gd name="T87" fmla="*/ 361 h 512"/>
              <a:gd name="T88" fmla="*/ 128 w 512"/>
              <a:gd name="T89" fmla="*/ 362 h 512"/>
              <a:gd name="T90" fmla="*/ 137 w 512"/>
              <a:gd name="T91" fmla="*/ 356 h 512"/>
              <a:gd name="T92" fmla="*/ 139 w 512"/>
              <a:gd name="T93" fmla="*/ 352 h 512"/>
              <a:gd name="T94" fmla="*/ 256 w 512"/>
              <a:gd name="T95" fmla="*/ 416 h 512"/>
              <a:gd name="T96" fmla="*/ 372 w 512"/>
              <a:gd name="T97" fmla="*/ 352 h 512"/>
              <a:gd name="T98" fmla="*/ 374 w 512"/>
              <a:gd name="T99" fmla="*/ 356 h 512"/>
              <a:gd name="T100" fmla="*/ 384 w 512"/>
              <a:gd name="T101" fmla="*/ 362 h 512"/>
              <a:gd name="T102" fmla="*/ 388 w 512"/>
              <a:gd name="T103" fmla="*/ 361 h 512"/>
              <a:gd name="T104" fmla="*/ 393 w 512"/>
              <a:gd name="T105"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160"/>
                </a:moveTo>
                <a:cubicBezTo>
                  <a:pt x="244" y="160"/>
                  <a:pt x="234" y="150"/>
                  <a:pt x="234" y="138"/>
                </a:cubicBezTo>
                <a:cubicBezTo>
                  <a:pt x="234" y="127"/>
                  <a:pt x="244" y="117"/>
                  <a:pt x="256" y="117"/>
                </a:cubicBezTo>
                <a:cubicBezTo>
                  <a:pt x="267" y="117"/>
                  <a:pt x="277" y="127"/>
                  <a:pt x="277" y="138"/>
                </a:cubicBezTo>
                <a:cubicBezTo>
                  <a:pt x="277" y="150"/>
                  <a:pt x="267" y="160"/>
                  <a:pt x="256"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3" y="347"/>
                </a:moveTo>
                <a:cubicBezTo>
                  <a:pt x="383" y="326"/>
                  <a:pt x="383" y="326"/>
                  <a:pt x="383" y="326"/>
                </a:cubicBezTo>
                <a:cubicBezTo>
                  <a:pt x="381" y="322"/>
                  <a:pt x="377" y="320"/>
                  <a:pt x="373" y="320"/>
                </a:cubicBezTo>
                <a:cubicBezTo>
                  <a:pt x="352" y="320"/>
                  <a:pt x="352" y="320"/>
                  <a:pt x="352" y="320"/>
                </a:cubicBezTo>
                <a:cubicBezTo>
                  <a:pt x="346" y="320"/>
                  <a:pt x="341" y="324"/>
                  <a:pt x="341" y="330"/>
                </a:cubicBezTo>
                <a:cubicBezTo>
                  <a:pt x="341" y="336"/>
                  <a:pt x="346" y="341"/>
                  <a:pt x="352" y="341"/>
                </a:cubicBezTo>
                <a:cubicBezTo>
                  <a:pt x="354" y="341"/>
                  <a:pt x="354" y="341"/>
                  <a:pt x="354" y="341"/>
                </a:cubicBezTo>
                <a:cubicBezTo>
                  <a:pt x="334" y="371"/>
                  <a:pt x="302" y="390"/>
                  <a:pt x="266" y="394"/>
                </a:cubicBezTo>
                <a:cubicBezTo>
                  <a:pt x="266" y="234"/>
                  <a:pt x="266" y="234"/>
                  <a:pt x="266" y="234"/>
                </a:cubicBezTo>
                <a:cubicBezTo>
                  <a:pt x="288" y="234"/>
                  <a:pt x="288" y="234"/>
                  <a:pt x="288" y="234"/>
                </a:cubicBezTo>
                <a:cubicBezTo>
                  <a:pt x="294" y="234"/>
                  <a:pt x="298" y="230"/>
                  <a:pt x="298" y="224"/>
                </a:cubicBezTo>
                <a:cubicBezTo>
                  <a:pt x="298" y="218"/>
                  <a:pt x="294" y="213"/>
                  <a:pt x="288" y="213"/>
                </a:cubicBezTo>
                <a:cubicBezTo>
                  <a:pt x="266" y="213"/>
                  <a:pt x="266" y="213"/>
                  <a:pt x="266" y="213"/>
                </a:cubicBezTo>
                <a:cubicBezTo>
                  <a:pt x="266" y="179"/>
                  <a:pt x="266" y="179"/>
                  <a:pt x="266" y="179"/>
                </a:cubicBezTo>
                <a:cubicBezTo>
                  <a:pt x="285" y="175"/>
                  <a:pt x="298" y="158"/>
                  <a:pt x="298" y="138"/>
                </a:cubicBezTo>
                <a:cubicBezTo>
                  <a:pt x="298" y="115"/>
                  <a:pt x="279" y="96"/>
                  <a:pt x="256" y="96"/>
                </a:cubicBezTo>
                <a:cubicBezTo>
                  <a:pt x="232" y="96"/>
                  <a:pt x="213" y="115"/>
                  <a:pt x="213" y="138"/>
                </a:cubicBezTo>
                <a:cubicBezTo>
                  <a:pt x="213" y="158"/>
                  <a:pt x="226" y="175"/>
                  <a:pt x="245" y="179"/>
                </a:cubicBezTo>
                <a:cubicBezTo>
                  <a:pt x="245" y="213"/>
                  <a:pt x="245" y="213"/>
                  <a:pt x="245" y="213"/>
                </a:cubicBezTo>
                <a:cubicBezTo>
                  <a:pt x="224" y="213"/>
                  <a:pt x="224" y="213"/>
                  <a:pt x="224" y="213"/>
                </a:cubicBezTo>
                <a:cubicBezTo>
                  <a:pt x="218" y="213"/>
                  <a:pt x="213" y="218"/>
                  <a:pt x="213" y="224"/>
                </a:cubicBezTo>
                <a:cubicBezTo>
                  <a:pt x="213" y="230"/>
                  <a:pt x="218" y="234"/>
                  <a:pt x="224" y="234"/>
                </a:cubicBezTo>
                <a:cubicBezTo>
                  <a:pt x="245" y="234"/>
                  <a:pt x="245" y="234"/>
                  <a:pt x="245" y="234"/>
                </a:cubicBezTo>
                <a:cubicBezTo>
                  <a:pt x="245" y="394"/>
                  <a:pt x="245" y="394"/>
                  <a:pt x="245" y="394"/>
                </a:cubicBezTo>
                <a:cubicBezTo>
                  <a:pt x="209" y="390"/>
                  <a:pt x="177" y="371"/>
                  <a:pt x="157" y="341"/>
                </a:cubicBezTo>
                <a:cubicBezTo>
                  <a:pt x="160" y="341"/>
                  <a:pt x="160" y="341"/>
                  <a:pt x="160" y="341"/>
                </a:cubicBezTo>
                <a:cubicBezTo>
                  <a:pt x="166" y="341"/>
                  <a:pt x="170" y="336"/>
                  <a:pt x="170" y="330"/>
                </a:cubicBezTo>
                <a:cubicBezTo>
                  <a:pt x="170" y="324"/>
                  <a:pt x="166" y="320"/>
                  <a:pt x="160" y="320"/>
                </a:cubicBezTo>
                <a:cubicBezTo>
                  <a:pt x="139" y="320"/>
                  <a:pt x="139" y="320"/>
                  <a:pt x="139" y="320"/>
                </a:cubicBezTo>
                <a:cubicBezTo>
                  <a:pt x="139" y="320"/>
                  <a:pt x="139" y="320"/>
                  <a:pt x="139" y="320"/>
                </a:cubicBezTo>
                <a:cubicBezTo>
                  <a:pt x="138" y="320"/>
                  <a:pt x="138" y="320"/>
                  <a:pt x="138" y="320"/>
                </a:cubicBezTo>
                <a:cubicBezTo>
                  <a:pt x="134" y="320"/>
                  <a:pt x="131" y="322"/>
                  <a:pt x="129" y="326"/>
                </a:cubicBezTo>
                <a:cubicBezTo>
                  <a:pt x="118" y="347"/>
                  <a:pt x="118" y="347"/>
                  <a:pt x="118" y="347"/>
                </a:cubicBezTo>
                <a:cubicBezTo>
                  <a:pt x="115" y="352"/>
                  <a:pt x="118" y="359"/>
                  <a:pt x="123" y="361"/>
                </a:cubicBezTo>
                <a:cubicBezTo>
                  <a:pt x="124" y="362"/>
                  <a:pt x="126" y="362"/>
                  <a:pt x="128" y="362"/>
                </a:cubicBezTo>
                <a:cubicBezTo>
                  <a:pt x="132" y="362"/>
                  <a:pt x="135" y="360"/>
                  <a:pt x="137" y="356"/>
                </a:cubicBezTo>
                <a:cubicBezTo>
                  <a:pt x="139" y="352"/>
                  <a:pt x="139" y="352"/>
                  <a:pt x="139" y="352"/>
                </a:cubicBezTo>
                <a:cubicBezTo>
                  <a:pt x="165" y="391"/>
                  <a:pt x="208" y="416"/>
                  <a:pt x="256" y="416"/>
                </a:cubicBezTo>
                <a:cubicBezTo>
                  <a:pt x="303" y="416"/>
                  <a:pt x="347" y="391"/>
                  <a:pt x="372" y="352"/>
                </a:cubicBezTo>
                <a:cubicBezTo>
                  <a:pt x="374" y="356"/>
                  <a:pt x="374" y="356"/>
                  <a:pt x="374" y="356"/>
                </a:cubicBezTo>
                <a:cubicBezTo>
                  <a:pt x="376" y="360"/>
                  <a:pt x="380" y="362"/>
                  <a:pt x="384" y="362"/>
                </a:cubicBezTo>
                <a:cubicBezTo>
                  <a:pt x="385" y="362"/>
                  <a:pt x="387" y="362"/>
                  <a:pt x="388" y="361"/>
                </a:cubicBezTo>
                <a:cubicBezTo>
                  <a:pt x="394" y="359"/>
                  <a:pt x="396" y="352"/>
                  <a:pt x="393" y="34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3" name="Group 58">
            <a:extLst>
              <a:ext uri="{FF2B5EF4-FFF2-40B4-BE49-F238E27FC236}">
                <a16:creationId xmlns:a16="http://schemas.microsoft.com/office/drawing/2014/main" id="{528A8DC2-A4CC-4158-AD51-6518F1A44854}"/>
              </a:ext>
            </a:extLst>
          </p:cNvPr>
          <p:cNvGrpSpPr>
            <a:grpSpLocks noChangeAspect="1"/>
          </p:cNvGrpSpPr>
          <p:nvPr/>
        </p:nvGrpSpPr>
        <p:grpSpPr bwMode="auto">
          <a:xfrm>
            <a:off x="910047" y="1698655"/>
            <a:ext cx="368254" cy="368152"/>
            <a:chOff x="1785" y="567"/>
            <a:chExt cx="3636" cy="3635"/>
          </a:xfrm>
          <a:solidFill>
            <a:schemeClr val="accent1"/>
          </a:solidFill>
        </p:grpSpPr>
        <p:sp>
          <p:nvSpPr>
            <p:cNvPr id="244" name="Freeform 257">
              <a:extLst>
                <a:ext uri="{FF2B5EF4-FFF2-40B4-BE49-F238E27FC236}">
                  <a16:creationId xmlns:a16="http://schemas.microsoft.com/office/drawing/2014/main" id="{A4819408-FD13-4F22-AD48-791C84C361CB}"/>
                </a:ext>
              </a:extLst>
            </p:cNvPr>
            <p:cNvSpPr>
              <a:spLocks noEditPoints="1"/>
            </p:cNvSpPr>
            <p:nvPr/>
          </p:nvSpPr>
          <p:spPr bwMode="auto">
            <a:xfrm>
              <a:off x="1785" y="567"/>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5" name="Freeform 258">
              <a:extLst>
                <a:ext uri="{FF2B5EF4-FFF2-40B4-BE49-F238E27FC236}">
                  <a16:creationId xmlns:a16="http://schemas.microsoft.com/office/drawing/2014/main" id="{6F4DEFF9-8ED5-4BA2-930B-746CBB3C8C68}"/>
                </a:ext>
              </a:extLst>
            </p:cNvPr>
            <p:cNvSpPr>
              <a:spLocks noEditPoints="1"/>
            </p:cNvSpPr>
            <p:nvPr/>
          </p:nvSpPr>
          <p:spPr bwMode="auto">
            <a:xfrm>
              <a:off x="2602" y="1248"/>
              <a:ext cx="1995" cy="2272"/>
            </a:xfrm>
            <a:custGeom>
              <a:avLst/>
              <a:gdLst>
                <a:gd name="T0" fmla="*/ 278 w 281"/>
                <a:gd name="T1" fmla="*/ 251 h 320"/>
                <a:gd name="T2" fmla="*/ 268 w 281"/>
                <a:gd name="T3" fmla="*/ 230 h 320"/>
                <a:gd name="T4" fmla="*/ 258 w 281"/>
                <a:gd name="T5" fmla="*/ 224 h 320"/>
                <a:gd name="T6" fmla="*/ 237 w 281"/>
                <a:gd name="T7" fmla="*/ 224 h 320"/>
                <a:gd name="T8" fmla="*/ 226 w 281"/>
                <a:gd name="T9" fmla="*/ 234 h 320"/>
                <a:gd name="T10" fmla="*/ 237 w 281"/>
                <a:gd name="T11" fmla="*/ 245 h 320"/>
                <a:gd name="T12" fmla="*/ 239 w 281"/>
                <a:gd name="T13" fmla="*/ 245 h 320"/>
                <a:gd name="T14" fmla="*/ 151 w 281"/>
                <a:gd name="T15" fmla="*/ 298 h 320"/>
                <a:gd name="T16" fmla="*/ 151 w 281"/>
                <a:gd name="T17" fmla="*/ 138 h 320"/>
                <a:gd name="T18" fmla="*/ 173 w 281"/>
                <a:gd name="T19" fmla="*/ 138 h 320"/>
                <a:gd name="T20" fmla="*/ 183 w 281"/>
                <a:gd name="T21" fmla="*/ 128 h 320"/>
                <a:gd name="T22" fmla="*/ 173 w 281"/>
                <a:gd name="T23" fmla="*/ 117 h 320"/>
                <a:gd name="T24" fmla="*/ 151 w 281"/>
                <a:gd name="T25" fmla="*/ 117 h 320"/>
                <a:gd name="T26" fmla="*/ 151 w 281"/>
                <a:gd name="T27" fmla="*/ 83 h 320"/>
                <a:gd name="T28" fmla="*/ 183 w 281"/>
                <a:gd name="T29" fmla="*/ 42 h 320"/>
                <a:gd name="T30" fmla="*/ 141 w 281"/>
                <a:gd name="T31" fmla="*/ 0 h 320"/>
                <a:gd name="T32" fmla="*/ 98 w 281"/>
                <a:gd name="T33" fmla="*/ 42 h 320"/>
                <a:gd name="T34" fmla="*/ 130 w 281"/>
                <a:gd name="T35" fmla="*/ 83 h 320"/>
                <a:gd name="T36" fmla="*/ 130 w 281"/>
                <a:gd name="T37" fmla="*/ 117 h 320"/>
                <a:gd name="T38" fmla="*/ 109 w 281"/>
                <a:gd name="T39" fmla="*/ 117 h 320"/>
                <a:gd name="T40" fmla="*/ 98 w 281"/>
                <a:gd name="T41" fmla="*/ 128 h 320"/>
                <a:gd name="T42" fmla="*/ 109 w 281"/>
                <a:gd name="T43" fmla="*/ 138 h 320"/>
                <a:gd name="T44" fmla="*/ 130 w 281"/>
                <a:gd name="T45" fmla="*/ 138 h 320"/>
                <a:gd name="T46" fmla="*/ 130 w 281"/>
                <a:gd name="T47" fmla="*/ 298 h 320"/>
                <a:gd name="T48" fmla="*/ 42 w 281"/>
                <a:gd name="T49" fmla="*/ 245 h 320"/>
                <a:gd name="T50" fmla="*/ 45 w 281"/>
                <a:gd name="T51" fmla="*/ 245 h 320"/>
                <a:gd name="T52" fmla="*/ 55 w 281"/>
                <a:gd name="T53" fmla="*/ 234 h 320"/>
                <a:gd name="T54" fmla="*/ 45 w 281"/>
                <a:gd name="T55" fmla="*/ 224 h 320"/>
                <a:gd name="T56" fmla="*/ 24 w 281"/>
                <a:gd name="T57" fmla="*/ 224 h 320"/>
                <a:gd name="T58" fmla="*/ 24 w 281"/>
                <a:gd name="T59" fmla="*/ 224 h 320"/>
                <a:gd name="T60" fmla="*/ 23 w 281"/>
                <a:gd name="T61" fmla="*/ 224 h 320"/>
                <a:gd name="T62" fmla="*/ 14 w 281"/>
                <a:gd name="T63" fmla="*/ 230 h 320"/>
                <a:gd name="T64" fmla="*/ 3 w 281"/>
                <a:gd name="T65" fmla="*/ 251 h 320"/>
                <a:gd name="T66" fmla="*/ 8 w 281"/>
                <a:gd name="T67" fmla="*/ 265 h 320"/>
                <a:gd name="T68" fmla="*/ 13 w 281"/>
                <a:gd name="T69" fmla="*/ 266 h 320"/>
                <a:gd name="T70" fmla="*/ 22 w 281"/>
                <a:gd name="T71" fmla="*/ 260 h 320"/>
                <a:gd name="T72" fmla="*/ 24 w 281"/>
                <a:gd name="T73" fmla="*/ 256 h 320"/>
                <a:gd name="T74" fmla="*/ 141 w 281"/>
                <a:gd name="T75" fmla="*/ 320 h 320"/>
                <a:gd name="T76" fmla="*/ 257 w 281"/>
                <a:gd name="T77" fmla="*/ 256 h 320"/>
                <a:gd name="T78" fmla="*/ 259 w 281"/>
                <a:gd name="T79" fmla="*/ 260 h 320"/>
                <a:gd name="T80" fmla="*/ 269 w 281"/>
                <a:gd name="T81" fmla="*/ 266 h 320"/>
                <a:gd name="T82" fmla="*/ 273 w 281"/>
                <a:gd name="T83" fmla="*/ 265 h 320"/>
                <a:gd name="T84" fmla="*/ 278 w 281"/>
                <a:gd name="T85" fmla="*/ 251 h 320"/>
                <a:gd name="T86" fmla="*/ 119 w 281"/>
                <a:gd name="T87" fmla="*/ 42 h 320"/>
                <a:gd name="T88" fmla="*/ 141 w 281"/>
                <a:gd name="T89" fmla="*/ 21 h 320"/>
                <a:gd name="T90" fmla="*/ 162 w 281"/>
                <a:gd name="T91" fmla="*/ 42 h 320"/>
                <a:gd name="T92" fmla="*/ 141 w 281"/>
                <a:gd name="T93" fmla="*/ 64 h 320"/>
                <a:gd name="T94" fmla="*/ 119 w 281"/>
                <a:gd name="T95" fmla="*/ 4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1" h="320">
                  <a:moveTo>
                    <a:pt x="278" y="251"/>
                  </a:moveTo>
                  <a:cubicBezTo>
                    <a:pt x="268" y="230"/>
                    <a:pt x="268" y="230"/>
                    <a:pt x="268" y="230"/>
                  </a:cubicBezTo>
                  <a:cubicBezTo>
                    <a:pt x="266" y="226"/>
                    <a:pt x="262" y="224"/>
                    <a:pt x="258" y="224"/>
                  </a:cubicBezTo>
                  <a:cubicBezTo>
                    <a:pt x="237" y="224"/>
                    <a:pt x="237" y="224"/>
                    <a:pt x="237" y="224"/>
                  </a:cubicBezTo>
                  <a:cubicBezTo>
                    <a:pt x="231" y="224"/>
                    <a:pt x="226" y="228"/>
                    <a:pt x="226" y="234"/>
                  </a:cubicBezTo>
                  <a:cubicBezTo>
                    <a:pt x="226" y="240"/>
                    <a:pt x="231" y="245"/>
                    <a:pt x="237" y="245"/>
                  </a:cubicBezTo>
                  <a:cubicBezTo>
                    <a:pt x="239" y="245"/>
                    <a:pt x="239" y="245"/>
                    <a:pt x="239" y="245"/>
                  </a:cubicBezTo>
                  <a:cubicBezTo>
                    <a:pt x="219" y="275"/>
                    <a:pt x="187" y="294"/>
                    <a:pt x="151" y="298"/>
                  </a:cubicBezTo>
                  <a:cubicBezTo>
                    <a:pt x="151" y="138"/>
                    <a:pt x="151" y="138"/>
                    <a:pt x="151" y="138"/>
                  </a:cubicBezTo>
                  <a:cubicBezTo>
                    <a:pt x="173" y="138"/>
                    <a:pt x="173" y="138"/>
                    <a:pt x="173" y="138"/>
                  </a:cubicBezTo>
                  <a:cubicBezTo>
                    <a:pt x="179" y="138"/>
                    <a:pt x="183" y="134"/>
                    <a:pt x="183" y="128"/>
                  </a:cubicBezTo>
                  <a:cubicBezTo>
                    <a:pt x="183" y="122"/>
                    <a:pt x="179" y="117"/>
                    <a:pt x="173" y="117"/>
                  </a:cubicBezTo>
                  <a:cubicBezTo>
                    <a:pt x="151" y="117"/>
                    <a:pt x="151" y="117"/>
                    <a:pt x="151" y="117"/>
                  </a:cubicBezTo>
                  <a:cubicBezTo>
                    <a:pt x="151" y="83"/>
                    <a:pt x="151" y="83"/>
                    <a:pt x="151" y="83"/>
                  </a:cubicBezTo>
                  <a:cubicBezTo>
                    <a:pt x="170" y="79"/>
                    <a:pt x="183" y="62"/>
                    <a:pt x="183" y="42"/>
                  </a:cubicBezTo>
                  <a:cubicBezTo>
                    <a:pt x="183" y="19"/>
                    <a:pt x="164" y="0"/>
                    <a:pt x="141" y="0"/>
                  </a:cubicBezTo>
                  <a:cubicBezTo>
                    <a:pt x="117" y="0"/>
                    <a:pt x="98" y="19"/>
                    <a:pt x="98" y="42"/>
                  </a:cubicBezTo>
                  <a:cubicBezTo>
                    <a:pt x="98" y="62"/>
                    <a:pt x="111" y="79"/>
                    <a:pt x="130" y="83"/>
                  </a:cubicBezTo>
                  <a:cubicBezTo>
                    <a:pt x="130" y="117"/>
                    <a:pt x="130" y="117"/>
                    <a:pt x="130" y="117"/>
                  </a:cubicBezTo>
                  <a:cubicBezTo>
                    <a:pt x="109" y="117"/>
                    <a:pt x="109" y="117"/>
                    <a:pt x="109" y="117"/>
                  </a:cubicBezTo>
                  <a:cubicBezTo>
                    <a:pt x="103" y="117"/>
                    <a:pt x="98" y="122"/>
                    <a:pt x="98" y="128"/>
                  </a:cubicBezTo>
                  <a:cubicBezTo>
                    <a:pt x="98" y="134"/>
                    <a:pt x="103" y="138"/>
                    <a:pt x="109" y="138"/>
                  </a:cubicBezTo>
                  <a:cubicBezTo>
                    <a:pt x="130" y="138"/>
                    <a:pt x="130" y="138"/>
                    <a:pt x="130" y="138"/>
                  </a:cubicBezTo>
                  <a:cubicBezTo>
                    <a:pt x="130" y="298"/>
                    <a:pt x="130" y="298"/>
                    <a:pt x="130" y="298"/>
                  </a:cubicBezTo>
                  <a:cubicBezTo>
                    <a:pt x="94" y="294"/>
                    <a:pt x="62" y="275"/>
                    <a:pt x="42" y="245"/>
                  </a:cubicBezTo>
                  <a:cubicBezTo>
                    <a:pt x="45" y="245"/>
                    <a:pt x="45" y="245"/>
                    <a:pt x="45" y="245"/>
                  </a:cubicBezTo>
                  <a:cubicBezTo>
                    <a:pt x="51" y="245"/>
                    <a:pt x="55" y="240"/>
                    <a:pt x="55" y="234"/>
                  </a:cubicBezTo>
                  <a:cubicBezTo>
                    <a:pt x="55" y="228"/>
                    <a:pt x="51" y="224"/>
                    <a:pt x="45" y="224"/>
                  </a:cubicBezTo>
                  <a:cubicBezTo>
                    <a:pt x="24" y="224"/>
                    <a:pt x="24" y="224"/>
                    <a:pt x="24" y="224"/>
                  </a:cubicBezTo>
                  <a:cubicBezTo>
                    <a:pt x="24" y="224"/>
                    <a:pt x="24" y="224"/>
                    <a:pt x="24" y="224"/>
                  </a:cubicBezTo>
                  <a:cubicBezTo>
                    <a:pt x="23" y="224"/>
                    <a:pt x="23" y="224"/>
                    <a:pt x="23" y="224"/>
                  </a:cubicBezTo>
                  <a:cubicBezTo>
                    <a:pt x="19" y="224"/>
                    <a:pt x="16" y="226"/>
                    <a:pt x="14" y="230"/>
                  </a:cubicBezTo>
                  <a:cubicBezTo>
                    <a:pt x="3" y="251"/>
                    <a:pt x="3" y="251"/>
                    <a:pt x="3" y="251"/>
                  </a:cubicBezTo>
                  <a:cubicBezTo>
                    <a:pt x="0" y="256"/>
                    <a:pt x="3" y="263"/>
                    <a:pt x="8" y="265"/>
                  </a:cubicBezTo>
                  <a:cubicBezTo>
                    <a:pt x="9" y="266"/>
                    <a:pt x="11" y="266"/>
                    <a:pt x="13" y="266"/>
                  </a:cubicBezTo>
                  <a:cubicBezTo>
                    <a:pt x="17" y="266"/>
                    <a:pt x="20" y="264"/>
                    <a:pt x="22" y="260"/>
                  </a:cubicBezTo>
                  <a:cubicBezTo>
                    <a:pt x="24" y="256"/>
                    <a:pt x="24" y="256"/>
                    <a:pt x="24" y="256"/>
                  </a:cubicBezTo>
                  <a:cubicBezTo>
                    <a:pt x="50" y="295"/>
                    <a:pt x="93" y="320"/>
                    <a:pt x="141" y="320"/>
                  </a:cubicBezTo>
                  <a:cubicBezTo>
                    <a:pt x="188" y="320"/>
                    <a:pt x="232" y="295"/>
                    <a:pt x="257" y="256"/>
                  </a:cubicBezTo>
                  <a:cubicBezTo>
                    <a:pt x="259" y="260"/>
                    <a:pt x="259" y="260"/>
                    <a:pt x="259" y="260"/>
                  </a:cubicBezTo>
                  <a:cubicBezTo>
                    <a:pt x="261" y="264"/>
                    <a:pt x="265" y="266"/>
                    <a:pt x="269" y="266"/>
                  </a:cubicBezTo>
                  <a:cubicBezTo>
                    <a:pt x="270" y="266"/>
                    <a:pt x="272" y="266"/>
                    <a:pt x="273" y="265"/>
                  </a:cubicBezTo>
                  <a:cubicBezTo>
                    <a:pt x="279" y="263"/>
                    <a:pt x="281" y="256"/>
                    <a:pt x="278" y="251"/>
                  </a:cubicBezTo>
                  <a:close/>
                  <a:moveTo>
                    <a:pt x="119" y="42"/>
                  </a:moveTo>
                  <a:cubicBezTo>
                    <a:pt x="119" y="31"/>
                    <a:pt x="129" y="21"/>
                    <a:pt x="141" y="21"/>
                  </a:cubicBezTo>
                  <a:cubicBezTo>
                    <a:pt x="152" y="21"/>
                    <a:pt x="162" y="31"/>
                    <a:pt x="162" y="42"/>
                  </a:cubicBezTo>
                  <a:cubicBezTo>
                    <a:pt x="162" y="54"/>
                    <a:pt x="152" y="64"/>
                    <a:pt x="141" y="64"/>
                  </a:cubicBezTo>
                  <a:cubicBezTo>
                    <a:pt x="129" y="64"/>
                    <a:pt x="119" y="54"/>
                    <a:pt x="119"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6" name="Freeform 498">
            <a:extLst>
              <a:ext uri="{FF2B5EF4-FFF2-40B4-BE49-F238E27FC236}">
                <a16:creationId xmlns:a16="http://schemas.microsoft.com/office/drawing/2014/main" id="{F6A9E9A6-990E-4144-9581-E9C346A73DAD}"/>
              </a:ext>
            </a:extLst>
          </p:cNvPr>
          <p:cNvSpPr>
            <a:spLocks noChangeAspect="1" noEditPoints="1"/>
          </p:cNvSpPr>
          <p:nvPr/>
        </p:nvSpPr>
        <p:spPr bwMode="auto">
          <a:xfrm>
            <a:off x="1344799" y="1698655"/>
            <a:ext cx="367982" cy="367982"/>
          </a:xfrm>
          <a:custGeom>
            <a:avLst/>
            <a:gdLst>
              <a:gd name="T0" fmla="*/ 289 w 512"/>
              <a:gd name="T1" fmla="*/ 288 h 512"/>
              <a:gd name="T2" fmla="*/ 298 w 512"/>
              <a:gd name="T3" fmla="*/ 224 h 512"/>
              <a:gd name="T4" fmla="*/ 212 w 512"/>
              <a:gd name="T5" fmla="*/ 213 h 512"/>
              <a:gd name="T6" fmla="*/ 280 w 512"/>
              <a:gd name="T7" fmla="*/ 213 h 512"/>
              <a:gd name="T8" fmla="*/ 334 w 512"/>
              <a:gd name="T9" fmla="*/ 288 h 512"/>
              <a:gd name="T10" fmla="*/ 311 w 512"/>
              <a:gd name="T11" fmla="*/ 288 h 512"/>
              <a:gd name="T12" fmla="*/ 170 w 512"/>
              <a:gd name="T13" fmla="*/ 301 h 512"/>
              <a:gd name="T14" fmla="*/ 157 w 512"/>
              <a:gd name="T15" fmla="*/ 309 h 512"/>
              <a:gd name="T16" fmla="*/ 162 w 512"/>
              <a:gd name="T17" fmla="*/ 256 h 512"/>
              <a:gd name="T18" fmla="*/ 117 w 512"/>
              <a:gd name="T19" fmla="*/ 298 h 512"/>
              <a:gd name="T20" fmla="*/ 202 w 512"/>
              <a:gd name="T21" fmla="*/ 298 h 512"/>
              <a:gd name="T22" fmla="*/ 170 w 512"/>
              <a:gd name="T23" fmla="*/ 301 h 512"/>
              <a:gd name="T24" fmla="*/ 256 w 512"/>
              <a:gd name="T25" fmla="*/ 512 h 512"/>
              <a:gd name="T26" fmla="*/ 256 w 512"/>
              <a:gd name="T27" fmla="*/ 0 h 512"/>
              <a:gd name="T28" fmla="*/ 416 w 512"/>
              <a:gd name="T29" fmla="*/ 298 h 512"/>
              <a:gd name="T30" fmla="*/ 330 w 512"/>
              <a:gd name="T31" fmla="*/ 238 h 512"/>
              <a:gd name="T32" fmla="*/ 316 w 512"/>
              <a:gd name="T33" fmla="*/ 181 h 512"/>
              <a:gd name="T34" fmla="*/ 341 w 512"/>
              <a:gd name="T35" fmla="*/ 170 h 512"/>
              <a:gd name="T36" fmla="*/ 288 w 512"/>
              <a:gd name="T37" fmla="*/ 160 h 512"/>
              <a:gd name="T38" fmla="*/ 288 w 512"/>
              <a:gd name="T39" fmla="*/ 181 h 512"/>
              <a:gd name="T40" fmla="*/ 289 w 512"/>
              <a:gd name="T41" fmla="*/ 192 h 512"/>
              <a:gd name="T42" fmla="*/ 210 w 512"/>
              <a:gd name="T43" fmla="*/ 170 h 512"/>
              <a:gd name="T44" fmla="*/ 234 w 512"/>
              <a:gd name="T45" fmla="*/ 160 h 512"/>
              <a:gd name="T46" fmla="*/ 202 w 512"/>
              <a:gd name="T47" fmla="*/ 149 h 512"/>
              <a:gd name="T48" fmla="*/ 168 w 512"/>
              <a:gd name="T49" fmla="*/ 235 h 512"/>
              <a:gd name="T50" fmla="*/ 96 w 512"/>
              <a:gd name="T51" fmla="*/ 298 h 512"/>
              <a:gd name="T52" fmla="*/ 224 w 512"/>
              <a:gd name="T53" fmla="*/ 298 h 512"/>
              <a:gd name="T54" fmla="*/ 194 w 512"/>
              <a:gd name="T55" fmla="*/ 224 h 512"/>
              <a:gd name="T56" fmla="*/ 256 w 512"/>
              <a:gd name="T57" fmla="*/ 309 h 512"/>
              <a:gd name="T58" fmla="*/ 289 w 512"/>
              <a:gd name="T59" fmla="*/ 309 h 512"/>
              <a:gd name="T60" fmla="*/ 416 w 512"/>
              <a:gd name="T61" fmla="*/ 298 h 512"/>
              <a:gd name="T62" fmla="*/ 341 w 512"/>
              <a:gd name="T63" fmla="*/ 257 h 512"/>
              <a:gd name="T64" fmla="*/ 361 w 512"/>
              <a:gd name="T65" fmla="*/ 304 h 512"/>
              <a:gd name="T66" fmla="*/ 311 w 512"/>
              <a:gd name="T67" fmla="*/ 309 h 512"/>
              <a:gd name="T68" fmla="*/ 394 w 512"/>
              <a:gd name="T69"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12" y="248"/>
                </a:moveTo>
                <a:cubicBezTo>
                  <a:pt x="300" y="258"/>
                  <a:pt x="291" y="272"/>
                  <a:pt x="289" y="288"/>
                </a:cubicBezTo>
                <a:cubicBezTo>
                  <a:pt x="272" y="288"/>
                  <a:pt x="272" y="288"/>
                  <a:pt x="272" y="288"/>
                </a:cubicBezTo>
                <a:cubicBezTo>
                  <a:pt x="298" y="224"/>
                  <a:pt x="298" y="224"/>
                  <a:pt x="298" y="224"/>
                </a:cubicBezTo>
                <a:lnTo>
                  <a:pt x="312" y="248"/>
                </a:lnTo>
                <a:close/>
                <a:moveTo>
                  <a:pt x="212" y="213"/>
                </a:moveTo>
                <a:cubicBezTo>
                  <a:pt x="253" y="276"/>
                  <a:pt x="253" y="276"/>
                  <a:pt x="253" y="276"/>
                </a:cubicBezTo>
                <a:cubicBezTo>
                  <a:pt x="280" y="213"/>
                  <a:pt x="280" y="213"/>
                  <a:pt x="280" y="213"/>
                </a:cubicBezTo>
                <a:lnTo>
                  <a:pt x="212" y="213"/>
                </a:lnTo>
                <a:close/>
                <a:moveTo>
                  <a:pt x="334" y="288"/>
                </a:moveTo>
                <a:cubicBezTo>
                  <a:pt x="322" y="267"/>
                  <a:pt x="322" y="267"/>
                  <a:pt x="322" y="267"/>
                </a:cubicBezTo>
                <a:cubicBezTo>
                  <a:pt x="317" y="273"/>
                  <a:pt x="313" y="280"/>
                  <a:pt x="311" y="288"/>
                </a:cubicBezTo>
                <a:lnTo>
                  <a:pt x="334" y="288"/>
                </a:lnTo>
                <a:close/>
                <a:moveTo>
                  <a:pt x="170" y="301"/>
                </a:moveTo>
                <a:cubicBezTo>
                  <a:pt x="168" y="306"/>
                  <a:pt x="164" y="309"/>
                  <a:pt x="160" y="309"/>
                </a:cubicBezTo>
                <a:cubicBezTo>
                  <a:pt x="159" y="309"/>
                  <a:pt x="158" y="309"/>
                  <a:pt x="157" y="309"/>
                </a:cubicBezTo>
                <a:cubicBezTo>
                  <a:pt x="151" y="307"/>
                  <a:pt x="148" y="301"/>
                  <a:pt x="149" y="295"/>
                </a:cubicBezTo>
                <a:cubicBezTo>
                  <a:pt x="162" y="256"/>
                  <a:pt x="162" y="256"/>
                  <a:pt x="162" y="256"/>
                </a:cubicBezTo>
                <a:cubicBezTo>
                  <a:pt x="161" y="256"/>
                  <a:pt x="160" y="256"/>
                  <a:pt x="160" y="256"/>
                </a:cubicBezTo>
                <a:cubicBezTo>
                  <a:pt x="136" y="256"/>
                  <a:pt x="117" y="275"/>
                  <a:pt x="117" y="298"/>
                </a:cubicBezTo>
                <a:cubicBezTo>
                  <a:pt x="117" y="322"/>
                  <a:pt x="136" y="341"/>
                  <a:pt x="160" y="341"/>
                </a:cubicBezTo>
                <a:cubicBezTo>
                  <a:pt x="183" y="341"/>
                  <a:pt x="202" y="322"/>
                  <a:pt x="202" y="298"/>
                </a:cubicBezTo>
                <a:cubicBezTo>
                  <a:pt x="202" y="283"/>
                  <a:pt x="194" y="270"/>
                  <a:pt x="182" y="262"/>
                </a:cubicBezTo>
                <a:lnTo>
                  <a:pt x="170" y="30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8"/>
                </a:moveTo>
                <a:cubicBezTo>
                  <a:pt x="416" y="263"/>
                  <a:pt x="387" y="234"/>
                  <a:pt x="352" y="234"/>
                </a:cubicBezTo>
                <a:cubicBezTo>
                  <a:pt x="344" y="234"/>
                  <a:pt x="337" y="236"/>
                  <a:pt x="330" y="238"/>
                </a:cubicBezTo>
                <a:cubicBezTo>
                  <a:pt x="309" y="199"/>
                  <a:pt x="309" y="199"/>
                  <a:pt x="309" y="199"/>
                </a:cubicBezTo>
                <a:cubicBezTo>
                  <a:pt x="316" y="181"/>
                  <a:pt x="316" y="181"/>
                  <a:pt x="316" y="181"/>
                </a:cubicBezTo>
                <a:cubicBezTo>
                  <a:pt x="330" y="181"/>
                  <a:pt x="330" y="181"/>
                  <a:pt x="330" y="181"/>
                </a:cubicBezTo>
                <a:cubicBezTo>
                  <a:pt x="336" y="181"/>
                  <a:pt x="341" y="176"/>
                  <a:pt x="341" y="170"/>
                </a:cubicBezTo>
                <a:cubicBezTo>
                  <a:pt x="341" y="164"/>
                  <a:pt x="336" y="160"/>
                  <a:pt x="330" y="160"/>
                </a:cubicBezTo>
                <a:cubicBezTo>
                  <a:pt x="288" y="160"/>
                  <a:pt x="288" y="160"/>
                  <a:pt x="288" y="160"/>
                </a:cubicBezTo>
                <a:cubicBezTo>
                  <a:pt x="282" y="160"/>
                  <a:pt x="277" y="164"/>
                  <a:pt x="277" y="170"/>
                </a:cubicBezTo>
                <a:cubicBezTo>
                  <a:pt x="277" y="176"/>
                  <a:pt x="282" y="181"/>
                  <a:pt x="288" y="181"/>
                </a:cubicBezTo>
                <a:cubicBezTo>
                  <a:pt x="293" y="181"/>
                  <a:pt x="293" y="181"/>
                  <a:pt x="293" y="181"/>
                </a:cubicBezTo>
                <a:cubicBezTo>
                  <a:pt x="289" y="192"/>
                  <a:pt x="289" y="192"/>
                  <a:pt x="289" y="192"/>
                </a:cubicBezTo>
                <a:cubicBezTo>
                  <a:pt x="204" y="192"/>
                  <a:pt x="204" y="192"/>
                  <a:pt x="204" y="192"/>
                </a:cubicBezTo>
                <a:cubicBezTo>
                  <a:pt x="210" y="170"/>
                  <a:pt x="210" y="170"/>
                  <a:pt x="210" y="170"/>
                </a:cubicBezTo>
                <a:cubicBezTo>
                  <a:pt x="224" y="170"/>
                  <a:pt x="224" y="170"/>
                  <a:pt x="224" y="170"/>
                </a:cubicBezTo>
                <a:cubicBezTo>
                  <a:pt x="230" y="170"/>
                  <a:pt x="234" y="166"/>
                  <a:pt x="234" y="160"/>
                </a:cubicBezTo>
                <a:cubicBezTo>
                  <a:pt x="234" y="154"/>
                  <a:pt x="230" y="149"/>
                  <a:pt x="224" y="149"/>
                </a:cubicBezTo>
                <a:cubicBezTo>
                  <a:pt x="202" y="149"/>
                  <a:pt x="202" y="149"/>
                  <a:pt x="202" y="149"/>
                </a:cubicBezTo>
                <a:cubicBezTo>
                  <a:pt x="198" y="149"/>
                  <a:pt x="194" y="152"/>
                  <a:pt x="192" y="157"/>
                </a:cubicBezTo>
                <a:cubicBezTo>
                  <a:pt x="168" y="235"/>
                  <a:pt x="168" y="235"/>
                  <a:pt x="168" y="235"/>
                </a:cubicBezTo>
                <a:cubicBezTo>
                  <a:pt x="165" y="235"/>
                  <a:pt x="163" y="234"/>
                  <a:pt x="160" y="234"/>
                </a:cubicBezTo>
                <a:cubicBezTo>
                  <a:pt x="124" y="234"/>
                  <a:pt x="96" y="263"/>
                  <a:pt x="96" y="298"/>
                </a:cubicBezTo>
                <a:cubicBezTo>
                  <a:pt x="96" y="334"/>
                  <a:pt x="124" y="362"/>
                  <a:pt x="160" y="362"/>
                </a:cubicBezTo>
                <a:cubicBezTo>
                  <a:pt x="195" y="362"/>
                  <a:pt x="224" y="334"/>
                  <a:pt x="224" y="298"/>
                </a:cubicBezTo>
                <a:cubicBezTo>
                  <a:pt x="224" y="273"/>
                  <a:pt x="209" y="252"/>
                  <a:pt x="188" y="241"/>
                </a:cubicBezTo>
                <a:cubicBezTo>
                  <a:pt x="194" y="224"/>
                  <a:pt x="194" y="224"/>
                  <a:pt x="194" y="224"/>
                </a:cubicBezTo>
                <a:cubicBezTo>
                  <a:pt x="247" y="304"/>
                  <a:pt x="247" y="304"/>
                  <a:pt x="247" y="304"/>
                </a:cubicBezTo>
                <a:cubicBezTo>
                  <a:pt x="249" y="307"/>
                  <a:pt x="252" y="309"/>
                  <a:pt x="256" y="309"/>
                </a:cubicBezTo>
                <a:cubicBezTo>
                  <a:pt x="256" y="309"/>
                  <a:pt x="256" y="309"/>
                  <a:pt x="256" y="309"/>
                </a:cubicBezTo>
                <a:cubicBezTo>
                  <a:pt x="289" y="309"/>
                  <a:pt x="289" y="309"/>
                  <a:pt x="289" y="309"/>
                </a:cubicBezTo>
                <a:cubicBezTo>
                  <a:pt x="294" y="339"/>
                  <a:pt x="320" y="362"/>
                  <a:pt x="352" y="362"/>
                </a:cubicBezTo>
                <a:cubicBezTo>
                  <a:pt x="387" y="362"/>
                  <a:pt x="416" y="334"/>
                  <a:pt x="416" y="298"/>
                </a:cubicBezTo>
                <a:close/>
                <a:moveTo>
                  <a:pt x="352" y="256"/>
                </a:moveTo>
                <a:cubicBezTo>
                  <a:pt x="348" y="256"/>
                  <a:pt x="344" y="256"/>
                  <a:pt x="341" y="257"/>
                </a:cubicBezTo>
                <a:cubicBezTo>
                  <a:pt x="361" y="293"/>
                  <a:pt x="361" y="293"/>
                  <a:pt x="361" y="293"/>
                </a:cubicBezTo>
                <a:cubicBezTo>
                  <a:pt x="363" y="296"/>
                  <a:pt x="363" y="300"/>
                  <a:pt x="361" y="304"/>
                </a:cubicBezTo>
                <a:cubicBezTo>
                  <a:pt x="359" y="307"/>
                  <a:pt x="355" y="309"/>
                  <a:pt x="352" y="309"/>
                </a:cubicBezTo>
                <a:cubicBezTo>
                  <a:pt x="311" y="309"/>
                  <a:pt x="311" y="309"/>
                  <a:pt x="311" y="309"/>
                </a:cubicBezTo>
                <a:cubicBezTo>
                  <a:pt x="315" y="327"/>
                  <a:pt x="332" y="341"/>
                  <a:pt x="352" y="341"/>
                </a:cubicBezTo>
                <a:cubicBezTo>
                  <a:pt x="375" y="341"/>
                  <a:pt x="394" y="322"/>
                  <a:pt x="394" y="298"/>
                </a:cubicBezTo>
                <a:cubicBezTo>
                  <a:pt x="394" y="275"/>
                  <a:pt x="375" y="256"/>
                  <a:pt x="352" y="2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7" name="Group 501">
            <a:extLst>
              <a:ext uri="{FF2B5EF4-FFF2-40B4-BE49-F238E27FC236}">
                <a16:creationId xmlns:a16="http://schemas.microsoft.com/office/drawing/2014/main" id="{1AD4754B-EDAB-46E1-ADD3-05DE041A8B3F}"/>
              </a:ext>
            </a:extLst>
          </p:cNvPr>
          <p:cNvGrpSpPr>
            <a:grpSpLocks noChangeAspect="1"/>
          </p:cNvGrpSpPr>
          <p:nvPr/>
        </p:nvGrpSpPr>
        <p:grpSpPr bwMode="auto">
          <a:xfrm>
            <a:off x="1779279" y="1698655"/>
            <a:ext cx="367982" cy="367982"/>
            <a:chOff x="3419" y="2995"/>
            <a:chExt cx="340" cy="340"/>
          </a:xfrm>
          <a:solidFill>
            <a:schemeClr val="accent6"/>
          </a:solidFill>
        </p:grpSpPr>
        <p:sp>
          <p:nvSpPr>
            <p:cNvPr id="248" name="Freeform 502">
              <a:extLst>
                <a:ext uri="{FF2B5EF4-FFF2-40B4-BE49-F238E27FC236}">
                  <a16:creationId xmlns:a16="http://schemas.microsoft.com/office/drawing/2014/main" id="{EC7C5AB4-6654-4303-9148-53B4246A4CFF}"/>
                </a:ext>
              </a:extLst>
            </p:cNvPr>
            <p:cNvSpPr>
              <a:spLocks noEditPoints="1"/>
            </p:cNvSpPr>
            <p:nvPr/>
          </p:nvSpPr>
          <p:spPr bwMode="auto">
            <a:xfrm>
              <a:off x="3419" y="2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9" name="Freeform 503">
              <a:extLst>
                <a:ext uri="{FF2B5EF4-FFF2-40B4-BE49-F238E27FC236}">
                  <a16:creationId xmlns:a16="http://schemas.microsoft.com/office/drawing/2014/main" id="{478B6CA9-47E2-48DE-8237-36A22AE8012B}"/>
                </a:ext>
              </a:extLst>
            </p:cNvPr>
            <p:cNvSpPr>
              <a:spLocks noEditPoints="1"/>
            </p:cNvSpPr>
            <p:nvPr/>
          </p:nvSpPr>
          <p:spPr bwMode="auto">
            <a:xfrm>
              <a:off x="3483" y="3094"/>
              <a:ext cx="212" cy="141"/>
            </a:xfrm>
            <a:custGeom>
              <a:avLst/>
              <a:gdLst>
                <a:gd name="T0" fmla="*/ 234 w 320"/>
                <a:gd name="T1" fmla="*/ 89 h 213"/>
                <a:gd name="T2" fmla="*/ 220 w 320"/>
                <a:gd name="T3" fmla="*/ 32 h 213"/>
                <a:gd name="T4" fmla="*/ 245 w 320"/>
                <a:gd name="T5" fmla="*/ 21 h 213"/>
                <a:gd name="T6" fmla="*/ 192 w 320"/>
                <a:gd name="T7" fmla="*/ 11 h 213"/>
                <a:gd name="T8" fmla="*/ 192 w 320"/>
                <a:gd name="T9" fmla="*/ 32 h 213"/>
                <a:gd name="T10" fmla="*/ 193 w 320"/>
                <a:gd name="T11" fmla="*/ 43 h 213"/>
                <a:gd name="T12" fmla="*/ 114 w 320"/>
                <a:gd name="T13" fmla="*/ 21 h 213"/>
                <a:gd name="T14" fmla="*/ 138 w 320"/>
                <a:gd name="T15" fmla="*/ 11 h 213"/>
                <a:gd name="T16" fmla="*/ 106 w 320"/>
                <a:gd name="T17" fmla="*/ 0 h 213"/>
                <a:gd name="T18" fmla="*/ 72 w 320"/>
                <a:gd name="T19" fmla="*/ 86 h 213"/>
                <a:gd name="T20" fmla="*/ 0 w 320"/>
                <a:gd name="T21" fmla="*/ 149 h 213"/>
                <a:gd name="T22" fmla="*/ 128 w 320"/>
                <a:gd name="T23" fmla="*/ 149 h 213"/>
                <a:gd name="T24" fmla="*/ 98 w 320"/>
                <a:gd name="T25" fmla="*/ 75 h 213"/>
                <a:gd name="T26" fmla="*/ 160 w 320"/>
                <a:gd name="T27" fmla="*/ 160 h 213"/>
                <a:gd name="T28" fmla="*/ 193 w 320"/>
                <a:gd name="T29" fmla="*/ 160 h 213"/>
                <a:gd name="T30" fmla="*/ 320 w 320"/>
                <a:gd name="T31" fmla="*/ 149 h 213"/>
                <a:gd name="T32" fmla="*/ 106 w 320"/>
                <a:gd name="T33" fmla="*/ 149 h 213"/>
                <a:gd name="T34" fmla="*/ 21 w 320"/>
                <a:gd name="T35" fmla="*/ 149 h 213"/>
                <a:gd name="T36" fmla="*/ 66 w 320"/>
                <a:gd name="T37" fmla="*/ 107 h 213"/>
                <a:gd name="T38" fmla="*/ 61 w 320"/>
                <a:gd name="T39" fmla="*/ 160 h 213"/>
                <a:gd name="T40" fmla="*/ 74 w 320"/>
                <a:gd name="T41" fmla="*/ 152 h 213"/>
                <a:gd name="T42" fmla="*/ 106 w 320"/>
                <a:gd name="T43" fmla="*/ 149 h 213"/>
                <a:gd name="T44" fmla="*/ 193 w 320"/>
                <a:gd name="T45" fmla="*/ 139 h 213"/>
                <a:gd name="T46" fmla="*/ 202 w 320"/>
                <a:gd name="T47" fmla="*/ 75 h 213"/>
                <a:gd name="T48" fmla="*/ 238 w 320"/>
                <a:gd name="T49" fmla="*/ 139 h 213"/>
                <a:gd name="T50" fmla="*/ 226 w 320"/>
                <a:gd name="T51" fmla="*/ 118 h 213"/>
                <a:gd name="T52" fmla="*/ 157 w 320"/>
                <a:gd name="T53" fmla="*/ 127 h 213"/>
                <a:gd name="T54" fmla="*/ 184 w 320"/>
                <a:gd name="T55" fmla="*/ 64 h 213"/>
                <a:gd name="T56" fmla="*/ 256 w 320"/>
                <a:gd name="T57" fmla="*/ 192 h 213"/>
                <a:gd name="T58" fmla="*/ 256 w 320"/>
                <a:gd name="T59" fmla="*/ 160 h 213"/>
                <a:gd name="T60" fmla="*/ 265 w 320"/>
                <a:gd name="T61" fmla="*/ 144 h 213"/>
                <a:gd name="T62" fmla="*/ 256 w 320"/>
                <a:gd name="T63" fmla="*/ 107 h 213"/>
                <a:gd name="T64" fmla="*/ 256 w 320"/>
                <a:gd name="T65"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213">
                  <a:moveTo>
                    <a:pt x="256" y="85"/>
                  </a:moveTo>
                  <a:cubicBezTo>
                    <a:pt x="248" y="85"/>
                    <a:pt x="241" y="87"/>
                    <a:pt x="234" y="89"/>
                  </a:cubicBezTo>
                  <a:cubicBezTo>
                    <a:pt x="213" y="50"/>
                    <a:pt x="213" y="50"/>
                    <a:pt x="213" y="50"/>
                  </a:cubicBezTo>
                  <a:cubicBezTo>
                    <a:pt x="220" y="32"/>
                    <a:pt x="220" y="32"/>
                    <a:pt x="220" y="32"/>
                  </a:cubicBezTo>
                  <a:cubicBezTo>
                    <a:pt x="234" y="32"/>
                    <a:pt x="234" y="32"/>
                    <a:pt x="234" y="32"/>
                  </a:cubicBezTo>
                  <a:cubicBezTo>
                    <a:pt x="240" y="32"/>
                    <a:pt x="245" y="27"/>
                    <a:pt x="245" y="21"/>
                  </a:cubicBezTo>
                  <a:cubicBezTo>
                    <a:pt x="245" y="15"/>
                    <a:pt x="240" y="11"/>
                    <a:pt x="234" y="11"/>
                  </a:cubicBezTo>
                  <a:cubicBezTo>
                    <a:pt x="192" y="11"/>
                    <a:pt x="192" y="11"/>
                    <a:pt x="192" y="11"/>
                  </a:cubicBezTo>
                  <a:cubicBezTo>
                    <a:pt x="186" y="11"/>
                    <a:pt x="181" y="15"/>
                    <a:pt x="181" y="21"/>
                  </a:cubicBezTo>
                  <a:cubicBezTo>
                    <a:pt x="181" y="27"/>
                    <a:pt x="186" y="32"/>
                    <a:pt x="192" y="32"/>
                  </a:cubicBezTo>
                  <a:cubicBezTo>
                    <a:pt x="197" y="32"/>
                    <a:pt x="197" y="32"/>
                    <a:pt x="197" y="32"/>
                  </a:cubicBezTo>
                  <a:cubicBezTo>
                    <a:pt x="193" y="43"/>
                    <a:pt x="193" y="43"/>
                    <a:pt x="193" y="43"/>
                  </a:cubicBezTo>
                  <a:cubicBezTo>
                    <a:pt x="108" y="43"/>
                    <a:pt x="108" y="43"/>
                    <a:pt x="108" y="43"/>
                  </a:cubicBezTo>
                  <a:cubicBezTo>
                    <a:pt x="114" y="21"/>
                    <a:pt x="114" y="21"/>
                    <a:pt x="114" y="21"/>
                  </a:cubicBezTo>
                  <a:cubicBezTo>
                    <a:pt x="128" y="21"/>
                    <a:pt x="128" y="21"/>
                    <a:pt x="128" y="21"/>
                  </a:cubicBezTo>
                  <a:cubicBezTo>
                    <a:pt x="134" y="21"/>
                    <a:pt x="138" y="17"/>
                    <a:pt x="138" y="11"/>
                  </a:cubicBezTo>
                  <a:cubicBezTo>
                    <a:pt x="138" y="5"/>
                    <a:pt x="134" y="0"/>
                    <a:pt x="128" y="0"/>
                  </a:cubicBezTo>
                  <a:cubicBezTo>
                    <a:pt x="106" y="0"/>
                    <a:pt x="106" y="0"/>
                    <a:pt x="106" y="0"/>
                  </a:cubicBezTo>
                  <a:cubicBezTo>
                    <a:pt x="102" y="0"/>
                    <a:pt x="98" y="3"/>
                    <a:pt x="96" y="8"/>
                  </a:cubicBezTo>
                  <a:cubicBezTo>
                    <a:pt x="72" y="86"/>
                    <a:pt x="72" y="86"/>
                    <a:pt x="72" y="86"/>
                  </a:cubicBezTo>
                  <a:cubicBezTo>
                    <a:pt x="69" y="86"/>
                    <a:pt x="67" y="85"/>
                    <a:pt x="64" y="85"/>
                  </a:cubicBezTo>
                  <a:cubicBezTo>
                    <a:pt x="28" y="85"/>
                    <a:pt x="0" y="114"/>
                    <a:pt x="0" y="149"/>
                  </a:cubicBezTo>
                  <a:cubicBezTo>
                    <a:pt x="0" y="185"/>
                    <a:pt x="28" y="213"/>
                    <a:pt x="64" y="213"/>
                  </a:cubicBezTo>
                  <a:cubicBezTo>
                    <a:pt x="99" y="213"/>
                    <a:pt x="128" y="185"/>
                    <a:pt x="128" y="149"/>
                  </a:cubicBezTo>
                  <a:cubicBezTo>
                    <a:pt x="128" y="124"/>
                    <a:pt x="113" y="103"/>
                    <a:pt x="92" y="92"/>
                  </a:cubicBezTo>
                  <a:cubicBezTo>
                    <a:pt x="98" y="75"/>
                    <a:pt x="98" y="75"/>
                    <a:pt x="98" y="75"/>
                  </a:cubicBezTo>
                  <a:cubicBezTo>
                    <a:pt x="151" y="155"/>
                    <a:pt x="151" y="155"/>
                    <a:pt x="151" y="155"/>
                  </a:cubicBezTo>
                  <a:cubicBezTo>
                    <a:pt x="153" y="158"/>
                    <a:pt x="156" y="160"/>
                    <a:pt x="160" y="160"/>
                  </a:cubicBezTo>
                  <a:cubicBezTo>
                    <a:pt x="160" y="160"/>
                    <a:pt x="160" y="160"/>
                    <a:pt x="160" y="160"/>
                  </a:cubicBezTo>
                  <a:cubicBezTo>
                    <a:pt x="193" y="160"/>
                    <a:pt x="193" y="160"/>
                    <a:pt x="193" y="160"/>
                  </a:cubicBezTo>
                  <a:cubicBezTo>
                    <a:pt x="198" y="190"/>
                    <a:pt x="224" y="213"/>
                    <a:pt x="256" y="213"/>
                  </a:cubicBezTo>
                  <a:cubicBezTo>
                    <a:pt x="291" y="213"/>
                    <a:pt x="320" y="185"/>
                    <a:pt x="320" y="149"/>
                  </a:cubicBezTo>
                  <a:cubicBezTo>
                    <a:pt x="320" y="114"/>
                    <a:pt x="291" y="85"/>
                    <a:pt x="256" y="85"/>
                  </a:cubicBezTo>
                  <a:close/>
                  <a:moveTo>
                    <a:pt x="106" y="149"/>
                  </a:moveTo>
                  <a:cubicBezTo>
                    <a:pt x="106" y="173"/>
                    <a:pt x="87" y="192"/>
                    <a:pt x="64" y="192"/>
                  </a:cubicBezTo>
                  <a:cubicBezTo>
                    <a:pt x="40" y="192"/>
                    <a:pt x="21" y="173"/>
                    <a:pt x="21" y="149"/>
                  </a:cubicBezTo>
                  <a:cubicBezTo>
                    <a:pt x="21" y="126"/>
                    <a:pt x="40" y="107"/>
                    <a:pt x="64" y="107"/>
                  </a:cubicBezTo>
                  <a:cubicBezTo>
                    <a:pt x="64" y="107"/>
                    <a:pt x="65" y="107"/>
                    <a:pt x="66" y="107"/>
                  </a:cubicBezTo>
                  <a:cubicBezTo>
                    <a:pt x="53" y="146"/>
                    <a:pt x="53" y="146"/>
                    <a:pt x="53" y="146"/>
                  </a:cubicBezTo>
                  <a:cubicBezTo>
                    <a:pt x="52" y="152"/>
                    <a:pt x="55" y="158"/>
                    <a:pt x="61" y="160"/>
                  </a:cubicBezTo>
                  <a:cubicBezTo>
                    <a:pt x="62" y="160"/>
                    <a:pt x="63" y="160"/>
                    <a:pt x="64" y="160"/>
                  </a:cubicBezTo>
                  <a:cubicBezTo>
                    <a:pt x="68" y="160"/>
                    <a:pt x="72" y="157"/>
                    <a:pt x="74" y="152"/>
                  </a:cubicBezTo>
                  <a:cubicBezTo>
                    <a:pt x="86" y="113"/>
                    <a:pt x="86" y="113"/>
                    <a:pt x="86" y="113"/>
                  </a:cubicBezTo>
                  <a:cubicBezTo>
                    <a:pt x="98" y="121"/>
                    <a:pt x="106" y="134"/>
                    <a:pt x="106" y="149"/>
                  </a:cubicBezTo>
                  <a:close/>
                  <a:moveTo>
                    <a:pt x="216" y="99"/>
                  </a:moveTo>
                  <a:cubicBezTo>
                    <a:pt x="204" y="109"/>
                    <a:pt x="195" y="123"/>
                    <a:pt x="193" y="139"/>
                  </a:cubicBezTo>
                  <a:cubicBezTo>
                    <a:pt x="176" y="139"/>
                    <a:pt x="176" y="139"/>
                    <a:pt x="176" y="139"/>
                  </a:cubicBezTo>
                  <a:cubicBezTo>
                    <a:pt x="202" y="75"/>
                    <a:pt x="202" y="75"/>
                    <a:pt x="202" y="75"/>
                  </a:cubicBezTo>
                  <a:lnTo>
                    <a:pt x="216" y="99"/>
                  </a:lnTo>
                  <a:close/>
                  <a:moveTo>
                    <a:pt x="238" y="139"/>
                  </a:moveTo>
                  <a:cubicBezTo>
                    <a:pt x="215" y="139"/>
                    <a:pt x="215" y="139"/>
                    <a:pt x="215" y="139"/>
                  </a:cubicBezTo>
                  <a:cubicBezTo>
                    <a:pt x="217" y="131"/>
                    <a:pt x="221" y="124"/>
                    <a:pt x="226" y="118"/>
                  </a:cubicBezTo>
                  <a:lnTo>
                    <a:pt x="238" y="139"/>
                  </a:lnTo>
                  <a:close/>
                  <a:moveTo>
                    <a:pt x="157" y="127"/>
                  </a:moveTo>
                  <a:cubicBezTo>
                    <a:pt x="116" y="64"/>
                    <a:pt x="116" y="64"/>
                    <a:pt x="116" y="64"/>
                  </a:cubicBezTo>
                  <a:cubicBezTo>
                    <a:pt x="184" y="64"/>
                    <a:pt x="184" y="64"/>
                    <a:pt x="184" y="64"/>
                  </a:cubicBezTo>
                  <a:lnTo>
                    <a:pt x="157" y="127"/>
                  </a:lnTo>
                  <a:close/>
                  <a:moveTo>
                    <a:pt x="256" y="192"/>
                  </a:moveTo>
                  <a:cubicBezTo>
                    <a:pt x="236" y="192"/>
                    <a:pt x="219" y="178"/>
                    <a:pt x="215" y="160"/>
                  </a:cubicBezTo>
                  <a:cubicBezTo>
                    <a:pt x="256" y="160"/>
                    <a:pt x="256" y="160"/>
                    <a:pt x="256" y="160"/>
                  </a:cubicBezTo>
                  <a:cubicBezTo>
                    <a:pt x="259" y="160"/>
                    <a:pt x="263" y="158"/>
                    <a:pt x="265" y="155"/>
                  </a:cubicBezTo>
                  <a:cubicBezTo>
                    <a:pt x="267" y="151"/>
                    <a:pt x="267" y="147"/>
                    <a:pt x="265" y="144"/>
                  </a:cubicBezTo>
                  <a:cubicBezTo>
                    <a:pt x="245" y="108"/>
                    <a:pt x="245" y="108"/>
                    <a:pt x="245" y="108"/>
                  </a:cubicBezTo>
                  <a:cubicBezTo>
                    <a:pt x="248" y="107"/>
                    <a:pt x="252" y="107"/>
                    <a:pt x="256" y="107"/>
                  </a:cubicBezTo>
                  <a:cubicBezTo>
                    <a:pt x="279" y="107"/>
                    <a:pt x="298" y="126"/>
                    <a:pt x="298" y="149"/>
                  </a:cubicBezTo>
                  <a:cubicBezTo>
                    <a:pt x="298" y="173"/>
                    <a:pt x="279" y="192"/>
                    <a:pt x="25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50" name="Freeform 633">
            <a:extLst>
              <a:ext uri="{FF2B5EF4-FFF2-40B4-BE49-F238E27FC236}">
                <a16:creationId xmlns:a16="http://schemas.microsoft.com/office/drawing/2014/main" id="{932C4228-09A4-4FF7-BD39-149E739CEC39}"/>
              </a:ext>
            </a:extLst>
          </p:cNvPr>
          <p:cNvSpPr>
            <a:spLocks noChangeAspect="1" noEditPoints="1"/>
          </p:cNvSpPr>
          <p:nvPr/>
        </p:nvSpPr>
        <p:spPr bwMode="auto">
          <a:xfrm>
            <a:off x="2213759" y="1698655"/>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77 h 512"/>
              <a:gd name="T12" fmla="*/ 416 w 512"/>
              <a:gd name="T13" fmla="*/ 288 h 512"/>
              <a:gd name="T14" fmla="*/ 405 w 512"/>
              <a:gd name="T15" fmla="*/ 298 h 512"/>
              <a:gd name="T16" fmla="*/ 362 w 512"/>
              <a:gd name="T17" fmla="*/ 298 h 512"/>
              <a:gd name="T18" fmla="*/ 362 w 512"/>
              <a:gd name="T19" fmla="*/ 341 h 512"/>
              <a:gd name="T20" fmla="*/ 351 w 512"/>
              <a:gd name="T21" fmla="*/ 352 h 512"/>
              <a:gd name="T22" fmla="*/ 340 w 512"/>
              <a:gd name="T23" fmla="*/ 341 h 512"/>
              <a:gd name="T24" fmla="*/ 340 w 512"/>
              <a:gd name="T25" fmla="*/ 298 h 512"/>
              <a:gd name="T26" fmla="*/ 170 w 512"/>
              <a:gd name="T27" fmla="*/ 298 h 512"/>
              <a:gd name="T28" fmla="*/ 170 w 512"/>
              <a:gd name="T29" fmla="*/ 341 h 512"/>
              <a:gd name="T30" fmla="*/ 159 w 512"/>
              <a:gd name="T31" fmla="*/ 352 h 512"/>
              <a:gd name="T32" fmla="*/ 148 w 512"/>
              <a:gd name="T33" fmla="*/ 341 h 512"/>
              <a:gd name="T34" fmla="*/ 148 w 512"/>
              <a:gd name="T35" fmla="*/ 298 h 512"/>
              <a:gd name="T36" fmla="*/ 106 w 512"/>
              <a:gd name="T37" fmla="*/ 298 h 512"/>
              <a:gd name="T38" fmla="*/ 96 w 512"/>
              <a:gd name="T39" fmla="*/ 288 h 512"/>
              <a:gd name="T40" fmla="*/ 106 w 512"/>
              <a:gd name="T41" fmla="*/ 277 h 512"/>
              <a:gd name="T42" fmla="*/ 148 w 512"/>
              <a:gd name="T43" fmla="*/ 277 h 512"/>
              <a:gd name="T44" fmla="*/ 148 w 512"/>
              <a:gd name="T45" fmla="*/ 218 h 512"/>
              <a:gd name="T46" fmla="*/ 110 w 512"/>
              <a:gd name="T47" fmla="*/ 242 h 512"/>
              <a:gd name="T48" fmla="*/ 106 w 512"/>
              <a:gd name="T49" fmla="*/ 242 h 512"/>
              <a:gd name="T50" fmla="*/ 96 w 512"/>
              <a:gd name="T51" fmla="*/ 236 h 512"/>
              <a:gd name="T52" fmla="*/ 102 w 512"/>
              <a:gd name="T53" fmla="*/ 222 h 512"/>
              <a:gd name="T54" fmla="*/ 148 w 512"/>
              <a:gd name="T55" fmla="*/ 188 h 512"/>
              <a:gd name="T56" fmla="*/ 148 w 512"/>
              <a:gd name="T57" fmla="*/ 170 h 512"/>
              <a:gd name="T58" fmla="*/ 159 w 512"/>
              <a:gd name="T59" fmla="*/ 160 h 512"/>
              <a:gd name="T60" fmla="*/ 170 w 512"/>
              <a:gd name="T61" fmla="*/ 170 h 512"/>
              <a:gd name="T62" fmla="*/ 170 w 512"/>
              <a:gd name="T63" fmla="*/ 188 h 512"/>
              <a:gd name="T64" fmla="*/ 255 w 512"/>
              <a:gd name="T65" fmla="*/ 229 h 512"/>
              <a:gd name="T66" fmla="*/ 340 w 512"/>
              <a:gd name="T67" fmla="*/ 188 h 512"/>
              <a:gd name="T68" fmla="*/ 340 w 512"/>
              <a:gd name="T69" fmla="*/ 170 h 512"/>
              <a:gd name="T70" fmla="*/ 351 w 512"/>
              <a:gd name="T71" fmla="*/ 160 h 512"/>
              <a:gd name="T72" fmla="*/ 362 w 512"/>
              <a:gd name="T73" fmla="*/ 170 h 512"/>
              <a:gd name="T74" fmla="*/ 362 w 512"/>
              <a:gd name="T75" fmla="*/ 188 h 512"/>
              <a:gd name="T76" fmla="*/ 409 w 512"/>
              <a:gd name="T77" fmla="*/ 222 h 512"/>
              <a:gd name="T78" fmla="*/ 415 w 512"/>
              <a:gd name="T79" fmla="*/ 236 h 512"/>
              <a:gd name="T80" fmla="*/ 405 w 512"/>
              <a:gd name="T81" fmla="*/ 242 h 512"/>
              <a:gd name="T82" fmla="*/ 401 w 512"/>
              <a:gd name="T83" fmla="*/ 242 h 512"/>
              <a:gd name="T84" fmla="*/ 362 w 512"/>
              <a:gd name="T85" fmla="*/ 219 h 512"/>
              <a:gd name="T86" fmla="*/ 362 w 512"/>
              <a:gd name="T87" fmla="*/ 277 h 512"/>
              <a:gd name="T88" fmla="*/ 405 w 512"/>
              <a:gd name="T89" fmla="*/ 277 h 512"/>
              <a:gd name="T90" fmla="*/ 255 w 512"/>
              <a:gd name="T91" fmla="*/ 250 h 512"/>
              <a:gd name="T92" fmla="*/ 340 w 512"/>
              <a:gd name="T93" fmla="*/ 219 h 512"/>
              <a:gd name="T94" fmla="*/ 340 w 512"/>
              <a:gd name="T95" fmla="*/ 277 h 512"/>
              <a:gd name="T96" fmla="*/ 170 w 512"/>
              <a:gd name="T97" fmla="*/ 277 h 512"/>
              <a:gd name="T98" fmla="*/ 170 w 512"/>
              <a:gd name="T99" fmla="*/ 219 h 512"/>
              <a:gd name="T100" fmla="*/ 255 w 512"/>
              <a:gd name="T101" fmla="*/ 2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77"/>
                </a:moveTo>
                <a:cubicBezTo>
                  <a:pt x="411" y="277"/>
                  <a:pt x="416" y="282"/>
                  <a:pt x="416" y="288"/>
                </a:cubicBezTo>
                <a:cubicBezTo>
                  <a:pt x="416" y="294"/>
                  <a:pt x="411" y="298"/>
                  <a:pt x="405" y="298"/>
                </a:cubicBezTo>
                <a:cubicBezTo>
                  <a:pt x="362" y="298"/>
                  <a:pt x="362" y="298"/>
                  <a:pt x="362" y="298"/>
                </a:cubicBezTo>
                <a:cubicBezTo>
                  <a:pt x="362" y="341"/>
                  <a:pt x="362" y="341"/>
                  <a:pt x="362" y="341"/>
                </a:cubicBezTo>
                <a:cubicBezTo>
                  <a:pt x="362" y="347"/>
                  <a:pt x="357" y="352"/>
                  <a:pt x="351" y="352"/>
                </a:cubicBezTo>
                <a:cubicBezTo>
                  <a:pt x="345" y="352"/>
                  <a:pt x="340" y="347"/>
                  <a:pt x="340" y="341"/>
                </a:cubicBezTo>
                <a:cubicBezTo>
                  <a:pt x="340" y="298"/>
                  <a:pt x="340" y="298"/>
                  <a:pt x="340" y="298"/>
                </a:cubicBezTo>
                <a:cubicBezTo>
                  <a:pt x="170" y="298"/>
                  <a:pt x="170" y="298"/>
                  <a:pt x="170" y="298"/>
                </a:cubicBezTo>
                <a:cubicBezTo>
                  <a:pt x="170" y="341"/>
                  <a:pt x="170" y="341"/>
                  <a:pt x="170" y="341"/>
                </a:cubicBezTo>
                <a:cubicBezTo>
                  <a:pt x="170" y="347"/>
                  <a:pt x="165" y="352"/>
                  <a:pt x="159" y="352"/>
                </a:cubicBezTo>
                <a:cubicBezTo>
                  <a:pt x="153" y="352"/>
                  <a:pt x="148" y="347"/>
                  <a:pt x="148" y="341"/>
                </a:cubicBezTo>
                <a:cubicBezTo>
                  <a:pt x="148" y="298"/>
                  <a:pt x="148" y="298"/>
                  <a:pt x="148" y="298"/>
                </a:cubicBezTo>
                <a:cubicBezTo>
                  <a:pt x="106" y="298"/>
                  <a:pt x="106" y="298"/>
                  <a:pt x="106" y="298"/>
                </a:cubicBezTo>
                <a:cubicBezTo>
                  <a:pt x="100" y="298"/>
                  <a:pt x="96" y="294"/>
                  <a:pt x="96" y="288"/>
                </a:cubicBezTo>
                <a:cubicBezTo>
                  <a:pt x="96" y="282"/>
                  <a:pt x="100" y="277"/>
                  <a:pt x="106" y="277"/>
                </a:cubicBezTo>
                <a:cubicBezTo>
                  <a:pt x="148" y="277"/>
                  <a:pt x="148" y="277"/>
                  <a:pt x="148" y="277"/>
                </a:cubicBezTo>
                <a:cubicBezTo>
                  <a:pt x="148" y="218"/>
                  <a:pt x="148" y="218"/>
                  <a:pt x="148" y="218"/>
                </a:cubicBezTo>
                <a:cubicBezTo>
                  <a:pt x="138" y="228"/>
                  <a:pt x="124" y="236"/>
                  <a:pt x="110" y="242"/>
                </a:cubicBezTo>
                <a:cubicBezTo>
                  <a:pt x="109" y="242"/>
                  <a:pt x="107" y="242"/>
                  <a:pt x="106" y="242"/>
                </a:cubicBezTo>
                <a:cubicBezTo>
                  <a:pt x="102" y="242"/>
                  <a:pt x="98" y="240"/>
                  <a:pt x="96" y="236"/>
                </a:cubicBezTo>
                <a:cubicBezTo>
                  <a:pt x="94" y="230"/>
                  <a:pt x="97" y="224"/>
                  <a:pt x="102" y="222"/>
                </a:cubicBezTo>
                <a:cubicBezTo>
                  <a:pt x="121" y="214"/>
                  <a:pt x="138" y="202"/>
                  <a:pt x="148" y="188"/>
                </a:cubicBezTo>
                <a:cubicBezTo>
                  <a:pt x="148" y="170"/>
                  <a:pt x="148" y="170"/>
                  <a:pt x="148" y="170"/>
                </a:cubicBezTo>
                <a:cubicBezTo>
                  <a:pt x="148" y="164"/>
                  <a:pt x="153" y="160"/>
                  <a:pt x="159" y="160"/>
                </a:cubicBezTo>
                <a:cubicBezTo>
                  <a:pt x="165" y="160"/>
                  <a:pt x="170" y="164"/>
                  <a:pt x="170" y="170"/>
                </a:cubicBezTo>
                <a:cubicBezTo>
                  <a:pt x="170" y="188"/>
                  <a:pt x="170" y="188"/>
                  <a:pt x="170" y="188"/>
                </a:cubicBezTo>
                <a:cubicBezTo>
                  <a:pt x="190" y="214"/>
                  <a:pt x="220" y="229"/>
                  <a:pt x="255" y="229"/>
                </a:cubicBezTo>
                <a:cubicBezTo>
                  <a:pt x="289" y="229"/>
                  <a:pt x="320" y="214"/>
                  <a:pt x="340" y="188"/>
                </a:cubicBezTo>
                <a:cubicBezTo>
                  <a:pt x="340" y="170"/>
                  <a:pt x="340" y="170"/>
                  <a:pt x="340" y="170"/>
                </a:cubicBezTo>
                <a:cubicBezTo>
                  <a:pt x="340" y="164"/>
                  <a:pt x="345" y="160"/>
                  <a:pt x="351" y="160"/>
                </a:cubicBezTo>
                <a:cubicBezTo>
                  <a:pt x="357" y="160"/>
                  <a:pt x="362" y="164"/>
                  <a:pt x="362" y="170"/>
                </a:cubicBezTo>
                <a:cubicBezTo>
                  <a:pt x="362" y="188"/>
                  <a:pt x="362" y="188"/>
                  <a:pt x="362" y="188"/>
                </a:cubicBezTo>
                <a:cubicBezTo>
                  <a:pt x="374" y="202"/>
                  <a:pt x="389" y="214"/>
                  <a:pt x="409" y="222"/>
                </a:cubicBezTo>
                <a:cubicBezTo>
                  <a:pt x="414" y="224"/>
                  <a:pt x="417" y="230"/>
                  <a:pt x="415" y="236"/>
                </a:cubicBezTo>
                <a:cubicBezTo>
                  <a:pt x="413" y="240"/>
                  <a:pt x="409" y="242"/>
                  <a:pt x="405" y="242"/>
                </a:cubicBezTo>
                <a:cubicBezTo>
                  <a:pt x="404" y="242"/>
                  <a:pt x="402" y="242"/>
                  <a:pt x="401" y="242"/>
                </a:cubicBezTo>
                <a:cubicBezTo>
                  <a:pt x="386" y="236"/>
                  <a:pt x="374" y="228"/>
                  <a:pt x="362" y="219"/>
                </a:cubicBezTo>
                <a:cubicBezTo>
                  <a:pt x="362" y="277"/>
                  <a:pt x="362" y="277"/>
                  <a:pt x="362" y="277"/>
                </a:cubicBezTo>
                <a:lnTo>
                  <a:pt x="405" y="277"/>
                </a:lnTo>
                <a:close/>
                <a:moveTo>
                  <a:pt x="255" y="250"/>
                </a:moveTo>
                <a:cubicBezTo>
                  <a:pt x="287" y="250"/>
                  <a:pt x="318" y="239"/>
                  <a:pt x="340" y="219"/>
                </a:cubicBezTo>
                <a:cubicBezTo>
                  <a:pt x="340" y="277"/>
                  <a:pt x="340" y="277"/>
                  <a:pt x="340" y="277"/>
                </a:cubicBezTo>
                <a:cubicBezTo>
                  <a:pt x="170" y="277"/>
                  <a:pt x="170" y="277"/>
                  <a:pt x="170" y="277"/>
                </a:cubicBezTo>
                <a:cubicBezTo>
                  <a:pt x="170" y="219"/>
                  <a:pt x="170" y="219"/>
                  <a:pt x="170" y="219"/>
                </a:cubicBezTo>
                <a:cubicBezTo>
                  <a:pt x="194" y="239"/>
                  <a:pt x="222" y="250"/>
                  <a:pt x="255" y="25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51" name="Group 636">
            <a:extLst>
              <a:ext uri="{FF2B5EF4-FFF2-40B4-BE49-F238E27FC236}">
                <a16:creationId xmlns:a16="http://schemas.microsoft.com/office/drawing/2014/main" id="{FBBF22BC-95DB-4002-A66A-620B17BFA165}"/>
              </a:ext>
            </a:extLst>
          </p:cNvPr>
          <p:cNvGrpSpPr>
            <a:grpSpLocks noChangeAspect="1"/>
          </p:cNvGrpSpPr>
          <p:nvPr/>
        </p:nvGrpSpPr>
        <p:grpSpPr bwMode="auto">
          <a:xfrm>
            <a:off x="2648239" y="1698655"/>
            <a:ext cx="367982" cy="369064"/>
            <a:chOff x="5261" y="2857"/>
            <a:chExt cx="340" cy="341"/>
          </a:xfrm>
          <a:solidFill>
            <a:schemeClr val="accent1"/>
          </a:solidFill>
        </p:grpSpPr>
        <p:sp>
          <p:nvSpPr>
            <p:cNvPr id="252" name="Freeform 637">
              <a:extLst>
                <a:ext uri="{FF2B5EF4-FFF2-40B4-BE49-F238E27FC236}">
                  <a16:creationId xmlns:a16="http://schemas.microsoft.com/office/drawing/2014/main" id="{24964F55-6C8F-4730-BBAD-172C738A3C47}"/>
                </a:ext>
              </a:extLst>
            </p:cNvPr>
            <p:cNvSpPr>
              <a:spLocks noEditPoints="1"/>
            </p:cNvSpPr>
            <p:nvPr/>
          </p:nvSpPr>
          <p:spPr bwMode="auto">
            <a:xfrm>
              <a:off x="5261" y="28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3" name="Freeform 638">
              <a:extLst>
                <a:ext uri="{FF2B5EF4-FFF2-40B4-BE49-F238E27FC236}">
                  <a16:creationId xmlns:a16="http://schemas.microsoft.com/office/drawing/2014/main" id="{70417288-4EDC-4740-95F4-8EF3DFC38B45}"/>
                </a:ext>
              </a:extLst>
            </p:cNvPr>
            <p:cNvSpPr>
              <a:spLocks noEditPoints="1"/>
            </p:cNvSpPr>
            <p:nvPr/>
          </p:nvSpPr>
          <p:spPr bwMode="auto">
            <a:xfrm>
              <a:off x="5323" y="2964"/>
              <a:ext cx="215" cy="127"/>
            </a:xfrm>
            <a:custGeom>
              <a:avLst/>
              <a:gdLst>
                <a:gd name="T0" fmla="*/ 311 w 323"/>
                <a:gd name="T1" fmla="*/ 117 h 192"/>
                <a:gd name="T2" fmla="*/ 268 w 323"/>
                <a:gd name="T3" fmla="*/ 117 h 192"/>
                <a:gd name="T4" fmla="*/ 268 w 323"/>
                <a:gd name="T5" fmla="*/ 59 h 192"/>
                <a:gd name="T6" fmla="*/ 307 w 323"/>
                <a:gd name="T7" fmla="*/ 82 h 192"/>
                <a:gd name="T8" fmla="*/ 311 w 323"/>
                <a:gd name="T9" fmla="*/ 82 h 192"/>
                <a:gd name="T10" fmla="*/ 321 w 323"/>
                <a:gd name="T11" fmla="*/ 76 h 192"/>
                <a:gd name="T12" fmla="*/ 315 w 323"/>
                <a:gd name="T13" fmla="*/ 62 h 192"/>
                <a:gd name="T14" fmla="*/ 268 w 323"/>
                <a:gd name="T15" fmla="*/ 28 h 192"/>
                <a:gd name="T16" fmla="*/ 268 w 323"/>
                <a:gd name="T17" fmla="*/ 10 h 192"/>
                <a:gd name="T18" fmla="*/ 257 w 323"/>
                <a:gd name="T19" fmla="*/ 0 h 192"/>
                <a:gd name="T20" fmla="*/ 246 w 323"/>
                <a:gd name="T21" fmla="*/ 10 h 192"/>
                <a:gd name="T22" fmla="*/ 246 w 323"/>
                <a:gd name="T23" fmla="*/ 28 h 192"/>
                <a:gd name="T24" fmla="*/ 161 w 323"/>
                <a:gd name="T25" fmla="*/ 69 h 192"/>
                <a:gd name="T26" fmla="*/ 76 w 323"/>
                <a:gd name="T27" fmla="*/ 28 h 192"/>
                <a:gd name="T28" fmla="*/ 76 w 323"/>
                <a:gd name="T29" fmla="*/ 10 h 192"/>
                <a:gd name="T30" fmla="*/ 65 w 323"/>
                <a:gd name="T31" fmla="*/ 0 h 192"/>
                <a:gd name="T32" fmla="*/ 54 w 323"/>
                <a:gd name="T33" fmla="*/ 10 h 192"/>
                <a:gd name="T34" fmla="*/ 54 w 323"/>
                <a:gd name="T35" fmla="*/ 28 h 192"/>
                <a:gd name="T36" fmla="*/ 8 w 323"/>
                <a:gd name="T37" fmla="*/ 62 h 192"/>
                <a:gd name="T38" fmla="*/ 2 w 323"/>
                <a:gd name="T39" fmla="*/ 76 h 192"/>
                <a:gd name="T40" fmla="*/ 12 w 323"/>
                <a:gd name="T41" fmla="*/ 82 h 192"/>
                <a:gd name="T42" fmla="*/ 16 w 323"/>
                <a:gd name="T43" fmla="*/ 82 h 192"/>
                <a:gd name="T44" fmla="*/ 54 w 323"/>
                <a:gd name="T45" fmla="*/ 58 h 192"/>
                <a:gd name="T46" fmla="*/ 54 w 323"/>
                <a:gd name="T47" fmla="*/ 117 h 192"/>
                <a:gd name="T48" fmla="*/ 12 w 323"/>
                <a:gd name="T49" fmla="*/ 117 h 192"/>
                <a:gd name="T50" fmla="*/ 2 w 323"/>
                <a:gd name="T51" fmla="*/ 128 h 192"/>
                <a:gd name="T52" fmla="*/ 12 w 323"/>
                <a:gd name="T53" fmla="*/ 138 h 192"/>
                <a:gd name="T54" fmla="*/ 54 w 323"/>
                <a:gd name="T55" fmla="*/ 138 h 192"/>
                <a:gd name="T56" fmla="*/ 54 w 323"/>
                <a:gd name="T57" fmla="*/ 181 h 192"/>
                <a:gd name="T58" fmla="*/ 65 w 323"/>
                <a:gd name="T59" fmla="*/ 192 h 192"/>
                <a:gd name="T60" fmla="*/ 76 w 323"/>
                <a:gd name="T61" fmla="*/ 181 h 192"/>
                <a:gd name="T62" fmla="*/ 76 w 323"/>
                <a:gd name="T63" fmla="*/ 138 h 192"/>
                <a:gd name="T64" fmla="*/ 246 w 323"/>
                <a:gd name="T65" fmla="*/ 138 h 192"/>
                <a:gd name="T66" fmla="*/ 246 w 323"/>
                <a:gd name="T67" fmla="*/ 181 h 192"/>
                <a:gd name="T68" fmla="*/ 257 w 323"/>
                <a:gd name="T69" fmla="*/ 192 h 192"/>
                <a:gd name="T70" fmla="*/ 268 w 323"/>
                <a:gd name="T71" fmla="*/ 181 h 192"/>
                <a:gd name="T72" fmla="*/ 268 w 323"/>
                <a:gd name="T73" fmla="*/ 138 h 192"/>
                <a:gd name="T74" fmla="*/ 311 w 323"/>
                <a:gd name="T75" fmla="*/ 138 h 192"/>
                <a:gd name="T76" fmla="*/ 322 w 323"/>
                <a:gd name="T77" fmla="*/ 128 h 192"/>
                <a:gd name="T78" fmla="*/ 311 w 323"/>
                <a:gd name="T79" fmla="*/ 117 h 192"/>
                <a:gd name="T80" fmla="*/ 76 w 323"/>
                <a:gd name="T81" fmla="*/ 117 h 192"/>
                <a:gd name="T82" fmla="*/ 76 w 323"/>
                <a:gd name="T83" fmla="*/ 59 h 192"/>
                <a:gd name="T84" fmla="*/ 161 w 323"/>
                <a:gd name="T85" fmla="*/ 90 h 192"/>
                <a:gd name="T86" fmla="*/ 246 w 323"/>
                <a:gd name="T87" fmla="*/ 59 h 192"/>
                <a:gd name="T88" fmla="*/ 246 w 323"/>
                <a:gd name="T89" fmla="*/ 117 h 192"/>
                <a:gd name="T90" fmla="*/ 76 w 323"/>
                <a:gd name="T91" fmla="*/ 11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3" h="192">
                  <a:moveTo>
                    <a:pt x="311" y="117"/>
                  </a:moveTo>
                  <a:cubicBezTo>
                    <a:pt x="268" y="117"/>
                    <a:pt x="268" y="117"/>
                    <a:pt x="268" y="117"/>
                  </a:cubicBezTo>
                  <a:cubicBezTo>
                    <a:pt x="268" y="59"/>
                    <a:pt x="268" y="59"/>
                    <a:pt x="268" y="59"/>
                  </a:cubicBezTo>
                  <a:cubicBezTo>
                    <a:pt x="280" y="68"/>
                    <a:pt x="292" y="76"/>
                    <a:pt x="307" y="82"/>
                  </a:cubicBezTo>
                  <a:cubicBezTo>
                    <a:pt x="308" y="82"/>
                    <a:pt x="310" y="82"/>
                    <a:pt x="311" y="82"/>
                  </a:cubicBezTo>
                  <a:cubicBezTo>
                    <a:pt x="315" y="82"/>
                    <a:pt x="319" y="80"/>
                    <a:pt x="321" y="76"/>
                  </a:cubicBezTo>
                  <a:cubicBezTo>
                    <a:pt x="323" y="70"/>
                    <a:pt x="320" y="64"/>
                    <a:pt x="315" y="62"/>
                  </a:cubicBezTo>
                  <a:cubicBezTo>
                    <a:pt x="295" y="54"/>
                    <a:pt x="280" y="42"/>
                    <a:pt x="268" y="28"/>
                  </a:cubicBezTo>
                  <a:cubicBezTo>
                    <a:pt x="268" y="10"/>
                    <a:pt x="268" y="10"/>
                    <a:pt x="268" y="10"/>
                  </a:cubicBezTo>
                  <a:cubicBezTo>
                    <a:pt x="268" y="4"/>
                    <a:pt x="263" y="0"/>
                    <a:pt x="257" y="0"/>
                  </a:cubicBezTo>
                  <a:cubicBezTo>
                    <a:pt x="251" y="0"/>
                    <a:pt x="246" y="4"/>
                    <a:pt x="246" y="10"/>
                  </a:cubicBezTo>
                  <a:cubicBezTo>
                    <a:pt x="246" y="28"/>
                    <a:pt x="246" y="28"/>
                    <a:pt x="246" y="28"/>
                  </a:cubicBezTo>
                  <a:cubicBezTo>
                    <a:pt x="226" y="54"/>
                    <a:pt x="195" y="69"/>
                    <a:pt x="161" y="69"/>
                  </a:cubicBezTo>
                  <a:cubicBezTo>
                    <a:pt x="126" y="69"/>
                    <a:pt x="96" y="54"/>
                    <a:pt x="76" y="28"/>
                  </a:cubicBezTo>
                  <a:cubicBezTo>
                    <a:pt x="76" y="10"/>
                    <a:pt x="76" y="10"/>
                    <a:pt x="76" y="10"/>
                  </a:cubicBezTo>
                  <a:cubicBezTo>
                    <a:pt x="76" y="4"/>
                    <a:pt x="71" y="0"/>
                    <a:pt x="65" y="0"/>
                  </a:cubicBezTo>
                  <a:cubicBezTo>
                    <a:pt x="59" y="0"/>
                    <a:pt x="54" y="4"/>
                    <a:pt x="54" y="10"/>
                  </a:cubicBezTo>
                  <a:cubicBezTo>
                    <a:pt x="54" y="28"/>
                    <a:pt x="54" y="28"/>
                    <a:pt x="54" y="28"/>
                  </a:cubicBezTo>
                  <a:cubicBezTo>
                    <a:pt x="44" y="42"/>
                    <a:pt x="27" y="54"/>
                    <a:pt x="8" y="62"/>
                  </a:cubicBezTo>
                  <a:cubicBezTo>
                    <a:pt x="3" y="64"/>
                    <a:pt x="0" y="70"/>
                    <a:pt x="2" y="76"/>
                  </a:cubicBezTo>
                  <a:cubicBezTo>
                    <a:pt x="4" y="80"/>
                    <a:pt x="8" y="82"/>
                    <a:pt x="12" y="82"/>
                  </a:cubicBezTo>
                  <a:cubicBezTo>
                    <a:pt x="14" y="82"/>
                    <a:pt x="15" y="82"/>
                    <a:pt x="16" y="82"/>
                  </a:cubicBezTo>
                  <a:cubicBezTo>
                    <a:pt x="30" y="76"/>
                    <a:pt x="44" y="68"/>
                    <a:pt x="54" y="58"/>
                  </a:cubicBezTo>
                  <a:cubicBezTo>
                    <a:pt x="54" y="117"/>
                    <a:pt x="54" y="117"/>
                    <a:pt x="54" y="117"/>
                  </a:cubicBezTo>
                  <a:cubicBezTo>
                    <a:pt x="12" y="117"/>
                    <a:pt x="12" y="117"/>
                    <a:pt x="12" y="117"/>
                  </a:cubicBezTo>
                  <a:cubicBezTo>
                    <a:pt x="6" y="117"/>
                    <a:pt x="2" y="122"/>
                    <a:pt x="2" y="128"/>
                  </a:cubicBezTo>
                  <a:cubicBezTo>
                    <a:pt x="2" y="134"/>
                    <a:pt x="6" y="138"/>
                    <a:pt x="12" y="138"/>
                  </a:cubicBezTo>
                  <a:cubicBezTo>
                    <a:pt x="54" y="138"/>
                    <a:pt x="54" y="138"/>
                    <a:pt x="54" y="138"/>
                  </a:cubicBezTo>
                  <a:cubicBezTo>
                    <a:pt x="54" y="181"/>
                    <a:pt x="54" y="181"/>
                    <a:pt x="54" y="181"/>
                  </a:cubicBezTo>
                  <a:cubicBezTo>
                    <a:pt x="54" y="187"/>
                    <a:pt x="59" y="192"/>
                    <a:pt x="65" y="192"/>
                  </a:cubicBezTo>
                  <a:cubicBezTo>
                    <a:pt x="71" y="192"/>
                    <a:pt x="76" y="187"/>
                    <a:pt x="76" y="181"/>
                  </a:cubicBezTo>
                  <a:cubicBezTo>
                    <a:pt x="76" y="138"/>
                    <a:pt x="76" y="138"/>
                    <a:pt x="76" y="138"/>
                  </a:cubicBezTo>
                  <a:cubicBezTo>
                    <a:pt x="246" y="138"/>
                    <a:pt x="246" y="138"/>
                    <a:pt x="246" y="138"/>
                  </a:cubicBezTo>
                  <a:cubicBezTo>
                    <a:pt x="246" y="181"/>
                    <a:pt x="246" y="181"/>
                    <a:pt x="246" y="181"/>
                  </a:cubicBezTo>
                  <a:cubicBezTo>
                    <a:pt x="246" y="187"/>
                    <a:pt x="251" y="192"/>
                    <a:pt x="257" y="192"/>
                  </a:cubicBezTo>
                  <a:cubicBezTo>
                    <a:pt x="263" y="192"/>
                    <a:pt x="268" y="187"/>
                    <a:pt x="268" y="181"/>
                  </a:cubicBezTo>
                  <a:cubicBezTo>
                    <a:pt x="268" y="138"/>
                    <a:pt x="268" y="138"/>
                    <a:pt x="268" y="138"/>
                  </a:cubicBezTo>
                  <a:cubicBezTo>
                    <a:pt x="311" y="138"/>
                    <a:pt x="311" y="138"/>
                    <a:pt x="311" y="138"/>
                  </a:cubicBezTo>
                  <a:cubicBezTo>
                    <a:pt x="317" y="138"/>
                    <a:pt x="322" y="134"/>
                    <a:pt x="322" y="128"/>
                  </a:cubicBezTo>
                  <a:cubicBezTo>
                    <a:pt x="322" y="122"/>
                    <a:pt x="317" y="117"/>
                    <a:pt x="311" y="117"/>
                  </a:cubicBezTo>
                  <a:close/>
                  <a:moveTo>
                    <a:pt x="76" y="117"/>
                  </a:moveTo>
                  <a:cubicBezTo>
                    <a:pt x="76" y="59"/>
                    <a:pt x="76" y="59"/>
                    <a:pt x="76" y="59"/>
                  </a:cubicBezTo>
                  <a:cubicBezTo>
                    <a:pt x="100" y="79"/>
                    <a:pt x="128" y="90"/>
                    <a:pt x="161" y="90"/>
                  </a:cubicBezTo>
                  <a:cubicBezTo>
                    <a:pt x="193" y="90"/>
                    <a:pt x="224" y="79"/>
                    <a:pt x="246" y="59"/>
                  </a:cubicBezTo>
                  <a:cubicBezTo>
                    <a:pt x="246" y="117"/>
                    <a:pt x="246" y="117"/>
                    <a:pt x="246" y="117"/>
                  </a:cubicBezTo>
                  <a:lnTo>
                    <a:pt x="76"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54" name="Freeform 642">
            <a:extLst>
              <a:ext uri="{FF2B5EF4-FFF2-40B4-BE49-F238E27FC236}">
                <a16:creationId xmlns:a16="http://schemas.microsoft.com/office/drawing/2014/main" id="{1F4CF9DB-9AE5-4363-91B8-A4D6A7D796E7}"/>
              </a:ext>
            </a:extLst>
          </p:cNvPr>
          <p:cNvSpPr>
            <a:spLocks noChangeAspect="1" noEditPoints="1"/>
          </p:cNvSpPr>
          <p:nvPr/>
        </p:nvSpPr>
        <p:spPr bwMode="auto">
          <a:xfrm>
            <a:off x="3082719" y="1698655"/>
            <a:ext cx="367982" cy="367982"/>
          </a:xfrm>
          <a:custGeom>
            <a:avLst/>
            <a:gdLst>
              <a:gd name="T0" fmla="*/ 213 w 512"/>
              <a:gd name="T1" fmla="*/ 202 h 512"/>
              <a:gd name="T2" fmla="*/ 213 w 512"/>
              <a:gd name="T3" fmla="*/ 245 h 512"/>
              <a:gd name="T4" fmla="*/ 245 w 512"/>
              <a:gd name="T5" fmla="*/ 245 h 512"/>
              <a:gd name="T6" fmla="*/ 245 w 512"/>
              <a:gd name="T7" fmla="*/ 192 h 512"/>
              <a:gd name="T8" fmla="*/ 213 w 512"/>
              <a:gd name="T9" fmla="*/ 202 h 512"/>
              <a:gd name="T10" fmla="*/ 213 w 512"/>
              <a:gd name="T11" fmla="*/ 202 h 512"/>
              <a:gd name="T12" fmla="*/ 159 w 512"/>
              <a:gd name="T13" fmla="*/ 245 h 512"/>
              <a:gd name="T14" fmla="*/ 192 w 512"/>
              <a:gd name="T15" fmla="*/ 245 h 512"/>
              <a:gd name="T16" fmla="*/ 192 w 512"/>
              <a:gd name="T17" fmla="*/ 214 h 512"/>
              <a:gd name="T18" fmla="*/ 159 w 512"/>
              <a:gd name="T19" fmla="*/ 245 h 512"/>
              <a:gd name="T20" fmla="*/ 266 w 512"/>
              <a:gd name="T21" fmla="*/ 245 h 512"/>
              <a:gd name="T22" fmla="*/ 298 w 512"/>
              <a:gd name="T23" fmla="*/ 245 h 512"/>
              <a:gd name="T24" fmla="*/ 298 w 512"/>
              <a:gd name="T25" fmla="*/ 202 h 512"/>
              <a:gd name="T26" fmla="*/ 298 w 512"/>
              <a:gd name="T27" fmla="*/ 202 h 512"/>
              <a:gd name="T28" fmla="*/ 266 w 512"/>
              <a:gd name="T29" fmla="*/ 192 h 512"/>
              <a:gd name="T30" fmla="*/ 266 w 512"/>
              <a:gd name="T31" fmla="*/ 245 h 512"/>
              <a:gd name="T32" fmla="*/ 320 w 512"/>
              <a:gd name="T33" fmla="*/ 214 h 512"/>
              <a:gd name="T34" fmla="*/ 320 w 512"/>
              <a:gd name="T35" fmla="*/ 245 h 512"/>
              <a:gd name="T36" fmla="*/ 352 w 512"/>
              <a:gd name="T37" fmla="*/ 245 h 512"/>
              <a:gd name="T38" fmla="*/ 320 w 512"/>
              <a:gd name="T39" fmla="*/ 214 h 512"/>
              <a:gd name="T40" fmla="*/ 256 w 512"/>
              <a:gd name="T41" fmla="*/ 0 h 512"/>
              <a:gd name="T42" fmla="*/ 0 w 512"/>
              <a:gd name="T43" fmla="*/ 256 h 512"/>
              <a:gd name="T44" fmla="*/ 256 w 512"/>
              <a:gd name="T45" fmla="*/ 512 h 512"/>
              <a:gd name="T46" fmla="*/ 512 w 512"/>
              <a:gd name="T47" fmla="*/ 256 h 512"/>
              <a:gd name="T48" fmla="*/ 256 w 512"/>
              <a:gd name="T49" fmla="*/ 0 h 512"/>
              <a:gd name="T50" fmla="*/ 405 w 512"/>
              <a:gd name="T51" fmla="*/ 266 h 512"/>
              <a:gd name="T52" fmla="*/ 394 w 512"/>
              <a:gd name="T53" fmla="*/ 266 h 512"/>
              <a:gd name="T54" fmla="*/ 394 w 512"/>
              <a:gd name="T55" fmla="*/ 309 h 512"/>
              <a:gd name="T56" fmla="*/ 384 w 512"/>
              <a:gd name="T57" fmla="*/ 320 h 512"/>
              <a:gd name="T58" fmla="*/ 373 w 512"/>
              <a:gd name="T59" fmla="*/ 309 h 512"/>
              <a:gd name="T60" fmla="*/ 373 w 512"/>
              <a:gd name="T61" fmla="*/ 266 h 512"/>
              <a:gd name="T62" fmla="*/ 138 w 512"/>
              <a:gd name="T63" fmla="*/ 266 h 512"/>
              <a:gd name="T64" fmla="*/ 138 w 512"/>
              <a:gd name="T65" fmla="*/ 309 h 512"/>
              <a:gd name="T66" fmla="*/ 128 w 512"/>
              <a:gd name="T67" fmla="*/ 320 h 512"/>
              <a:gd name="T68" fmla="*/ 117 w 512"/>
              <a:gd name="T69" fmla="*/ 309 h 512"/>
              <a:gd name="T70" fmla="*/ 117 w 512"/>
              <a:gd name="T71" fmla="*/ 266 h 512"/>
              <a:gd name="T72" fmla="*/ 106 w 512"/>
              <a:gd name="T73" fmla="*/ 266 h 512"/>
              <a:gd name="T74" fmla="*/ 96 w 512"/>
              <a:gd name="T75" fmla="*/ 256 h 512"/>
              <a:gd name="T76" fmla="*/ 106 w 512"/>
              <a:gd name="T77" fmla="*/ 245 h 512"/>
              <a:gd name="T78" fmla="*/ 117 w 512"/>
              <a:gd name="T79" fmla="*/ 245 h 512"/>
              <a:gd name="T80" fmla="*/ 117 w 512"/>
              <a:gd name="T81" fmla="*/ 224 h 512"/>
              <a:gd name="T82" fmla="*/ 128 w 512"/>
              <a:gd name="T83" fmla="*/ 213 h 512"/>
              <a:gd name="T84" fmla="*/ 138 w 512"/>
              <a:gd name="T85" fmla="*/ 224 h 512"/>
              <a:gd name="T86" fmla="*/ 138 w 512"/>
              <a:gd name="T87" fmla="*/ 237 h 512"/>
              <a:gd name="T88" fmla="*/ 256 w 512"/>
              <a:gd name="T89" fmla="*/ 170 h 512"/>
              <a:gd name="T90" fmla="*/ 373 w 512"/>
              <a:gd name="T91" fmla="*/ 237 h 512"/>
              <a:gd name="T92" fmla="*/ 373 w 512"/>
              <a:gd name="T93" fmla="*/ 224 h 512"/>
              <a:gd name="T94" fmla="*/ 384 w 512"/>
              <a:gd name="T95" fmla="*/ 213 h 512"/>
              <a:gd name="T96" fmla="*/ 394 w 512"/>
              <a:gd name="T97" fmla="*/ 224 h 512"/>
              <a:gd name="T98" fmla="*/ 394 w 512"/>
              <a:gd name="T99" fmla="*/ 245 h 512"/>
              <a:gd name="T100" fmla="*/ 405 w 512"/>
              <a:gd name="T101" fmla="*/ 245 h 512"/>
              <a:gd name="T102" fmla="*/ 416 w 512"/>
              <a:gd name="T103" fmla="*/ 256 h 512"/>
              <a:gd name="T104" fmla="*/ 405 w 512"/>
              <a:gd name="T10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13" y="202"/>
                </a:moveTo>
                <a:cubicBezTo>
                  <a:pt x="213" y="245"/>
                  <a:pt x="213" y="245"/>
                  <a:pt x="213" y="245"/>
                </a:cubicBezTo>
                <a:cubicBezTo>
                  <a:pt x="245" y="245"/>
                  <a:pt x="245" y="245"/>
                  <a:pt x="245" y="245"/>
                </a:cubicBezTo>
                <a:cubicBezTo>
                  <a:pt x="245" y="192"/>
                  <a:pt x="245" y="192"/>
                  <a:pt x="245" y="192"/>
                </a:cubicBezTo>
                <a:cubicBezTo>
                  <a:pt x="234" y="194"/>
                  <a:pt x="223" y="197"/>
                  <a:pt x="213" y="202"/>
                </a:cubicBezTo>
                <a:cubicBezTo>
                  <a:pt x="213" y="202"/>
                  <a:pt x="213" y="202"/>
                  <a:pt x="213" y="202"/>
                </a:cubicBezTo>
                <a:close/>
                <a:moveTo>
                  <a:pt x="159" y="245"/>
                </a:moveTo>
                <a:cubicBezTo>
                  <a:pt x="192" y="245"/>
                  <a:pt x="192" y="245"/>
                  <a:pt x="192" y="245"/>
                </a:cubicBezTo>
                <a:cubicBezTo>
                  <a:pt x="192" y="214"/>
                  <a:pt x="192" y="214"/>
                  <a:pt x="192" y="214"/>
                </a:cubicBezTo>
                <a:cubicBezTo>
                  <a:pt x="180" y="222"/>
                  <a:pt x="169" y="233"/>
                  <a:pt x="159" y="245"/>
                </a:cubicBezTo>
                <a:close/>
                <a:moveTo>
                  <a:pt x="266" y="245"/>
                </a:moveTo>
                <a:cubicBezTo>
                  <a:pt x="298" y="245"/>
                  <a:pt x="298" y="245"/>
                  <a:pt x="298" y="245"/>
                </a:cubicBezTo>
                <a:cubicBezTo>
                  <a:pt x="298" y="202"/>
                  <a:pt x="298" y="202"/>
                  <a:pt x="298" y="202"/>
                </a:cubicBezTo>
                <a:cubicBezTo>
                  <a:pt x="298" y="202"/>
                  <a:pt x="298" y="202"/>
                  <a:pt x="298" y="202"/>
                </a:cubicBezTo>
                <a:cubicBezTo>
                  <a:pt x="288" y="197"/>
                  <a:pt x="277" y="194"/>
                  <a:pt x="266" y="192"/>
                </a:cubicBezTo>
                <a:lnTo>
                  <a:pt x="266" y="245"/>
                </a:lnTo>
                <a:close/>
                <a:moveTo>
                  <a:pt x="320" y="214"/>
                </a:moveTo>
                <a:cubicBezTo>
                  <a:pt x="320" y="245"/>
                  <a:pt x="320" y="245"/>
                  <a:pt x="320" y="245"/>
                </a:cubicBezTo>
                <a:cubicBezTo>
                  <a:pt x="352" y="245"/>
                  <a:pt x="352" y="245"/>
                  <a:pt x="352" y="245"/>
                </a:cubicBezTo>
                <a:cubicBezTo>
                  <a:pt x="342" y="233"/>
                  <a:pt x="331" y="222"/>
                  <a:pt x="320" y="21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94" y="266"/>
                  <a:pt x="394" y="266"/>
                  <a:pt x="394" y="266"/>
                </a:cubicBezTo>
                <a:cubicBezTo>
                  <a:pt x="394" y="309"/>
                  <a:pt x="394" y="309"/>
                  <a:pt x="394" y="309"/>
                </a:cubicBezTo>
                <a:cubicBezTo>
                  <a:pt x="394" y="315"/>
                  <a:pt x="390" y="320"/>
                  <a:pt x="384" y="320"/>
                </a:cubicBezTo>
                <a:cubicBezTo>
                  <a:pt x="378" y="320"/>
                  <a:pt x="373" y="315"/>
                  <a:pt x="373" y="309"/>
                </a:cubicBezTo>
                <a:cubicBezTo>
                  <a:pt x="373" y="266"/>
                  <a:pt x="373" y="266"/>
                  <a:pt x="373" y="266"/>
                </a:cubicBezTo>
                <a:cubicBezTo>
                  <a:pt x="138" y="266"/>
                  <a:pt x="138" y="266"/>
                  <a:pt x="138" y="266"/>
                </a:cubicBezTo>
                <a:cubicBezTo>
                  <a:pt x="138" y="309"/>
                  <a:pt x="138" y="309"/>
                  <a:pt x="138" y="309"/>
                </a:cubicBezTo>
                <a:cubicBezTo>
                  <a:pt x="138" y="315"/>
                  <a:pt x="134" y="320"/>
                  <a:pt x="128" y="320"/>
                </a:cubicBezTo>
                <a:cubicBezTo>
                  <a:pt x="122" y="320"/>
                  <a:pt x="117" y="315"/>
                  <a:pt x="117" y="309"/>
                </a:cubicBezTo>
                <a:cubicBezTo>
                  <a:pt x="117" y="266"/>
                  <a:pt x="117" y="266"/>
                  <a:pt x="117" y="266"/>
                </a:cubicBezTo>
                <a:cubicBezTo>
                  <a:pt x="106" y="266"/>
                  <a:pt x="106" y="266"/>
                  <a:pt x="106" y="266"/>
                </a:cubicBezTo>
                <a:cubicBezTo>
                  <a:pt x="100" y="266"/>
                  <a:pt x="96" y="262"/>
                  <a:pt x="96" y="256"/>
                </a:cubicBezTo>
                <a:cubicBezTo>
                  <a:pt x="96" y="250"/>
                  <a:pt x="100" y="245"/>
                  <a:pt x="106" y="245"/>
                </a:cubicBezTo>
                <a:cubicBezTo>
                  <a:pt x="117" y="245"/>
                  <a:pt x="117" y="245"/>
                  <a:pt x="117" y="245"/>
                </a:cubicBezTo>
                <a:cubicBezTo>
                  <a:pt x="117" y="224"/>
                  <a:pt x="117" y="224"/>
                  <a:pt x="117" y="224"/>
                </a:cubicBezTo>
                <a:cubicBezTo>
                  <a:pt x="117" y="218"/>
                  <a:pt x="122" y="213"/>
                  <a:pt x="128" y="213"/>
                </a:cubicBezTo>
                <a:cubicBezTo>
                  <a:pt x="134" y="213"/>
                  <a:pt x="138" y="218"/>
                  <a:pt x="138" y="224"/>
                </a:cubicBezTo>
                <a:cubicBezTo>
                  <a:pt x="138" y="237"/>
                  <a:pt x="138" y="237"/>
                  <a:pt x="138" y="237"/>
                </a:cubicBezTo>
                <a:cubicBezTo>
                  <a:pt x="172" y="194"/>
                  <a:pt x="213" y="170"/>
                  <a:pt x="256" y="170"/>
                </a:cubicBezTo>
                <a:cubicBezTo>
                  <a:pt x="298" y="170"/>
                  <a:pt x="340" y="194"/>
                  <a:pt x="373" y="237"/>
                </a:cubicBezTo>
                <a:cubicBezTo>
                  <a:pt x="373" y="224"/>
                  <a:pt x="373" y="224"/>
                  <a:pt x="373" y="224"/>
                </a:cubicBezTo>
                <a:cubicBezTo>
                  <a:pt x="373" y="218"/>
                  <a:pt x="378" y="213"/>
                  <a:pt x="384" y="213"/>
                </a:cubicBezTo>
                <a:cubicBezTo>
                  <a:pt x="390" y="213"/>
                  <a:pt x="394" y="218"/>
                  <a:pt x="394" y="224"/>
                </a:cubicBezTo>
                <a:cubicBezTo>
                  <a:pt x="394" y="245"/>
                  <a:pt x="394" y="245"/>
                  <a:pt x="394" y="245"/>
                </a:cubicBezTo>
                <a:cubicBezTo>
                  <a:pt x="405" y="245"/>
                  <a:pt x="405" y="245"/>
                  <a:pt x="405" y="245"/>
                </a:cubicBezTo>
                <a:cubicBezTo>
                  <a:pt x="411" y="245"/>
                  <a:pt x="416" y="250"/>
                  <a:pt x="416" y="256"/>
                </a:cubicBezTo>
                <a:cubicBezTo>
                  <a:pt x="416" y="262"/>
                  <a:pt x="411" y="266"/>
                  <a:pt x="405" y="26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55" name="Group 645">
            <a:extLst>
              <a:ext uri="{FF2B5EF4-FFF2-40B4-BE49-F238E27FC236}">
                <a16:creationId xmlns:a16="http://schemas.microsoft.com/office/drawing/2014/main" id="{D5AEAF4E-2EB1-4C34-8920-791F67AB0621}"/>
              </a:ext>
            </a:extLst>
          </p:cNvPr>
          <p:cNvGrpSpPr>
            <a:grpSpLocks noChangeAspect="1"/>
          </p:cNvGrpSpPr>
          <p:nvPr/>
        </p:nvGrpSpPr>
        <p:grpSpPr bwMode="auto">
          <a:xfrm>
            <a:off x="3517199" y="1698655"/>
            <a:ext cx="367982" cy="367982"/>
            <a:chOff x="5306" y="3201"/>
            <a:chExt cx="340" cy="340"/>
          </a:xfrm>
          <a:solidFill>
            <a:schemeClr val="accent1"/>
          </a:solidFill>
        </p:grpSpPr>
        <p:sp>
          <p:nvSpPr>
            <p:cNvPr id="362" name="Freeform 646">
              <a:extLst>
                <a:ext uri="{FF2B5EF4-FFF2-40B4-BE49-F238E27FC236}">
                  <a16:creationId xmlns:a16="http://schemas.microsoft.com/office/drawing/2014/main" id="{5F0BBC05-FCAF-4633-A6BC-FF3D223F6E28}"/>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3" name="Freeform 647">
              <a:extLst>
                <a:ext uri="{FF2B5EF4-FFF2-40B4-BE49-F238E27FC236}">
                  <a16:creationId xmlns:a16="http://schemas.microsoft.com/office/drawing/2014/main" id="{0B14A80C-4EA5-4190-9230-529A7F0F74B6}"/>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4" name="Freeform 651">
            <a:extLst>
              <a:ext uri="{FF2B5EF4-FFF2-40B4-BE49-F238E27FC236}">
                <a16:creationId xmlns:a16="http://schemas.microsoft.com/office/drawing/2014/main" id="{3091B5F9-2910-44FC-98EB-8B24199F30A2}"/>
              </a:ext>
            </a:extLst>
          </p:cNvPr>
          <p:cNvSpPr>
            <a:spLocks noChangeAspect="1" noEditPoints="1"/>
          </p:cNvSpPr>
          <p:nvPr/>
        </p:nvSpPr>
        <p:spPr bwMode="auto">
          <a:xfrm>
            <a:off x="3951679" y="1698655"/>
            <a:ext cx="367982" cy="367982"/>
          </a:xfrm>
          <a:custGeom>
            <a:avLst/>
            <a:gdLst>
              <a:gd name="T0" fmla="*/ 341 w 512"/>
              <a:gd name="T1" fmla="*/ 219 h 512"/>
              <a:gd name="T2" fmla="*/ 170 w 512"/>
              <a:gd name="T3" fmla="*/ 277 h 512"/>
              <a:gd name="T4" fmla="*/ 256 w 512"/>
              <a:gd name="T5" fmla="*/ 250 h 512"/>
              <a:gd name="T6" fmla="*/ 170 w 512"/>
              <a:gd name="T7" fmla="*/ 341 h 512"/>
              <a:gd name="T8" fmla="*/ 184 w 512"/>
              <a:gd name="T9" fmla="*/ 333 h 512"/>
              <a:gd name="T10" fmla="*/ 200 w 512"/>
              <a:gd name="T11" fmla="*/ 334 h 512"/>
              <a:gd name="T12" fmla="*/ 248 w 512"/>
              <a:gd name="T13" fmla="*/ 333 h 512"/>
              <a:gd name="T14" fmla="*/ 264 w 512"/>
              <a:gd name="T15" fmla="*/ 334 h 512"/>
              <a:gd name="T16" fmla="*/ 312 w 512"/>
              <a:gd name="T17" fmla="*/ 333 h 512"/>
              <a:gd name="T18" fmla="*/ 328 w 512"/>
              <a:gd name="T19" fmla="*/ 334 h 512"/>
              <a:gd name="T20" fmla="*/ 341 w 512"/>
              <a:gd name="T21" fmla="*/ 341 h 512"/>
              <a:gd name="T22" fmla="*/ 341 w 512"/>
              <a:gd name="T23" fmla="*/ 298 h 512"/>
              <a:gd name="T24" fmla="*/ 170 w 512"/>
              <a:gd name="T25" fmla="*/ 320 h 512"/>
              <a:gd name="T26" fmla="*/ 256 w 512"/>
              <a:gd name="T27" fmla="*/ 512 h 512"/>
              <a:gd name="T28" fmla="*/ 256 w 512"/>
              <a:gd name="T29" fmla="*/ 0 h 512"/>
              <a:gd name="T30" fmla="*/ 362 w 512"/>
              <a:gd name="T31" fmla="*/ 277 h 512"/>
              <a:gd name="T32" fmla="*/ 401 w 512"/>
              <a:gd name="T33" fmla="*/ 242 h 512"/>
              <a:gd name="T34" fmla="*/ 415 w 512"/>
              <a:gd name="T35" fmla="*/ 236 h 512"/>
              <a:gd name="T36" fmla="*/ 362 w 512"/>
              <a:gd name="T37" fmla="*/ 188 h 512"/>
              <a:gd name="T38" fmla="*/ 352 w 512"/>
              <a:gd name="T39" fmla="*/ 160 h 512"/>
              <a:gd name="T40" fmla="*/ 341 w 512"/>
              <a:gd name="T41" fmla="*/ 188 h 512"/>
              <a:gd name="T42" fmla="*/ 170 w 512"/>
              <a:gd name="T43" fmla="*/ 188 h 512"/>
              <a:gd name="T44" fmla="*/ 160 w 512"/>
              <a:gd name="T45" fmla="*/ 160 h 512"/>
              <a:gd name="T46" fmla="*/ 149 w 512"/>
              <a:gd name="T47" fmla="*/ 188 h 512"/>
              <a:gd name="T48" fmla="*/ 96 w 512"/>
              <a:gd name="T49" fmla="*/ 236 h 512"/>
              <a:gd name="T50" fmla="*/ 110 w 512"/>
              <a:gd name="T51" fmla="*/ 242 h 512"/>
              <a:gd name="T52" fmla="*/ 149 w 512"/>
              <a:gd name="T53" fmla="*/ 277 h 512"/>
              <a:gd name="T54" fmla="*/ 96 w 512"/>
              <a:gd name="T55" fmla="*/ 288 h 512"/>
              <a:gd name="T56" fmla="*/ 149 w 512"/>
              <a:gd name="T57" fmla="*/ 298 h 512"/>
              <a:gd name="T58" fmla="*/ 149 w 512"/>
              <a:gd name="T59" fmla="*/ 341 h 512"/>
              <a:gd name="T60" fmla="*/ 136 w 512"/>
              <a:gd name="T61" fmla="*/ 334 h 512"/>
              <a:gd name="T62" fmla="*/ 120 w 512"/>
              <a:gd name="T63" fmla="*/ 333 h 512"/>
              <a:gd name="T64" fmla="*/ 96 w 512"/>
              <a:gd name="T65" fmla="*/ 358 h 512"/>
              <a:gd name="T66" fmla="*/ 127 w 512"/>
              <a:gd name="T67" fmla="*/ 355 h 512"/>
              <a:gd name="T68" fmla="*/ 191 w 512"/>
              <a:gd name="T69" fmla="*/ 356 h 512"/>
              <a:gd name="T70" fmla="*/ 255 w 512"/>
              <a:gd name="T71" fmla="*/ 356 h 512"/>
              <a:gd name="T72" fmla="*/ 319 w 512"/>
              <a:gd name="T73" fmla="*/ 356 h 512"/>
              <a:gd name="T74" fmla="*/ 351 w 512"/>
              <a:gd name="T75" fmla="*/ 368 h 512"/>
              <a:gd name="T76" fmla="*/ 402 w 512"/>
              <a:gd name="T77" fmla="*/ 366 h 512"/>
              <a:gd name="T78" fmla="*/ 408 w 512"/>
              <a:gd name="T79" fmla="*/ 345 h 512"/>
              <a:gd name="T80" fmla="*/ 384 w 512"/>
              <a:gd name="T81" fmla="*/ 330 h 512"/>
              <a:gd name="T82" fmla="*/ 362 w 512"/>
              <a:gd name="T83" fmla="*/ 343 h 512"/>
              <a:gd name="T84" fmla="*/ 362 w 512"/>
              <a:gd name="T85" fmla="*/ 330 h 512"/>
              <a:gd name="T86" fmla="*/ 405 w 512"/>
              <a:gd name="T87" fmla="*/ 298 h 512"/>
              <a:gd name="T88" fmla="*/ 405 w 512"/>
              <a:gd name="T8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56" y="250"/>
                </a:moveTo>
                <a:cubicBezTo>
                  <a:pt x="287" y="250"/>
                  <a:pt x="318" y="239"/>
                  <a:pt x="341" y="219"/>
                </a:cubicBezTo>
                <a:cubicBezTo>
                  <a:pt x="341" y="277"/>
                  <a:pt x="341" y="277"/>
                  <a:pt x="341" y="277"/>
                </a:cubicBezTo>
                <a:cubicBezTo>
                  <a:pt x="170" y="277"/>
                  <a:pt x="170" y="277"/>
                  <a:pt x="170" y="277"/>
                </a:cubicBezTo>
                <a:cubicBezTo>
                  <a:pt x="170" y="219"/>
                  <a:pt x="170" y="219"/>
                  <a:pt x="170" y="219"/>
                </a:cubicBezTo>
                <a:cubicBezTo>
                  <a:pt x="193" y="239"/>
                  <a:pt x="223" y="250"/>
                  <a:pt x="256" y="250"/>
                </a:cubicBezTo>
                <a:close/>
                <a:moveTo>
                  <a:pt x="170" y="320"/>
                </a:moveTo>
                <a:cubicBezTo>
                  <a:pt x="170" y="341"/>
                  <a:pt x="170" y="341"/>
                  <a:pt x="170" y="341"/>
                </a:cubicBezTo>
                <a:cubicBezTo>
                  <a:pt x="170" y="343"/>
                  <a:pt x="170" y="343"/>
                  <a:pt x="170" y="343"/>
                </a:cubicBezTo>
                <a:cubicBezTo>
                  <a:pt x="175" y="341"/>
                  <a:pt x="179" y="338"/>
                  <a:pt x="184" y="333"/>
                </a:cubicBezTo>
                <a:cubicBezTo>
                  <a:pt x="186" y="331"/>
                  <a:pt x="189" y="330"/>
                  <a:pt x="192" y="330"/>
                </a:cubicBezTo>
                <a:cubicBezTo>
                  <a:pt x="195" y="331"/>
                  <a:pt x="198" y="332"/>
                  <a:pt x="200" y="334"/>
                </a:cubicBezTo>
                <a:cubicBezTo>
                  <a:pt x="200" y="334"/>
                  <a:pt x="209" y="346"/>
                  <a:pt x="222" y="346"/>
                </a:cubicBezTo>
                <a:cubicBezTo>
                  <a:pt x="230" y="347"/>
                  <a:pt x="239" y="342"/>
                  <a:pt x="248" y="333"/>
                </a:cubicBezTo>
                <a:cubicBezTo>
                  <a:pt x="250" y="331"/>
                  <a:pt x="253" y="330"/>
                  <a:pt x="256" y="330"/>
                </a:cubicBezTo>
                <a:cubicBezTo>
                  <a:pt x="259" y="331"/>
                  <a:pt x="262" y="332"/>
                  <a:pt x="264" y="334"/>
                </a:cubicBezTo>
                <a:cubicBezTo>
                  <a:pt x="264" y="334"/>
                  <a:pt x="273" y="346"/>
                  <a:pt x="286" y="346"/>
                </a:cubicBezTo>
                <a:cubicBezTo>
                  <a:pt x="294" y="347"/>
                  <a:pt x="303" y="342"/>
                  <a:pt x="312" y="333"/>
                </a:cubicBezTo>
                <a:cubicBezTo>
                  <a:pt x="314" y="331"/>
                  <a:pt x="317" y="330"/>
                  <a:pt x="320" y="330"/>
                </a:cubicBezTo>
                <a:cubicBezTo>
                  <a:pt x="323" y="331"/>
                  <a:pt x="326" y="332"/>
                  <a:pt x="328" y="334"/>
                </a:cubicBezTo>
                <a:cubicBezTo>
                  <a:pt x="328" y="334"/>
                  <a:pt x="333" y="341"/>
                  <a:pt x="341" y="344"/>
                </a:cubicBezTo>
                <a:cubicBezTo>
                  <a:pt x="341" y="341"/>
                  <a:pt x="341" y="341"/>
                  <a:pt x="341" y="341"/>
                </a:cubicBezTo>
                <a:cubicBezTo>
                  <a:pt x="341" y="330"/>
                  <a:pt x="341" y="330"/>
                  <a:pt x="341" y="330"/>
                </a:cubicBezTo>
                <a:cubicBezTo>
                  <a:pt x="341" y="298"/>
                  <a:pt x="341" y="298"/>
                  <a:pt x="341" y="298"/>
                </a:cubicBezTo>
                <a:cubicBezTo>
                  <a:pt x="170" y="298"/>
                  <a:pt x="170" y="298"/>
                  <a:pt x="170" y="298"/>
                </a:cubicBezTo>
                <a:lnTo>
                  <a:pt x="170"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277"/>
                </a:moveTo>
                <a:cubicBezTo>
                  <a:pt x="362" y="219"/>
                  <a:pt x="362" y="219"/>
                  <a:pt x="362" y="219"/>
                </a:cubicBezTo>
                <a:cubicBezTo>
                  <a:pt x="373" y="228"/>
                  <a:pt x="386" y="236"/>
                  <a:pt x="401" y="242"/>
                </a:cubicBezTo>
                <a:cubicBezTo>
                  <a:pt x="402" y="242"/>
                  <a:pt x="404" y="242"/>
                  <a:pt x="405" y="242"/>
                </a:cubicBezTo>
                <a:cubicBezTo>
                  <a:pt x="409" y="242"/>
                  <a:pt x="413" y="240"/>
                  <a:pt x="415" y="236"/>
                </a:cubicBezTo>
                <a:cubicBezTo>
                  <a:pt x="417" y="230"/>
                  <a:pt x="414" y="224"/>
                  <a:pt x="409" y="222"/>
                </a:cubicBezTo>
                <a:cubicBezTo>
                  <a:pt x="389" y="214"/>
                  <a:pt x="373" y="202"/>
                  <a:pt x="362" y="188"/>
                </a:cubicBezTo>
                <a:cubicBezTo>
                  <a:pt x="362" y="170"/>
                  <a:pt x="362" y="170"/>
                  <a:pt x="362" y="170"/>
                </a:cubicBezTo>
                <a:cubicBezTo>
                  <a:pt x="362" y="164"/>
                  <a:pt x="358" y="160"/>
                  <a:pt x="352" y="160"/>
                </a:cubicBezTo>
                <a:cubicBezTo>
                  <a:pt x="346" y="160"/>
                  <a:pt x="341" y="164"/>
                  <a:pt x="341" y="170"/>
                </a:cubicBezTo>
                <a:cubicBezTo>
                  <a:pt x="341" y="188"/>
                  <a:pt x="341" y="188"/>
                  <a:pt x="341" y="188"/>
                </a:cubicBezTo>
                <a:cubicBezTo>
                  <a:pt x="321" y="214"/>
                  <a:pt x="289" y="229"/>
                  <a:pt x="256" y="229"/>
                </a:cubicBezTo>
                <a:cubicBezTo>
                  <a:pt x="221" y="229"/>
                  <a:pt x="190" y="214"/>
                  <a:pt x="170" y="188"/>
                </a:cubicBezTo>
                <a:cubicBezTo>
                  <a:pt x="170" y="170"/>
                  <a:pt x="170" y="170"/>
                  <a:pt x="170" y="170"/>
                </a:cubicBezTo>
                <a:cubicBezTo>
                  <a:pt x="170" y="164"/>
                  <a:pt x="166" y="160"/>
                  <a:pt x="160" y="160"/>
                </a:cubicBezTo>
                <a:cubicBezTo>
                  <a:pt x="154" y="160"/>
                  <a:pt x="149" y="164"/>
                  <a:pt x="149" y="170"/>
                </a:cubicBezTo>
                <a:cubicBezTo>
                  <a:pt x="149" y="188"/>
                  <a:pt x="149" y="188"/>
                  <a:pt x="149" y="188"/>
                </a:cubicBezTo>
                <a:cubicBezTo>
                  <a:pt x="138" y="202"/>
                  <a:pt x="121" y="214"/>
                  <a:pt x="102" y="222"/>
                </a:cubicBezTo>
                <a:cubicBezTo>
                  <a:pt x="97" y="224"/>
                  <a:pt x="94" y="230"/>
                  <a:pt x="96" y="236"/>
                </a:cubicBezTo>
                <a:cubicBezTo>
                  <a:pt x="98" y="240"/>
                  <a:pt x="102" y="242"/>
                  <a:pt x="106" y="242"/>
                </a:cubicBezTo>
                <a:cubicBezTo>
                  <a:pt x="108" y="242"/>
                  <a:pt x="109" y="242"/>
                  <a:pt x="110" y="242"/>
                </a:cubicBezTo>
                <a:cubicBezTo>
                  <a:pt x="125" y="236"/>
                  <a:pt x="138" y="228"/>
                  <a:pt x="149" y="218"/>
                </a:cubicBezTo>
                <a:cubicBezTo>
                  <a:pt x="149" y="277"/>
                  <a:pt x="149" y="277"/>
                  <a:pt x="149" y="277"/>
                </a:cubicBezTo>
                <a:cubicBezTo>
                  <a:pt x="106" y="277"/>
                  <a:pt x="106" y="277"/>
                  <a:pt x="106" y="277"/>
                </a:cubicBezTo>
                <a:cubicBezTo>
                  <a:pt x="100" y="277"/>
                  <a:pt x="96" y="282"/>
                  <a:pt x="96" y="288"/>
                </a:cubicBezTo>
                <a:cubicBezTo>
                  <a:pt x="96" y="294"/>
                  <a:pt x="100" y="298"/>
                  <a:pt x="106" y="298"/>
                </a:cubicBezTo>
                <a:cubicBezTo>
                  <a:pt x="149" y="298"/>
                  <a:pt x="149" y="298"/>
                  <a:pt x="149" y="298"/>
                </a:cubicBezTo>
                <a:cubicBezTo>
                  <a:pt x="149" y="320"/>
                  <a:pt x="149" y="320"/>
                  <a:pt x="149" y="320"/>
                </a:cubicBezTo>
                <a:cubicBezTo>
                  <a:pt x="149" y="341"/>
                  <a:pt x="149" y="341"/>
                  <a:pt x="149" y="341"/>
                </a:cubicBezTo>
                <a:cubicBezTo>
                  <a:pt x="149" y="344"/>
                  <a:pt x="149" y="344"/>
                  <a:pt x="149" y="344"/>
                </a:cubicBezTo>
                <a:cubicBezTo>
                  <a:pt x="141" y="341"/>
                  <a:pt x="136" y="334"/>
                  <a:pt x="136" y="334"/>
                </a:cubicBezTo>
                <a:cubicBezTo>
                  <a:pt x="134" y="332"/>
                  <a:pt x="131" y="331"/>
                  <a:pt x="128" y="330"/>
                </a:cubicBezTo>
                <a:cubicBezTo>
                  <a:pt x="125" y="330"/>
                  <a:pt x="122" y="331"/>
                  <a:pt x="120" y="333"/>
                </a:cubicBezTo>
                <a:cubicBezTo>
                  <a:pt x="114" y="339"/>
                  <a:pt x="109" y="343"/>
                  <a:pt x="103" y="345"/>
                </a:cubicBezTo>
                <a:cubicBezTo>
                  <a:pt x="97" y="347"/>
                  <a:pt x="94" y="353"/>
                  <a:pt x="96" y="358"/>
                </a:cubicBezTo>
                <a:cubicBezTo>
                  <a:pt x="98" y="364"/>
                  <a:pt x="104" y="367"/>
                  <a:pt x="110" y="365"/>
                </a:cubicBezTo>
                <a:cubicBezTo>
                  <a:pt x="116" y="363"/>
                  <a:pt x="122" y="360"/>
                  <a:pt x="127" y="355"/>
                </a:cubicBezTo>
                <a:cubicBezTo>
                  <a:pt x="134" y="361"/>
                  <a:pt x="144" y="367"/>
                  <a:pt x="156" y="368"/>
                </a:cubicBezTo>
                <a:cubicBezTo>
                  <a:pt x="168" y="368"/>
                  <a:pt x="180" y="364"/>
                  <a:pt x="191" y="356"/>
                </a:cubicBezTo>
                <a:cubicBezTo>
                  <a:pt x="198" y="361"/>
                  <a:pt x="208" y="367"/>
                  <a:pt x="220" y="368"/>
                </a:cubicBezTo>
                <a:cubicBezTo>
                  <a:pt x="232" y="368"/>
                  <a:pt x="244" y="364"/>
                  <a:pt x="255" y="356"/>
                </a:cubicBezTo>
                <a:cubicBezTo>
                  <a:pt x="262" y="361"/>
                  <a:pt x="272" y="367"/>
                  <a:pt x="284" y="368"/>
                </a:cubicBezTo>
                <a:cubicBezTo>
                  <a:pt x="296" y="368"/>
                  <a:pt x="308" y="364"/>
                  <a:pt x="319" y="356"/>
                </a:cubicBezTo>
                <a:cubicBezTo>
                  <a:pt x="326" y="361"/>
                  <a:pt x="336" y="367"/>
                  <a:pt x="348" y="368"/>
                </a:cubicBezTo>
                <a:cubicBezTo>
                  <a:pt x="349" y="368"/>
                  <a:pt x="350" y="368"/>
                  <a:pt x="351" y="368"/>
                </a:cubicBezTo>
                <a:cubicBezTo>
                  <a:pt x="362" y="368"/>
                  <a:pt x="373" y="364"/>
                  <a:pt x="383" y="356"/>
                </a:cubicBezTo>
                <a:cubicBezTo>
                  <a:pt x="388" y="359"/>
                  <a:pt x="394" y="363"/>
                  <a:pt x="402" y="366"/>
                </a:cubicBezTo>
                <a:cubicBezTo>
                  <a:pt x="408" y="367"/>
                  <a:pt x="413" y="364"/>
                  <a:pt x="415" y="358"/>
                </a:cubicBezTo>
                <a:cubicBezTo>
                  <a:pt x="417" y="353"/>
                  <a:pt x="414" y="347"/>
                  <a:pt x="408" y="345"/>
                </a:cubicBezTo>
                <a:cubicBezTo>
                  <a:pt x="398" y="342"/>
                  <a:pt x="392" y="334"/>
                  <a:pt x="392" y="334"/>
                </a:cubicBezTo>
                <a:cubicBezTo>
                  <a:pt x="390" y="332"/>
                  <a:pt x="387" y="331"/>
                  <a:pt x="384" y="330"/>
                </a:cubicBezTo>
                <a:cubicBezTo>
                  <a:pt x="381" y="330"/>
                  <a:pt x="378" y="331"/>
                  <a:pt x="376" y="333"/>
                </a:cubicBezTo>
                <a:cubicBezTo>
                  <a:pt x="371" y="338"/>
                  <a:pt x="367" y="341"/>
                  <a:pt x="362" y="343"/>
                </a:cubicBezTo>
                <a:cubicBezTo>
                  <a:pt x="362" y="341"/>
                  <a:pt x="362" y="341"/>
                  <a:pt x="362" y="341"/>
                </a:cubicBezTo>
                <a:cubicBezTo>
                  <a:pt x="362" y="330"/>
                  <a:pt x="362" y="330"/>
                  <a:pt x="362" y="330"/>
                </a:cubicBezTo>
                <a:cubicBezTo>
                  <a:pt x="362" y="298"/>
                  <a:pt x="362" y="298"/>
                  <a:pt x="362" y="298"/>
                </a:cubicBezTo>
                <a:cubicBezTo>
                  <a:pt x="405" y="298"/>
                  <a:pt x="405" y="298"/>
                  <a:pt x="405" y="298"/>
                </a:cubicBezTo>
                <a:cubicBezTo>
                  <a:pt x="411" y="298"/>
                  <a:pt x="416" y="294"/>
                  <a:pt x="416" y="288"/>
                </a:cubicBezTo>
                <a:cubicBezTo>
                  <a:pt x="416" y="282"/>
                  <a:pt x="411" y="277"/>
                  <a:pt x="405" y="277"/>
                </a:cubicBezTo>
                <a:lnTo>
                  <a:pt x="362" y="2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65" name="Group 654">
            <a:extLst>
              <a:ext uri="{FF2B5EF4-FFF2-40B4-BE49-F238E27FC236}">
                <a16:creationId xmlns:a16="http://schemas.microsoft.com/office/drawing/2014/main" id="{79AECEF5-801A-429D-9795-96E8CE841386}"/>
              </a:ext>
            </a:extLst>
          </p:cNvPr>
          <p:cNvGrpSpPr>
            <a:grpSpLocks noChangeAspect="1"/>
          </p:cNvGrpSpPr>
          <p:nvPr/>
        </p:nvGrpSpPr>
        <p:grpSpPr bwMode="auto">
          <a:xfrm>
            <a:off x="4386159" y="1698655"/>
            <a:ext cx="367982" cy="369064"/>
            <a:chOff x="6105" y="3542"/>
            <a:chExt cx="340" cy="341"/>
          </a:xfrm>
          <a:solidFill>
            <a:schemeClr val="accent1"/>
          </a:solidFill>
        </p:grpSpPr>
        <p:sp>
          <p:nvSpPr>
            <p:cNvPr id="366" name="Freeform 273">
              <a:extLst>
                <a:ext uri="{FF2B5EF4-FFF2-40B4-BE49-F238E27FC236}">
                  <a16:creationId xmlns:a16="http://schemas.microsoft.com/office/drawing/2014/main" id="{CB355EC0-31D1-4D6D-BEC2-543EAD1445B0}"/>
                </a:ext>
              </a:extLst>
            </p:cNvPr>
            <p:cNvSpPr>
              <a:spLocks noEditPoints="1"/>
            </p:cNvSpPr>
            <p:nvPr/>
          </p:nvSpPr>
          <p:spPr bwMode="auto">
            <a:xfrm>
              <a:off x="6105" y="354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7" name="Freeform 274">
              <a:extLst>
                <a:ext uri="{FF2B5EF4-FFF2-40B4-BE49-F238E27FC236}">
                  <a16:creationId xmlns:a16="http://schemas.microsoft.com/office/drawing/2014/main" id="{A2C38507-94FE-4CDA-8E3C-9D667E001F93}"/>
                </a:ext>
              </a:extLst>
            </p:cNvPr>
            <p:cNvSpPr>
              <a:spLocks noEditPoints="1"/>
            </p:cNvSpPr>
            <p:nvPr/>
          </p:nvSpPr>
          <p:spPr bwMode="auto">
            <a:xfrm>
              <a:off x="6167" y="3649"/>
              <a:ext cx="215" cy="138"/>
            </a:xfrm>
            <a:custGeom>
              <a:avLst/>
              <a:gdLst>
                <a:gd name="T0" fmla="*/ 268 w 323"/>
                <a:gd name="T1" fmla="*/ 138 h 208"/>
                <a:gd name="T2" fmla="*/ 322 w 323"/>
                <a:gd name="T3" fmla="*/ 128 h 208"/>
                <a:gd name="T4" fmla="*/ 268 w 323"/>
                <a:gd name="T5" fmla="*/ 117 h 208"/>
                <a:gd name="T6" fmla="*/ 307 w 323"/>
                <a:gd name="T7" fmla="*/ 82 h 208"/>
                <a:gd name="T8" fmla="*/ 321 w 323"/>
                <a:gd name="T9" fmla="*/ 76 h 208"/>
                <a:gd name="T10" fmla="*/ 268 w 323"/>
                <a:gd name="T11" fmla="*/ 28 h 208"/>
                <a:gd name="T12" fmla="*/ 258 w 323"/>
                <a:gd name="T13" fmla="*/ 0 h 208"/>
                <a:gd name="T14" fmla="*/ 247 w 323"/>
                <a:gd name="T15" fmla="*/ 28 h 208"/>
                <a:gd name="T16" fmla="*/ 76 w 323"/>
                <a:gd name="T17" fmla="*/ 28 h 208"/>
                <a:gd name="T18" fmla="*/ 66 w 323"/>
                <a:gd name="T19" fmla="*/ 0 h 208"/>
                <a:gd name="T20" fmla="*/ 55 w 323"/>
                <a:gd name="T21" fmla="*/ 28 h 208"/>
                <a:gd name="T22" fmla="*/ 2 w 323"/>
                <a:gd name="T23" fmla="*/ 76 h 208"/>
                <a:gd name="T24" fmla="*/ 16 w 323"/>
                <a:gd name="T25" fmla="*/ 82 h 208"/>
                <a:gd name="T26" fmla="*/ 55 w 323"/>
                <a:gd name="T27" fmla="*/ 117 h 208"/>
                <a:gd name="T28" fmla="*/ 2 w 323"/>
                <a:gd name="T29" fmla="*/ 128 h 208"/>
                <a:gd name="T30" fmla="*/ 55 w 323"/>
                <a:gd name="T31" fmla="*/ 138 h 208"/>
                <a:gd name="T32" fmla="*/ 55 w 323"/>
                <a:gd name="T33" fmla="*/ 181 h 208"/>
                <a:gd name="T34" fmla="*/ 42 w 323"/>
                <a:gd name="T35" fmla="*/ 174 h 208"/>
                <a:gd name="T36" fmla="*/ 26 w 323"/>
                <a:gd name="T37" fmla="*/ 173 h 208"/>
                <a:gd name="T38" fmla="*/ 2 w 323"/>
                <a:gd name="T39" fmla="*/ 198 h 208"/>
                <a:gd name="T40" fmla="*/ 33 w 323"/>
                <a:gd name="T41" fmla="*/ 195 h 208"/>
                <a:gd name="T42" fmla="*/ 97 w 323"/>
                <a:gd name="T43" fmla="*/ 196 h 208"/>
                <a:gd name="T44" fmla="*/ 161 w 323"/>
                <a:gd name="T45" fmla="*/ 196 h 208"/>
                <a:gd name="T46" fmla="*/ 225 w 323"/>
                <a:gd name="T47" fmla="*/ 196 h 208"/>
                <a:gd name="T48" fmla="*/ 257 w 323"/>
                <a:gd name="T49" fmla="*/ 208 h 208"/>
                <a:gd name="T50" fmla="*/ 308 w 323"/>
                <a:gd name="T51" fmla="*/ 206 h 208"/>
                <a:gd name="T52" fmla="*/ 314 w 323"/>
                <a:gd name="T53" fmla="*/ 185 h 208"/>
                <a:gd name="T54" fmla="*/ 290 w 323"/>
                <a:gd name="T55" fmla="*/ 170 h 208"/>
                <a:gd name="T56" fmla="*/ 268 w 323"/>
                <a:gd name="T57" fmla="*/ 183 h 208"/>
                <a:gd name="T58" fmla="*/ 268 w 323"/>
                <a:gd name="T59" fmla="*/ 170 h 208"/>
                <a:gd name="T60" fmla="*/ 162 w 323"/>
                <a:gd name="T61" fmla="*/ 90 h 208"/>
                <a:gd name="T62" fmla="*/ 247 w 323"/>
                <a:gd name="T63" fmla="*/ 117 h 208"/>
                <a:gd name="T64" fmla="*/ 76 w 323"/>
                <a:gd name="T65" fmla="*/ 59 h 208"/>
                <a:gd name="T66" fmla="*/ 226 w 323"/>
                <a:gd name="T67" fmla="*/ 170 h 208"/>
                <a:gd name="T68" fmla="*/ 192 w 323"/>
                <a:gd name="T69" fmla="*/ 186 h 208"/>
                <a:gd name="T70" fmla="*/ 162 w 323"/>
                <a:gd name="T71" fmla="*/ 170 h 208"/>
                <a:gd name="T72" fmla="*/ 128 w 323"/>
                <a:gd name="T73" fmla="*/ 186 h 208"/>
                <a:gd name="T74" fmla="*/ 98 w 323"/>
                <a:gd name="T75" fmla="*/ 170 h 208"/>
                <a:gd name="T76" fmla="*/ 76 w 323"/>
                <a:gd name="T77" fmla="*/ 183 h 208"/>
                <a:gd name="T78" fmla="*/ 76 w 323"/>
                <a:gd name="T79" fmla="*/ 170 h 208"/>
                <a:gd name="T80" fmla="*/ 247 w 323"/>
                <a:gd name="T81" fmla="*/ 138 h 208"/>
                <a:gd name="T82" fmla="*/ 247 w 323"/>
                <a:gd name="T83" fmla="*/ 181 h 208"/>
                <a:gd name="T84" fmla="*/ 234 w 323"/>
                <a:gd name="T85" fmla="*/ 17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 h="208">
                  <a:moveTo>
                    <a:pt x="268" y="170"/>
                  </a:moveTo>
                  <a:cubicBezTo>
                    <a:pt x="268" y="138"/>
                    <a:pt x="268" y="138"/>
                    <a:pt x="268" y="138"/>
                  </a:cubicBezTo>
                  <a:cubicBezTo>
                    <a:pt x="311" y="138"/>
                    <a:pt x="311" y="138"/>
                    <a:pt x="311" y="138"/>
                  </a:cubicBezTo>
                  <a:cubicBezTo>
                    <a:pt x="317" y="138"/>
                    <a:pt x="322" y="134"/>
                    <a:pt x="322" y="128"/>
                  </a:cubicBezTo>
                  <a:cubicBezTo>
                    <a:pt x="322" y="122"/>
                    <a:pt x="317" y="117"/>
                    <a:pt x="311" y="117"/>
                  </a:cubicBezTo>
                  <a:cubicBezTo>
                    <a:pt x="268" y="117"/>
                    <a:pt x="268" y="117"/>
                    <a:pt x="268" y="117"/>
                  </a:cubicBezTo>
                  <a:cubicBezTo>
                    <a:pt x="268" y="59"/>
                    <a:pt x="268" y="59"/>
                    <a:pt x="268" y="59"/>
                  </a:cubicBezTo>
                  <a:cubicBezTo>
                    <a:pt x="279" y="68"/>
                    <a:pt x="292" y="76"/>
                    <a:pt x="307" y="82"/>
                  </a:cubicBezTo>
                  <a:cubicBezTo>
                    <a:pt x="308" y="82"/>
                    <a:pt x="310" y="82"/>
                    <a:pt x="311" y="82"/>
                  </a:cubicBezTo>
                  <a:cubicBezTo>
                    <a:pt x="315" y="82"/>
                    <a:pt x="319" y="80"/>
                    <a:pt x="321" y="76"/>
                  </a:cubicBezTo>
                  <a:cubicBezTo>
                    <a:pt x="323" y="70"/>
                    <a:pt x="320" y="64"/>
                    <a:pt x="315" y="62"/>
                  </a:cubicBezTo>
                  <a:cubicBezTo>
                    <a:pt x="295" y="54"/>
                    <a:pt x="279" y="42"/>
                    <a:pt x="268" y="28"/>
                  </a:cubicBezTo>
                  <a:cubicBezTo>
                    <a:pt x="268" y="10"/>
                    <a:pt x="268" y="10"/>
                    <a:pt x="268" y="10"/>
                  </a:cubicBezTo>
                  <a:cubicBezTo>
                    <a:pt x="268" y="4"/>
                    <a:pt x="264" y="0"/>
                    <a:pt x="258" y="0"/>
                  </a:cubicBezTo>
                  <a:cubicBezTo>
                    <a:pt x="252" y="0"/>
                    <a:pt x="247" y="4"/>
                    <a:pt x="247" y="10"/>
                  </a:cubicBezTo>
                  <a:cubicBezTo>
                    <a:pt x="247" y="28"/>
                    <a:pt x="247" y="28"/>
                    <a:pt x="247" y="28"/>
                  </a:cubicBezTo>
                  <a:cubicBezTo>
                    <a:pt x="227" y="54"/>
                    <a:pt x="195" y="69"/>
                    <a:pt x="162" y="69"/>
                  </a:cubicBezTo>
                  <a:cubicBezTo>
                    <a:pt x="127" y="69"/>
                    <a:pt x="96" y="54"/>
                    <a:pt x="76" y="28"/>
                  </a:cubicBezTo>
                  <a:cubicBezTo>
                    <a:pt x="76" y="10"/>
                    <a:pt x="76" y="10"/>
                    <a:pt x="76" y="10"/>
                  </a:cubicBezTo>
                  <a:cubicBezTo>
                    <a:pt x="76" y="4"/>
                    <a:pt x="72" y="0"/>
                    <a:pt x="66" y="0"/>
                  </a:cubicBezTo>
                  <a:cubicBezTo>
                    <a:pt x="60" y="0"/>
                    <a:pt x="55" y="4"/>
                    <a:pt x="55" y="10"/>
                  </a:cubicBezTo>
                  <a:cubicBezTo>
                    <a:pt x="55" y="28"/>
                    <a:pt x="55" y="28"/>
                    <a:pt x="55" y="28"/>
                  </a:cubicBezTo>
                  <a:cubicBezTo>
                    <a:pt x="44" y="42"/>
                    <a:pt x="27" y="54"/>
                    <a:pt x="8" y="62"/>
                  </a:cubicBezTo>
                  <a:cubicBezTo>
                    <a:pt x="3" y="64"/>
                    <a:pt x="0" y="70"/>
                    <a:pt x="2" y="76"/>
                  </a:cubicBezTo>
                  <a:cubicBezTo>
                    <a:pt x="4" y="80"/>
                    <a:pt x="8" y="82"/>
                    <a:pt x="12" y="82"/>
                  </a:cubicBezTo>
                  <a:cubicBezTo>
                    <a:pt x="14" y="82"/>
                    <a:pt x="15" y="82"/>
                    <a:pt x="16" y="82"/>
                  </a:cubicBezTo>
                  <a:cubicBezTo>
                    <a:pt x="31" y="76"/>
                    <a:pt x="44" y="68"/>
                    <a:pt x="55" y="58"/>
                  </a:cubicBezTo>
                  <a:cubicBezTo>
                    <a:pt x="55" y="117"/>
                    <a:pt x="55" y="117"/>
                    <a:pt x="55" y="117"/>
                  </a:cubicBezTo>
                  <a:cubicBezTo>
                    <a:pt x="12" y="117"/>
                    <a:pt x="12" y="117"/>
                    <a:pt x="12" y="117"/>
                  </a:cubicBezTo>
                  <a:cubicBezTo>
                    <a:pt x="6" y="117"/>
                    <a:pt x="2" y="122"/>
                    <a:pt x="2" y="128"/>
                  </a:cubicBezTo>
                  <a:cubicBezTo>
                    <a:pt x="2" y="134"/>
                    <a:pt x="6" y="138"/>
                    <a:pt x="12" y="138"/>
                  </a:cubicBezTo>
                  <a:cubicBezTo>
                    <a:pt x="55" y="138"/>
                    <a:pt x="55" y="138"/>
                    <a:pt x="55" y="138"/>
                  </a:cubicBezTo>
                  <a:cubicBezTo>
                    <a:pt x="55" y="170"/>
                    <a:pt x="55" y="170"/>
                    <a:pt x="55" y="170"/>
                  </a:cubicBezTo>
                  <a:cubicBezTo>
                    <a:pt x="55" y="181"/>
                    <a:pt x="55" y="181"/>
                    <a:pt x="55" y="181"/>
                  </a:cubicBezTo>
                  <a:cubicBezTo>
                    <a:pt x="55" y="184"/>
                    <a:pt x="55" y="184"/>
                    <a:pt x="55" y="184"/>
                  </a:cubicBezTo>
                  <a:cubicBezTo>
                    <a:pt x="47" y="181"/>
                    <a:pt x="42" y="174"/>
                    <a:pt x="42" y="174"/>
                  </a:cubicBezTo>
                  <a:cubicBezTo>
                    <a:pt x="40" y="172"/>
                    <a:pt x="37" y="171"/>
                    <a:pt x="34" y="170"/>
                  </a:cubicBezTo>
                  <a:cubicBezTo>
                    <a:pt x="31" y="170"/>
                    <a:pt x="28" y="171"/>
                    <a:pt x="26" y="173"/>
                  </a:cubicBezTo>
                  <a:cubicBezTo>
                    <a:pt x="20" y="179"/>
                    <a:pt x="15" y="183"/>
                    <a:pt x="9" y="185"/>
                  </a:cubicBezTo>
                  <a:cubicBezTo>
                    <a:pt x="3" y="187"/>
                    <a:pt x="0" y="193"/>
                    <a:pt x="2" y="198"/>
                  </a:cubicBezTo>
                  <a:cubicBezTo>
                    <a:pt x="4" y="204"/>
                    <a:pt x="10" y="207"/>
                    <a:pt x="16" y="205"/>
                  </a:cubicBezTo>
                  <a:cubicBezTo>
                    <a:pt x="22" y="203"/>
                    <a:pt x="28" y="200"/>
                    <a:pt x="33" y="195"/>
                  </a:cubicBezTo>
                  <a:cubicBezTo>
                    <a:pt x="40" y="201"/>
                    <a:pt x="50" y="207"/>
                    <a:pt x="62" y="208"/>
                  </a:cubicBezTo>
                  <a:cubicBezTo>
                    <a:pt x="74" y="208"/>
                    <a:pt x="86" y="204"/>
                    <a:pt x="97" y="196"/>
                  </a:cubicBezTo>
                  <a:cubicBezTo>
                    <a:pt x="104" y="201"/>
                    <a:pt x="114" y="207"/>
                    <a:pt x="126" y="208"/>
                  </a:cubicBezTo>
                  <a:cubicBezTo>
                    <a:pt x="138" y="208"/>
                    <a:pt x="150" y="204"/>
                    <a:pt x="161" y="196"/>
                  </a:cubicBezTo>
                  <a:cubicBezTo>
                    <a:pt x="168" y="201"/>
                    <a:pt x="178" y="207"/>
                    <a:pt x="190" y="208"/>
                  </a:cubicBezTo>
                  <a:cubicBezTo>
                    <a:pt x="202" y="208"/>
                    <a:pt x="214" y="204"/>
                    <a:pt x="225" y="196"/>
                  </a:cubicBezTo>
                  <a:cubicBezTo>
                    <a:pt x="232" y="201"/>
                    <a:pt x="242" y="207"/>
                    <a:pt x="254" y="208"/>
                  </a:cubicBezTo>
                  <a:cubicBezTo>
                    <a:pt x="255" y="208"/>
                    <a:pt x="256" y="208"/>
                    <a:pt x="257" y="208"/>
                  </a:cubicBezTo>
                  <a:cubicBezTo>
                    <a:pt x="268" y="208"/>
                    <a:pt x="279" y="204"/>
                    <a:pt x="289" y="196"/>
                  </a:cubicBezTo>
                  <a:cubicBezTo>
                    <a:pt x="294" y="199"/>
                    <a:pt x="300" y="203"/>
                    <a:pt x="308" y="206"/>
                  </a:cubicBezTo>
                  <a:cubicBezTo>
                    <a:pt x="314" y="207"/>
                    <a:pt x="319" y="204"/>
                    <a:pt x="321" y="198"/>
                  </a:cubicBezTo>
                  <a:cubicBezTo>
                    <a:pt x="323" y="193"/>
                    <a:pt x="320" y="187"/>
                    <a:pt x="314" y="185"/>
                  </a:cubicBezTo>
                  <a:cubicBezTo>
                    <a:pt x="304" y="182"/>
                    <a:pt x="298" y="174"/>
                    <a:pt x="298" y="174"/>
                  </a:cubicBezTo>
                  <a:cubicBezTo>
                    <a:pt x="296" y="172"/>
                    <a:pt x="293" y="171"/>
                    <a:pt x="290" y="170"/>
                  </a:cubicBezTo>
                  <a:cubicBezTo>
                    <a:pt x="287" y="170"/>
                    <a:pt x="284" y="171"/>
                    <a:pt x="282" y="173"/>
                  </a:cubicBezTo>
                  <a:cubicBezTo>
                    <a:pt x="277" y="178"/>
                    <a:pt x="273" y="181"/>
                    <a:pt x="268" y="183"/>
                  </a:cubicBezTo>
                  <a:cubicBezTo>
                    <a:pt x="268" y="181"/>
                    <a:pt x="268" y="181"/>
                    <a:pt x="268" y="181"/>
                  </a:cubicBezTo>
                  <a:lnTo>
                    <a:pt x="268" y="170"/>
                  </a:lnTo>
                  <a:close/>
                  <a:moveTo>
                    <a:pt x="76" y="59"/>
                  </a:moveTo>
                  <a:cubicBezTo>
                    <a:pt x="99" y="79"/>
                    <a:pt x="129" y="90"/>
                    <a:pt x="162" y="90"/>
                  </a:cubicBezTo>
                  <a:cubicBezTo>
                    <a:pt x="193" y="90"/>
                    <a:pt x="224" y="79"/>
                    <a:pt x="247" y="59"/>
                  </a:cubicBezTo>
                  <a:cubicBezTo>
                    <a:pt x="247" y="117"/>
                    <a:pt x="247" y="117"/>
                    <a:pt x="247" y="117"/>
                  </a:cubicBezTo>
                  <a:cubicBezTo>
                    <a:pt x="76" y="117"/>
                    <a:pt x="76" y="117"/>
                    <a:pt x="76" y="117"/>
                  </a:cubicBezTo>
                  <a:lnTo>
                    <a:pt x="76" y="59"/>
                  </a:lnTo>
                  <a:close/>
                  <a:moveTo>
                    <a:pt x="234" y="174"/>
                  </a:moveTo>
                  <a:cubicBezTo>
                    <a:pt x="232" y="172"/>
                    <a:pt x="229" y="171"/>
                    <a:pt x="226" y="170"/>
                  </a:cubicBezTo>
                  <a:cubicBezTo>
                    <a:pt x="223" y="170"/>
                    <a:pt x="220" y="171"/>
                    <a:pt x="218" y="173"/>
                  </a:cubicBezTo>
                  <a:cubicBezTo>
                    <a:pt x="209" y="182"/>
                    <a:pt x="200" y="187"/>
                    <a:pt x="192" y="186"/>
                  </a:cubicBezTo>
                  <a:cubicBezTo>
                    <a:pt x="179" y="186"/>
                    <a:pt x="170" y="174"/>
                    <a:pt x="170" y="174"/>
                  </a:cubicBezTo>
                  <a:cubicBezTo>
                    <a:pt x="168" y="172"/>
                    <a:pt x="165" y="171"/>
                    <a:pt x="162" y="170"/>
                  </a:cubicBezTo>
                  <a:cubicBezTo>
                    <a:pt x="159" y="170"/>
                    <a:pt x="156" y="171"/>
                    <a:pt x="154" y="173"/>
                  </a:cubicBezTo>
                  <a:cubicBezTo>
                    <a:pt x="145" y="182"/>
                    <a:pt x="136" y="187"/>
                    <a:pt x="128" y="186"/>
                  </a:cubicBezTo>
                  <a:cubicBezTo>
                    <a:pt x="115" y="186"/>
                    <a:pt x="106" y="174"/>
                    <a:pt x="106" y="174"/>
                  </a:cubicBezTo>
                  <a:cubicBezTo>
                    <a:pt x="104" y="172"/>
                    <a:pt x="101" y="171"/>
                    <a:pt x="98" y="170"/>
                  </a:cubicBezTo>
                  <a:cubicBezTo>
                    <a:pt x="95" y="170"/>
                    <a:pt x="92" y="171"/>
                    <a:pt x="90" y="173"/>
                  </a:cubicBezTo>
                  <a:cubicBezTo>
                    <a:pt x="85" y="178"/>
                    <a:pt x="81" y="181"/>
                    <a:pt x="76" y="183"/>
                  </a:cubicBezTo>
                  <a:cubicBezTo>
                    <a:pt x="76" y="181"/>
                    <a:pt x="76" y="181"/>
                    <a:pt x="76" y="181"/>
                  </a:cubicBezTo>
                  <a:cubicBezTo>
                    <a:pt x="76" y="170"/>
                    <a:pt x="76" y="170"/>
                    <a:pt x="76" y="170"/>
                  </a:cubicBezTo>
                  <a:cubicBezTo>
                    <a:pt x="76" y="138"/>
                    <a:pt x="76" y="138"/>
                    <a:pt x="76" y="138"/>
                  </a:cubicBezTo>
                  <a:cubicBezTo>
                    <a:pt x="247" y="138"/>
                    <a:pt x="247" y="138"/>
                    <a:pt x="247" y="138"/>
                  </a:cubicBezTo>
                  <a:cubicBezTo>
                    <a:pt x="247" y="170"/>
                    <a:pt x="247" y="170"/>
                    <a:pt x="247" y="170"/>
                  </a:cubicBezTo>
                  <a:cubicBezTo>
                    <a:pt x="247" y="181"/>
                    <a:pt x="247" y="181"/>
                    <a:pt x="247" y="181"/>
                  </a:cubicBezTo>
                  <a:cubicBezTo>
                    <a:pt x="247" y="184"/>
                    <a:pt x="247" y="184"/>
                    <a:pt x="247" y="184"/>
                  </a:cubicBezTo>
                  <a:cubicBezTo>
                    <a:pt x="239" y="181"/>
                    <a:pt x="234" y="174"/>
                    <a:pt x="234" y="1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8" name="TextBox 367">
            <a:extLst>
              <a:ext uri="{FF2B5EF4-FFF2-40B4-BE49-F238E27FC236}">
                <a16:creationId xmlns:a16="http://schemas.microsoft.com/office/drawing/2014/main" id="{4243CBD7-1E65-4477-8878-C85DB1864C9D}"/>
              </a:ext>
            </a:extLst>
          </p:cNvPr>
          <p:cNvSpPr txBox="1"/>
          <p:nvPr/>
        </p:nvSpPr>
        <p:spPr>
          <a:xfrm>
            <a:off x="4805012" y="2119313"/>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ail bridge</a:t>
            </a:r>
          </a:p>
        </p:txBody>
      </p:sp>
      <p:sp>
        <p:nvSpPr>
          <p:cNvPr id="369" name="TextBox 368">
            <a:extLst>
              <a:ext uri="{FF2B5EF4-FFF2-40B4-BE49-F238E27FC236}">
                <a16:creationId xmlns:a16="http://schemas.microsoft.com/office/drawing/2014/main" id="{34A881C6-C51A-4469-B701-6258D491FCDB}"/>
              </a:ext>
            </a:extLst>
          </p:cNvPr>
          <p:cNvSpPr txBox="1"/>
          <p:nvPr/>
        </p:nvSpPr>
        <p:spPr>
          <a:xfrm>
            <a:off x="5665260" y="2119313"/>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iver bridge</a:t>
            </a:r>
          </a:p>
        </p:txBody>
      </p:sp>
      <p:grpSp>
        <p:nvGrpSpPr>
          <p:cNvPr id="370" name="Group 620">
            <a:extLst>
              <a:ext uri="{FF2B5EF4-FFF2-40B4-BE49-F238E27FC236}">
                <a16:creationId xmlns:a16="http://schemas.microsoft.com/office/drawing/2014/main" id="{008B1F5D-6BC1-4FC1-A183-91CAE314C9C1}"/>
              </a:ext>
            </a:extLst>
          </p:cNvPr>
          <p:cNvGrpSpPr>
            <a:grpSpLocks noChangeAspect="1"/>
          </p:cNvGrpSpPr>
          <p:nvPr/>
        </p:nvGrpSpPr>
        <p:grpSpPr bwMode="auto">
          <a:xfrm>
            <a:off x="5257243" y="1698655"/>
            <a:ext cx="369021" cy="369021"/>
            <a:chOff x="3459" y="2357"/>
            <a:chExt cx="340" cy="340"/>
          </a:xfrm>
          <a:solidFill>
            <a:schemeClr val="accent1"/>
          </a:solidFill>
        </p:grpSpPr>
        <p:sp>
          <p:nvSpPr>
            <p:cNvPr id="371" name="Freeform 621">
              <a:extLst>
                <a:ext uri="{FF2B5EF4-FFF2-40B4-BE49-F238E27FC236}">
                  <a16:creationId xmlns:a16="http://schemas.microsoft.com/office/drawing/2014/main" id="{6F86F5CA-CF4A-4CBA-91D2-88FBCC4A0D68}"/>
                </a:ext>
              </a:extLst>
            </p:cNvPr>
            <p:cNvSpPr>
              <a:spLocks noEditPoints="1"/>
            </p:cNvSpPr>
            <p:nvPr/>
          </p:nvSpPr>
          <p:spPr bwMode="auto">
            <a:xfrm>
              <a:off x="3459" y="235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2" name="Freeform 622">
              <a:extLst>
                <a:ext uri="{FF2B5EF4-FFF2-40B4-BE49-F238E27FC236}">
                  <a16:creationId xmlns:a16="http://schemas.microsoft.com/office/drawing/2014/main" id="{B74FF17D-4405-4C7C-A486-FB24E73258E8}"/>
                </a:ext>
              </a:extLst>
            </p:cNvPr>
            <p:cNvSpPr>
              <a:spLocks noEditPoints="1"/>
            </p:cNvSpPr>
            <p:nvPr/>
          </p:nvSpPr>
          <p:spPr bwMode="auto">
            <a:xfrm>
              <a:off x="3523" y="2448"/>
              <a:ext cx="85" cy="157"/>
            </a:xfrm>
            <a:custGeom>
              <a:avLst/>
              <a:gdLst>
                <a:gd name="T0" fmla="*/ 93 w 128"/>
                <a:gd name="T1" fmla="*/ 4 h 236"/>
                <a:gd name="T2" fmla="*/ 77 w 128"/>
                <a:gd name="T3" fmla="*/ 4 h 236"/>
                <a:gd name="T4" fmla="*/ 77 w 128"/>
                <a:gd name="T5" fmla="*/ 20 h 236"/>
                <a:gd name="T6" fmla="*/ 106 w 128"/>
                <a:gd name="T7" fmla="*/ 48 h 236"/>
                <a:gd name="T8" fmla="*/ 106 w 128"/>
                <a:gd name="T9" fmla="*/ 76 h 236"/>
                <a:gd name="T10" fmla="*/ 85 w 128"/>
                <a:gd name="T11" fmla="*/ 76 h 236"/>
                <a:gd name="T12" fmla="*/ 74 w 128"/>
                <a:gd name="T13" fmla="*/ 65 h 236"/>
                <a:gd name="T14" fmla="*/ 64 w 128"/>
                <a:gd name="T15" fmla="*/ 76 h 236"/>
                <a:gd name="T16" fmla="*/ 42 w 128"/>
                <a:gd name="T17" fmla="*/ 76 h 236"/>
                <a:gd name="T18" fmla="*/ 32 w 128"/>
                <a:gd name="T19" fmla="*/ 65 h 236"/>
                <a:gd name="T20" fmla="*/ 21 w 128"/>
                <a:gd name="T21" fmla="*/ 76 h 236"/>
                <a:gd name="T22" fmla="*/ 10 w 128"/>
                <a:gd name="T23" fmla="*/ 76 h 236"/>
                <a:gd name="T24" fmla="*/ 0 w 128"/>
                <a:gd name="T25" fmla="*/ 87 h 236"/>
                <a:gd name="T26" fmla="*/ 10 w 128"/>
                <a:gd name="T27" fmla="*/ 97 h 236"/>
                <a:gd name="T28" fmla="*/ 21 w 128"/>
                <a:gd name="T29" fmla="*/ 97 h 236"/>
                <a:gd name="T30" fmla="*/ 21 w 128"/>
                <a:gd name="T31" fmla="*/ 140 h 236"/>
                <a:gd name="T32" fmla="*/ 10 w 128"/>
                <a:gd name="T33" fmla="*/ 140 h 236"/>
                <a:gd name="T34" fmla="*/ 0 w 128"/>
                <a:gd name="T35" fmla="*/ 151 h 236"/>
                <a:gd name="T36" fmla="*/ 10 w 128"/>
                <a:gd name="T37" fmla="*/ 161 h 236"/>
                <a:gd name="T38" fmla="*/ 21 w 128"/>
                <a:gd name="T39" fmla="*/ 161 h 236"/>
                <a:gd name="T40" fmla="*/ 32 w 128"/>
                <a:gd name="T41" fmla="*/ 172 h 236"/>
                <a:gd name="T42" fmla="*/ 42 w 128"/>
                <a:gd name="T43" fmla="*/ 161 h 236"/>
                <a:gd name="T44" fmla="*/ 64 w 128"/>
                <a:gd name="T45" fmla="*/ 161 h 236"/>
                <a:gd name="T46" fmla="*/ 74 w 128"/>
                <a:gd name="T47" fmla="*/ 172 h 236"/>
                <a:gd name="T48" fmla="*/ 85 w 128"/>
                <a:gd name="T49" fmla="*/ 161 h 236"/>
                <a:gd name="T50" fmla="*/ 106 w 128"/>
                <a:gd name="T51" fmla="*/ 161 h 236"/>
                <a:gd name="T52" fmla="*/ 106 w 128"/>
                <a:gd name="T53" fmla="*/ 189 h 236"/>
                <a:gd name="T54" fmla="*/ 77 w 128"/>
                <a:gd name="T55" fmla="*/ 218 h 236"/>
                <a:gd name="T56" fmla="*/ 77 w 128"/>
                <a:gd name="T57" fmla="*/ 233 h 236"/>
                <a:gd name="T58" fmla="*/ 85 w 128"/>
                <a:gd name="T59" fmla="*/ 236 h 236"/>
                <a:gd name="T60" fmla="*/ 93 w 128"/>
                <a:gd name="T61" fmla="*/ 233 h 236"/>
                <a:gd name="T62" fmla="*/ 125 w 128"/>
                <a:gd name="T63" fmla="*/ 201 h 236"/>
                <a:gd name="T64" fmla="*/ 128 w 128"/>
                <a:gd name="T65" fmla="*/ 193 h 236"/>
                <a:gd name="T66" fmla="*/ 128 w 128"/>
                <a:gd name="T67" fmla="*/ 44 h 236"/>
                <a:gd name="T68" fmla="*/ 125 w 128"/>
                <a:gd name="T69" fmla="*/ 36 h 236"/>
                <a:gd name="T70" fmla="*/ 93 w 128"/>
                <a:gd name="T71" fmla="*/ 4 h 236"/>
                <a:gd name="T72" fmla="*/ 42 w 128"/>
                <a:gd name="T73" fmla="*/ 140 h 236"/>
                <a:gd name="T74" fmla="*/ 42 w 128"/>
                <a:gd name="T75" fmla="*/ 97 h 236"/>
                <a:gd name="T76" fmla="*/ 64 w 128"/>
                <a:gd name="T77" fmla="*/ 97 h 236"/>
                <a:gd name="T78" fmla="*/ 64 w 128"/>
                <a:gd name="T79" fmla="*/ 140 h 236"/>
                <a:gd name="T80" fmla="*/ 42 w 128"/>
                <a:gd name="T81" fmla="*/ 140 h 236"/>
                <a:gd name="T82" fmla="*/ 85 w 128"/>
                <a:gd name="T83" fmla="*/ 140 h 236"/>
                <a:gd name="T84" fmla="*/ 85 w 128"/>
                <a:gd name="T85" fmla="*/ 97 h 236"/>
                <a:gd name="T86" fmla="*/ 106 w 128"/>
                <a:gd name="T87" fmla="*/ 97 h 236"/>
                <a:gd name="T88" fmla="*/ 106 w 128"/>
                <a:gd name="T89" fmla="*/ 140 h 236"/>
                <a:gd name="T90" fmla="*/ 85 w 128"/>
                <a:gd name="T91"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236">
                  <a:moveTo>
                    <a:pt x="93" y="4"/>
                  </a:moveTo>
                  <a:cubicBezTo>
                    <a:pt x="88" y="0"/>
                    <a:pt x="82" y="0"/>
                    <a:pt x="77" y="4"/>
                  </a:cubicBezTo>
                  <a:cubicBezTo>
                    <a:pt x="73" y="9"/>
                    <a:pt x="73" y="15"/>
                    <a:pt x="77" y="20"/>
                  </a:cubicBezTo>
                  <a:cubicBezTo>
                    <a:pt x="106" y="48"/>
                    <a:pt x="106" y="48"/>
                    <a:pt x="106" y="48"/>
                  </a:cubicBezTo>
                  <a:cubicBezTo>
                    <a:pt x="106" y="76"/>
                    <a:pt x="106" y="76"/>
                    <a:pt x="106" y="76"/>
                  </a:cubicBezTo>
                  <a:cubicBezTo>
                    <a:pt x="85" y="76"/>
                    <a:pt x="85" y="76"/>
                    <a:pt x="85" y="76"/>
                  </a:cubicBezTo>
                  <a:cubicBezTo>
                    <a:pt x="85" y="70"/>
                    <a:pt x="80" y="65"/>
                    <a:pt x="74" y="65"/>
                  </a:cubicBezTo>
                  <a:cubicBezTo>
                    <a:pt x="68" y="65"/>
                    <a:pt x="64" y="70"/>
                    <a:pt x="64" y="76"/>
                  </a:cubicBezTo>
                  <a:cubicBezTo>
                    <a:pt x="42" y="76"/>
                    <a:pt x="42" y="76"/>
                    <a:pt x="42" y="76"/>
                  </a:cubicBezTo>
                  <a:cubicBezTo>
                    <a:pt x="42" y="70"/>
                    <a:pt x="38" y="65"/>
                    <a:pt x="32" y="65"/>
                  </a:cubicBezTo>
                  <a:cubicBezTo>
                    <a:pt x="26" y="65"/>
                    <a:pt x="21" y="70"/>
                    <a:pt x="21" y="76"/>
                  </a:cubicBezTo>
                  <a:cubicBezTo>
                    <a:pt x="10" y="76"/>
                    <a:pt x="10" y="76"/>
                    <a:pt x="10" y="76"/>
                  </a:cubicBezTo>
                  <a:cubicBezTo>
                    <a:pt x="4" y="76"/>
                    <a:pt x="0" y="81"/>
                    <a:pt x="0" y="87"/>
                  </a:cubicBezTo>
                  <a:cubicBezTo>
                    <a:pt x="0" y="93"/>
                    <a:pt x="4" y="97"/>
                    <a:pt x="10" y="97"/>
                  </a:cubicBezTo>
                  <a:cubicBezTo>
                    <a:pt x="21" y="97"/>
                    <a:pt x="21" y="97"/>
                    <a:pt x="21" y="97"/>
                  </a:cubicBezTo>
                  <a:cubicBezTo>
                    <a:pt x="21" y="140"/>
                    <a:pt x="21" y="140"/>
                    <a:pt x="21" y="140"/>
                  </a:cubicBezTo>
                  <a:cubicBezTo>
                    <a:pt x="10" y="140"/>
                    <a:pt x="10" y="140"/>
                    <a:pt x="10" y="140"/>
                  </a:cubicBezTo>
                  <a:cubicBezTo>
                    <a:pt x="4" y="140"/>
                    <a:pt x="0" y="145"/>
                    <a:pt x="0" y="151"/>
                  </a:cubicBezTo>
                  <a:cubicBezTo>
                    <a:pt x="0" y="157"/>
                    <a:pt x="4" y="161"/>
                    <a:pt x="10" y="161"/>
                  </a:cubicBezTo>
                  <a:cubicBezTo>
                    <a:pt x="21" y="161"/>
                    <a:pt x="21" y="161"/>
                    <a:pt x="21" y="161"/>
                  </a:cubicBezTo>
                  <a:cubicBezTo>
                    <a:pt x="21" y="167"/>
                    <a:pt x="26" y="172"/>
                    <a:pt x="32" y="172"/>
                  </a:cubicBezTo>
                  <a:cubicBezTo>
                    <a:pt x="38" y="172"/>
                    <a:pt x="42" y="167"/>
                    <a:pt x="42" y="161"/>
                  </a:cubicBezTo>
                  <a:cubicBezTo>
                    <a:pt x="64" y="161"/>
                    <a:pt x="64" y="161"/>
                    <a:pt x="64" y="161"/>
                  </a:cubicBezTo>
                  <a:cubicBezTo>
                    <a:pt x="64" y="167"/>
                    <a:pt x="68" y="172"/>
                    <a:pt x="74" y="172"/>
                  </a:cubicBezTo>
                  <a:cubicBezTo>
                    <a:pt x="80" y="172"/>
                    <a:pt x="85" y="167"/>
                    <a:pt x="85" y="161"/>
                  </a:cubicBezTo>
                  <a:cubicBezTo>
                    <a:pt x="106" y="161"/>
                    <a:pt x="106" y="161"/>
                    <a:pt x="106" y="161"/>
                  </a:cubicBezTo>
                  <a:cubicBezTo>
                    <a:pt x="106" y="189"/>
                    <a:pt x="106" y="189"/>
                    <a:pt x="106" y="189"/>
                  </a:cubicBezTo>
                  <a:cubicBezTo>
                    <a:pt x="77" y="218"/>
                    <a:pt x="77" y="218"/>
                    <a:pt x="77" y="218"/>
                  </a:cubicBezTo>
                  <a:cubicBezTo>
                    <a:pt x="73" y="222"/>
                    <a:pt x="73" y="229"/>
                    <a:pt x="77" y="233"/>
                  </a:cubicBezTo>
                  <a:cubicBezTo>
                    <a:pt x="80" y="235"/>
                    <a:pt x="82" y="236"/>
                    <a:pt x="85" y="236"/>
                  </a:cubicBezTo>
                  <a:cubicBezTo>
                    <a:pt x="88" y="236"/>
                    <a:pt x="90" y="235"/>
                    <a:pt x="93" y="233"/>
                  </a:cubicBezTo>
                  <a:cubicBezTo>
                    <a:pt x="125" y="201"/>
                    <a:pt x="125" y="201"/>
                    <a:pt x="125" y="201"/>
                  </a:cubicBezTo>
                  <a:cubicBezTo>
                    <a:pt x="127" y="199"/>
                    <a:pt x="128" y="196"/>
                    <a:pt x="128" y="193"/>
                  </a:cubicBezTo>
                  <a:cubicBezTo>
                    <a:pt x="128" y="44"/>
                    <a:pt x="128" y="44"/>
                    <a:pt x="128" y="44"/>
                  </a:cubicBezTo>
                  <a:cubicBezTo>
                    <a:pt x="128" y="41"/>
                    <a:pt x="127" y="38"/>
                    <a:pt x="125" y="36"/>
                  </a:cubicBezTo>
                  <a:lnTo>
                    <a:pt x="93" y="4"/>
                  </a:lnTo>
                  <a:close/>
                  <a:moveTo>
                    <a:pt x="42" y="140"/>
                  </a:moveTo>
                  <a:cubicBezTo>
                    <a:pt x="42" y="97"/>
                    <a:pt x="42" y="97"/>
                    <a:pt x="42" y="97"/>
                  </a:cubicBezTo>
                  <a:cubicBezTo>
                    <a:pt x="64" y="97"/>
                    <a:pt x="64" y="97"/>
                    <a:pt x="64" y="97"/>
                  </a:cubicBezTo>
                  <a:cubicBezTo>
                    <a:pt x="64" y="140"/>
                    <a:pt x="64" y="140"/>
                    <a:pt x="64" y="140"/>
                  </a:cubicBezTo>
                  <a:lnTo>
                    <a:pt x="42" y="140"/>
                  </a:lnTo>
                  <a:close/>
                  <a:moveTo>
                    <a:pt x="85" y="140"/>
                  </a:moveTo>
                  <a:cubicBezTo>
                    <a:pt x="85" y="97"/>
                    <a:pt x="85" y="97"/>
                    <a:pt x="85" y="97"/>
                  </a:cubicBezTo>
                  <a:cubicBezTo>
                    <a:pt x="106" y="97"/>
                    <a:pt x="106" y="97"/>
                    <a:pt x="106" y="97"/>
                  </a:cubicBezTo>
                  <a:cubicBezTo>
                    <a:pt x="106" y="140"/>
                    <a:pt x="106" y="140"/>
                    <a:pt x="106" y="140"/>
                  </a:cubicBezTo>
                  <a:lnTo>
                    <a:pt x="85" y="1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3" name="Freeform 623">
              <a:extLst>
                <a:ext uri="{FF2B5EF4-FFF2-40B4-BE49-F238E27FC236}">
                  <a16:creationId xmlns:a16="http://schemas.microsoft.com/office/drawing/2014/main" id="{3F50B381-2598-4EE0-BA3C-DACAEF7C2985}"/>
                </a:ext>
              </a:extLst>
            </p:cNvPr>
            <p:cNvSpPr>
              <a:spLocks noEditPoints="1"/>
            </p:cNvSpPr>
            <p:nvPr/>
          </p:nvSpPr>
          <p:spPr bwMode="auto">
            <a:xfrm>
              <a:off x="3650" y="2448"/>
              <a:ext cx="85" cy="157"/>
            </a:xfrm>
            <a:custGeom>
              <a:avLst/>
              <a:gdLst>
                <a:gd name="T0" fmla="*/ 117 w 128"/>
                <a:gd name="T1" fmla="*/ 140 h 236"/>
                <a:gd name="T2" fmla="*/ 106 w 128"/>
                <a:gd name="T3" fmla="*/ 140 h 236"/>
                <a:gd name="T4" fmla="*/ 106 w 128"/>
                <a:gd name="T5" fmla="*/ 97 h 236"/>
                <a:gd name="T6" fmla="*/ 117 w 128"/>
                <a:gd name="T7" fmla="*/ 97 h 236"/>
                <a:gd name="T8" fmla="*/ 128 w 128"/>
                <a:gd name="T9" fmla="*/ 87 h 236"/>
                <a:gd name="T10" fmla="*/ 117 w 128"/>
                <a:gd name="T11" fmla="*/ 76 h 236"/>
                <a:gd name="T12" fmla="*/ 106 w 128"/>
                <a:gd name="T13" fmla="*/ 76 h 236"/>
                <a:gd name="T14" fmla="*/ 96 w 128"/>
                <a:gd name="T15" fmla="*/ 65 h 236"/>
                <a:gd name="T16" fmla="*/ 85 w 128"/>
                <a:gd name="T17" fmla="*/ 76 h 236"/>
                <a:gd name="T18" fmla="*/ 64 w 128"/>
                <a:gd name="T19" fmla="*/ 76 h 236"/>
                <a:gd name="T20" fmla="*/ 53 w 128"/>
                <a:gd name="T21" fmla="*/ 65 h 236"/>
                <a:gd name="T22" fmla="*/ 42 w 128"/>
                <a:gd name="T23" fmla="*/ 76 h 236"/>
                <a:gd name="T24" fmla="*/ 21 w 128"/>
                <a:gd name="T25" fmla="*/ 76 h 236"/>
                <a:gd name="T26" fmla="*/ 21 w 128"/>
                <a:gd name="T27" fmla="*/ 48 h 236"/>
                <a:gd name="T28" fmla="*/ 50 w 128"/>
                <a:gd name="T29" fmla="*/ 20 h 236"/>
                <a:gd name="T30" fmla="*/ 50 w 128"/>
                <a:gd name="T31" fmla="*/ 4 h 236"/>
                <a:gd name="T32" fmla="*/ 35 w 128"/>
                <a:gd name="T33" fmla="*/ 4 h 236"/>
                <a:gd name="T34" fmla="*/ 3 w 128"/>
                <a:gd name="T35" fmla="*/ 36 h 236"/>
                <a:gd name="T36" fmla="*/ 0 w 128"/>
                <a:gd name="T37" fmla="*/ 44 h 236"/>
                <a:gd name="T38" fmla="*/ 0 w 128"/>
                <a:gd name="T39" fmla="*/ 193 h 236"/>
                <a:gd name="T40" fmla="*/ 3 w 128"/>
                <a:gd name="T41" fmla="*/ 201 h 236"/>
                <a:gd name="T42" fmla="*/ 35 w 128"/>
                <a:gd name="T43" fmla="*/ 233 h 236"/>
                <a:gd name="T44" fmla="*/ 42 w 128"/>
                <a:gd name="T45" fmla="*/ 236 h 236"/>
                <a:gd name="T46" fmla="*/ 50 w 128"/>
                <a:gd name="T47" fmla="*/ 233 h 236"/>
                <a:gd name="T48" fmla="*/ 50 w 128"/>
                <a:gd name="T49" fmla="*/ 218 h 236"/>
                <a:gd name="T50" fmla="*/ 21 w 128"/>
                <a:gd name="T51" fmla="*/ 189 h 236"/>
                <a:gd name="T52" fmla="*/ 21 w 128"/>
                <a:gd name="T53" fmla="*/ 161 h 236"/>
                <a:gd name="T54" fmla="*/ 42 w 128"/>
                <a:gd name="T55" fmla="*/ 161 h 236"/>
                <a:gd name="T56" fmla="*/ 53 w 128"/>
                <a:gd name="T57" fmla="*/ 172 h 236"/>
                <a:gd name="T58" fmla="*/ 64 w 128"/>
                <a:gd name="T59" fmla="*/ 161 h 236"/>
                <a:gd name="T60" fmla="*/ 85 w 128"/>
                <a:gd name="T61" fmla="*/ 161 h 236"/>
                <a:gd name="T62" fmla="*/ 96 w 128"/>
                <a:gd name="T63" fmla="*/ 172 h 236"/>
                <a:gd name="T64" fmla="*/ 106 w 128"/>
                <a:gd name="T65" fmla="*/ 161 h 236"/>
                <a:gd name="T66" fmla="*/ 117 w 128"/>
                <a:gd name="T67" fmla="*/ 161 h 236"/>
                <a:gd name="T68" fmla="*/ 128 w 128"/>
                <a:gd name="T69" fmla="*/ 151 h 236"/>
                <a:gd name="T70" fmla="*/ 117 w 128"/>
                <a:gd name="T71" fmla="*/ 140 h 236"/>
                <a:gd name="T72" fmla="*/ 21 w 128"/>
                <a:gd name="T73" fmla="*/ 140 h 236"/>
                <a:gd name="T74" fmla="*/ 21 w 128"/>
                <a:gd name="T75" fmla="*/ 97 h 236"/>
                <a:gd name="T76" fmla="*/ 42 w 128"/>
                <a:gd name="T77" fmla="*/ 97 h 236"/>
                <a:gd name="T78" fmla="*/ 42 w 128"/>
                <a:gd name="T79" fmla="*/ 140 h 236"/>
                <a:gd name="T80" fmla="*/ 21 w 128"/>
                <a:gd name="T81" fmla="*/ 140 h 236"/>
                <a:gd name="T82" fmla="*/ 64 w 128"/>
                <a:gd name="T83" fmla="*/ 140 h 236"/>
                <a:gd name="T84" fmla="*/ 64 w 128"/>
                <a:gd name="T85" fmla="*/ 97 h 236"/>
                <a:gd name="T86" fmla="*/ 85 w 128"/>
                <a:gd name="T87" fmla="*/ 97 h 236"/>
                <a:gd name="T88" fmla="*/ 85 w 128"/>
                <a:gd name="T89" fmla="*/ 140 h 236"/>
                <a:gd name="T90" fmla="*/ 64 w 128"/>
                <a:gd name="T91"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236">
                  <a:moveTo>
                    <a:pt x="117" y="140"/>
                  </a:moveTo>
                  <a:cubicBezTo>
                    <a:pt x="106" y="140"/>
                    <a:pt x="106" y="140"/>
                    <a:pt x="106" y="140"/>
                  </a:cubicBezTo>
                  <a:cubicBezTo>
                    <a:pt x="106" y="97"/>
                    <a:pt x="106" y="97"/>
                    <a:pt x="106" y="97"/>
                  </a:cubicBezTo>
                  <a:cubicBezTo>
                    <a:pt x="117" y="97"/>
                    <a:pt x="117" y="97"/>
                    <a:pt x="117" y="97"/>
                  </a:cubicBezTo>
                  <a:cubicBezTo>
                    <a:pt x="123" y="97"/>
                    <a:pt x="128" y="93"/>
                    <a:pt x="128" y="87"/>
                  </a:cubicBezTo>
                  <a:cubicBezTo>
                    <a:pt x="128" y="81"/>
                    <a:pt x="123" y="76"/>
                    <a:pt x="117" y="76"/>
                  </a:cubicBezTo>
                  <a:cubicBezTo>
                    <a:pt x="106" y="76"/>
                    <a:pt x="106" y="76"/>
                    <a:pt x="106" y="76"/>
                  </a:cubicBezTo>
                  <a:cubicBezTo>
                    <a:pt x="106" y="70"/>
                    <a:pt x="102" y="65"/>
                    <a:pt x="96" y="65"/>
                  </a:cubicBezTo>
                  <a:cubicBezTo>
                    <a:pt x="90" y="65"/>
                    <a:pt x="85" y="70"/>
                    <a:pt x="85" y="76"/>
                  </a:cubicBezTo>
                  <a:cubicBezTo>
                    <a:pt x="64" y="76"/>
                    <a:pt x="64" y="76"/>
                    <a:pt x="64" y="76"/>
                  </a:cubicBezTo>
                  <a:cubicBezTo>
                    <a:pt x="64" y="70"/>
                    <a:pt x="59" y="65"/>
                    <a:pt x="53" y="65"/>
                  </a:cubicBezTo>
                  <a:cubicBezTo>
                    <a:pt x="47" y="65"/>
                    <a:pt x="42" y="70"/>
                    <a:pt x="42" y="76"/>
                  </a:cubicBezTo>
                  <a:cubicBezTo>
                    <a:pt x="21" y="76"/>
                    <a:pt x="21" y="76"/>
                    <a:pt x="21" y="76"/>
                  </a:cubicBezTo>
                  <a:cubicBezTo>
                    <a:pt x="21" y="48"/>
                    <a:pt x="21" y="48"/>
                    <a:pt x="21" y="48"/>
                  </a:cubicBezTo>
                  <a:cubicBezTo>
                    <a:pt x="50" y="20"/>
                    <a:pt x="50" y="20"/>
                    <a:pt x="50" y="20"/>
                  </a:cubicBezTo>
                  <a:cubicBezTo>
                    <a:pt x="54" y="15"/>
                    <a:pt x="54" y="9"/>
                    <a:pt x="50" y="4"/>
                  </a:cubicBezTo>
                  <a:cubicBezTo>
                    <a:pt x="46" y="0"/>
                    <a:pt x="39" y="0"/>
                    <a:pt x="35" y="4"/>
                  </a:cubicBezTo>
                  <a:cubicBezTo>
                    <a:pt x="3" y="36"/>
                    <a:pt x="3" y="36"/>
                    <a:pt x="3" y="36"/>
                  </a:cubicBezTo>
                  <a:cubicBezTo>
                    <a:pt x="1" y="38"/>
                    <a:pt x="0" y="41"/>
                    <a:pt x="0" y="44"/>
                  </a:cubicBezTo>
                  <a:cubicBezTo>
                    <a:pt x="0" y="193"/>
                    <a:pt x="0" y="193"/>
                    <a:pt x="0" y="193"/>
                  </a:cubicBezTo>
                  <a:cubicBezTo>
                    <a:pt x="0" y="196"/>
                    <a:pt x="1" y="199"/>
                    <a:pt x="3" y="201"/>
                  </a:cubicBezTo>
                  <a:cubicBezTo>
                    <a:pt x="35" y="233"/>
                    <a:pt x="35" y="233"/>
                    <a:pt x="35" y="233"/>
                  </a:cubicBezTo>
                  <a:cubicBezTo>
                    <a:pt x="37" y="235"/>
                    <a:pt x="40" y="236"/>
                    <a:pt x="42" y="236"/>
                  </a:cubicBezTo>
                  <a:cubicBezTo>
                    <a:pt x="45" y="236"/>
                    <a:pt x="48" y="235"/>
                    <a:pt x="50" y="233"/>
                  </a:cubicBezTo>
                  <a:cubicBezTo>
                    <a:pt x="54" y="229"/>
                    <a:pt x="54" y="222"/>
                    <a:pt x="50" y="218"/>
                  </a:cubicBezTo>
                  <a:cubicBezTo>
                    <a:pt x="21" y="189"/>
                    <a:pt x="21" y="189"/>
                    <a:pt x="21" y="189"/>
                  </a:cubicBezTo>
                  <a:cubicBezTo>
                    <a:pt x="21" y="161"/>
                    <a:pt x="21" y="161"/>
                    <a:pt x="21" y="161"/>
                  </a:cubicBezTo>
                  <a:cubicBezTo>
                    <a:pt x="42" y="161"/>
                    <a:pt x="42" y="161"/>
                    <a:pt x="42" y="161"/>
                  </a:cubicBezTo>
                  <a:cubicBezTo>
                    <a:pt x="42" y="167"/>
                    <a:pt x="47" y="172"/>
                    <a:pt x="53" y="172"/>
                  </a:cubicBezTo>
                  <a:cubicBezTo>
                    <a:pt x="59" y="172"/>
                    <a:pt x="64" y="167"/>
                    <a:pt x="64" y="161"/>
                  </a:cubicBezTo>
                  <a:cubicBezTo>
                    <a:pt x="85" y="161"/>
                    <a:pt x="85" y="161"/>
                    <a:pt x="85" y="161"/>
                  </a:cubicBezTo>
                  <a:cubicBezTo>
                    <a:pt x="85" y="167"/>
                    <a:pt x="90" y="172"/>
                    <a:pt x="96" y="172"/>
                  </a:cubicBezTo>
                  <a:cubicBezTo>
                    <a:pt x="102" y="172"/>
                    <a:pt x="106" y="167"/>
                    <a:pt x="106" y="161"/>
                  </a:cubicBezTo>
                  <a:cubicBezTo>
                    <a:pt x="117" y="161"/>
                    <a:pt x="117" y="161"/>
                    <a:pt x="117" y="161"/>
                  </a:cubicBezTo>
                  <a:cubicBezTo>
                    <a:pt x="123" y="161"/>
                    <a:pt x="128" y="157"/>
                    <a:pt x="128" y="151"/>
                  </a:cubicBezTo>
                  <a:cubicBezTo>
                    <a:pt x="128" y="145"/>
                    <a:pt x="123" y="140"/>
                    <a:pt x="117" y="140"/>
                  </a:cubicBezTo>
                  <a:close/>
                  <a:moveTo>
                    <a:pt x="21" y="140"/>
                  </a:moveTo>
                  <a:cubicBezTo>
                    <a:pt x="21" y="97"/>
                    <a:pt x="21" y="97"/>
                    <a:pt x="21" y="97"/>
                  </a:cubicBezTo>
                  <a:cubicBezTo>
                    <a:pt x="42" y="97"/>
                    <a:pt x="42" y="97"/>
                    <a:pt x="42" y="97"/>
                  </a:cubicBezTo>
                  <a:cubicBezTo>
                    <a:pt x="42" y="140"/>
                    <a:pt x="42" y="140"/>
                    <a:pt x="42" y="140"/>
                  </a:cubicBezTo>
                  <a:lnTo>
                    <a:pt x="21" y="140"/>
                  </a:lnTo>
                  <a:close/>
                  <a:moveTo>
                    <a:pt x="64" y="140"/>
                  </a:moveTo>
                  <a:cubicBezTo>
                    <a:pt x="64" y="97"/>
                    <a:pt x="64" y="97"/>
                    <a:pt x="64" y="97"/>
                  </a:cubicBezTo>
                  <a:cubicBezTo>
                    <a:pt x="85" y="97"/>
                    <a:pt x="85" y="97"/>
                    <a:pt x="85" y="97"/>
                  </a:cubicBezTo>
                  <a:cubicBezTo>
                    <a:pt x="85" y="140"/>
                    <a:pt x="85" y="140"/>
                    <a:pt x="85" y="140"/>
                  </a:cubicBezTo>
                  <a:lnTo>
                    <a:pt x="64" y="1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4" name="Freeform 627">
            <a:extLst>
              <a:ext uri="{FF2B5EF4-FFF2-40B4-BE49-F238E27FC236}">
                <a16:creationId xmlns:a16="http://schemas.microsoft.com/office/drawing/2014/main" id="{32994291-B6C2-4B4F-8607-3C5C431F3C8D}"/>
              </a:ext>
            </a:extLst>
          </p:cNvPr>
          <p:cNvSpPr>
            <a:spLocks noChangeAspect="1" noEditPoints="1"/>
          </p:cNvSpPr>
          <p:nvPr/>
        </p:nvSpPr>
        <p:spPr bwMode="auto">
          <a:xfrm>
            <a:off x="4820639" y="1698655"/>
            <a:ext cx="370106" cy="369021"/>
          </a:xfrm>
          <a:custGeom>
            <a:avLst/>
            <a:gdLst>
              <a:gd name="T0" fmla="*/ 202 w 512"/>
              <a:gd name="T1" fmla="*/ 234 h 512"/>
              <a:gd name="T2" fmla="*/ 181 w 512"/>
              <a:gd name="T3" fmla="*/ 277 h 512"/>
              <a:gd name="T4" fmla="*/ 352 w 512"/>
              <a:gd name="T5" fmla="*/ 277 h 512"/>
              <a:gd name="T6" fmla="*/ 373 w 512"/>
              <a:gd name="T7" fmla="*/ 234 h 512"/>
              <a:gd name="T8" fmla="*/ 352 w 512"/>
              <a:gd name="T9" fmla="*/ 277 h 512"/>
              <a:gd name="T10" fmla="*/ 330 w 512"/>
              <a:gd name="T11" fmla="*/ 277 h 512"/>
              <a:gd name="T12" fmla="*/ 309 w 512"/>
              <a:gd name="T13" fmla="*/ 234 h 512"/>
              <a:gd name="T14" fmla="*/ 512 w 512"/>
              <a:gd name="T15" fmla="*/ 256 h 512"/>
              <a:gd name="T16" fmla="*/ 0 w 512"/>
              <a:gd name="T17" fmla="*/ 256 h 512"/>
              <a:gd name="T18" fmla="*/ 512 w 512"/>
              <a:gd name="T19" fmla="*/ 256 h 512"/>
              <a:gd name="T20" fmla="*/ 221 w 512"/>
              <a:gd name="T21" fmla="*/ 173 h 512"/>
              <a:gd name="T22" fmla="*/ 173 w 512"/>
              <a:gd name="T23" fmla="*/ 141 h 512"/>
              <a:gd name="T24" fmla="*/ 202 w 512"/>
              <a:gd name="T25" fmla="*/ 185 h 512"/>
              <a:gd name="T26" fmla="*/ 181 w 512"/>
              <a:gd name="T27" fmla="*/ 213 h 512"/>
              <a:gd name="T28" fmla="*/ 160 w 512"/>
              <a:gd name="T29" fmla="*/ 213 h 512"/>
              <a:gd name="T30" fmla="*/ 128 w 512"/>
              <a:gd name="T31" fmla="*/ 202 h 512"/>
              <a:gd name="T32" fmla="*/ 106 w 512"/>
              <a:gd name="T33" fmla="*/ 213 h 512"/>
              <a:gd name="T34" fmla="*/ 106 w 512"/>
              <a:gd name="T35" fmla="*/ 234 h 512"/>
              <a:gd name="T36" fmla="*/ 117 w 512"/>
              <a:gd name="T37" fmla="*/ 277 h 512"/>
              <a:gd name="T38" fmla="*/ 96 w 512"/>
              <a:gd name="T39" fmla="*/ 288 h 512"/>
              <a:gd name="T40" fmla="*/ 117 w 512"/>
              <a:gd name="T41" fmla="*/ 298 h 512"/>
              <a:gd name="T42" fmla="*/ 138 w 512"/>
              <a:gd name="T43" fmla="*/ 298 h 512"/>
              <a:gd name="T44" fmla="*/ 170 w 512"/>
              <a:gd name="T45" fmla="*/ 309 h 512"/>
              <a:gd name="T46" fmla="*/ 202 w 512"/>
              <a:gd name="T47" fmla="*/ 298 h 512"/>
              <a:gd name="T48" fmla="*/ 173 w 512"/>
              <a:gd name="T49" fmla="*/ 355 h 512"/>
              <a:gd name="T50" fmla="*/ 181 w 512"/>
              <a:gd name="T51" fmla="*/ 373 h 512"/>
              <a:gd name="T52" fmla="*/ 221 w 512"/>
              <a:gd name="T53" fmla="*/ 338 h 512"/>
              <a:gd name="T54" fmla="*/ 224 w 512"/>
              <a:gd name="T55" fmla="*/ 181 h 512"/>
              <a:gd name="T56" fmla="*/ 394 w 512"/>
              <a:gd name="T57" fmla="*/ 234 h 512"/>
              <a:gd name="T58" fmla="*/ 416 w 512"/>
              <a:gd name="T59" fmla="*/ 224 h 512"/>
              <a:gd name="T60" fmla="*/ 394 w 512"/>
              <a:gd name="T61" fmla="*/ 213 h 512"/>
              <a:gd name="T62" fmla="*/ 373 w 512"/>
              <a:gd name="T63" fmla="*/ 213 h 512"/>
              <a:gd name="T64" fmla="*/ 341 w 512"/>
              <a:gd name="T65" fmla="*/ 202 h 512"/>
              <a:gd name="T66" fmla="*/ 309 w 512"/>
              <a:gd name="T67" fmla="*/ 213 h 512"/>
              <a:gd name="T68" fmla="*/ 338 w 512"/>
              <a:gd name="T69" fmla="*/ 157 h 512"/>
              <a:gd name="T70" fmla="*/ 323 w 512"/>
              <a:gd name="T71" fmla="*/ 141 h 512"/>
              <a:gd name="T72" fmla="*/ 288 w 512"/>
              <a:gd name="T73" fmla="*/ 181 h 512"/>
              <a:gd name="T74" fmla="*/ 291 w 512"/>
              <a:gd name="T75" fmla="*/ 338 h 512"/>
              <a:gd name="T76" fmla="*/ 330 w 512"/>
              <a:gd name="T77" fmla="*/ 373 h 512"/>
              <a:gd name="T78" fmla="*/ 338 w 512"/>
              <a:gd name="T79" fmla="*/ 355 h 512"/>
              <a:gd name="T80" fmla="*/ 309 w 512"/>
              <a:gd name="T81" fmla="*/ 298 h 512"/>
              <a:gd name="T82" fmla="*/ 341 w 512"/>
              <a:gd name="T83" fmla="*/ 309 h 512"/>
              <a:gd name="T84" fmla="*/ 373 w 512"/>
              <a:gd name="T85" fmla="*/ 298 h 512"/>
              <a:gd name="T86" fmla="*/ 394 w 512"/>
              <a:gd name="T87" fmla="*/ 298 h 512"/>
              <a:gd name="T88" fmla="*/ 416 w 512"/>
              <a:gd name="T89" fmla="*/ 288 h 512"/>
              <a:gd name="T90" fmla="*/ 394 w 512"/>
              <a:gd name="T91" fmla="*/ 277 h 512"/>
              <a:gd name="T92" fmla="*/ 160 w 512"/>
              <a:gd name="T93" fmla="*/ 277 h 512"/>
              <a:gd name="T94" fmla="*/ 138 w 512"/>
              <a:gd name="T9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181" y="234"/>
                </a:moveTo>
                <a:cubicBezTo>
                  <a:pt x="202" y="234"/>
                  <a:pt x="202" y="234"/>
                  <a:pt x="202" y="234"/>
                </a:cubicBezTo>
                <a:cubicBezTo>
                  <a:pt x="202" y="277"/>
                  <a:pt x="202" y="277"/>
                  <a:pt x="202" y="277"/>
                </a:cubicBezTo>
                <a:cubicBezTo>
                  <a:pt x="181" y="277"/>
                  <a:pt x="181" y="277"/>
                  <a:pt x="181" y="277"/>
                </a:cubicBezTo>
                <a:lnTo>
                  <a:pt x="181" y="234"/>
                </a:lnTo>
                <a:close/>
                <a:moveTo>
                  <a:pt x="352" y="277"/>
                </a:moveTo>
                <a:cubicBezTo>
                  <a:pt x="373" y="277"/>
                  <a:pt x="373" y="277"/>
                  <a:pt x="373" y="277"/>
                </a:cubicBezTo>
                <a:cubicBezTo>
                  <a:pt x="373" y="234"/>
                  <a:pt x="373" y="234"/>
                  <a:pt x="373" y="234"/>
                </a:cubicBezTo>
                <a:cubicBezTo>
                  <a:pt x="352" y="234"/>
                  <a:pt x="352" y="234"/>
                  <a:pt x="352" y="234"/>
                </a:cubicBezTo>
                <a:lnTo>
                  <a:pt x="352" y="277"/>
                </a:lnTo>
                <a:close/>
                <a:moveTo>
                  <a:pt x="309" y="277"/>
                </a:moveTo>
                <a:cubicBezTo>
                  <a:pt x="330" y="277"/>
                  <a:pt x="330" y="277"/>
                  <a:pt x="330" y="277"/>
                </a:cubicBezTo>
                <a:cubicBezTo>
                  <a:pt x="330" y="234"/>
                  <a:pt x="330" y="234"/>
                  <a:pt x="330" y="234"/>
                </a:cubicBezTo>
                <a:cubicBezTo>
                  <a:pt x="309" y="234"/>
                  <a:pt x="309" y="234"/>
                  <a:pt x="309" y="234"/>
                </a:cubicBezTo>
                <a:lnTo>
                  <a:pt x="309" y="2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81"/>
                </a:moveTo>
                <a:cubicBezTo>
                  <a:pt x="224" y="178"/>
                  <a:pt x="223" y="175"/>
                  <a:pt x="221" y="173"/>
                </a:cubicBezTo>
                <a:cubicBezTo>
                  <a:pt x="189" y="141"/>
                  <a:pt x="189" y="141"/>
                  <a:pt x="189" y="141"/>
                </a:cubicBezTo>
                <a:cubicBezTo>
                  <a:pt x="184" y="137"/>
                  <a:pt x="178" y="137"/>
                  <a:pt x="173" y="141"/>
                </a:cubicBezTo>
                <a:cubicBezTo>
                  <a:pt x="169" y="146"/>
                  <a:pt x="169" y="152"/>
                  <a:pt x="173" y="157"/>
                </a:cubicBezTo>
                <a:cubicBezTo>
                  <a:pt x="202" y="185"/>
                  <a:pt x="202" y="185"/>
                  <a:pt x="202" y="185"/>
                </a:cubicBezTo>
                <a:cubicBezTo>
                  <a:pt x="202" y="213"/>
                  <a:pt x="202" y="213"/>
                  <a:pt x="202" y="213"/>
                </a:cubicBezTo>
                <a:cubicBezTo>
                  <a:pt x="181" y="213"/>
                  <a:pt x="181" y="213"/>
                  <a:pt x="181" y="213"/>
                </a:cubicBezTo>
                <a:cubicBezTo>
                  <a:pt x="181" y="207"/>
                  <a:pt x="176" y="202"/>
                  <a:pt x="170" y="202"/>
                </a:cubicBezTo>
                <a:cubicBezTo>
                  <a:pt x="164" y="202"/>
                  <a:pt x="160" y="207"/>
                  <a:pt x="160" y="213"/>
                </a:cubicBezTo>
                <a:cubicBezTo>
                  <a:pt x="138" y="213"/>
                  <a:pt x="138" y="213"/>
                  <a:pt x="138" y="213"/>
                </a:cubicBezTo>
                <a:cubicBezTo>
                  <a:pt x="138" y="207"/>
                  <a:pt x="134" y="202"/>
                  <a:pt x="128" y="202"/>
                </a:cubicBezTo>
                <a:cubicBezTo>
                  <a:pt x="122" y="202"/>
                  <a:pt x="117" y="207"/>
                  <a:pt x="117" y="213"/>
                </a:cubicBezTo>
                <a:cubicBezTo>
                  <a:pt x="106" y="213"/>
                  <a:pt x="106" y="213"/>
                  <a:pt x="106" y="213"/>
                </a:cubicBezTo>
                <a:cubicBezTo>
                  <a:pt x="100" y="213"/>
                  <a:pt x="96" y="218"/>
                  <a:pt x="96" y="224"/>
                </a:cubicBezTo>
                <a:cubicBezTo>
                  <a:pt x="96" y="230"/>
                  <a:pt x="100" y="234"/>
                  <a:pt x="106" y="234"/>
                </a:cubicBezTo>
                <a:cubicBezTo>
                  <a:pt x="117" y="234"/>
                  <a:pt x="117" y="234"/>
                  <a:pt x="117" y="234"/>
                </a:cubicBezTo>
                <a:cubicBezTo>
                  <a:pt x="117" y="277"/>
                  <a:pt x="117" y="277"/>
                  <a:pt x="117" y="277"/>
                </a:cubicBezTo>
                <a:cubicBezTo>
                  <a:pt x="106" y="277"/>
                  <a:pt x="106" y="277"/>
                  <a:pt x="106" y="277"/>
                </a:cubicBezTo>
                <a:cubicBezTo>
                  <a:pt x="100" y="277"/>
                  <a:pt x="96" y="282"/>
                  <a:pt x="96" y="288"/>
                </a:cubicBezTo>
                <a:cubicBezTo>
                  <a:pt x="96" y="294"/>
                  <a:pt x="100" y="298"/>
                  <a:pt x="106" y="298"/>
                </a:cubicBezTo>
                <a:cubicBezTo>
                  <a:pt x="117" y="298"/>
                  <a:pt x="117" y="298"/>
                  <a:pt x="117" y="298"/>
                </a:cubicBezTo>
                <a:cubicBezTo>
                  <a:pt x="117" y="304"/>
                  <a:pt x="122" y="309"/>
                  <a:pt x="128" y="309"/>
                </a:cubicBezTo>
                <a:cubicBezTo>
                  <a:pt x="134" y="309"/>
                  <a:pt x="138" y="304"/>
                  <a:pt x="138" y="298"/>
                </a:cubicBezTo>
                <a:cubicBezTo>
                  <a:pt x="160" y="298"/>
                  <a:pt x="160" y="298"/>
                  <a:pt x="160" y="298"/>
                </a:cubicBezTo>
                <a:cubicBezTo>
                  <a:pt x="160" y="304"/>
                  <a:pt x="164" y="309"/>
                  <a:pt x="170" y="309"/>
                </a:cubicBezTo>
                <a:cubicBezTo>
                  <a:pt x="176" y="309"/>
                  <a:pt x="181" y="304"/>
                  <a:pt x="181" y="298"/>
                </a:cubicBezTo>
                <a:cubicBezTo>
                  <a:pt x="202" y="298"/>
                  <a:pt x="202" y="298"/>
                  <a:pt x="202" y="298"/>
                </a:cubicBezTo>
                <a:cubicBezTo>
                  <a:pt x="202" y="326"/>
                  <a:pt x="202" y="326"/>
                  <a:pt x="202" y="326"/>
                </a:cubicBezTo>
                <a:cubicBezTo>
                  <a:pt x="173" y="355"/>
                  <a:pt x="173" y="355"/>
                  <a:pt x="173" y="355"/>
                </a:cubicBezTo>
                <a:cubicBezTo>
                  <a:pt x="169" y="359"/>
                  <a:pt x="169" y="366"/>
                  <a:pt x="173" y="370"/>
                </a:cubicBezTo>
                <a:cubicBezTo>
                  <a:pt x="176" y="372"/>
                  <a:pt x="178" y="373"/>
                  <a:pt x="181" y="373"/>
                </a:cubicBezTo>
                <a:cubicBezTo>
                  <a:pt x="184" y="373"/>
                  <a:pt x="186" y="372"/>
                  <a:pt x="189" y="370"/>
                </a:cubicBezTo>
                <a:cubicBezTo>
                  <a:pt x="221" y="338"/>
                  <a:pt x="221" y="338"/>
                  <a:pt x="221" y="338"/>
                </a:cubicBezTo>
                <a:cubicBezTo>
                  <a:pt x="223" y="336"/>
                  <a:pt x="224" y="333"/>
                  <a:pt x="224" y="330"/>
                </a:cubicBezTo>
                <a:lnTo>
                  <a:pt x="224" y="181"/>
                </a:lnTo>
                <a:close/>
                <a:moveTo>
                  <a:pt x="394" y="277"/>
                </a:moveTo>
                <a:cubicBezTo>
                  <a:pt x="394" y="234"/>
                  <a:pt x="394" y="234"/>
                  <a:pt x="394" y="234"/>
                </a:cubicBezTo>
                <a:cubicBezTo>
                  <a:pt x="405" y="234"/>
                  <a:pt x="405" y="234"/>
                  <a:pt x="405" y="234"/>
                </a:cubicBezTo>
                <a:cubicBezTo>
                  <a:pt x="411" y="234"/>
                  <a:pt x="416" y="230"/>
                  <a:pt x="416" y="224"/>
                </a:cubicBezTo>
                <a:cubicBezTo>
                  <a:pt x="416" y="218"/>
                  <a:pt x="411" y="213"/>
                  <a:pt x="405" y="213"/>
                </a:cubicBezTo>
                <a:cubicBezTo>
                  <a:pt x="394" y="213"/>
                  <a:pt x="394" y="213"/>
                  <a:pt x="394" y="213"/>
                </a:cubicBezTo>
                <a:cubicBezTo>
                  <a:pt x="394" y="207"/>
                  <a:pt x="390" y="202"/>
                  <a:pt x="384" y="202"/>
                </a:cubicBezTo>
                <a:cubicBezTo>
                  <a:pt x="378" y="202"/>
                  <a:pt x="373" y="207"/>
                  <a:pt x="373" y="213"/>
                </a:cubicBezTo>
                <a:cubicBezTo>
                  <a:pt x="352" y="213"/>
                  <a:pt x="352" y="213"/>
                  <a:pt x="352" y="213"/>
                </a:cubicBezTo>
                <a:cubicBezTo>
                  <a:pt x="352" y="207"/>
                  <a:pt x="347" y="202"/>
                  <a:pt x="341" y="202"/>
                </a:cubicBezTo>
                <a:cubicBezTo>
                  <a:pt x="335" y="202"/>
                  <a:pt x="330" y="207"/>
                  <a:pt x="330" y="213"/>
                </a:cubicBezTo>
                <a:cubicBezTo>
                  <a:pt x="309" y="213"/>
                  <a:pt x="309" y="213"/>
                  <a:pt x="309" y="213"/>
                </a:cubicBezTo>
                <a:cubicBezTo>
                  <a:pt x="309" y="185"/>
                  <a:pt x="309" y="185"/>
                  <a:pt x="309" y="185"/>
                </a:cubicBezTo>
                <a:cubicBezTo>
                  <a:pt x="338" y="157"/>
                  <a:pt x="338" y="157"/>
                  <a:pt x="338" y="157"/>
                </a:cubicBezTo>
                <a:cubicBezTo>
                  <a:pt x="342" y="152"/>
                  <a:pt x="342" y="146"/>
                  <a:pt x="338" y="141"/>
                </a:cubicBezTo>
                <a:cubicBezTo>
                  <a:pt x="334" y="137"/>
                  <a:pt x="327" y="137"/>
                  <a:pt x="323" y="141"/>
                </a:cubicBezTo>
                <a:cubicBezTo>
                  <a:pt x="291" y="173"/>
                  <a:pt x="291" y="173"/>
                  <a:pt x="291" y="173"/>
                </a:cubicBezTo>
                <a:cubicBezTo>
                  <a:pt x="289" y="175"/>
                  <a:pt x="288" y="178"/>
                  <a:pt x="288" y="181"/>
                </a:cubicBezTo>
                <a:cubicBezTo>
                  <a:pt x="288" y="330"/>
                  <a:pt x="288" y="330"/>
                  <a:pt x="288" y="330"/>
                </a:cubicBezTo>
                <a:cubicBezTo>
                  <a:pt x="288" y="333"/>
                  <a:pt x="289" y="336"/>
                  <a:pt x="291" y="338"/>
                </a:cubicBezTo>
                <a:cubicBezTo>
                  <a:pt x="323" y="370"/>
                  <a:pt x="323" y="370"/>
                  <a:pt x="323" y="370"/>
                </a:cubicBezTo>
                <a:cubicBezTo>
                  <a:pt x="325" y="372"/>
                  <a:pt x="328" y="373"/>
                  <a:pt x="330" y="373"/>
                </a:cubicBezTo>
                <a:cubicBezTo>
                  <a:pt x="333" y="373"/>
                  <a:pt x="336" y="372"/>
                  <a:pt x="338" y="370"/>
                </a:cubicBezTo>
                <a:cubicBezTo>
                  <a:pt x="342" y="366"/>
                  <a:pt x="342" y="359"/>
                  <a:pt x="338" y="355"/>
                </a:cubicBezTo>
                <a:cubicBezTo>
                  <a:pt x="309" y="326"/>
                  <a:pt x="309" y="326"/>
                  <a:pt x="309" y="326"/>
                </a:cubicBezTo>
                <a:cubicBezTo>
                  <a:pt x="309" y="298"/>
                  <a:pt x="309" y="298"/>
                  <a:pt x="309" y="298"/>
                </a:cubicBezTo>
                <a:cubicBezTo>
                  <a:pt x="330" y="298"/>
                  <a:pt x="330" y="298"/>
                  <a:pt x="330" y="298"/>
                </a:cubicBezTo>
                <a:cubicBezTo>
                  <a:pt x="330" y="304"/>
                  <a:pt x="335" y="309"/>
                  <a:pt x="341" y="309"/>
                </a:cubicBezTo>
                <a:cubicBezTo>
                  <a:pt x="347" y="309"/>
                  <a:pt x="352" y="304"/>
                  <a:pt x="352" y="298"/>
                </a:cubicBezTo>
                <a:cubicBezTo>
                  <a:pt x="373" y="298"/>
                  <a:pt x="373" y="298"/>
                  <a:pt x="373" y="298"/>
                </a:cubicBezTo>
                <a:cubicBezTo>
                  <a:pt x="373" y="304"/>
                  <a:pt x="378" y="309"/>
                  <a:pt x="384" y="309"/>
                </a:cubicBezTo>
                <a:cubicBezTo>
                  <a:pt x="390" y="309"/>
                  <a:pt x="394" y="304"/>
                  <a:pt x="394" y="298"/>
                </a:cubicBezTo>
                <a:cubicBezTo>
                  <a:pt x="405" y="298"/>
                  <a:pt x="405" y="298"/>
                  <a:pt x="405" y="298"/>
                </a:cubicBezTo>
                <a:cubicBezTo>
                  <a:pt x="411" y="298"/>
                  <a:pt x="416" y="294"/>
                  <a:pt x="416" y="288"/>
                </a:cubicBezTo>
                <a:cubicBezTo>
                  <a:pt x="416" y="282"/>
                  <a:pt x="411" y="277"/>
                  <a:pt x="405" y="277"/>
                </a:cubicBezTo>
                <a:lnTo>
                  <a:pt x="394" y="277"/>
                </a:lnTo>
                <a:close/>
                <a:moveTo>
                  <a:pt x="138" y="277"/>
                </a:moveTo>
                <a:cubicBezTo>
                  <a:pt x="160" y="277"/>
                  <a:pt x="160" y="277"/>
                  <a:pt x="160" y="277"/>
                </a:cubicBezTo>
                <a:cubicBezTo>
                  <a:pt x="160" y="234"/>
                  <a:pt x="160" y="234"/>
                  <a:pt x="160" y="234"/>
                </a:cubicBezTo>
                <a:cubicBezTo>
                  <a:pt x="138" y="234"/>
                  <a:pt x="138" y="234"/>
                  <a:pt x="138" y="234"/>
                </a:cubicBezTo>
                <a:lnTo>
                  <a:pt x="138" y="2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5" name="Group 706">
            <a:extLst>
              <a:ext uri="{FF2B5EF4-FFF2-40B4-BE49-F238E27FC236}">
                <a16:creationId xmlns:a16="http://schemas.microsoft.com/office/drawing/2014/main" id="{DD58A613-1DB2-4F75-9AF3-7CFFEA7E162F}"/>
              </a:ext>
            </a:extLst>
          </p:cNvPr>
          <p:cNvGrpSpPr>
            <a:grpSpLocks noChangeAspect="1"/>
          </p:cNvGrpSpPr>
          <p:nvPr/>
        </p:nvGrpSpPr>
        <p:grpSpPr bwMode="auto">
          <a:xfrm>
            <a:off x="6128281" y="1698655"/>
            <a:ext cx="369021" cy="369021"/>
            <a:chOff x="4298" y="2709"/>
            <a:chExt cx="340" cy="340"/>
          </a:xfrm>
          <a:solidFill>
            <a:schemeClr val="accent2"/>
          </a:solidFill>
        </p:grpSpPr>
        <p:sp>
          <p:nvSpPr>
            <p:cNvPr id="376" name="Freeform 707">
              <a:extLst>
                <a:ext uri="{FF2B5EF4-FFF2-40B4-BE49-F238E27FC236}">
                  <a16:creationId xmlns:a16="http://schemas.microsoft.com/office/drawing/2014/main" id="{755FD66F-9031-4710-A6AB-B8E16A4773FD}"/>
                </a:ext>
              </a:extLst>
            </p:cNvPr>
            <p:cNvSpPr>
              <a:spLocks noEditPoints="1"/>
            </p:cNvSpPr>
            <p:nvPr/>
          </p:nvSpPr>
          <p:spPr bwMode="auto">
            <a:xfrm>
              <a:off x="4298" y="27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7" name="Freeform 708">
              <a:extLst>
                <a:ext uri="{FF2B5EF4-FFF2-40B4-BE49-F238E27FC236}">
                  <a16:creationId xmlns:a16="http://schemas.microsoft.com/office/drawing/2014/main" id="{863E1D1B-12EC-4A94-B1EF-B8D32B95F53D}"/>
                </a:ext>
              </a:extLst>
            </p:cNvPr>
            <p:cNvSpPr>
              <a:spLocks noEditPoints="1"/>
            </p:cNvSpPr>
            <p:nvPr/>
          </p:nvSpPr>
          <p:spPr bwMode="auto">
            <a:xfrm>
              <a:off x="4362" y="2800"/>
              <a:ext cx="212" cy="157"/>
            </a:xfrm>
            <a:custGeom>
              <a:avLst/>
              <a:gdLst>
                <a:gd name="T0" fmla="*/ 128 w 320"/>
                <a:gd name="T1" fmla="*/ 44 h 236"/>
                <a:gd name="T2" fmla="*/ 125 w 320"/>
                <a:gd name="T3" fmla="*/ 201 h 236"/>
                <a:gd name="T4" fmla="*/ 85 w 320"/>
                <a:gd name="T5" fmla="*/ 236 h 236"/>
                <a:gd name="T6" fmla="*/ 77 w 320"/>
                <a:gd name="T7" fmla="*/ 218 h 236"/>
                <a:gd name="T8" fmla="*/ 106 w 320"/>
                <a:gd name="T9" fmla="*/ 181 h 236"/>
                <a:gd name="T10" fmla="*/ 81 w 320"/>
                <a:gd name="T11" fmla="*/ 161 h 236"/>
                <a:gd name="T12" fmla="*/ 46 w 320"/>
                <a:gd name="T13" fmla="*/ 183 h 236"/>
                <a:gd name="T14" fmla="*/ 10 w 320"/>
                <a:gd name="T15" fmla="*/ 161 h 236"/>
                <a:gd name="T16" fmla="*/ 10 w 320"/>
                <a:gd name="T17" fmla="*/ 140 h 236"/>
                <a:gd name="T18" fmla="*/ 46 w 320"/>
                <a:gd name="T19" fmla="*/ 161 h 236"/>
                <a:gd name="T20" fmla="*/ 81 w 320"/>
                <a:gd name="T21" fmla="*/ 140 h 236"/>
                <a:gd name="T22" fmla="*/ 106 w 320"/>
                <a:gd name="T23" fmla="*/ 138 h 236"/>
                <a:gd name="T24" fmla="*/ 81 w 320"/>
                <a:gd name="T25" fmla="*/ 119 h 236"/>
                <a:gd name="T26" fmla="*/ 46 w 320"/>
                <a:gd name="T27" fmla="*/ 140 h 236"/>
                <a:gd name="T28" fmla="*/ 10 w 320"/>
                <a:gd name="T29" fmla="*/ 119 h 236"/>
                <a:gd name="T30" fmla="*/ 10 w 320"/>
                <a:gd name="T31" fmla="*/ 97 h 236"/>
                <a:gd name="T32" fmla="*/ 46 w 320"/>
                <a:gd name="T33" fmla="*/ 119 h 236"/>
                <a:gd name="T34" fmla="*/ 81 w 320"/>
                <a:gd name="T35" fmla="*/ 97 h 236"/>
                <a:gd name="T36" fmla="*/ 106 w 320"/>
                <a:gd name="T37" fmla="*/ 95 h 236"/>
                <a:gd name="T38" fmla="*/ 81 w 320"/>
                <a:gd name="T39" fmla="*/ 76 h 236"/>
                <a:gd name="T40" fmla="*/ 46 w 320"/>
                <a:gd name="T41" fmla="*/ 97 h 236"/>
                <a:gd name="T42" fmla="*/ 10 w 320"/>
                <a:gd name="T43" fmla="*/ 76 h 236"/>
                <a:gd name="T44" fmla="*/ 10 w 320"/>
                <a:gd name="T45" fmla="*/ 55 h 236"/>
                <a:gd name="T46" fmla="*/ 46 w 320"/>
                <a:gd name="T47" fmla="*/ 76 h 236"/>
                <a:gd name="T48" fmla="*/ 81 w 320"/>
                <a:gd name="T49" fmla="*/ 55 h 236"/>
                <a:gd name="T50" fmla="*/ 106 w 320"/>
                <a:gd name="T51" fmla="*/ 48 h 236"/>
                <a:gd name="T52" fmla="*/ 77 w 320"/>
                <a:gd name="T53" fmla="*/ 4 h 236"/>
                <a:gd name="T54" fmla="*/ 125 w 320"/>
                <a:gd name="T55" fmla="*/ 36 h 236"/>
                <a:gd name="T56" fmla="*/ 264 w 320"/>
                <a:gd name="T57" fmla="*/ 126 h 236"/>
                <a:gd name="T58" fmla="*/ 283 w 320"/>
                <a:gd name="T59" fmla="*/ 125 h 236"/>
                <a:gd name="T60" fmla="*/ 320 w 320"/>
                <a:gd name="T61" fmla="*/ 129 h 236"/>
                <a:gd name="T62" fmla="*/ 299 w 320"/>
                <a:gd name="T63" fmla="*/ 112 h 236"/>
                <a:gd name="T64" fmla="*/ 248 w 320"/>
                <a:gd name="T65" fmla="*/ 112 h 236"/>
                <a:gd name="T66" fmla="*/ 228 w 320"/>
                <a:gd name="T67" fmla="*/ 112 h 236"/>
                <a:gd name="T68" fmla="*/ 213 w 320"/>
                <a:gd name="T69" fmla="*/ 84 h 236"/>
                <a:gd name="T70" fmla="*/ 264 w 320"/>
                <a:gd name="T71" fmla="*/ 83 h 236"/>
                <a:gd name="T72" fmla="*/ 283 w 320"/>
                <a:gd name="T73" fmla="*/ 83 h 236"/>
                <a:gd name="T74" fmla="*/ 320 w 320"/>
                <a:gd name="T75" fmla="*/ 87 h 236"/>
                <a:gd name="T76" fmla="*/ 299 w 320"/>
                <a:gd name="T77" fmla="*/ 69 h 236"/>
                <a:gd name="T78" fmla="*/ 248 w 320"/>
                <a:gd name="T79" fmla="*/ 69 h 236"/>
                <a:gd name="T80" fmla="*/ 228 w 320"/>
                <a:gd name="T81" fmla="*/ 69 h 236"/>
                <a:gd name="T82" fmla="*/ 213 w 320"/>
                <a:gd name="T83" fmla="*/ 48 h 236"/>
                <a:gd name="T84" fmla="*/ 242 w 320"/>
                <a:gd name="T85" fmla="*/ 4 h 236"/>
                <a:gd name="T86" fmla="*/ 195 w 320"/>
                <a:gd name="T87" fmla="*/ 36 h 236"/>
                <a:gd name="T88" fmla="*/ 192 w 320"/>
                <a:gd name="T89" fmla="*/ 193 h 236"/>
                <a:gd name="T90" fmla="*/ 227 w 320"/>
                <a:gd name="T91" fmla="*/ 233 h 236"/>
                <a:gd name="T92" fmla="*/ 242 w 320"/>
                <a:gd name="T93" fmla="*/ 233 h 236"/>
                <a:gd name="T94" fmla="*/ 213 w 320"/>
                <a:gd name="T95" fmla="*/ 189 h 236"/>
                <a:gd name="T96" fmla="*/ 238 w 320"/>
                <a:gd name="T97" fmla="*/ 183 h 236"/>
                <a:gd name="T98" fmla="*/ 273 w 320"/>
                <a:gd name="T99" fmla="*/ 161 h 236"/>
                <a:gd name="T100" fmla="*/ 309 w 320"/>
                <a:gd name="T101" fmla="*/ 183 h 236"/>
                <a:gd name="T102" fmla="*/ 309 w 320"/>
                <a:gd name="T103" fmla="*/ 161 h 236"/>
                <a:gd name="T104" fmla="*/ 273 w 320"/>
                <a:gd name="T105" fmla="*/ 140 h 236"/>
                <a:gd name="T106" fmla="*/ 238 w 320"/>
                <a:gd name="T107" fmla="*/ 161 h 236"/>
                <a:gd name="T108" fmla="*/ 213 w 320"/>
                <a:gd name="T109" fmla="*/ 142 h 236"/>
                <a:gd name="T110" fmla="*/ 238 w 320"/>
                <a:gd name="T111"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36">
                  <a:moveTo>
                    <a:pt x="125" y="36"/>
                  </a:moveTo>
                  <a:cubicBezTo>
                    <a:pt x="127" y="38"/>
                    <a:pt x="128" y="41"/>
                    <a:pt x="128" y="44"/>
                  </a:cubicBezTo>
                  <a:cubicBezTo>
                    <a:pt x="128" y="193"/>
                    <a:pt x="128" y="193"/>
                    <a:pt x="128" y="193"/>
                  </a:cubicBezTo>
                  <a:cubicBezTo>
                    <a:pt x="128" y="196"/>
                    <a:pt x="127" y="199"/>
                    <a:pt x="125" y="201"/>
                  </a:cubicBezTo>
                  <a:cubicBezTo>
                    <a:pt x="93" y="233"/>
                    <a:pt x="93" y="233"/>
                    <a:pt x="93" y="233"/>
                  </a:cubicBezTo>
                  <a:cubicBezTo>
                    <a:pt x="90" y="235"/>
                    <a:pt x="88" y="236"/>
                    <a:pt x="85" y="236"/>
                  </a:cubicBezTo>
                  <a:cubicBezTo>
                    <a:pt x="82" y="236"/>
                    <a:pt x="80" y="235"/>
                    <a:pt x="77" y="233"/>
                  </a:cubicBezTo>
                  <a:cubicBezTo>
                    <a:pt x="73" y="229"/>
                    <a:pt x="73" y="222"/>
                    <a:pt x="77" y="218"/>
                  </a:cubicBezTo>
                  <a:cubicBezTo>
                    <a:pt x="106" y="189"/>
                    <a:pt x="106" y="189"/>
                    <a:pt x="106" y="189"/>
                  </a:cubicBezTo>
                  <a:cubicBezTo>
                    <a:pt x="106" y="181"/>
                    <a:pt x="106" y="181"/>
                    <a:pt x="106" y="181"/>
                  </a:cubicBezTo>
                  <a:cubicBezTo>
                    <a:pt x="99" y="178"/>
                    <a:pt x="94" y="172"/>
                    <a:pt x="91" y="168"/>
                  </a:cubicBezTo>
                  <a:cubicBezTo>
                    <a:pt x="87" y="163"/>
                    <a:pt x="85" y="161"/>
                    <a:pt x="81" y="161"/>
                  </a:cubicBezTo>
                  <a:cubicBezTo>
                    <a:pt x="78" y="161"/>
                    <a:pt x="76" y="163"/>
                    <a:pt x="72" y="168"/>
                  </a:cubicBezTo>
                  <a:cubicBezTo>
                    <a:pt x="67" y="174"/>
                    <a:pt x="60" y="183"/>
                    <a:pt x="46" y="183"/>
                  </a:cubicBezTo>
                  <a:cubicBezTo>
                    <a:pt x="32" y="183"/>
                    <a:pt x="25" y="174"/>
                    <a:pt x="20" y="168"/>
                  </a:cubicBezTo>
                  <a:cubicBezTo>
                    <a:pt x="16" y="163"/>
                    <a:pt x="14" y="161"/>
                    <a:pt x="10" y="161"/>
                  </a:cubicBezTo>
                  <a:cubicBezTo>
                    <a:pt x="4" y="161"/>
                    <a:pt x="0" y="157"/>
                    <a:pt x="0" y="151"/>
                  </a:cubicBezTo>
                  <a:cubicBezTo>
                    <a:pt x="0" y="145"/>
                    <a:pt x="4" y="140"/>
                    <a:pt x="10" y="140"/>
                  </a:cubicBezTo>
                  <a:cubicBezTo>
                    <a:pt x="24" y="140"/>
                    <a:pt x="31" y="149"/>
                    <a:pt x="36" y="155"/>
                  </a:cubicBezTo>
                  <a:cubicBezTo>
                    <a:pt x="41" y="160"/>
                    <a:pt x="42" y="161"/>
                    <a:pt x="46" y="161"/>
                  </a:cubicBezTo>
                  <a:cubicBezTo>
                    <a:pt x="49" y="161"/>
                    <a:pt x="51" y="160"/>
                    <a:pt x="55" y="155"/>
                  </a:cubicBezTo>
                  <a:cubicBezTo>
                    <a:pt x="60" y="149"/>
                    <a:pt x="68" y="140"/>
                    <a:pt x="81" y="140"/>
                  </a:cubicBezTo>
                  <a:cubicBezTo>
                    <a:pt x="94" y="140"/>
                    <a:pt x="102" y="147"/>
                    <a:pt x="106" y="153"/>
                  </a:cubicBezTo>
                  <a:cubicBezTo>
                    <a:pt x="106" y="138"/>
                    <a:pt x="106" y="138"/>
                    <a:pt x="106" y="138"/>
                  </a:cubicBezTo>
                  <a:cubicBezTo>
                    <a:pt x="99" y="135"/>
                    <a:pt x="94" y="130"/>
                    <a:pt x="91" y="125"/>
                  </a:cubicBezTo>
                  <a:cubicBezTo>
                    <a:pt x="87" y="120"/>
                    <a:pt x="85" y="119"/>
                    <a:pt x="81" y="119"/>
                  </a:cubicBezTo>
                  <a:cubicBezTo>
                    <a:pt x="78" y="119"/>
                    <a:pt x="76" y="120"/>
                    <a:pt x="72" y="126"/>
                  </a:cubicBezTo>
                  <a:cubicBezTo>
                    <a:pt x="67" y="131"/>
                    <a:pt x="60" y="140"/>
                    <a:pt x="46" y="140"/>
                  </a:cubicBezTo>
                  <a:cubicBezTo>
                    <a:pt x="32" y="140"/>
                    <a:pt x="25" y="131"/>
                    <a:pt x="20" y="126"/>
                  </a:cubicBezTo>
                  <a:cubicBezTo>
                    <a:pt x="16" y="120"/>
                    <a:pt x="14" y="119"/>
                    <a:pt x="10" y="119"/>
                  </a:cubicBezTo>
                  <a:cubicBezTo>
                    <a:pt x="4" y="119"/>
                    <a:pt x="0" y="114"/>
                    <a:pt x="0" y="108"/>
                  </a:cubicBezTo>
                  <a:cubicBezTo>
                    <a:pt x="0" y="102"/>
                    <a:pt x="4" y="97"/>
                    <a:pt x="10" y="97"/>
                  </a:cubicBezTo>
                  <a:cubicBezTo>
                    <a:pt x="24" y="97"/>
                    <a:pt x="31" y="106"/>
                    <a:pt x="36" y="112"/>
                  </a:cubicBezTo>
                  <a:cubicBezTo>
                    <a:pt x="41" y="117"/>
                    <a:pt x="42" y="119"/>
                    <a:pt x="46" y="119"/>
                  </a:cubicBezTo>
                  <a:cubicBezTo>
                    <a:pt x="49" y="119"/>
                    <a:pt x="51" y="117"/>
                    <a:pt x="55" y="112"/>
                  </a:cubicBezTo>
                  <a:cubicBezTo>
                    <a:pt x="60" y="106"/>
                    <a:pt x="68" y="97"/>
                    <a:pt x="81" y="97"/>
                  </a:cubicBezTo>
                  <a:cubicBezTo>
                    <a:pt x="94" y="97"/>
                    <a:pt x="102" y="105"/>
                    <a:pt x="106" y="111"/>
                  </a:cubicBezTo>
                  <a:cubicBezTo>
                    <a:pt x="106" y="95"/>
                    <a:pt x="106" y="95"/>
                    <a:pt x="106" y="95"/>
                  </a:cubicBezTo>
                  <a:cubicBezTo>
                    <a:pt x="99" y="92"/>
                    <a:pt x="94" y="87"/>
                    <a:pt x="91" y="83"/>
                  </a:cubicBezTo>
                  <a:cubicBezTo>
                    <a:pt x="87" y="77"/>
                    <a:pt x="85" y="76"/>
                    <a:pt x="81" y="76"/>
                  </a:cubicBezTo>
                  <a:cubicBezTo>
                    <a:pt x="78" y="76"/>
                    <a:pt x="76" y="78"/>
                    <a:pt x="72" y="83"/>
                  </a:cubicBezTo>
                  <a:cubicBezTo>
                    <a:pt x="67" y="89"/>
                    <a:pt x="60" y="97"/>
                    <a:pt x="46" y="97"/>
                  </a:cubicBezTo>
                  <a:cubicBezTo>
                    <a:pt x="32" y="97"/>
                    <a:pt x="25" y="89"/>
                    <a:pt x="20" y="83"/>
                  </a:cubicBezTo>
                  <a:cubicBezTo>
                    <a:pt x="16" y="78"/>
                    <a:pt x="14" y="76"/>
                    <a:pt x="10" y="76"/>
                  </a:cubicBezTo>
                  <a:cubicBezTo>
                    <a:pt x="4" y="76"/>
                    <a:pt x="0" y="71"/>
                    <a:pt x="0" y="65"/>
                  </a:cubicBezTo>
                  <a:cubicBezTo>
                    <a:pt x="0" y="59"/>
                    <a:pt x="4" y="55"/>
                    <a:pt x="10" y="55"/>
                  </a:cubicBezTo>
                  <a:cubicBezTo>
                    <a:pt x="24" y="55"/>
                    <a:pt x="31" y="63"/>
                    <a:pt x="36" y="69"/>
                  </a:cubicBezTo>
                  <a:cubicBezTo>
                    <a:pt x="41" y="74"/>
                    <a:pt x="42" y="76"/>
                    <a:pt x="46" y="76"/>
                  </a:cubicBezTo>
                  <a:cubicBezTo>
                    <a:pt x="49" y="76"/>
                    <a:pt x="51" y="74"/>
                    <a:pt x="55" y="69"/>
                  </a:cubicBezTo>
                  <a:cubicBezTo>
                    <a:pt x="60" y="63"/>
                    <a:pt x="68" y="55"/>
                    <a:pt x="81" y="55"/>
                  </a:cubicBezTo>
                  <a:cubicBezTo>
                    <a:pt x="94" y="55"/>
                    <a:pt x="102" y="62"/>
                    <a:pt x="106" y="68"/>
                  </a:cubicBezTo>
                  <a:cubicBezTo>
                    <a:pt x="106" y="48"/>
                    <a:pt x="106" y="48"/>
                    <a:pt x="106" y="48"/>
                  </a:cubicBezTo>
                  <a:cubicBezTo>
                    <a:pt x="77" y="20"/>
                    <a:pt x="77" y="20"/>
                    <a:pt x="77" y="20"/>
                  </a:cubicBezTo>
                  <a:cubicBezTo>
                    <a:pt x="73" y="15"/>
                    <a:pt x="73" y="9"/>
                    <a:pt x="77" y="4"/>
                  </a:cubicBezTo>
                  <a:cubicBezTo>
                    <a:pt x="82" y="0"/>
                    <a:pt x="88" y="0"/>
                    <a:pt x="93" y="4"/>
                  </a:cubicBezTo>
                  <a:lnTo>
                    <a:pt x="125" y="36"/>
                  </a:lnTo>
                  <a:close/>
                  <a:moveTo>
                    <a:pt x="238" y="140"/>
                  </a:moveTo>
                  <a:cubicBezTo>
                    <a:pt x="252" y="140"/>
                    <a:pt x="259" y="131"/>
                    <a:pt x="264" y="126"/>
                  </a:cubicBezTo>
                  <a:cubicBezTo>
                    <a:pt x="268" y="120"/>
                    <a:pt x="270" y="119"/>
                    <a:pt x="273" y="119"/>
                  </a:cubicBezTo>
                  <a:cubicBezTo>
                    <a:pt x="277" y="119"/>
                    <a:pt x="279" y="120"/>
                    <a:pt x="283" y="125"/>
                  </a:cubicBezTo>
                  <a:cubicBezTo>
                    <a:pt x="288" y="131"/>
                    <a:pt x="295" y="140"/>
                    <a:pt x="309" y="140"/>
                  </a:cubicBezTo>
                  <a:cubicBezTo>
                    <a:pt x="315" y="140"/>
                    <a:pt x="320" y="135"/>
                    <a:pt x="320" y="129"/>
                  </a:cubicBezTo>
                  <a:cubicBezTo>
                    <a:pt x="320" y="123"/>
                    <a:pt x="315" y="119"/>
                    <a:pt x="309" y="119"/>
                  </a:cubicBezTo>
                  <a:cubicBezTo>
                    <a:pt x="306" y="119"/>
                    <a:pt x="304" y="117"/>
                    <a:pt x="299" y="112"/>
                  </a:cubicBezTo>
                  <a:cubicBezTo>
                    <a:pt x="295" y="106"/>
                    <a:pt x="287" y="97"/>
                    <a:pt x="273" y="97"/>
                  </a:cubicBezTo>
                  <a:cubicBezTo>
                    <a:pt x="260" y="97"/>
                    <a:pt x="252" y="106"/>
                    <a:pt x="248" y="112"/>
                  </a:cubicBezTo>
                  <a:cubicBezTo>
                    <a:pt x="243" y="117"/>
                    <a:pt x="242" y="119"/>
                    <a:pt x="238" y="119"/>
                  </a:cubicBezTo>
                  <a:cubicBezTo>
                    <a:pt x="234" y="119"/>
                    <a:pt x="233" y="117"/>
                    <a:pt x="228" y="112"/>
                  </a:cubicBezTo>
                  <a:cubicBezTo>
                    <a:pt x="225" y="108"/>
                    <a:pt x="220" y="102"/>
                    <a:pt x="213" y="99"/>
                  </a:cubicBezTo>
                  <a:cubicBezTo>
                    <a:pt x="213" y="84"/>
                    <a:pt x="213" y="84"/>
                    <a:pt x="213" y="84"/>
                  </a:cubicBezTo>
                  <a:cubicBezTo>
                    <a:pt x="218" y="90"/>
                    <a:pt x="225" y="97"/>
                    <a:pt x="238" y="97"/>
                  </a:cubicBezTo>
                  <a:cubicBezTo>
                    <a:pt x="252" y="97"/>
                    <a:pt x="259" y="89"/>
                    <a:pt x="264" y="83"/>
                  </a:cubicBezTo>
                  <a:cubicBezTo>
                    <a:pt x="268" y="78"/>
                    <a:pt x="270" y="76"/>
                    <a:pt x="273" y="76"/>
                  </a:cubicBezTo>
                  <a:cubicBezTo>
                    <a:pt x="277" y="76"/>
                    <a:pt x="279" y="77"/>
                    <a:pt x="283" y="83"/>
                  </a:cubicBezTo>
                  <a:cubicBezTo>
                    <a:pt x="288" y="89"/>
                    <a:pt x="295" y="97"/>
                    <a:pt x="309" y="97"/>
                  </a:cubicBezTo>
                  <a:cubicBezTo>
                    <a:pt x="315" y="97"/>
                    <a:pt x="320" y="93"/>
                    <a:pt x="320" y="87"/>
                  </a:cubicBezTo>
                  <a:cubicBezTo>
                    <a:pt x="320" y="81"/>
                    <a:pt x="315" y="76"/>
                    <a:pt x="309" y="76"/>
                  </a:cubicBezTo>
                  <a:cubicBezTo>
                    <a:pt x="306" y="76"/>
                    <a:pt x="304" y="75"/>
                    <a:pt x="299" y="69"/>
                  </a:cubicBezTo>
                  <a:cubicBezTo>
                    <a:pt x="295" y="63"/>
                    <a:pt x="287" y="55"/>
                    <a:pt x="273" y="55"/>
                  </a:cubicBezTo>
                  <a:cubicBezTo>
                    <a:pt x="260" y="55"/>
                    <a:pt x="252" y="63"/>
                    <a:pt x="248" y="69"/>
                  </a:cubicBezTo>
                  <a:cubicBezTo>
                    <a:pt x="243" y="74"/>
                    <a:pt x="242" y="76"/>
                    <a:pt x="238" y="76"/>
                  </a:cubicBezTo>
                  <a:cubicBezTo>
                    <a:pt x="234" y="76"/>
                    <a:pt x="233" y="74"/>
                    <a:pt x="228" y="69"/>
                  </a:cubicBezTo>
                  <a:cubicBezTo>
                    <a:pt x="225" y="65"/>
                    <a:pt x="220" y="60"/>
                    <a:pt x="213" y="57"/>
                  </a:cubicBezTo>
                  <a:cubicBezTo>
                    <a:pt x="213" y="48"/>
                    <a:pt x="213" y="48"/>
                    <a:pt x="213" y="48"/>
                  </a:cubicBezTo>
                  <a:cubicBezTo>
                    <a:pt x="242" y="20"/>
                    <a:pt x="242" y="20"/>
                    <a:pt x="242" y="20"/>
                  </a:cubicBezTo>
                  <a:cubicBezTo>
                    <a:pt x="246" y="15"/>
                    <a:pt x="246" y="9"/>
                    <a:pt x="242" y="4"/>
                  </a:cubicBezTo>
                  <a:cubicBezTo>
                    <a:pt x="238" y="0"/>
                    <a:pt x="231" y="0"/>
                    <a:pt x="227" y="4"/>
                  </a:cubicBezTo>
                  <a:cubicBezTo>
                    <a:pt x="195" y="36"/>
                    <a:pt x="195" y="36"/>
                    <a:pt x="195" y="36"/>
                  </a:cubicBezTo>
                  <a:cubicBezTo>
                    <a:pt x="193" y="38"/>
                    <a:pt x="192" y="41"/>
                    <a:pt x="192" y="44"/>
                  </a:cubicBezTo>
                  <a:cubicBezTo>
                    <a:pt x="192" y="193"/>
                    <a:pt x="192" y="193"/>
                    <a:pt x="192" y="193"/>
                  </a:cubicBezTo>
                  <a:cubicBezTo>
                    <a:pt x="192" y="196"/>
                    <a:pt x="193" y="199"/>
                    <a:pt x="195" y="201"/>
                  </a:cubicBezTo>
                  <a:cubicBezTo>
                    <a:pt x="227" y="233"/>
                    <a:pt x="227" y="233"/>
                    <a:pt x="227" y="233"/>
                  </a:cubicBezTo>
                  <a:cubicBezTo>
                    <a:pt x="229" y="235"/>
                    <a:pt x="232" y="236"/>
                    <a:pt x="234" y="236"/>
                  </a:cubicBezTo>
                  <a:cubicBezTo>
                    <a:pt x="237" y="236"/>
                    <a:pt x="240" y="235"/>
                    <a:pt x="242" y="233"/>
                  </a:cubicBezTo>
                  <a:cubicBezTo>
                    <a:pt x="246" y="229"/>
                    <a:pt x="246" y="222"/>
                    <a:pt x="242" y="218"/>
                  </a:cubicBezTo>
                  <a:cubicBezTo>
                    <a:pt x="213" y="189"/>
                    <a:pt x="213" y="189"/>
                    <a:pt x="213" y="189"/>
                  </a:cubicBezTo>
                  <a:cubicBezTo>
                    <a:pt x="213" y="169"/>
                    <a:pt x="213" y="169"/>
                    <a:pt x="213" y="169"/>
                  </a:cubicBezTo>
                  <a:cubicBezTo>
                    <a:pt x="218" y="175"/>
                    <a:pt x="225" y="183"/>
                    <a:pt x="238" y="183"/>
                  </a:cubicBezTo>
                  <a:cubicBezTo>
                    <a:pt x="252" y="183"/>
                    <a:pt x="259" y="174"/>
                    <a:pt x="264" y="168"/>
                  </a:cubicBezTo>
                  <a:cubicBezTo>
                    <a:pt x="268" y="163"/>
                    <a:pt x="270" y="161"/>
                    <a:pt x="273" y="161"/>
                  </a:cubicBezTo>
                  <a:cubicBezTo>
                    <a:pt x="277" y="161"/>
                    <a:pt x="279" y="163"/>
                    <a:pt x="283" y="168"/>
                  </a:cubicBezTo>
                  <a:cubicBezTo>
                    <a:pt x="288" y="174"/>
                    <a:pt x="295" y="183"/>
                    <a:pt x="309" y="183"/>
                  </a:cubicBezTo>
                  <a:cubicBezTo>
                    <a:pt x="315" y="183"/>
                    <a:pt x="320" y="178"/>
                    <a:pt x="320" y="172"/>
                  </a:cubicBezTo>
                  <a:cubicBezTo>
                    <a:pt x="320" y="166"/>
                    <a:pt x="315" y="161"/>
                    <a:pt x="309" y="161"/>
                  </a:cubicBezTo>
                  <a:cubicBezTo>
                    <a:pt x="306" y="161"/>
                    <a:pt x="304" y="160"/>
                    <a:pt x="299" y="155"/>
                  </a:cubicBezTo>
                  <a:cubicBezTo>
                    <a:pt x="295" y="149"/>
                    <a:pt x="287" y="140"/>
                    <a:pt x="273" y="140"/>
                  </a:cubicBezTo>
                  <a:cubicBezTo>
                    <a:pt x="260" y="140"/>
                    <a:pt x="252" y="149"/>
                    <a:pt x="248" y="155"/>
                  </a:cubicBezTo>
                  <a:cubicBezTo>
                    <a:pt x="243" y="160"/>
                    <a:pt x="242" y="161"/>
                    <a:pt x="238" y="161"/>
                  </a:cubicBezTo>
                  <a:cubicBezTo>
                    <a:pt x="234" y="161"/>
                    <a:pt x="233" y="160"/>
                    <a:pt x="228" y="155"/>
                  </a:cubicBezTo>
                  <a:cubicBezTo>
                    <a:pt x="225" y="150"/>
                    <a:pt x="220" y="145"/>
                    <a:pt x="213" y="142"/>
                  </a:cubicBezTo>
                  <a:cubicBezTo>
                    <a:pt x="213" y="127"/>
                    <a:pt x="213" y="127"/>
                    <a:pt x="213" y="127"/>
                  </a:cubicBezTo>
                  <a:cubicBezTo>
                    <a:pt x="218" y="132"/>
                    <a:pt x="225" y="140"/>
                    <a:pt x="238"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8" name="Freeform 712">
            <a:extLst>
              <a:ext uri="{FF2B5EF4-FFF2-40B4-BE49-F238E27FC236}">
                <a16:creationId xmlns:a16="http://schemas.microsoft.com/office/drawing/2014/main" id="{D7831DC2-837C-4592-AFFD-9037BFCBBDEF}"/>
              </a:ext>
            </a:extLst>
          </p:cNvPr>
          <p:cNvSpPr>
            <a:spLocks noChangeAspect="1" noEditPoints="1"/>
          </p:cNvSpPr>
          <p:nvPr/>
        </p:nvSpPr>
        <p:spPr bwMode="auto">
          <a:xfrm>
            <a:off x="5692762" y="1698655"/>
            <a:ext cx="369021" cy="369021"/>
          </a:xfrm>
          <a:custGeom>
            <a:avLst/>
            <a:gdLst>
              <a:gd name="T0" fmla="*/ 0 w 512"/>
              <a:gd name="T1" fmla="*/ 256 h 512"/>
              <a:gd name="T2" fmla="*/ 512 w 512"/>
              <a:gd name="T3" fmla="*/ 256 h 512"/>
              <a:gd name="T4" fmla="*/ 224 w 512"/>
              <a:gd name="T5" fmla="*/ 330 h 512"/>
              <a:gd name="T6" fmla="*/ 189 w 512"/>
              <a:gd name="T7" fmla="*/ 370 h 512"/>
              <a:gd name="T8" fmla="*/ 173 w 512"/>
              <a:gd name="T9" fmla="*/ 370 h 512"/>
              <a:gd name="T10" fmla="*/ 202 w 512"/>
              <a:gd name="T11" fmla="*/ 326 h 512"/>
              <a:gd name="T12" fmla="*/ 187 w 512"/>
              <a:gd name="T13" fmla="*/ 305 h 512"/>
              <a:gd name="T14" fmla="*/ 168 w 512"/>
              <a:gd name="T15" fmla="*/ 305 h 512"/>
              <a:gd name="T16" fmla="*/ 116 w 512"/>
              <a:gd name="T17" fmla="*/ 305 h 512"/>
              <a:gd name="T18" fmla="*/ 96 w 512"/>
              <a:gd name="T19" fmla="*/ 288 h 512"/>
              <a:gd name="T20" fmla="*/ 132 w 512"/>
              <a:gd name="T21" fmla="*/ 292 h 512"/>
              <a:gd name="T22" fmla="*/ 151 w 512"/>
              <a:gd name="T23" fmla="*/ 292 h 512"/>
              <a:gd name="T24" fmla="*/ 202 w 512"/>
              <a:gd name="T25" fmla="*/ 290 h 512"/>
              <a:gd name="T26" fmla="*/ 187 w 512"/>
              <a:gd name="T27" fmla="*/ 262 h 512"/>
              <a:gd name="T28" fmla="*/ 168 w 512"/>
              <a:gd name="T29" fmla="*/ 263 h 512"/>
              <a:gd name="T30" fmla="*/ 116 w 512"/>
              <a:gd name="T31" fmla="*/ 263 h 512"/>
              <a:gd name="T32" fmla="*/ 96 w 512"/>
              <a:gd name="T33" fmla="*/ 245 h 512"/>
              <a:gd name="T34" fmla="*/ 132 w 512"/>
              <a:gd name="T35" fmla="*/ 249 h 512"/>
              <a:gd name="T36" fmla="*/ 151 w 512"/>
              <a:gd name="T37" fmla="*/ 249 h 512"/>
              <a:gd name="T38" fmla="*/ 202 w 512"/>
              <a:gd name="T39" fmla="*/ 248 h 512"/>
              <a:gd name="T40" fmla="*/ 187 w 512"/>
              <a:gd name="T41" fmla="*/ 220 h 512"/>
              <a:gd name="T42" fmla="*/ 168 w 512"/>
              <a:gd name="T43" fmla="*/ 220 h 512"/>
              <a:gd name="T44" fmla="*/ 116 w 512"/>
              <a:gd name="T45" fmla="*/ 220 h 512"/>
              <a:gd name="T46" fmla="*/ 96 w 512"/>
              <a:gd name="T47" fmla="*/ 202 h 512"/>
              <a:gd name="T48" fmla="*/ 132 w 512"/>
              <a:gd name="T49" fmla="*/ 206 h 512"/>
              <a:gd name="T50" fmla="*/ 151 w 512"/>
              <a:gd name="T51" fmla="*/ 206 h 512"/>
              <a:gd name="T52" fmla="*/ 202 w 512"/>
              <a:gd name="T53" fmla="*/ 205 h 512"/>
              <a:gd name="T54" fmla="*/ 173 w 512"/>
              <a:gd name="T55" fmla="*/ 157 h 512"/>
              <a:gd name="T56" fmla="*/ 189 w 512"/>
              <a:gd name="T57" fmla="*/ 141 h 512"/>
              <a:gd name="T58" fmla="*/ 224 w 512"/>
              <a:gd name="T59" fmla="*/ 181 h 512"/>
              <a:gd name="T60" fmla="*/ 324 w 512"/>
              <a:gd name="T61" fmla="*/ 249 h 512"/>
              <a:gd name="T62" fmla="*/ 344 w 512"/>
              <a:gd name="T63" fmla="*/ 249 h 512"/>
              <a:gd name="T64" fmla="*/ 395 w 512"/>
              <a:gd name="T65" fmla="*/ 249 h 512"/>
              <a:gd name="T66" fmla="*/ 416 w 512"/>
              <a:gd name="T67" fmla="*/ 266 h 512"/>
              <a:gd name="T68" fmla="*/ 379 w 512"/>
              <a:gd name="T69" fmla="*/ 262 h 512"/>
              <a:gd name="T70" fmla="*/ 360 w 512"/>
              <a:gd name="T71" fmla="*/ 263 h 512"/>
              <a:gd name="T72" fmla="*/ 309 w 512"/>
              <a:gd name="T73" fmla="*/ 264 h 512"/>
              <a:gd name="T74" fmla="*/ 324 w 512"/>
              <a:gd name="T75" fmla="*/ 292 h 512"/>
              <a:gd name="T76" fmla="*/ 344 w 512"/>
              <a:gd name="T77" fmla="*/ 292 h 512"/>
              <a:gd name="T78" fmla="*/ 395 w 512"/>
              <a:gd name="T79" fmla="*/ 292 h 512"/>
              <a:gd name="T80" fmla="*/ 416 w 512"/>
              <a:gd name="T81" fmla="*/ 309 h 512"/>
              <a:gd name="T82" fmla="*/ 379 w 512"/>
              <a:gd name="T83" fmla="*/ 305 h 512"/>
              <a:gd name="T84" fmla="*/ 360 w 512"/>
              <a:gd name="T85" fmla="*/ 305 h 512"/>
              <a:gd name="T86" fmla="*/ 309 w 512"/>
              <a:gd name="T87" fmla="*/ 306 h 512"/>
              <a:gd name="T88" fmla="*/ 338 w 512"/>
              <a:gd name="T89" fmla="*/ 355 h 512"/>
              <a:gd name="T90" fmla="*/ 330 w 512"/>
              <a:gd name="T91" fmla="*/ 373 h 512"/>
              <a:gd name="T92" fmla="*/ 291 w 512"/>
              <a:gd name="T93" fmla="*/ 338 h 512"/>
              <a:gd name="T94" fmla="*/ 288 w 512"/>
              <a:gd name="T95" fmla="*/ 181 h 512"/>
              <a:gd name="T96" fmla="*/ 323 w 512"/>
              <a:gd name="T97" fmla="*/ 141 h 512"/>
              <a:gd name="T98" fmla="*/ 338 w 512"/>
              <a:gd name="T99" fmla="*/ 157 h 512"/>
              <a:gd name="T100" fmla="*/ 309 w 512"/>
              <a:gd name="T101" fmla="*/ 194 h 512"/>
              <a:gd name="T102" fmla="*/ 334 w 512"/>
              <a:gd name="T103" fmla="*/ 213 h 512"/>
              <a:gd name="T104" fmla="*/ 369 w 512"/>
              <a:gd name="T105" fmla="*/ 192 h 512"/>
              <a:gd name="T106" fmla="*/ 405 w 512"/>
              <a:gd name="T107" fmla="*/ 213 h 512"/>
              <a:gd name="T108" fmla="*/ 405 w 512"/>
              <a:gd name="T109" fmla="*/ 234 h 512"/>
              <a:gd name="T110" fmla="*/ 369 w 512"/>
              <a:gd name="T111" fmla="*/ 213 h 512"/>
              <a:gd name="T112" fmla="*/ 334 w 512"/>
              <a:gd name="T113" fmla="*/ 234 h 512"/>
              <a:gd name="T114" fmla="*/ 309 w 512"/>
              <a:gd name="T115" fmla="*/ 2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330"/>
                </a:moveTo>
                <a:cubicBezTo>
                  <a:pt x="224" y="333"/>
                  <a:pt x="223" y="336"/>
                  <a:pt x="221" y="338"/>
                </a:cubicBezTo>
                <a:cubicBezTo>
                  <a:pt x="189" y="370"/>
                  <a:pt x="189" y="370"/>
                  <a:pt x="189" y="370"/>
                </a:cubicBezTo>
                <a:cubicBezTo>
                  <a:pt x="186" y="372"/>
                  <a:pt x="184" y="373"/>
                  <a:pt x="181" y="373"/>
                </a:cubicBezTo>
                <a:cubicBezTo>
                  <a:pt x="178" y="373"/>
                  <a:pt x="176" y="372"/>
                  <a:pt x="173" y="370"/>
                </a:cubicBezTo>
                <a:cubicBezTo>
                  <a:pt x="169" y="366"/>
                  <a:pt x="169" y="359"/>
                  <a:pt x="173" y="355"/>
                </a:cubicBezTo>
                <a:cubicBezTo>
                  <a:pt x="202" y="326"/>
                  <a:pt x="202" y="326"/>
                  <a:pt x="202" y="326"/>
                </a:cubicBezTo>
                <a:cubicBezTo>
                  <a:pt x="202" y="318"/>
                  <a:pt x="202" y="318"/>
                  <a:pt x="202" y="318"/>
                </a:cubicBezTo>
                <a:cubicBezTo>
                  <a:pt x="195" y="315"/>
                  <a:pt x="190" y="309"/>
                  <a:pt x="187" y="305"/>
                </a:cubicBezTo>
                <a:cubicBezTo>
                  <a:pt x="183" y="300"/>
                  <a:pt x="181" y="298"/>
                  <a:pt x="177" y="298"/>
                </a:cubicBezTo>
                <a:cubicBezTo>
                  <a:pt x="174" y="298"/>
                  <a:pt x="172" y="300"/>
                  <a:pt x="168" y="305"/>
                </a:cubicBezTo>
                <a:cubicBezTo>
                  <a:pt x="163" y="311"/>
                  <a:pt x="156" y="320"/>
                  <a:pt x="142" y="320"/>
                </a:cubicBezTo>
                <a:cubicBezTo>
                  <a:pt x="128" y="320"/>
                  <a:pt x="121" y="311"/>
                  <a:pt x="116" y="305"/>
                </a:cubicBezTo>
                <a:cubicBezTo>
                  <a:pt x="112" y="300"/>
                  <a:pt x="110" y="298"/>
                  <a:pt x="106" y="298"/>
                </a:cubicBezTo>
                <a:cubicBezTo>
                  <a:pt x="100" y="298"/>
                  <a:pt x="96" y="294"/>
                  <a:pt x="96" y="288"/>
                </a:cubicBezTo>
                <a:cubicBezTo>
                  <a:pt x="96" y="282"/>
                  <a:pt x="100" y="277"/>
                  <a:pt x="106" y="277"/>
                </a:cubicBezTo>
                <a:cubicBezTo>
                  <a:pt x="120" y="277"/>
                  <a:pt x="127" y="286"/>
                  <a:pt x="132" y="292"/>
                </a:cubicBezTo>
                <a:cubicBezTo>
                  <a:pt x="137" y="297"/>
                  <a:pt x="138" y="298"/>
                  <a:pt x="142" y="298"/>
                </a:cubicBezTo>
                <a:cubicBezTo>
                  <a:pt x="145" y="298"/>
                  <a:pt x="147" y="297"/>
                  <a:pt x="151" y="292"/>
                </a:cubicBezTo>
                <a:cubicBezTo>
                  <a:pt x="156" y="286"/>
                  <a:pt x="164" y="277"/>
                  <a:pt x="177" y="277"/>
                </a:cubicBezTo>
                <a:cubicBezTo>
                  <a:pt x="190" y="277"/>
                  <a:pt x="198" y="284"/>
                  <a:pt x="202" y="290"/>
                </a:cubicBezTo>
                <a:cubicBezTo>
                  <a:pt x="202" y="275"/>
                  <a:pt x="202" y="275"/>
                  <a:pt x="202" y="275"/>
                </a:cubicBezTo>
                <a:cubicBezTo>
                  <a:pt x="195" y="272"/>
                  <a:pt x="190" y="267"/>
                  <a:pt x="187" y="262"/>
                </a:cubicBezTo>
                <a:cubicBezTo>
                  <a:pt x="183" y="257"/>
                  <a:pt x="181" y="256"/>
                  <a:pt x="177" y="256"/>
                </a:cubicBezTo>
                <a:cubicBezTo>
                  <a:pt x="174" y="256"/>
                  <a:pt x="172" y="257"/>
                  <a:pt x="168" y="263"/>
                </a:cubicBezTo>
                <a:cubicBezTo>
                  <a:pt x="163" y="268"/>
                  <a:pt x="156" y="277"/>
                  <a:pt x="142" y="277"/>
                </a:cubicBezTo>
                <a:cubicBezTo>
                  <a:pt x="128" y="277"/>
                  <a:pt x="121" y="268"/>
                  <a:pt x="116" y="263"/>
                </a:cubicBezTo>
                <a:cubicBezTo>
                  <a:pt x="112" y="257"/>
                  <a:pt x="110" y="256"/>
                  <a:pt x="106" y="256"/>
                </a:cubicBezTo>
                <a:cubicBezTo>
                  <a:pt x="100" y="256"/>
                  <a:pt x="96" y="251"/>
                  <a:pt x="96" y="245"/>
                </a:cubicBezTo>
                <a:cubicBezTo>
                  <a:pt x="96" y="239"/>
                  <a:pt x="100" y="234"/>
                  <a:pt x="106" y="234"/>
                </a:cubicBezTo>
                <a:cubicBezTo>
                  <a:pt x="120" y="234"/>
                  <a:pt x="127" y="243"/>
                  <a:pt x="132" y="249"/>
                </a:cubicBezTo>
                <a:cubicBezTo>
                  <a:pt x="137" y="254"/>
                  <a:pt x="138" y="256"/>
                  <a:pt x="142" y="256"/>
                </a:cubicBezTo>
                <a:cubicBezTo>
                  <a:pt x="145" y="256"/>
                  <a:pt x="147" y="254"/>
                  <a:pt x="151" y="249"/>
                </a:cubicBezTo>
                <a:cubicBezTo>
                  <a:pt x="156" y="243"/>
                  <a:pt x="164" y="234"/>
                  <a:pt x="177" y="234"/>
                </a:cubicBezTo>
                <a:cubicBezTo>
                  <a:pt x="190" y="234"/>
                  <a:pt x="198" y="242"/>
                  <a:pt x="202" y="248"/>
                </a:cubicBezTo>
                <a:cubicBezTo>
                  <a:pt x="202" y="232"/>
                  <a:pt x="202" y="232"/>
                  <a:pt x="202" y="232"/>
                </a:cubicBezTo>
                <a:cubicBezTo>
                  <a:pt x="195" y="229"/>
                  <a:pt x="190" y="224"/>
                  <a:pt x="187" y="220"/>
                </a:cubicBezTo>
                <a:cubicBezTo>
                  <a:pt x="183" y="214"/>
                  <a:pt x="181" y="213"/>
                  <a:pt x="177" y="213"/>
                </a:cubicBezTo>
                <a:cubicBezTo>
                  <a:pt x="174" y="213"/>
                  <a:pt x="172" y="215"/>
                  <a:pt x="168" y="220"/>
                </a:cubicBezTo>
                <a:cubicBezTo>
                  <a:pt x="163" y="226"/>
                  <a:pt x="156" y="234"/>
                  <a:pt x="142" y="234"/>
                </a:cubicBezTo>
                <a:cubicBezTo>
                  <a:pt x="128" y="234"/>
                  <a:pt x="121" y="226"/>
                  <a:pt x="116" y="220"/>
                </a:cubicBezTo>
                <a:cubicBezTo>
                  <a:pt x="112" y="215"/>
                  <a:pt x="110" y="213"/>
                  <a:pt x="106" y="213"/>
                </a:cubicBezTo>
                <a:cubicBezTo>
                  <a:pt x="100" y="213"/>
                  <a:pt x="96" y="208"/>
                  <a:pt x="96" y="202"/>
                </a:cubicBezTo>
                <a:cubicBezTo>
                  <a:pt x="96" y="196"/>
                  <a:pt x="100" y="192"/>
                  <a:pt x="106" y="192"/>
                </a:cubicBezTo>
                <a:cubicBezTo>
                  <a:pt x="120" y="192"/>
                  <a:pt x="127" y="200"/>
                  <a:pt x="132" y="206"/>
                </a:cubicBezTo>
                <a:cubicBezTo>
                  <a:pt x="137" y="211"/>
                  <a:pt x="138" y="213"/>
                  <a:pt x="142" y="213"/>
                </a:cubicBezTo>
                <a:cubicBezTo>
                  <a:pt x="145" y="213"/>
                  <a:pt x="147" y="211"/>
                  <a:pt x="151" y="206"/>
                </a:cubicBezTo>
                <a:cubicBezTo>
                  <a:pt x="156" y="200"/>
                  <a:pt x="164" y="192"/>
                  <a:pt x="177" y="192"/>
                </a:cubicBezTo>
                <a:cubicBezTo>
                  <a:pt x="190" y="192"/>
                  <a:pt x="198" y="199"/>
                  <a:pt x="202" y="205"/>
                </a:cubicBezTo>
                <a:cubicBezTo>
                  <a:pt x="202" y="185"/>
                  <a:pt x="202" y="185"/>
                  <a:pt x="202" y="185"/>
                </a:cubicBezTo>
                <a:cubicBezTo>
                  <a:pt x="173" y="157"/>
                  <a:pt x="173" y="157"/>
                  <a:pt x="173" y="157"/>
                </a:cubicBezTo>
                <a:cubicBezTo>
                  <a:pt x="169" y="152"/>
                  <a:pt x="169" y="146"/>
                  <a:pt x="173" y="141"/>
                </a:cubicBezTo>
                <a:cubicBezTo>
                  <a:pt x="178" y="137"/>
                  <a:pt x="184" y="137"/>
                  <a:pt x="189" y="141"/>
                </a:cubicBezTo>
                <a:cubicBezTo>
                  <a:pt x="221" y="173"/>
                  <a:pt x="221" y="173"/>
                  <a:pt x="221" y="173"/>
                </a:cubicBezTo>
                <a:cubicBezTo>
                  <a:pt x="223" y="175"/>
                  <a:pt x="224" y="178"/>
                  <a:pt x="224" y="181"/>
                </a:cubicBezTo>
                <a:lnTo>
                  <a:pt x="224" y="330"/>
                </a:lnTo>
                <a:close/>
                <a:moveTo>
                  <a:pt x="324" y="249"/>
                </a:moveTo>
                <a:cubicBezTo>
                  <a:pt x="329" y="254"/>
                  <a:pt x="330" y="256"/>
                  <a:pt x="334" y="256"/>
                </a:cubicBezTo>
                <a:cubicBezTo>
                  <a:pt x="338" y="256"/>
                  <a:pt x="339" y="254"/>
                  <a:pt x="344" y="249"/>
                </a:cubicBezTo>
                <a:cubicBezTo>
                  <a:pt x="348" y="243"/>
                  <a:pt x="356" y="234"/>
                  <a:pt x="369" y="234"/>
                </a:cubicBezTo>
                <a:cubicBezTo>
                  <a:pt x="383" y="234"/>
                  <a:pt x="391" y="243"/>
                  <a:pt x="395" y="249"/>
                </a:cubicBezTo>
                <a:cubicBezTo>
                  <a:pt x="400" y="254"/>
                  <a:pt x="402" y="256"/>
                  <a:pt x="405" y="256"/>
                </a:cubicBezTo>
                <a:cubicBezTo>
                  <a:pt x="411" y="256"/>
                  <a:pt x="416" y="260"/>
                  <a:pt x="416" y="266"/>
                </a:cubicBezTo>
                <a:cubicBezTo>
                  <a:pt x="416" y="272"/>
                  <a:pt x="411" y="277"/>
                  <a:pt x="405" y="277"/>
                </a:cubicBezTo>
                <a:cubicBezTo>
                  <a:pt x="391" y="277"/>
                  <a:pt x="384" y="268"/>
                  <a:pt x="379" y="262"/>
                </a:cubicBezTo>
                <a:cubicBezTo>
                  <a:pt x="375" y="257"/>
                  <a:pt x="373" y="256"/>
                  <a:pt x="369" y="256"/>
                </a:cubicBezTo>
                <a:cubicBezTo>
                  <a:pt x="366" y="256"/>
                  <a:pt x="364" y="257"/>
                  <a:pt x="360" y="263"/>
                </a:cubicBezTo>
                <a:cubicBezTo>
                  <a:pt x="355" y="268"/>
                  <a:pt x="348" y="277"/>
                  <a:pt x="334" y="277"/>
                </a:cubicBezTo>
                <a:cubicBezTo>
                  <a:pt x="321" y="277"/>
                  <a:pt x="314" y="269"/>
                  <a:pt x="309" y="264"/>
                </a:cubicBezTo>
                <a:cubicBezTo>
                  <a:pt x="309" y="279"/>
                  <a:pt x="309" y="279"/>
                  <a:pt x="309" y="279"/>
                </a:cubicBezTo>
                <a:cubicBezTo>
                  <a:pt x="316" y="282"/>
                  <a:pt x="321" y="287"/>
                  <a:pt x="324" y="292"/>
                </a:cubicBezTo>
                <a:cubicBezTo>
                  <a:pt x="329" y="297"/>
                  <a:pt x="330" y="298"/>
                  <a:pt x="334" y="298"/>
                </a:cubicBezTo>
                <a:cubicBezTo>
                  <a:pt x="338" y="298"/>
                  <a:pt x="339" y="297"/>
                  <a:pt x="344" y="292"/>
                </a:cubicBezTo>
                <a:cubicBezTo>
                  <a:pt x="348" y="286"/>
                  <a:pt x="356" y="277"/>
                  <a:pt x="369" y="277"/>
                </a:cubicBezTo>
                <a:cubicBezTo>
                  <a:pt x="383" y="277"/>
                  <a:pt x="391" y="286"/>
                  <a:pt x="395" y="292"/>
                </a:cubicBezTo>
                <a:cubicBezTo>
                  <a:pt x="400" y="297"/>
                  <a:pt x="402" y="298"/>
                  <a:pt x="405" y="298"/>
                </a:cubicBezTo>
                <a:cubicBezTo>
                  <a:pt x="411" y="298"/>
                  <a:pt x="416" y="303"/>
                  <a:pt x="416" y="309"/>
                </a:cubicBezTo>
                <a:cubicBezTo>
                  <a:pt x="416" y="315"/>
                  <a:pt x="411" y="320"/>
                  <a:pt x="405" y="320"/>
                </a:cubicBezTo>
                <a:cubicBezTo>
                  <a:pt x="391" y="320"/>
                  <a:pt x="384" y="311"/>
                  <a:pt x="379" y="305"/>
                </a:cubicBezTo>
                <a:cubicBezTo>
                  <a:pt x="375" y="300"/>
                  <a:pt x="373" y="298"/>
                  <a:pt x="369" y="298"/>
                </a:cubicBezTo>
                <a:cubicBezTo>
                  <a:pt x="366" y="298"/>
                  <a:pt x="364" y="300"/>
                  <a:pt x="360" y="305"/>
                </a:cubicBezTo>
                <a:cubicBezTo>
                  <a:pt x="355" y="311"/>
                  <a:pt x="348" y="320"/>
                  <a:pt x="334" y="320"/>
                </a:cubicBezTo>
                <a:cubicBezTo>
                  <a:pt x="321" y="320"/>
                  <a:pt x="314" y="312"/>
                  <a:pt x="309" y="306"/>
                </a:cubicBezTo>
                <a:cubicBezTo>
                  <a:pt x="309" y="326"/>
                  <a:pt x="309" y="326"/>
                  <a:pt x="309" y="326"/>
                </a:cubicBezTo>
                <a:cubicBezTo>
                  <a:pt x="338" y="355"/>
                  <a:pt x="338" y="355"/>
                  <a:pt x="338" y="355"/>
                </a:cubicBezTo>
                <a:cubicBezTo>
                  <a:pt x="342" y="359"/>
                  <a:pt x="342" y="366"/>
                  <a:pt x="338" y="370"/>
                </a:cubicBezTo>
                <a:cubicBezTo>
                  <a:pt x="336" y="372"/>
                  <a:pt x="333" y="373"/>
                  <a:pt x="330" y="373"/>
                </a:cubicBezTo>
                <a:cubicBezTo>
                  <a:pt x="328" y="373"/>
                  <a:pt x="325" y="372"/>
                  <a:pt x="323" y="370"/>
                </a:cubicBezTo>
                <a:cubicBezTo>
                  <a:pt x="291" y="338"/>
                  <a:pt x="291" y="338"/>
                  <a:pt x="291" y="338"/>
                </a:cubicBezTo>
                <a:cubicBezTo>
                  <a:pt x="289" y="336"/>
                  <a:pt x="288" y="333"/>
                  <a:pt x="288" y="330"/>
                </a:cubicBezTo>
                <a:cubicBezTo>
                  <a:pt x="288" y="181"/>
                  <a:pt x="288" y="181"/>
                  <a:pt x="288" y="181"/>
                </a:cubicBezTo>
                <a:cubicBezTo>
                  <a:pt x="288" y="178"/>
                  <a:pt x="289" y="175"/>
                  <a:pt x="291" y="173"/>
                </a:cubicBezTo>
                <a:cubicBezTo>
                  <a:pt x="323" y="141"/>
                  <a:pt x="323" y="141"/>
                  <a:pt x="323" y="141"/>
                </a:cubicBezTo>
                <a:cubicBezTo>
                  <a:pt x="327" y="137"/>
                  <a:pt x="334" y="137"/>
                  <a:pt x="338" y="141"/>
                </a:cubicBezTo>
                <a:cubicBezTo>
                  <a:pt x="342" y="146"/>
                  <a:pt x="342" y="152"/>
                  <a:pt x="338" y="157"/>
                </a:cubicBezTo>
                <a:cubicBezTo>
                  <a:pt x="309" y="185"/>
                  <a:pt x="309" y="185"/>
                  <a:pt x="309" y="185"/>
                </a:cubicBezTo>
                <a:cubicBezTo>
                  <a:pt x="309" y="194"/>
                  <a:pt x="309" y="194"/>
                  <a:pt x="309" y="194"/>
                </a:cubicBezTo>
                <a:cubicBezTo>
                  <a:pt x="316" y="197"/>
                  <a:pt x="321" y="202"/>
                  <a:pt x="324" y="206"/>
                </a:cubicBezTo>
                <a:cubicBezTo>
                  <a:pt x="329" y="211"/>
                  <a:pt x="330" y="213"/>
                  <a:pt x="334" y="213"/>
                </a:cubicBezTo>
                <a:cubicBezTo>
                  <a:pt x="338" y="213"/>
                  <a:pt x="339" y="211"/>
                  <a:pt x="344" y="206"/>
                </a:cubicBezTo>
                <a:cubicBezTo>
                  <a:pt x="348" y="200"/>
                  <a:pt x="356" y="192"/>
                  <a:pt x="369" y="192"/>
                </a:cubicBezTo>
                <a:cubicBezTo>
                  <a:pt x="383" y="192"/>
                  <a:pt x="391" y="200"/>
                  <a:pt x="395" y="206"/>
                </a:cubicBezTo>
                <a:cubicBezTo>
                  <a:pt x="400" y="212"/>
                  <a:pt x="402" y="213"/>
                  <a:pt x="405" y="213"/>
                </a:cubicBezTo>
                <a:cubicBezTo>
                  <a:pt x="411" y="213"/>
                  <a:pt x="416" y="218"/>
                  <a:pt x="416" y="224"/>
                </a:cubicBezTo>
                <a:cubicBezTo>
                  <a:pt x="416" y="230"/>
                  <a:pt x="411" y="234"/>
                  <a:pt x="405" y="234"/>
                </a:cubicBezTo>
                <a:cubicBezTo>
                  <a:pt x="391" y="234"/>
                  <a:pt x="384" y="226"/>
                  <a:pt x="379" y="220"/>
                </a:cubicBezTo>
                <a:cubicBezTo>
                  <a:pt x="375" y="214"/>
                  <a:pt x="373" y="213"/>
                  <a:pt x="369" y="213"/>
                </a:cubicBezTo>
                <a:cubicBezTo>
                  <a:pt x="366" y="213"/>
                  <a:pt x="364" y="215"/>
                  <a:pt x="360" y="220"/>
                </a:cubicBezTo>
                <a:cubicBezTo>
                  <a:pt x="355" y="226"/>
                  <a:pt x="348" y="234"/>
                  <a:pt x="334" y="234"/>
                </a:cubicBezTo>
                <a:cubicBezTo>
                  <a:pt x="321" y="234"/>
                  <a:pt x="314" y="227"/>
                  <a:pt x="309" y="221"/>
                </a:cubicBezTo>
                <a:cubicBezTo>
                  <a:pt x="309" y="236"/>
                  <a:pt x="309" y="236"/>
                  <a:pt x="309" y="236"/>
                </a:cubicBezTo>
                <a:cubicBezTo>
                  <a:pt x="316" y="239"/>
                  <a:pt x="321" y="245"/>
                  <a:pt x="324" y="2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79" name="Group 697">
            <a:extLst>
              <a:ext uri="{FF2B5EF4-FFF2-40B4-BE49-F238E27FC236}">
                <a16:creationId xmlns:a16="http://schemas.microsoft.com/office/drawing/2014/main" id="{6452E327-2039-458B-B217-D3309E520D3F}"/>
              </a:ext>
            </a:extLst>
          </p:cNvPr>
          <p:cNvGrpSpPr>
            <a:grpSpLocks noChangeAspect="1"/>
          </p:cNvGrpSpPr>
          <p:nvPr/>
        </p:nvGrpSpPr>
        <p:grpSpPr bwMode="auto">
          <a:xfrm>
            <a:off x="6999319" y="1698655"/>
            <a:ext cx="369021" cy="369021"/>
            <a:chOff x="5063" y="2703"/>
            <a:chExt cx="340" cy="340"/>
          </a:xfrm>
          <a:solidFill>
            <a:schemeClr val="accent2"/>
          </a:solidFill>
        </p:grpSpPr>
        <p:sp>
          <p:nvSpPr>
            <p:cNvPr id="380" name="Freeform 698">
              <a:extLst>
                <a:ext uri="{FF2B5EF4-FFF2-40B4-BE49-F238E27FC236}">
                  <a16:creationId xmlns:a16="http://schemas.microsoft.com/office/drawing/2014/main" id="{0F4F5F95-F3A3-4B72-85AC-D37E99A8AD46}"/>
                </a:ext>
              </a:extLst>
            </p:cNvPr>
            <p:cNvSpPr>
              <a:spLocks noEditPoints="1"/>
            </p:cNvSpPr>
            <p:nvPr/>
          </p:nvSpPr>
          <p:spPr bwMode="auto">
            <a:xfrm>
              <a:off x="5127" y="2794"/>
              <a:ext cx="212" cy="157"/>
            </a:xfrm>
            <a:custGeom>
              <a:avLst/>
              <a:gdLst>
                <a:gd name="T0" fmla="*/ 125 w 320"/>
                <a:gd name="T1" fmla="*/ 36 h 236"/>
                <a:gd name="T2" fmla="*/ 128 w 320"/>
                <a:gd name="T3" fmla="*/ 44 h 236"/>
                <a:gd name="T4" fmla="*/ 128 w 320"/>
                <a:gd name="T5" fmla="*/ 193 h 236"/>
                <a:gd name="T6" fmla="*/ 125 w 320"/>
                <a:gd name="T7" fmla="*/ 201 h 236"/>
                <a:gd name="T8" fmla="*/ 93 w 320"/>
                <a:gd name="T9" fmla="*/ 233 h 236"/>
                <a:gd name="T10" fmla="*/ 85 w 320"/>
                <a:gd name="T11" fmla="*/ 236 h 236"/>
                <a:gd name="T12" fmla="*/ 77 w 320"/>
                <a:gd name="T13" fmla="*/ 233 h 236"/>
                <a:gd name="T14" fmla="*/ 77 w 320"/>
                <a:gd name="T15" fmla="*/ 218 h 236"/>
                <a:gd name="T16" fmla="*/ 106 w 320"/>
                <a:gd name="T17" fmla="*/ 189 h 236"/>
                <a:gd name="T18" fmla="*/ 106 w 320"/>
                <a:gd name="T19" fmla="*/ 161 h 236"/>
                <a:gd name="T20" fmla="*/ 10 w 320"/>
                <a:gd name="T21" fmla="*/ 161 h 236"/>
                <a:gd name="T22" fmla="*/ 0 w 320"/>
                <a:gd name="T23" fmla="*/ 151 h 236"/>
                <a:gd name="T24" fmla="*/ 10 w 320"/>
                <a:gd name="T25" fmla="*/ 140 h 236"/>
                <a:gd name="T26" fmla="*/ 106 w 320"/>
                <a:gd name="T27" fmla="*/ 140 h 236"/>
                <a:gd name="T28" fmla="*/ 106 w 320"/>
                <a:gd name="T29" fmla="*/ 97 h 236"/>
                <a:gd name="T30" fmla="*/ 10 w 320"/>
                <a:gd name="T31" fmla="*/ 97 h 236"/>
                <a:gd name="T32" fmla="*/ 0 w 320"/>
                <a:gd name="T33" fmla="*/ 87 h 236"/>
                <a:gd name="T34" fmla="*/ 10 w 320"/>
                <a:gd name="T35" fmla="*/ 76 h 236"/>
                <a:gd name="T36" fmla="*/ 106 w 320"/>
                <a:gd name="T37" fmla="*/ 76 h 236"/>
                <a:gd name="T38" fmla="*/ 106 w 320"/>
                <a:gd name="T39" fmla="*/ 48 h 236"/>
                <a:gd name="T40" fmla="*/ 77 w 320"/>
                <a:gd name="T41" fmla="*/ 20 h 236"/>
                <a:gd name="T42" fmla="*/ 77 w 320"/>
                <a:gd name="T43" fmla="*/ 4 h 236"/>
                <a:gd name="T44" fmla="*/ 93 w 320"/>
                <a:gd name="T45" fmla="*/ 4 h 236"/>
                <a:gd name="T46" fmla="*/ 125 w 320"/>
                <a:gd name="T47" fmla="*/ 36 h 236"/>
                <a:gd name="T48" fmla="*/ 309 w 320"/>
                <a:gd name="T49" fmla="*/ 140 h 236"/>
                <a:gd name="T50" fmla="*/ 213 w 320"/>
                <a:gd name="T51" fmla="*/ 140 h 236"/>
                <a:gd name="T52" fmla="*/ 213 w 320"/>
                <a:gd name="T53" fmla="*/ 97 h 236"/>
                <a:gd name="T54" fmla="*/ 309 w 320"/>
                <a:gd name="T55" fmla="*/ 97 h 236"/>
                <a:gd name="T56" fmla="*/ 320 w 320"/>
                <a:gd name="T57" fmla="*/ 87 h 236"/>
                <a:gd name="T58" fmla="*/ 309 w 320"/>
                <a:gd name="T59" fmla="*/ 76 h 236"/>
                <a:gd name="T60" fmla="*/ 213 w 320"/>
                <a:gd name="T61" fmla="*/ 76 h 236"/>
                <a:gd name="T62" fmla="*/ 213 w 320"/>
                <a:gd name="T63" fmla="*/ 48 h 236"/>
                <a:gd name="T64" fmla="*/ 242 w 320"/>
                <a:gd name="T65" fmla="*/ 20 h 236"/>
                <a:gd name="T66" fmla="*/ 242 w 320"/>
                <a:gd name="T67" fmla="*/ 4 h 236"/>
                <a:gd name="T68" fmla="*/ 227 w 320"/>
                <a:gd name="T69" fmla="*/ 4 h 236"/>
                <a:gd name="T70" fmla="*/ 195 w 320"/>
                <a:gd name="T71" fmla="*/ 36 h 236"/>
                <a:gd name="T72" fmla="*/ 192 w 320"/>
                <a:gd name="T73" fmla="*/ 44 h 236"/>
                <a:gd name="T74" fmla="*/ 192 w 320"/>
                <a:gd name="T75" fmla="*/ 193 h 236"/>
                <a:gd name="T76" fmla="*/ 195 w 320"/>
                <a:gd name="T77" fmla="*/ 201 h 236"/>
                <a:gd name="T78" fmla="*/ 227 w 320"/>
                <a:gd name="T79" fmla="*/ 233 h 236"/>
                <a:gd name="T80" fmla="*/ 234 w 320"/>
                <a:gd name="T81" fmla="*/ 236 h 236"/>
                <a:gd name="T82" fmla="*/ 242 w 320"/>
                <a:gd name="T83" fmla="*/ 233 h 236"/>
                <a:gd name="T84" fmla="*/ 242 w 320"/>
                <a:gd name="T85" fmla="*/ 218 h 236"/>
                <a:gd name="T86" fmla="*/ 213 w 320"/>
                <a:gd name="T87" fmla="*/ 189 h 236"/>
                <a:gd name="T88" fmla="*/ 213 w 320"/>
                <a:gd name="T89" fmla="*/ 161 h 236"/>
                <a:gd name="T90" fmla="*/ 309 w 320"/>
                <a:gd name="T91" fmla="*/ 161 h 236"/>
                <a:gd name="T92" fmla="*/ 320 w 320"/>
                <a:gd name="T93" fmla="*/ 151 h 236"/>
                <a:gd name="T94" fmla="*/ 309 w 320"/>
                <a:gd name="T95"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36">
                  <a:moveTo>
                    <a:pt x="125" y="36"/>
                  </a:moveTo>
                  <a:cubicBezTo>
                    <a:pt x="127" y="38"/>
                    <a:pt x="128" y="41"/>
                    <a:pt x="128" y="44"/>
                  </a:cubicBezTo>
                  <a:cubicBezTo>
                    <a:pt x="128" y="193"/>
                    <a:pt x="128" y="193"/>
                    <a:pt x="128" y="193"/>
                  </a:cubicBezTo>
                  <a:cubicBezTo>
                    <a:pt x="128" y="196"/>
                    <a:pt x="127" y="199"/>
                    <a:pt x="125" y="201"/>
                  </a:cubicBezTo>
                  <a:cubicBezTo>
                    <a:pt x="93" y="233"/>
                    <a:pt x="93" y="233"/>
                    <a:pt x="93" y="233"/>
                  </a:cubicBezTo>
                  <a:cubicBezTo>
                    <a:pt x="90" y="235"/>
                    <a:pt x="88" y="236"/>
                    <a:pt x="85" y="236"/>
                  </a:cubicBezTo>
                  <a:cubicBezTo>
                    <a:pt x="82" y="236"/>
                    <a:pt x="80" y="235"/>
                    <a:pt x="77" y="233"/>
                  </a:cubicBezTo>
                  <a:cubicBezTo>
                    <a:pt x="73" y="229"/>
                    <a:pt x="73" y="222"/>
                    <a:pt x="77" y="218"/>
                  </a:cubicBezTo>
                  <a:cubicBezTo>
                    <a:pt x="106" y="189"/>
                    <a:pt x="106" y="189"/>
                    <a:pt x="106" y="189"/>
                  </a:cubicBezTo>
                  <a:cubicBezTo>
                    <a:pt x="106" y="161"/>
                    <a:pt x="106" y="161"/>
                    <a:pt x="106" y="161"/>
                  </a:cubicBezTo>
                  <a:cubicBezTo>
                    <a:pt x="10" y="161"/>
                    <a:pt x="10" y="161"/>
                    <a:pt x="10" y="161"/>
                  </a:cubicBezTo>
                  <a:cubicBezTo>
                    <a:pt x="4" y="161"/>
                    <a:pt x="0" y="157"/>
                    <a:pt x="0" y="151"/>
                  </a:cubicBezTo>
                  <a:cubicBezTo>
                    <a:pt x="0" y="145"/>
                    <a:pt x="4" y="140"/>
                    <a:pt x="10" y="140"/>
                  </a:cubicBezTo>
                  <a:cubicBezTo>
                    <a:pt x="106" y="140"/>
                    <a:pt x="106" y="140"/>
                    <a:pt x="106" y="140"/>
                  </a:cubicBezTo>
                  <a:cubicBezTo>
                    <a:pt x="106" y="97"/>
                    <a:pt x="106" y="97"/>
                    <a:pt x="106" y="97"/>
                  </a:cubicBezTo>
                  <a:cubicBezTo>
                    <a:pt x="10" y="97"/>
                    <a:pt x="10" y="97"/>
                    <a:pt x="10" y="97"/>
                  </a:cubicBezTo>
                  <a:cubicBezTo>
                    <a:pt x="4" y="97"/>
                    <a:pt x="0" y="93"/>
                    <a:pt x="0" y="87"/>
                  </a:cubicBezTo>
                  <a:cubicBezTo>
                    <a:pt x="0" y="81"/>
                    <a:pt x="4" y="76"/>
                    <a:pt x="10" y="76"/>
                  </a:cubicBezTo>
                  <a:cubicBezTo>
                    <a:pt x="106" y="76"/>
                    <a:pt x="106" y="76"/>
                    <a:pt x="106" y="76"/>
                  </a:cubicBezTo>
                  <a:cubicBezTo>
                    <a:pt x="106" y="48"/>
                    <a:pt x="106" y="48"/>
                    <a:pt x="106" y="48"/>
                  </a:cubicBezTo>
                  <a:cubicBezTo>
                    <a:pt x="77" y="20"/>
                    <a:pt x="77" y="20"/>
                    <a:pt x="77" y="20"/>
                  </a:cubicBezTo>
                  <a:cubicBezTo>
                    <a:pt x="73" y="15"/>
                    <a:pt x="73" y="9"/>
                    <a:pt x="77" y="4"/>
                  </a:cubicBezTo>
                  <a:cubicBezTo>
                    <a:pt x="82" y="0"/>
                    <a:pt x="88" y="0"/>
                    <a:pt x="93" y="4"/>
                  </a:cubicBezTo>
                  <a:lnTo>
                    <a:pt x="125" y="36"/>
                  </a:lnTo>
                  <a:close/>
                  <a:moveTo>
                    <a:pt x="309" y="140"/>
                  </a:moveTo>
                  <a:cubicBezTo>
                    <a:pt x="213" y="140"/>
                    <a:pt x="213" y="140"/>
                    <a:pt x="213" y="140"/>
                  </a:cubicBezTo>
                  <a:cubicBezTo>
                    <a:pt x="213" y="97"/>
                    <a:pt x="213" y="97"/>
                    <a:pt x="213" y="97"/>
                  </a:cubicBezTo>
                  <a:cubicBezTo>
                    <a:pt x="309" y="97"/>
                    <a:pt x="309" y="97"/>
                    <a:pt x="309" y="97"/>
                  </a:cubicBezTo>
                  <a:cubicBezTo>
                    <a:pt x="315" y="97"/>
                    <a:pt x="320" y="93"/>
                    <a:pt x="320" y="87"/>
                  </a:cubicBezTo>
                  <a:cubicBezTo>
                    <a:pt x="320" y="81"/>
                    <a:pt x="315" y="76"/>
                    <a:pt x="309" y="76"/>
                  </a:cubicBezTo>
                  <a:cubicBezTo>
                    <a:pt x="213" y="76"/>
                    <a:pt x="213" y="76"/>
                    <a:pt x="213" y="76"/>
                  </a:cubicBezTo>
                  <a:cubicBezTo>
                    <a:pt x="213" y="48"/>
                    <a:pt x="213" y="48"/>
                    <a:pt x="213" y="48"/>
                  </a:cubicBezTo>
                  <a:cubicBezTo>
                    <a:pt x="242" y="20"/>
                    <a:pt x="242" y="20"/>
                    <a:pt x="242" y="20"/>
                  </a:cubicBezTo>
                  <a:cubicBezTo>
                    <a:pt x="246" y="15"/>
                    <a:pt x="246" y="9"/>
                    <a:pt x="242" y="4"/>
                  </a:cubicBezTo>
                  <a:cubicBezTo>
                    <a:pt x="238" y="0"/>
                    <a:pt x="231" y="0"/>
                    <a:pt x="227" y="4"/>
                  </a:cubicBezTo>
                  <a:cubicBezTo>
                    <a:pt x="195" y="36"/>
                    <a:pt x="195" y="36"/>
                    <a:pt x="195" y="36"/>
                  </a:cubicBezTo>
                  <a:cubicBezTo>
                    <a:pt x="193" y="38"/>
                    <a:pt x="192" y="41"/>
                    <a:pt x="192" y="44"/>
                  </a:cubicBezTo>
                  <a:cubicBezTo>
                    <a:pt x="192" y="193"/>
                    <a:pt x="192" y="193"/>
                    <a:pt x="192" y="193"/>
                  </a:cubicBezTo>
                  <a:cubicBezTo>
                    <a:pt x="192" y="196"/>
                    <a:pt x="193" y="199"/>
                    <a:pt x="195" y="201"/>
                  </a:cubicBezTo>
                  <a:cubicBezTo>
                    <a:pt x="227" y="233"/>
                    <a:pt x="227" y="233"/>
                    <a:pt x="227" y="233"/>
                  </a:cubicBezTo>
                  <a:cubicBezTo>
                    <a:pt x="229" y="235"/>
                    <a:pt x="232" y="236"/>
                    <a:pt x="234" y="236"/>
                  </a:cubicBezTo>
                  <a:cubicBezTo>
                    <a:pt x="237" y="236"/>
                    <a:pt x="240" y="235"/>
                    <a:pt x="242" y="233"/>
                  </a:cubicBezTo>
                  <a:cubicBezTo>
                    <a:pt x="246" y="229"/>
                    <a:pt x="246" y="222"/>
                    <a:pt x="242" y="218"/>
                  </a:cubicBezTo>
                  <a:cubicBezTo>
                    <a:pt x="213" y="189"/>
                    <a:pt x="213" y="189"/>
                    <a:pt x="213" y="189"/>
                  </a:cubicBezTo>
                  <a:cubicBezTo>
                    <a:pt x="213" y="161"/>
                    <a:pt x="213" y="161"/>
                    <a:pt x="213" y="161"/>
                  </a:cubicBezTo>
                  <a:cubicBezTo>
                    <a:pt x="309" y="161"/>
                    <a:pt x="309" y="161"/>
                    <a:pt x="309" y="161"/>
                  </a:cubicBezTo>
                  <a:cubicBezTo>
                    <a:pt x="315" y="161"/>
                    <a:pt x="320" y="157"/>
                    <a:pt x="320" y="151"/>
                  </a:cubicBezTo>
                  <a:cubicBezTo>
                    <a:pt x="320" y="145"/>
                    <a:pt x="315" y="140"/>
                    <a:pt x="309"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1" name="Freeform 699">
              <a:extLst>
                <a:ext uri="{FF2B5EF4-FFF2-40B4-BE49-F238E27FC236}">
                  <a16:creationId xmlns:a16="http://schemas.microsoft.com/office/drawing/2014/main" id="{EB8164F2-9A56-411B-A620-C2FF9CA6C62F}"/>
                </a:ext>
              </a:extLst>
            </p:cNvPr>
            <p:cNvSpPr>
              <a:spLocks noEditPoints="1"/>
            </p:cNvSpPr>
            <p:nvPr/>
          </p:nvSpPr>
          <p:spPr bwMode="auto">
            <a:xfrm>
              <a:off x="5063" y="27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2" name="Freeform 703">
            <a:extLst>
              <a:ext uri="{FF2B5EF4-FFF2-40B4-BE49-F238E27FC236}">
                <a16:creationId xmlns:a16="http://schemas.microsoft.com/office/drawing/2014/main" id="{B0E93BD1-957A-4999-99A4-6C9E03E8AD74}"/>
              </a:ext>
            </a:extLst>
          </p:cNvPr>
          <p:cNvSpPr>
            <a:spLocks noChangeAspect="1" noEditPoints="1"/>
          </p:cNvSpPr>
          <p:nvPr/>
        </p:nvSpPr>
        <p:spPr bwMode="auto">
          <a:xfrm>
            <a:off x="6563800" y="1698655"/>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24 w 512"/>
              <a:gd name="T11" fmla="*/ 330 h 512"/>
              <a:gd name="T12" fmla="*/ 221 w 512"/>
              <a:gd name="T13" fmla="*/ 338 h 512"/>
              <a:gd name="T14" fmla="*/ 189 w 512"/>
              <a:gd name="T15" fmla="*/ 370 h 512"/>
              <a:gd name="T16" fmla="*/ 181 w 512"/>
              <a:gd name="T17" fmla="*/ 373 h 512"/>
              <a:gd name="T18" fmla="*/ 173 w 512"/>
              <a:gd name="T19" fmla="*/ 370 h 512"/>
              <a:gd name="T20" fmla="*/ 173 w 512"/>
              <a:gd name="T21" fmla="*/ 355 h 512"/>
              <a:gd name="T22" fmla="*/ 202 w 512"/>
              <a:gd name="T23" fmla="*/ 326 h 512"/>
              <a:gd name="T24" fmla="*/ 202 w 512"/>
              <a:gd name="T25" fmla="*/ 298 h 512"/>
              <a:gd name="T26" fmla="*/ 106 w 512"/>
              <a:gd name="T27" fmla="*/ 298 h 512"/>
              <a:gd name="T28" fmla="*/ 96 w 512"/>
              <a:gd name="T29" fmla="*/ 288 h 512"/>
              <a:gd name="T30" fmla="*/ 106 w 512"/>
              <a:gd name="T31" fmla="*/ 277 h 512"/>
              <a:gd name="T32" fmla="*/ 202 w 512"/>
              <a:gd name="T33" fmla="*/ 277 h 512"/>
              <a:gd name="T34" fmla="*/ 202 w 512"/>
              <a:gd name="T35" fmla="*/ 234 h 512"/>
              <a:gd name="T36" fmla="*/ 106 w 512"/>
              <a:gd name="T37" fmla="*/ 234 h 512"/>
              <a:gd name="T38" fmla="*/ 96 w 512"/>
              <a:gd name="T39" fmla="*/ 224 h 512"/>
              <a:gd name="T40" fmla="*/ 106 w 512"/>
              <a:gd name="T41" fmla="*/ 213 h 512"/>
              <a:gd name="T42" fmla="*/ 202 w 512"/>
              <a:gd name="T43" fmla="*/ 213 h 512"/>
              <a:gd name="T44" fmla="*/ 202 w 512"/>
              <a:gd name="T45" fmla="*/ 185 h 512"/>
              <a:gd name="T46" fmla="*/ 173 w 512"/>
              <a:gd name="T47" fmla="*/ 157 h 512"/>
              <a:gd name="T48" fmla="*/ 173 w 512"/>
              <a:gd name="T49" fmla="*/ 141 h 512"/>
              <a:gd name="T50" fmla="*/ 189 w 512"/>
              <a:gd name="T51" fmla="*/ 141 h 512"/>
              <a:gd name="T52" fmla="*/ 221 w 512"/>
              <a:gd name="T53" fmla="*/ 173 h 512"/>
              <a:gd name="T54" fmla="*/ 224 w 512"/>
              <a:gd name="T55" fmla="*/ 181 h 512"/>
              <a:gd name="T56" fmla="*/ 224 w 512"/>
              <a:gd name="T57" fmla="*/ 330 h 512"/>
              <a:gd name="T58" fmla="*/ 405 w 512"/>
              <a:gd name="T59" fmla="*/ 277 h 512"/>
              <a:gd name="T60" fmla="*/ 416 w 512"/>
              <a:gd name="T61" fmla="*/ 288 h 512"/>
              <a:gd name="T62" fmla="*/ 405 w 512"/>
              <a:gd name="T63" fmla="*/ 298 h 512"/>
              <a:gd name="T64" fmla="*/ 309 w 512"/>
              <a:gd name="T65" fmla="*/ 298 h 512"/>
              <a:gd name="T66" fmla="*/ 309 w 512"/>
              <a:gd name="T67" fmla="*/ 326 h 512"/>
              <a:gd name="T68" fmla="*/ 338 w 512"/>
              <a:gd name="T69" fmla="*/ 355 h 512"/>
              <a:gd name="T70" fmla="*/ 338 w 512"/>
              <a:gd name="T71" fmla="*/ 370 h 512"/>
              <a:gd name="T72" fmla="*/ 330 w 512"/>
              <a:gd name="T73" fmla="*/ 373 h 512"/>
              <a:gd name="T74" fmla="*/ 323 w 512"/>
              <a:gd name="T75" fmla="*/ 370 h 512"/>
              <a:gd name="T76" fmla="*/ 291 w 512"/>
              <a:gd name="T77" fmla="*/ 338 h 512"/>
              <a:gd name="T78" fmla="*/ 288 w 512"/>
              <a:gd name="T79" fmla="*/ 330 h 512"/>
              <a:gd name="T80" fmla="*/ 288 w 512"/>
              <a:gd name="T81" fmla="*/ 181 h 512"/>
              <a:gd name="T82" fmla="*/ 291 w 512"/>
              <a:gd name="T83" fmla="*/ 173 h 512"/>
              <a:gd name="T84" fmla="*/ 323 w 512"/>
              <a:gd name="T85" fmla="*/ 141 h 512"/>
              <a:gd name="T86" fmla="*/ 338 w 512"/>
              <a:gd name="T87" fmla="*/ 141 h 512"/>
              <a:gd name="T88" fmla="*/ 338 w 512"/>
              <a:gd name="T89" fmla="*/ 157 h 512"/>
              <a:gd name="T90" fmla="*/ 309 w 512"/>
              <a:gd name="T91" fmla="*/ 185 h 512"/>
              <a:gd name="T92" fmla="*/ 309 w 512"/>
              <a:gd name="T93" fmla="*/ 213 h 512"/>
              <a:gd name="T94" fmla="*/ 405 w 512"/>
              <a:gd name="T95" fmla="*/ 213 h 512"/>
              <a:gd name="T96" fmla="*/ 416 w 512"/>
              <a:gd name="T97" fmla="*/ 224 h 512"/>
              <a:gd name="T98" fmla="*/ 405 w 512"/>
              <a:gd name="T99" fmla="*/ 234 h 512"/>
              <a:gd name="T100" fmla="*/ 309 w 512"/>
              <a:gd name="T101" fmla="*/ 234 h 512"/>
              <a:gd name="T102" fmla="*/ 309 w 512"/>
              <a:gd name="T103" fmla="*/ 277 h 512"/>
              <a:gd name="T104" fmla="*/ 405 w 512"/>
              <a:gd name="T105"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330"/>
                </a:moveTo>
                <a:cubicBezTo>
                  <a:pt x="224" y="333"/>
                  <a:pt x="223" y="336"/>
                  <a:pt x="221" y="338"/>
                </a:cubicBezTo>
                <a:cubicBezTo>
                  <a:pt x="189" y="370"/>
                  <a:pt x="189" y="370"/>
                  <a:pt x="189" y="370"/>
                </a:cubicBezTo>
                <a:cubicBezTo>
                  <a:pt x="186" y="372"/>
                  <a:pt x="184" y="373"/>
                  <a:pt x="181" y="373"/>
                </a:cubicBezTo>
                <a:cubicBezTo>
                  <a:pt x="178" y="373"/>
                  <a:pt x="176" y="372"/>
                  <a:pt x="173" y="370"/>
                </a:cubicBezTo>
                <a:cubicBezTo>
                  <a:pt x="169" y="366"/>
                  <a:pt x="169" y="359"/>
                  <a:pt x="173" y="355"/>
                </a:cubicBezTo>
                <a:cubicBezTo>
                  <a:pt x="202" y="326"/>
                  <a:pt x="202" y="326"/>
                  <a:pt x="202" y="326"/>
                </a:cubicBezTo>
                <a:cubicBezTo>
                  <a:pt x="202" y="298"/>
                  <a:pt x="202" y="298"/>
                  <a:pt x="202" y="298"/>
                </a:cubicBezTo>
                <a:cubicBezTo>
                  <a:pt x="106" y="298"/>
                  <a:pt x="106" y="298"/>
                  <a:pt x="106" y="298"/>
                </a:cubicBezTo>
                <a:cubicBezTo>
                  <a:pt x="100" y="298"/>
                  <a:pt x="96" y="294"/>
                  <a:pt x="96" y="288"/>
                </a:cubicBezTo>
                <a:cubicBezTo>
                  <a:pt x="96" y="282"/>
                  <a:pt x="100" y="277"/>
                  <a:pt x="106" y="277"/>
                </a:cubicBezTo>
                <a:cubicBezTo>
                  <a:pt x="202" y="277"/>
                  <a:pt x="202" y="277"/>
                  <a:pt x="202" y="277"/>
                </a:cubicBezTo>
                <a:cubicBezTo>
                  <a:pt x="202" y="234"/>
                  <a:pt x="202" y="234"/>
                  <a:pt x="202" y="234"/>
                </a:cubicBezTo>
                <a:cubicBezTo>
                  <a:pt x="106" y="234"/>
                  <a:pt x="106" y="234"/>
                  <a:pt x="106" y="234"/>
                </a:cubicBezTo>
                <a:cubicBezTo>
                  <a:pt x="100" y="234"/>
                  <a:pt x="96" y="230"/>
                  <a:pt x="96" y="224"/>
                </a:cubicBezTo>
                <a:cubicBezTo>
                  <a:pt x="96" y="218"/>
                  <a:pt x="100" y="213"/>
                  <a:pt x="106" y="213"/>
                </a:cubicBezTo>
                <a:cubicBezTo>
                  <a:pt x="202" y="213"/>
                  <a:pt x="202" y="213"/>
                  <a:pt x="202" y="213"/>
                </a:cubicBezTo>
                <a:cubicBezTo>
                  <a:pt x="202" y="185"/>
                  <a:pt x="202" y="185"/>
                  <a:pt x="202" y="185"/>
                </a:cubicBezTo>
                <a:cubicBezTo>
                  <a:pt x="173" y="157"/>
                  <a:pt x="173" y="157"/>
                  <a:pt x="173" y="157"/>
                </a:cubicBezTo>
                <a:cubicBezTo>
                  <a:pt x="169" y="152"/>
                  <a:pt x="169" y="146"/>
                  <a:pt x="173" y="141"/>
                </a:cubicBezTo>
                <a:cubicBezTo>
                  <a:pt x="178" y="137"/>
                  <a:pt x="184" y="137"/>
                  <a:pt x="189" y="141"/>
                </a:cubicBezTo>
                <a:cubicBezTo>
                  <a:pt x="221" y="173"/>
                  <a:pt x="221" y="173"/>
                  <a:pt x="221" y="173"/>
                </a:cubicBezTo>
                <a:cubicBezTo>
                  <a:pt x="223" y="175"/>
                  <a:pt x="224" y="178"/>
                  <a:pt x="224" y="181"/>
                </a:cubicBezTo>
                <a:lnTo>
                  <a:pt x="224" y="330"/>
                </a:lnTo>
                <a:close/>
                <a:moveTo>
                  <a:pt x="405" y="277"/>
                </a:moveTo>
                <a:cubicBezTo>
                  <a:pt x="411" y="277"/>
                  <a:pt x="416" y="282"/>
                  <a:pt x="416" y="288"/>
                </a:cubicBezTo>
                <a:cubicBezTo>
                  <a:pt x="416" y="294"/>
                  <a:pt x="411" y="298"/>
                  <a:pt x="405" y="298"/>
                </a:cubicBezTo>
                <a:cubicBezTo>
                  <a:pt x="309" y="298"/>
                  <a:pt x="309" y="298"/>
                  <a:pt x="309" y="298"/>
                </a:cubicBezTo>
                <a:cubicBezTo>
                  <a:pt x="309" y="326"/>
                  <a:pt x="309" y="326"/>
                  <a:pt x="309" y="326"/>
                </a:cubicBezTo>
                <a:cubicBezTo>
                  <a:pt x="338" y="355"/>
                  <a:pt x="338" y="355"/>
                  <a:pt x="338" y="355"/>
                </a:cubicBezTo>
                <a:cubicBezTo>
                  <a:pt x="342" y="359"/>
                  <a:pt x="342" y="366"/>
                  <a:pt x="338" y="370"/>
                </a:cubicBezTo>
                <a:cubicBezTo>
                  <a:pt x="336" y="372"/>
                  <a:pt x="333" y="373"/>
                  <a:pt x="330" y="373"/>
                </a:cubicBezTo>
                <a:cubicBezTo>
                  <a:pt x="328" y="373"/>
                  <a:pt x="325" y="372"/>
                  <a:pt x="323" y="370"/>
                </a:cubicBezTo>
                <a:cubicBezTo>
                  <a:pt x="291" y="338"/>
                  <a:pt x="291" y="338"/>
                  <a:pt x="291" y="338"/>
                </a:cubicBezTo>
                <a:cubicBezTo>
                  <a:pt x="289" y="336"/>
                  <a:pt x="288" y="333"/>
                  <a:pt x="288" y="330"/>
                </a:cubicBezTo>
                <a:cubicBezTo>
                  <a:pt x="288" y="181"/>
                  <a:pt x="288" y="181"/>
                  <a:pt x="288" y="181"/>
                </a:cubicBezTo>
                <a:cubicBezTo>
                  <a:pt x="288" y="178"/>
                  <a:pt x="289" y="175"/>
                  <a:pt x="291" y="173"/>
                </a:cubicBezTo>
                <a:cubicBezTo>
                  <a:pt x="323" y="141"/>
                  <a:pt x="323" y="141"/>
                  <a:pt x="323" y="141"/>
                </a:cubicBezTo>
                <a:cubicBezTo>
                  <a:pt x="327" y="137"/>
                  <a:pt x="334" y="137"/>
                  <a:pt x="338" y="141"/>
                </a:cubicBezTo>
                <a:cubicBezTo>
                  <a:pt x="342" y="146"/>
                  <a:pt x="342" y="152"/>
                  <a:pt x="338" y="157"/>
                </a:cubicBezTo>
                <a:cubicBezTo>
                  <a:pt x="309" y="185"/>
                  <a:pt x="309" y="185"/>
                  <a:pt x="309" y="185"/>
                </a:cubicBezTo>
                <a:cubicBezTo>
                  <a:pt x="309" y="213"/>
                  <a:pt x="309" y="213"/>
                  <a:pt x="309" y="213"/>
                </a:cubicBezTo>
                <a:cubicBezTo>
                  <a:pt x="405" y="213"/>
                  <a:pt x="405" y="213"/>
                  <a:pt x="405" y="213"/>
                </a:cubicBezTo>
                <a:cubicBezTo>
                  <a:pt x="411" y="213"/>
                  <a:pt x="416" y="218"/>
                  <a:pt x="416" y="224"/>
                </a:cubicBezTo>
                <a:cubicBezTo>
                  <a:pt x="416" y="230"/>
                  <a:pt x="411" y="234"/>
                  <a:pt x="405" y="234"/>
                </a:cubicBezTo>
                <a:cubicBezTo>
                  <a:pt x="309" y="234"/>
                  <a:pt x="309" y="234"/>
                  <a:pt x="309" y="234"/>
                </a:cubicBezTo>
                <a:cubicBezTo>
                  <a:pt x="309" y="277"/>
                  <a:pt x="309" y="277"/>
                  <a:pt x="309" y="277"/>
                </a:cubicBezTo>
                <a:lnTo>
                  <a:pt x="405" y="2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3" name="TextBox 382">
            <a:extLst>
              <a:ext uri="{FF2B5EF4-FFF2-40B4-BE49-F238E27FC236}">
                <a16:creationId xmlns:a16="http://schemas.microsoft.com/office/drawing/2014/main" id="{C318061A-615A-48CE-864F-65DF83944A61}"/>
              </a:ext>
            </a:extLst>
          </p:cNvPr>
          <p:cNvSpPr txBox="1"/>
          <p:nvPr/>
        </p:nvSpPr>
        <p:spPr>
          <a:xfrm>
            <a:off x="6540325" y="2119313"/>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oad bridge</a:t>
            </a:r>
          </a:p>
        </p:txBody>
      </p:sp>
      <p:grpSp>
        <p:nvGrpSpPr>
          <p:cNvPr id="384" name="Group 504">
            <a:extLst>
              <a:ext uri="{FF2B5EF4-FFF2-40B4-BE49-F238E27FC236}">
                <a16:creationId xmlns:a16="http://schemas.microsoft.com/office/drawing/2014/main" id="{96EB1AEF-F7F8-472D-BA2E-7796E75D17E1}"/>
              </a:ext>
            </a:extLst>
          </p:cNvPr>
          <p:cNvGrpSpPr>
            <a:grpSpLocks noChangeAspect="1"/>
          </p:cNvGrpSpPr>
          <p:nvPr/>
        </p:nvGrpSpPr>
        <p:grpSpPr bwMode="auto">
          <a:xfrm>
            <a:off x="11359560" y="1698655"/>
            <a:ext cx="369676" cy="370763"/>
            <a:chOff x="6587" y="1881"/>
            <a:chExt cx="340" cy="341"/>
          </a:xfrm>
          <a:solidFill>
            <a:schemeClr val="accent6"/>
          </a:solidFill>
        </p:grpSpPr>
        <p:sp>
          <p:nvSpPr>
            <p:cNvPr id="385" name="Freeform 505">
              <a:extLst>
                <a:ext uri="{FF2B5EF4-FFF2-40B4-BE49-F238E27FC236}">
                  <a16:creationId xmlns:a16="http://schemas.microsoft.com/office/drawing/2014/main" id="{64E32993-9FF2-4944-BB12-FA9E29F907E0}"/>
                </a:ext>
              </a:extLst>
            </p:cNvPr>
            <p:cNvSpPr>
              <a:spLocks noEditPoints="1"/>
            </p:cNvSpPr>
            <p:nvPr/>
          </p:nvSpPr>
          <p:spPr bwMode="auto">
            <a:xfrm>
              <a:off x="6587" y="188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6" name="Freeform 506">
              <a:extLst>
                <a:ext uri="{FF2B5EF4-FFF2-40B4-BE49-F238E27FC236}">
                  <a16:creationId xmlns:a16="http://schemas.microsoft.com/office/drawing/2014/main" id="{6F880884-135E-4C63-BA2E-768EC9140CF8}"/>
                </a:ext>
              </a:extLst>
            </p:cNvPr>
            <p:cNvSpPr>
              <a:spLocks noEditPoints="1"/>
            </p:cNvSpPr>
            <p:nvPr/>
          </p:nvSpPr>
          <p:spPr bwMode="auto">
            <a:xfrm>
              <a:off x="6678" y="1959"/>
              <a:ext cx="157" cy="199"/>
            </a:xfrm>
            <a:custGeom>
              <a:avLst/>
              <a:gdLst>
                <a:gd name="T0" fmla="*/ 76 w 237"/>
                <a:gd name="T1" fmla="*/ 117 h 299"/>
                <a:gd name="T2" fmla="*/ 161 w 237"/>
                <a:gd name="T3" fmla="*/ 117 h 299"/>
                <a:gd name="T4" fmla="*/ 183 w 237"/>
                <a:gd name="T5" fmla="*/ 96 h 299"/>
                <a:gd name="T6" fmla="*/ 183 w 237"/>
                <a:gd name="T7" fmla="*/ 64 h 299"/>
                <a:gd name="T8" fmla="*/ 161 w 237"/>
                <a:gd name="T9" fmla="*/ 43 h 299"/>
                <a:gd name="T10" fmla="*/ 76 w 237"/>
                <a:gd name="T11" fmla="*/ 43 h 299"/>
                <a:gd name="T12" fmla="*/ 55 w 237"/>
                <a:gd name="T13" fmla="*/ 64 h 299"/>
                <a:gd name="T14" fmla="*/ 55 w 237"/>
                <a:gd name="T15" fmla="*/ 96 h 299"/>
                <a:gd name="T16" fmla="*/ 76 w 237"/>
                <a:gd name="T17" fmla="*/ 117 h 299"/>
                <a:gd name="T18" fmla="*/ 76 w 237"/>
                <a:gd name="T19" fmla="*/ 64 h 299"/>
                <a:gd name="T20" fmla="*/ 161 w 237"/>
                <a:gd name="T21" fmla="*/ 64 h 299"/>
                <a:gd name="T22" fmla="*/ 161 w 237"/>
                <a:gd name="T23" fmla="*/ 96 h 299"/>
                <a:gd name="T24" fmla="*/ 76 w 237"/>
                <a:gd name="T25" fmla="*/ 96 h 299"/>
                <a:gd name="T26" fmla="*/ 76 w 237"/>
                <a:gd name="T27" fmla="*/ 64 h 299"/>
                <a:gd name="T28" fmla="*/ 76 w 237"/>
                <a:gd name="T29" fmla="*/ 192 h 299"/>
                <a:gd name="T30" fmla="*/ 55 w 237"/>
                <a:gd name="T31" fmla="*/ 171 h 299"/>
                <a:gd name="T32" fmla="*/ 76 w 237"/>
                <a:gd name="T33" fmla="*/ 149 h 299"/>
                <a:gd name="T34" fmla="*/ 97 w 237"/>
                <a:gd name="T35" fmla="*/ 171 h 299"/>
                <a:gd name="T36" fmla="*/ 76 w 237"/>
                <a:gd name="T37" fmla="*/ 192 h 299"/>
                <a:gd name="T38" fmla="*/ 183 w 237"/>
                <a:gd name="T39" fmla="*/ 171 h 299"/>
                <a:gd name="T40" fmla="*/ 161 w 237"/>
                <a:gd name="T41" fmla="*/ 192 h 299"/>
                <a:gd name="T42" fmla="*/ 140 w 237"/>
                <a:gd name="T43" fmla="*/ 171 h 299"/>
                <a:gd name="T44" fmla="*/ 161 w 237"/>
                <a:gd name="T45" fmla="*/ 149 h 299"/>
                <a:gd name="T46" fmla="*/ 183 w 237"/>
                <a:gd name="T47" fmla="*/ 171 h 299"/>
                <a:gd name="T48" fmla="*/ 233 w 237"/>
                <a:gd name="T49" fmla="*/ 280 h 299"/>
                <a:gd name="T50" fmla="*/ 183 w 237"/>
                <a:gd name="T51" fmla="*/ 231 h 299"/>
                <a:gd name="T52" fmla="*/ 225 w 237"/>
                <a:gd name="T53" fmla="*/ 181 h 299"/>
                <a:gd name="T54" fmla="*/ 225 w 237"/>
                <a:gd name="T55" fmla="*/ 53 h 299"/>
                <a:gd name="T56" fmla="*/ 172 w 237"/>
                <a:gd name="T57" fmla="*/ 0 h 299"/>
                <a:gd name="T58" fmla="*/ 65 w 237"/>
                <a:gd name="T59" fmla="*/ 0 h 299"/>
                <a:gd name="T60" fmla="*/ 12 w 237"/>
                <a:gd name="T61" fmla="*/ 53 h 299"/>
                <a:gd name="T62" fmla="*/ 12 w 237"/>
                <a:gd name="T63" fmla="*/ 181 h 299"/>
                <a:gd name="T64" fmla="*/ 52 w 237"/>
                <a:gd name="T65" fmla="*/ 233 h 299"/>
                <a:gd name="T66" fmla="*/ 4 w 237"/>
                <a:gd name="T67" fmla="*/ 280 h 299"/>
                <a:gd name="T68" fmla="*/ 4 w 237"/>
                <a:gd name="T69" fmla="*/ 296 h 299"/>
                <a:gd name="T70" fmla="*/ 12 w 237"/>
                <a:gd name="T71" fmla="*/ 299 h 299"/>
                <a:gd name="T72" fmla="*/ 20 w 237"/>
                <a:gd name="T73" fmla="*/ 296 h 299"/>
                <a:gd name="T74" fmla="*/ 38 w 237"/>
                <a:gd name="T75" fmla="*/ 277 h 299"/>
                <a:gd name="T76" fmla="*/ 200 w 237"/>
                <a:gd name="T77" fmla="*/ 277 h 299"/>
                <a:gd name="T78" fmla="*/ 218 w 237"/>
                <a:gd name="T79" fmla="*/ 296 h 299"/>
                <a:gd name="T80" fmla="*/ 225 w 237"/>
                <a:gd name="T81" fmla="*/ 299 h 299"/>
                <a:gd name="T82" fmla="*/ 233 w 237"/>
                <a:gd name="T83" fmla="*/ 296 h 299"/>
                <a:gd name="T84" fmla="*/ 233 w 237"/>
                <a:gd name="T85" fmla="*/ 280 h 299"/>
                <a:gd name="T86" fmla="*/ 33 w 237"/>
                <a:gd name="T87" fmla="*/ 181 h 299"/>
                <a:gd name="T88" fmla="*/ 33 w 237"/>
                <a:gd name="T89" fmla="*/ 53 h 299"/>
                <a:gd name="T90" fmla="*/ 65 w 237"/>
                <a:gd name="T91" fmla="*/ 21 h 299"/>
                <a:gd name="T92" fmla="*/ 172 w 237"/>
                <a:gd name="T93" fmla="*/ 21 h 299"/>
                <a:gd name="T94" fmla="*/ 204 w 237"/>
                <a:gd name="T95" fmla="*/ 53 h 299"/>
                <a:gd name="T96" fmla="*/ 204 w 237"/>
                <a:gd name="T97" fmla="*/ 181 h 299"/>
                <a:gd name="T98" fmla="*/ 161 w 237"/>
                <a:gd name="T99" fmla="*/ 213 h 299"/>
                <a:gd name="T100" fmla="*/ 65 w 237"/>
                <a:gd name="T101" fmla="*/ 213 h 299"/>
                <a:gd name="T102" fmla="*/ 33 w 237"/>
                <a:gd name="T103" fmla="*/ 181 h 299"/>
                <a:gd name="T104" fmla="*/ 59 w 237"/>
                <a:gd name="T105" fmla="*/ 256 h 299"/>
                <a:gd name="T106" fmla="*/ 80 w 237"/>
                <a:gd name="T107" fmla="*/ 235 h 299"/>
                <a:gd name="T108" fmla="*/ 157 w 237"/>
                <a:gd name="T109" fmla="*/ 235 h 299"/>
                <a:gd name="T110" fmla="*/ 178 w 237"/>
                <a:gd name="T111" fmla="*/ 256 h 299"/>
                <a:gd name="T112" fmla="*/ 59 w 237"/>
                <a:gd name="T113" fmla="*/ 25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7" h="299">
                  <a:moveTo>
                    <a:pt x="76" y="117"/>
                  </a:moveTo>
                  <a:cubicBezTo>
                    <a:pt x="161" y="117"/>
                    <a:pt x="161" y="117"/>
                    <a:pt x="161" y="117"/>
                  </a:cubicBezTo>
                  <a:cubicBezTo>
                    <a:pt x="173" y="117"/>
                    <a:pt x="183" y="108"/>
                    <a:pt x="183" y="96"/>
                  </a:cubicBezTo>
                  <a:cubicBezTo>
                    <a:pt x="183" y="64"/>
                    <a:pt x="183" y="64"/>
                    <a:pt x="183" y="64"/>
                  </a:cubicBezTo>
                  <a:cubicBezTo>
                    <a:pt x="183" y="52"/>
                    <a:pt x="173" y="43"/>
                    <a:pt x="161" y="43"/>
                  </a:cubicBezTo>
                  <a:cubicBezTo>
                    <a:pt x="76" y="43"/>
                    <a:pt x="76" y="43"/>
                    <a:pt x="76" y="43"/>
                  </a:cubicBezTo>
                  <a:cubicBezTo>
                    <a:pt x="64" y="43"/>
                    <a:pt x="55" y="52"/>
                    <a:pt x="55" y="64"/>
                  </a:cubicBezTo>
                  <a:cubicBezTo>
                    <a:pt x="55" y="96"/>
                    <a:pt x="55" y="96"/>
                    <a:pt x="55" y="96"/>
                  </a:cubicBezTo>
                  <a:cubicBezTo>
                    <a:pt x="55" y="108"/>
                    <a:pt x="64" y="117"/>
                    <a:pt x="76" y="117"/>
                  </a:cubicBezTo>
                  <a:close/>
                  <a:moveTo>
                    <a:pt x="76" y="64"/>
                  </a:moveTo>
                  <a:cubicBezTo>
                    <a:pt x="161" y="64"/>
                    <a:pt x="161" y="64"/>
                    <a:pt x="161" y="64"/>
                  </a:cubicBezTo>
                  <a:cubicBezTo>
                    <a:pt x="161" y="96"/>
                    <a:pt x="161" y="96"/>
                    <a:pt x="161" y="96"/>
                  </a:cubicBezTo>
                  <a:cubicBezTo>
                    <a:pt x="76" y="96"/>
                    <a:pt x="76" y="96"/>
                    <a:pt x="76" y="96"/>
                  </a:cubicBezTo>
                  <a:lnTo>
                    <a:pt x="76" y="64"/>
                  </a:lnTo>
                  <a:close/>
                  <a:moveTo>
                    <a:pt x="76" y="192"/>
                  </a:moveTo>
                  <a:cubicBezTo>
                    <a:pt x="64" y="192"/>
                    <a:pt x="55" y="182"/>
                    <a:pt x="55" y="171"/>
                  </a:cubicBezTo>
                  <a:cubicBezTo>
                    <a:pt x="55" y="159"/>
                    <a:pt x="64" y="149"/>
                    <a:pt x="76" y="149"/>
                  </a:cubicBezTo>
                  <a:cubicBezTo>
                    <a:pt x="88" y="149"/>
                    <a:pt x="97" y="159"/>
                    <a:pt x="97" y="171"/>
                  </a:cubicBezTo>
                  <a:cubicBezTo>
                    <a:pt x="97" y="182"/>
                    <a:pt x="88" y="192"/>
                    <a:pt x="76" y="192"/>
                  </a:cubicBezTo>
                  <a:close/>
                  <a:moveTo>
                    <a:pt x="183" y="171"/>
                  </a:moveTo>
                  <a:cubicBezTo>
                    <a:pt x="183" y="182"/>
                    <a:pt x="173" y="192"/>
                    <a:pt x="161" y="192"/>
                  </a:cubicBezTo>
                  <a:cubicBezTo>
                    <a:pt x="150" y="192"/>
                    <a:pt x="140" y="182"/>
                    <a:pt x="140" y="171"/>
                  </a:cubicBezTo>
                  <a:cubicBezTo>
                    <a:pt x="140" y="159"/>
                    <a:pt x="150" y="149"/>
                    <a:pt x="161" y="149"/>
                  </a:cubicBezTo>
                  <a:cubicBezTo>
                    <a:pt x="173" y="149"/>
                    <a:pt x="183" y="159"/>
                    <a:pt x="183" y="171"/>
                  </a:cubicBezTo>
                  <a:close/>
                  <a:moveTo>
                    <a:pt x="233" y="280"/>
                  </a:moveTo>
                  <a:cubicBezTo>
                    <a:pt x="183" y="231"/>
                    <a:pt x="183" y="231"/>
                    <a:pt x="183" y="231"/>
                  </a:cubicBezTo>
                  <a:cubicBezTo>
                    <a:pt x="205" y="223"/>
                    <a:pt x="225" y="204"/>
                    <a:pt x="225" y="181"/>
                  </a:cubicBezTo>
                  <a:cubicBezTo>
                    <a:pt x="225" y="53"/>
                    <a:pt x="225" y="53"/>
                    <a:pt x="225" y="53"/>
                  </a:cubicBezTo>
                  <a:cubicBezTo>
                    <a:pt x="225" y="24"/>
                    <a:pt x="201" y="0"/>
                    <a:pt x="172" y="0"/>
                  </a:cubicBezTo>
                  <a:cubicBezTo>
                    <a:pt x="65" y="0"/>
                    <a:pt x="65" y="0"/>
                    <a:pt x="65" y="0"/>
                  </a:cubicBezTo>
                  <a:cubicBezTo>
                    <a:pt x="36" y="0"/>
                    <a:pt x="12" y="24"/>
                    <a:pt x="12" y="53"/>
                  </a:cubicBezTo>
                  <a:cubicBezTo>
                    <a:pt x="12" y="181"/>
                    <a:pt x="12" y="181"/>
                    <a:pt x="12" y="181"/>
                  </a:cubicBezTo>
                  <a:cubicBezTo>
                    <a:pt x="12" y="206"/>
                    <a:pt x="29" y="227"/>
                    <a:pt x="52" y="233"/>
                  </a:cubicBezTo>
                  <a:cubicBezTo>
                    <a:pt x="4" y="280"/>
                    <a:pt x="4" y="280"/>
                    <a:pt x="4" y="280"/>
                  </a:cubicBezTo>
                  <a:cubicBezTo>
                    <a:pt x="0" y="285"/>
                    <a:pt x="0" y="291"/>
                    <a:pt x="4" y="296"/>
                  </a:cubicBezTo>
                  <a:cubicBezTo>
                    <a:pt x="7" y="298"/>
                    <a:pt x="9" y="299"/>
                    <a:pt x="12" y="299"/>
                  </a:cubicBezTo>
                  <a:cubicBezTo>
                    <a:pt x="15" y="299"/>
                    <a:pt x="17" y="298"/>
                    <a:pt x="20" y="296"/>
                  </a:cubicBezTo>
                  <a:cubicBezTo>
                    <a:pt x="38" y="277"/>
                    <a:pt x="38" y="277"/>
                    <a:pt x="38" y="277"/>
                  </a:cubicBezTo>
                  <a:cubicBezTo>
                    <a:pt x="200" y="277"/>
                    <a:pt x="200" y="277"/>
                    <a:pt x="200" y="277"/>
                  </a:cubicBezTo>
                  <a:cubicBezTo>
                    <a:pt x="218" y="296"/>
                    <a:pt x="218" y="296"/>
                    <a:pt x="218" y="296"/>
                  </a:cubicBezTo>
                  <a:cubicBezTo>
                    <a:pt x="220" y="298"/>
                    <a:pt x="223" y="299"/>
                    <a:pt x="225" y="299"/>
                  </a:cubicBezTo>
                  <a:cubicBezTo>
                    <a:pt x="228" y="299"/>
                    <a:pt x="231" y="298"/>
                    <a:pt x="233" y="296"/>
                  </a:cubicBezTo>
                  <a:cubicBezTo>
                    <a:pt x="237" y="291"/>
                    <a:pt x="237" y="285"/>
                    <a:pt x="233" y="280"/>
                  </a:cubicBezTo>
                  <a:close/>
                  <a:moveTo>
                    <a:pt x="33" y="181"/>
                  </a:moveTo>
                  <a:cubicBezTo>
                    <a:pt x="33" y="53"/>
                    <a:pt x="33" y="53"/>
                    <a:pt x="33" y="53"/>
                  </a:cubicBezTo>
                  <a:cubicBezTo>
                    <a:pt x="33" y="36"/>
                    <a:pt x="48" y="21"/>
                    <a:pt x="65" y="21"/>
                  </a:cubicBezTo>
                  <a:cubicBezTo>
                    <a:pt x="172" y="21"/>
                    <a:pt x="172" y="21"/>
                    <a:pt x="172" y="21"/>
                  </a:cubicBezTo>
                  <a:cubicBezTo>
                    <a:pt x="190" y="21"/>
                    <a:pt x="204" y="36"/>
                    <a:pt x="204" y="53"/>
                  </a:cubicBezTo>
                  <a:cubicBezTo>
                    <a:pt x="204" y="181"/>
                    <a:pt x="204" y="181"/>
                    <a:pt x="204" y="181"/>
                  </a:cubicBezTo>
                  <a:cubicBezTo>
                    <a:pt x="204" y="198"/>
                    <a:pt x="180" y="213"/>
                    <a:pt x="161" y="213"/>
                  </a:cubicBezTo>
                  <a:cubicBezTo>
                    <a:pt x="65" y="213"/>
                    <a:pt x="65" y="213"/>
                    <a:pt x="65" y="213"/>
                  </a:cubicBezTo>
                  <a:cubicBezTo>
                    <a:pt x="48" y="213"/>
                    <a:pt x="33" y="199"/>
                    <a:pt x="33" y="181"/>
                  </a:cubicBezTo>
                  <a:close/>
                  <a:moveTo>
                    <a:pt x="59" y="256"/>
                  </a:moveTo>
                  <a:cubicBezTo>
                    <a:pt x="80" y="235"/>
                    <a:pt x="80" y="235"/>
                    <a:pt x="80" y="235"/>
                  </a:cubicBezTo>
                  <a:cubicBezTo>
                    <a:pt x="157" y="235"/>
                    <a:pt x="157" y="235"/>
                    <a:pt x="157" y="235"/>
                  </a:cubicBezTo>
                  <a:cubicBezTo>
                    <a:pt x="178" y="256"/>
                    <a:pt x="178" y="256"/>
                    <a:pt x="178" y="256"/>
                  </a:cubicBezTo>
                  <a:lnTo>
                    <a:pt x="59"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87" name="Group 509">
            <a:extLst>
              <a:ext uri="{FF2B5EF4-FFF2-40B4-BE49-F238E27FC236}">
                <a16:creationId xmlns:a16="http://schemas.microsoft.com/office/drawing/2014/main" id="{AA2D9D8D-A1CA-47D6-9508-D179E23419DA}"/>
              </a:ext>
            </a:extLst>
          </p:cNvPr>
          <p:cNvGrpSpPr>
            <a:grpSpLocks noChangeAspect="1"/>
          </p:cNvGrpSpPr>
          <p:nvPr/>
        </p:nvGrpSpPr>
        <p:grpSpPr bwMode="auto">
          <a:xfrm>
            <a:off x="10923395" y="1698655"/>
            <a:ext cx="369676" cy="369676"/>
            <a:chOff x="6208" y="1868"/>
            <a:chExt cx="340" cy="340"/>
          </a:xfrm>
          <a:solidFill>
            <a:schemeClr val="accent6"/>
          </a:solidFill>
        </p:grpSpPr>
        <p:sp>
          <p:nvSpPr>
            <p:cNvPr id="388" name="Freeform 510">
              <a:extLst>
                <a:ext uri="{FF2B5EF4-FFF2-40B4-BE49-F238E27FC236}">
                  <a16:creationId xmlns:a16="http://schemas.microsoft.com/office/drawing/2014/main" id="{D76B40AB-637F-461F-9009-BB81253B070C}"/>
                </a:ext>
              </a:extLst>
            </p:cNvPr>
            <p:cNvSpPr>
              <a:spLocks/>
            </p:cNvSpPr>
            <p:nvPr/>
          </p:nvSpPr>
          <p:spPr bwMode="auto">
            <a:xfrm>
              <a:off x="6338" y="2102"/>
              <a:ext cx="79" cy="14"/>
            </a:xfrm>
            <a:custGeom>
              <a:avLst/>
              <a:gdLst>
                <a:gd name="T0" fmla="*/ 14 w 79"/>
                <a:gd name="T1" fmla="*/ 0 h 14"/>
                <a:gd name="T2" fmla="*/ 0 w 79"/>
                <a:gd name="T3" fmla="*/ 14 h 14"/>
                <a:gd name="T4" fmla="*/ 79 w 79"/>
                <a:gd name="T5" fmla="*/ 14 h 14"/>
                <a:gd name="T6" fmla="*/ 65 w 79"/>
                <a:gd name="T7" fmla="*/ 0 h 14"/>
                <a:gd name="T8" fmla="*/ 14 w 79"/>
                <a:gd name="T9" fmla="*/ 0 h 14"/>
              </a:gdLst>
              <a:ahLst/>
              <a:cxnLst>
                <a:cxn ang="0">
                  <a:pos x="T0" y="T1"/>
                </a:cxn>
                <a:cxn ang="0">
                  <a:pos x="T2" y="T3"/>
                </a:cxn>
                <a:cxn ang="0">
                  <a:pos x="T4" y="T5"/>
                </a:cxn>
                <a:cxn ang="0">
                  <a:pos x="T6" y="T7"/>
                </a:cxn>
                <a:cxn ang="0">
                  <a:pos x="T8" y="T9"/>
                </a:cxn>
              </a:cxnLst>
              <a:rect l="0" t="0" r="r" b="b"/>
              <a:pathLst>
                <a:path w="79" h="14">
                  <a:moveTo>
                    <a:pt x="14" y="0"/>
                  </a:moveTo>
                  <a:lnTo>
                    <a:pt x="0" y="14"/>
                  </a:lnTo>
                  <a:lnTo>
                    <a:pt x="79" y="14"/>
                  </a:lnTo>
                  <a:lnTo>
                    <a:pt x="65" y="0"/>
                  </a:lnTo>
                  <a:lnTo>
                    <a:pt x="1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9" name="Freeform 511">
              <a:extLst>
                <a:ext uri="{FF2B5EF4-FFF2-40B4-BE49-F238E27FC236}">
                  <a16:creationId xmlns:a16="http://schemas.microsoft.com/office/drawing/2014/main" id="{09428A8F-922F-4428-9BC0-B92DEE2C1D19}"/>
                </a:ext>
              </a:extLst>
            </p:cNvPr>
            <p:cNvSpPr>
              <a:spLocks noEditPoints="1"/>
            </p:cNvSpPr>
            <p:nvPr/>
          </p:nvSpPr>
          <p:spPr bwMode="auto">
            <a:xfrm>
              <a:off x="6321" y="1960"/>
              <a:ext cx="113" cy="127"/>
            </a:xfrm>
            <a:custGeom>
              <a:avLst/>
              <a:gdLst>
                <a:gd name="T0" fmla="*/ 128 w 171"/>
                <a:gd name="T1" fmla="*/ 192 h 192"/>
                <a:gd name="T2" fmla="*/ 171 w 171"/>
                <a:gd name="T3" fmla="*/ 160 h 192"/>
                <a:gd name="T4" fmla="*/ 171 w 171"/>
                <a:gd name="T5" fmla="*/ 32 h 192"/>
                <a:gd name="T6" fmla="*/ 139 w 171"/>
                <a:gd name="T7" fmla="*/ 0 h 192"/>
                <a:gd name="T8" fmla="*/ 32 w 171"/>
                <a:gd name="T9" fmla="*/ 0 h 192"/>
                <a:gd name="T10" fmla="*/ 0 w 171"/>
                <a:gd name="T11" fmla="*/ 32 h 192"/>
                <a:gd name="T12" fmla="*/ 0 w 171"/>
                <a:gd name="T13" fmla="*/ 160 h 192"/>
                <a:gd name="T14" fmla="*/ 32 w 171"/>
                <a:gd name="T15" fmla="*/ 192 h 192"/>
                <a:gd name="T16" fmla="*/ 128 w 171"/>
                <a:gd name="T17" fmla="*/ 192 h 192"/>
                <a:gd name="T18" fmla="*/ 128 w 171"/>
                <a:gd name="T19" fmla="*/ 171 h 192"/>
                <a:gd name="T20" fmla="*/ 107 w 171"/>
                <a:gd name="T21" fmla="*/ 150 h 192"/>
                <a:gd name="T22" fmla="*/ 128 w 171"/>
                <a:gd name="T23" fmla="*/ 128 h 192"/>
                <a:gd name="T24" fmla="*/ 150 w 171"/>
                <a:gd name="T25" fmla="*/ 150 h 192"/>
                <a:gd name="T26" fmla="*/ 128 w 171"/>
                <a:gd name="T27" fmla="*/ 171 h 192"/>
                <a:gd name="T28" fmla="*/ 22 w 171"/>
                <a:gd name="T29" fmla="*/ 43 h 192"/>
                <a:gd name="T30" fmla="*/ 43 w 171"/>
                <a:gd name="T31" fmla="*/ 22 h 192"/>
                <a:gd name="T32" fmla="*/ 128 w 171"/>
                <a:gd name="T33" fmla="*/ 22 h 192"/>
                <a:gd name="T34" fmla="*/ 150 w 171"/>
                <a:gd name="T35" fmla="*/ 43 h 192"/>
                <a:gd name="T36" fmla="*/ 150 w 171"/>
                <a:gd name="T37" fmla="*/ 75 h 192"/>
                <a:gd name="T38" fmla="*/ 128 w 171"/>
                <a:gd name="T39" fmla="*/ 96 h 192"/>
                <a:gd name="T40" fmla="*/ 43 w 171"/>
                <a:gd name="T41" fmla="*/ 96 h 192"/>
                <a:gd name="T42" fmla="*/ 22 w 171"/>
                <a:gd name="T43" fmla="*/ 75 h 192"/>
                <a:gd name="T44" fmla="*/ 22 w 171"/>
                <a:gd name="T45" fmla="*/ 43 h 192"/>
                <a:gd name="T46" fmla="*/ 22 w 171"/>
                <a:gd name="T47" fmla="*/ 150 h 192"/>
                <a:gd name="T48" fmla="*/ 43 w 171"/>
                <a:gd name="T49" fmla="*/ 128 h 192"/>
                <a:gd name="T50" fmla="*/ 64 w 171"/>
                <a:gd name="T51" fmla="*/ 150 h 192"/>
                <a:gd name="T52" fmla="*/ 43 w 171"/>
                <a:gd name="T53" fmla="*/ 171 h 192"/>
                <a:gd name="T54" fmla="*/ 22 w 171"/>
                <a:gd name="T55" fmla="*/ 15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1" h="192">
                  <a:moveTo>
                    <a:pt x="128" y="192"/>
                  </a:moveTo>
                  <a:cubicBezTo>
                    <a:pt x="147" y="192"/>
                    <a:pt x="171" y="177"/>
                    <a:pt x="171" y="160"/>
                  </a:cubicBezTo>
                  <a:cubicBezTo>
                    <a:pt x="171" y="32"/>
                    <a:pt x="171" y="32"/>
                    <a:pt x="171" y="32"/>
                  </a:cubicBezTo>
                  <a:cubicBezTo>
                    <a:pt x="171" y="15"/>
                    <a:pt x="157" y="0"/>
                    <a:pt x="139" y="0"/>
                  </a:cubicBezTo>
                  <a:cubicBezTo>
                    <a:pt x="32" y="0"/>
                    <a:pt x="32" y="0"/>
                    <a:pt x="32" y="0"/>
                  </a:cubicBezTo>
                  <a:cubicBezTo>
                    <a:pt x="15" y="0"/>
                    <a:pt x="0" y="15"/>
                    <a:pt x="0" y="32"/>
                  </a:cubicBezTo>
                  <a:cubicBezTo>
                    <a:pt x="0" y="160"/>
                    <a:pt x="0" y="160"/>
                    <a:pt x="0" y="160"/>
                  </a:cubicBezTo>
                  <a:cubicBezTo>
                    <a:pt x="0" y="178"/>
                    <a:pt x="15" y="192"/>
                    <a:pt x="32" y="192"/>
                  </a:cubicBezTo>
                  <a:lnTo>
                    <a:pt x="128" y="192"/>
                  </a:lnTo>
                  <a:close/>
                  <a:moveTo>
                    <a:pt x="128" y="171"/>
                  </a:moveTo>
                  <a:cubicBezTo>
                    <a:pt x="117" y="171"/>
                    <a:pt x="107" y="161"/>
                    <a:pt x="107" y="150"/>
                  </a:cubicBezTo>
                  <a:cubicBezTo>
                    <a:pt x="107" y="138"/>
                    <a:pt x="117" y="128"/>
                    <a:pt x="128" y="128"/>
                  </a:cubicBezTo>
                  <a:cubicBezTo>
                    <a:pt x="140" y="128"/>
                    <a:pt x="150" y="138"/>
                    <a:pt x="150" y="150"/>
                  </a:cubicBezTo>
                  <a:cubicBezTo>
                    <a:pt x="150" y="161"/>
                    <a:pt x="140" y="171"/>
                    <a:pt x="128" y="171"/>
                  </a:cubicBezTo>
                  <a:close/>
                  <a:moveTo>
                    <a:pt x="22" y="43"/>
                  </a:moveTo>
                  <a:cubicBezTo>
                    <a:pt x="22" y="31"/>
                    <a:pt x="31" y="22"/>
                    <a:pt x="43" y="22"/>
                  </a:cubicBezTo>
                  <a:cubicBezTo>
                    <a:pt x="128" y="22"/>
                    <a:pt x="128" y="22"/>
                    <a:pt x="128" y="22"/>
                  </a:cubicBezTo>
                  <a:cubicBezTo>
                    <a:pt x="140" y="22"/>
                    <a:pt x="150" y="31"/>
                    <a:pt x="150" y="43"/>
                  </a:cubicBezTo>
                  <a:cubicBezTo>
                    <a:pt x="150" y="75"/>
                    <a:pt x="150" y="75"/>
                    <a:pt x="150" y="75"/>
                  </a:cubicBezTo>
                  <a:cubicBezTo>
                    <a:pt x="150" y="87"/>
                    <a:pt x="140" y="96"/>
                    <a:pt x="128" y="96"/>
                  </a:cubicBezTo>
                  <a:cubicBezTo>
                    <a:pt x="43" y="96"/>
                    <a:pt x="43" y="96"/>
                    <a:pt x="43" y="96"/>
                  </a:cubicBezTo>
                  <a:cubicBezTo>
                    <a:pt x="31" y="96"/>
                    <a:pt x="22" y="87"/>
                    <a:pt x="22" y="75"/>
                  </a:cubicBezTo>
                  <a:lnTo>
                    <a:pt x="22" y="43"/>
                  </a:lnTo>
                  <a:close/>
                  <a:moveTo>
                    <a:pt x="22" y="150"/>
                  </a:moveTo>
                  <a:cubicBezTo>
                    <a:pt x="22" y="138"/>
                    <a:pt x="31" y="128"/>
                    <a:pt x="43" y="128"/>
                  </a:cubicBezTo>
                  <a:cubicBezTo>
                    <a:pt x="55" y="128"/>
                    <a:pt x="64" y="138"/>
                    <a:pt x="64" y="150"/>
                  </a:cubicBezTo>
                  <a:cubicBezTo>
                    <a:pt x="64" y="161"/>
                    <a:pt x="55" y="171"/>
                    <a:pt x="43" y="171"/>
                  </a:cubicBezTo>
                  <a:cubicBezTo>
                    <a:pt x="31" y="171"/>
                    <a:pt x="22" y="161"/>
                    <a:pt x="22"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0" name="Freeform 512">
              <a:extLst>
                <a:ext uri="{FF2B5EF4-FFF2-40B4-BE49-F238E27FC236}">
                  <a16:creationId xmlns:a16="http://schemas.microsoft.com/office/drawing/2014/main" id="{35C01FBB-0E54-4A68-93FA-91CE7AC4C3F0}"/>
                </a:ext>
              </a:extLst>
            </p:cNvPr>
            <p:cNvSpPr>
              <a:spLocks noEditPoints="1"/>
            </p:cNvSpPr>
            <p:nvPr/>
          </p:nvSpPr>
          <p:spPr bwMode="auto">
            <a:xfrm>
              <a:off x="6208" y="186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413 h 512"/>
                <a:gd name="T12" fmla="*/ 362 w 512"/>
                <a:gd name="T13" fmla="*/ 416 h 512"/>
                <a:gd name="T14" fmla="*/ 355 w 512"/>
                <a:gd name="T15" fmla="*/ 413 h 512"/>
                <a:gd name="T16" fmla="*/ 337 w 512"/>
                <a:gd name="T17" fmla="*/ 394 h 512"/>
                <a:gd name="T18" fmla="*/ 175 w 512"/>
                <a:gd name="T19" fmla="*/ 394 h 512"/>
                <a:gd name="T20" fmla="*/ 157 w 512"/>
                <a:gd name="T21" fmla="*/ 413 h 512"/>
                <a:gd name="T22" fmla="*/ 149 w 512"/>
                <a:gd name="T23" fmla="*/ 416 h 512"/>
                <a:gd name="T24" fmla="*/ 141 w 512"/>
                <a:gd name="T25" fmla="*/ 413 h 512"/>
                <a:gd name="T26" fmla="*/ 141 w 512"/>
                <a:gd name="T27" fmla="*/ 397 h 512"/>
                <a:gd name="T28" fmla="*/ 189 w 512"/>
                <a:gd name="T29" fmla="*/ 350 h 512"/>
                <a:gd name="T30" fmla="*/ 149 w 512"/>
                <a:gd name="T31" fmla="*/ 298 h 512"/>
                <a:gd name="T32" fmla="*/ 149 w 512"/>
                <a:gd name="T33" fmla="*/ 170 h 512"/>
                <a:gd name="T34" fmla="*/ 202 w 512"/>
                <a:gd name="T35" fmla="*/ 117 h 512"/>
                <a:gd name="T36" fmla="*/ 309 w 512"/>
                <a:gd name="T37" fmla="*/ 117 h 512"/>
                <a:gd name="T38" fmla="*/ 362 w 512"/>
                <a:gd name="T39" fmla="*/ 170 h 512"/>
                <a:gd name="T40" fmla="*/ 362 w 512"/>
                <a:gd name="T41" fmla="*/ 298 h 512"/>
                <a:gd name="T42" fmla="*/ 320 w 512"/>
                <a:gd name="T43" fmla="*/ 348 h 512"/>
                <a:gd name="T44" fmla="*/ 370 w 512"/>
                <a:gd name="T45" fmla="*/ 397 h 512"/>
                <a:gd name="T46" fmla="*/ 370 w 512"/>
                <a:gd name="T47" fmla="*/ 4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413"/>
                  </a:moveTo>
                  <a:cubicBezTo>
                    <a:pt x="368" y="415"/>
                    <a:pt x="365" y="416"/>
                    <a:pt x="362" y="416"/>
                  </a:cubicBezTo>
                  <a:cubicBezTo>
                    <a:pt x="360" y="416"/>
                    <a:pt x="357" y="415"/>
                    <a:pt x="355" y="413"/>
                  </a:cubicBezTo>
                  <a:cubicBezTo>
                    <a:pt x="337" y="394"/>
                    <a:pt x="337" y="394"/>
                    <a:pt x="337" y="394"/>
                  </a:cubicBezTo>
                  <a:cubicBezTo>
                    <a:pt x="175" y="394"/>
                    <a:pt x="175" y="394"/>
                    <a:pt x="175" y="394"/>
                  </a:cubicBez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189" y="350"/>
                    <a:pt x="189" y="350"/>
                    <a:pt x="189" y="350"/>
                  </a:cubicBezTo>
                  <a:cubicBezTo>
                    <a:pt x="166" y="344"/>
                    <a:pt x="149" y="323"/>
                    <a:pt x="149" y="298"/>
                  </a:cubicBezTo>
                  <a:cubicBezTo>
                    <a:pt x="149" y="170"/>
                    <a:pt x="149" y="170"/>
                    <a:pt x="149" y="170"/>
                  </a:cubicBezTo>
                  <a:cubicBezTo>
                    <a:pt x="149" y="141"/>
                    <a:pt x="173" y="117"/>
                    <a:pt x="202" y="117"/>
                  </a:cubicBezTo>
                  <a:cubicBezTo>
                    <a:pt x="309" y="117"/>
                    <a:pt x="309" y="117"/>
                    <a:pt x="309" y="117"/>
                  </a:cubicBezTo>
                  <a:cubicBezTo>
                    <a:pt x="338" y="117"/>
                    <a:pt x="362" y="141"/>
                    <a:pt x="362" y="170"/>
                  </a:cubicBezTo>
                  <a:cubicBezTo>
                    <a:pt x="362" y="298"/>
                    <a:pt x="362" y="298"/>
                    <a:pt x="362" y="298"/>
                  </a:cubicBezTo>
                  <a:cubicBezTo>
                    <a:pt x="362" y="321"/>
                    <a:pt x="342" y="340"/>
                    <a:pt x="320" y="348"/>
                  </a:cubicBezTo>
                  <a:cubicBezTo>
                    <a:pt x="370" y="397"/>
                    <a:pt x="370" y="397"/>
                    <a:pt x="370" y="397"/>
                  </a:cubicBezTo>
                  <a:cubicBezTo>
                    <a:pt x="374" y="402"/>
                    <a:pt x="374" y="408"/>
                    <a:pt x="370" y="4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1" name="Rectangle 513">
              <a:extLst>
                <a:ext uri="{FF2B5EF4-FFF2-40B4-BE49-F238E27FC236}">
                  <a16:creationId xmlns:a16="http://schemas.microsoft.com/office/drawing/2014/main" id="{7CC5786E-015C-41F7-9686-3E33F6816F9D}"/>
                </a:ext>
              </a:extLst>
            </p:cNvPr>
            <p:cNvSpPr>
              <a:spLocks noChangeArrowheads="1"/>
            </p:cNvSpPr>
            <p:nvPr/>
          </p:nvSpPr>
          <p:spPr bwMode="auto">
            <a:xfrm>
              <a:off x="6349" y="1988"/>
              <a:ext cx="57" cy="2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2" name="Group 516">
            <a:extLst>
              <a:ext uri="{FF2B5EF4-FFF2-40B4-BE49-F238E27FC236}">
                <a16:creationId xmlns:a16="http://schemas.microsoft.com/office/drawing/2014/main" id="{9AC45D57-834B-408C-8CC7-0E05DAAC9EEF}"/>
              </a:ext>
            </a:extLst>
          </p:cNvPr>
          <p:cNvGrpSpPr>
            <a:grpSpLocks noChangeAspect="1"/>
          </p:cNvGrpSpPr>
          <p:nvPr/>
        </p:nvGrpSpPr>
        <p:grpSpPr bwMode="auto">
          <a:xfrm>
            <a:off x="10487221" y="1698655"/>
            <a:ext cx="369676" cy="369676"/>
            <a:chOff x="5807" y="1879"/>
            <a:chExt cx="340" cy="340"/>
          </a:xfrm>
          <a:solidFill>
            <a:schemeClr val="accent6"/>
          </a:solidFill>
        </p:grpSpPr>
        <p:sp>
          <p:nvSpPr>
            <p:cNvPr id="393" name="Freeform 517">
              <a:extLst>
                <a:ext uri="{FF2B5EF4-FFF2-40B4-BE49-F238E27FC236}">
                  <a16:creationId xmlns:a16="http://schemas.microsoft.com/office/drawing/2014/main" id="{665C8E99-CEC7-4844-8883-EF5FABDF738E}"/>
                </a:ext>
              </a:extLst>
            </p:cNvPr>
            <p:cNvSpPr>
              <a:spLocks noEditPoints="1"/>
            </p:cNvSpPr>
            <p:nvPr/>
          </p:nvSpPr>
          <p:spPr bwMode="auto">
            <a:xfrm>
              <a:off x="5807" y="18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4" name="Freeform 518">
              <a:extLst>
                <a:ext uri="{FF2B5EF4-FFF2-40B4-BE49-F238E27FC236}">
                  <a16:creationId xmlns:a16="http://schemas.microsoft.com/office/drawing/2014/main" id="{3B21A596-8233-467E-9909-5A85FCACD46A}"/>
                </a:ext>
              </a:extLst>
            </p:cNvPr>
            <p:cNvSpPr>
              <a:spLocks noEditPoints="1"/>
            </p:cNvSpPr>
            <p:nvPr/>
          </p:nvSpPr>
          <p:spPr bwMode="auto">
            <a:xfrm>
              <a:off x="5956" y="1971"/>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2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5"/>
                    <a:pt x="0" y="32"/>
                  </a:cubicBezTo>
                  <a:cubicBezTo>
                    <a:pt x="0" y="50"/>
                    <a:pt x="14" y="64"/>
                    <a:pt x="32" y="64"/>
                  </a:cubicBezTo>
                  <a:cubicBezTo>
                    <a:pt x="49" y="64"/>
                    <a:pt x="64" y="50"/>
                    <a:pt x="64" y="32"/>
                  </a:cubicBezTo>
                  <a:cubicBezTo>
                    <a:pt x="64" y="15"/>
                    <a:pt x="49" y="0"/>
                    <a:pt x="32" y="0"/>
                  </a:cubicBezTo>
                  <a:close/>
                  <a:moveTo>
                    <a:pt x="32" y="43"/>
                  </a:moveTo>
                  <a:cubicBezTo>
                    <a:pt x="26" y="43"/>
                    <a:pt x="21" y="38"/>
                    <a:pt x="21" y="32"/>
                  </a:cubicBezTo>
                  <a:cubicBezTo>
                    <a:pt x="21" y="26"/>
                    <a:pt x="26" y="22"/>
                    <a:pt x="32" y="22"/>
                  </a:cubicBezTo>
                  <a:cubicBezTo>
                    <a:pt x="38" y="22"/>
                    <a:pt x="42" y="26"/>
                    <a:pt x="42" y="32"/>
                  </a:cubicBezTo>
                  <a:cubicBezTo>
                    <a:pt x="42" y="38"/>
                    <a:pt x="38" y="43"/>
                    <a:pt x="3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5" name="Freeform 519">
              <a:extLst>
                <a:ext uri="{FF2B5EF4-FFF2-40B4-BE49-F238E27FC236}">
                  <a16:creationId xmlns:a16="http://schemas.microsoft.com/office/drawing/2014/main" id="{8A23FAF4-CC25-45A5-AB87-E4296CB038D8}"/>
                </a:ext>
              </a:extLst>
            </p:cNvPr>
            <p:cNvSpPr>
              <a:spLocks noEditPoints="1"/>
            </p:cNvSpPr>
            <p:nvPr/>
          </p:nvSpPr>
          <p:spPr bwMode="auto">
            <a:xfrm>
              <a:off x="5956" y="2028"/>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6" name="Freeform 520">
              <a:extLst>
                <a:ext uri="{FF2B5EF4-FFF2-40B4-BE49-F238E27FC236}">
                  <a16:creationId xmlns:a16="http://schemas.microsoft.com/office/drawing/2014/main" id="{A4AFD422-74DD-4E4C-8033-FAD718B1517B}"/>
                </a:ext>
              </a:extLst>
            </p:cNvPr>
            <p:cNvSpPr>
              <a:spLocks noEditPoints="1"/>
            </p:cNvSpPr>
            <p:nvPr/>
          </p:nvSpPr>
          <p:spPr bwMode="auto">
            <a:xfrm>
              <a:off x="5956" y="2084"/>
              <a:ext cx="42" cy="4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1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50"/>
                    <a:pt x="14" y="64"/>
                    <a:pt x="32" y="64"/>
                  </a:cubicBezTo>
                  <a:cubicBezTo>
                    <a:pt x="49" y="64"/>
                    <a:pt x="64" y="50"/>
                    <a:pt x="64" y="32"/>
                  </a:cubicBezTo>
                  <a:cubicBezTo>
                    <a:pt x="64" y="14"/>
                    <a:pt x="49" y="0"/>
                    <a:pt x="32" y="0"/>
                  </a:cubicBezTo>
                  <a:close/>
                  <a:moveTo>
                    <a:pt x="32" y="43"/>
                  </a:moveTo>
                  <a:cubicBezTo>
                    <a:pt x="26" y="43"/>
                    <a:pt x="21" y="38"/>
                    <a:pt x="21" y="32"/>
                  </a:cubicBezTo>
                  <a:cubicBezTo>
                    <a:pt x="21" y="26"/>
                    <a:pt x="26" y="21"/>
                    <a:pt x="32" y="21"/>
                  </a:cubicBezTo>
                  <a:cubicBezTo>
                    <a:pt x="38" y="21"/>
                    <a:pt x="42" y="26"/>
                    <a:pt x="42" y="32"/>
                  </a:cubicBezTo>
                  <a:cubicBezTo>
                    <a:pt x="42" y="38"/>
                    <a:pt x="38" y="43"/>
                    <a:pt x="3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7" name="Freeform 521">
              <a:extLst>
                <a:ext uri="{FF2B5EF4-FFF2-40B4-BE49-F238E27FC236}">
                  <a16:creationId xmlns:a16="http://schemas.microsoft.com/office/drawing/2014/main" id="{8D54E7A3-FB33-46A2-A7D6-A3CFA77FBC59}"/>
                </a:ext>
              </a:extLst>
            </p:cNvPr>
            <p:cNvSpPr>
              <a:spLocks noEditPoints="1"/>
            </p:cNvSpPr>
            <p:nvPr/>
          </p:nvSpPr>
          <p:spPr bwMode="auto">
            <a:xfrm>
              <a:off x="5892" y="1943"/>
              <a:ext cx="170" cy="212"/>
            </a:xfrm>
            <a:custGeom>
              <a:avLst/>
              <a:gdLst>
                <a:gd name="T0" fmla="*/ 256 w 256"/>
                <a:gd name="T1" fmla="*/ 128 h 320"/>
                <a:gd name="T2" fmla="*/ 245 w 256"/>
                <a:gd name="T3" fmla="*/ 117 h 320"/>
                <a:gd name="T4" fmla="*/ 202 w 256"/>
                <a:gd name="T5" fmla="*/ 117 h 320"/>
                <a:gd name="T6" fmla="*/ 202 w 256"/>
                <a:gd name="T7" fmla="*/ 95 h 320"/>
                <a:gd name="T8" fmla="*/ 256 w 256"/>
                <a:gd name="T9" fmla="*/ 32 h 320"/>
                <a:gd name="T10" fmla="*/ 245 w 256"/>
                <a:gd name="T11" fmla="*/ 21 h 320"/>
                <a:gd name="T12" fmla="*/ 196 w 256"/>
                <a:gd name="T13" fmla="*/ 21 h 320"/>
                <a:gd name="T14" fmla="*/ 160 w 256"/>
                <a:gd name="T15" fmla="*/ 0 h 320"/>
                <a:gd name="T16" fmla="*/ 96 w 256"/>
                <a:gd name="T17" fmla="*/ 0 h 320"/>
                <a:gd name="T18" fmla="*/ 59 w 256"/>
                <a:gd name="T19" fmla="*/ 21 h 320"/>
                <a:gd name="T20" fmla="*/ 10 w 256"/>
                <a:gd name="T21" fmla="*/ 21 h 320"/>
                <a:gd name="T22" fmla="*/ 0 w 256"/>
                <a:gd name="T23" fmla="*/ 32 h 320"/>
                <a:gd name="T24" fmla="*/ 53 w 256"/>
                <a:gd name="T25" fmla="*/ 95 h 320"/>
                <a:gd name="T26" fmla="*/ 53 w 256"/>
                <a:gd name="T27" fmla="*/ 117 h 320"/>
                <a:gd name="T28" fmla="*/ 10 w 256"/>
                <a:gd name="T29" fmla="*/ 117 h 320"/>
                <a:gd name="T30" fmla="*/ 0 w 256"/>
                <a:gd name="T31" fmla="*/ 128 h 320"/>
                <a:gd name="T32" fmla="*/ 53 w 256"/>
                <a:gd name="T33" fmla="*/ 191 h 320"/>
                <a:gd name="T34" fmla="*/ 53 w 256"/>
                <a:gd name="T35" fmla="*/ 213 h 320"/>
                <a:gd name="T36" fmla="*/ 10 w 256"/>
                <a:gd name="T37" fmla="*/ 213 h 320"/>
                <a:gd name="T38" fmla="*/ 0 w 256"/>
                <a:gd name="T39" fmla="*/ 224 h 320"/>
                <a:gd name="T40" fmla="*/ 54 w 256"/>
                <a:gd name="T41" fmla="*/ 287 h 320"/>
                <a:gd name="T42" fmla="*/ 96 w 256"/>
                <a:gd name="T43" fmla="*/ 320 h 320"/>
                <a:gd name="T44" fmla="*/ 160 w 256"/>
                <a:gd name="T45" fmla="*/ 320 h 320"/>
                <a:gd name="T46" fmla="*/ 201 w 256"/>
                <a:gd name="T47" fmla="*/ 287 h 320"/>
                <a:gd name="T48" fmla="*/ 256 w 256"/>
                <a:gd name="T49" fmla="*/ 224 h 320"/>
                <a:gd name="T50" fmla="*/ 245 w 256"/>
                <a:gd name="T51" fmla="*/ 213 h 320"/>
                <a:gd name="T52" fmla="*/ 202 w 256"/>
                <a:gd name="T53" fmla="*/ 213 h 320"/>
                <a:gd name="T54" fmla="*/ 202 w 256"/>
                <a:gd name="T55" fmla="*/ 191 h 320"/>
                <a:gd name="T56" fmla="*/ 256 w 256"/>
                <a:gd name="T57" fmla="*/ 128 h 320"/>
                <a:gd name="T58" fmla="*/ 233 w 256"/>
                <a:gd name="T59" fmla="*/ 138 h 320"/>
                <a:gd name="T60" fmla="*/ 202 w 256"/>
                <a:gd name="T61" fmla="*/ 169 h 320"/>
                <a:gd name="T62" fmla="*/ 202 w 256"/>
                <a:gd name="T63" fmla="*/ 138 h 320"/>
                <a:gd name="T64" fmla="*/ 233 w 256"/>
                <a:gd name="T65" fmla="*/ 138 h 320"/>
                <a:gd name="T66" fmla="*/ 233 w 256"/>
                <a:gd name="T67" fmla="*/ 42 h 320"/>
                <a:gd name="T68" fmla="*/ 202 w 256"/>
                <a:gd name="T69" fmla="*/ 73 h 320"/>
                <a:gd name="T70" fmla="*/ 202 w 256"/>
                <a:gd name="T71" fmla="*/ 42 h 320"/>
                <a:gd name="T72" fmla="*/ 233 w 256"/>
                <a:gd name="T73" fmla="*/ 42 h 320"/>
                <a:gd name="T74" fmla="*/ 22 w 256"/>
                <a:gd name="T75" fmla="*/ 42 h 320"/>
                <a:gd name="T76" fmla="*/ 53 w 256"/>
                <a:gd name="T77" fmla="*/ 42 h 320"/>
                <a:gd name="T78" fmla="*/ 53 w 256"/>
                <a:gd name="T79" fmla="*/ 73 h 320"/>
                <a:gd name="T80" fmla="*/ 22 w 256"/>
                <a:gd name="T81" fmla="*/ 42 h 320"/>
                <a:gd name="T82" fmla="*/ 22 w 256"/>
                <a:gd name="T83" fmla="*/ 138 h 320"/>
                <a:gd name="T84" fmla="*/ 53 w 256"/>
                <a:gd name="T85" fmla="*/ 138 h 320"/>
                <a:gd name="T86" fmla="*/ 53 w 256"/>
                <a:gd name="T87" fmla="*/ 169 h 320"/>
                <a:gd name="T88" fmla="*/ 22 w 256"/>
                <a:gd name="T89" fmla="*/ 138 h 320"/>
                <a:gd name="T90" fmla="*/ 22 w 256"/>
                <a:gd name="T91" fmla="*/ 234 h 320"/>
                <a:gd name="T92" fmla="*/ 53 w 256"/>
                <a:gd name="T93" fmla="*/ 234 h 320"/>
                <a:gd name="T94" fmla="*/ 53 w 256"/>
                <a:gd name="T95" fmla="*/ 265 h 320"/>
                <a:gd name="T96" fmla="*/ 22 w 256"/>
                <a:gd name="T97" fmla="*/ 234 h 320"/>
                <a:gd name="T98" fmla="*/ 181 w 256"/>
                <a:gd name="T99" fmla="*/ 277 h 320"/>
                <a:gd name="T100" fmla="*/ 160 w 256"/>
                <a:gd name="T101" fmla="*/ 298 h 320"/>
                <a:gd name="T102" fmla="*/ 96 w 256"/>
                <a:gd name="T103" fmla="*/ 298 h 320"/>
                <a:gd name="T104" fmla="*/ 74 w 256"/>
                <a:gd name="T105" fmla="*/ 277 h 320"/>
                <a:gd name="T106" fmla="*/ 74 w 256"/>
                <a:gd name="T107" fmla="*/ 42 h 320"/>
                <a:gd name="T108" fmla="*/ 96 w 256"/>
                <a:gd name="T109" fmla="*/ 21 h 320"/>
                <a:gd name="T110" fmla="*/ 160 w 256"/>
                <a:gd name="T111" fmla="*/ 21 h 320"/>
                <a:gd name="T112" fmla="*/ 181 w 256"/>
                <a:gd name="T113" fmla="*/ 42 h 320"/>
                <a:gd name="T114" fmla="*/ 181 w 256"/>
                <a:gd name="T115" fmla="*/ 277 h 320"/>
                <a:gd name="T116" fmla="*/ 233 w 256"/>
                <a:gd name="T117" fmla="*/ 234 h 320"/>
                <a:gd name="T118" fmla="*/ 202 w 256"/>
                <a:gd name="T119" fmla="*/ 265 h 320"/>
                <a:gd name="T120" fmla="*/ 202 w 256"/>
                <a:gd name="T121" fmla="*/ 234 h 320"/>
                <a:gd name="T122" fmla="*/ 233 w 256"/>
                <a:gd name="T123"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256" y="128"/>
                  </a:moveTo>
                  <a:cubicBezTo>
                    <a:pt x="256" y="122"/>
                    <a:pt x="251" y="117"/>
                    <a:pt x="245" y="117"/>
                  </a:cubicBezTo>
                  <a:cubicBezTo>
                    <a:pt x="202" y="117"/>
                    <a:pt x="202" y="117"/>
                    <a:pt x="202" y="117"/>
                  </a:cubicBezTo>
                  <a:cubicBezTo>
                    <a:pt x="202" y="95"/>
                    <a:pt x="202" y="95"/>
                    <a:pt x="202" y="95"/>
                  </a:cubicBezTo>
                  <a:cubicBezTo>
                    <a:pt x="244" y="89"/>
                    <a:pt x="256" y="52"/>
                    <a:pt x="256" y="32"/>
                  </a:cubicBezTo>
                  <a:cubicBezTo>
                    <a:pt x="256" y="26"/>
                    <a:pt x="251" y="21"/>
                    <a:pt x="245" y="21"/>
                  </a:cubicBezTo>
                  <a:cubicBezTo>
                    <a:pt x="196" y="21"/>
                    <a:pt x="196" y="21"/>
                    <a:pt x="196" y="21"/>
                  </a:cubicBezTo>
                  <a:cubicBezTo>
                    <a:pt x="189" y="8"/>
                    <a:pt x="175" y="0"/>
                    <a:pt x="160" y="0"/>
                  </a:cubicBezTo>
                  <a:cubicBezTo>
                    <a:pt x="96" y="0"/>
                    <a:pt x="96" y="0"/>
                    <a:pt x="96" y="0"/>
                  </a:cubicBezTo>
                  <a:cubicBezTo>
                    <a:pt x="80" y="0"/>
                    <a:pt x="66" y="8"/>
                    <a:pt x="59" y="21"/>
                  </a:cubicBezTo>
                  <a:cubicBezTo>
                    <a:pt x="10" y="21"/>
                    <a:pt x="10" y="21"/>
                    <a:pt x="10" y="21"/>
                  </a:cubicBezTo>
                  <a:cubicBezTo>
                    <a:pt x="4" y="21"/>
                    <a:pt x="0" y="26"/>
                    <a:pt x="0" y="32"/>
                  </a:cubicBezTo>
                  <a:cubicBezTo>
                    <a:pt x="0" y="52"/>
                    <a:pt x="11" y="89"/>
                    <a:pt x="53" y="95"/>
                  </a:cubicBezTo>
                  <a:cubicBezTo>
                    <a:pt x="53" y="117"/>
                    <a:pt x="53" y="117"/>
                    <a:pt x="53" y="117"/>
                  </a:cubicBezTo>
                  <a:cubicBezTo>
                    <a:pt x="10" y="117"/>
                    <a:pt x="10" y="117"/>
                    <a:pt x="10" y="117"/>
                  </a:cubicBezTo>
                  <a:cubicBezTo>
                    <a:pt x="4" y="117"/>
                    <a:pt x="0" y="122"/>
                    <a:pt x="0" y="128"/>
                  </a:cubicBezTo>
                  <a:cubicBezTo>
                    <a:pt x="0" y="148"/>
                    <a:pt x="11" y="185"/>
                    <a:pt x="53" y="191"/>
                  </a:cubicBezTo>
                  <a:cubicBezTo>
                    <a:pt x="53" y="213"/>
                    <a:pt x="53" y="213"/>
                    <a:pt x="53" y="213"/>
                  </a:cubicBezTo>
                  <a:cubicBezTo>
                    <a:pt x="10" y="213"/>
                    <a:pt x="10" y="213"/>
                    <a:pt x="10" y="213"/>
                  </a:cubicBezTo>
                  <a:cubicBezTo>
                    <a:pt x="4" y="213"/>
                    <a:pt x="0" y="218"/>
                    <a:pt x="0" y="224"/>
                  </a:cubicBezTo>
                  <a:cubicBezTo>
                    <a:pt x="0" y="244"/>
                    <a:pt x="11" y="282"/>
                    <a:pt x="54" y="287"/>
                  </a:cubicBezTo>
                  <a:cubicBezTo>
                    <a:pt x="59" y="306"/>
                    <a:pt x="76" y="320"/>
                    <a:pt x="96" y="320"/>
                  </a:cubicBezTo>
                  <a:cubicBezTo>
                    <a:pt x="160" y="320"/>
                    <a:pt x="160" y="320"/>
                    <a:pt x="160" y="320"/>
                  </a:cubicBezTo>
                  <a:cubicBezTo>
                    <a:pt x="180" y="320"/>
                    <a:pt x="196" y="306"/>
                    <a:pt x="201" y="287"/>
                  </a:cubicBezTo>
                  <a:cubicBezTo>
                    <a:pt x="244" y="282"/>
                    <a:pt x="256" y="244"/>
                    <a:pt x="256" y="224"/>
                  </a:cubicBezTo>
                  <a:cubicBezTo>
                    <a:pt x="256" y="218"/>
                    <a:pt x="251" y="213"/>
                    <a:pt x="245" y="213"/>
                  </a:cubicBezTo>
                  <a:cubicBezTo>
                    <a:pt x="202" y="213"/>
                    <a:pt x="202" y="213"/>
                    <a:pt x="202" y="213"/>
                  </a:cubicBezTo>
                  <a:cubicBezTo>
                    <a:pt x="202" y="191"/>
                    <a:pt x="202" y="191"/>
                    <a:pt x="202" y="191"/>
                  </a:cubicBezTo>
                  <a:cubicBezTo>
                    <a:pt x="244" y="185"/>
                    <a:pt x="256" y="148"/>
                    <a:pt x="256" y="128"/>
                  </a:cubicBezTo>
                  <a:close/>
                  <a:moveTo>
                    <a:pt x="233" y="138"/>
                  </a:moveTo>
                  <a:cubicBezTo>
                    <a:pt x="230" y="149"/>
                    <a:pt x="223" y="165"/>
                    <a:pt x="202" y="169"/>
                  </a:cubicBezTo>
                  <a:cubicBezTo>
                    <a:pt x="202" y="138"/>
                    <a:pt x="202" y="138"/>
                    <a:pt x="202" y="138"/>
                  </a:cubicBezTo>
                  <a:lnTo>
                    <a:pt x="233" y="138"/>
                  </a:lnTo>
                  <a:close/>
                  <a:moveTo>
                    <a:pt x="233" y="42"/>
                  </a:moveTo>
                  <a:cubicBezTo>
                    <a:pt x="230" y="53"/>
                    <a:pt x="223" y="69"/>
                    <a:pt x="202" y="73"/>
                  </a:cubicBezTo>
                  <a:cubicBezTo>
                    <a:pt x="202" y="42"/>
                    <a:pt x="202" y="42"/>
                    <a:pt x="202" y="42"/>
                  </a:cubicBezTo>
                  <a:lnTo>
                    <a:pt x="233" y="42"/>
                  </a:lnTo>
                  <a:close/>
                  <a:moveTo>
                    <a:pt x="22" y="42"/>
                  </a:moveTo>
                  <a:cubicBezTo>
                    <a:pt x="53" y="42"/>
                    <a:pt x="53" y="42"/>
                    <a:pt x="53" y="42"/>
                  </a:cubicBezTo>
                  <a:cubicBezTo>
                    <a:pt x="53" y="73"/>
                    <a:pt x="53" y="73"/>
                    <a:pt x="53" y="73"/>
                  </a:cubicBezTo>
                  <a:cubicBezTo>
                    <a:pt x="32" y="69"/>
                    <a:pt x="25" y="53"/>
                    <a:pt x="22" y="42"/>
                  </a:cubicBezTo>
                  <a:close/>
                  <a:moveTo>
                    <a:pt x="22" y="138"/>
                  </a:moveTo>
                  <a:cubicBezTo>
                    <a:pt x="53" y="138"/>
                    <a:pt x="53" y="138"/>
                    <a:pt x="53" y="138"/>
                  </a:cubicBezTo>
                  <a:cubicBezTo>
                    <a:pt x="53" y="169"/>
                    <a:pt x="53" y="169"/>
                    <a:pt x="53" y="169"/>
                  </a:cubicBezTo>
                  <a:cubicBezTo>
                    <a:pt x="32" y="165"/>
                    <a:pt x="25" y="149"/>
                    <a:pt x="22" y="138"/>
                  </a:cubicBezTo>
                  <a:close/>
                  <a:moveTo>
                    <a:pt x="22" y="234"/>
                  </a:moveTo>
                  <a:cubicBezTo>
                    <a:pt x="53" y="234"/>
                    <a:pt x="53" y="234"/>
                    <a:pt x="53" y="234"/>
                  </a:cubicBezTo>
                  <a:cubicBezTo>
                    <a:pt x="53" y="265"/>
                    <a:pt x="53" y="265"/>
                    <a:pt x="53" y="265"/>
                  </a:cubicBezTo>
                  <a:cubicBezTo>
                    <a:pt x="32" y="261"/>
                    <a:pt x="25" y="245"/>
                    <a:pt x="22" y="234"/>
                  </a:cubicBezTo>
                  <a:close/>
                  <a:moveTo>
                    <a:pt x="181" y="277"/>
                  </a:moveTo>
                  <a:cubicBezTo>
                    <a:pt x="181" y="289"/>
                    <a:pt x="171" y="298"/>
                    <a:pt x="160" y="298"/>
                  </a:cubicBezTo>
                  <a:cubicBezTo>
                    <a:pt x="96" y="298"/>
                    <a:pt x="96" y="298"/>
                    <a:pt x="96" y="298"/>
                  </a:cubicBezTo>
                  <a:cubicBezTo>
                    <a:pt x="84" y="298"/>
                    <a:pt x="74" y="289"/>
                    <a:pt x="74" y="277"/>
                  </a:cubicBezTo>
                  <a:cubicBezTo>
                    <a:pt x="74" y="42"/>
                    <a:pt x="74" y="42"/>
                    <a:pt x="74" y="42"/>
                  </a:cubicBezTo>
                  <a:cubicBezTo>
                    <a:pt x="74" y="31"/>
                    <a:pt x="84" y="21"/>
                    <a:pt x="96" y="21"/>
                  </a:cubicBezTo>
                  <a:cubicBezTo>
                    <a:pt x="160" y="21"/>
                    <a:pt x="160" y="21"/>
                    <a:pt x="160" y="21"/>
                  </a:cubicBezTo>
                  <a:cubicBezTo>
                    <a:pt x="171" y="21"/>
                    <a:pt x="181" y="31"/>
                    <a:pt x="181" y="42"/>
                  </a:cubicBezTo>
                  <a:lnTo>
                    <a:pt x="181" y="277"/>
                  </a:lnTo>
                  <a:close/>
                  <a:moveTo>
                    <a:pt x="233" y="234"/>
                  </a:moveTo>
                  <a:cubicBezTo>
                    <a:pt x="230" y="245"/>
                    <a:pt x="223" y="261"/>
                    <a:pt x="202" y="265"/>
                  </a:cubicBezTo>
                  <a:cubicBezTo>
                    <a:pt x="202" y="234"/>
                    <a:pt x="202" y="234"/>
                    <a:pt x="202" y="234"/>
                  </a:cubicBezTo>
                  <a:lnTo>
                    <a:pt x="233" y="2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8" name="Group 524">
            <a:extLst>
              <a:ext uri="{FF2B5EF4-FFF2-40B4-BE49-F238E27FC236}">
                <a16:creationId xmlns:a16="http://schemas.microsoft.com/office/drawing/2014/main" id="{06B95D25-3F24-47A9-A894-FDFF276E992D}"/>
              </a:ext>
            </a:extLst>
          </p:cNvPr>
          <p:cNvGrpSpPr>
            <a:grpSpLocks noChangeAspect="1"/>
          </p:cNvGrpSpPr>
          <p:nvPr/>
        </p:nvGrpSpPr>
        <p:grpSpPr bwMode="auto">
          <a:xfrm>
            <a:off x="10049960" y="1698655"/>
            <a:ext cx="370763" cy="369676"/>
            <a:chOff x="5409" y="1864"/>
            <a:chExt cx="341" cy="340"/>
          </a:xfrm>
          <a:solidFill>
            <a:schemeClr val="accent6"/>
          </a:solidFill>
        </p:grpSpPr>
        <p:sp>
          <p:nvSpPr>
            <p:cNvPr id="399" name="Freeform 525">
              <a:extLst>
                <a:ext uri="{FF2B5EF4-FFF2-40B4-BE49-F238E27FC236}">
                  <a16:creationId xmlns:a16="http://schemas.microsoft.com/office/drawing/2014/main" id="{3CC505B9-61FB-4C31-B93F-82F74D6276C0}"/>
                </a:ext>
              </a:extLst>
            </p:cNvPr>
            <p:cNvSpPr>
              <a:spLocks/>
            </p:cNvSpPr>
            <p:nvPr/>
          </p:nvSpPr>
          <p:spPr bwMode="auto">
            <a:xfrm>
              <a:off x="5509" y="1956"/>
              <a:ext cx="21" cy="20"/>
            </a:xfrm>
            <a:custGeom>
              <a:avLst/>
              <a:gdLst>
                <a:gd name="T0" fmla="*/ 31 w 31"/>
                <a:gd name="T1" fmla="*/ 31 h 31"/>
                <a:gd name="T2" fmla="*/ 31 w 31"/>
                <a:gd name="T3" fmla="*/ 0 h 31"/>
                <a:gd name="T4" fmla="*/ 0 w 31"/>
                <a:gd name="T5" fmla="*/ 0 h 31"/>
                <a:gd name="T6" fmla="*/ 31 w 31"/>
                <a:gd name="T7" fmla="*/ 31 h 31"/>
              </a:gdLst>
              <a:ahLst/>
              <a:cxnLst>
                <a:cxn ang="0">
                  <a:pos x="T0" y="T1"/>
                </a:cxn>
                <a:cxn ang="0">
                  <a:pos x="T2" y="T3"/>
                </a:cxn>
                <a:cxn ang="0">
                  <a:pos x="T4" y="T5"/>
                </a:cxn>
                <a:cxn ang="0">
                  <a:pos x="T6" y="T7"/>
                </a:cxn>
              </a:cxnLst>
              <a:rect l="0" t="0" r="r" b="b"/>
              <a:pathLst>
                <a:path w="31" h="31">
                  <a:moveTo>
                    <a:pt x="31" y="31"/>
                  </a:moveTo>
                  <a:cubicBezTo>
                    <a:pt x="31" y="0"/>
                    <a:pt x="31" y="0"/>
                    <a:pt x="31" y="0"/>
                  </a:cubicBezTo>
                  <a:cubicBezTo>
                    <a:pt x="0" y="0"/>
                    <a:pt x="0" y="0"/>
                    <a:pt x="0" y="0"/>
                  </a:cubicBezTo>
                  <a:cubicBezTo>
                    <a:pt x="3" y="11"/>
                    <a:pt x="10" y="27"/>
                    <a:pt x="31" y="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0" name="Oval 526">
              <a:extLst>
                <a:ext uri="{FF2B5EF4-FFF2-40B4-BE49-F238E27FC236}">
                  <a16:creationId xmlns:a16="http://schemas.microsoft.com/office/drawing/2014/main" id="{ABF0AB2C-253B-41D4-A9D5-C54E4BC2780D}"/>
                </a:ext>
              </a:extLst>
            </p:cNvPr>
            <p:cNvSpPr>
              <a:spLocks noChangeArrowheads="1"/>
            </p:cNvSpPr>
            <p:nvPr/>
          </p:nvSpPr>
          <p:spPr bwMode="auto">
            <a:xfrm>
              <a:off x="5572" y="202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1" name="Freeform 527">
              <a:extLst>
                <a:ext uri="{FF2B5EF4-FFF2-40B4-BE49-F238E27FC236}">
                  <a16:creationId xmlns:a16="http://schemas.microsoft.com/office/drawing/2014/main" id="{D4B9EDC5-B7F4-4103-B16F-06105279BF8B}"/>
                </a:ext>
              </a:extLst>
            </p:cNvPr>
            <p:cNvSpPr>
              <a:spLocks/>
            </p:cNvSpPr>
            <p:nvPr/>
          </p:nvSpPr>
          <p:spPr bwMode="auto">
            <a:xfrm>
              <a:off x="5629" y="1956"/>
              <a:ext cx="20" cy="20"/>
            </a:xfrm>
            <a:custGeom>
              <a:avLst/>
              <a:gdLst>
                <a:gd name="T0" fmla="*/ 31 w 31"/>
                <a:gd name="T1" fmla="*/ 0 h 31"/>
                <a:gd name="T2" fmla="*/ 0 w 31"/>
                <a:gd name="T3" fmla="*/ 0 h 31"/>
                <a:gd name="T4" fmla="*/ 0 w 31"/>
                <a:gd name="T5" fmla="*/ 31 h 31"/>
                <a:gd name="T6" fmla="*/ 31 w 31"/>
                <a:gd name="T7" fmla="*/ 0 h 31"/>
              </a:gdLst>
              <a:ahLst/>
              <a:cxnLst>
                <a:cxn ang="0">
                  <a:pos x="T0" y="T1"/>
                </a:cxn>
                <a:cxn ang="0">
                  <a:pos x="T2" y="T3"/>
                </a:cxn>
                <a:cxn ang="0">
                  <a:pos x="T4" y="T5"/>
                </a:cxn>
                <a:cxn ang="0">
                  <a:pos x="T6" y="T7"/>
                </a:cxn>
              </a:cxnLst>
              <a:rect l="0" t="0" r="r" b="b"/>
              <a:pathLst>
                <a:path w="31" h="31">
                  <a:moveTo>
                    <a:pt x="31" y="0"/>
                  </a:moveTo>
                  <a:cubicBezTo>
                    <a:pt x="0" y="0"/>
                    <a:pt x="0" y="0"/>
                    <a:pt x="0" y="0"/>
                  </a:cubicBezTo>
                  <a:cubicBezTo>
                    <a:pt x="0" y="31"/>
                    <a:pt x="0" y="31"/>
                    <a:pt x="0" y="31"/>
                  </a:cubicBezTo>
                  <a:cubicBezTo>
                    <a:pt x="21" y="27"/>
                    <a:pt x="28" y="11"/>
                    <a:pt x="3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2" name="Oval 528">
              <a:extLst>
                <a:ext uri="{FF2B5EF4-FFF2-40B4-BE49-F238E27FC236}">
                  <a16:creationId xmlns:a16="http://schemas.microsoft.com/office/drawing/2014/main" id="{885939A6-1329-4357-8F29-A9EBFDF9A6E2}"/>
                </a:ext>
              </a:extLst>
            </p:cNvPr>
            <p:cNvSpPr>
              <a:spLocks noChangeArrowheads="1"/>
            </p:cNvSpPr>
            <p:nvPr/>
          </p:nvSpPr>
          <p:spPr bwMode="auto">
            <a:xfrm>
              <a:off x="5572" y="2083"/>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3" name="Freeform 529">
              <a:extLst>
                <a:ext uri="{FF2B5EF4-FFF2-40B4-BE49-F238E27FC236}">
                  <a16:creationId xmlns:a16="http://schemas.microsoft.com/office/drawing/2014/main" id="{2B973C3B-D10F-44EB-A1F6-DB3C8A10816F}"/>
                </a:ext>
              </a:extLst>
            </p:cNvPr>
            <p:cNvSpPr>
              <a:spLocks/>
            </p:cNvSpPr>
            <p:nvPr/>
          </p:nvSpPr>
          <p:spPr bwMode="auto">
            <a:xfrm>
              <a:off x="5509" y="2083"/>
              <a:ext cx="21" cy="21"/>
            </a:xfrm>
            <a:custGeom>
              <a:avLst/>
              <a:gdLst>
                <a:gd name="T0" fmla="*/ 31 w 31"/>
                <a:gd name="T1" fmla="*/ 31 h 31"/>
                <a:gd name="T2" fmla="*/ 31 w 31"/>
                <a:gd name="T3" fmla="*/ 0 h 31"/>
                <a:gd name="T4" fmla="*/ 0 w 31"/>
                <a:gd name="T5" fmla="*/ 0 h 31"/>
                <a:gd name="T6" fmla="*/ 31 w 31"/>
                <a:gd name="T7" fmla="*/ 31 h 31"/>
              </a:gdLst>
              <a:ahLst/>
              <a:cxnLst>
                <a:cxn ang="0">
                  <a:pos x="T0" y="T1"/>
                </a:cxn>
                <a:cxn ang="0">
                  <a:pos x="T2" y="T3"/>
                </a:cxn>
                <a:cxn ang="0">
                  <a:pos x="T4" y="T5"/>
                </a:cxn>
                <a:cxn ang="0">
                  <a:pos x="T6" y="T7"/>
                </a:cxn>
              </a:cxnLst>
              <a:rect l="0" t="0" r="r" b="b"/>
              <a:pathLst>
                <a:path w="31" h="31">
                  <a:moveTo>
                    <a:pt x="31" y="31"/>
                  </a:moveTo>
                  <a:cubicBezTo>
                    <a:pt x="31" y="0"/>
                    <a:pt x="31" y="0"/>
                    <a:pt x="31" y="0"/>
                  </a:cubicBezTo>
                  <a:cubicBezTo>
                    <a:pt x="0" y="0"/>
                    <a:pt x="0" y="0"/>
                    <a:pt x="0" y="0"/>
                  </a:cubicBezTo>
                  <a:cubicBezTo>
                    <a:pt x="3" y="11"/>
                    <a:pt x="10" y="27"/>
                    <a:pt x="31" y="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4" name="Freeform 530">
              <a:extLst>
                <a:ext uri="{FF2B5EF4-FFF2-40B4-BE49-F238E27FC236}">
                  <a16:creationId xmlns:a16="http://schemas.microsoft.com/office/drawing/2014/main" id="{79A62E7F-0119-4339-9EBB-E1C703661BB8}"/>
                </a:ext>
              </a:extLst>
            </p:cNvPr>
            <p:cNvSpPr>
              <a:spLocks/>
            </p:cNvSpPr>
            <p:nvPr/>
          </p:nvSpPr>
          <p:spPr bwMode="auto">
            <a:xfrm>
              <a:off x="5509" y="2019"/>
              <a:ext cx="21" cy="21"/>
            </a:xfrm>
            <a:custGeom>
              <a:avLst/>
              <a:gdLst>
                <a:gd name="T0" fmla="*/ 31 w 31"/>
                <a:gd name="T1" fmla="*/ 31 h 31"/>
                <a:gd name="T2" fmla="*/ 31 w 31"/>
                <a:gd name="T3" fmla="*/ 0 h 31"/>
                <a:gd name="T4" fmla="*/ 0 w 31"/>
                <a:gd name="T5" fmla="*/ 0 h 31"/>
                <a:gd name="T6" fmla="*/ 31 w 31"/>
                <a:gd name="T7" fmla="*/ 31 h 31"/>
              </a:gdLst>
              <a:ahLst/>
              <a:cxnLst>
                <a:cxn ang="0">
                  <a:pos x="T0" y="T1"/>
                </a:cxn>
                <a:cxn ang="0">
                  <a:pos x="T2" y="T3"/>
                </a:cxn>
                <a:cxn ang="0">
                  <a:pos x="T4" y="T5"/>
                </a:cxn>
                <a:cxn ang="0">
                  <a:pos x="T6" y="T7"/>
                </a:cxn>
              </a:cxnLst>
              <a:rect l="0" t="0" r="r" b="b"/>
              <a:pathLst>
                <a:path w="31" h="31">
                  <a:moveTo>
                    <a:pt x="31" y="31"/>
                  </a:moveTo>
                  <a:cubicBezTo>
                    <a:pt x="31" y="0"/>
                    <a:pt x="31" y="0"/>
                    <a:pt x="31" y="0"/>
                  </a:cubicBezTo>
                  <a:cubicBezTo>
                    <a:pt x="0" y="0"/>
                    <a:pt x="0" y="0"/>
                    <a:pt x="0" y="0"/>
                  </a:cubicBezTo>
                  <a:cubicBezTo>
                    <a:pt x="3" y="11"/>
                    <a:pt x="10" y="27"/>
                    <a:pt x="31" y="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5" name="Freeform 531">
              <a:extLst>
                <a:ext uri="{FF2B5EF4-FFF2-40B4-BE49-F238E27FC236}">
                  <a16:creationId xmlns:a16="http://schemas.microsoft.com/office/drawing/2014/main" id="{C9EA6BDC-427E-451C-AA0D-3258C6929407}"/>
                </a:ext>
              </a:extLst>
            </p:cNvPr>
            <p:cNvSpPr>
              <a:spLocks/>
            </p:cNvSpPr>
            <p:nvPr/>
          </p:nvSpPr>
          <p:spPr bwMode="auto">
            <a:xfrm>
              <a:off x="5629" y="2083"/>
              <a:ext cx="20" cy="21"/>
            </a:xfrm>
            <a:custGeom>
              <a:avLst/>
              <a:gdLst>
                <a:gd name="T0" fmla="*/ 0 w 31"/>
                <a:gd name="T1" fmla="*/ 31 h 31"/>
                <a:gd name="T2" fmla="*/ 31 w 31"/>
                <a:gd name="T3" fmla="*/ 0 h 31"/>
                <a:gd name="T4" fmla="*/ 0 w 31"/>
                <a:gd name="T5" fmla="*/ 0 h 31"/>
                <a:gd name="T6" fmla="*/ 0 w 31"/>
                <a:gd name="T7" fmla="*/ 31 h 31"/>
              </a:gdLst>
              <a:ahLst/>
              <a:cxnLst>
                <a:cxn ang="0">
                  <a:pos x="T0" y="T1"/>
                </a:cxn>
                <a:cxn ang="0">
                  <a:pos x="T2" y="T3"/>
                </a:cxn>
                <a:cxn ang="0">
                  <a:pos x="T4" y="T5"/>
                </a:cxn>
                <a:cxn ang="0">
                  <a:pos x="T6" y="T7"/>
                </a:cxn>
              </a:cxnLst>
              <a:rect l="0" t="0" r="r" b="b"/>
              <a:pathLst>
                <a:path w="31" h="31">
                  <a:moveTo>
                    <a:pt x="0" y="31"/>
                  </a:moveTo>
                  <a:cubicBezTo>
                    <a:pt x="21" y="27"/>
                    <a:pt x="28" y="11"/>
                    <a:pt x="31" y="0"/>
                  </a:cubicBezTo>
                  <a:cubicBezTo>
                    <a:pt x="0" y="0"/>
                    <a:pt x="0" y="0"/>
                    <a:pt x="0" y="0"/>
                  </a:cubicBezTo>
                  <a:lnTo>
                    <a:pt x="0" y="3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6" name="Freeform 532">
              <a:extLst>
                <a:ext uri="{FF2B5EF4-FFF2-40B4-BE49-F238E27FC236}">
                  <a16:creationId xmlns:a16="http://schemas.microsoft.com/office/drawing/2014/main" id="{0BA9BF1D-9A54-452B-95FE-08977B686138}"/>
                </a:ext>
              </a:extLst>
            </p:cNvPr>
            <p:cNvSpPr>
              <a:spLocks noEditPoints="1"/>
            </p:cNvSpPr>
            <p:nvPr/>
          </p:nvSpPr>
          <p:spPr bwMode="auto">
            <a:xfrm>
              <a:off x="5409" y="1864"/>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213 h 512"/>
                <a:gd name="T12" fmla="*/ 384 w 512"/>
                <a:gd name="T13" fmla="*/ 224 h 512"/>
                <a:gd name="T14" fmla="*/ 330 w 512"/>
                <a:gd name="T15" fmla="*/ 287 h 512"/>
                <a:gd name="T16" fmla="*/ 330 w 512"/>
                <a:gd name="T17" fmla="*/ 309 h 512"/>
                <a:gd name="T18" fmla="*/ 373 w 512"/>
                <a:gd name="T19" fmla="*/ 309 h 512"/>
                <a:gd name="T20" fmla="*/ 384 w 512"/>
                <a:gd name="T21" fmla="*/ 320 h 512"/>
                <a:gd name="T22" fmla="*/ 329 w 512"/>
                <a:gd name="T23" fmla="*/ 383 h 512"/>
                <a:gd name="T24" fmla="*/ 288 w 512"/>
                <a:gd name="T25" fmla="*/ 416 h 512"/>
                <a:gd name="T26" fmla="*/ 224 w 512"/>
                <a:gd name="T27" fmla="*/ 416 h 512"/>
                <a:gd name="T28" fmla="*/ 182 w 512"/>
                <a:gd name="T29" fmla="*/ 383 h 512"/>
                <a:gd name="T30" fmla="*/ 128 w 512"/>
                <a:gd name="T31" fmla="*/ 320 h 512"/>
                <a:gd name="T32" fmla="*/ 138 w 512"/>
                <a:gd name="T33" fmla="*/ 309 h 512"/>
                <a:gd name="T34" fmla="*/ 181 w 512"/>
                <a:gd name="T35" fmla="*/ 309 h 512"/>
                <a:gd name="T36" fmla="*/ 181 w 512"/>
                <a:gd name="T37" fmla="*/ 287 h 512"/>
                <a:gd name="T38" fmla="*/ 128 w 512"/>
                <a:gd name="T39" fmla="*/ 224 h 512"/>
                <a:gd name="T40" fmla="*/ 138 w 512"/>
                <a:gd name="T41" fmla="*/ 213 h 512"/>
                <a:gd name="T42" fmla="*/ 181 w 512"/>
                <a:gd name="T43" fmla="*/ 213 h 512"/>
                <a:gd name="T44" fmla="*/ 181 w 512"/>
                <a:gd name="T45" fmla="*/ 191 h 512"/>
                <a:gd name="T46" fmla="*/ 128 w 512"/>
                <a:gd name="T47" fmla="*/ 128 h 512"/>
                <a:gd name="T48" fmla="*/ 138 w 512"/>
                <a:gd name="T49" fmla="*/ 117 h 512"/>
                <a:gd name="T50" fmla="*/ 187 w 512"/>
                <a:gd name="T51" fmla="*/ 117 h 512"/>
                <a:gd name="T52" fmla="*/ 224 w 512"/>
                <a:gd name="T53" fmla="*/ 96 h 512"/>
                <a:gd name="T54" fmla="*/ 288 w 512"/>
                <a:gd name="T55" fmla="*/ 96 h 512"/>
                <a:gd name="T56" fmla="*/ 324 w 512"/>
                <a:gd name="T57" fmla="*/ 117 h 512"/>
                <a:gd name="T58" fmla="*/ 373 w 512"/>
                <a:gd name="T59" fmla="*/ 117 h 512"/>
                <a:gd name="T60" fmla="*/ 384 w 512"/>
                <a:gd name="T61" fmla="*/ 128 h 512"/>
                <a:gd name="T62" fmla="*/ 330 w 512"/>
                <a:gd name="T63" fmla="*/ 191 h 512"/>
                <a:gd name="T64" fmla="*/ 330 w 512"/>
                <a:gd name="T65" fmla="*/ 213 h 512"/>
                <a:gd name="T66" fmla="*/ 373 w 512"/>
                <a:gd name="T6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13"/>
                  </a:moveTo>
                  <a:cubicBezTo>
                    <a:pt x="379" y="213"/>
                    <a:pt x="384" y="218"/>
                    <a:pt x="384" y="224"/>
                  </a:cubicBezTo>
                  <a:cubicBezTo>
                    <a:pt x="384" y="244"/>
                    <a:pt x="372" y="281"/>
                    <a:pt x="330" y="287"/>
                  </a:cubicBezTo>
                  <a:cubicBezTo>
                    <a:pt x="330" y="309"/>
                    <a:pt x="330" y="309"/>
                    <a:pt x="330" y="309"/>
                  </a:cubicBezTo>
                  <a:cubicBezTo>
                    <a:pt x="373" y="309"/>
                    <a:pt x="373" y="309"/>
                    <a:pt x="373" y="309"/>
                  </a:cubicBezTo>
                  <a:cubicBezTo>
                    <a:pt x="379" y="309"/>
                    <a:pt x="384" y="314"/>
                    <a:pt x="384" y="320"/>
                  </a:cubicBezTo>
                  <a:cubicBezTo>
                    <a:pt x="384" y="340"/>
                    <a:pt x="372" y="378"/>
                    <a:pt x="329" y="383"/>
                  </a:cubicBezTo>
                  <a:cubicBezTo>
                    <a:pt x="324" y="402"/>
                    <a:pt x="308" y="416"/>
                    <a:pt x="288" y="416"/>
                  </a:cubicBezTo>
                  <a:cubicBezTo>
                    <a:pt x="224" y="416"/>
                    <a:pt x="224" y="416"/>
                    <a:pt x="224" y="416"/>
                  </a:cubicBezTo>
                  <a:cubicBezTo>
                    <a:pt x="204" y="416"/>
                    <a:pt x="187" y="402"/>
                    <a:pt x="182" y="383"/>
                  </a:cubicBezTo>
                  <a:cubicBezTo>
                    <a:pt x="139" y="378"/>
                    <a:pt x="128" y="340"/>
                    <a:pt x="128" y="320"/>
                  </a:cubicBezTo>
                  <a:cubicBezTo>
                    <a:pt x="128" y="314"/>
                    <a:pt x="132" y="309"/>
                    <a:pt x="138" y="309"/>
                  </a:cubicBezTo>
                  <a:cubicBezTo>
                    <a:pt x="181" y="309"/>
                    <a:pt x="181" y="309"/>
                    <a:pt x="181" y="309"/>
                  </a:cubicBezTo>
                  <a:cubicBezTo>
                    <a:pt x="181" y="287"/>
                    <a:pt x="181" y="287"/>
                    <a:pt x="181" y="287"/>
                  </a:cubicBezTo>
                  <a:cubicBezTo>
                    <a:pt x="139" y="281"/>
                    <a:pt x="128" y="244"/>
                    <a:pt x="128" y="224"/>
                  </a:cubicBezTo>
                  <a:cubicBezTo>
                    <a:pt x="128" y="218"/>
                    <a:pt x="132" y="213"/>
                    <a:pt x="138" y="213"/>
                  </a:cubicBezTo>
                  <a:cubicBezTo>
                    <a:pt x="181" y="213"/>
                    <a:pt x="181" y="213"/>
                    <a:pt x="181" y="213"/>
                  </a:cubicBezTo>
                  <a:cubicBezTo>
                    <a:pt x="181" y="191"/>
                    <a:pt x="181" y="191"/>
                    <a:pt x="181" y="191"/>
                  </a:cubicBezTo>
                  <a:cubicBezTo>
                    <a:pt x="139" y="185"/>
                    <a:pt x="128" y="148"/>
                    <a:pt x="128" y="128"/>
                  </a:cubicBezTo>
                  <a:cubicBezTo>
                    <a:pt x="128" y="122"/>
                    <a:pt x="132" y="117"/>
                    <a:pt x="138" y="117"/>
                  </a:cubicBezTo>
                  <a:cubicBezTo>
                    <a:pt x="187" y="117"/>
                    <a:pt x="187" y="117"/>
                    <a:pt x="187" y="117"/>
                  </a:cubicBezTo>
                  <a:cubicBezTo>
                    <a:pt x="194" y="104"/>
                    <a:pt x="208" y="96"/>
                    <a:pt x="224" y="96"/>
                  </a:cubicBezTo>
                  <a:cubicBezTo>
                    <a:pt x="288" y="96"/>
                    <a:pt x="288" y="96"/>
                    <a:pt x="288" y="96"/>
                  </a:cubicBezTo>
                  <a:cubicBezTo>
                    <a:pt x="303" y="96"/>
                    <a:pt x="317" y="104"/>
                    <a:pt x="324" y="117"/>
                  </a:cubicBezTo>
                  <a:cubicBezTo>
                    <a:pt x="373" y="117"/>
                    <a:pt x="373" y="117"/>
                    <a:pt x="373" y="117"/>
                  </a:cubicBezTo>
                  <a:cubicBezTo>
                    <a:pt x="379" y="117"/>
                    <a:pt x="384" y="122"/>
                    <a:pt x="384" y="128"/>
                  </a:cubicBezTo>
                  <a:cubicBezTo>
                    <a:pt x="384" y="148"/>
                    <a:pt x="372" y="185"/>
                    <a:pt x="330" y="191"/>
                  </a:cubicBezTo>
                  <a:cubicBezTo>
                    <a:pt x="330" y="213"/>
                    <a:pt x="330" y="213"/>
                    <a:pt x="330" y="213"/>
                  </a:cubicBezTo>
                  <a:lnTo>
                    <a:pt x="373"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7" name="Freeform 533">
              <a:extLst>
                <a:ext uri="{FF2B5EF4-FFF2-40B4-BE49-F238E27FC236}">
                  <a16:creationId xmlns:a16="http://schemas.microsoft.com/office/drawing/2014/main" id="{6B435EC9-8367-4717-949D-0EE7E5FA42B7}"/>
                </a:ext>
              </a:extLst>
            </p:cNvPr>
            <p:cNvSpPr>
              <a:spLocks noEditPoints="1"/>
            </p:cNvSpPr>
            <p:nvPr/>
          </p:nvSpPr>
          <p:spPr bwMode="auto">
            <a:xfrm>
              <a:off x="5544" y="1942"/>
              <a:ext cx="71" cy="184"/>
            </a:xfrm>
            <a:custGeom>
              <a:avLst/>
              <a:gdLst>
                <a:gd name="T0" fmla="*/ 86 w 107"/>
                <a:gd name="T1" fmla="*/ 0 h 277"/>
                <a:gd name="T2" fmla="*/ 22 w 107"/>
                <a:gd name="T3" fmla="*/ 0 h 277"/>
                <a:gd name="T4" fmla="*/ 0 w 107"/>
                <a:gd name="T5" fmla="*/ 21 h 277"/>
                <a:gd name="T6" fmla="*/ 0 w 107"/>
                <a:gd name="T7" fmla="*/ 256 h 277"/>
                <a:gd name="T8" fmla="*/ 22 w 107"/>
                <a:gd name="T9" fmla="*/ 277 h 277"/>
                <a:gd name="T10" fmla="*/ 86 w 107"/>
                <a:gd name="T11" fmla="*/ 277 h 277"/>
                <a:gd name="T12" fmla="*/ 107 w 107"/>
                <a:gd name="T13" fmla="*/ 256 h 277"/>
                <a:gd name="T14" fmla="*/ 107 w 107"/>
                <a:gd name="T15" fmla="*/ 21 h 277"/>
                <a:gd name="T16" fmla="*/ 86 w 107"/>
                <a:gd name="T17" fmla="*/ 0 h 277"/>
                <a:gd name="T18" fmla="*/ 54 w 107"/>
                <a:gd name="T19" fmla="*/ 256 h 277"/>
                <a:gd name="T20" fmla="*/ 22 w 107"/>
                <a:gd name="T21" fmla="*/ 224 h 277"/>
                <a:gd name="T22" fmla="*/ 54 w 107"/>
                <a:gd name="T23" fmla="*/ 192 h 277"/>
                <a:gd name="T24" fmla="*/ 86 w 107"/>
                <a:gd name="T25" fmla="*/ 224 h 277"/>
                <a:gd name="T26" fmla="*/ 54 w 107"/>
                <a:gd name="T27" fmla="*/ 256 h 277"/>
                <a:gd name="T28" fmla="*/ 54 w 107"/>
                <a:gd name="T29" fmla="*/ 171 h 277"/>
                <a:gd name="T30" fmla="*/ 22 w 107"/>
                <a:gd name="T31" fmla="*/ 139 h 277"/>
                <a:gd name="T32" fmla="*/ 54 w 107"/>
                <a:gd name="T33" fmla="*/ 107 h 277"/>
                <a:gd name="T34" fmla="*/ 86 w 107"/>
                <a:gd name="T35" fmla="*/ 139 h 277"/>
                <a:gd name="T36" fmla="*/ 54 w 107"/>
                <a:gd name="T37" fmla="*/ 171 h 277"/>
                <a:gd name="T38" fmla="*/ 54 w 107"/>
                <a:gd name="T39" fmla="*/ 85 h 277"/>
                <a:gd name="T40" fmla="*/ 22 w 107"/>
                <a:gd name="T41" fmla="*/ 53 h 277"/>
                <a:gd name="T42" fmla="*/ 54 w 107"/>
                <a:gd name="T43" fmla="*/ 21 h 277"/>
                <a:gd name="T44" fmla="*/ 86 w 107"/>
                <a:gd name="T45" fmla="*/ 53 h 277"/>
                <a:gd name="T46" fmla="*/ 54 w 107"/>
                <a:gd name="T47"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277">
                  <a:moveTo>
                    <a:pt x="86" y="0"/>
                  </a:moveTo>
                  <a:cubicBezTo>
                    <a:pt x="22" y="0"/>
                    <a:pt x="22" y="0"/>
                    <a:pt x="22" y="0"/>
                  </a:cubicBezTo>
                  <a:cubicBezTo>
                    <a:pt x="10" y="0"/>
                    <a:pt x="0" y="10"/>
                    <a:pt x="0" y="21"/>
                  </a:cubicBezTo>
                  <a:cubicBezTo>
                    <a:pt x="0" y="256"/>
                    <a:pt x="0" y="256"/>
                    <a:pt x="0" y="256"/>
                  </a:cubicBezTo>
                  <a:cubicBezTo>
                    <a:pt x="0" y="268"/>
                    <a:pt x="10" y="277"/>
                    <a:pt x="22" y="277"/>
                  </a:cubicBezTo>
                  <a:cubicBezTo>
                    <a:pt x="86" y="277"/>
                    <a:pt x="86" y="277"/>
                    <a:pt x="86" y="277"/>
                  </a:cubicBezTo>
                  <a:cubicBezTo>
                    <a:pt x="97" y="277"/>
                    <a:pt x="107" y="268"/>
                    <a:pt x="107" y="256"/>
                  </a:cubicBezTo>
                  <a:cubicBezTo>
                    <a:pt x="107" y="21"/>
                    <a:pt x="107" y="21"/>
                    <a:pt x="107" y="21"/>
                  </a:cubicBezTo>
                  <a:cubicBezTo>
                    <a:pt x="107" y="10"/>
                    <a:pt x="97" y="0"/>
                    <a:pt x="86" y="0"/>
                  </a:cubicBezTo>
                  <a:close/>
                  <a:moveTo>
                    <a:pt x="54" y="256"/>
                  </a:moveTo>
                  <a:cubicBezTo>
                    <a:pt x="36" y="256"/>
                    <a:pt x="22" y="242"/>
                    <a:pt x="22" y="224"/>
                  </a:cubicBezTo>
                  <a:cubicBezTo>
                    <a:pt x="22" y="206"/>
                    <a:pt x="36" y="192"/>
                    <a:pt x="54" y="192"/>
                  </a:cubicBezTo>
                  <a:cubicBezTo>
                    <a:pt x="71" y="192"/>
                    <a:pt x="86" y="206"/>
                    <a:pt x="86" y="224"/>
                  </a:cubicBezTo>
                  <a:cubicBezTo>
                    <a:pt x="86" y="242"/>
                    <a:pt x="71" y="256"/>
                    <a:pt x="54" y="256"/>
                  </a:cubicBezTo>
                  <a:close/>
                  <a:moveTo>
                    <a:pt x="54" y="171"/>
                  </a:moveTo>
                  <a:cubicBezTo>
                    <a:pt x="36" y="171"/>
                    <a:pt x="22" y="156"/>
                    <a:pt x="22" y="139"/>
                  </a:cubicBezTo>
                  <a:cubicBezTo>
                    <a:pt x="22" y="121"/>
                    <a:pt x="36" y="107"/>
                    <a:pt x="54" y="107"/>
                  </a:cubicBezTo>
                  <a:cubicBezTo>
                    <a:pt x="71" y="107"/>
                    <a:pt x="86" y="121"/>
                    <a:pt x="86" y="139"/>
                  </a:cubicBezTo>
                  <a:cubicBezTo>
                    <a:pt x="86" y="156"/>
                    <a:pt x="71" y="171"/>
                    <a:pt x="54" y="171"/>
                  </a:cubicBezTo>
                  <a:close/>
                  <a:moveTo>
                    <a:pt x="54" y="85"/>
                  </a:moveTo>
                  <a:cubicBezTo>
                    <a:pt x="36" y="85"/>
                    <a:pt x="22" y="71"/>
                    <a:pt x="22" y="53"/>
                  </a:cubicBezTo>
                  <a:cubicBezTo>
                    <a:pt x="22" y="36"/>
                    <a:pt x="36" y="21"/>
                    <a:pt x="54" y="21"/>
                  </a:cubicBezTo>
                  <a:cubicBezTo>
                    <a:pt x="71" y="21"/>
                    <a:pt x="86" y="36"/>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8" name="Freeform 534">
              <a:extLst>
                <a:ext uri="{FF2B5EF4-FFF2-40B4-BE49-F238E27FC236}">
                  <a16:creationId xmlns:a16="http://schemas.microsoft.com/office/drawing/2014/main" id="{A66871EC-E586-4EFE-B55C-98711BAE153E}"/>
                </a:ext>
              </a:extLst>
            </p:cNvPr>
            <p:cNvSpPr>
              <a:spLocks/>
            </p:cNvSpPr>
            <p:nvPr/>
          </p:nvSpPr>
          <p:spPr bwMode="auto">
            <a:xfrm>
              <a:off x="5629" y="2019"/>
              <a:ext cx="20" cy="21"/>
            </a:xfrm>
            <a:custGeom>
              <a:avLst/>
              <a:gdLst>
                <a:gd name="T0" fmla="*/ 0 w 31"/>
                <a:gd name="T1" fmla="*/ 31 h 31"/>
                <a:gd name="T2" fmla="*/ 31 w 31"/>
                <a:gd name="T3" fmla="*/ 0 h 31"/>
                <a:gd name="T4" fmla="*/ 0 w 31"/>
                <a:gd name="T5" fmla="*/ 0 h 31"/>
                <a:gd name="T6" fmla="*/ 0 w 31"/>
                <a:gd name="T7" fmla="*/ 31 h 31"/>
              </a:gdLst>
              <a:ahLst/>
              <a:cxnLst>
                <a:cxn ang="0">
                  <a:pos x="T0" y="T1"/>
                </a:cxn>
                <a:cxn ang="0">
                  <a:pos x="T2" y="T3"/>
                </a:cxn>
                <a:cxn ang="0">
                  <a:pos x="T4" y="T5"/>
                </a:cxn>
                <a:cxn ang="0">
                  <a:pos x="T6" y="T7"/>
                </a:cxn>
              </a:cxnLst>
              <a:rect l="0" t="0" r="r" b="b"/>
              <a:pathLst>
                <a:path w="31" h="31">
                  <a:moveTo>
                    <a:pt x="0" y="31"/>
                  </a:moveTo>
                  <a:cubicBezTo>
                    <a:pt x="21" y="27"/>
                    <a:pt x="28" y="11"/>
                    <a:pt x="31" y="0"/>
                  </a:cubicBezTo>
                  <a:cubicBezTo>
                    <a:pt x="0" y="0"/>
                    <a:pt x="0" y="0"/>
                    <a:pt x="0" y="0"/>
                  </a:cubicBezTo>
                  <a:lnTo>
                    <a:pt x="0" y="3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9" name="Oval 535">
              <a:extLst>
                <a:ext uri="{FF2B5EF4-FFF2-40B4-BE49-F238E27FC236}">
                  <a16:creationId xmlns:a16="http://schemas.microsoft.com/office/drawing/2014/main" id="{D90DF9F1-2A20-444C-9926-0DFF52EA5763}"/>
                </a:ext>
              </a:extLst>
            </p:cNvPr>
            <p:cNvSpPr>
              <a:spLocks noChangeArrowheads="1"/>
            </p:cNvSpPr>
            <p:nvPr/>
          </p:nvSpPr>
          <p:spPr bwMode="auto">
            <a:xfrm>
              <a:off x="5572" y="1970"/>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10" name="Group 538">
            <a:extLst>
              <a:ext uri="{FF2B5EF4-FFF2-40B4-BE49-F238E27FC236}">
                <a16:creationId xmlns:a16="http://schemas.microsoft.com/office/drawing/2014/main" id="{50A666C1-6968-427D-BF64-59F8CFFF7B70}"/>
              </a:ext>
            </a:extLst>
          </p:cNvPr>
          <p:cNvGrpSpPr>
            <a:grpSpLocks noChangeAspect="1"/>
          </p:cNvGrpSpPr>
          <p:nvPr/>
        </p:nvGrpSpPr>
        <p:grpSpPr bwMode="auto">
          <a:xfrm>
            <a:off x="9613786" y="1698655"/>
            <a:ext cx="369676" cy="370763"/>
            <a:chOff x="5044" y="1889"/>
            <a:chExt cx="340" cy="341"/>
          </a:xfrm>
          <a:solidFill>
            <a:schemeClr val="accent6"/>
          </a:solidFill>
        </p:grpSpPr>
        <p:sp>
          <p:nvSpPr>
            <p:cNvPr id="411" name="Freeform 539">
              <a:extLst>
                <a:ext uri="{FF2B5EF4-FFF2-40B4-BE49-F238E27FC236}">
                  <a16:creationId xmlns:a16="http://schemas.microsoft.com/office/drawing/2014/main" id="{BA74F3DB-C456-47AA-9404-7B23240B836C}"/>
                </a:ext>
              </a:extLst>
            </p:cNvPr>
            <p:cNvSpPr>
              <a:spLocks noEditPoints="1"/>
            </p:cNvSpPr>
            <p:nvPr/>
          </p:nvSpPr>
          <p:spPr bwMode="auto">
            <a:xfrm>
              <a:off x="5164" y="1953"/>
              <a:ext cx="99" cy="213"/>
            </a:xfrm>
            <a:custGeom>
              <a:avLst/>
              <a:gdLst>
                <a:gd name="T0" fmla="*/ 107 w 149"/>
                <a:gd name="T1" fmla="*/ 320 h 320"/>
                <a:gd name="T2" fmla="*/ 43 w 149"/>
                <a:gd name="T3" fmla="*/ 320 h 320"/>
                <a:gd name="T4" fmla="*/ 0 w 149"/>
                <a:gd name="T5" fmla="*/ 277 h 320"/>
                <a:gd name="T6" fmla="*/ 0 w 149"/>
                <a:gd name="T7" fmla="*/ 42 h 320"/>
                <a:gd name="T8" fmla="*/ 43 w 149"/>
                <a:gd name="T9" fmla="*/ 0 h 320"/>
                <a:gd name="T10" fmla="*/ 107 w 149"/>
                <a:gd name="T11" fmla="*/ 0 h 320"/>
                <a:gd name="T12" fmla="*/ 149 w 149"/>
                <a:gd name="T13" fmla="*/ 42 h 320"/>
                <a:gd name="T14" fmla="*/ 149 w 149"/>
                <a:gd name="T15" fmla="*/ 277 h 320"/>
                <a:gd name="T16" fmla="*/ 107 w 149"/>
                <a:gd name="T17" fmla="*/ 320 h 320"/>
                <a:gd name="T18" fmla="*/ 43 w 149"/>
                <a:gd name="T19" fmla="*/ 21 h 320"/>
                <a:gd name="T20" fmla="*/ 21 w 149"/>
                <a:gd name="T21" fmla="*/ 42 h 320"/>
                <a:gd name="T22" fmla="*/ 21 w 149"/>
                <a:gd name="T23" fmla="*/ 277 h 320"/>
                <a:gd name="T24" fmla="*/ 43 w 149"/>
                <a:gd name="T25" fmla="*/ 298 h 320"/>
                <a:gd name="T26" fmla="*/ 107 w 149"/>
                <a:gd name="T27" fmla="*/ 298 h 320"/>
                <a:gd name="T28" fmla="*/ 128 w 149"/>
                <a:gd name="T29" fmla="*/ 277 h 320"/>
                <a:gd name="T30" fmla="*/ 128 w 149"/>
                <a:gd name="T31" fmla="*/ 42 h 320"/>
                <a:gd name="T32" fmla="*/ 107 w 149"/>
                <a:gd name="T33" fmla="*/ 21 h 320"/>
                <a:gd name="T34" fmla="*/ 43 w 149"/>
                <a:gd name="T35" fmla="*/ 21 h 320"/>
                <a:gd name="T36" fmla="*/ 75 w 149"/>
                <a:gd name="T37" fmla="*/ 106 h 320"/>
                <a:gd name="T38" fmla="*/ 43 w 149"/>
                <a:gd name="T39" fmla="*/ 74 h 320"/>
                <a:gd name="T40" fmla="*/ 75 w 149"/>
                <a:gd name="T41" fmla="*/ 42 h 320"/>
                <a:gd name="T42" fmla="*/ 107 w 149"/>
                <a:gd name="T43" fmla="*/ 74 h 320"/>
                <a:gd name="T44" fmla="*/ 75 w 149"/>
                <a:gd name="T45" fmla="*/ 106 h 320"/>
                <a:gd name="T46" fmla="*/ 75 w 149"/>
                <a:gd name="T47" fmla="*/ 64 h 320"/>
                <a:gd name="T48" fmla="*/ 64 w 149"/>
                <a:gd name="T49" fmla="*/ 74 h 320"/>
                <a:gd name="T50" fmla="*/ 75 w 149"/>
                <a:gd name="T51" fmla="*/ 85 h 320"/>
                <a:gd name="T52" fmla="*/ 85 w 149"/>
                <a:gd name="T53" fmla="*/ 74 h 320"/>
                <a:gd name="T54" fmla="*/ 75 w 149"/>
                <a:gd name="T55" fmla="*/ 64 h 320"/>
                <a:gd name="T56" fmla="*/ 75 w 149"/>
                <a:gd name="T57" fmla="*/ 192 h 320"/>
                <a:gd name="T58" fmla="*/ 43 w 149"/>
                <a:gd name="T59" fmla="*/ 160 h 320"/>
                <a:gd name="T60" fmla="*/ 75 w 149"/>
                <a:gd name="T61" fmla="*/ 128 h 320"/>
                <a:gd name="T62" fmla="*/ 107 w 149"/>
                <a:gd name="T63" fmla="*/ 160 h 320"/>
                <a:gd name="T64" fmla="*/ 75 w 149"/>
                <a:gd name="T65" fmla="*/ 192 h 320"/>
                <a:gd name="T66" fmla="*/ 75 w 149"/>
                <a:gd name="T67" fmla="*/ 149 h 320"/>
                <a:gd name="T68" fmla="*/ 64 w 149"/>
                <a:gd name="T69" fmla="*/ 160 h 320"/>
                <a:gd name="T70" fmla="*/ 75 w 149"/>
                <a:gd name="T71" fmla="*/ 170 h 320"/>
                <a:gd name="T72" fmla="*/ 85 w 149"/>
                <a:gd name="T73" fmla="*/ 160 h 320"/>
                <a:gd name="T74" fmla="*/ 75 w 149"/>
                <a:gd name="T75" fmla="*/ 149 h 320"/>
                <a:gd name="T76" fmla="*/ 75 w 149"/>
                <a:gd name="T77" fmla="*/ 277 h 320"/>
                <a:gd name="T78" fmla="*/ 43 w 149"/>
                <a:gd name="T79" fmla="*/ 245 h 320"/>
                <a:gd name="T80" fmla="*/ 75 w 149"/>
                <a:gd name="T81" fmla="*/ 213 h 320"/>
                <a:gd name="T82" fmla="*/ 107 w 149"/>
                <a:gd name="T83" fmla="*/ 245 h 320"/>
                <a:gd name="T84" fmla="*/ 75 w 149"/>
                <a:gd name="T85" fmla="*/ 277 h 320"/>
                <a:gd name="T86" fmla="*/ 75 w 149"/>
                <a:gd name="T87" fmla="*/ 234 h 320"/>
                <a:gd name="T88" fmla="*/ 64 w 149"/>
                <a:gd name="T89" fmla="*/ 245 h 320"/>
                <a:gd name="T90" fmla="*/ 75 w 149"/>
                <a:gd name="T91" fmla="*/ 256 h 320"/>
                <a:gd name="T92" fmla="*/ 85 w 149"/>
                <a:gd name="T93" fmla="*/ 245 h 320"/>
                <a:gd name="T94" fmla="*/ 75 w 149"/>
                <a:gd name="T9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9" h="320">
                  <a:moveTo>
                    <a:pt x="107" y="320"/>
                  </a:moveTo>
                  <a:cubicBezTo>
                    <a:pt x="43" y="320"/>
                    <a:pt x="43" y="320"/>
                    <a:pt x="43" y="320"/>
                  </a:cubicBezTo>
                  <a:cubicBezTo>
                    <a:pt x="19" y="320"/>
                    <a:pt x="0" y="301"/>
                    <a:pt x="0" y="277"/>
                  </a:cubicBezTo>
                  <a:cubicBezTo>
                    <a:pt x="0" y="42"/>
                    <a:pt x="0" y="42"/>
                    <a:pt x="0" y="42"/>
                  </a:cubicBezTo>
                  <a:cubicBezTo>
                    <a:pt x="0" y="19"/>
                    <a:pt x="19" y="0"/>
                    <a:pt x="43" y="0"/>
                  </a:cubicBezTo>
                  <a:cubicBezTo>
                    <a:pt x="107" y="0"/>
                    <a:pt x="107" y="0"/>
                    <a:pt x="107" y="0"/>
                  </a:cubicBezTo>
                  <a:cubicBezTo>
                    <a:pt x="130" y="0"/>
                    <a:pt x="149" y="19"/>
                    <a:pt x="149" y="42"/>
                  </a:cubicBezTo>
                  <a:cubicBezTo>
                    <a:pt x="149" y="277"/>
                    <a:pt x="149" y="277"/>
                    <a:pt x="149" y="277"/>
                  </a:cubicBezTo>
                  <a:cubicBezTo>
                    <a:pt x="149" y="301"/>
                    <a:pt x="130" y="320"/>
                    <a:pt x="107" y="320"/>
                  </a:cubicBezTo>
                  <a:close/>
                  <a:moveTo>
                    <a:pt x="43" y="21"/>
                  </a:moveTo>
                  <a:cubicBezTo>
                    <a:pt x="31" y="21"/>
                    <a:pt x="21" y="31"/>
                    <a:pt x="21" y="42"/>
                  </a:cubicBezTo>
                  <a:cubicBezTo>
                    <a:pt x="21" y="277"/>
                    <a:pt x="21" y="277"/>
                    <a:pt x="21" y="277"/>
                  </a:cubicBezTo>
                  <a:cubicBezTo>
                    <a:pt x="21" y="289"/>
                    <a:pt x="31" y="298"/>
                    <a:pt x="43" y="298"/>
                  </a:cubicBezTo>
                  <a:cubicBezTo>
                    <a:pt x="107" y="298"/>
                    <a:pt x="107" y="298"/>
                    <a:pt x="107" y="298"/>
                  </a:cubicBezTo>
                  <a:cubicBezTo>
                    <a:pt x="118" y="298"/>
                    <a:pt x="128" y="289"/>
                    <a:pt x="128" y="277"/>
                  </a:cubicBezTo>
                  <a:cubicBezTo>
                    <a:pt x="128" y="42"/>
                    <a:pt x="128" y="42"/>
                    <a:pt x="128" y="42"/>
                  </a:cubicBezTo>
                  <a:cubicBezTo>
                    <a:pt x="128" y="31"/>
                    <a:pt x="118" y="21"/>
                    <a:pt x="107" y="21"/>
                  </a:cubicBezTo>
                  <a:lnTo>
                    <a:pt x="43" y="21"/>
                  </a:lnTo>
                  <a:close/>
                  <a:moveTo>
                    <a:pt x="75" y="106"/>
                  </a:moveTo>
                  <a:cubicBezTo>
                    <a:pt x="57" y="106"/>
                    <a:pt x="43" y="92"/>
                    <a:pt x="43" y="74"/>
                  </a:cubicBezTo>
                  <a:cubicBezTo>
                    <a:pt x="43" y="57"/>
                    <a:pt x="57" y="42"/>
                    <a:pt x="75" y="42"/>
                  </a:cubicBezTo>
                  <a:cubicBezTo>
                    <a:pt x="92" y="42"/>
                    <a:pt x="107" y="57"/>
                    <a:pt x="107" y="74"/>
                  </a:cubicBezTo>
                  <a:cubicBezTo>
                    <a:pt x="107" y="92"/>
                    <a:pt x="92" y="106"/>
                    <a:pt x="75" y="106"/>
                  </a:cubicBezTo>
                  <a:close/>
                  <a:moveTo>
                    <a:pt x="75" y="64"/>
                  </a:moveTo>
                  <a:cubicBezTo>
                    <a:pt x="69" y="64"/>
                    <a:pt x="64" y="68"/>
                    <a:pt x="64" y="74"/>
                  </a:cubicBezTo>
                  <a:cubicBezTo>
                    <a:pt x="64" y="80"/>
                    <a:pt x="69" y="85"/>
                    <a:pt x="75" y="85"/>
                  </a:cubicBezTo>
                  <a:cubicBezTo>
                    <a:pt x="81" y="85"/>
                    <a:pt x="85" y="80"/>
                    <a:pt x="85" y="74"/>
                  </a:cubicBezTo>
                  <a:cubicBezTo>
                    <a:pt x="85" y="68"/>
                    <a:pt x="81" y="64"/>
                    <a:pt x="75" y="64"/>
                  </a:cubicBezTo>
                  <a:close/>
                  <a:moveTo>
                    <a:pt x="75" y="192"/>
                  </a:moveTo>
                  <a:cubicBezTo>
                    <a:pt x="57" y="192"/>
                    <a:pt x="43" y="177"/>
                    <a:pt x="43" y="160"/>
                  </a:cubicBezTo>
                  <a:cubicBezTo>
                    <a:pt x="43" y="142"/>
                    <a:pt x="57" y="128"/>
                    <a:pt x="75" y="128"/>
                  </a:cubicBezTo>
                  <a:cubicBezTo>
                    <a:pt x="92" y="128"/>
                    <a:pt x="107" y="142"/>
                    <a:pt x="107" y="160"/>
                  </a:cubicBezTo>
                  <a:cubicBezTo>
                    <a:pt x="107" y="177"/>
                    <a:pt x="92" y="192"/>
                    <a:pt x="75" y="192"/>
                  </a:cubicBezTo>
                  <a:close/>
                  <a:moveTo>
                    <a:pt x="75" y="149"/>
                  </a:moveTo>
                  <a:cubicBezTo>
                    <a:pt x="69" y="149"/>
                    <a:pt x="64" y="154"/>
                    <a:pt x="64" y="160"/>
                  </a:cubicBezTo>
                  <a:cubicBezTo>
                    <a:pt x="64" y="166"/>
                    <a:pt x="69" y="170"/>
                    <a:pt x="75" y="170"/>
                  </a:cubicBezTo>
                  <a:cubicBezTo>
                    <a:pt x="81" y="170"/>
                    <a:pt x="85" y="166"/>
                    <a:pt x="85" y="160"/>
                  </a:cubicBezTo>
                  <a:cubicBezTo>
                    <a:pt x="85" y="154"/>
                    <a:pt x="81" y="149"/>
                    <a:pt x="75" y="149"/>
                  </a:cubicBezTo>
                  <a:close/>
                  <a:moveTo>
                    <a:pt x="75" y="277"/>
                  </a:moveTo>
                  <a:cubicBezTo>
                    <a:pt x="57" y="277"/>
                    <a:pt x="43" y="263"/>
                    <a:pt x="43" y="245"/>
                  </a:cubicBezTo>
                  <a:cubicBezTo>
                    <a:pt x="43" y="227"/>
                    <a:pt x="57" y="213"/>
                    <a:pt x="75" y="213"/>
                  </a:cubicBezTo>
                  <a:cubicBezTo>
                    <a:pt x="92" y="213"/>
                    <a:pt x="107" y="227"/>
                    <a:pt x="107" y="245"/>
                  </a:cubicBezTo>
                  <a:cubicBezTo>
                    <a:pt x="107" y="263"/>
                    <a:pt x="92" y="277"/>
                    <a:pt x="75" y="277"/>
                  </a:cubicBezTo>
                  <a:close/>
                  <a:moveTo>
                    <a:pt x="75" y="234"/>
                  </a:moveTo>
                  <a:cubicBezTo>
                    <a:pt x="69" y="234"/>
                    <a:pt x="64" y="239"/>
                    <a:pt x="64" y="245"/>
                  </a:cubicBezTo>
                  <a:cubicBezTo>
                    <a:pt x="64" y="251"/>
                    <a:pt x="69" y="256"/>
                    <a:pt x="75" y="256"/>
                  </a:cubicBezTo>
                  <a:cubicBezTo>
                    <a:pt x="81" y="256"/>
                    <a:pt x="85" y="251"/>
                    <a:pt x="85" y="245"/>
                  </a:cubicBezTo>
                  <a:cubicBezTo>
                    <a:pt x="85" y="239"/>
                    <a:pt x="81" y="234"/>
                    <a:pt x="75"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2" name="Freeform 540">
              <a:extLst>
                <a:ext uri="{FF2B5EF4-FFF2-40B4-BE49-F238E27FC236}">
                  <a16:creationId xmlns:a16="http://schemas.microsoft.com/office/drawing/2014/main" id="{A763E016-C6B3-48C2-9C9E-EAE48D059CC5}"/>
                </a:ext>
              </a:extLst>
            </p:cNvPr>
            <p:cNvSpPr>
              <a:spLocks noEditPoints="1"/>
            </p:cNvSpPr>
            <p:nvPr/>
          </p:nvSpPr>
          <p:spPr bwMode="auto">
            <a:xfrm>
              <a:off x="5044" y="188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3" name="Freeform 544">
            <a:extLst>
              <a:ext uri="{FF2B5EF4-FFF2-40B4-BE49-F238E27FC236}">
                <a16:creationId xmlns:a16="http://schemas.microsoft.com/office/drawing/2014/main" id="{9A732338-79F9-4D27-9B17-D8ED735BD9D0}"/>
              </a:ext>
            </a:extLst>
          </p:cNvPr>
          <p:cNvSpPr>
            <a:spLocks noChangeAspect="1" noEditPoints="1"/>
          </p:cNvSpPr>
          <p:nvPr/>
        </p:nvSpPr>
        <p:spPr bwMode="auto">
          <a:xfrm>
            <a:off x="9177612" y="1698655"/>
            <a:ext cx="369676" cy="370763"/>
          </a:xfrm>
          <a:custGeom>
            <a:avLst/>
            <a:gdLst>
              <a:gd name="T0" fmla="*/ 266 w 512"/>
              <a:gd name="T1" fmla="*/ 256 h 512"/>
              <a:gd name="T2" fmla="*/ 256 w 512"/>
              <a:gd name="T3" fmla="*/ 266 h 512"/>
              <a:gd name="T4" fmla="*/ 245 w 512"/>
              <a:gd name="T5" fmla="*/ 256 h 512"/>
              <a:gd name="T6" fmla="*/ 256 w 512"/>
              <a:gd name="T7" fmla="*/ 245 h 512"/>
              <a:gd name="T8" fmla="*/ 266 w 512"/>
              <a:gd name="T9" fmla="*/ 256 h 512"/>
              <a:gd name="T10" fmla="*/ 256 w 512"/>
              <a:gd name="T11" fmla="*/ 160 h 512"/>
              <a:gd name="T12" fmla="*/ 245 w 512"/>
              <a:gd name="T13" fmla="*/ 170 h 512"/>
              <a:gd name="T14" fmla="*/ 256 w 512"/>
              <a:gd name="T15" fmla="*/ 181 h 512"/>
              <a:gd name="T16" fmla="*/ 266 w 512"/>
              <a:gd name="T17" fmla="*/ 170 h 512"/>
              <a:gd name="T18" fmla="*/ 256 w 512"/>
              <a:gd name="T19" fmla="*/ 160 h 512"/>
              <a:gd name="T20" fmla="*/ 256 w 512"/>
              <a:gd name="T21" fmla="*/ 330 h 512"/>
              <a:gd name="T22" fmla="*/ 245 w 512"/>
              <a:gd name="T23" fmla="*/ 341 h 512"/>
              <a:gd name="T24" fmla="*/ 256 w 512"/>
              <a:gd name="T25" fmla="*/ 352 h 512"/>
              <a:gd name="T26" fmla="*/ 266 w 512"/>
              <a:gd name="T27" fmla="*/ 341 h 512"/>
              <a:gd name="T28" fmla="*/ 256 w 512"/>
              <a:gd name="T29" fmla="*/ 33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138 h 512"/>
              <a:gd name="T42" fmla="*/ 288 w 512"/>
              <a:gd name="T43" fmla="*/ 96 h 512"/>
              <a:gd name="T44" fmla="*/ 224 w 512"/>
              <a:gd name="T45" fmla="*/ 96 h 512"/>
              <a:gd name="T46" fmla="*/ 181 w 512"/>
              <a:gd name="T47" fmla="*/ 138 h 512"/>
              <a:gd name="T48" fmla="*/ 181 w 512"/>
              <a:gd name="T49" fmla="*/ 373 h 512"/>
              <a:gd name="T50" fmla="*/ 224 w 512"/>
              <a:gd name="T51" fmla="*/ 416 h 512"/>
              <a:gd name="T52" fmla="*/ 288 w 512"/>
              <a:gd name="T53" fmla="*/ 416 h 512"/>
              <a:gd name="T54" fmla="*/ 330 w 512"/>
              <a:gd name="T55" fmla="*/ 373 h 512"/>
              <a:gd name="T56" fmla="*/ 330 w 512"/>
              <a:gd name="T57" fmla="*/ 138 h 512"/>
              <a:gd name="T58" fmla="*/ 309 w 512"/>
              <a:gd name="T59" fmla="*/ 138 h 512"/>
              <a:gd name="T60" fmla="*/ 309 w 512"/>
              <a:gd name="T61" fmla="*/ 373 h 512"/>
              <a:gd name="T62" fmla="*/ 288 w 512"/>
              <a:gd name="T63" fmla="*/ 394 h 512"/>
              <a:gd name="T64" fmla="*/ 224 w 512"/>
              <a:gd name="T65" fmla="*/ 394 h 512"/>
              <a:gd name="T66" fmla="*/ 202 w 512"/>
              <a:gd name="T67" fmla="*/ 373 h 512"/>
              <a:gd name="T68" fmla="*/ 202 w 512"/>
              <a:gd name="T69" fmla="*/ 138 h 512"/>
              <a:gd name="T70" fmla="*/ 224 w 512"/>
              <a:gd name="T71" fmla="*/ 117 h 512"/>
              <a:gd name="T72" fmla="*/ 288 w 512"/>
              <a:gd name="T73" fmla="*/ 117 h 512"/>
              <a:gd name="T74" fmla="*/ 309 w 512"/>
              <a:gd name="T75" fmla="*/ 138 h 512"/>
              <a:gd name="T76" fmla="*/ 288 w 512"/>
              <a:gd name="T77" fmla="*/ 341 h 512"/>
              <a:gd name="T78" fmla="*/ 256 w 512"/>
              <a:gd name="T79" fmla="*/ 309 h 512"/>
              <a:gd name="T80" fmla="*/ 224 w 512"/>
              <a:gd name="T81" fmla="*/ 341 h 512"/>
              <a:gd name="T82" fmla="*/ 256 w 512"/>
              <a:gd name="T83" fmla="*/ 373 h 512"/>
              <a:gd name="T84" fmla="*/ 288 w 512"/>
              <a:gd name="T85" fmla="*/ 341 h 512"/>
              <a:gd name="T86" fmla="*/ 288 w 512"/>
              <a:gd name="T87" fmla="*/ 256 h 512"/>
              <a:gd name="T88" fmla="*/ 256 w 512"/>
              <a:gd name="T89" fmla="*/ 224 h 512"/>
              <a:gd name="T90" fmla="*/ 224 w 512"/>
              <a:gd name="T91" fmla="*/ 256 h 512"/>
              <a:gd name="T92" fmla="*/ 256 w 512"/>
              <a:gd name="T93" fmla="*/ 288 h 512"/>
              <a:gd name="T94" fmla="*/ 288 w 512"/>
              <a:gd name="T95" fmla="*/ 256 h 512"/>
              <a:gd name="T96" fmla="*/ 288 w 512"/>
              <a:gd name="T97" fmla="*/ 170 h 512"/>
              <a:gd name="T98" fmla="*/ 256 w 512"/>
              <a:gd name="T99" fmla="*/ 138 h 512"/>
              <a:gd name="T100" fmla="*/ 224 w 512"/>
              <a:gd name="T101" fmla="*/ 170 h 512"/>
              <a:gd name="T102" fmla="*/ 256 w 512"/>
              <a:gd name="T103" fmla="*/ 202 h 512"/>
              <a:gd name="T104" fmla="*/ 288 w 512"/>
              <a:gd name="T10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256" y="160"/>
                </a:moveTo>
                <a:cubicBezTo>
                  <a:pt x="250" y="160"/>
                  <a:pt x="245" y="164"/>
                  <a:pt x="245" y="170"/>
                </a:cubicBezTo>
                <a:cubicBezTo>
                  <a:pt x="245" y="176"/>
                  <a:pt x="250" y="181"/>
                  <a:pt x="256" y="181"/>
                </a:cubicBezTo>
                <a:cubicBezTo>
                  <a:pt x="262" y="181"/>
                  <a:pt x="266" y="176"/>
                  <a:pt x="266" y="170"/>
                </a:cubicBezTo>
                <a:cubicBezTo>
                  <a:pt x="266" y="164"/>
                  <a:pt x="262" y="160"/>
                  <a:pt x="256" y="160"/>
                </a:cubicBezTo>
                <a:close/>
                <a:moveTo>
                  <a:pt x="256" y="330"/>
                </a:moveTo>
                <a:cubicBezTo>
                  <a:pt x="250" y="330"/>
                  <a:pt x="245" y="335"/>
                  <a:pt x="245" y="341"/>
                </a:cubicBezTo>
                <a:cubicBezTo>
                  <a:pt x="245" y="347"/>
                  <a:pt x="250" y="352"/>
                  <a:pt x="256" y="352"/>
                </a:cubicBezTo>
                <a:cubicBezTo>
                  <a:pt x="262" y="352"/>
                  <a:pt x="266" y="347"/>
                  <a:pt x="266" y="341"/>
                </a:cubicBezTo>
                <a:cubicBezTo>
                  <a:pt x="266" y="335"/>
                  <a:pt x="262" y="330"/>
                  <a:pt x="256" y="33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38"/>
                </a:moveTo>
                <a:cubicBezTo>
                  <a:pt x="330" y="115"/>
                  <a:pt x="311" y="96"/>
                  <a:pt x="288" y="96"/>
                </a:cubicBezTo>
                <a:cubicBezTo>
                  <a:pt x="224" y="96"/>
                  <a:pt x="224" y="96"/>
                  <a:pt x="224" y="96"/>
                </a:cubicBezTo>
                <a:cubicBezTo>
                  <a:pt x="200" y="96"/>
                  <a:pt x="181" y="115"/>
                  <a:pt x="181" y="138"/>
                </a:cubicBezTo>
                <a:cubicBezTo>
                  <a:pt x="181" y="373"/>
                  <a:pt x="181" y="373"/>
                  <a:pt x="181" y="373"/>
                </a:cubicBezTo>
                <a:cubicBezTo>
                  <a:pt x="181" y="397"/>
                  <a:pt x="200" y="416"/>
                  <a:pt x="224" y="416"/>
                </a:cubicBezTo>
                <a:cubicBezTo>
                  <a:pt x="288" y="416"/>
                  <a:pt x="288" y="416"/>
                  <a:pt x="288" y="416"/>
                </a:cubicBezTo>
                <a:cubicBezTo>
                  <a:pt x="311" y="416"/>
                  <a:pt x="330" y="397"/>
                  <a:pt x="330" y="373"/>
                </a:cubicBezTo>
                <a:lnTo>
                  <a:pt x="330" y="138"/>
                </a:lnTo>
                <a:close/>
                <a:moveTo>
                  <a:pt x="309" y="138"/>
                </a:moveTo>
                <a:cubicBezTo>
                  <a:pt x="309" y="373"/>
                  <a:pt x="309" y="373"/>
                  <a:pt x="309" y="373"/>
                </a:cubicBezTo>
                <a:cubicBezTo>
                  <a:pt x="309" y="385"/>
                  <a:pt x="299" y="394"/>
                  <a:pt x="288" y="394"/>
                </a:cubicBezTo>
                <a:cubicBezTo>
                  <a:pt x="224" y="394"/>
                  <a:pt x="224" y="394"/>
                  <a:pt x="224" y="394"/>
                </a:cubicBezTo>
                <a:cubicBezTo>
                  <a:pt x="212" y="394"/>
                  <a:pt x="202" y="385"/>
                  <a:pt x="202" y="373"/>
                </a:cubicBezTo>
                <a:cubicBezTo>
                  <a:pt x="202" y="138"/>
                  <a:pt x="202" y="138"/>
                  <a:pt x="202" y="138"/>
                </a:cubicBezTo>
                <a:cubicBezTo>
                  <a:pt x="202" y="127"/>
                  <a:pt x="212" y="117"/>
                  <a:pt x="224" y="117"/>
                </a:cubicBezTo>
                <a:cubicBezTo>
                  <a:pt x="288" y="117"/>
                  <a:pt x="288" y="117"/>
                  <a:pt x="288" y="117"/>
                </a:cubicBezTo>
                <a:cubicBezTo>
                  <a:pt x="299" y="117"/>
                  <a:pt x="309" y="127"/>
                  <a:pt x="309" y="138"/>
                </a:cubicBezTo>
                <a:close/>
                <a:moveTo>
                  <a:pt x="288" y="341"/>
                </a:moveTo>
                <a:cubicBezTo>
                  <a:pt x="288" y="323"/>
                  <a:pt x="273" y="309"/>
                  <a:pt x="256" y="309"/>
                </a:cubicBezTo>
                <a:cubicBezTo>
                  <a:pt x="238" y="309"/>
                  <a:pt x="224" y="323"/>
                  <a:pt x="224" y="341"/>
                </a:cubicBezTo>
                <a:cubicBezTo>
                  <a:pt x="224" y="359"/>
                  <a:pt x="238" y="373"/>
                  <a:pt x="256" y="373"/>
                </a:cubicBezTo>
                <a:cubicBezTo>
                  <a:pt x="273" y="373"/>
                  <a:pt x="288" y="359"/>
                  <a:pt x="288" y="341"/>
                </a:cubicBezTo>
                <a:close/>
                <a:moveTo>
                  <a:pt x="288" y="256"/>
                </a:moveTo>
                <a:cubicBezTo>
                  <a:pt x="288" y="238"/>
                  <a:pt x="273" y="224"/>
                  <a:pt x="256" y="224"/>
                </a:cubicBezTo>
                <a:cubicBezTo>
                  <a:pt x="238" y="224"/>
                  <a:pt x="224" y="238"/>
                  <a:pt x="224" y="256"/>
                </a:cubicBezTo>
                <a:cubicBezTo>
                  <a:pt x="224" y="273"/>
                  <a:pt x="238" y="288"/>
                  <a:pt x="256" y="288"/>
                </a:cubicBezTo>
                <a:cubicBezTo>
                  <a:pt x="273" y="288"/>
                  <a:pt x="288" y="273"/>
                  <a:pt x="288" y="256"/>
                </a:cubicBezTo>
                <a:close/>
                <a:moveTo>
                  <a:pt x="288" y="170"/>
                </a:moveTo>
                <a:cubicBezTo>
                  <a:pt x="288" y="153"/>
                  <a:pt x="273" y="138"/>
                  <a:pt x="256" y="138"/>
                </a:cubicBezTo>
                <a:cubicBezTo>
                  <a:pt x="238" y="138"/>
                  <a:pt x="224" y="153"/>
                  <a:pt x="224" y="170"/>
                </a:cubicBezTo>
                <a:cubicBezTo>
                  <a:pt x="224" y="188"/>
                  <a:pt x="238" y="202"/>
                  <a:pt x="256" y="202"/>
                </a:cubicBezTo>
                <a:cubicBezTo>
                  <a:pt x="273" y="202"/>
                  <a:pt x="288" y="188"/>
                  <a:pt x="288" y="17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4" name="Freeform 660">
            <a:extLst>
              <a:ext uri="{FF2B5EF4-FFF2-40B4-BE49-F238E27FC236}">
                <a16:creationId xmlns:a16="http://schemas.microsoft.com/office/drawing/2014/main" id="{66CC0272-0FB4-4748-A5E7-9F58E7E5E2D7}"/>
              </a:ext>
            </a:extLst>
          </p:cNvPr>
          <p:cNvSpPr>
            <a:spLocks noChangeAspect="1" noEditPoints="1"/>
          </p:cNvSpPr>
          <p:nvPr/>
        </p:nvSpPr>
        <p:spPr bwMode="auto">
          <a:xfrm>
            <a:off x="469900" y="2529747"/>
            <a:ext cx="367982" cy="367982"/>
          </a:xfrm>
          <a:custGeom>
            <a:avLst/>
            <a:gdLst>
              <a:gd name="T0" fmla="*/ 213 w 512"/>
              <a:gd name="T1" fmla="*/ 202 h 512"/>
              <a:gd name="T2" fmla="*/ 245 w 512"/>
              <a:gd name="T3" fmla="*/ 245 h 512"/>
              <a:gd name="T4" fmla="*/ 213 w 512"/>
              <a:gd name="T5" fmla="*/ 202 h 512"/>
              <a:gd name="T6" fmla="*/ 298 w 512"/>
              <a:gd name="T7" fmla="*/ 202 h 512"/>
              <a:gd name="T8" fmla="*/ 266 w 512"/>
              <a:gd name="T9" fmla="*/ 245 h 512"/>
              <a:gd name="T10" fmla="*/ 298 w 512"/>
              <a:gd name="T11" fmla="*/ 202 h 512"/>
              <a:gd name="T12" fmla="*/ 159 w 512"/>
              <a:gd name="T13" fmla="*/ 245 h 512"/>
              <a:gd name="T14" fmla="*/ 192 w 512"/>
              <a:gd name="T15" fmla="*/ 214 h 512"/>
              <a:gd name="T16" fmla="*/ 320 w 512"/>
              <a:gd name="T17" fmla="*/ 245 h 512"/>
              <a:gd name="T18" fmla="*/ 320 w 512"/>
              <a:gd name="T19" fmla="*/ 214 h 512"/>
              <a:gd name="T20" fmla="*/ 158 w 512"/>
              <a:gd name="T21" fmla="*/ 314 h 512"/>
              <a:gd name="T22" fmla="*/ 192 w 512"/>
              <a:gd name="T23" fmla="*/ 298 h 512"/>
              <a:gd name="T24" fmla="*/ 222 w 512"/>
              <a:gd name="T25" fmla="*/ 314 h 512"/>
              <a:gd name="T26" fmla="*/ 256 w 512"/>
              <a:gd name="T27" fmla="*/ 298 h 512"/>
              <a:gd name="T28" fmla="*/ 286 w 512"/>
              <a:gd name="T29" fmla="*/ 314 h 512"/>
              <a:gd name="T30" fmla="*/ 320 w 512"/>
              <a:gd name="T31" fmla="*/ 298 h 512"/>
              <a:gd name="T32" fmla="*/ 350 w 512"/>
              <a:gd name="T33" fmla="*/ 314 h 512"/>
              <a:gd name="T34" fmla="*/ 373 w 512"/>
              <a:gd name="T35" fmla="*/ 266 h 512"/>
              <a:gd name="T36" fmla="*/ 138 w 512"/>
              <a:gd name="T37" fmla="*/ 305 h 512"/>
              <a:gd name="T38" fmla="*/ 256 w 512"/>
              <a:gd name="T39" fmla="*/ 512 h 512"/>
              <a:gd name="T40" fmla="*/ 256 w 512"/>
              <a:gd name="T41" fmla="*/ 0 h 512"/>
              <a:gd name="T42" fmla="*/ 394 w 512"/>
              <a:gd name="T43" fmla="*/ 305 h 512"/>
              <a:gd name="T44" fmla="*/ 405 w 512"/>
              <a:gd name="T45" fmla="*/ 266 h 512"/>
              <a:gd name="T46" fmla="*/ 405 w 512"/>
              <a:gd name="T47" fmla="*/ 245 h 512"/>
              <a:gd name="T48" fmla="*/ 394 w 512"/>
              <a:gd name="T49" fmla="*/ 224 h 512"/>
              <a:gd name="T50" fmla="*/ 373 w 512"/>
              <a:gd name="T51" fmla="*/ 224 h 512"/>
              <a:gd name="T52" fmla="*/ 256 w 512"/>
              <a:gd name="T53" fmla="*/ 170 h 512"/>
              <a:gd name="T54" fmla="*/ 138 w 512"/>
              <a:gd name="T55" fmla="*/ 224 h 512"/>
              <a:gd name="T56" fmla="*/ 117 w 512"/>
              <a:gd name="T57" fmla="*/ 224 h 512"/>
              <a:gd name="T58" fmla="*/ 106 w 512"/>
              <a:gd name="T59" fmla="*/ 245 h 512"/>
              <a:gd name="T60" fmla="*/ 106 w 512"/>
              <a:gd name="T61" fmla="*/ 266 h 512"/>
              <a:gd name="T62" fmla="*/ 117 w 512"/>
              <a:gd name="T63" fmla="*/ 304 h 512"/>
              <a:gd name="T64" fmla="*/ 96 w 512"/>
              <a:gd name="T65" fmla="*/ 326 h 512"/>
              <a:gd name="T66" fmla="*/ 127 w 512"/>
              <a:gd name="T67" fmla="*/ 323 h 512"/>
              <a:gd name="T68" fmla="*/ 191 w 512"/>
              <a:gd name="T69" fmla="*/ 324 h 512"/>
              <a:gd name="T70" fmla="*/ 255 w 512"/>
              <a:gd name="T71" fmla="*/ 324 h 512"/>
              <a:gd name="T72" fmla="*/ 319 w 512"/>
              <a:gd name="T73" fmla="*/ 324 h 512"/>
              <a:gd name="T74" fmla="*/ 351 w 512"/>
              <a:gd name="T75" fmla="*/ 336 h 512"/>
              <a:gd name="T76" fmla="*/ 402 w 512"/>
              <a:gd name="T77" fmla="*/ 334 h 512"/>
              <a:gd name="T78" fmla="*/ 408 w 512"/>
              <a:gd name="T7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13" y="202"/>
                </a:moveTo>
                <a:cubicBezTo>
                  <a:pt x="213" y="202"/>
                  <a:pt x="213" y="202"/>
                  <a:pt x="213" y="202"/>
                </a:cubicBezTo>
                <a:cubicBezTo>
                  <a:pt x="223" y="197"/>
                  <a:pt x="234" y="194"/>
                  <a:pt x="245" y="192"/>
                </a:cubicBezTo>
                <a:cubicBezTo>
                  <a:pt x="245" y="245"/>
                  <a:pt x="245" y="245"/>
                  <a:pt x="245" y="245"/>
                </a:cubicBezTo>
                <a:cubicBezTo>
                  <a:pt x="213" y="245"/>
                  <a:pt x="213" y="245"/>
                  <a:pt x="213" y="245"/>
                </a:cubicBezTo>
                <a:lnTo>
                  <a:pt x="213" y="202"/>
                </a:lnTo>
                <a:close/>
                <a:moveTo>
                  <a:pt x="298" y="202"/>
                </a:moveTo>
                <a:cubicBezTo>
                  <a:pt x="298" y="202"/>
                  <a:pt x="298" y="202"/>
                  <a:pt x="298" y="202"/>
                </a:cubicBezTo>
                <a:cubicBezTo>
                  <a:pt x="288" y="197"/>
                  <a:pt x="277" y="194"/>
                  <a:pt x="266" y="192"/>
                </a:cubicBezTo>
                <a:cubicBezTo>
                  <a:pt x="266" y="245"/>
                  <a:pt x="266" y="245"/>
                  <a:pt x="266" y="245"/>
                </a:cubicBezTo>
                <a:cubicBezTo>
                  <a:pt x="298" y="245"/>
                  <a:pt x="298" y="245"/>
                  <a:pt x="298" y="245"/>
                </a:cubicBezTo>
                <a:lnTo>
                  <a:pt x="298" y="202"/>
                </a:lnTo>
                <a:close/>
                <a:moveTo>
                  <a:pt x="192" y="214"/>
                </a:moveTo>
                <a:cubicBezTo>
                  <a:pt x="180" y="222"/>
                  <a:pt x="169" y="233"/>
                  <a:pt x="159" y="245"/>
                </a:cubicBezTo>
                <a:cubicBezTo>
                  <a:pt x="192" y="245"/>
                  <a:pt x="192" y="245"/>
                  <a:pt x="192" y="245"/>
                </a:cubicBezTo>
                <a:lnTo>
                  <a:pt x="192" y="214"/>
                </a:lnTo>
                <a:close/>
                <a:moveTo>
                  <a:pt x="320" y="214"/>
                </a:moveTo>
                <a:cubicBezTo>
                  <a:pt x="320" y="245"/>
                  <a:pt x="320" y="245"/>
                  <a:pt x="320" y="245"/>
                </a:cubicBezTo>
                <a:cubicBezTo>
                  <a:pt x="352" y="245"/>
                  <a:pt x="352" y="245"/>
                  <a:pt x="352" y="245"/>
                </a:cubicBezTo>
                <a:cubicBezTo>
                  <a:pt x="342" y="233"/>
                  <a:pt x="332" y="222"/>
                  <a:pt x="320" y="214"/>
                </a:cubicBezTo>
                <a:close/>
                <a:moveTo>
                  <a:pt x="138" y="305"/>
                </a:moveTo>
                <a:cubicBezTo>
                  <a:pt x="142" y="308"/>
                  <a:pt x="149" y="314"/>
                  <a:pt x="158" y="314"/>
                </a:cubicBezTo>
                <a:cubicBezTo>
                  <a:pt x="166" y="315"/>
                  <a:pt x="175" y="310"/>
                  <a:pt x="184" y="301"/>
                </a:cubicBezTo>
                <a:cubicBezTo>
                  <a:pt x="186" y="299"/>
                  <a:pt x="189" y="298"/>
                  <a:pt x="192" y="298"/>
                </a:cubicBezTo>
                <a:cubicBezTo>
                  <a:pt x="195" y="299"/>
                  <a:pt x="198" y="300"/>
                  <a:pt x="200" y="302"/>
                </a:cubicBezTo>
                <a:cubicBezTo>
                  <a:pt x="200" y="302"/>
                  <a:pt x="209" y="314"/>
                  <a:pt x="222" y="314"/>
                </a:cubicBezTo>
                <a:cubicBezTo>
                  <a:pt x="230" y="315"/>
                  <a:pt x="239" y="310"/>
                  <a:pt x="248" y="301"/>
                </a:cubicBezTo>
                <a:cubicBezTo>
                  <a:pt x="250" y="299"/>
                  <a:pt x="253" y="298"/>
                  <a:pt x="256" y="298"/>
                </a:cubicBezTo>
                <a:cubicBezTo>
                  <a:pt x="259" y="299"/>
                  <a:pt x="262" y="300"/>
                  <a:pt x="264" y="302"/>
                </a:cubicBezTo>
                <a:cubicBezTo>
                  <a:pt x="264" y="302"/>
                  <a:pt x="273" y="314"/>
                  <a:pt x="286" y="314"/>
                </a:cubicBezTo>
                <a:cubicBezTo>
                  <a:pt x="294" y="315"/>
                  <a:pt x="303" y="310"/>
                  <a:pt x="312" y="301"/>
                </a:cubicBezTo>
                <a:cubicBezTo>
                  <a:pt x="314" y="299"/>
                  <a:pt x="317" y="298"/>
                  <a:pt x="320" y="298"/>
                </a:cubicBezTo>
                <a:cubicBezTo>
                  <a:pt x="323" y="299"/>
                  <a:pt x="326" y="300"/>
                  <a:pt x="328" y="302"/>
                </a:cubicBezTo>
                <a:cubicBezTo>
                  <a:pt x="328" y="302"/>
                  <a:pt x="337" y="314"/>
                  <a:pt x="350" y="314"/>
                </a:cubicBezTo>
                <a:cubicBezTo>
                  <a:pt x="357" y="315"/>
                  <a:pt x="365" y="311"/>
                  <a:pt x="373" y="304"/>
                </a:cubicBezTo>
                <a:cubicBezTo>
                  <a:pt x="373" y="266"/>
                  <a:pt x="373" y="266"/>
                  <a:pt x="373" y="266"/>
                </a:cubicBezTo>
                <a:cubicBezTo>
                  <a:pt x="138" y="266"/>
                  <a:pt x="138" y="266"/>
                  <a:pt x="138" y="266"/>
                </a:cubicBezTo>
                <a:lnTo>
                  <a:pt x="138" y="30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05"/>
                </a:moveTo>
                <a:cubicBezTo>
                  <a:pt x="394" y="266"/>
                  <a:pt x="394" y="266"/>
                  <a:pt x="394" y="266"/>
                </a:cubicBezTo>
                <a:cubicBezTo>
                  <a:pt x="405" y="266"/>
                  <a:pt x="405" y="266"/>
                  <a:pt x="405" y="266"/>
                </a:cubicBezTo>
                <a:cubicBezTo>
                  <a:pt x="411" y="266"/>
                  <a:pt x="416" y="262"/>
                  <a:pt x="416" y="256"/>
                </a:cubicBezTo>
                <a:cubicBezTo>
                  <a:pt x="416" y="250"/>
                  <a:pt x="411" y="245"/>
                  <a:pt x="405" y="245"/>
                </a:cubicBezTo>
                <a:cubicBezTo>
                  <a:pt x="394" y="245"/>
                  <a:pt x="394" y="245"/>
                  <a:pt x="394" y="245"/>
                </a:cubicBezTo>
                <a:cubicBezTo>
                  <a:pt x="394" y="224"/>
                  <a:pt x="394" y="224"/>
                  <a:pt x="394" y="224"/>
                </a:cubicBezTo>
                <a:cubicBezTo>
                  <a:pt x="394" y="218"/>
                  <a:pt x="390" y="213"/>
                  <a:pt x="384" y="213"/>
                </a:cubicBezTo>
                <a:cubicBezTo>
                  <a:pt x="378" y="213"/>
                  <a:pt x="373" y="218"/>
                  <a:pt x="373" y="224"/>
                </a:cubicBezTo>
                <a:cubicBezTo>
                  <a:pt x="373" y="237"/>
                  <a:pt x="373" y="237"/>
                  <a:pt x="373" y="237"/>
                </a:cubicBezTo>
                <a:cubicBezTo>
                  <a:pt x="340" y="194"/>
                  <a:pt x="298" y="170"/>
                  <a:pt x="256" y="170"/>
                </a:cubicBezTo>
                <a:cubicBezTo>
                  <a:pt x="213" y="170"/>
                  <a:pt x="172" y="194"/>
                  <a:pt x="138" y="237"/>
                </a:cubicBezTo>
                <a:cubicBezTo>
                  <a:pt x="138" y="224"/>
                  <a:pt x="138" y="224"/>
                  <a:pt x="138" y="224"/>
                </a:cubicBezTo>
                <a:cubicBezTo>
                  <a:pt x="138" y="218"/>
                  <a:pt x="134" y="213"/>
                  <a:pt x="128" y="213"/>
                </a:cubicBezTo>
                <a:cubicBezTo>
                  <a:pt x="122" y="213"/>
                  <a:pt x="117" y="218"/>
                  <a:pt x="117" y="224"/>
                </a:cubicBezTo>
                <a:cubicBezTo>
                  <a:pt x="117" y="245"/>
                  <a:pt x="117" y="245"/>
                  <a:pt x="117" y="245"/>
                </a:cubicBezTo>
                <a:cubicBezTo>
                  <a:pt x="106" y="245"/>
                  <a:pt x="106" y="245"/>
                  <a:pt x="106" y="245"/>
                </a:cubicBezTo>
                <a:cubicBezTo>
                  <a:pt x="100" y="245"/>
                  <a:pt x="96" y="250"/>
                  <a:pt x="96" y="256"/>
                </a:cubicBezTo>
                <a:cubicBezTo>
                  <a:pt x="96" y="262"/>
                  <a:pt x="100" y="266"/>
                  <a:pt x="106" y="266"/>
                </a:cubicBezTo>
                <a:cubicBezTo>
                  <a:pt x="117" y="266"/>
                  <a:pt x="117" y="266"/>
                  <a:pt x="117" y="266"/>
                </a:cubicBezTo>
                <a:cubicBezTo>
                  <a:pt x="117" y="304"/>
                  <a:pt x="117" y="304"/>
                  <a:pt x="117" y="304"/>
                </a:cubicBezTo>
                <a:cubicBezTo>
                  <a:pt x="113" y="308"/>
                  <a:pt x="108" y="311"/>
                  <a:pt x="103" y="313"/>
                </a:cubicBezTo>
                <a:cubicBezTo>
                  <a:pt x="97" y="315"/>
                  <a:pt x="94" y="321"/>
                  <a:pt x="96" y="326"/>
                </a:cubicBezTo>
                <a:cubicBezTo>
                  <a:pt x="98" y="332"/>
                  <a:pt x="104" y="335"/>
                  <a:pt x="110" y="333"/>
                </a:cubicBezTo>
                <a:cubicBezTo>
                  <a:pt x="116" y="331"/>
                  <a:pt x="122" y="328"/>
                  <a:pt x="127" y="323"/>
                </a:cubicBezTo>
                <a:cubicBezTo>
                  <a:pt x="134" y="329"/>
                  <a:pt x="144" y="335"/>
                  <a:pt x="156" y="336"/>
                </a:cubicBezTo>
                <a:cubicBezTo>
                  <a:pt x="168" y="336"/>
                  <a:pt x="180" y="332"/>
                  <a:pt x="191" y="324"/>
                </a:cubicBezTo>
                <a:cubicBezTo>
                  <a:pt x="198" y="329"/>
                  <a:pt x="208" y="335"/>
                  <a:pt x="220" y="336"/>
                </a:cubicBezTo>
                <a:cubicBezTo>
                  <a:pt x="232" y="336"/>
                  <a:pt x="244" y="332"/>
                  <a:pt x="255" y="324"/>
                </a:cubicBezTo>
                <a:cubicBezTo>
                  <a:pt x="262" y="329"/>
                  <a:pt x="272" y="335"/>
                  <a:pt x="284" y="336"/>
                </a:cubicBezTo>
                <a:cubicBezTo>
                  <a:pt x="296" y="336"/>
                  <a:pt x="308" y="332"/>
                  <a:pt x="319" y="324"/>
                </a:cubicBezTo>
                <a:cubicBezTo>
                  <a:pt x="326" y="329"/>
                  <a:pt x="336" y="335"/>
                  <a:pt x="348" y="336"/>
                </a:cubicBezTo>
                <a:cubicBezTo>
                  <a:pt x="349" y="336"/>
                  <a:pt x="350" y="336"/>
                  <a:pt x="351" y="336"/>
                </a:cubicBezTo>
                <a:cubicBezTo>
                  <a:pt x="362" y="336"/>
                  <a:pt x="373" y="332"/>
                  <a:pt x="383" y="324"/>
                </a:cubicBezTo>
                <a:cubicBezTo>
                  <a:pt x="388" y="327"/>
                  <a:pt x="394" y="331"/>
                  <a:pt x="402" y="334"/>
                </a:cubicBezTo>
                <a:cubicBezTo>
                  <a:pt x="408" y="335"/>
                  <a:pt x="413" y="332"/>
                  <a:pt x="415" y="326"/>
                </a:cubicBezTo>
                <a:cubicBezTo>
                  <a:pt x="417" y="321"/>
                  <a:pt x="414" y="315"/>
                  <a:pt x="408" y="313"/>
                </a:cubicBezTo>
                <a:cubicBezTo>
                  <a:pt x="402" y="311"/>
                  <a:pt x="397" y="307"/>
                  <a:pt x="394" y="3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5" name="Group 663">
            <a:extLst>
              <a:ext uri="{FF2B5EF4-FFF2-40B4-BE49-F238E27FC236}">
                <a16:creationId xmlns:a16="http://schemas.microsoft.com/office/drawing/2014/main" id="{544E9B6C-A864-416C-B86F-F7F1B5E117F2}"/>
              </a:ext>
            </a:extLst>
          </p:cNvPr>
          <p:cNvGrpSpPr>
            <a:grpSpLocks noChangeAspect="1"/>
          </p:cNvGrpSpPr>
          <p:nvPr/>
        </p:nvGrpSpPr>
        <p:grpSpPr bwMode="auto">
          <a:xfrm>
            <a:off x="905068" y="2529747"/>
            <a:ext cx="367982" cy="367982"/>
            <a:chOff x="2683" y="3177"/>
            <a:chExt cx="340" cy="340"/>
          </a:xfrm>
          <a:solidFill>
            <a:schemeClr val="accent2"/>
          </a:solidFill>
        </p:grpSpPr>
        <p:sp>
          <p:nvSpPr>
            <p:cNvPr id="416" name="Freeform 664">
              <a:extLst>
                <a:ext uri="{FF2B5EF4-FFF2-40B4-BE49-F238E27FC236}">
                  <a16:creationId xmlns:a16="http://schemas.microsoft.com/office/drawing/2014/main" id="{CFEFFBA4-66F9-4777-A187-74C3A3D4E2DA}"/>
                </a:ext>
              </a:extLst>
            </p:cNvPr>
            <p:cNvSpPr>
              <a:spLocks noEditPoints="1"/>
            </p:cNvSpPr>
            <p:nvPr/>
          </p:nvSpPr>
          <p:spPr bwMode="auto">
            <a:xfrm>
              <a:off x="2683"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7" name="Freeform 665">
              <a:extLst>
                <a:ext uri="{FF2B5EF4-FFF2-40B4-BE49-F238E27FC236}">
                  <a16:creationId xmlns:a16="http://schemas.microsoft.com/office/drawing/2014/main" id="{AADA3482-732D-49C3-AF7D-EBD9F6C1ECED}"/>
                </a:ext>
              </a:extLst>
            </p:cNvPr>
            <p:cNvSpPr>
              <a:spLocks noEditPoints="1"/>
            </p:cNvSpPr>
            <p:nvPr/>
          </p:nvSpPr>
          <p:spPr bwMode="auto">
            <a:xfrm>
              <a:off x="2745" y="3290"/>
              <a:ext cx="215" cy="110"/>
            </a:xfrm>
            <a:custGeom>
              <a:avLst/>
              <a:gdLst>
                <a:gd name="T0" fmla="*/ 300 w 323"/>
                <a:gd name="T1" fmla="*/ 135 h 166"/>
                <a:gd name="T2" fmla="*/ 311 w 323"/>
                <a:gd name="T3" fmla="*/ 96 h 166"/>
                <a:gd name="T4" fmla="*/ 311 w 323"/>
                <a:gd name="T5" fmla="*/ 75 h 166"/>
                <a:gd name="T6" fmla="*/ 300 w 323"/>
                <a:gd name="T7" fmla="*/ 54 h 166"/>
                <a:gd name="T8" fmla="*/ 279 w 323"/>
                <a:gd name="T9" fmla="*/ 54 h 166"/>
                <a:gd name="T10" fmla="*/ 162 w 323"/>
                <a:gd name="T11" fmla="*/ 0 h 166"/>
                <a:gd name="T12" fmla="*/ 44 w 323"/>
                <a:gd name="T13" fmla="*/ 54 h 166"/>
                <a:gd name="T14" fmla="*/ 23 w 323"/>
                <a:gd name="T15" fmla="*/ 54 h 166"/>
                <a:gd name="T16" fmla="*/ 12 w 323"/>
                <a:gd name="T17" fmla="*/ 75 h 166"/>
                <a:gd name="T18" fmla="*/ 12 w 323"/>
                <a:gd name="T19" fmla="*/ 96 h 166"/>
                <a:gd name="T20" fmla="*/ 23 w 323"/>
                <a:gd name="T21" fmla="*/ 134 h 166"/>
                <a:gd name="T22" fmla="*/ 2 w 323"/>
                <a:gd name="T23" fmla="*/ 156 h 166"/>
                <a:gd name="T24" fmla="*/ 33 w 323"/>
                <a:gd name="T25" fmla="*/ 153 h 166"/>
                <a:gd name="T26" fmla="*/ 97 w 323"/>
                <a:gd name="T27" fmla="*/ 154 h 166"/>
                <a:gd name="T28" fmla="*/ 161 w 323"/>
                <a:gd name="T29" fmla="*/ 154 h 166"/>
                <a:gd name="T30" fmla="*/ 225 w 323"/>
                <a:gd name="T31" fmla="*/ 154 h 166"/>
                <a:gd name="T32" fmla="*/ 257 w 323"/>
                <a:gd name="T33" fmla="*/ 166 h 166"/>
                <a:gd name="T34" fmla="*/ 308 w 323"/>
                <a:gd name="T35" fmla="*/ 164 h 166"/>
                <a:gd name="T36" fmla="*/ 314 w 323"/>
                <a:gd name="T37" fmla="*/ 143 h 166"/>
                <a:gd name="T38" fmla="*/ 226 w 323"/>
                <a:gd name="T39" fmla="*/ 75 h 166"/>
                <a:gd name="T40" fmla="*/ 258 w 323"/>
                <a:gd name="T41" fmla="*/ 75 h 166"/>
                <a:gd name="T42" fmla="*/ 172 w 323"/>
                <a:gd name="T43" fmla="*/ 22 h 166"/>
                <a:gd name="T44" fmla="*/ 204 w 323"/>
                <a:gd name="T45" fmla="*/ 32 h 166"/>
                <a:gd name="T46" fmla="*/ 172 w 323"/>
                <a:gd name="T47" fmla="*/ 75 h 166"/>
                <a:gd name="T48" fmla="*/ 119 w 323"/>
                <a:gd name="T49" fmla="*/ 32 h 166"/>
                <a:gd name="T50" fmla="*/ 151 w 323"/>
                <a:gd name="T51" fmla="*/ 22 h 166"/>
                <a:gd name="T52" fmla="*/ 119 w 323"/>
                <a:gd name="T53" fmla="*/ 75 h 166"/>
                <a:gd name="T54" fmla="*/ 98 w 323"/>
                <a:gd name="T55" fmla="*/ 75 h 166"/>
                <a:gd name="T56" fmla="*/ 98 w 323"/>
                <a:gd name="T57" fmla="*/ 44 h 166"/>
                <a:gd name="T58" fmla="*/ 234 w 323"/>
                <a:gd name="T59" fmla="*/ 132 h 166"/>
                <a:gd name="T60" fmla="*/ 218 w 323"/>
                <a:gd name="T61" fmla="*/ 131 h 166"/>
                <a:gd name="T62" fmla="*/ 170 w 323"/>
                <a:gd name="T63" fmla="*/ 132 h 166"/>
                <a:gd name="T64" fmla="*/ 154 w 323"/>
                <a:gd name="T65" fmla="*/ 131 h 166"/>
                <a:gd name="T66" fmla="*/ 106 w 323"/>
                <a:gd name="T67" fmla="*/ 132 h 166"/>
                <a:gd name="T68" fmla="*/ 90 w 323"/>
                <a:gd name="T69" fmla="*/ 131 h 166"/>
                <a:gd name="T70" fmla="*/ 44 w 323"/>
                <a:gd name="T71" fmla="*/ 135 h 166"/>
                <a:gd name="T72" fmla="*/ 279 w 323"/>
                <a:gd name="T73" fmla="*/ 96 h 166"/>
                <a:gd name="T74" fmla="*/ 256 w 323"/>
                <a:gd name="T75" fmla="*/ 14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3" h="166">
                  <a:moveTo>
                    <a:pt x="314" y="143"/>
                  </a:moveTo>
                  <a:cubicBezTo>
                    <a:pt x="308" y="141"/>
                    <a:pt x="303" y="137"/>
                    <a:pt x="300" y="135"/>
                  </a:cubicBezTo>
                  <a:cubicBezTo>
                    <a:pt x="300" y="96"/>
                    <a:pt x="300" y="96"/>
                    <a:pt x="300" y="96"/>
                  </a:cubicBezTo>
                  <a:cubicBezTo>
                    <a:pt x="311" y="96"/>
                    <a:pt x="311" y="96"/>
                    <a:pt x="311" y="96"/>
                  </a:cubicBezTo>
                  <a:cubicBezTo>
                    <a:pt x="317" y="96"/>
                    <a:pt x="322" y="92"/>
                    <a:pt x="322" y="86"/>
                  </a:cubicBezTo>
                  <a:cubicBezTo>
                    <a:pt x="322" y="80"/>
                    <a:pt x="317" y="75"/>
                    <a:pt x="311" y="75"/>
                  </a:cubicBezTo>
                  <a:cubicBezTo>
                    <a:pt x="300" y="75"/>
                    <a:pt x="300" y="75"/>
                    <a:pt x="300" y="75"/>
                  </a:cubicBezTo>
                  <a:cubicBezTo>
                    <a:pt x="300" y="54"/>
                    <a:pt x="300" y="54"/>
                    <a:pt x="300" y="54"/>
                  </a:cubicBezTo>
                  <a:cubicBezTo>
                    <a:pt x="300" y="48"/>
                    <a:pt x="296" y="43"/>
                    <a:pt x="290" y="43"/>
                  </a:cubicBezTo>
                  <a:cubicBezTo>
                    <a:pt x="284" y="43"/>
                    <a:pt x="279" y="48"/>
                    <a:pt x="279" y="54"/>
                  </a:cubicBezTo>
                  <a:cubicBezTo>
                    <a:pt x="279" y="67"/>
                    <a:pt x="279" y="67"/>
                    <a:pt x="279" y="67"/>
                  </a:cubicBezTo>
                  <a:cubicBezTo>
                    <a:pt x="246" y="24"/>
                    <a:pt x="204" y="0"/>
                    <a:pt x="162" y="0"/>
                  </a:cubicBezTo>
                  <a:cubicBezTo>
                    <a:pt x="119" y="0"/>
                    <a:pt x="78" y="24"/>
                    <a:pt x="44" y="67"/>
                  </a:cubicBezTo>
                  <a:cubicBezTo>
                    <a:pt x="44" y="54"/>
                    <a:pt x="44" y="54"/>
                    <a:pt x="44" y="54"/>
                  </a:cubicBezTo>
                  <a:cubicBezTo>
                    <a:pt x="44" y="48"/>
                    <a:pt x="40" y="43"/>
                    <a:pt x="34" y="43"/>
                  </a:cubicBezTo>
                  <a:cubicBezTo>
                    <a:pt x="28" y="43"/>
                    <a:pt x="23" y="48"/>
                    <a:pt x="23" y="54"/>
                  </a:cubicBezTo>
                  <a:cubicBezTo>
                    <a:pt x="23" y="75"/>
                    <a:pt x="23" y="75"/>
                    <a:pt x="23" y="75"/>
                  </a:cubicBezTo>
                  <a:cubicBezTo>
                    <a:pt x="12" y="75"/>
                    <a:pt x="12" y="75"/>
                    <a:pt x="12" y="75"/>
                  </a:cubicBezTo>
                  <a:cubicBezTo>
                    <a:pt x="6" y="75"/>
                    <a:pt x="2" y="80"/>
                    <a:pt x="2" y="86"/>
                  </a:cubicBezTo>
                  <a:cubicBezTo>
                    <a:pt x="2" y="92"/>
                    <a:pt x="6" y="96"/>
                    <a:pt x="12" y="96"/>
                  </a:cubicBezTo>
                  <a:cubicBezTo>
                    <a:pt x="23" y="96"/>
                    <a:pt x="23" y="96"/>
                    <a:pt x="23" y="96"/>
                  </a:cubicBezTo>
                  <a:cubicBezTo>
                    <a:pt x="23" y="134"/>
                    <a:pt x="23" y="134"/>
                    <a:pt x="23" y="134"/>
                  </a:cubicBezTo>
                  <a:cubicBezTo>
                    <a:pt x="19" y="138"/>
                    <a:pt x="14" y="141"/>
                    <a:pt x="9" y="143"/>
                  </a:cubicBezTo>
                  <a:cubicBezTo>
                    <a:pt x="3" y="145"/>
                    <a:pt x="0" y="151"/>
                    <a:pt x="2" y="156"/>
                  </a:cubicBezTo>
                  <a:cubicBezTo>
                    <a:pt x="4" y="162"/>
                    <a:pt x="10" y="165"/>
                    <a:pt x="16" y="163"/>
                  </a:cubicBezTo>
                  <a:cubicBezTo>
                    <a:pt x="22" y="161"/>
                    <a:pt x="28" y="158"/>
                    <a:pt x="33" y="153"/>
                  </a:cubicBezTo>
                  <a:cubicBezTo>
                    <a:pt x="40" y="159"/>
                    <a:pt x="50" y="165"/>
                    <a:pt x="62" y="166"/>
                  </a:cubicBezTo>
                  <a:cubicBezTo>
                    <a:pt x="74" y="166"/>
                    <a:pt x="86" y="162"/>
                    <a:pt x="97" y="154"/>
                  </a:cubicBezTo>
                  <a:cubicBezTo>
                    <a:pt x="104" y="159"/>
                    <a:pt x="114" y="165"/>
                    <a:pt x="126" y="166"/>
                  </a:cubicBezTo>
                  <a:cubicBezTo>
                    <a:pt x="138" y="166"/>
                    <a:pt x="150" y="162"/>
                    <a:pt x="161" y="154"/>
                  </a:cubicBezTo>
                  <a:cubicBezTo>
                    <a:pt x="168" y="159"/>
                    <a:pt x="178" y="165"/>
                    <a:pt x="190" y="166"/>
                  </a:cubicBezTo>
                  <a:cubicBezTo>
                    <a:pt x="202" y="166"/>
                    <a:pt x="214" y="162"/>
                    <a:pt x="225" y="154"/>
                  </a:cubicBezTo>
                  <a:cubicBezTo>
                    <a:pt x="232" y="159"/>
                    <a:pt x="242" y="165"/>
                    <a:pt x="254" y="166"/>
                  </a:cubicBezTo>
                  <a:cubicBezTo>
                    <a:pt x="255" y="166"/>
                    <a:pt x="256" y="166"/>
                    <a:pt x="257" y="166"/>
                  </a:cubicBezTo>
                  <a:cubicBezTo>
                    <a:pt x="268" y="166"/>
                    <a:pt x="279" y="162"/>
                    <a:pt x="289" y="154"/>
                  </a:cubicBezTo>
                  <a:cubicBezTo>
                    <a:pt x="294" y="157"/>
                    <a:pt x="300" y="161"/>
                    <a:pt x="308" y="164"/>
                  </a:cubicBezTo>
                  <a:cubicBezTo>
                    <a:pt x="314" y="165"/>
                    <a:pt x="319" y="162"/>
                    <a:pt x="321" y="156"/>
                  </a:cubicBezTo>
                  <a:cubicBezTo>
                    <a:pt x="323" y="151"/>
                    <a:pt x="320" y="145"/>
                    <a:pt x="314" y="143"/>
                  </a:cubicBezTo>
                  <a:close/>
                  <a:moveTo>
                    <a:pt x="258" y="75"/>
                  </a:moveTo>
                  <a:cubicBezTo>
                    <a:pt x="226" y="75"/>
                    <a:pt x="226" y="75"/>
                    <a:pt x="226" y="75"/>
                  </a:cubicBezTo>
                  <a:cubicBezTo>
                    <a:pt x="226" y="44"/>
                    <a:pt x="226" y="44"/>
                    <a:pt x="226" y="44"/>
                  </a:cubicBezTo>
                  <a:cubicBezTo>
                    <a:pt x="238" y="52"/>
                    <a:pt x="248" y="63"/>
                    <a:pt x="258" y="75"/>
                  </a:cubicBezTo>
                  <a:close/>
                  <a:moveTo>
                    <a:pt x="172" y="75"/>
                  </a:moveTo>
                  <a:cubicBezTo>
                    <a:pt x="172" y="22"/>
                    <a:pt x="172" y="22"/>
                    <a:pt x="172" y="22"/>
                  </a:cubicBezTo>
                  <a:cubicBezTo>
                    <a:pt x="183" y="24"/>
                    <a:pt x="194" y="27"/>
                    <a:pt x="204" y="32"/>
                  </a:cubicBezTo>
                  <a:cubicBezTo>
                    <a:pt x="204" y="32"/>
                    <a:pt x="204" y="32"/>
                    <a:pt x="204" y="32"/>
                  </a:cubicBezTo>
                  <a:cubicBezTo>
                    <a:pt x="204" y="75"/>
                    <a:pt x="204" y="75"/>
                    <a:pt x="204" y="75"/>
                  </a:cubicBezTo>
                  <a:lnTo>
                    <a:pt x="172" y="75"/>
                  </a:lnTo>
                  <a:close/>
                  <a:moveTo>
                    <a:pt x="119" y="75"/>
                  </a:moveTo>
                  <a:cubicBezTo>
                    <a:pt x="119" y="32"/>
                    <a:pt x="119" y="32"/>
                    <a:pt x="119" y="32"/>
                  </a:cubicBezTo>
                  <a:cubicBezTo>
                    <a:pt x="119" y="32"/>
                    <a:pt x="119" y="32"/>
                    <a:pt x="119" y="32"/>
                  </a:cubicBezTo>
                  <a:cubicBezTo>
                    <a:pt x="129" y="27"/>
                    <a:pt x="140" y="24"/>
                    <a:pt x="151" y="22"/>
                  </a:cubicBezTo>
                  <a:cubicBezTo>
                    <a:pt x="151" y="75"/>
                    <a:pt x="151" y="75"/>
                    <a:pt x="151" y="75"/>
                  </a:cubicBezTo>
                  <a:lnTo>
                    <a:pt x="119" y="75"/>
                  </a:lnTo>
                  <a:close/>
                  <a:moveTo>
                    <a:pt x="98" y="44"/>
                  </a:moveTo>
                  <a:cubicBezTo>
                    <a:pt x="98" y="75"/>
                    <a:pt x="98" y="75"/>
                    <a:pt x="98" y="75"/>
                  </a:cubicBezTo>
                  <a:cubicBezTo>
                    <a:pt x="65" y="75"/>
                    <a:pt x="65" y="75"/>
                    <a:pt x="65" y="75"/>
                  </a:cubicBezTo>
                  <a:cubicBezTo>
                    <a:pt x="75" y="63"/>
                    <a:pt x="86" y="52"/>
                    <a:pt x="98" y="44"/>
                  </a:cubicBezTo>
                  <a:close/>
                  <a:moveTo>
                    <a:pt x="256" y="144"/>
                  </a:moveTo>
                  <a:cubicBezTo>
                    <a:pt x="243" y="144"/>
                    <a:pt x="234" y="132"/>
                    <a:pt x="234" y="132"/>
                  </a:cubicBezTo>
                  <a:cubicBezTo>
                    <a:pt x="232" y="130"/>
                    <a:pt x="229" y="129"/>
                    <a:pt x="226" y="128"/>
                  </a:cubicBezTo>
                  <a:cubicBezTo>
                    <a:pt x="223" y="128"/>
                    <a:pt x="220" y="129"/>
                    <a:pt x="218" y="131"/>
                  </a:cubicBezTo>
                  <a:cubicBezTo>
                    <a:pt x="209" y="140"/>
                    <a:pt x="200" y="145"/>
                    <a:pt x="192" y="144"/>
                  </a:cubicBezTo>
                  <a:cubicBezTo>
                    <a:pt x="179" y="144"/>
                    <a:pt x="170" y="132"/>
                    <a:pt x="170" y="132"/>
                  </a:cubicBezTo>
                  <a:cubicBezTo>
                    <a:pt x="168" y="130"/>
                    <a:pt x="165" y="129"/>
                    <a:pt x="162" y="128"/>
                  </a:cubicBezTo>
                  <a:cubicBezTo>
                    <a:pt x="159" y="128"/>
                    <a:pt x="156" y="129"/>
                    <a:pt x="154" y="131"/>
                  </a:cubicBezTo>
                  <a:cubicBezTo>
                    <a:pt x="145" y="140"/>
                    <a:pt x="136" y="145"/>
                    <a:pt x="128" y="144"/>
                  </a:cubicBezTo>
                  <a:cubicBezTo>
                    <a:pt x="115" y="144"/>
                    <a:pt x="106" y="132"/>
                    <a:pt x="106" y="132"/>
                  </a:cubicBezTo>
                  <a:cubicBezTo>
                    <a:pt x="104" y="130"/>
                    <a:pt x="101" y="129"/>
                    <a:pt x="98" y="128"/>
                  </a:cubicBezTo>
                  <a:cubicBezTo>
                    <a:pt x="95" y="128"/>
                    <a:pt x="92" y="129"/>
                    <a:pt x="90" y="131"/>
                  </a:cubicBezTo>
                  <a:cubicBezTo>
                    <a:pt x="81" y="140"/>
                    <a:pt x="72" y="145"/>
                    <a:pt x="64" y="144"/>
                  </a:cubicBezTo>
                  <a:cubicBezTo>
                    <a:pt x="55" y="144"/>
                    <a:pt x="48" y="138"/>
                    <a:pt x="44" y="135"/>
                  </a:cubicBezTo>
                  <a:cubicBezTo>
                    <a:pt x="44" y="96"/>
                    <a:pt x="44" y="96"/>
                    <a:pt x="44" y="96"/>
                  </a:cubicBezTo>
                  <a:cubicBezTo>
                    <a:pt x="279" y="96"/>
                    <a:pt x="279" y="96"/>
                    <a:pt x="279" y="96"/>
                  </a:cubicBezTo>
                  <a:cubicBezTo>
                    <a:pt x="279" y="134"/>
                    <a:pt x="279" y="134"/>
                    <a:pt x="279" y="134"/>
                  </a:cubicBezTo>
                  <a:cubicBezTo>
                    <a:pt x="271" y="141"/>
                    <a:pt x="263" y="145"/>
                    <a:pt x="256" y="1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8" name="Freeform 669">
            <a:extLst>
              <a:ext uri="{FF2B5EF4-FFF2-40B4-BE49-F238E27FC236}">
                <a16:creationId xmlns:a16="http://schemas.microsoft.com/office/drawing/2014/main" id="{507325D8-08A6-4B2C-91CF-B2B0EAF76972}"/>
              </a:ext>
            </a:extLst>
          </p:cNvPr>
          <p:cNvSpPr>
            <a:spLocks noChangeAspect="1" noEditPoints="1"/>
          </p:cNvSpPr>
          <p:nvPr/>
        </p:nvSpPr>
        <p:spPr bwMode="auto">
          <a:xfrm>
            <a:off x="1340236" y="2529747"/>
            <a:ext cx="367982" cy="367982"/>
          </a:xfrm>
          <a:custGeom>
            <a:avLst/>
            <a:gdLst>
              <a:gd name="T0" fmla="*/ 181 w 512"/>
              <a:gd name="T1" fmla="*/ 160 h 512"/>
              <a:gd name="T2" fmla="*/ 320 w 512"/>
              <a:gd name="T3" fmla="*/ 160 h 512"/>
              <a:gd name="T4" fmla="*/ 320 w 512"/>
              <a:gd name="T5" fmla="*/ 352 h 512"/>
              <a:gd name="T6" fmla="*/ 181 w 512"/>
              <a:gd name="T7" fmla="*/ 352 h 512"/>
              <a:gd name="T8" fmla="*/ 181 w 512"/>
              <a:gd name="T9" fmla="*/ 160 h 512"/>
              <a:gd name="T10" fmla="*/ 288 w 512"/>
              <a:gd name="T11" fmla="*/ 117 h 512"/>
              <a:gd name="T12" fmla="*/ 224 w 512"/>
              <a:gd name="T13" fmla="*/ 117 h 512"/>
              <a:gd name="T14" fmla="*/ 224 w 512"/>
              <a:gd name="T15" fmla="*/ 138 h 512"/>
              <a:gd name="T16" fmla="*/ 288 w 512"/>
              <a:gd name="T17" fmla="*/ 138 h 512"/>
              <a:gd name="T18" fmla="*/ 288 w 512"/>
              <a:gd name="T19" fmla="*/ 117 h 512"/>
              <a:gd name="T20" fmla="*/ 117 w 512"/>
              <a:gd name="T21" fmla="*/ 352 h 512"/>
              <a:gd name="T22" fmla="*/ 160 w 512"/>
              <a:gd name="T23" fmla="*/ 352 h 512"/>
              <a:gd name="T24" fmla="*/ 160 w 512"/>
              <a:gd name="T25" fmla="*/ 160 h 512"/>
              <a:gd name="T26" fmla="*/ 117 w 512"/>
              <a:gd name="T27" fmla="*/ 160 h 512"/>
              <a:gd name="T28" fmla="*/ 117 w 512"/>
              <a:gd name="T29" fmla="*/ 352 h 512"/>
              <a:gd name="T30" fmla="*/ 341 w 512"/>
              <a:gd name="T31" fmla="*/ 352 h 512"/>
              <a:gd name="T32" fmla="*/ 394 w 512"/>
              <a:gd name="T33" fmla="*/ 352 h 512"/>
              <a:gd name="T34" fmla="*/ 394 w 512"/>
              <a:gd name="T35" fmla="*/ 160 h 512"/>
              <a:gd name="T36" fmla="*/ 341 w 512"/>
              <a:gd name="T37" fmla="*/ 160 h 512"/>
              <a:gd name="T38" fmla="*/ 341 w 512"/>
              <a:gd name="T39" fmla="*/ 352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49 h 512"/>
              <a:gd name="T52" fmla="*/ 405 w 512"/>
              <a:gd name="T53" fmla="*/ 138 h 512"/>
              <a:gd name="T54" fmla="*/ 309 w 512"/>
              <a:gd name="T55" fmla="*/ 138 h 512"/>
              <a:gd name="T56" fmla="*/ 309 w 512"/>
              <a:gd name="T57" fmla="*/ 106 h 512"/>
              <a:gd name="T58" fmla="*/ 298 w 512"/>
              <a:gd name="T59" fmla="*/ 96 h 512"/>
              <a:gd name="T60" fmla="*/ 213 w 512"/>
              <a:gd name="T61" fmla="*/ 96 h 512"/>
              <a:gd name="T62" fmla="*/ 202 w 512"/>
              <a:gd name="T63" fmla="*/ 106 h 512"/>
              <a:gd name="T64" fmla="*/ 202 w 512"/>
              <a:gd name="T65" fmla="*/ 138 h 512"/>
              <a:gd name="T66" fmla="*/ 106 w 512"/>
              <a:gd name="T67" fmla="*/ 138 h 512"/>
              <a:gd name="T68" fmla="*/ 96 w 512"/>
              <a:gd name="T69" fmla="*/ 149 h 512"/>
              <a:gd name="T70" fmla="*/ 96 w 512"/>
              <a:gd name="T71" fmla="*/ 362 h 512"/>
              <a:gd name="T72" fmla="*/ 106 w 512"/>
              <a:gd name="T73" fmla="*/ 373 h 512"/>
              <a:gd name="T74" fmla="*/ 405 w 512"/>
              <a:gd name="T75" fmla="*/ 373 h 512"/>
              <a:gd name="T76" fmla="*/ 416 w 512"/>
              <a:gd name="T77" fmla="*/ 362 h 512"/>
              <a:gd name="T78" fmla="*/ 416 w 512"/>
              <a:gd name="T7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81" y="160"/>
                </a:moveTo>
                <a:cubicBezTo>
                  <a:pt x="320" y="160"/>
                  <a:pt x="320" y="160"/>
                  <a:pt x="320" y="160"/>
                </a:cubicBezTo>
                <a:cubicBezTo>
                  <a:pt x="320" y="352"/>
                  <a:pt x="320" y="352"/>
                  <a:pt x="320" y="352"/>
                </a:cubicBezTo>
                <a:cubicBezTo>
                  <a:pt x="181" y="352"/>
                  <a:pt x="181" y="352"/>
                  <a:pt x="181" y="352"/>
                </a:cubicBezTo>
                <a:lnTo>
                  <a:pt x="181" y="160"/>
                </a:lnTo>
                <a:close/>
                <a:moveTo>
                  <a:pt x="288" y="117"/>
                </a:moveTo>
                <a:cubicBezTo>
                  <a:pt x="224" y="117"/>
                  <a:pt x="224" y="117"/>
                  <a:pt x="224" y="117"/>
                </a:cubicBezTo>
                <a:cubicBezTo>
                  <a:pt x="224" y="138"/>
                  <a:pt x="224" y="138"/>
                  <a:pt x="224" y="138"/>
                </a:cubicBezTo>
                <a:cubicBezTo>
                  <a:pt x="288" y="138"/>
                  <a:pt x="288" y="138"/>
                  <a:pt x="288" y="138"/>
                </a:cubicBezTo>
                <a:lnTo>
                  <a:pt x="288" y="117"/>
                </a:lnTo>
                <a:close/>
                <a:moveTo>
                  <a:pt x="117" y="352"/>
                </a:moveTo>
                <a:cubicBezTo>
                  <a:pt x="160" y="352"/>
                  <a:pt x="160" y="352"/>
                  <a:pt x="160" y="352"/>
                </a:cubicBezTo>
                <a:cubicBezTo>
                  <a:pt x="160" y="160"/>
                  <a:pt x="160" y="160"/>
                  <a:pt x="160" y="160"/>
                </a:cubicBezTo>
                <a:cubicBezTo>
                  <a:pt x="117" y="160"/>
                  <a:pt x="117" y="160"/>
                  <a:pt x="117" y="160"/>
                </a:cubicBezTo>
                <a:lnTo>
                  <a:pt x="117" y="352"/>
                </a:lnTo>
                <a:close/>
                <a:moveTo>
                  <a:pt x="341" y="352"/>
                </a:moveTo>
                <a:cubicBezTo>
                  <a:pt x="394" y="352"/>
                  <a:pt x="394" y="352"/>
                  <a:pt x="394" y="352"/>
                </a:cubicBezTo>
                <a:cubicBezTo>
                  <a:pt x="394" y="160"/>
                  <a:pt x="394" y="160"/>
                  <a:pt x="394" y="160"/>
                </a:cubicBezTo>
                <a:cubicBezTo>
                  <a:pt x="341" y="160"/>
                  <a:pt x="341" y="160"/>
                  <a:pt x="341" y="160"/>
                </a:cubicBezTo>
                <a:lnTo>
                  <a:pt x="341"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09" y="138"/>
                  <a:pt x="309" y="138"/>
                  <a:pt x="309" y="138"/>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38"/>
                  <a:pt x="202" y="138"/>
                  <a:pt x="202"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9" name="Group 672">
            <a:extLst>
              <a:ext uri="{FF2B5EF4-FFF2-40B4-BE49-F238E27FC236}">
                <a16:creationId xmlns:a16="http://schemas.microsoft.com/office/drawing/2014/main" id="{B1211714-CDDD-49A9-A0EA-170395B161E6}"/>
              </a:ext>
            </a:extLst>
          </p:cNvPr>
          <p:cNvGrpSpPr>
            <a:grpSpLocks noChangeAspect="1"/>
          </p:cNvGrpSpPr>
          <p:nvPr/>
        </p:nvGrpSpPr>
        <p:grpSpPr bwMode="auto">
          <a:xfrm>
            <a:off x="1775404" y="2529747"/>
            <a:ext cx="367982" cy="367982"/>
            <a:chOff x="3043" y="3122"/>
            <a:chExt cx="340" cy="340"/>
          </a:xfrm>
          <a:solidFill>
            <a:schemeClr val="accent2"/>
          </a:solidFill>
        </p:grpSpPr>
        <p:sp>
          <p:nvSpPr>
            <p:cNvPr id="420" name="Freeform 673">
              <a:extLst>
                <a:ext uri="{FF2B5EF4-FFF2-40B4-BE49-F238E27FC236}">
                  <a16:creationId xmlns:a16="http://schemas.microsoft.com/office/drawing/2014/main" id="{6CA556AA-65E4-49E4-8678-6BB5C6647DED}"/>
                </a:ext>
              </a:extLst>
            </p:cNvPr>
            <p:cNvSpPr>
              <a:spLocks noEditPoints="1"/>
            </p:cNvSpPr>
            <p:nvPr/>
          </p:nvSpPr>
          <p:spPr bwMode="auto">
            <a:xfrm>
              <a:off x="3107" y="3186"/>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1 w 320"/>
                <a:gd name="T41" fmla="*/ 256 h 277"/>
                <a:gd name="T42" fmla="*/ 21 w 320"/>
                <a:gd name="T43" fmla="*/ 64 h 277"/>
                <a:gd name="T44" fmla="*/ 64 w 320"/>
                <a:gd name="T45" fmla="*/ 64 h 277"/>
                <a:gd name="T46" fmla="*/ 64 w 320"/>
                <a:gd name="T47" fmla="*/ 256 h 277"/>
                <a:gd name="T48" fmla="*/ 21 w 320"/>
                <a:gd name="T49" fmla="*/ 256 h 277"/>
                <a:gd name="T50" fmla="*/ 85 w 320"/>
                <a:gd name="T51" fmla="*/ 256 h 277"/>
                <a:gd name="T52" fmla="*/ 85 w 320"/>
                <a:gd name="T53" fmla="*/ 64 h 277"/>
                <a:gd name="T54" fmla="*/ 224 w 320"/>
                <a:gd name="T55" fmla="*/ 64 h 277"/>
                <a:gd name="T56" fmla="*/ 224 w 320"/>
                <a:gd name="T57" fmla="*/ 256 h 277"/>
                <a:gd name="T58" fmla="*/ 85 w 320"/>
                <a:gd name="T59" fmla="*/ 256 h 277"/>
                <a:gd name="T60" fmla="*/ 298 w 320"/>
                <a:gd name="T61" fmla="*/ 256 h 277"/>
                <a:gd name="T62" fmla="*/ 245 w 320"/>
                <a:gd name="T63" fmla="*/ 256 h 277"/>
                <a:gd name="T64" fmla="*/ 245 w 320"/>
                <a:gd name="T65" fmla="*/ 64 h 277"/>
                <a:gd name="T66" fmla="*/ 298 w 320"/>
                <a:gd name="T67" fmla="*/ 64 h 277"/>
                <a:gd name="T68" fmla="*/ 298 w 320"/>
                <a:gd name="T6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1" y="256"/>
                  </a:moveTo>
                  <a:cubicBezTo>
                    <a:pt x="21" y="64"/>
                    <a:pt x="21" y="64"/>
                    <a:pt x="21" y="64"/>
                  </a:cubicBezTo>
                  <a:cubicBezTo>
                    <a:pt x="64" y="64"/>
                    <a:pt x="64" y="64"/>
                    <a:pt x="64" y="64"/>
                  </a:cubicBezTo>
                  <a:cubicBezTo>
                    <a:pt x="64" y="256"/>
                    <a:pt x="64" y="256"/>
                    <a:pt x="64" y="256"/>
                  </a:cubicBezTo>
                  <a:lnTo>
                    <a:pt x="21" y="256"/>
                  </a:lnTo>
                  <a:close/>
                  <a:moveTo>
                    <a:pt x="85" y="256"/>
                  </a:moveTo>
                  <a:cubicBezTo>
                    <a:pt x="85" y="64"/>
                    <a:pt x="85" y="64"/>
                    <a:pt x="85" y="64"/>
                  </a:cubicBezTo>
                  <a:cubicBezTo>
                    <a:pt x="224" y="64"/>
                    <a:pt x="224" y="64"/>
                    <a:pt x="224" y="64"/>
                  </a:cubicBezTo>
                  <a:cubicBezTo>
                    <a:pt x="224" y="256"/>
                    <a:pt x="224" y="256"/>
                    <a:pt x="224" y="256"/>
                  </a:cubicBezTo>
                  <a:lnTo>
                    <a:pt x="85" y="256"/>
                  </a:lnTo>
                  <a:close/>
                  <a:moveTo>
                    <a:pt x="298" y="256"/>
                  </a:moveTo>
                  <a:cubicBezTo>
                    <a:pt x="245" y="256"/>
                    <a:pt x="245" y="256"/>
                    <a:pt x="245" y="256"/>
                  </a:cubicBezTo>
                  <a:cubicBezTo>
                    <a:pt x="245" y="64"/>
                    <a:pt x="245" y="64"/>
                    <a:pt x="245" y="64"/>
                  </a:cubicBezTo>
                  <a:cubicBezTo>
                    <a:pt x="298" y="64"/>
                    <a:pt x="298" y="64"/>
                    <a:pt x="298" y="64"/>
                  </a:cubicBezTo>
                  <a:lnTo>
                    <a:pt x="298"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1" name="Freeform 674">
              <a:extLst>
                <a:ext uri="{FF2B5EF4-FFF2-40B4-BE49-F238E27FC236}">
                  <a16:creationId xmlns:a16="http://schemas.microsoft.com/office/drawing/2014/main" id="{353D9E6A-DF6F-4EDA-A0D5-1BE48DE0360C}"/>
                </a:ext>
              </a:extLst>
            </p:cNvPr>
            <p:cNvSpPr>
              <a:spLocks noEditPoints="1"/>
            </p:cNvSpPr>
            <p:nvPr/>
          </p:nvSpPr>
          <p:spPr bwMode="auto">
            <a:xfrm>
              <a:off x="3043" y="312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26" name="Freeform 841">
            <a:extLst>
              <a:ext uri="{FF2B5EF4-FFF2-40B4-BE49-F238E27FC236}">
                <a16:creationId xmlns:a16="http://schemas.microsoft.com/office/drawing/2014/main" id="{AE8B8C71-C90C-4D39-B197-2FFFDC3B5742}"/>
              </a:ext>
            </a:extLst>
          </p:cNvPr>
          <p:cNvSpPr>
            <a:spLocks noChangeAspect="1" noEditPoints="1"/>
          </p:cNvSpPr>
          <p:nvPr/>
        </p:nvSpPr>
        <p:spPr bwMode="auto">
          <a:xfrm>
            <a:off x="2210572" y="2529747"/>
            <a:ext cx="367982" cy="367982"/>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28" name="Group 844">
            <a:extLst>
              <a:ext uri="{FF2B5EF4-FFF2-40B4-BE49-F238E27FC236}">
                <a16:creationId xmlns:a16="http://schemas.microsoft.com/office/drawing/2014/main" id="{B19128EC-4A79-4191-BCBB-C90EEBBB04C3}"/>
              </a:ext>
            </a:extLst>
          </p:cNvPr>
          <p:cNvGrpSpPr>
            <a:grpSpLocks noChangeAspect="1"/>
          </p:cNvGrpSpPr>
          <p:nvPr/>
        </p:nvGrpSpPr>
        <p:grpSpPr bwMode="auto">
          <a:xfrm>
            <a:off x="2645740" y="2529747"/>
            <a:ext cx="367982" cy="367982"/>
            <a:chOff x="4857" y="3821"/>
            <a:chExt cx="340" cy="340"/>
          </a:xfrm>
          <a:solidFill>
            <a:schemeClr val="accent4"/>
          </a:solidFill>
        </p:grpSpPr>
        <p:sp>
          <p:nvSpPr>
            <p:cNvPr id="431" name="Freeform 845">
              <a:extLst>
                <a:ext uri="{FF2B5EF4-FFF2-40B4-BE49-F238E27FC236}">
                  <a16:creationId xmlns:a16="http://schemas.microsoft.com/office/drawing/2014/main" id="{37DA4E92-BF82-4FC1-A1DE-E544A90FC020}"/>
                </a:ext>
              </a:extLst>
            </p:cNvPr>
            <p:cNvSpPr>
              <a:spLocks noEditPoints="1"/>
            </p:cNvSpPr>
            <p:nvPr/>
          </p:nvSpPr>
          <p:spPr bwMode="auto">
            <a:xfrm>
              <a:off x="4857" y="3821"/>
              <a:ext cx="340" cy="340"/>
            </a:xfrm>
            <a:custGeom>
              <a:avLst/>
              <a:gdLst>
                <a:gd name="T0" fmla="*/ 256 w 512"/>
                <a:gd name="T1" fmla="*/ 21 h 512"/>
                <a:gd name="T2" fmla="*/ 21 w 512"/>
                <a:gd name="T3" fmla="*/ 256 h 512"/>
                <a:gd name="T4" fmla="*/ 256 w 512"/>
                <a:gd name="T5" fmla="*/ 490 h 512"/>
                <a:gd name="T6" fmla="*/ 490 w 512"/>
                <a:gd name="T7" fmla="*/ 256 h 512"/>
                <a:gd name="T8" fmla="*/ 256 w 512"/>
                <a:gd name="T9" fmla="*/ 21 h 512"/>
                <a:gd name="T10" fmla="*/ 256 w 512"/>
                <a:gd name="T11" fmla="*/ 0 h 512"/>
                <a:gd name="T12" fmla="*/ 512 w 512"/>
                <a:gd name="T13" fmla="*/ 256 h 512"/>
                <a:gd name="T14" fmla="*/ 256 w 512"/>
                <a:gd name="T15" fmla="*/ 512 h 512"/>
                <a:gd name="T16" fmla="*/ 0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126" y="21"/>
                    <a:pt x="21" y="126"/>
                    <a:pt x="21" y="256"/>
                  </a:cubicBezTo>
                  <a:cubicBezTo>
                    <a:pt x="21" y="385"/>
                    <a:pt x="126" y="490"/>
                    <a:pt x="256" y="490"/>
                  </a:cubicBezTo>
                  <a:cubicBezTo>
                    <a:pt x="385" y="490"/>
                    <a:pt x="490" y="385"/>
                    <a:pt x="490" y="256"/>
                  </a:cubicBezTo>
                  <a:cubicBezTo>
                    <a:pt x="490" y="126"/>
                    <a:pt x="385" y="21"/>
                    <a:pt x="256" y="21"/>
                  </a:cubicBezTo>
                  <a:moveTo>
                    <a:pt x="256" y="0"/>
                  </a:moveTo>
                  <a:cubicBezTo>
                    <a:pt x="397" y="0"/>
                    <a:pt x="512" y="114"/>
                    <a:pt x="512" y="256"/>
                  </a:cubicBezTo>
                  <a:cubicBezTo>
                    <a:pt x="512" y="397"/>
                    <a:pt x="397" y="512"/>
                    <a:pt x="256" y="512"/>
                  </a:cubicBezTo>
                  <a:cubicBezTo>
                    <a:pt x="114" y="512"/>
                    <a:pt x="0" y="397"/>
                    <a:pt x="0" y="256"/>
                  </a:cubicBezTo>
                  <a:cubicBezTo>
                    <a:pt x="0" y="114"/>
                    <a:pt x="114"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2" name="Freeform 846">
              <a:extLst>
                <a:ext uri="{FF2B5EF4-FFF2-40B4-BE49-F238E27FC236}">
                  <a16:creationId xmlns:a16="http://schemas.microsoft.com/office/drawing/2014/main" id="{E7070EBF-A07D-4BD8-9CB9-145C1E68DCBB}"/>
                </a:ext>
              </a:extLst>
            </p:cNvPr>
            <p:cNvSpPr>
              <a:spLocks noEditPoints="1"/>
            </p:cNvSpPr>
            <p:nvPr/>
          </p:nvSpPr>
          <p:spPr bwMode="auto">
            <a:xfrm>
              <a:off x="4921" y="3899"/>
              <a:ext cx="212" cy="170"/>
            </a:xfrm>
            <a:custGeom>
              <a:avLst/>
              <a:gdLst>
                <a:gd name="T0" fmla="*/ 64 w 320"/>
                <a:gd name="T1" fmla="*/ 171 h 256"/>
                <a:gd name="T2" fmla="*/ 64 w 320"/>
                <a:gd name="T3" fmla="*/ 128 h 256"/>
                <a:gd name="T4" fmla="*/ 256 w 320"/>
                <a:gd name="T5" fmla="*/ 128 h 256"/>
                <a:gd name="T6" fmla="*/ 256 w 320"/>
                <a:gd name="T7" fmla="*/ 171 h 256"/>
                <a:gd name="T8" fmla="*/ 256 w 320"/>
                <a:gd name="T9" fmla="*/ 128 h 256"/>
                <a:gd name="T10" fmla="*/ 309 w 320"/>
                <a:gd name="T11" fmla="*/ 202 h 256"/>
                <a:gd name="T12" fmla="*/ 298 w 320"/>
                <a:gd name="T13" fmla="*/ 256 h 256"/>
                <a:gd name="T14" fmla="*/ 234 w 320"/>
                <a:gd name="T15" fmla="*/ 245 h 256"/>
                <a:gd name="T16" fmla="*/ 165 w 320"/>
                <a:gd name="T17" fmla="*/ 224 h 256"/>
                <a:gd name="T18" fmla="*/ 85 w 320"/>
                <a:gd name="T19" fmla="*/ 245 h 256"/>
                <a:gd name="T20" fmla="*/ 21 w 320"/>
                <a:gd name="T21" fmla="*/ 256 h 256"/>
                <a:gd name="T22" fmla="*/ 10 w 320"/>
                <a:gd name="T23" fmla="*/ 203 h 256"/>
                <a:gd name="T24" fmla="*/ 10 w 320"/>
                <a:gd name="T25" fmla="*/ 203 h 256"/>
                <a:gd name="T26" fmla="*/ 10 w 320"/>
                <a:gd name="T27" fmla="*/ 203 h 256"/>
                <a:gd name="T28" fmla="*/ 10 w 320"/>
                <a:gd name="T29" fmla="*/ 199 h 256"/>
                <a:gd name="T30" fmla="*/ 0 w 320"/>
                <a:gd name="T31" fmla="*/ 181 h 256"/>
                <a:gd name="T32" fmla="*/ 44 w 320"/>
                <a:gd name="T33" fmla="*/ 88 h 256"/>
                <a:gd name="T34" fmla="*/ 32 w 320"/>
                <a:gd name="T35" fmla="*/ 85 h 256"/>
                <a:gd name="T36" fmla="*/ 32 w 320"/>
                <a:gd name="T37" fmla="*/ 64 h 256"/>
                <a:gd name="T38" fmla="*/ 64 w 320"/>
                <a:gd name="T39" fmla="*/ 29 h 256"/>
                <a:gd name="T40" fmla="*/ 106 w 320"/>
                <a:gd name="T41" fmla="*/ 0 h 256"/>
                <a:gd name="T42" fmla="*/ 254 w 320"/>
                <a:gd name="T43" fmla="*/ 27 h 256"/>
                <a:gd name="T44" fmla="*/ 267 w 320"/>
                <a:gd name="T45" fmla="*/ 64 h 256"/>
                <a:gd name="T46" fmla="*/ 298 w 320"/>
                <a:gd name="T47" fmla="*/ 75 h 256"/>
                <a:gd name="T48" fmla="*/ 274 w 320"/>
                <a:gd name="T49" fmla="*/ 85 h 256"/>
                <a:gd name="T50" fmla="*/ 320 w 320"/>
                <a:gd name="T51" fmla="*/ 149 h 256"/>
                <a:gd name="T52" fmla="*/ 316 w 320"/>
                <a:gd name="T53" fmla="*/ 194 h 256"/>
                <a:gd name="T54" fmla="*/ 252 w 320"/>
                <a:gd name="T55" fmla="*/ 85 h 256"/>
                <a:gd name="T56" fmla="*/ 213 w 320"/>
                <a:gd name="T57" fmla="*/ 21 h 256"/>
                <a:gd name="T58" fmla="*/ 84 w 320"/>
                <a:gd name="T59" fmla="*/ 36 h 256"/>
                <a:gd name="T60" fmla="*/ 64 w 320"/>
                <a:gd name="T61" fmla="*/ 217 h 256"/>
                <a:gd name="T62" fmla="*/ 32 w 320"/>
                <a:gd name="T63" fmla="*/ 235 h 256"/>
                <a:gd name="T64" fmla="*/ 64 w 320"/>
                <a:gd name="T65" fmla="*/ 217 h 256"/>
                <a:gd name="T66" fmla="*/ 298 w 320"/>
                <a:gd name="T67" fmla="*/ 183 h 256"/>
                <a:gd name="T68" fmla="*/ 298 w 320"/>
                <a:gd name="T69" fmla="*/ 149 h 256"/>
                <a:gd name="T70" fmla="*/ 62 w 320"/>
                <a:gd name="T71" fmla="*/ 107 h 256"/>
                <a:gd name="T72" fmla="*/ 21 w 320"/>
                <a:gd name="T73" fmla="*/ 180 h 256"/>
                <a:gd name="T74" fmla="*/ 288 w 320"/>
                <a:gd name="T75" fmla="*/ 212 h 256"/>
                <a:gd name="T76" fmla="*/ 256 w 320"/>
                <a:gd name="T77" fmla="*/ 235 h 256"/>
                <a:gd name="T78" fmla="*/ 288 w 320"/>
                <a:gd name="T79" fmla="*/ 212 h 256"/>
                <a:gd name="T80" fmla="*/ 128 w 320"/>
                <a:gd name="T81" fmla="*/ 139 h 256"/>
                <a:gd name="T82" fmla="*/ 128 w 320"/>
                <a:gd name="T83" fmla="*/ 160 h 256"/>
                <a:gd name="T84" fmla="*/ 202 w 320"/>
                <a:gd name="T85"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85" y="149"/>
                  </a:moveTo>
                  <a:cubicBezTo>
                    <a:pt x="85" y="161"/>
                    <a:pt x="75" y="171"/>
                    <a:pt x="64" y="171"/>
                  </a:cubicBezTo>
                  <a:cubicBezTo>
                    <a:pt x="52" y="171"/>
                    <a:pt x="42" y="161"/>
                    <a:pt x="42" y="149"/>
                  </a:cubicBezTo>
                  <a:cubicBezTo>
                    <a:pt x="42" y="138"/>
                    <a:pt x="52" y="128"/>
                    <a:pt x="64" y="128"/>
                  </a:cubicBezTo>
                  <a:cubicBezTo>
                    <a:pt x="75" y="128"/>
                    <a:pt x="85" y="138"/>
                    <a:pt x="85" y="149"/>
                  </a:cubicBezTo>
                  <a:close/>
                  <a:moveTo>
                    <a:pt x="256" y="128"/>
                  </a:moveTo>
                  <a:cubicBezTo>
                    <a:pt x="244" y="128"/>
                    <a:pt x="234" y="138"/>
                    <a:pt x="234" y="149"/>
                  </a:cubicBezTo>
                  <a:cubicBezTo>
                    <a:pt x="234" y="161"/>
                    <a:pt x="244" y="171"/>
                    <a:pt x="256" y="171"/>
                  </a:cubicBezTo>
                  <a:cubicBezTo>
                    <a:pt x="267" y="171"/>
                    <a:pt x="277" y="161"/>
                    <a:pt x="277" y="149"/>
                  </a:cubicBezTo>
                  <a:cubicBezTo>
                    <a:pt x="277" y="138"/>
                    <a:pt x="267" y="128"/>
                    <a:pt x="256" y="128"/>
                  </a:cubicBezTo>
                  <a:close/>
                  <a:moveTo>
                    <a:pt x="316" y="194"/>
                  </a:moveTo>
                  <a:cubicBezTo>
                    <a:pt x="314" y="197"/>
                    <a:pt x="312" y="199"/>
                    <a:pt x="309" y="202"/>
                  </a:cubicBezTo>
                  <a:cubicBezTo>
                    <a:pt x="309" y="202"/>
                    <a:pt x="309" y="245"/>
                    <a:pt x="309" y="245"/>
                  </a:cubicBezTo>
                  <a:cubicBezTo>
                    <a:pt x="309" y="251"/>
                    <a:pt x="304" y="256"/>
                    <a:pt x="298" y="256"/>
                  </a:cubicBezTo>
                  <a:cubicBezTo>
                    <a:pt x="245" y="256"/>
                    <a:pt x="245" y="256"/>
                    <a:pt x="245" y="256"/>
                  </a:cubicBezTo>
                  <a:cubicBezTo>
                    <a:pt x="239" y="256"/>
                    <a:pt x="234" y="251"/>
                    <a:pt x="234" y="245"/>
                  </a:cubicBezTo>
                  <a:cubicBezTo>
                    <a:pt x="234" y="221"/>
                    <a:pt x="234" y="221"/>
                    <a:pt x="234" y="221"/>
                  </a:cubicBezTo>
                  <a:cubicBezTo>
                    <a:pt x="215" y="223"/>
                    <a:pt x="192" y="224"/>
                    <a:pt x="165" y="224"/>
                  </a:cubicBezTo>
                  <a:cubicBezTo>
                    <a:pt x="134" y="224"/>
                    <a:pt x="107" y="223"/>
                    <a:pt x="85" y="220"/>
                  </a:cubicBezTo>
                  <a:cubicBezTo>
                    <a:pt x="85" y="245"/>
                    <a:pt x="85" y="245"/>
                    <a:pt x="85" y="245"/>
                  </a:cubicBezTo>
                  <a:cubicBezTo>
                    <a:pt x="85" y="251"/>
                    <a:pt x="80" y="256"/>
                    <a:pt x="74" y="256"/>
                  </a:cubicBezTo>
                  <a:cubicBezTo>
                    <a:pt x="21" y="256"/>
                    <a:pt x="21" y="256"/>
                    <a:pt x="21" y="256"/>
                  </a:cubicBezTo>
                  <a:cubicBezTo>
                    <a:pt x="15" y="256"/>
                    <a:pt x="10" y="251"/>
                    <a:pt x="10" y="245"/>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199"/>
                    <a:pt x="10" y="199"/>
                    <a:pt x="10" y="199"/>
                  </a:cubicBezTo>
                  <a:cubicBezTo>
                    <a:pt x="10" y="199"/>
                    <a:pt x="7" y="197"/>
                    <a:pt x="6" y="195"/>
                  </a:cubicBezTo>
                  <a:cubicBezTo>
                    <a:pt x="0" y="189"/>
                    <a:pt x="0" y="183"/>
                    <a:pt x="0" y="181"/>
                  </a:cubicBezTo>
                  <a:cubicBezTo>
                    <a:pt x="0" y="149"/>
                    <a:pt x="0" y="149"/>
                    <a:pt x="0" y="149"/>
                  </a:cubicBezTo>
                  <a:cubicBezTo>
                    <a:pt x="0" y="120"/>
                    <a:pt x="19" y="96"/>
                    <a:pt x="44" y="88"/>
                  </a:cubicBezTo>
                  <a:cubicBezTo>
                    <a:pt x="45" y="85"/>
                    <a:pt x="45" y="85"/>
                    <a:pt x="45" y="85"/>
                  </a:cubicBezTo>
                  <a:cubicBezTo>
                    <a:pt x="32" y="85"/>
                    <a:pt x="32" y="85"/>
                    <a:pt x="32" y="85"/>
                  </a:cubicBezTo>
                  <a:cubicBezTo>
                    <a:pt x="26" y="85"/>
                    <a:pt x="21" y="81"/>
                    <a:pt x="21" y="75"/>
                  </a:cubicBezTo>
                  <a:cubicBezTo>
                    <a:pt x="21" y="69"/>
                    <a:pt x="26" y="64"/>
                    <a:pt x="32" y="64"/>
                  </a:cubicBezTo>
                  <a:cubicBezTo>
                    <a:pt x="52" y="64"/>
                    <a:pt x="52" y="64"/>
                    <a:pt x="52" y="64"/>
                  </a:cubicBezTo>
                  <a:cubicBezTo>
                    <a:pt x="64" y="29"/>
                    <a:pt x="64" y="29"/>
                    <a:pt x="64" y="29"/>
                  </a:cubicBezTo>
                  <a:cubicBezTo>
                    <a:pt x="64" y="28"/>
                    <a:pt x="65" y="28"/>
                    <a:pt x="65" y="27"/>
                  </a:cubicBezTo>
                  <a:cubicBezTo>
                    <a:pt x="65" y="26"/>
                    <a:pt x="80" y="0"/>
                    <a:pt x="106" y="0"/>
                  </a:cubicBezTo>
                  <a:cubicBezTo>
                    <a:pt x="213" y="0"/>
                    <a:pt x="213" y="0"/>
                    <a:pt x="213" y="0"/>
                  </a:cubicBezTo>
                  <a:cubicBezTo>
                    <a:pt x="240" y="0"/>
                    <a:pt x="254" y="26"/>
                    <a:pt x="254" y="27"/>
                  </a:cubicBezTo>
                  <a:cubicBezTo>
                    <a:pt x="255" y="28"/>
                    <a:pt x="255" y="28"/>
                    <a:pt x="255" y="29"/>
                  </a:cubicBezTo>
                  <a:cubicBezTo>
                    <a:pt x="267" y="64"/>
                    <a:pt x="267" y="64"/>
                    <a:pt x="267" y="64"/>
                  </a:cubicBezTo>
                  <a:cubicBezTo>
                    <a:pt x="288" y="64"/>
                    <a:pt x="288" y="64"/>
                    <a:pt x="288" y="64"/>
                  </a:cubicBezTo>
                  <a:cubicBezTo>
                    <a:pt x="294" y="64"/>
                    <a:pt x="298" y="69"/>
                    <a:pt x="298" y="75"/>
                  </a:cubicBezTo>
                  <a:cubicBezTo>
                    <a:pt x="298" y="81"/>
                    <a:pt x="294" y="85"/>
                    <a:pt x="288" y="85"/>
                  </a:cubicBezTo>
                  <a:cubicBezTo>
                    <a:pt x="274" y="85"/>
                    <a:pt x="274" y="85"/>
                    <a:pt x="274" y="85"/>
                  </a:cubicBezTo>
                  <a:cubicBezTo>
                    <a:pt x="275" y="88"/>
                    <a:pt x="275" y="88"/>
                    <a:pt x="275" y="88"/>
                  </a:cubicBezTo>
                  <a:cubicBezTo>
                    <a:pt x="301" y="96"/>
                    <a:pt x="320" y="120"/>
                    <a:pt x="320" y="149"/>
                  </a:cubicBezTo>
                  <a:cubicBezTo>
                    <a:pt x="320" y="180"/>
                    <a:pt x="320" y="180"/>
                    <a:pt x="320" y="180"/>
                  </a:cubicBezTo>
                  <a:cubicBezTo>
                    <a:pt x="320" y="184"/>
                    <a:pt x="320" y="189"/>
                    <a:pt x="316" y="194"/>
                  </a:cubicBezTo>
                  <a:close/>
                  <a:moveTo>
                    <a:pt x="68" y="85"/>
                  </a:moveTo>
                  <a:cubicBezTo>
                    <a:pt x="252" y="85"/>
                    <a:pt x="252" y="85"/>
                    <a:pt x="252" y="85"/>
                  </a:cubicBezTo>
                  <a:cubicBezTo>
                    <a:pt x="235" y="36"/>
                    <a:pt x="235" y="36"/>
                    <a:pt x="235" y="36"/>
                  </a:cubicBezTo>
                  <a:cubicBezTo>
                    <a:pt x="233" y="34"/>
                    <a:pt x="225" y="21"/>
                    <a:pt x="213" y="21"/>
                  </a:cubicBezTo>
                  <a:cubicBezTo>
                    <a:pt x="106" y="21"/>
                    <a:pt x="106" y="21"/>
                    <a:pt x="106" y="21"/>
                  </a:cubicBezTo>
                  <a:cubicBezTo>
                    <a:pt x="94" y="21"/>
                    <a:pt x="86" y="33"/>
                    <a:pt x="84" y="36"/>
                  </a:cubicBezTo>
                  <a:lnTo>
                    <a:pt x="68" y="85"/>
                  </a:lnTo>
                  <a:close/>
                  <a:moveTo>
                    <a:pt x="64" y="217"/>
                  </a:moveTo>
                  <a:cubicBezTo>
                    <a:pt x="51" y="215"/>
                    <a:pt x="41" y="213"/>
                    <a:pt x="32" y="210"/>
                  </a:cubicBezTo>
                  <a:cubicBezTo>
                    <a:pt x="32" y="235"/>
                    <a:pt x="32" y="235"/>
                    <a:pt x="32" y="235"/>
                  </a:cubicBezTo>
                  <a:cubicBezTo>
                    <a:pt x="64" y="235"/>
                    <a:pt x="64" y="235"/>
                    <a:pt x="64" y="235"/>
                  </a:cubicBezTo>
                  <a:lnTo>
                    <a:pt x="64" y="217"/>
                  </a:lnTo>
                  <a:close/>
                  <a:moveTo>
                    <a:pt x="165" y="203"/>
                  </a:moveTo>
                  <a:cubicBezTo>
                    <a:pt x="278" y="203"/>
                    <a:pt x="296" y="185"/>
                    <a:pt x="298" y="183"/>
                  </a:cubicBezTo>
                  <a:cubicBezTo>
                    <a:pt x="298" y="182"/>
                    <a:pt x="298" y="182"/>
                    <a:pt x="298" y="181"/>
                  </a:cubicBezTo>
                  <a:cubicBezTo>
                    <a:pt x="298" y="149"/>
                    <a:pt x="298" y="149"/>
                    <a:pt x="298" y="149"/>
                  </a:cubicBezTo>
                  <a:cubicBezTo>
                    <a:pt x="298" y="126"/>
                    <a:pt x="280" y="107"/>
                    <a:pt x="258" y="107"/>
                  </a:cubicBezTo>
                  <a:cubicBezTo>
                    <a:pt x="62" y="107"/>
                    <a:pt x="62" y="107"/>
                    <a:pt x="62" y="107"/>
                  </a:cubicBezTo>
                  <a:cubicBezTo>
                    <a:pt x="39" y="107"/>
                    <a:pt x="21" y="126"/>
                    <a:pt x="21" y="149"/>
                  </a:cubicBezTo>
                  <a:cubicBezTo>
                    <a:pt x="21" y="180"/>
                    <a:pt x="21" y="180"/>
                    <a:pt x="21" y="180"/>
                  </a:cubicBezTo>
                  <a:cubicBezTo>
                    <a:pt x="23" y="183"/>
                    <a:pt x="43" y="203"/>
                    <a:pt x="165" y="203"/>
                  </a:cubicBezTo>
                  <a:close/>
                  <a:moveTo>
                    <a:pt x="288" y="212"/>
                  </a:moveTo>
                  <a:cubicBezTo>
                    <a:pt x="279" y="215"/>
                    <a:pt x="268" y="217"/>
                    <a:pt x="256" y="219"/>
                  </a:cubicBezTo>
                  <a:cubicBezTo>
                    <a:pt x="256" y="235"/>
                    <a:pt x="256" y="235"/>
                    <a:pt x="256" y="235"/>
                  </a:cubicBezTo>
                  <a:cubicBezTo>
                    <a:pt x="288" y="235"/>
                    <a:pt x="288" y="235"/>
                    <a:pt x="288" y="235"/>
                  </a:cubicBezTo>
                  <a:lnTo>
                    <a:pt x="288" y="212"/>
                  </a:lnTo>
                  <a:close/>
                  <a:moveTo>
                    <a:pt x="192" y="139"/>
                  </a:moveTo>
                  <a:cubicBezTo>
                    <a:pt x="128" y="139"/>
                    <a:pt x="128" y="139"/>
                    <a:pt x="128" y="139"/>
                  </a:cubicBezTo>
                  <a:cubicBezTo>
                    <a:pt x="122" y="139"/>
                    <a:pt x="117" y="143"/>
                    <a:pt x="117" y="149"/>
                  </a:cubicBezTo>
                  <a:cubicBezTo>
                    <a:pt x="117" y="155"/>
                    <a:pt x="122" y="160"/>
                    <a:pt x="128" y="160"/>
                  </a:cubicBezTo>
                  <a:cubicBezTo>
                    <a:pt x="192" y="160"/>
                    <a:pt x="192" y="160"/>
                    <a:pt x="192" y="160"/>
                  </a:cubicBezTo>
                  <a:cubicBezTo>
                    <a:pt x="198" y="160"/>
                    <a:pt x="202" y="155"/>
                    <a:pt x="202" y="149"/>
                  </a:cubicBezTo>
                  <a:cubicBezTo>
                    <a:pt x="202" y="143"/>
                    <a:pt x="198" y="139"/>
                    <a:pt x="192"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3" name="Freeform 850">
            <a:extLst>
              <a:ext uri="{FF2B5EF4-FFF2-40B4-BE49-F238E27FC236}">
                <a16:creationId xmlns:a16="http://schemas.microsoft.com/office/drawing/2014/main" id="{B803C6CE-9A68-448B-BDCD-CBA9EE1B5092}"/>
              </a:ext>
            </a:extLst>
          </p:cNvPr>
          <p:cNvSpPr>
            <a:spLocks noChangeAspect="1" noEditPoints="1"/>
          </p:cNvSpPr>
          <p:nvPr/>
        </p:nvSpPr>
        <p:spPr bwMode="auto">
          <a:xfrm>
            <a:off x="3080908" y="2529747"/>
            <a:ext cx="369064" cy="367982"/>
          </a:xfrm>
          <a:custGeom>
            <a:avLst/>
            <a:gdLst>
              <a:gd name="T0" fmla="*/ 384 w 512"/>
              <a:gd name="T1" fmla="*/ 329 h 512"/>
              <a:gd name="T2" fmla="*/ 352 w 512"/>
              <a:gd name="T3" fmla="*/ 352 h 512"/>
              <a:gd name="T4" fmla="*/ 128 w 512"/>
              <a:gd name="T5" fmla="*/ 352 h 512"/>
              <a:gd name="T6" fmla="*/ 160 w 512"/>
              <a:gd name="T7" fmla="*/ 334 h 512"/>
              <a:gd name="T8" fmla="*/ 128 w 512"/>
              <a:gd name="T9" fmla="*/ 352 h 512"/>
              <a:gd name="T10" fmla="*/ 256 w 512"/>
              <a:gd name="T11" fmla="*/ 512 h 512"/>
              <a:gd name="T12" fmla="*/ 256 w 512"/>
              <a:gd name="T13" fmla="*/ 0 h 512"/>
              <a:gd name="T14" fmla="*/ 416 w 512"/>
              <a:gd name="T15" fmla="*/ 297 h 512"/>
              <a:gd name="T16" fmla="*/ 371 w 512"/>
              <a:gd name="T17" fmla="*/ 205 h 512"/>
              <a:gd name="T18" fmla="*/ 384 w 512"/>
              <a:gd name="T19" fmla="*/ 202 h 512"/>
              <a:gd name="T20" fmla="*/ 384 w 512"/>
              <a:gd name="T21" fmla="*/ 181 h 512"/>
              <a:gd name="T22" fmla="*/ 351 w 512"/>
              <a:gd name="T23" fmla="*/ 146 h 512"/>
              <a:gd name="T24" fmla="*/ 309 w 512"/>
              <a:gd name="T25" fmla="*/ 117 h 512"/>
              <a:gd name="T26" fmla="*/ 161 w 512"/>
              <a:gd name="T27" fmla="*/ 144 h 512"/>
              <a:gd name="T28" fmla="*/ 148 w 512"/>
              <a:gd name="T29" fmla="*/ 181 h 512"/>
              <a:gd name="T30" fmla="*/ 117 w 512"/>
              <a:gd name="T31" fmla="*/ 192 h 512"/>
              <a:gd name="T32" fmla="*/ 141 w 512"/>
              <a:gd name="T33" fmla="*/ 202 h 512"/>
              <a:gd name="T34" fmla="*/ 96 w 512"/>
              <a:gd name="T35" fmla="*/ 266 h 512"/>
              <a:gd name="T36" fmla="*/ 102 w 512"/>
              <a:gd name="T37" fmla="*/ 312 h 512"/>
              <a:gd name="T38" fmla="*/ 106 w 512"/>
              <a:gd name="T39" fmla="*/ 362 h 512"/>
              <a:gd name="T40" fmla="*/ 170 w 512"/>
              <a:gd name="T41" fmla="*/ 373 h 512"/>
              <a:gd name="T42" fmla="*/ 181 w 512"/>
              <a:gd name="T43" fmla="*/ 337 h 512"/>
              <a:gd name="T44" fmla="*/ 330 w 512"/>
              <a:gd name="T45" fmla="*/ 338 h 512"/>
              <a:gd name="T46" fmla="*/ 341 w 512"/>
              <a:gd name="T47" fmla="*/ 373 h 512"/>
              <a:gd name="T48" fmla="*/ 405 w 512"/>
              <a:gd name="T49" fmla="*/ 362 h 512"/>
              <a:gd name="T50" fmla="*/ 412 w 512"/>
              <a:gd name="T51" fmla="*/ 311 h 512"/>
              <a:gd name="T52" fmla="*/ 331 w 512"/>
              <a:gd name="T53" fmla="*/ 153 h 512"/>
              <a:gd name="T54" fmla="*/ 202 w 512"/>
              <a:gd name="T55" fmla="*/ 138 h 512"/>
              <a:gd name="T56" fmla="*/ 164 w 512"/>
              <a:gd name="T57" fmla="*/ 202 h 512"/>
              <a:gd name="T58" fmla="*/ 331 w 512"/>
              <a:gd name="T59" fmla="*/ 153 h 512"/>
              <a:gd name="T60" fmla="*/ 394 w 512"/>
              <a:gd name="T61" fmla="*/ 300 h 512"/>
              <a:gd name="T62" fmla="*/ 117 w 512"/>
              <a:gd name="T63" fmla="*/ 297 h 512"/>
              <a:gd name="T64" fmla="*/ 158 w 512"/>
              <a:gd name="T65" fmla="*/ 224 h 512"/>
              <a:gd name="T66" fmla="*/ 394 w 512"/>
              <a:gd name="T67" fmla="*/ 266 h 512"/>
              <a:gd name="T68" fmla="*/ 246 w 512"/>
              <a:gd name="T69" fmla="*/ 294 h 512"/>
              <a:gd name="T70" fmla="*/ 214 w 512"/>
              <a:gd name="T71" fmla="*/ 293 h 512"/>
              <a:gd name="T72" fmla="*/ 236 w 512"/>
              <a:gd name="T73" fmla="*/ 271 h 512"/>
              <a:gd name="T74" fmla="*/ 244 w 512"/>
              <a:gd name="T75" fmla="*/ 253 h 512"/>
              <a:gd name="T76" fmla="*/ 233 w 512"/>
              <a:gd name="T77" fmla="*/ 236 h 512"/>
              <a:gd name="T78" fmla="*/ 212 w 512"/>
              <a:gd name="T79" fmla="*/ 235 h 512"/>
              <a:gd name="T80" fmla="*/ 195 w 512"/>
              <a:gd name="T81" fmla="*/ 244 h 512"/>
              <a:gd name="T82" fmla="*/ 212 w 512"/>
              <a:gd name="T83" fmla="*/ 248 h 512"/>
              <a:gd name="T84" fmla="*/ 226 w 512"/>
              <a:gd name="T85" fmla="*/ 249 h 512"/>
              <a:gd name="T86" fmla="*/ 227 w 512"/>
              <a:gd name="T87" fmla="*/ 261 h 512"/>
              <a:gd name="T88" fmla="*/ 214 w 512"/>
              <a:gd name="T89" fmla="*/ 278 h 512"/>
              <a:gd name="T90" fmla="*/ 196 w 512"/>
              <a:gd name="T91" fmla="*/ 306 h 512"/>
              <a:gd name="T92" fmla="*/ 246 w 512"/>
              <a:gd name="T93" fmla="*/ 294 h 512"/>
              <a:gd name="T94" fmla="*/ 283 w 512"/>
              <a:gd name="T95" fmla="*/ 266 h 512"/>
              <a:gd name="T96" fmla="*/ 272 w 512"/>
              <a:gd name="T97" fmla="*/ 247 h 512"/>
              <a:gd name="T98" fmla="*/ 253 w 512"/>
              <a:gd name="T99" fmla="*/ 266 h 512"/>
              <a:gd name="T100" fmla="*/ 272 w 512"/>
              <a:gd name="T101" fmla="*/ 276 h 512"/>
              <a:gd name="T102" fmla="*/ 283 w 512"/>
              <a:gd name="T103" fmla="*/ 295 h 512"/>
              <a:gd name="T104" fmla="*/ 301 w 512"/>
              <a:gd name="T105" fmla="*/ 2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52" y="336"/>
                </a:moveTo>
                <a:cubicBezTo>
                  <a:pt x="364" y="334"/>
                  <a:pt x="375" y="332"/>
                  <a:pt x="384" y="329"/>
                </a:cubicBezTo>
                <a:cubicBezTo>
                  <a:pt x="384" y="352"/>
                  <a:pt x="384" y="352"/>
                  <a:pt x="384" y="352"/>
                </a:cubicBezTo>
                <a:cubicBezTo>
                  <a:pt x="352" y="352"/>
                  <a:pt x="352" y="352"/>
                  <a:pt x="352" y="352"/>
                </a:cubicBezTo>
                <a:lnTo>
                  <a:pt x="352" y="336"/>
                </a:lnTo>
                <a:close/>
                <a:moveTo>
                  <a:pt x="128" y="352"/>
                </a:moveTo>
                <a:cubicBezTo>
                  <a:pt x="160" y="352"/>
                  <a:pt x="160" y="352"/>
                  <a:pt x="160" y="352"/>
                </a:cubicBezTo>
                <a:cubicBezTo>
                  <a:pt x="160" y="334"/>
                  <a:pt x="160" y="334"/>
                  <a:pt x="160" y="334"/>
                </a:cubicBezTo>
                <a:cubicBezTo>
                  <a:pt x="147" y="332"/>
                  <a:pt x="137" y="330"/>
                  <a:pt x="128" y="327"/>
                </a:cubicBezTo>
                <a:lnTo>
                  <a:pt x="128"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7"/>
                </a:moveTo>
                <a:cubicBezTo>
                  <a:pt x="416" y="266"/>
                  <a:pt x="416" y="266"/>
                  <a:pt x="416" y="266"/>
                </a:cubicBez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5" y="315"/>
                  <a:pt x="106" y="316"/>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19"/>
                  <a:pt x="405" y="319"/>
                  <a:pt x="405" y="319"/>
                </a:cubicBezTo>
                <a:cubicBezTo>
                  <a:pt x="408" y="316"/>
                  <a:pt x="410" y="314"/>
                  <a:pt x="412" y="311"/>
                </a:cubicBezTo>
                <a:cubicBezTo>
                  <a:pt x="416" y="306"/>
                  <a:pt x="416" y="301"/>
                  <a:pt x="416" y="297"/>
                </a:cubicBez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246" y="294"/>
                </a:moveTo>
                <a:cubicBezTo>
                  <a:pt x="214" y="294"/>
                  <a:pt x="214" y="294"/>
                  <a:pt x="214" y="294"/>
                </a:cubicBezTo>
                <a:cubicBezTo>
                  <a:pt x="214" y="293"/>
                  <a:pt x="214" y="293"/>
                  <a:pt x="214" y="293"/>
                </a:cubicBezTo>
                <a:cubicBezTo>
                  <a:pt x="224" y="284"/>
                  <a:pt x="224" y="284"/>
                  <a:pt x="224" y="284"/>
                </a:cubicBezTo>
                <a:cubicBezTo>
                  <a:pt x="230" y="279"/>
                  <a:pt x="234" y="274"/>
                  <a:pt x="236" y="271"/>
                </a:cubicBezTo>
                <a:cubicBezTo>
                  <a:pt x="239" y="268"/>
                  <a:pt x="241" y="265"/>
                  <a:pt x="242" y="263"/>
                </a:cubicBezTo>
                <a:cubicBezTo>
                  <a:pt x="243" y="260"/>
                  <a:pt x="244" y="257"/>
                  <a:pt x="244" y="253"/>
                </a:cubicBezTo>
                <a:cubicBezTo>
                  <a:pt x="244" y="250"/>
                  <a:pt x="243" y="246"/>
                  <a:pt x="241" y="243"/>
                </a:cubicBezTo>
                <a:cubicBezTo>
                  <a:pt x="239" y="240"/>
                  <a:pt x="236" y="238"/>
                  <a:pt x="233" y="236"/>
                </a:cubicBezTo>
                <a:cubicBezTo>
                  <a:pt x="229" y="235"/>
                  <a:pt x="225" y="234"/>
                  <a:pt x="221" y="234"/>
                </a:cubicBezTo>
                <a:cubicBezTo>
                  <a:pt x="218" y="234"/>
                  <a:pt x="215" y="234"/>
                  <a:pt x="212" y="235"/>
                </a:cubicBezTo>
                <a:cubicBezTo>
                  <a:pt x="209" y="236"/>
                  <a:pt x="207" y="237"/>
                  <a:pt x="204" y="238"/>
                </a:cubicBezTo>
                <a:cubicBezTo>
                  <a:pt x="202" y="239"/>
                  <a:pt x="199" y="241"/>
                  <a:pt x="195" y="244"/>
                </a:cubicBezTo>
                <a:cubicBezTo>
                  <a:pt x="204" y="254"/>
                  <a:pt x="204" y="254"/>
                  <a:pt x="204" y="254"/>
                </a:cubicBezTo>
                <a:cubicBezTo>
                  <a:pt x="207" y="252"/>
                  <a:pt x="209" y="250"/>
                  <a:pt x="212" y="248"/>
                </a:cubicBezTo>
                <a:cubicBezTo>
                  <a:pt x="214" y="247"/>
                  <a:pt x="217" y="247"/>
                  <a:pt x="220" y="247"/>
                </a:cubicBezTo>
                <a:cubicBezTo>
                  <a:pt x="223" y="247"/>
                  <a:pt x="225" y="247"/>
                  <a:pt x="226" y="249"/>
                </a:cubicBezTo>
                <a:cubicBezTo>
                  <a:pt x="228" y="250"/>
                  <a:pt x="229" y="252"/>
                  <a:pt x="229" y="255"/>
                </a:cubicBezTo>
                <a:cubicBezTo>
                  <a:pt x="229" y="257"/>
                  <a:pt x="228" y="259"/>
                  <a:pt x="227" y="261"/>
                </a:cubicBezTo>
                <a:cubicBezTo>
                  <a:pt x="227" y="262"/>
                  <a:pt x="226" y="264"/>
                  <a:pt x="224" y="266"/>
                </a:cubicBezTo>
                <a:cubicBezTo>
                  <a:pt x="222" y="269"/>
                  <a:pt x="219" y="272"/>
                  <a:pt x="214" y="278"/>
                </a:cubicBezTo>
                <a:cubicBezTo>
                  <a:pt x="196" y="296"/>
                  <a:pt x="196" y="296"/>
                  <a:pt x="196" y="296"/>
                </a:cubicBezTo>
                <a:cubicBezTo>
                  <a:pt x="196" y="306"/>
                  <a:pt x="196" y="306"/>
                  <a:pt x="196" y="306"/>
                </a:cubicBezTo>
                <a:cubicBezTo>
                  <a:pt x="246" y="306"/>
                  <a:pt x="246" y="306"/>
                  <a:pt x="246" y="306"/>
                </a:cubicBezTo>
                <a:lnTo>
                  <a:pt x="246" y="294"/>
                </a:lnTo>
                <a:close/>
                <a:moveTo>
                  <a:pt x="301" y="266"/>
                </a:moveTo>
                <a:cubicBezTo>
                  <a:pt x="283" y="266"/>
                  <a:pt x="283" y="266"/>
                  <a:pt x="283" y="266"/>
                </a:cubicBezTo>
                <a:cubicBezTo>
                  <a:pt x="283" y="247"/>
                  <a:pt x="283" y="247"/>
                  <a:pt x="283" y="247"/>
                </a:cubicBezTo>
                <a:cubicBezTo>
                  <a:pt x="272" y="247"/>
                  <a:pt x="272" y="247"/>
                  <a:pt x="272" y="247"/>
                </a:cubicBezTo>
                <a:cubicBezTo>
                  <a:pt x="272" y="266"/>
                  <a:pt x="272" y="266"/>
                  <a:pt x="272" y="266"/>
                </a:cubicBezTo>
                <a:cubicBezTo>
                  <a:pt x="253" y="266"/>
                  <a:pt x="253" y="266"/>
                  <a:pt x="253" y="266"/>
                </a:cubicBezTo>
                <a:cubicBezTo>
                  <a:pt x="253" y="276"/>
                  <a:pt x="253" y="276"/>
                  <a:pt x="253" y="276"/>
                </a:cubicBezTo>
                <a:cubicBezTo>
                  <a:pt x="272" y="276"/>
                  <a:pt x="272" y="276"/>
                  <a:pt x="272" y="276"/>
                </a:cubicBezTo>
                <a:cubicBezTo>
                  <a:pt x="272" y="295"/>
                  <a:pt x="272" y="295"/>
                  <a:pt x="272" y="295"/>
                </a:cubicBezTo>
                <a:cubicBezTo>
                  <a:pt x="283" y="295"/>
                  <a:pt x="283" y="295"/>
                  <a:pt x="283" y="295"/>
                </a:cubicBezTo>
                <a:cubicBezTo>
                  <a:pt x="283" y="276"/>
                  <a:pt x="283" y="276"/>
                  <a:pt x="283" y="276"/>
                </a:cubicBezTo>
                <a:cubicBezTo>
                  <a:pt x="301" y="276"/>
                  <a:pt x="301" y="276"/>
                  <a:pt x="301" y="276"/>
                </a:cubicBezTo>
                <a:lnTo>
                  <a:pt x="301" y="26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4" name="Group 853">
            <a:extLst>
              <a:ext uri="{FF2B5EF4-FFF2-40B4-BE49-F238E27FC236}">
                <a16:creationId xmlns:a16="http://schemas.microsoft.com/office/drawing/2014/main" id="{54B06272-0910-4795-A646-8A1DFB290CFF}"/>
              </a:ext>
            </a:extLst>
          </p:cNvPr>
          <p:cNvGrpSpPr>
            <a:grpSpLocks noChangeAspect="1"/>
          </p:cNvGrpSpPr>
          <p:nvPr/>
        </p:nvGrpSpPr>
        <p:grpSpPr bwMode="auto">
          <a:xfrm>
            <a:off x="3517158" y="2529747"/>
            <a:ext cx="367982" cy="367982"/>
            <a:chOff x="5046" y="4010"/>
            <a:chExt cx="340" cy="340"/>
          </a:xfrm>
          <a:solidFill>
            <a:schemeClr val="accent4"/>
          </a:solidFill>
        </p:grpSpPr>
        <p:sp>
          <p:nvSpPr>
            <p:cNvPr id="435" name="Freeform 854">
              <a:extLst>
                <a:ext uri="{FF2B5EF4-FFF2-40B4-BE49-F238E27FC236}">
                  <a16:creationId xmlns:a16="http://schemas.microsoft.com/office/drawing/2014/main" id="{EBE81630-F243-405B-84AE-BE8A93D0A634}"/>
                </a:ext>
              </a:extLst>
            </p:cNvPr>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6" name="Freeform 855">
              <a:extLst>
                <a:ext uri="{FF2B5EF4-FFF2-40B4-BE49-F238E27FC236}">
                  <a16:creationId xmlns:a16="http://schemas.microsoft.com/office/drawing/2014/main" id="{C947CC7D-5F78-4781-A469-45D92C06A406}"/>
                </a:ext>
              </a:extLst>
            </p:cNvPr>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7" name="Freeform 462">
            <a:extLst>
              <a:ext uri="{FF2B5EF4-FFF2-40B4-BE49-F238E27FC236}">
                <a16:creationId xmlns:a16="http://schemas.microsoft.com/office/drawing/2014/main" id="{D1A443FD-346E-428E-92E9-90E0E31E296C}"/>
              </a:ext>
            </a:extLst>
          </p:cNvPr>
          <p:cNvSpPr>
            <a:spLocks noChangeAspect="1" noEditPoints="1"/>
          </p:cNvSpPr>
          <p:nvPr/>
        </p:nvSpPr>
        <p:spPr bwMode="auto">
          <a:xfrm>
            <a:off x="3952326" y="2529747"/>
            <a:ext cx="367982" cy="367982"/>
          </a:xfrm>
          <a:custGeom>
            <a:avLst/>
            <a:gdLst>
              <a:gd name="T0" fmla="*/ 192 w 512"/>
              <a:gd name="T1" fmla="*/ 224 h 512"/>
              <a:gd name="T2" fmla="*/ 181 w 512"/>
              <a:gd name="T3" fmla="*/ 234 h 512"/>
              <a:gd name="T4" fmla="*/ 170 w 512"/>
              <a:gd name="T5" fmla="*/ 224 h 512"/>
              <a:gd name="T6" fmla="*/ 181 w 512"/>
              <a:gd name="T7" fmla="*/ 213 h 512"/>
              <a:gd name="T8" fmla="*/ 192 w 512"/>
              <a:gd name="T9" fmla="*/ 224 h 512"/>
              <a:gd name="T10" fmla="*/ 341 w 512"/>
              <a:gd name="T11" fmla="*/ 234 h 512"/>
              <a:gd name="T12" fmla="*/ 234 w 512"/>
              <a:gd name="T13" fmla="*/ 234 h 512"/>
              <a:gd name="T14" fmla="*/ 234 w 512"/>
              <a:gd name="T15" fmla="*/ 256 h 512"/>
              <a:gd name="T16" fmla="*/ 372 w 512"/>
              <a:gd name="T17" fmla="*/ 256 h 512"/>
              <a:gd name="T18" fmla="*/ 341 w 512"/>
              <a:gd name="T19" fmla="*/ 234 h 512"/>
              <a:gd name="T20" fmla="*/ 213 w 512"/>
              <a:gd name="T21" fmla="*/ 224 h 512"/>
              <a:gd name="T22" fmla="*/ 181 w 512"/>
              <a:gd name="T23" fmla="*/ 256 h 512"/>
              <a:gd name="T24" fmla="*/ 213 w 512"/>
              <a:gd name="T25" fmla="*/ 256 h 512"/>
              <a:gd name="T26" fmla="*/ 213 w 512"/>
              <a:gd name="T27" fmla="*/ 224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94 w 512"/>
              <a:gd name="T39" fmla="*/ 266 h 512"/>
              <a:gd name="T40" fmla="*/ 341 w 512"/>
              <a:gd name="T41" fmla="*/ 213 h 512"/>
              <a:gd name="T42" fmla="*/ 224 w 512"/>
              <a:gd name="T43" fmla="*/ 213 h 512"/>
              <a:gd name="T44" fmla="*/ 213 w 512"/>
              <a:gd name="T45" fmla="*/ 224 h 512"/>
              <a:gd name="T46" fmla="*/ 181 w 512"/>
              <a:gd name="T47" fmla="*/ 192 h 512"/>
              <a:gd name="T48" fmla="*/ 149 w 512"/>
              <a:gd name="T49" fmla="*/ 224 h 512"/>
              <a:gd name="T50" fmla="*/ 181 w 512"/>
              <a:gd name="T51" fmla="*/ 256 h 512"/>
              <a:gd name="T52" fmla="*/ 138 w 512"/>
              <a:gd name="T53" fmla="*/ 256 h 512"/>
              <a:gd name="T54" fmla="*/ 138 w 512"/>
              <a:gd name="T55" fmla="*/ 192 h 512"/>
              <a:gd name="T56" fmla="*/ 128 w 512"/>
              <a:gd name="T57" fmla="*/ 181 h 512"/>
              <a:gd name="T58" fmla="*/ 117 w 512"/>
              <a:gd name="T59" fmla="*/ 192 h 512"/>
              <a:gd name="T60" fmla="*/ 117 w 512"/>
              <a:gd name="T61" fmla="*/ 320 h 512"/>
              <a:gd name="T62" fmla="*/ 128 w 512"/>
              <a:gd name="T63" fmla="*/ 330 h 512"/>
              <a:gd name="T64" fmla="*/ 138 w 512"/>
              <a:gd name="T65" fmla="*/ 320 h 512"/>
              <a:gd name="T66" fmla="*/ 138 w 512"/>
              <a:gd name="T67" fmla="*/ 277 h 512"/>
              <a:gd name="T68" fmla="*/ 224 w 512"/>
              <a:gd name="T69" fmla="*/ 277 h 512"/>
              <a:gd name="T70" fmla="*/ 373 w 512"/>
              <a:gd name="T71" fmla="*/ 277 h 512"/>
              <a:gd name="T72" fmla="*/ 373 w 512"/>
              <a:gd name="T73" fmla="*/ 320 h 512"/>
              <a:gd name="T74" fmla="*/ 384 w 512"/>
              <a:gd name="T75" fmla="*/ 330 h 512"/>
              <a:gd name="T76" fmla="*/ 394 w 512"/>
              <a:gd name="T77" fmla="*/ 320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92" y="224"/>
                </a:moveTo>
                <a:cubicBezTo>
                  <a:pt x="192" y="230"/>
                  <a:pt x="187" y="234"/>
                  <a:pt x="181" y="234"/>
                </a:cubicBezTo>
                <a:cubicBezTo>
                  <a:pt x="175" y="234"/>
                  <a:pt x="170" y="230"/>
                  <a:pt x="170" y="224"/>
                </a:cubicBezTo>
                <a:cubicBezTo>
                  <a:pt x="170" y="218"/>
                  <a:pt x="175" y="213"/>
                  <a:pt x="181" y="213"/>
                </a:cubicBezTo>
                <a:cubicBezTo>
                  <a:pt x="187" y="213"/>
                  <a:pt x="192" y="218"/>
                  <a:pt x="192" y="224"/>
                </a:cubicBezTo>
                <a:close/>
                <a:moveTo>
                  <a:pt x="341" y="234"/>
                </a:moveTo>
                <a:cubicBezTo>
                  <a:pt x="234" y="234"/>
                  <a:pt x="234" y="234"/>
                  <a:pt x="234" y="234"/>
                </a:cubicBezTo>
                <a:cubicBezTo>
                  <a:pt x="234" y="256"/>
                  <a:pt x="234" y="256"/>
                  <a:pt x="234" y="256"/>
                </a:cubicBezTo>
                <a:cubicBezTo>
                  <a:pt x="372" y="256"/>
                  <a:pt x="372" y="256"/>
                  <a:pt x="372" y="256"/>
                </a:cubicBezTo>
                <a:cubicBezTo>
                  <a:pt x="366" y="236"/>
                  <a:pt x="345" y="234"/>
                  <a:pt x="341" y="234"/>
                </a:cubicBezTo>
                <a:close/>
                <a:moveTo>
                  <a:pt x="213" y="224"/>
                </a:moveTo>
                <a:cubicBezTo>
                  <a:pt x="213" y="241"/>
                  <a:pt x="199" y="256"/>
                  <a:pt x="181" y="256"/>
                </a:cubicBezTo>
                <a:cubicBezTo>
                  <a:pt x="213" y="256"/>
                  <a:pt x="213" y="256"/>
                  <a:pt x="213" y="256"/>
                </a:cubicBezTo>
                <a:lnTo>
                  <a:pt x="213" y="2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6"/>
                </a:moveTo>
                <a:cubicBezTo>
                  <a:pt x="394" y="225"/>
                  <a:pt x="360" y="213"/>
                  <a:pt x="341" y="213"/>
                </a:cubicBezTo>
                <a:cubicBezTo>
                  <a:pt x="224" y="213"/>
                  <a:pt x="224" y="213"/>
                  <a:pt x="224" y="213"/>
                </a:cubicBezTo>
                <a:cubicBezTo>
                  <a:pt x="218" y="213"/>
                  <a:pt x="213" y="218"/>
                  <a:pt x="213" y="224"/>
                </a:cubicBezTo>
                <a:cubicBezTo>
                  <a:pt x="213" y="206"/>
                  <a:pt x="199" y="192"/>
                  <a:pt x="181" y="192"/>
                </a:cubicBezTo>
                <a:cubicBezTo>
                  <a:pt x="163" y="192"/>
                  <a:pt x="149" y="206"/>
                  <a:pt x="149" y="224"/>
                </a:cubicBezTo>
                <a:cubicBezTo>
                  <a:pt x="149" y="241"/>
                  <a:pt x="163" y="256"/>
                  <a:pt x="181" y="256"/>
                </a:cubicBezTo>
                <a:cubicBezTo>
                  <a:pt x="138" y="256"/>
                  <a:pt x="138" y="256"/>
                  <a:pt x="138" y="256"/>
                </a:cubicBezTo>
                <a:cubicBezTo>
                  <a:pt x="138" y="192"/>
                  <a:pt x="138" y="192"/>
                  <a:pt x="138" y="192"/>
                </a:cubicBezTo>
                <a:cubicBezTo>
                  <a:pt x="138" y="186"/>
                  <a:pt x="134" y="181"/>
                  <a:pt x="128" y="181"/>
                </a:cubicBezTo>
                <a:cubicBezTo>
                  <a:pt x="122" y="181"/>
                  <a:pt x="117" y="186"/>
                  <a:pt x="117" y="192"/>
                </a:cubicBezTo>
                <a:cubicBezTo>
                  <a:pt x="117" y="320"/>
                  <a:pt x="117" y="320"/>
                  <a:pt x="117" y="320"/>
                </a:cubicBezTo>
                <a:cubicBezTo>
                  <a:pt x="117" y="326"/>
                  <a:pt x="122" y="330"/>
                  <a:pt x="128" y="330"/>
                </a:cubicBezTo>
                <a:cubicBezTo>
                  <a:pt x="134" y="330"/>
                  <a:pt x="138" y="326"/>
                  <a:pt x="138" y="320"/>
                </a:cubicBezTo>
                <a:cubicBezTo>
                  <a:pt x="138" y="277"/>
                  <a:pt x="138" y="277"/>
                  <a:pt x="138" y="277"/>
                </a:cubicBezTo>
                <a:cubicBezTo>
                  <a:pt x="224" y="277"/>
                  <a:pt x="224" y="277"/>
                  <a:pt x="224" y="277"/>
                </a:cubicBezTo>
                <a:cubicBezTo>
                  <a:pt x="373" y="277"/>
                  <a:pt x="373" y="277"/>
                  <a:pt x="373" y="277"/>
                </a:cubicBezTo>
                <a:cubicBezTo>
                  <a:pt x="373" y="320"/>
                  <a:pt x="373" y="320"/>
                  <a:pt x="373" y="320"/>
                </a:cubicBezTo>
                <a:cubicBezTo>
                  <a:pt x="373" y="326"/>
                  <a:pt x="378" y="330"/>
                  <a:pt x="384" y="330"/>
                </a:cubicBezTo>
                <a:cubicBezTo>
                  <a:pt x="390" y="330"/>
                  <a:pt x="394" y="326"/>
                  <a:pt x="394" y="320"/>
                </a:cubicBezTo>
                <a:lnTo>
                  <a:pt x="394" y="26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8" name="Group 465">
            <a:extLst>
              <a:ext uri="{FF2B5EF4-FFF2-40B4-BE49-F238E27FC236}">
                <a16:creationId xmlns:a16="http://schemas.microsoft.com/office/drawing/2014/main" id="{00A54991-3F7E-4B94-A025-7D03CFE05A79}"/>
              </a:ext>
            </a:extLst>
          </p:cNvPr>
          <p:cNvGrpSpPr>
            <a:grpSpLocks noChangeAspect="1"/>
          </p:cNvGrpSpPr>
          <p:nvPr/>
        </p:nvGrpSpPr>
        <p:grpSpPr bwMode="auto">
          <a:xfrm>
            <a:off x="4387494" y="2529747"/>
            <a:ext cx="367982" cy="367982"/>
            <a:chOff x="3968" y="2701"/>
            <a:chExt cx="340" cy="340"/>
          </a:xfrm>
          <a:solidFill>
            <a:schemeClr val="accent5"/>
          </a:solidFill>
        </p:grpSpPr>
        <p:sp>
          <p:nvSpPr>
            <p:cNvPr id="439" name="Freeform 466">
              <a:extLst>
                <a:ext uri="{FF2B5EF4-FFF2-40B4-BE49-F238E27FC236}">
                  <a16:creationId xmlns:a16="http://schemas.microsoft.com/office/drawing/2014/main" id="{CCC54961-A927-4422-874C-0168F58B2CF5}"/>
                </a:ext>
              </a:extLst>
            </p:cNvPr>
            <p:cNvSpPr>
              <a:spLocks noEditPoints="1"/>
            </p:cNvSpPr>
            <p:nvPr/>
          </p:nvSpPr>
          <p:spPr bwMode="auto">
            <a:xfrm>
              <a:off x="3968" y="27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0" name="Freeform 467">
              <a:extLst>
                <a:ext uri="{FF2B5EF4-FFF2-40B4-BE49-F238E27FC236}">
                  <a16:creationId xmlns:a16="http://schemas.microsoft.com/office/drawing/2014/main" id="{025FFE73-F27C-4ED8-B75E-54B56C9A449B}"/>
                </a:ext>
              </a:extLst>
            </p:cNvPr>
            <p:cNvSpPr>
              <a:spLocks noEditPoints="1"/>
            </p:cNvSpPr>
            <p:nvPr/>
          </p:nvSpPr>
          <p:spPr bwMode="auto">
            <a:xfrm>
              <a:off x="4046" y="2821"/>
              <a:ext cx="184" cy="99"/>
            </a:xfrm>
            <a:custGeom>
              <a:avLst/>
              <a:gdLst>
                <a:gd name="T0" fmla="*/ 96 w 277"/>
                <a:gd name="T1" fmla="*/ 43 h 149"/>
                <a:gd name="T2" fmla="*/ 64 w 277"/>
                <a:gd name="T3" fmla="*/ 11 h 149"/>
                <a:gd name="T4" fmla="*/ 32 w 277"/>
                <a:gd name="T5" fmla="*/ 43 h 149"/>
                <a:gd name="T6" fmla="*/ 64 w 277"/>
                <a:gd name="T7" fmla="*/ 75 h 149"/>
                <a:gd name="T8" fmla="*/ 96 w 277"/>
                <a:gd name="T9" fmla="*/ 43 h 149"/>
                <a:gd name="T10" fmla="*/ 64 w 277"/>
                <a:gd name="T11" fmla="*/ 53 h 149"/>
                <a:gd name="T12" fmla="*/ 53 w 277"/>
                <a:gd name="T13" fmla="*/ 43 h 149"/>
                <a:gd name="T14" fmla="*/ 64 w 277"/>
                <a:gd name="T15" fmla="*/ 32 h 149"/>
                <a:gd name="T16" fmla="*/ 75 w 277"/>
                <a:gd name="T17" fmla="*/ 43 h 149"/>
                <a:gd name="T18" fmla="*/ 64 w 277"/>
                <a:gd name="T19" fmla="*/ 53 h 149"/>
                <a:gd name="T20" fmla="*/ 224 w 277"/>
                <a:gd name="T21" fmla="*/ 32 h 149"/>
                <a:gd name="T22" fmla="*/ 107 w 277"/>
                <a:gd name="T23" fmla="*/ 32 h 149"/>
                <a:gd name="T24" fmla="*/ 96 w 277"/>
                <a:gd name="T25" fmla="*/ 43 h 149"/>
                <a:gd name="T26" fmla="*/ 96 w 277"/>
                <a:gd name="T27" fmla="*/ 75 h 149"/>
                <a:gd name="T28" fmla="*/ 64 w 277"/>
                <a:gd name="T29" fmla="*/ 75 h 149"/>
                <a:gd name="T30" fmla="*/ 21 w 277"/>
                <a:gd name="T31" fmla="*/ 75 h 149"/>
                <a:gd name="T32" fmla="*/ 21 w 277"/>
                <a:gd name="T33" fmla="*/ 11 h 149"/>
                <a:gd name="T34" fmla="*/ 11 w 277"/>
                <a:gd name="T35" fmla="*/ 0 h 149"/>
                <a:gd name="T36" fmla="*/ 0 w 277"/>
                <a:gd name="T37" fmla="*/ 11 h 149"/>
                <a:gd name="T38" fmla="*/ 0 w 277"/>
                <a:gd name="T39" fmla="*/ 139 h 149"/>
                <a:gd name="T40" fmla="*/ 11 w 277"/>
                <a:gd name="T41" fmla="*/ 149 h 149"/>
                <a:gd name="T42" fmla="*/ 21 w 277"/>
                <a:gd name="T43" fmla="*/ 139 h 149"/>
                <a:gd name="T44" fmla="*/ 21 w 277"/>
                <a:gd name="T45" fmla="*/ 96 h 149"/>
                <a:gd name="T46" fmla="*/ 107 w 277"/>
                <a:gd name="T47" fmla="*/ 96 h 149"/>
                <a:gd name="T48" fmla="*/ 256 w 277"/>
                <a:gd name="T49" fmla="*/ 96 h 149"/>
                <a:gd name="T50" fmla="*/ 256 w 277"/>
                <a:gd name="T51" fmla="*/ 139 h 149"/>
                <a:gd name="T52" fmla="*/ 267 w 277"/>
                <a:gd name="T53" fmla="*/ 149 h 149"/>
                <a:gd name="T54" fmla="*/ 277 w 277"/>
                <a:gd name="T55" fmla="*/ 139 h 149"/>
                <a:gd name="T56" fmla="*/ 277 w 277"/>
                <a:gd name="T57" fmla="*/ 85 h 149"/>
                <a:gd name="T58" fmla="*/ 224 w 277"/>
                <a:gd name="T59" fmla="*/ 32 h 149"/>
                <a:gd name="T60" fmla="*/ 117 w 277"/>
                <a:gd name="T61" fmla="*/ 75 h 149"/>
                <a:gd name="T62" fmla="*/ 117 w 277"/>
                <a:gd name="T63" fmla="*/ 53 h 149"/>
                <a:gd name="T64" fmla="*/ 224 w 277"/>
                <a:gd name="T65" fmla="*/ 53 h 149"/>
                <a:gd name="T66" fmla="*/ 255 w 277"/>
                <a:gd name="T67" fmla="*/ 75 h 149"/>
                <a:gd name="T68" fmla="*/ 117 w 277"/>
                <a:gd name="T6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149">
                  <a:moveTo>
                    <a:pt x="96" y="43"/>
                  </a:moveTo>
                  <a:cubicBezTo>
                    <a:pt x="96" y="25"/>
                    <a:pt x="82" y="11"/>
                    <a:pt x="64" y="11"/>
                  </a:cubicBezTo>
                  <a:cubicBezTo>
                    <a:pt x="46" y="11"/>
                    <a:pt x="32" y="25"/>
                    <a:pt x="32" y="43"/>
                  </a:cubicBezTo>
                  <a:cubicBezTo>
                    <a:pt x="32" y="60"/>
                    <a:pt x="46" y="75"/>
                    <a:pt x="64" y="75"/>
                  </a:cubicBezTo>
                  <a:cubicBezTo>
                    <a:pt x="82" y="75"/>
                    <a:pt x="96" y="60"/>
                    <a:pt x="96" y="43"/>
                  </a:cubicBezTo>
                  <a:close/>
                  <a:moveTo>
                    <a:pt x="64" y="53"/>
                  </a:moveTo>
                  <a:cubicBezTo>
                    <a:pt x="58" y="53"/>
                    <a:pt x="53" y="49"/>
                    <a:pt x="53" y="43"/>
                  </a:cubicBezTo>
                  <a:cubicBezTo>
                    <a:pt x="53" y="37"/>
                    <a:pt x="58" y="32"/>
                    <a:pt x="64" y="32"/>
                  </a:cubicBezTo>
                  <a:cubicBezTo>
                    <a:pt x="70" y="32"/>
                    <a:pt x="75" y="37"/>
                    <a:pt x="75" y="43"/>
                  </a:cubicBezTo>
                  <a:cubicBezTo>
                    <a:pt x="75" y="49"/>
                    <a:pt x="70" y="53"/>
                    <a:pt x="64" y="53"/>
                  </a:cubicBezTo>
                  <a:close/>
                  <a:moveTo>
                    <a:pt x="224" y="32"/>
                  </a:moveTo>
                  <a:cubicBezTo>
                    <a:pt x="107" y="32"/>
                    <a:pt x="107" y="32"/>
                    <a:pt x="107" y="32"/>
                  </a:cubicBezTo>
                  <a:cubicBezTo>
                    <a:pt x="101" y="32"/>
                    <a:pt x="96" y="37"/>
                    <a:pt x="96" y="43"/>
                  </a:cubicBezTo>
                  <a:cubicBezTo>
                    <a:pt x="96" y="75"/>
                    <a:pt x="96" y="75"/>
                    <a:pt x="96" y="75"/>
                  </a:cubicBezTo>
                  <a:cubicBezTo>
                    <a:pt x="64" y="75"/>
                    <a:pt x="64" y="75"/>
                    <a:pt x="64" y="75"/>
                  </a:cubicBezTo>
                  <a:cubicBezTo>
                    <a:pt x="21" y="75"/>
                    <a:pt x="21" y="75"/>
                    <a:pt x="21" y="75"/>
                  </a:cubicBezTo>
                  <a:cubicBezTo>
                    <a:pt x="21" y="11"/>
                    <a:pt x="21" y="11"/>
                    <a:pt x="21" y="11"/>
                  </a:cubicBezTo>
                  <a:cubicBezTo>
                    <a:pt x="21" y="5"/>
                    <a:pt x="17" y="0"/>
                    <a:pt x="11" y="0"/>
                  </a:cubicBezTo>
                  <a:cubicBezTo>
                    <a:pt x="5" y="0"/>
                    <a:pt x="0" y="5"/>
                    <a:pt x="0" y="11"/>
                  </a:cubicBezTo>
                  <a:cubicBezTo>
                    <a:pt x="0" y="139"/>
                    <a:pt x="0" y="139"/>
                    <a:pt x="0" y="139"/>
                  </a:cubicBezTo>
                  <a:cubicBezTo>
                    <a:pt x="0" y="145"/>
                    <a:pt x="5" y="149"/>
                    <a:pt x="11" y="149"/>
                  </a:cubicBezTo>
                  <a:cubicBezTo>
                    <a:pt x="17" y="149"/>
                    <a:pt x="21" y="145"/>
                    <a:pt x="21" y="139"/>
                  </a:cubicBezTo>
                  <a:cubicBezTo>
                    <a:pt x="21" y="96"/>
                    <a:pt x="21" y="96"/>
                    <a:pt x="21" y="96"/>
                  </a:cubicBezTo>
                  <a:cubicBezTo>
                    <a:pt x="107" y="96"/>
                    <a:pt x="107" y="96"/>
                    <a:pt x="107" y="96"/>
                  </a:cubicBezTo>
                  <a:cubicBezTo>
                    <a:pt x="256" y="96"/>
                    <a:pt x="256" y="96"/>
                    <a:pt x="256" y="96"/>
                  </a:cubicBezTo>
                  <a:cubicBezTo>
                    <a:pt x="256" y="139"/>
                    <a:pt x="256" y="139"/>
                    <a:pt x="256" y="139"/>
                  </a:cubicBezTo>
                  <a:cubicBezTo>
                    <a:pt x="256" y="145"/>
                    <a:pt x="261" y="149"/>
                    <a:pt x="267" y="149"/>
                  </a:cubicBezTo>
                  <a:cubicBezTo>
                    <a:pt x="273" y="149"/>
                    <a:pt x="277" y="145"/>
                    <a:pt x="277" y="139"/>
                  </a:cubicBezTo>
                  <a:cubicBezTo>
                    <a:pt x="277" y="85"/>
                    <a:pt x="277" y="85"/>
                    <a:pt x="277" y="85"/>
                  </a:cubicBezTo>
                  <a:cubicBezTo>
                    <a:pt x="277" y="44"/>
                    <a:pt x="243" y="32"/>
                    <a:pt x="224" y="32"/>
                  </a:cubicBezTo>
                  <a:close/>
                  <a:moveTo>
                    <a:pt x="117" y="75"/>
                  </a:moveTo>
                  <a:cubicBezTo>
                    <a:pt x="117" y="53"/>
                    <a:pt x="117" y="53"/>
                    <a:pt x="117" y="53"/>
                  </a:cubicBezTo>
                  <a:cubicBezTo>
                    <a:pt x="224" y="53"/>
                    <a:pt x="224" y="53"/>
                    <a:pt x="224" y="53"/>
                  </a:cubicBezTo>
                  <a:cubicBezTo>
                    <a:pt x="228" y="53"/>
                    <a:pt x="249" y="55"/>
                    <a:pt x="255" y="75"/>
                  </a:cubicBezTo>
                  <a:lnTo>
                    <a:pt x="1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1" name="Freeform 259">
            <a:extLst>
              <a:ext uri="{FF2B5EF4-FFF2-40B4-BE49-F238E27FC236}">
                <a16:creationId xmlns:a16="http://schemas.microsoft.com/office/drawing/2014/main" id="{F06151B7-FB52-4EB3-9425-CB5A2916E707}"/>
              </a:ext>
            </a:extLst>
          </p:cNvPr>
          <p:cNvSpPr>
            <a:spLocks noChangeAspect="1" noEditPoints="1"/>
          </p:cNvSpPr>
          <p:nvPr/>
        </p:nvSpPr>
        <p:spPr bwMode="auto">
          <a:xfrm>
            <a:off x="4822662" y="2529747"/>
            <a:ext cx="367631" cy="368712"/>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2" name="Group 262">
            <a:extLst>
              <a:ext uri="{FF2B5EF4-FFF2-40B4-BE49-F238E27FC236}">
                <a16:creationId xmlns:a16="http://schemas.microsoft.com/office/drawing/2014/main" id="{0894907B-417E-4CB6-886A-C4F1786BE5A6}"/>
              </a:ext>
            </a:extLst>
          </p:cNvPr>
          <p:cNvGrpSpPr>
            <a:grpSpLocks noChangeAspect="1"/>
          </p:cNvGrpSpPr>
          <p:nvPr/>
        </p:nvGrpSpPr>
        <p:grpSpPr bwMode="auto">
          <a:xfrm>
            <a:off x="5257479" y="2529747"/>
            <a:ext cx="367631" cy="367631"/>
            <a:chOff x="5792" y="779"/>
            <a:chExt cx="340" cy="340"/>
          </a:xfrm>
          <a:solidFill>
            <a:schemeClr val="accent3"/>
          </a:solidFill>
        </p:grpSpPr>
        <p:sp>
          <p:nvSpPr>
            <p:cNvPr id="443" name="Freeform 263">
              <a:extLst>
                <a:ext uri="{FF2B5EF4-FFF2-40B4-BE49-F238E27FC236}">
                  <a16:creationId xmlns:a16="http://schemas.microsoft.com/office/drawing/2014/main" id="{67FA0779-9CAF-41F9-BCCA-C29217E37808}"/>
                </a:ext>
              </a:extLst>
            </p:cNvPr>
            <p:cNvSpPr>
              <a:spLocks noEditPoints="1"/>
            </p:cNvSpPr>
            <p:nvPr/>
          </p:nvSpPr>
          <p:spPr bwMode="auto">
            <a:xfrm>
              <a:off x="5870" y="843"/>
              <a:ext cx="184" cy="212"/>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4" name="Freeform 264">
              <a:extLst>
                <a:ext uri="{FF2B5EF4-FFF2-40B4-BE49-F238E27FC236}">
                  <a16:creationId xmlns:a16="http://schemas.microsoft.com/office/drawing/2014/main" id="{7FF0CA82-0F13-49D3-967A-477266627F70}"/>
                </a:ext>
              </a:extLst>
            </p:cNvPr>
            <p:cNvSpPr>
              <a:spLocks noEditPoints="1"/>
            </p:cNvSpPr>
            <p:nvPr/>
          </p:nvSpPr>
          <p:spPr bwMode="auto">
            <a:xfrm>
              <a:off x="5792" y="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5" name="Freeform 323">
            <a:extLst>
              <a:ext uri="{FF2B5EF4-FFF2-40B4-BE49-F238E27FC236}">
                <a16:creationId xmlns:a16="http://schemas.microsoft.com/office/drawing/2014/main" id="{19FDF216-4C32-4387-976A-3C896FF7E998}"/>
              </a:ext>
            </a:extLst>
          </p:cNvPr>
          <p:cNvSpPr>
            <a:spLocks noChangeAspect="1" noEditPoints="1"/>
          </p:cNvSpPr>
          <p:nvPr/>
        </p:nvSpPr>
        <p:spPr bwMode="auto">
          <a:xfrm>
            <a:off x="8308273" y="1698655"/>
            <a:ext cx="368712" cy="367631"/>
          </a:xfrm>
          <a:custGeom>
            <a:avLst/>
            <a:gdLst>
              <a:gd name="T0" fmla="*/ 224 w 512"/>
              <a:gd name="T1" fmla="*/ 218 h 512"/>
              <a:gd name="T2" fmla="*/ 245 w 512"/>
              <a:gd name="T3" fmla="*/ 202 h 512"/>
              <a:gd name="T4" fmla="*/ 245 w 512"/>
              <a:gd name="T5" fmla="*/ 251 h 512"/>
              <a:gd name="T6" fmla="*/ 224 w 512"/>
              <a:gd name="T7" fmla="*/ 273 h 512"/>
              <a:gd name="T8" fmla="*/ 224 w 512"/>
              <a:gd name="T9" fmla="*/ 218 h 512"/>
              <a:gd name="T10" fmla="*/ 256 w 512"/>
              <a:gd name="T11" fmla="*/ 138 h 512"/>
              <a:gd name="T12" fmla="*/ 266 w 512"/>
              <a:gd name="T13" fmla="*/ 128 h 512"/>
              <a:gd name="T14" fmla="*/ 256 w 512"/>
              <a:gd name="T15" fmla="*/ 117 h 512"/>
              <a:gd name="T16" fmla="*/ 245 w 512"/>
              <a:gd name="T17" fmla="*/ 128 h 512"/>
              <a:gd name="T18" fmla="*/ 256 w 512"/>
              <a:gd name="T19" fmla="*/ 13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24 w 512"/>
              <a:gd name="T31" fmla="*/ 128 h 512"/>
              <a:gd name="T32" fmla="*/ 256 w 512"/>
              <a:gd name="T33" fmla="*/ 160 h 512"/>
              <a:gd name="T34" fmla="*/ 288 w 512"/>
              <a:gd name="T35" fmla="*/ 128 h 512"/>
              <a:gd name="T36" fmla="*/ 256 w 512"/>
              <a:gd name="T37" fmla="*/ 96 h 512"/>
              <a:gd name="T38" fmla="*/ 224 w 512"/>
              <a:gd name="T39" fmla="*/ 128 h 512"/>
              <a:gd name="T40" fmla="*/ 251 w 512"/>
              <a:gd name="T41" fmla="*/ 322 h 512"/>
              <a:gd name="T42" fmla="*/ 236 w 512"/>
              <a:gd name="T43" fmla="*/ 324 h 512"/>
              <a:gd name="T44" fmla="*/ 183 w 512"/>
              <a:gd name="T45" fmla="*/ 399 h 512"/>
              <a:gd name="T46" fmla="*/ 185 w 512"/>
              <a:gd name="T47" fmla="*/ 414 h 512"/>
              <a:gd name="T48" fmla="*/ 192 w 512"/>
              <a:gd name="T49" fmla="*/ 416 h 512"/>
              <a:gd name="T50" fmla="*/ 200 w 512"/>
              <a:gd name="T51" fmla="*/ 411 h 512"/>
              <a:gd name="T52" fmla="*/ 254 w 512"/>
              <a:gd name="T53" fmla="*/ 337 h 512"/>
              <a:gd name="T54" fmla="*/ 251 w 512"/>
              <a:gd name="T55" fmla="*/ 322 h 512"/>
              <a:gd name="T56" fmla="*/ 320 w 512"/>
              <a:gd name="T57" fmla="*/ 403 h 512"/>
              <a:gd name="T58" fmla="*/ 309 w 512"/>
              <a:gd name="T59" fmla="*/ 329 h 512"/>
              <a:gd name="T60" fmla="*/ 307 w 512"/>
              <a:gd name="T61" fmla="*/ 324 h 512"/>
              <a:gd name="T62" fmla="*/ 286 w 512"/>
              <a:gd name="T63" fmla="*/ 292 h 512"/>
              <a:gd name="T64" fmla="*/ 271 w 512"/>
              <a:gd name="T65" fmla="*/ 289 h 512"/>
              <a:gd name="T66" fmla="*/ 268 w 512"/>
              <a:gd name="T67" fmla="*/ 304 h 512"/>
              <a:gd name="T68" fmla="*/ 288 w 512"/>
              <a:gd name="T69" fmla="*/ 334 h 512"/>
              <a:gd name="T70" fmla="*/ 298 w 512"/>
              <a:gd name="T71" fmla="*/ 407 h 512"/>
              <a:gd name="T72" fmla="*/ 309 w 512"/>
              <a:gd name="T73" fmla="*/ 416 h 512"/>
              <a:gd name="T74" fmla="*/ 311 w 512"/>
              <a:gd name="T75" fmla="*/ 416 h 512"/>
              <a:gd name="T76" fmla="*/ 320 w 512"/>
              <a:gd name="T77" fmla="*/ 403 h 512"/>
              <a:gd name="T78" fmla="*/ 327 w 512"/>
              <a:gd name="T79" fmla="*/ 269 h 512"/>
              <a:gd name="T80" fmla="*/ 317 w 512"/>
              <a:gd name="T81" fmla="*/ 259 h 512"/>
              <a:gd name="T82" fmla="*/ 301 w 512"/>
              <a:gd name="T83" fmla="*/ 259 h 512"/>
              <a:gd name="T84" fmla="*/ 301 w 512"/>
              <a:gd name="T85" fmla="*/ 274 h 512"/>
              <a:gd name="T86" fmla="*/ 312 w 512"/>
              <a:gd name="T87" fmla="*/ 285 h 512"/>
              <a:gd name="T88" fmla="*/ 320 w 512"/>
              <a:gd name="T89" fmla="*/ 288 h 512"/>
              <a:gd name="T90" fmla="*/ 327 w 512"/>
              <a:gd name="T91" fmla="*/ 285 h 512"/>
              <a:gd name="T92" fmla="*/ 327 w 512"/>
              <a:gd name="T93" fmla="*/ 269 h 512"/>
              <a:gd name="T94" fmla="*/ 391 w 512"/>
              <a:gd name="T95" fmla="*/ 120 h 512"/>
              <a:gd name="T96" fmla="*/ 376 w 512"/>
              <a:gd name="T97" fmla="*/ 120 h 512"/>
              <a:gd name="T98" fmla="*/ 266 w 512"/>
              <a:gd name="T99" fmla="*/ 230 h 512"/>
              <a:gd name="T100" fmla="*/ 266 w 512"/>
              <a:gd name="T101" fmla="*/ 181 h 512"/>
              <a:gd name="T102" fmla="*/ 260 w 512"/>
              <a:gd name="T103" fmla="*/ 171 h 512"/>
              <a:gd name="T104" fmla="*/ 249 w 512"/>
              <a:gd name="T105" fmla="*/ 172 h 512"/>
              <a:gd name="T106" fmla="*/ 207 w 512"/>
              <a:gd name="T107" fmla="*/ 204 h 512"/>
              <a:gd name="T108" fmla="*/ 202 w 512"/>
              <a:gd name="T109" fmla="*/ 213 h 512"/>
              <a:gd name="T110" fmla="*/ 202 w 512"/>
              <a:gd name="T111" fmla="*/ 294 h 512"/>
              <a:gd name="T112" fmla="*/ 120 w 512"/>
              <a:gd name="T113" fmla="*/ 376 h 512"/>
              <a:gd name="T114" fmla="*/ 120 w 512"/>
              <a:gd name="T115" fmla="*/ 391 h 512"/>
              <a:gd name="T116" fmla="*/ 128 w 512"/>
              <a:gd name="T117" fmla="*/ 394 h 512"/>
              <a:gd name="T118" fmla="*/ 135 w 512"/>
              <a:gd name="T119" fmla="*/ 391 h 512"/>
              <a:gd name="T120" fmla="*/ 391 w 512"/>
              <a:gd name="T121" fmla="*/ 135 h 512"/>
              <a:gd name="T122" fmla="*/ 391 w 512"/>
              <a:gd name="T12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24" y="218"/>
                </a:moveTo>
                <a:cubicBezTo>
                  <a:pt x="245" y="202"/>
                  <a:pt x="245" y="202"/>
                  <a:pt x="245" y="202"/>
                </a:cubicBezTo>
                <a:cubicBezTo>
                  <a:pt x="245" y="251"/>
                  <a:pt x="245" y="251"/>
                  <a:pt x="245" y="251"/>
                </a:cubicBezTo>
                <a:cubicBezTo>
                  <a:pt x="224" y="273"/>
                  <a:pt x="224" y="273"/>
                  <a:pt x="224" y="273"/>
                </a:cubicBezTo>
                <a:lnTo>
                  <a:pt x="224" y="218"/>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251" y="322"/>
                </a:moveTo>
                <a:cubicBezTo>
                  <a:pt x="246" y="318"/>
                  <a:pt x="240" y="319"/>
                  <a:pt x="236" y="324"/>
                </a:cubicBezTo>
                <a:cubicBezTo>
                  <a:pt x="183" y="399"/>
                  <a:pt x="183" y="399"/>
                  <a:pt x="183" y="399"/>
                </a:cubicBezTo>
                <a:cubicBezTo>
                  <a:pt x="180" y="404"/>
                  <a:pt x="181" y="410"/>
                  <a:pt x="185" y="414"/>
                </a:cubicBezTo>
                <a:cubicBezTo>
                  <a:pt x="187" y="415"/>
                  <a:pt x="190" y="416"/>
                  <a:pt x="192" y="416"/>
                </a:cubicBezTo>
                <a:cubicBezTo>
                  <a:pt x="195" y="416"/>
                  <a:pt x="198" y="414"/>
                  <a:pt x="200" y="411"/>
                </a:cubicBezTo>
                <a:cubicBezTo>
                  <a:pt x="254" y="337"/>
                  <a:pt x="254" y="337"/>
                  <a:pt x="254" y="337"/>
                </a:cubicBezTo>
                <a:cubicBezTo>
                  <a:pt x="257" y="332"/>
                  <a:pt x="256" y="325"/>
                  <a:pt x="251" y="322"/>
                </a:cubicBezTo>
                <a:close/>
                <a:moveTo>
                  <a:pt x="320" y="403"/>
                </a:moveTo>
                <a:cubicBezTo>
                  <a:pt x="309" y="329"/>
                  <a:pt x="309" y="329"/>
                  <a:pt x="309" y="329"/>
                </a:cubicBezTo>
                <a:cubicBezTo>
                  <a:pt x="309" y="327"/>
                  <a:pt x="308" y="326"/>
                  <a:pt x="307" y="324"/>
                </a:cubicBezTo>
                <a:cubicBezTo>
                  <a:pt x="286" y="292"/>
                  <a:pt x="286" y="292"/>
                  <a:pt x="286" y="292"/>
                </a:cubicBezTo>
                <a:cubicBezTo>
                  <a:pt x="283" y="288"/>
                  <a:pt x="276" y="286"/>
                  <a:pt x="271" y="289"/>
                </a:cubicBezTo>
                <a:cubicBezTo>
                  <a:pt x="266" y="293"/>
                  <a:pt x="265" y="299"/>
                  <a:pt x="268" y="304"/>
                </a:cubicBezTo>
                <a:cubicBezTo>
                  <a:pt x="288" y="334"/>
                  <a:pt x="288" y="334"/>
                  <a:pt x="288" y="334"/>
                </a:cubicBezTo>
                <a:cubicBezTo>
                  <a:pt x="298" y="407"/>
                  <a:pt x="298" y="407"/>
                  <a:pt x="298" y="407"/>
                </a:cubicBezTo>
                <a:cubicBezTo>
                  <a:pt x="299" y="412"/>
                  <a:pt x="304" y="416"/>
                  <a:pt x="309" y="416"/>
                </a:cubicBezTo>
                <a:cubicBezTo>
                  <a:pt x="309" y="416"/>
                  <a:pt x="310" y="416"/>
                  <a:pt x="311" y="416"/>
                </a:cubicBezTo>
                <a:cubicBezTo>
                  <a:pt x="316" y="415"/>
                  <a:pt x="320" y="409"/>
                  <a:pt x="320" y="403"/>
                </a:cubicBezTo>
                <a:close/>
                <a:moveTo>
                  <a:pt x="327" y="269"/>
                </a:moveTo>
                <a:cubicBezTo>
                  <a:pt x="317" y="259"/>
                  <a:pt x="317" y="259"/>
                  <a:pt x="317" y="259"/>
                </a:cubicBezTo>
                <a:cubicBezTo>
                  <a:pt x="312" y="255"/>
                  <a:pt x="306" y="255"/>
                  <a:pt x="301" y="259"/>
                </a:cubicBezTo>
                <a:cubicBezTo>
                  <a:pt x="297" y="263"/>
                  <a:pt x="297" y="270"/>
                  <a:pt x="301" y="274"/>
                </a:cubicBezTo>
                <a:cubicBezTo>
                  <a:pt x="312" y="285"/>
                  <a:pt x="312" y="285"/>
                  <a:pt x="312" y="285"/>
                </a:cubicBezTo>
                <a:cubicBezTo>
                  <a:pt x="314" y="287"/>
                  <a:pt x="317" y="288"/>
                  <a:pt x="320" y="288"/>
                </a:cubicBezTo>
                <a:cubicBezTo>
                  <a:pt x="322" y="288"/>
                  <a:pt x="325" y="287"/>
                  <a:pt x="327" y="285"/>
                </a:cubicBezTo>
                <a:cubicBezTo>
                  <a:pt x="331" y="280"/>
                  <a:pt x="331" y="274"/>
                  <a:pt x="327" y="269"/>
                </a:cubicBezTo>
                <a:close/>
                <a:moveTo>
                  <a:pt x="391" y="120"/>
                </a:moveTo>
                <a:cubicBezTo>
                  <a:pt x="387" y="116"/>
                  <a:pt x="380" y="116"/>
                  <a:pt x="376" y="120"/>
                </a:cubicBezTo>
                <a:cubicBezTo>
                  <a:pt x="266" y="230"/>
                  <a:pt x="266" y="230"/>
                  <a:pt x="266" y="230"/>
                </a:cubicBezTo>
                <a:cubicBezTo>
                  <a:pt x="266" y="181"/>
                  <a:pt x="266" y="181"/>
                  <a:pt x="266" y="181"/>
                </a:cubicBezTo>
                <a:cubicBezTo>
                  <a:pt x="266" y="177"/>
                  <a:pt x="264" y="173"/>
                  <a:pt x="260" y="171"/>
                </a:cubicBezTo>
                <a:cubicBezTo>
                  <a:pt x="257" y="170"/>
                  <a:pt x="253" y="170"/>
                  <a:pt x="249" y="172"/>
                </a:cubicBezTo>
                <a:cubicBezTo>
                  <a:pt x="207" y="204"/>
                  <a:pt x="207" y="204"/>
                  <a:pt x="207" y="204"/>
                </a:cubicBezTo>
                <a:cubicBezTo>
                  <a:pt x="204" y="206"/>
                  <a:pt x="202" y="210"/>
                  <a:pt x="202" y="213"/>
                </a:cubicBezTo>
                <a:cubicBezTo>
                  <a:pt x="202" y="294"/>
                  <a:pt x="202" y="294"/>
                  <a:pt x="202" y="294"/>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391" y="135"/>
                  <a:pt x="391" y="135"/>
                  <a:pt x="391" y="135"/>
                </a:cubicBezTo>
                <a:cubicBezTo>
                  <a:pt x="395" y="131"/>
                  <a:pt x="395" y="124"/>
                  <a:pt x="391" y="1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46" name="Group 326">
            <a:extLst>
              <a:ext uri="{FF2B5EF4-FFF2-40B4-BE49-F238E27FC236}">
                <a16:creationId xmlns:a16="http://schemas.microsoft.com/office/drawing/2014/main" id="{1D297A4D-8172-4BFE-B917-755699026C6F}"/>
              </a:ext>
            </a:extLst>
          </p:cNvPr>
          <p:cNvGrpSpPr>
            <a:grpSpLocks noChangeAspect="1"/>
          </p:cNvGrpSpPr>
          <p:nvPr/>
        </p:nvGrpSpPr>
        <p:grpSpPr bwMode="auto">
          <a:xfrm>
            <a:off x="8743483" y="1698655"/>
            <a:ext cx="367631" cy="367631"/>
            <a:chOff x="3476" y="1204"/>
            <a:chExt cx="340" cy="340"/>
          </a:xfrm>
          <a:solidFill>
            <a:schemeClr val="accent4"/>
          </a:solidFill>
        </p:grpSpPr>
        <p:sp>
          <p:nvSpPr>
            <p:cNvPr id="447" name="Freeform 327">
              <a:extLst>
                <a:ext uri="{FF2B5EF4-FFF2-40B4-BE49-F238E27FC236}">
                  <a16:creationId xmlns:a16="http://schemas.microsoft.com/office/drawing/2014/main" id="{A804E781-F508-4EFC-8A1B-8BFCEDFF31C3}"/>
                </a:ext>
              </a:extLst>
            </p:cNvPr>
            <p:cNvSpPr>
              <a:spLocks noEditPoints="1"/>
            </p:cNvSpPr>
            <p:nvPr/>
          </p:nvSpPr>
          <p:spPr bwMode="auto">
            <a:xfrm>
              <a:off x="3476" y="12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8" name="Freeform 328">
              <a:extLst>
                <a:ext uri="{FF2B5EF4-FFF2-40B4-BE49-F238E27FC236}">
                  <a16:creationId xmlns:a16="http://schemas.microsoft.com/office/drawing/2014/main" id="{2303CC11-D028-441B-BECB-17C8C39E9753}"/>
                </a:ext>
              </a:extLst>
            </p:cNvPr>
            <p:cNvSpPr>
              <a:spLocks noEditPoints="1"/>
            </p:cNvSpPr>
            <p:nvPr/>
          </p:nvSpPr>
          <p:spPr bwMode="auto">
            <a:xfrm>
              <a:off x="3553" y="1268"/>
              <a:ext cx="185" cy="212"/>
            </a:xfrm>
            <a:custGeom>
              <a:avLst/>
              <a:gdLst>
                <a:gd name="T0" fmla="*/ 140 w 279"/>
                <a:gd name="T1" fmla="*/ 64 h 320"/>
                <a:gd name="T2" fmla="*/ 172 w 279"/>
                <a:gd name="T3" fmla="*/ 32 h 320"/>
                <a:gd name="T4" fmla="*/ 140 w 279"/>
                <a:gd name="T5" fmla="*/ 0 h 320"/>
                <a:gd name="T6" fmla="*/ 108 w 279"/>
                <a:gd name="T7" fmla="*/ 32 h 320"/>
                <a:gd name="T8" fmla="*/ 140 w 279"/>
                <a:gd name="T9" fmla="*/ 64 h 320"/>
                <a:gd name="T10" fmla="*/ 140 w 279"/>
                <a:gd name="T11" fmla="*/ 21 h 320"/>
                <a:gd name="T12" fmla="*/ 150 w 279"/>
                <a:gd name="T13" fmla="*/ 32 h 320"/>
                <a:gd name="T14" fmla="*/ 140 w 279"/>
                <a:gd name="T15" fmla="*/ 42 h 320"/>
                <a:gd name="T16" fmla="*/ 129 w 279"/>
                <a:gd name="T17" fmla="*/ 32 h 320"/>
                <a:gd name="T18" fmla="*/ 140 w 279"/>
                <a:gd name="T19" fmla="*/ 21 h 320"/>
                <a:gd name="T20" fmla="*/ 135 w 279"/>
                <a:gd name="T21" fmla="*/ 226 h 320"/>
                <a:gd name="T22" fmla="*/ 138 w 279"/>
                <a:gd name="T23" fmla="*/ 241 h 320"/>
                <a:gd name="T24" fmla="*/ 84 w 279"/>
                <a:gd name="T25" fmla="*/ 315 h 320"/>
                <a:gd name="T26" fmla="*/ 76 w 279"/>
                <a:gd name="T27" fmla="*/ 320 h 320"/>
                <a:gd name="T28" fmla="*/ 69 w 279"/>
                <a:gd name="T29" fmla="*/ 318 h 320"/>
                <a:gd name="T30" fmla="*/ 67 w 279"/>
                <a:gd name="T31" fmla="*/ 303 h 320"/>
                <a:gd name="T32" fmla="*/ 120 w 279"/>
                <a:gd name="T33" fmla="*/ 228 h 320"/>
                <a:gd name="T34" fmla="*/ 135 w 279"/>
                <a:gd name="T35" fmla="*/ 226 h 320"/>
                <a:gd name="T36" fmla="*/ 211 w 279"/>
                <a:gd name="T37" fmla="*/ 173 h 320"/>
                <a:gd name="T38" fmla="*/ 211 w 279"/>
                <a:gd name="T39" fmla="*/ 189 h 320"/>
                <a:gd name="T40" fmla="*/ 204 w 279"/>
                <a:gd name="T41" fmla="*/ 192 h 320"/>
                <a:gd name="T42" fmla="*/ 196 w 279"/>
                <a:gd name="T43" fmla="*/ 189 h 320"/>
                <a:gd name="T44" fmla="*/ 185 w 279"/>
                <a:gd name="T45" fmla="*/ 178 h 320"/>
                <a:gd name="T46" fmla="*/ 185 w 279"/>
                <a:gd name="T47" fmla="*/ 163 h 320"/>
                <a:gd name="T48" fmla="*/ 201 w 279"/>
                <a:gd name="T49" fmla="*/ 163 h 320"/>
                <a:gd name="T50" fmla="*/ 211 w 279"/>
                <a:gd name="T51" fmla="*/ 173 h 320"/>
                <a:gd name="T52" fmla="*/ 275 w 279"/>
                <a:gd name="T53" fmla="*/ 24 h 320"/>
                <a:gd name="T54" fmla="*/ 260 w 279"/>
                <a:gd name="T55" fmla="*/ 24 h 320"/>
                <a:gd name="T56" fmla="*/ 150 w 279"/>
                <a:gd name="T57" fmla="*/ 134 h 320"/>
                <a:gd name="T58" fmla="*/ 150 w 279"/>
                <a:gd name="T59" fmla="*/ 85 h 320"/>
                <a:gd name="T60" fmla="*/ 144 w 279"/>
                <a:gd name="T61" fmla="*/ 75 h 320"/>
                <a:gd name="T62" fmla="*/ 133 w 279"/>
                <a:gd name="T63" fmla="*/ 76 h 320"/>
                <a:gd name="T64" fmla="*/ 91 w 279"/>
                <a:gd name="T65" fmla="*/ 108 h 320"/>
                <a:gd name="T66" fmla="*/ 86 w 279"/>
                <a:gd name="T67" fmla="*/ 117 h 320"/>
                <a:gd name="T68" fmla="*/ 86 w 279"/>
                <a:gd name="T69" fmla="*/ 198 h 320"/>
                <a:gd name="T70" fmla="*/ 4 w 279"/>
                <a:gd name="T71" fmla="*/ 280 h 320"/>
                <a:gd name="T72" fmla="*/ 4 w 279"/>
                <a:gd name="T73" fmla="*/ 295 h 320"/>
                <a:gd name="T74" fmla="*/ 12 w 279"/>
                <a:gd name="T75" fmla="*/ 298 h 320"/>
                <a:gd name="T76" fmla="*/ 19 w 279"/>
                <a:gd name="T77" fmla="*/ 295 h 320"/>
                <a:gd name="T78" fmla="*/ 275 w 279"/>
                <a:gd name="T79" fmla="*/ 39 h 320"/>
                <a:gd name="T80" fmla="*/ 275 w 279"/>
                <a:gd name="T81" fmla="*/ 24 h 320"/>
                <a:gd name="T82" fmla="*/ 108 w 279"/>
                <a:gd name="T83" fmla="*/ 122 h 320"/>
                <a:gd name="T84" fmla="*/ 129 w 279"/>
                <a:gd name="T85" fmla="*/ 106 h 320"/>
                <a:gd name="T86" fmla="*/ 129 w 279"/>
                <a:gd name="T87" fmla="*/ 155 h 320"/>
                <a:gd name="T88" fmla="*/ 108 w 279"/>
                <a:gd name="T89" fmla="*/ 177 h 320"/>
                <a:gd name="T90" fmla="*/ 108 w 279"/>
                <a:gd name="T91" fmla="*/ 122 h 320"/>
                <a:gd name="T92" fmla="*/ 193 w 279"/>
                <a:gd name="T93" fmla="*/ 233 h 320"/>
                <a:gd name="T94" fmla="*/ 204 w 279"/>
                <a:gd name="T95" fmla="*/ 307 h 320"/>
                <a:gd name="T96" fmla="*/ 195 w 279"/>
                <a:gd name="T97" fmla="*/ 320 h 320"/>
                <a:gd name="T98" fmla="*/ 193 w 279"/>
                <a:gd name="T99" fmla="*/ 320 h 320"/>
                <a:gd name="T100" fmla="*/ 182 w 279"/>
                <a:gd name="T101" fmla="*/ 311 h 320"/>
                <a:gd name="T102" fmla="*/ 172 w 279"/>
                <a:gd name="T103" fmla="*/ 238 h 320"/>
                <a:gd name="T104" fmla="*/ 152 w 279"/>
                <a:gd name="T105" fmla="*/ 208 h 320"/>
                <a:gd name="T106" fmla="*/ 155 w 279"/>
                <a:gd name="T107" fmla="*/ 193 h 320"/>
                <a:gd name="T108" fmla="*/ 170 w 279"/>
                <a:gd name="T109" fmla="*/ 196 h 320"/>
                <a:gd name="T110" fmla="*/ 191 w 279"/>
                <a:gd name="T111" fmla="*/ 228 h 320"/>
                <a:gd name="T112" fmla="*/ 193 w 279"/>
                <a:gd name="T113" fmla="*/ 23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320">
                  <a:moveTo>
                    <a:pt x="140" y="64"/>
                  </a:moveTo>
                  <a:cubicBezTo>
                    <a:pt x="157" y="64"/>
                    <a:pt x="172" y="49"/>
                    <a:pt x="172" y="32"/>
                  </a:cubicBezTo>
                  <a:cubicBezTo>
                    <a:pt x="172" y="14"/>
                    <a:pt x="157" y="0"/>
                    <a:pt x="140" y="0"/>
                  </a:cubicBezTo>
                  <a:cubicBezTo>
                    <a:pt x="122" y="0"/>
                    <a:pt x="108" y="14"/>
                    <a:pt x="108" y="32"/>
                  </a:cubicBezTo>
                  <a:cubicBezTo>
                    <a:pt x="108" y="49"/>
                    <a:pt x="122" y="64"/>
                    <a:pt x="140" y="64"/>
                  </a:cubicBezTo>
                  <a:close/>
                  <a:moveTo>
                    <a:pt x="140" y="21"/>
                  </a:moveTo>
                  <a:cubicBezTo>
                    <a:pt x="146" y="21"/>
                    <a:pt x="150" y="26"/>
                    <a:pt x="150" y="32"/>
                  </a:cubicBezTo>
                  <a:cubicBezTo>
                    <a:pt x="150" y="38"/>
                    <a:pt x="146" y="42"/>
                    <a:pt x="140" y="42"/>
                  </a:cubicBezTo>
                  <a:cubicBezTo>
                    <a:pt x="134" y="42"/>
                    <a:pt x="129" y="38"/>
                    <a:pt x="129" y="32"/>
                  </a:cubicBezTo>
                  <a:cubicBezTo>
                    <a:pt x="129" y="26"/>
                    <a:pt x="134" y="21"/>
                    <a:pt x="140" y="21"/>
                  </a:cubicBezTo>
                  <a:close/>
                  <a:moveTo>
                    <a:pt x="135" y="226"/>
                  </a:moveTo>
                  <a:cubicBezTo>
                    <a:pt x="140" y="229"/>
                    <a:pt x="141" y="236"/>
                    <a:pt x="138" y="241"/>
                  </a:cubicBezTo>
                  <a:cubicBezTo>
                    <a:pt x="84" y="315"/>
                    <a:pt x="84" y="315"/>
                    <a:pt x="84" y="315"/>
                  </a:cubicBezTo>
                  <a:cubicBezTo>
                    <a:pt x="82" y="318"/>
                    <a:pt x="79" y="320"/>
                    <a:pt x="76" y="320"/>
                  </a:cubicBezTo>
                  <a:cubicBezTo>
                    <a:pt x="74" y="320"/>
                    <a:pt x="71" y="319"/>
                    <a:pt x="69" y="318"/>
                  </a:cubicBezTo>
                  <a:cubicBezTo>
                    <a:pt x="65" y="314"/>
                    <a:pt x="64" y="308"/>
                    <a:pt x="67" y="303"/>
                  </a:cubicBezTo>
                  <a:cubicBezTo>
                    <a:pt x="120" y="228"/>
                    <a:pt x="120" y="228"/>
                    <a:pt x="120" y="228"/>
                  </a:cubicBezTo>
                  <a:cubicBezTo>
                    <a:pt x="124" y="223"/>
                    <a:pt x="130" y="222"/>
                    <a:pt x="135" y="226"/>
                  </a:cubicBezTo>
                  <a:close/>
                  <a:moveTo>
                    <a:pt x="211" y="173"/>
                  </a:moveTo>
                  <a:cubicBezTo>
                    <a:pt x="215" y="178"/>
                    <a:pt x="215" y="184"/>
                    <a:pt x="211" y="189"/>
                  </a:cubicBezTo>
                  <a:cubicBezTo>
                    <a:pt x="209" y="191"/>
                    <a:pt x="206" y="192"/>
                    <a:pt x="204" y="192"/>
                  </a:cubicBezTo>
                  <a:cubicBezTo>
                    <a:pt x="201" y="192"/>
                    <a:pt x="198" y="191"/>
                    <a:pt x="196" y="189"/>
                  </a:cubicBezTo>
                  <a:cubicBezTo>
                    <a:pt x="185" y="178"/>
                    <a:pt x="185" y="178"/>
                    <a:pt x="185" y="178"/>
                  </a:cubicBezTo>
                  <a:cubicBezTo>
                    <a:pt x="181" y="174"/>
                    <a:pt x="181" y="167"/>
                    <a:pt x="185" y="163"/>
                  </a:cubicBezTo>
                  <a:cubicBezTo>
                    <a:pt x="190" y="159"/>
                    <a:pt x="196" y="159"/>
                    <a:pt x="201" y="163"/>
                  </a:cubicBezTo>
                  <a:lnTo>
                    <a:pt x="211" y="173"/>
                  </a:lnTo>
                  <a:close/>
                  <a:moveTo>
                    <a:pt x="275" y="24"/>
                  </a:moveTo>
                  <a:cubicBezTo>
                    <a:pt x="271" y="20"/>
                    <a:pt x="264" y="20"/>
                    <a:pt x="260" y="24"/>
                  </a:cubicBezTo>
                  <a:cubicBezTo>
                    <a:pt x="150" y="134"/>
                    <a:pt x="150" y="134"/>
                    <a:pt x="150" y="134"/>
                  </a:cubicBezTo>
                  <a:cubicBezTo>
                    <a:pt x="150" y="85"/>
                    <a:pt x="150" y="85"/>
                    <a:pt x="150" y="85"/>
                  </a:cubicBezTo>
                  <a:cubicBezTo>
                    <a:pt x="150" y="81"/>
                    <a:pt x="148" y="77"/>
                    <a:pt x="144" y="75"/>
                  </a:cubicBezTo>
                  <a:cubicBezTo>
                    <a:pt x="141" y="74"/>
                    <a:pt x="137" y="74"/>
                    <a:pt x="133" y="76"/>
                  </a:cubicBezTo>
                  <a:cubicBezTo>
                    <a:pt x="91" y="108"/>
                    <a:pt x="91" y="108"/>
                    <a:pt x="91" y="108"/>
                  </a:cubicBezTo>
                  <a:cubicBezTo>
                    <a:pt x="88" y="110"/>
                    <a:pt x="86" y="114"/>
                    <a:pt x="86" y="117"/>
                  </a:cubicBezTo>
                  <a:cubicBezTo>
                    <a:pt x="86" y="198"/>
                    <a:pt x="86" y="198"/>
                    <a:pt x="86" y="198"/>
                  </a:cubicBezTo>
                  <a:cubicBezTo>
                    <a:pt x="4" y="280"/>
                    <a:pt x="4" y="280"/>
                    <a:pt x="4" y="280"/>
                  </a:cubicBezTo>
                  <a:cubicBezTo>
                    <a:pt x="0" y="284"/>
                    <a:pt x="0" y="291"/>
                    <a:pt x="4" y="295"/>
                  </a:cubicBezTo>
                  <a:cubicBezTo>
                    <a:pt x="6" y="297"/>
                    <a:pt x="9" y="298"/>
                    <a:pt x="12" y="298"/>
                  </a:cubicBezTo>
                  <a:cubicBezTo>
                    <a:pt x="14" y="298"/>
                    <a:pt x="17" y="297"/>
                    <a:pt x="19" y="295"/>
                  </a:cubicBezTo>
                  <a:cubicBezTo>
                    <a:pt x="275" y="39"/>
                    <a:pt x="275" y="39"/>
                    <a:pt x="275" y="39"/>
                  </a:cubicBezTo>
                  <a:cubicBezTo>
                    <a:pt x="279" y="35"/>
                    <a:pt x="279" y="28"/>
                    <a:pt x="275" y="24"/>
                  </a:cubicBezTo>
                  <a:close/>
                  <a:moveTo>
                    <a:pt x="108" y="122"/>
                  </a:moveTo>
                  <a:cubicBezTo>
                    <a:pt x="129" y="106"/>
                    <a:pt x="129" y="106"/>
                    <a:pt x="129" y="106"/>
                  </a:cubicBezTo>
                  <a:cubicBezTo>
                    <a:pt x="129" y="155"/>
                    <a:pt x="129" y="155"/>
                    <a:pt x="129" y="155"/>
                  </a:cubicBezTo>
                  <a:cubicBezTo>
                    <a:pt x="108" y="177"/>
                    <a:pt x="108" y="177"/>
                    <a:pt x="108" y="177"/>
                  </a:cubicBezTo>
                  <a:lnTo>
                    <a:pt x="108" y="122"/>
                  </a:lnTo>
                  <a:close/>
                  <a:moveTo>
                    <a:pt x="193" y="233"/>
                  </a:moveTo>
                  <a:cubicBezTo>
                    <a:pt x="204" y="307"/>
                    <a:pt x="204" y="307"/>
                    <a:pt x="204" y="307"/>
                  </a:cubicBezTo>
                  <a:cubicBezTo>
                    <a:pt x="204" y="313"/>
                    <a:pt x="200" y="319"/>
                    <a:pt x="195" y="320"/>
                  </a:cubicBezTo>
                  <a:cubicBezTo>
                    <a:pt x="194" y="320"/>
                    <a:pt x="193" y="320"/>
                    <a:pt x="193" y="320"/>
                  </a:cubicBezTo>
                  <a:cubicBezTo>
                    <a:pt x="188" y="320"/>
                    <a:pt x="183" y="316"/>
                    <a:pt x="182" y="311"/>
                  </a:cubicBezTo>
                  <a:cubicBezTo>
                    <a:pt x="172" y="238"/>
                    <a:pt x="172" y="238"/>
                    <a:pt x="172" y="238"/>
                  </a:cubicBezTo>
                  <a:cubicBezTo>
                    <a:pt x="152" y="208"/>
                    <a:pt x="152" y="208"/>
                    <a:pt x="152" y="208"/>
                  </a:cubicBezTo>
                  <a:cubicBezTo>
                    <a:pt x="149" y="203"/>
                    <a:pt x="150" y="197"/>
                    <a:pt x="155" y="193"/>
                  </a:cubicBezTo>
                  <a:cubicBezTo>
                    <a:pt x="160" y="190"/>
                    <a:pt x="167" y="192"/>
                    <a:pt x="170" y="196"/>
                  </a:cubicBezTo>
                  <a:cubicBezTo>
                    <a:pt x="191" y="228"/>
                    <a:pt x="191" y="228"/>
                    <a:pt x="191" y="228"/>
                  </a:cubicBezTo>
                  <a:cubicBezTo>
                    <a:pt x="192" y="230"/>
                    <a:pt x="193" y="231"/>
                    <a:pt x="193" y="2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9" name="Freeform 772">
            <a:extLst>
              <a:ext uri="{FF2B5EF4-FFF2-40B4-BE49-F238E27FC236}">
                <a16:creationId xmlns:a16="http://schemas.microsoft.com/office/drawing/2014/main" id="{EAA587BB-2419-424C-9E5D-375D6811E2AE}"/>
              </a:ext>
            </a:extLst>
          </p:cNvPr>
          <p:cNvSpPr>
            <a:spLocks noChangeAspect="1" noEditPoints="1"/>
          </p:cNvSpPr>
          <p:nvPr/>
        </p:nvSpPr>
        <p:spPr bwMode="auto">
          <a:xfrm>
            <a:off x="5692296" y="2529747"/>
            <a:ext cx="367041" cy="368121"/>
          </a:xfrm>
          <a:custGeom>
            <a:avLst/>
            <a:gdLst>
              <a:gd name="T0" fmla="*/ 256 w 512"/>
              <a:gd name="T1" fmla="*/ 138 h 512"/>
              <a:gd name="T2" fmla="*/ 208 w 512"/>
              <a:gd name="T3" fmla="*/ 186 h 512"/>
              <a:gd name="T4" fmla="*/ 256 w 512"/>
              <a:gd name="T5" fmla="*/ 234 h 512"/>
              <a:gd name="T6" fmla="*/ 304 w 512"/>
              <a:gd name="T7" fmla="*/ 186 h 512"/>
              <a:gd name="T8" fmla="*/ 256 w 512"/>
              <a:gd name="T9" fmla="*/ 138 h 512"/>
              <a:gd name="T10" fmla="*/ 256 w 512"/>
              <a:gd name="T11" fmla="*/ 176 h 512"/>
              <a:gd name="T12" fmla="*/ 245 w 512"/>
              <a:gd name="T13" fmla="*/ 186 h 512"/>
              <a:gd name="T14" fmla="*/ 234 w 512"/>
              <a:gd name="T15" fmla="*/ 197 h 512"/>
              <a:gd name="T16" fmla="*/ 224 w 512"/>
              <a:gd name="T17" fmla="*/ 186 h 512"/>
              <a:gd name="T18" fmla="*/ 256 w 512"/>
              <a:gd name="T19" fmla="*/ 154 h 512"/>
              <a:gd name="T20" fmla="*/ 266 w 512"/>
              <a:gd name="T21" fmla="*/ 165 h 512"/>
              <a:gd name="T22" fmla="*/ 256 w 512"/>
              <a:gd name="T23" fmla="*/ 176 h 512"/>
              <a:gd name="T24" fmla="*/ 256 w 512"/>
              <a:gd name="T25" fmla="*/ 0 h 512"/>
              <a:gd name="T26" fmla="*/ 0 w 512"/>
              <a:gd name="T27" fmla="*/ 256 h 512"/>
              <a:gd name="T28" fmla="*/ 256 w 512"/>
              <a:gd name="T29" fmla="*/ 512 h 512"/>
              <a:gd name="T30" fmla="*/ 512 w 512"/>
              <a:gd name="T31" fmla="*/ 256 h 512"/>
              <a:gd name="T32" fmla="*/ 256 w 512"/>
              <a:gd name="T33" fmla="*/ 0 h 512"/>
              <a:gd name="T34" fmla="*/ 266 w 512"/>
              <a:gd name="T35" fmla="*/ 255 h 512"/>
              <a:gd name="T36" fmla="*/ 266 w 512"/>
              <a:gd name="T37" fmla="*/ 384 h 512"/>
              <a:gd name="T38" fmla="*/ 256 w 512"/>
              <a:gd name="T39" fmla="*/ 394 h 512"/>
              <a:gd name="T40" fmla="*/ 245 w 512"/>
              <a:gd name="T41" fmla="*/ 384 h 512"/>
              <a:gd name="T42" fmla="*/ 245 w 512"/>
              <a:gd name="T43" fmla="*/ 255 h 512"/>
              <a:gd name="T44" fmla="*/ 186 w 512"/>
              <a:gd name="T45" fmla="*/ 186 h 512"/>
              <a:gd name="T46" fmla="*/ 256 w 512"/>
              <a:gd name="T47" fmla="*/ 117 h 512"/>
              <a:gd name="T48" fmla="*/ 325 w 512"/>
              <a:gd name="T49" fmla="*/ 186 h 512"/>
              <a:gd name="T50" fmla="*/ 266 w 512"/>
              <a:gd name="T51"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138"/>
                </a:moveTo>
                <a:cubicBezTo>
                  <a:pt x="229" y="138"/>
                  <a:pt x="208" y="160"/>
                  <a:pt x="208" y="186"/>
                </a:cubicBezTo>
                <a:cubicBezTo>
                  <a:pt x="208" y="213"/>
                  <a:pt x="229" y="234"/>
                  <a:pt x="256" y="234"/>
                </a:cubicBezTo>
                <a:cubicBezTo>
                  <a:pt x="282" y="234"/>
                  <a:pt x="304" y="213"/>
                  <a:pt x="304" y="186"/>
                </a:cubicBezTo>
                <a:cubicBezTo>
                  <a:pt x="304" y="160"/>
                  <a:pt x="282" y="138"/>
                  <a:pt x="256" y="138"/>
                </a:cubicBezTo>
                <a:close/>
                <a:moveTo>
                  <a:pt x="256" y="176"/>
                </a:moveTo>
                <a:cubicBezTo>
                  <a:pt x="250" y="176"/>
                  <a:pt x="245" y="180"/>
                  <a:pt x="245" y="186"/>
                </a:cubicBezTo>
                <a:cubicBezTo>
                  <a:pt x="245" y="192"/>
                  <a:pt x="240" y="197"/>
                  <a:pt x="234" y="197"/>
                </a:cubicBezTo>
                <a:cubicBezTo>
                  <a:pt x="228" y="197"/>
                  <a:pt x="224" y="192"/>
                  <a:pt x="224" y="186"/>
                </a:cubicBezTo>
                <a:cubicBezTo>
                  <a:pt x="224" y="169"/>
                  <a:pt x="238" y="154"/>
                  <a:pt x="256" y="154"/>
                </a:cubicBezTo>
                <a:cubicBezTo>
                  <a:pt x="262" y="154"/>
                  <a:pt x="266" y="159"/>
                  <a:pt x="266" y="165"/>
                </a:cubicBezTo>
                <a:cubicBezTo>
                  <a:pt x="266" y="171"/>
                  <a:pt x="262" y="176"/>
                  <a:pt x="256" y="17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255"/>
                </a:moveTo>
                <a:cubicBezTo>
                  <a:pt x="266" y="384"/>
                  <a:pt x="266" y="384"/>
                  <a:pt x="266" y="384"/>
                </a:cubicBezTo>
                <a:cubicBezTo>
                  <a:pt x="266" y="390"/>
                  <a:pt x="262" y="394"/>
                  <a:pt x="256" y="394"/>
                </a:cubicBezTo>
                <a:cubicBezTo>
                  <a:pt x="250" y="394"/>
                  <a:pt x="245" y="390"/>
                  <a:pt x="245" y="384"/>
                </a:cubicBezTo>
                <a:cubicBezTo>
                  <a:pt x="245" y="255"/>
                  <a:pt x="245" y="255"/>
                  <a:pt x="245" y="255"/>
                </a:cubicBezTo>
                <a:cubicBezTo>
                  <a:pt x="212" y="250"/>
                  <a:pt x="186" y="221"/>
                  <a:pt x="186" y="186"/>
                </a:cubicBezTo>
                <a:cubicBezTo>
                  <a:pt x="186" y="148"/>
                  <a:pt x="217" y="117"/>
                  <a:pt x="256" y="117"/>
                </a:cubicBezTo>
                <a:cubicBezTo>
                  <a:pt x="294" y="117"/>
                  <a:pt x="325" y="148"/>
                  <a:pt x="325" y="186"/>
                </a:cubicBezTo>
                <a:cubicBezTo>
                  <a:pt x="325" y="221"/>
                  <a:pt x="300" y="250"/>
                  <a:pt x="266" y="25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0" name="Group 775">
            <a:extLst>
              <a:ext uri="{FF2B5EF4-FFF2-40B4-BE49-F238E27FC236}">
                <a16:creationId xmlns:a16="http://schemas.microsoft.com/office/drawing/2014/main" id="{0516B290-4667-4C2D-9F71-0434111EAC08}"/>
              </a:ext>
            </a:extLst>
          </p:cNvPr>
          <p:cNvGrpSpPr>
            <a:grpSpLocks noChangeAspect="1"/>
          </p:cNvGrpSpPr>
          <p:nvPr/>
        </p:nvGrpSpPr>
        <p:grpSpPr bwMode="auto">
          <a:xfrm>
            <a:off x="6126523" y="2529747"/>
            <a:ext cx="367041" cy="367041"/>
            <a:chOff x="2237" y="3306"/>
            <a:chExt cx="340" cy="340"/>
          </a:xfrm>
          <a:solidFill>
            <a:schemeClr val="accent3"/>
          </a:solidFill>
        </p:grpSpPr>
        <p:sp>
          <p:nvSpPr>
            <p:cNvPr id="451" name="Freeform 776">
              <a:extLst>
                <a:ext uri="{FF2B5EF4-FFF2-40B4-BE49-F238E27FC236}">
                  <a16:creationId xmlns:a16="http://schemas.microsoft.com/office/drawing/2014/main" id="{2DA4ADD2-CB5D-43D1-BF6A-EB67BC6B870C}"/>
                </a:ext>
              </a:extLst>
            </p:cNvPr>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2" name="Freeform 777">
              <a:extLst>
                <a:ext uri="{FF2B5EF4-FFF2-40B4-BE49-F238E27FC236}">
                  <a16:creationId xmlns:a16="http://schemas.microsoft.com/office/drawing/2014/main" id="{833BD7FC-667B-430E-B890-99BC1AC53AB5}"/>
                </a:ext>
              </a:extLst>
            </p:cNvPr>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3" name="Group 309">
            <a:extLst>
              <a:ext uri="{FF2B5EF4-FFF2-40B4-BE49-F238E27FC236}">
                <a16:creationId xmlns:a16="http://schemas.microsoft.com/office/drawing/2014/main" id="{911D6531-2EC9-4C79-A0A2-22DDBDBFACD5}"/>
              </a:ext>
            </a:extLst>
          </p:cNvPr>
          <p:cNvGrpSpPr>
            <a:grpSpLocks noChangeAspect="1"/>
          </p:cNvGrpSpPr>
          <p:nvPr/>
        </p:nvGrpSpPr>
        <p:grpSpPr bwMode="auto">
          <a:xfrm>
            <a:off x="6996957" y="2529747"/>
            <a:ext cx="370106" cy="369021"/>
            <a:chOff x="6585" y="1193"/>
            <a:chExt cx="341" cy="340"/>
          </a:xfrm>
          <a:solidFill>
            <a:schemeClr val="accent4"/>
          </a:solidFill>
        </p:grpSpPr>
        <p:sp>
          <p:nvSpPr>
            <p:cNvPr id="454" name="Freeform 310">
              <a:extLst>
                <a:ext uri="{FF2B5EF4-FFF2-40B4-BE49-F238E27FC236}">
                  <a16:creationId xmlns:a16="http://schemas.microsoft.com/office/drawing/2014/main" id="{3A4E2C53-A46B-417F-9089-E8821C4392DA}"/>
                </a:ext>
              </a:extLst>
            </p:cNvPr>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5" name="Freeform 311">
              <a:extLst>
                <a:ext uri="{FF2B5EF4-FFF2-40B4-BE49-F238E27FC236}">
                  <a16:creationId xmlns:a16="http://schemas.microsoft.com/office/drawing/2014/main" id="{1E6A7EFE-A75D-4CF9-8E70-400A39AAD82C}"/>
                </a:ext>
              </a:extLst>
            </p:cNvPr>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56" name="Freeform 315">
            <a:extLst>
              <a:ext uri="{FF2B5EF4-FFF2-40B4-BE49-F238E27FC236}">
                <a16:creationId xmlns:a16="http://schemas.microsoft.com/office/drawing/2014/main" id="{902A3D21-E0CE-4E0A-AC5A-D463A0063263}"/>
              </a:ext>
            </a:extLst>
          </p:cNvPr>
          <p:cNvSpPr>
            <a:spLocks noChangeAspect="1" noEditPoints="1"/>
          </p:cNvSpPr>
          <p:nvPr/>
        </p:nvSpPr>
        <p:spPr bwMode="auto">
          <a:xfrm>
            <a:off x="6560750" y="2529747"/>
            <a:ext cx="369021" cy="369021"/>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57" name="Group 786">
            <a:extLst>
              <a:ext uri="{FF2B5EF4-FFF2-40B4-BE49-F238E27FC236}">
                <a16:creationId xmlns:a16="http://schemas.microsoft.com/office/drawing/2014/main" id="{B79F4EAE-FEEC-45AF-A8FD-A8BDEA0D6626}"/>
              </a:ext>
            </a:extLst>
          </p:cNvPr>
          <p:cNvGrpSpPr>
            <a:grpSpLocks noChangeAspect="1"/>
          </p:cNvGrpSpPr>
          <p:nvPr/>
        </p:nvGrpSpPr>
        <p:grpSpPr bwMode="auto">
          <a:xfrm>
            <a:off x="7870456" y="2529747"/>
            <a:ext cx="369021" cy="369021"/>
            <a:chOff x="5071" y="3066"/>
            <a:chExt cx="340" cy="340"/>
          </a:xfrm>
          <a:solidFill>
            <a:schemeClr val="accent3"/>
          </a:solidFill>
        </p:grpSpPr>
        <p:sp>
          <p:nvSpPr>
            <p:cNvPr id="458" name="Freeform 787">
              <a:extLst>
                <a:ext uri="{FF2B5EF4-FFF2-40B4-BE49-F238E27FC236}">
                  <a16:creationId xmlns:a16="http://schemas.microsoft.com/office/drawing/2014/main" id="{B97FB6F9-F09A-4CFE-9716-818683185A1B}"/>
                </a:ext>
              </a:extLst>
            </p:cNvPr>
            <p:cNvSpPr>
              <a:spLocks noEditPoints="1"/>
            </p:cNvSpPr>
            <p:nvPr/>
          </p:nvSpPr>
          <p:spPr bwMode="auto">
            <a:xfrm>
              <a:off x="5071" y="306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9" name="Freeform 788">
              <a:extLst>
                <a:ext uri="{FF2B5EF4-FFF2-40B4-BE49-F238E27FC236}">
                  <a16:creationId xmlns:a16="http://schemas.microsoft.com/office/drawing/2014/main" id="{FCE099BE-E176-4020-A5B6-4A0129DC7D54}"/>
                </a:ext>
              </a:extLst>
            </p:cNvPr>
            <p:cNvSpPr>
              <a:spLocks noEditPoints="1"/>
            </p:cNvSpPr>
            <p:nvPr/>
          </p:nvSpPr>
          <p:spPr bwMode="auto">
            <a:xfrm>
              <a:off x="5134" y="3129"/>
              <a:ext cx="213" cy="185"/>
            </a:xfrm>
            <a:custGeom>
              <a:avLst/>
              <a:gdLst>
                <a:gd name="T0" fmla="*/ 319 w 321"/>
                <a:gd name="T1" fmla="*/ 198 h 278"/>
                <a:gd name="T2" fmla="*/ 310 w 321"/>
                <a:gd name="T3" fmla="*/ 193 h 278"/>
                <a:gd name="T4" fmla="*/ 274 w 321"/>
                <a:gd name="T5" fmla="*/ 193 h 278"/>
                <a:gd name="T6" fmla="*/ 170 w 321"/>
                <a:gd name="T7" fmla="*/ 6 h 278"/>
                <a:gd name="T8" fmla="*/ 158 w 321"/>
                <a:gd name="T9" fmla="*/ 1 h 278"/>
                <a:gd name="T10" fmla="*/ 150 w 321"/>
                <a:gd name="T11" fmla="*/ 11 h 278"/>
                <a:gd name="T12" fmla="*/ 150 w 321"/>
                <a:gd name="T13" fmla="*/ 51 h 278"/>
                <a:gd name="T14" fmla="*/ 49 w 321"/>
                <a:gd name="T15" fmla="*/ 193 h 278"/>
                <a:gd name="T16" fmla="*/ 11 w 321"/>
                <a:gd name="T17" fmla="*/ 193 h 278"/>
                <a:gd name="T18" fmla="*/ 2 w 321"/>
                <a:gd name="T19" fmla="*/ 198 h 278"/>
                <a:gd name="T20" fmla="*/ 2 w 321"/>
                <a:gd name="T21" fmla="*/ 209 h 278"/>
                <a:gd name="T22" fmla="*/ 45 w 321"/>
                <a:gd name="T23" fmla="*/ 273 h 278"/>
                <a:gd name="T24" fmla="*/ 54 w 321"/>
                <a:gd name="T25" fmla="*/ 278 h 278"/>
                <a:gd name="T26" fmla="*/ 267 w 321"/>
                <a:gd name="T27" fmla="*/ 278 h 278"/>
                <a:gd name="T28" fmla="*/ 276 w 321"/>
                <a:gd name="T29" fmla="*/ 273 h 278"/>
                <a:gd name="T30" fmla="*/ 319 w 321"/>
                <a:gd name="T31" fmla="*/ 209 h 278"/>
                <a:gd name="T32" fmla="*/ 319 w 321"/>
                <a:gd name="T33" fmla="*/ 198 h 278"/>
                <a:gd name="T34" fmla="*/ 171 w 321"/>
                <a:gd name="T35" fmla="*/ 52 h 278"/>
                <a:gd name="T36" fmla="*/ 249 w 321"/>
                <a:gd name="T37" fmla="*/ 193 h 278"/>
                <a:gd name="T38" fmla="*/ 171 w 321"/>
                <a:gd name="T39" fmla="*/ 193 h 278"/>
                <a:gd name="T40" fmla="*/ 171 w 321"/>
                <a:gd name="T41" fmla="*/ 54 h 278"/>
                <a:gd name="T42" fmla="*/ 171 w 321"/>
                <a:gd name="T43" fmla="*/ 52 h 278"/>
                <a:gd name="T44" fmla="*/ 150 w 321"/>
                <a:gd name="T45" fmla="*/ 87 h 278"/>
                <a:gd name="T46" fmla="*/ 150 w 321"/>
                <a:gd name="T47" fmla="*/ 193 h 278"/>
                <a:gd name="T48" fmla="*/ 75 w 321"/>
                <a:gd name="T49" fmla="*/ 193 h 278"/>
                <a:gd name="T50" fmla="*/ 150 w 321"/>
                <a:gd name="T51" fmla="*/ 87 h 278"/>
                <a:gd name="T52" fmla="*/ 262 w 321"/>
                <a:gd name="T53" fmla="*/ 257 h 278"/>
                <a:gd name="T54" fmla="*/ 60 w 321"/>
                <a:gd name="T55" fmla="*/ 257 h 278"/>
                <a:gd name="T56" fmla="*/ 31 w 321"/>
                <a:gd name="T57" fmla="*/ 214 h 278"/>
                <a:gd name="T58" fmla="*/ 54 w 321"/>
                <a:gd name="T59" fmla="*/ 214 h 278"/>
                <a:gd name="T60" fmla="*/ 161 w 321"/>
                <a:gd name="T61" fmla="*/ 214 h 278"/>
                <a:gd name="T62" fmla="*/ 267 w 321"/>
                <a:gd name="T63" fmla="*/ 214 h 278"/>
                <a:gd name="T64" fmla="*/ 290 w 321"/>
                <a:gd name="T65" fmla="*/ 214 h 278"/>
                <a:gd name="T66" fmla="*/ 262 w 321"/>
                <a:gd name="T67"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78">
                  <a:moveTo>
                    <a:pt x="319" y="198"/>
                  </a:moveTo>
                  <a:cubicBezTo>
                    <a:pt x="318" y="195"/>
                    <a:pt x="314" y="193"/>
                    <a:pt x="310" y="193"/>
                  </a:cubicBezTo>
                  <a:cubicBezTo>
                    <a:pt x="274" y="193"/>
                    <a:pt x="274" y="193"/>
                    <a:pt x="274" y="193"/>
                  </a:cubicBezTo>
                  <a:cubicBezTo>
                    <a:pt x="170" y="6"/>
                    <a:pt x="170" y="6"/>
                    <a:pt x="170" y="6"/>
                  </a:cubicBezTo>
                  <a:cubicBezTo>
                    <a:pt x="168" y="2"/>
                    <a:pt x="163" y="0"/>
                    <a:pt x="158" y="1"/>
                  </a:cubicBezTo>
                  <a:cubicBezTo>
                    <a:pt x="153" y="2"/>
                    <a:pt x="150" y="6"/>
                    <a:pt x="150" y="11"/>
                  </a:cubicBezTo>
                  <a:cubicBezTo>
                    <a:pt x="150" y="51"/>
                    <a:pt x="150" y="51"/>
                    <a:pt x="150" y="51"/>
                  </a:cubicBezTo>
                  <a:cubicBezTo>
                    <a:pt x="49" y="193"/>
                    <a:pt x="49" y="193"/>
                    <a:pt x="49" y="193"/>
                  </a:cubicBezTo>
                  <a:cubicBezTo>
                    <a:pt x="11" y="193"/>
                    <a:pt x="11" y="193"/>
                    <a:pt x="11" y="193"/>
                  </a:cubicBezTo>
                  <a:cubicBezTo>
                    <a:pt x="7" y="193"/>
                    <a:pt x="4" y="195"/>
                    <a:pt x="2" y="198"/>
                  </a:cubicBezTo>
                  <a:cubicBezTo>
                    <a:pt x="0" y="202"/>
                    <a:pt x="0" y="206"/>
                    <a:pt x="2" y="209"/>
                  </a:cubicBezTo>
                  <a:cubicBezTo>
                    <a:pt x="45" y="273"/>
                    <a:pt x="45" y="273"/>
                    <a:pt x="45" y="273"/>
                  </a:cubicBezTo>
                  <a:cubicBezTo>
                    <a:pt x="47" y="276"/>
                    <a:pt x="50" y="278"/>
                    <a:pt x="54" y="278"/>
                  </a:cubicBezTo>
                  <a:cubicBezTo>
                    <a:pt x="267" y="278"/>
                    <a:pt x="267" y="278"/>
                    <a:pt x="267" y="278"/>
                  </a:cubicBezTo>
                  <a:cubicBezTo>
                    <a:pt x="271" y="278"/>
                    <a:pt x="274" y="276"/>
                    <a:pt x="276" y="273"/>
                  </a:cubicBezTo>
                  <a:cubicBezTo>
                    <a:pt x="319" y="209"/>
                    <a:pt x="319" y="209"/>
                    <a:pt x="319" y="209"/>
                  </a:cubicBezTo>
                  <a:cubicBezTo>
                    <a:pt x="321" y="206"/>
                    <a:pt x="321" y="202"/>
                    <a:pt x="319" y="198"/>
                  </a:cubicBezTo>
                  <a:close/>
                  <a:moveTo>
                    <a:pt x="171" y="52"/>
                  </a:moveTo>
                  <a:cubicBezTo>
                    <a:pt x="249" y="193"/>
                    <a:pt x="249" y="193"/>
                    <a:pt x="249" y="193"/>
                  </a:cubicBezTo>
                  <a:cubicBezTo>
                    <a:pt x="171" y="193"/>
                    <a:pt x="171" y="193"/>
                    <a:pt x="171" y="193"/>
                  </a:cubicBezTo>
                  <a:cubicBezTo>
                    <a:pt x="171" y="54"/>
                    <a:pt x="171" y="54"/>
                    <a:pt x="171" y="54"/>
                  </a:cubicBezTo>
                  <a:lnTo>
                    <a:pt x="171" y="52"/>
                  </a:lnTo>
                  <a:close/>
                  <a:moveTo>
                    <a:pt x="150" y="87"/>
                  </a:moveTo>
                  <a:cubicBezTo>
                    <a:pt x="150" y="193"/>
                    <a:pt x="150" y="193"/>
                    <a:pt x="150" y="193"/>
                  </a:cubicBezTo>
                  <a:cubicBezTo>
                    <a:pt x="75" y="193"/>
                    <a:pt x="75" y="193"/>
                    <a:pt x="75" y="193"/>
                  </a:cubicBezTo>
                  <a:lnTo>
                    <a:pt x="150" y="87"/>
                  </a:lnTo>
                  <a:close/>
                  <a:moveTo>
                    <a:pt x="262" y="257"/>
                  </a:moveTo>
                  <a:cubicBezTo>
                    <a:pt x="60" y="257"/>
                    <a:pt x="60" y="257"/>
                    <a:pt x="60" y="257"/>
                  </a:cubicBezTo>
                  <a:cubicBezTo>
                    <a:pt x="31" y="214"/>
                    <a:pt x="31" y="214"/>
                    <a:pt x="31" y="214"/>
                  </a:cubicBezTo>
                  <a:cubicBezTo>
                    <a:pt x="54" y="214"/>
                    <a:pt x="54" y="214"/>
                    <a:pt x="54" y="214"/>
                  </a:cubicBezTo>
                  <a:cubicBezTo>
                    <a:pt x="161" y="214"/>
                    <a:pt x="161" y="214"/>
                    <a:pt x="161" y="214"/>
                  </a:cubicBezTo>
                  <a:cubicBezTo>
                    <a:pt x="267" y="214"/>
                    <a:pt x="267" y="214"/>
                    <a:pt x="267" y="214"/>
                  </a:cubicBezTo>
                  <a:cubicBezTo>
                    <a:pt x="290" y="214"/>
                    <a:pt x="290" y="214"/>
                    <a:pt x="290" y="214"/>
                  </a:cubicBezTo>
                  <a:lnTo>
                    <a:pt x="262" y="2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0" name="Freeform 792">
            <a:extLst>
              <a:ext uri="{FF2B5EF4-FFF2-40B4-BE49-F238E27FC236}">
                <a16:creationId xmlns:a16="http://schemas.microsoft.com/office/drawing/2014/main" id="{1679343F-B274-4FBD-B266-C29571273E4C}"/>
              </a:ext>
            </a:extLst>
          </p:cNvPr>
          <p:cNvSpPr>
            <a:spLocks noChangeAspect="1" noEditPoints="1"/>
          </p:cNvSpPr>
          <p:nvPr/>
        </p:nvSpPr>
        <p:spPr bwMode="auto">
          <a:xfrm>
            <a:off x="7434249" y="2529747"/>
            <a:ext cx="369021" cy="369021"/>
          </a:xfrm>
          <a:custGeom>
            <a:avLst/>
            <a:gdLst>
              <a:gd name="T0" fmla="*/ 344 w 512"/>
              <a:gd name="T1" fmla="*/ 288 h 512"/>
              <a:gd name="T2" fmla="*/ 266 w 512"/>
              <a:gd name="T3" fmla="*/ 288 h 512"/>
              <a:gd name="T4" fmla="*/ 266 w 512"/>
              <a:gd name="T5" fmla="*/ 149 h 512"/>
              <a:gd name="T6" fmla="*/ 266 w 512"/>
              <a:gd name="T7" fmla="*/ 147 h 512"/>
              <a:gd name="T8" fmla="*/ 344 w 512"/>
              <a:gd name="T9" fmla="*/ 288 h 512"/>
              <a:gd name="T10" fmla="*/ 245 w 512"/>
              <a:gd name="T11" fmla="*/ 182 h 512"/>
              <a:gd name="T12" fmla="*/ 170 w 512"/>
              <a:gd name="T13" fmla="*/ 288 h 512"/>
              <a:gd name="T14" fmla="*/ 245 w 512"/>
              <a:gd name="T15" fmla="*/ 288 h 512"/>
              <a:gd name="T16" fmla="*/ 245 w 512"/>
              <a:gd name="T17" fmla="*/ 182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414 w 512"/>
              <a:gd name="T29" fmla="*/ 293 h 512"/>
              <a:gd name="T30" fmla="*/ 405 w 512"/>
              <a:gd name="T31" fmla="*/ 288 h 512"/>
              <a:gd name="T32" fmla="*/ 369 w 512"/>
              <a:gd name="T33" fmla="*/ 288 h 512"/>
              <a:gd name="T34" fmla="*/ 265 w 512"/>
              <a:gd name="T35" fmla="*/ 101 h 512"/>
              <a:gd name="T36" fmla="*/ 253 w 512"/>
              <a:gd name="T37" fmla="*/ 96 h 512"/>
              <a:gd name="T38" fmla="*/ 245 w 512"/>
              <a:gd name="T39" fmla="*/ 106 h 512"/>
              <a:gd name="T40" fmla="*/ 245 w 512"/>
              <a:gd name="T41" fmla="*/ 146 h 512"/>
              <a:gd name="T42" fmla="*/ 144 w 512"/>
              <a:gd name="T43" fmla="*/ 288 h 512"/>
              <a:gd name="T44" fmla="*/ 106 w 512"/>
              <a:gd name="T45" fmla="*/ 288 h 512"/>
              <a:gd name="T46" fmla="*/ 97 w 512"/>
              <a:gd name="T47" fmla="*/ 293 h 512"/>
              <a:gd name="T48" fmla="*/ 97 w 512"/>
              <a:gd name="T49" fmla="*/ 304 h 512"/>
              <a:gd name="T50" fmla="*/ 140 w 512"/>
              <a:gd name="T51" fmla="*/ 368 h 512"/>
              <a:gd name="T52" fmla="*/ 149 w 512"/>
              <a:gd name="T53" fmla="*/ 373 h 512"/>
              <a:gd name="T54" fmla="*/ 362 w 512"/>
              <a:gd name="T55" fmla="*/ 373 h 512"/>
              <a:gd name="T56" fmla="*/ 371 w 512"/>
              <a:gd name="T57" fmla="*/ 368 h 512"/>
              <a:gd name="T58" fmla="*/ 414 w 512"/>
              <a:gd name="T59" fmla="*/ 304 h 512"/>
              <a:gd name="T60" fmla="*/ 414 w 512"/>
              <a:gd name="T61" fmla="*/ 293 h 512"/>
              <a:gd name="T62" fmla="*/ 256 w 512"/>
              <a:gd name="T63" fmla="*/ 309 h 512"/>
              <a:gd name="T64" fmla="*/ 149 w 512"/>
              <a:gd name="T65" fmla="*/ 309 h 512"/>
              <a:gd name="T66" fmla="*/ 126 w 512"/>
              <a:gd name="T67" fmla="*/ 309 h 512"/>
              <a:gd name="T68" fmla="*/ 155 w 512"/>
              <a:gd name="T69" fmla="*/ 352 h 512"/>
              <a:gd name="T70" fmla="*/ 357 w 512"/>
              <a:gd name="T71" fmla="*/ 352 h 512"/>
              <a:gd name="T72" fmla="*/ 385 w 512"/>
              <a:gd name="T73" fmla="*/ 309 h 512"/>
              <a:gd name="T74" fmla="*/ 362 w 512"/>
              <a:gd name="T75" fmla="*/ 309 h 512"/>
              <a:gd name="T76" fmla="*/ 256 w 512"/>
              <a:gd name="T7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44" y="288"/>
                </a:moveTo>
                <a:cubicBezTo>
                  <a:pt x="266" y="288"/>
                  <a:pt x="266" y="288"/>
                  <a:pt x="266" y="288"/>
                </a:cubicBezTo>
                <a:cubicBezTo>
                  <a:pt x="266" y="149"/>
                  <a:pt x="266" y="149"/>
                  <a:pt x="266" y="149"/>
                </a:cubicBezTo>
                <a:cubicBezTo>
                  <a:pt x="266" y="147"/>
                  <a:pt x="266" y="147"/>
                  <a:pt x="266" y="147"/>
                </a:cubicBezTo>
                <a:lnTo>
                  <a:pt x="344" y="288"/>
                </a:lnTo>
                <a:close/>
                <a:moveTo>
                  <a:pt x="245" y="182"/>
                </a:moveTo>
                <a:cubicBezTo>
                  <a:pt x="170" y="288"/>
                  <a:pt x="170" y="288"/>
                  <a:pt x="170" y="288"/>
                </a:cubicBezTo>
                <a:cubicBezTo>
                  <a:pt x="245" y="288"/>
                  <a:pt x="245" y="288"/>
                  <a:pt x="245" y="288"/>
                </a:cubicBezTo>
                <a:lnTo>
                  <a:pt x="245"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93"/>
                </a:moveTo>
                <a:cubicBezTo>
                  <a:pt x="413" y="290"/>
                  <a:pt x="409" y="288"/>
                  <a:pt x="405" y="288"/>
                </a:cubicBezTo>
                <a:cubicBezTo>
                  <a:pt x="369" y="288"/>
                  <a:pt x="369" y="288"/>
                  <a:pt x="369" y="288"/>
                </a:cubicBezTo>
                <a:cubicBezTo>
                  <a:pt x="265" y="101"/>
                  <a:pt x="265" y="101"/>
                  <a:pt x="265" y="101"/>
                </a:cubicBezTo>
                <a:cubicBezTo>
                  <a:pt x="263" y="97"/>
                  <a:pt x="258" y="95"/>
                  <a:pt x="253" y="96"/>
                </a:cubicBezTo>
                <a:cubicBezTo>
                  <a:pt x="248" y="97"/>
                  <a:pt x="245" y="101"/>
                  <a:pt x="245" y="106"/>
                </a:cubicBezTo>
                <a:cubicBezTo>
                  <a:pt x="245" y="146"/>
                  <a:pt x="245" y="146"/>
                  <a:pt x="245" y="146"/>
                </a:cubicBezTo>
                <a:cubicBezTo>
                  <a:pt x="144" y="288"/>
                  <a:pt x="144" y="288"/>
                  <a:pt x="144" y="288"/>
                </a:cubicBezTo>
                <a:cubicBezTo>
                  <a:pt x="106" y="288"/>
                  <a:pt x="106" y="288"/>
                  <a:pt x="106" y="288"/>
                </a:cubicBezTo>
                <a:cubicBezTo>
                  <a:pt x="102" y="288"/>
                  <a:pt x="99" y="290"/>
                  <a:pt x="97" y="293"/>
                </a:cubicBezTo>
                <a:cubicBezTo>
                  <a:pt x="95" y="297"/>
                  <a:pt x="95" y="301"/>
                  <a:pt x="97" y="304"/>
                </a:cubicBezTo>
                <a:cubicBezTo>
                  <a:pt x="140" y="368"/>
                  <a:pt x="140" y="368"/>
                  <a:pt x="140" y="368"/>
                </a:cubicBezTo>
                <a:cubicBezTo>
                  <a:pt x="142" y="371"/>
                  <a:pt x="145" y="373"/>
                  <a:pt x="149" y="373"/>
                </a:cubicBezTo>
                <a:cubicBezTo>
                  <a:pt x="362" y="373"/>
                  <a:pt x="362" y="373"/>
                  <a:pt x="362" y="373"/>
                </a:cubicBezTo>
                <a:cubicBezTo>
                  <a:pt x="366" y="373"/>
                  <a:pt x="369" y="371"/>
                  <a:pt x="371" y="368"/>
                </a:cubicBezTo>
                <a:cubicBezTo>
                  <a:pt x="414" y="304"/>
                  <a:pt x="414" y="304"/>
                  <a:pt x="414" y="304"/>
                </a:cubicBezTo>
                <a:cubicBezTo>
                  <a:pt x="416" y="301"/>
                  <a:pt x="416" y="297"/>
                  <a:pt x="414" y="293"/>
                </a:cubicBezTo>
                <a:close/>
                <a:moveTo>
                  <a:pt x="256" y="309"/>
                </a:moveTo>
                <a:cubicBezTo>
                  <a:pt x="149" y="309"/>
                  <a:pt x="149" y="309"/>
                  <a:pt x="149" y="309"/>
                </a:cubicBezTo>
                <a:cubicBezTo>
                  <a:pt x="126" y="309"/>
                  <a:pt x="126" y="309"/>
                  <a:pt x="126" y="309"/>
                </a:cubicBezTo>
                <a:cubicBezTo>
                  <a:pt x="155" y="352"/>
                  <a:pt x="155" y="352"/>
                  <a:pt x="155" y="352"/>
                </a:cubicBezTo>
                <a:cubicBezTo>
                  <a:pt x="357" y="352"/>
                  <a:pt x="357" y="352"/>
                  <a:pt x="357" y="352"/>
                </a:cubicBezTo>
                <a:cubicBezTo>
                  <a:pt x="385" y="309"/>
                  <a:pt x="385" y="309"/>
                  <a:pt x="385" y="309"/>
                </a:cubicBezTo>
                <a:cubicBezTo>
                  <a:pt x="362" y="309"/>
                  <a:pt x="362" y="309"/>
                  <a:pt x="362" y="309"/>
                </a:cubicBezTo>
                <a:lnTo>
                  <a:pt x="256" y="30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1" name="Freeform 908">
            <a:extLst>
              <a:ext uri="{FF2B5EF4-FFF2-40B4-BE49-F238E27FC236}">
                <a16:creationId xmlns:a16="http://schemas.microsoft.com/office/drawing/2014/main" id="{79F97331-B356-462E-B5B5-1929C7F6842D}"/>
              </a:ext>
            </a:extLst>
          </p:cNvPr>
          <p:cNvSpPr>
            <a:spLocks noChangeAspect="1" noEditPoints="1"/>
          </p:cNvSpPr>
          <p:nvPr/>
        </p:nvSpPr>
        <p:spPr bwMode="auto">
          <a:xfrm>
            <a:off x="8306663" y="2529747"/>
            <a:ext cx="367982" cy="367982"/>
          </a:xfrm>
          <a:custGeom>
            <a:avLst/>
            <a:gdLst>
              <a:gd name="T0" fmla="*/ 384 w 512"/>
              <a:gd name="T1" fmla="*/ 160 h 512"/>
              <a:gd name="T2" fmla="*/ 213 w 512"/>
              <a:gd name="T3" fmla="*/ 256 h 512"/>
              <a:gd name="T4" fmla="*/ 181 w 512"/>
              <a:gd name="T5" fmla="*/ 256 h 512"/>
              <a:gd name="T6" fmla="*/ 202 w 512"/>
              <a:gd name="T7" fmla="*/ 234 h 512"/>
              <a:gd name="T8" fmla="*/ 245 w 512"/>
              <a:gd name="T9" fmla="*/ 288 h 512"/>
              <a:gd name="T10" fmla="*/ 213 w 512"/>
              <a:gd name="T11" fmla="*/ 288 h 512"/>
              <a:gd name="T12" fmla="*/ 234 w 512"/>
              <a:gd name="T13" fmla="*/ 266 h 512"/>
              <a:gd name="T14" fmla="*/ 277 w 512"/>
              <a:gd name="T15" fmla="*/ 256 h 512"/>
              <a:gd name="T16" fmla="*/ 245 w 512"/>
              <a:gd name="T17" fmla="*/ 256 h 512"/>
              <a:gd name="T18" fmla="*/ 266 w 512"/>
              <a:gd name="T19" fmla="*/ 234 h 512"/>
              <a:gd name="T20" fmla="*/ 309 w 512"/>
              <a:gd name="T21" fmla="*/ 288 h 512"/>
              <a:gd name="T22" fmla="*/ 277 w 512"/>
              <a:gd name="T23" fmla="*/ 288 h 512"/>
              <a:gd name="T24" fmla="*/ 298 w 512"/>
              <a:gd name="T25" fmla="*/ 266 h 512"/>
              <a:gd name="T26" fmla="*/ 341 w 512"/>
              <a:gd name="T27" fmla="*/ 256 h 512"/>
              <a:gd name="T28" fmla="*/ 309 w 512"/>
              <a:gd name="T29" fmla="*/ 256 h 512"/>
              <a:gd name="T30" fmla="*/ 330 w 512"/>
              <a:gd name="T31" fmla="*/ 234 h 512"/>
              <a:gd name="T32" fmla="*/ 373 w 512"/>
              <a:gd name="T33" fmla="*/ 288 h 512"/>
              <a:gd name="T34" fmla="*/ 341 w 512"/>
              <a:gd name="T35" fmla="*/ 288 h 512"/>
              <a:gd name="T36" fmla="*/ 362 w 512"/>
              <a:gd name="T37" fmla="*/ 266 h 512"/>
              <a:gd name="T38" fmla="*/ 373 w 512"/>
              <a:gd name="T39" fmla="*/ 224 h 512"/>
              <a:gd name="T40" fmla="*/ 341 w 512"/>
              <a:gd name="T41" fmla="*/ 224 h 512"/>
              <a:gd name="T42" fmla="*/ 362 w 512"/>
              <a:gd name="T43" fmla="*/ 202 h 512"/>
              <a:gd name="T44" fmla="*/ 341 w 512"/>
              <a:gd name="T45" fmla="*/ 192 h 512"/>
              <a:gd name="T46" fmla="*/ 309 w 512"/>
              <a:gd name="T47" fmla="*/ 192 h 512"/>
              <a:gd name="T48" fmla="*/ 330 w 512"/>
              <a:gd name="T49" fmla="*/ 170 h 512"/>
              <a:gd name="T50" fmla="*/ 309 w 512"/>
              <a:gd name="T51" fmla="*/ 224 h 512"/>
              <a:gd name="T52" fmla="*/ 277 w 512"/>
              <a:gd name="T53" fmla="*/ 224 h 512"/>
              <a:gd name="T54" fmla="*/ 298 w 512"/>
              <a:gd name="T55" fmla="*/ 202 h 512"/>
              <a:gd name="T56" fmla="*/ 277 w 512"/>
              <a:gd name="T57" fmla="*/ 192 h 512"/>
              <a:gd name="T58" fmla="*/ 245 w 512"/>
              <a:gd name="T59" fmla="*/ 192 h 512"/>
              <a:gd name="T60" fmla="*/ 266 w 512"/>
              <a:gd name="T61" fmla="*/ 170 h 512"/>
              <a:gd name="T62" fmla="*/ 245 w 512"/>
              <a:gd name="T63" fmla="*/ 224 h 512"/>
              <a:gd name="T64" fmla="*/ 213 w 512"/>
              <a:gd name="T65" fmla="*/ 224 h 512"/>
              <a:gd name="T66" fmla="*/ 234 w 512"/>
              <a:gd name="T67" fmla="*/ 202 h 512"/>
              <a:gd name="T68" fmla="*/ 213 w 512"/>
              <a:gd name="T69" fmla="*/ 192 h 512"/>
              <a:gd name="T70" fmla="*/ 181 w 512"/>
              <a:gd name="T71" fmla="*/ 192 h 512"/>
              <a:gd name="T72" fmla="*/ 202 w 512"/>
              <a:gd name="T73" fmla="*/ 170 h 512"/>
              <a:gd name="T74" fmla="*/ 181 w 512"/>
              <a:gd name="T75" fmla="*/ 224 h 512"/>
              <a:gd name="T76" fmla="*/ 149 w 512"/>
              <a:gd name="T77" fmla="*/ 224 h 512"/>
              <a:gd name="T78" fmla="*/ 170 w 512"/>
              <a:gd name="T79" fmla="*/ 202 h 512"/>
              <a:gd name="T80" fmla="*/ 181 w 512"/>
              <a:gd name="T81" fmla="*/ 288 h 512"/>
              <a:gd name="T82" fmla="*/ 149 w 512"/>
              <a:gd name="T83" fmla="*/ 288 h 512"/>
              <a:gd name="T84" fmla="*/ 170 w 512"/>
              <a:gd name="T85" fmla="*/ 266 h 512"/>
              <a:gd name="T86" fmla="*/ 256 w 512"/>
              <a:gd name="T87" fmla="*/ 0 h 512"/>
              <a:gd name="T88" fmla="*/ 512 w 512"/>
              <a:gd name="T89" fmla="*/ 256 h 512"/>
              <a:gd name="T90" fmla="*/ 394 w 512"/>
              <a:gd name="T91" fmla="*/ 330 h 512"/>
              <a:gd name="T92" fmla="*/ 128 w 512"/>
              <a:gd name="T93" fmla="*/ 394 h 512"/>
              <a:gd name="T94" fmla="*/ 117 w 512"/>
              <a:gd name="T95" fmla="*/ 149 h 512"/>
              <a:gd name="T96" fmla="*/ 405 w 512"/>
              <a:gd name="T9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138" y="309"/>
                </a:moveTo>
                <a:cubicBezTo>
                  <a:pt x="384" y="309"/>
                  <a:pt x="384" y="309"/>
                  <a:pt x="384" y="309"/>
                </a:cubicBezTo>
                <a:cubicBezTo>
                  <a:pt x="384" y="160"/>
                  <a:pt x="384" y="160"/>
                  <a:pt x="384" y="160"/>
                </a:cubicBezTo>
                <a:cubicBezTo>
                  <a:pt x="138" y="160"/>
                  <a:pt x="138" y="160"/>
                  <a:pt x="138" y="160"/>
                </a:cubicBezTo>
                <a:lnTo>
                  <a:pt x="138" y="309"/>
                </a:lnTo>
                <a:close/>
                <a:moveTo>
                  <a:pt x="213" y="256"/>
                </a:moveTo>
                <a:cubicBezTo>
                  <a:pt x="213" y="262"/>
                  <a:pt x="208" y="266"/>
                  <a:pt x="202" y="266"/>
                </a:cubicBezTo>
                <a:cubicBezTo>
                  <a:pt x="192" y="266"/>
                  <a:pt x="192" y="266"/>
                  <a:pt x="192" y="266"/>
                </a:cubicBezTo>
                <a:cubicBezTo>
                  <a:pt x="186" y="266"/>
                  <a:pt x="181" y="262"/>
                  <a:pt x="181" y="256"/>
                </a:cubicBezTo>
                <a:cubicBezTo>
                  <a:pt x="181" y="245"/>
                  <a:pt x="181" y="245"/>
                  <a:pt x="181" y="245"/>
                </a:cubicBezTo>
                <a:cubicBezTo>
                  <a:pt x="181" y="239"/>
                  <a:pt x="186" y="234"/>
                  <a:pt x="192" y="234"/>
                </a:cubicBezTo>
                <a:cubicBezTo>
                  <a:pt x="202" y="234"/>
                  <a:pt x="202" y="234"/>
                  <a:pt x="202" y="234"/>
                </a:cubicBezTo>
                <a:cubicBezTo>
                  <a:pt x="208" y="234"/>
                  <a:pt x="213" y="239"/>
                  <a:pt x="213" y="245"/>
                </a:cubicBezTo>
                <a:lnTo>
                  <a:pt x="213" y="256"/>
                </a:lnTo>
                <a:close/>
                <a:moveTo>
                  <a:pt x="245" y="288"/>
                </a:moveTo>
                <a:cubicBezTo>
                  <a:pt x="245" y="294"/>
                  <a:pt x="240" y="298"/>
                  <a:pt x="234" y="298"/>
                </a:cubicBezTo>
                <a:cubicBezTo>
                  <a:pt x="224" y="298"/>
                  <a:pt x="224" y="298"/>
                  <a:pt x="224" y="298"/>
                </a:cubicBezTo>
                <a:cubicBezTo>
                  <a:pt x="218" y="298"/>
                  <a:pt x="213" y="294"/>
                  <a:pt x="213" y="288"/>
                </a:cubicBezTo>
                <a:cubicBezTo>
                  <a:pt x="213" y="277"/>
                  <a:pt x="213" y="277"/>
                  <a:pt x="213" y="277"/>
                </a:cubicBezTo>
                <a:cubicBezTo>
                  <a:pt x="213" y="271"/>
                  <a:pt x="218" y="266"/>
                  <a:pt x="224" y="266"/>
                </a:cubicBezTo>
                <a:cubicBezTo>
                  <a:pt x="234" y="266"/>
                  <a:pt x="234" y="266"/>
                  <a:pt x="234" y="266"/>
                </a:cubicBezTo>
                <a:cubicBezTo>
                  <a:pt x="240" y="266"/>
                  <a:pt x="245" y="271"/>
                  <a:pt x="245" y="277"/>
                </a:cubicBezTo>
                <a:lnTo>
                  <a:pt x="245" y="288"/>
                </a:lnTo>
                <a:close/>
                <a:moveTo>
                  <a:pt x="277" y="256"/>
                </a:moveTo>
                <a:cubicBezTo>
                  <a:pt x="277" y="262"/>
                  <a:pt x="272" y="266"/>
                  <a:pt x="266" y="266"/>
                </a:cubicBezTo>
                <a:cubicBezTo>
                  <a:pt x="256" y="266"/>
                  <a:pt x="256" y="266"/>
                  <a:pt x="256" y="266"/>
                </a:cubicBezTo>
                <a:cubicBezTo>
                  <a:pt x="250" y="266"/>
                  <a:pt x="245" y="262"/>
                  <a:pt x="245" y="256"/>
                </a:cubicBezTo>
                <a:cubicBezTo>
                  <a:pt x="245" y="245"/>
                  <a:pt x="245" y="245"/>
                  <a:pt x="245" y="245"/>
                </a:cubicBezTo>
                <a:cubicBezTo>
                  <a:pt x="245" y="239"/>
                  <a:pt x="250" y="234"/>
                  <a:pt x="256" y="234"/>
                </a:cubicBezTo>
                <a:cubicBezTo>
                  <a:pt x="266" y="234"/>
                  <a:pt x="266" y="234"/>
                  <a:pt x="266" y="234"/>
                </a:cubicBezTo>
                <a:cubicBezTo>
                  <a:pt x="272" y="234"/>
                  <a:pt x="277" y="239"/>
                  <a:pt x="277" y="245"/>
                </a:cubicBezTo>
                <a:lnTo>
                  <a:pt x="277" y="256"/>
                </a:lnTo>
                <a:close/>
                <a:moveTo>
                  <a:pt x="309" y="288"/>
                </a:moveTo>
                <a:cubicBezTo>
                  <a:pt x="309" y="294"/>
                  <a:pt x="304" y="298"/>
                  <a:pt x="298" y="298"/>
                </a:cubicBezTo>
                <a:cubicBezTo>
                  <a:pt x="288" y="298"/>
                  <a:pt x="288" y="298"/>
                  <a:pt x="288" y="298"/>
                </a:cubicBezTo>
                <a:cubicBezTo>
                  <a:pt x="282" y="298"/>
                  <a:pt x="277" y="294"/>
                  <a:pt x="277" y="288"/>
                </a:cubicBezTo>
                <a:cubicBezTo>
                  <a:pt x="277" y="277"/>
                  <a:pt x="277" y="277"/>
                  <a:pt x="277" y="277"/>
                </a:cubicBezTo>
                <a:cubicBezTo>
                  <a:pt x="277" y="271"/>
                  <a:pt x="282" y="266"/>
                  <a:pt x="288" y="266"/>
                </a:cubicBezTo>
                <a:cubicBezTo>
                  <a:pt x="298" y="266"/>
                  <a:pt x="298" y="266"/>
                  <a:pt x="298" y="266"/>
                </a:cubicBezTo>
                <a:cubicBezTo>
                  <a:pt x="304" y="266"/>
                  <a:pt x="309" y="271"/>
                  <a:pt x="309" y="277"/>
                </a:cubicBezTo>
                <a:lnTo>
                  <a:pt x="309" y="288"/>
                </a:lnTo>
                <a:close/>
                <a:moveTo>
                  <a:pt x="341" y="256"/>
                </a:moveTo>
                <a:cubicBezTo>
                  <a:pt x="341" y="262"/>
                  <a:pt x="336" y="266"/>
                  <a:pt x="330" y="266"/>
                </a:cubicBezTo>
                <a:cubicBezTo>
                  <a:pt x="320" y="266"/>
                  <a:pt x="320" y="266"/>
                  <a:pt x="320" y="266"/>
                </a:cubicBezTo>
                <a:cubicBezTo>
                  <a:pt x="314" y="266"/>
                  <a:pt x="309" y="262"/>
                  <a:pt x="309" y="256"/>
                </a:cubicBezTo>
                <a:cubicBezTo>
                  <a:pt x="309" y="245"/>
                  <a:pt x="309" y="245"/>
                  <a:pt x="309" y="245"/>
                </a:cubicBezTo>
                <a:cubicBezTo>
                  <a:pt x="309" y="239"/>
                  <a:pt x="314" y="234"/>
                  <a:pt x="320" y="234"/>
                </a:cubicBezTo>
                <a:cubicBezTo>
                  <a:pt x="330" y="234"/>
                  <a:pt x="330" y="234"/>
                  <a:pt x="330" y="234"/>
                </a:cubicBezTo>
                <a:cubicBezTo>
                  <a:pt x="336" y="234"/>
                  <a:pt x="341" y="239"/>
                  <a:pt x="341" y="245"/>
                </a:cubicBezTo>
                <a:lnTo>
                  <a:pt x="341" y="256"/>
                </a:lnTo>
                <a:close/>
                <a:moveTo>
                  <a:pt x="373" y="288"/>
                </a:moveTo>
                <a:cubicBezTo>
                  <a:pt x="373" y="294"/>
                  <a:pt x="368" y="298"/>
                  <a:pt x="362" y="298"/>
                </a:cubicBezTo>
                <a:cubicBezTo>
                  <a:pt x="352" y="298"/>
                  <a:pt x="352" y="298"/>
                  <a:pt x="352" y="298"/>
                </a:cubicBezTo>
                <a:cubicBezTo>
                  <a:pt x="346" y="298"/>
                  <a:pt x="341" y="294"/>
                  <a:pt x="341" y="288"/>
                </a:cubicBezTo>
                <a:cubicBezTo>
                  <a:pt x="341" y="277"/>
                  <a:pt x="341" y="277"/>
                  <a:pt x="341" y="277"/>
                </a:cubicBezTo>
                <a:cubicBezTo>
                  <a:pt x="341" y="271"/>
                  <a:pt x="346" y="266"/>
                  <a:pt x="352" y="266"/>
                </a:cubicBezTo>
                <a:cubicBezTo>
                  <a:pt x="362" y="266"/>
                  <a:pt x="362" y="266"/>
                  <a:pt x="362" y="266"/>
                </a:cubicBezTo>
                <a:cubicBezTo>
                  <a:pt x="368" y="266"/>
                  <a:pt x="373" y="271"/>
                  <a:pt x="373" y="277"/>
                </a:cubicBezTo>
                <a:lnTo>
                  <a:pt x="373" y="288"/>
                </a:lnTo>
                <a:close/>
                <a:moveTo>
                  <a:pt x="373" y="224"/>
                </a:moveTo>
                <a:cubicBezTo>
                  <a:pt x="373" y="230"/>
                  <a:pt x="368" y="234"/>
                  <a:pt x="362" y="234"/>
                </a:cubicBezTo>
                <a:cubicBezTo>
                  <a:pt x="352" y="234"/>
                  <a:pt x="352" y="234"/>
                  <a:pt x="352" y="234"/>
                </a:cubicBezTo>
                <a:cubicBezTo>
                  <a:pt x="346" y="234"/>
                  <a:pt x="341" y="230"/>
                  <a:pt x="341" y="224"/>
                </a:cubicBezTo>
                <a:cubicBezTo>
                  <a:pt x="341" y="213"/>
                  <a:pt x="341" y="213"/>
                  <a:pt x="341" y="213"/>
                </a:cubicBezTo>
                <a:cubicBezTo>
                  <a:pt x="341" y="207"/>
                  <a:pt x="346" y="202"/>
                  <a:pt x="352" y="202"/>
                </a:cubicBezTo>
                <a:cubicBezTo>
                  <a:pt x="362" y="202"/>
                  <a:pt x="362" y="202"/>
                  <a:pt x="362" y="202"/>
                </a:cubicBezTo>
                <a:cubicBezTo>
                  <a:pt x="368" y="202"/>
                  <a:pt x="373" y="207"/>
                  <a:pt x="373" y="213"/>
                </a:cubicBezTo>
                <a:lnTo>
                  <a:pt x="373" y="224"/>
                </a:lnTo>
                <a:close/>
                <a:moveTo>
                  <a:pt x="341" y="192"/>
                </a:moveTo>
                <a:cubicBezTo>
                  <a:pt x="341" y="198"/>
                  <a:pt x="336" y="202"/>
                  <a:pt x="330" y="202"/>
                </a:cubicBezTo>
                <a:cubicBezTo>
                  <a:pt x="320" y="202"/>
                  <a:pt x="320" y="202"/>
                  <a:pt x="320" y="202"/>
                </a:cubicBezTo>
                <a:cubicBezTo>
                  <a:pt x="314" y="202"/>
                  <a:pt x="309" y="198"/>
                  <a:pt x="309" y="192"/>
                </a:cubicBezTo>
                <a:cubicBezTo>
                  <a:pt x="309" y="181"/>
                  <a:pt x="309" y="181"/>
                  <a:pt x="309" y="181"/>
                </a:cubicBezTo>
                <a:cubicBezTo>
                  <a:pt x="309" y="175"/>
                  <a:pt x="314" y="170"/>
                  <a:pt x="320" y="170"/>
                </a:cubicBezTo>
                <a:cubicBezTo>
                  <a:pt x="330" y="170"/>
                  <a:pt x="330" y="170"/>
                  <a:pt x="330" y="170"/>
                </a:cubicBezTo>
                <a:cubicBezTo>
                  <a:pt x="336" y="170"/>
                  <a:pt x="341" y="175"/>
                  <a:pt x="341" y="181"/>
                </a:cubicBezTo>
                <a:lnTo>
                  <a:pt x="341" y="192"/>
                </a:lnTo>
                <a:close/>
                <a:moveTo>
                  <a:pt x="309" y="224"/>
                </a:moveTo>
                <a:cubicBezTo>
                  <a:pt x="309" y="230"/>
                  <a:pt x="304" y="234"/>
                  <a:pt x="298" y="234"/>
                </a:cubicBezTo>
                <a:cubicBezTo>
                  <a:pt x="288" y="234"/>
                  <a:pt x="288" y="234"/>
                  <a:pt x="288" y="234"/>
                </a:cubicBezTo>
                <a:cubicBezTo>
                  <a:pt x="282" y="234"/>
                  <a:pt x="277" y="230"/>
                  <a:pt x="277" y="224"/>
                </a:cubicBezTo>
                <a:cubicBezTo>
                  <a:pt x="277" y="213"/>
                  <a:pt x="277" y="213"/>
                  <a:pt x="277" y="213"/>
                </a:cubicBezTo>
                <a:cubicBezTo>
                  <a:pt x="277" y="207"/>
                  <a:pt x="282" y="202"/>
                  <a:pt x="288" y="202"/>
                </a:cubicBezTo>
                <a:cubicBezTo>
                  <a:pt x="298" y="202"/>
                  <a:pt x="298" y="202"/>
                  <a:pt x="298" y="202"/>
                </a:cubicBezTo>
                <a:cubicBezTo>
                  <a:pt x="304" y="202"/>
                  <a:pt x="309" y="207"/>
                  <a:pt x="309" y="213"/>
                </a:cubicBezTo>
                <a:lnTo>
                  <a:pt x="309" y="224"/>
                </a:lnTo>
                <a:close/>
                <a:moveTo>
                  <a:pt x="277" y="192"/>
                </a:moveTo>
                <a:cubicBezTo>
                  <a:pt x="277" y="198"/>
                  <a:pt x="272" y="202"/>
                  <a:pt x="266" y="202"/>
                </a:cubicBezTo>
                <a:cubicBezTo>
                  <a:pt x="256" y="202"/>
                  <a:pt x="256" y="202"/>
                  <a:pt x="256" y="202"/>
                </a:cubicBezTo>
                <a:cubicBezTo>
                  <a:pt x="250" y="202"/>
                  <a:pt x="245" y="198"/>
                  <a:pt x="245" y="192"/>
                </a:cubicBezTo>
                <a:cubicBezTo>
                  <a:pt x="245" y="181"/>
                  <a:pt x="245" y="181"/>
                  <a:pt x="245" y="181"/>
                </a:cubicBezTo>
                <a:cubicBezTo>
                  <a:pt x="245" y="175"/>
                  <a:pt x="250" y="170"/>
                  <a:pt x="256" y="170"/>
                </a:cubicBezTo>
                <a:cubicBezTo>
                  <a:pt x="266" y="170"/>
                  <a:pt x="266" y="170"/>
                  <a:pt x="266" y="170"/>
                </a:cubicBezTo>
                <a:cubicBezTo>
                  <a:pt x="272" y="170"/>
                  <a:pt x="277" y="175"/>
                  <a:pt x="277" y="181"/>
                </a:cubicBezTo>
                <a:lnTo>
                  <a:pt x="277" y="192"/>
                </a:lnTo>
                <a:close/>
                <a:moveTo>
                  <a:pt x="245" y="224"/>
                </a:moveTo>
                <a:cubicBezTo>
                  <a:pt x="245" y="230"/>
                  <a:pt x="240" y="234"/>
                  <a:pt x="234" y="234"/>
                </a:cubicBezTo>
                <a:cubicBezTo>
                  <a:pt x="224" y="234"/>
                  <a:pt x="224" y="234"/>
                  <a:pt x="224" y="234"/>
                </a:cubicBezTo>
                <a:cubicBezTo>
                  <a:pt x="218" y="234"/>
                  <a:pt x="213" y="230"/>
                  <a:pt x="213" y="224"/>
                </a:cubicBezTo>
                <a:cubicBezTo>
                  <a:pt x="213" y="213"/>
                  <a:pt x="213" y="213"/>
                  <a:pt x="213" y="213"/>
                </a:cubicBezTo>
                <a:cubicBezTo>
                  <a:pt x="213" y="207"/>
                  <a:pt x="218" y="202"/>
                  <a:pt x="224" y="202"/>
                </a:cubicBezTo>
                <a:cubicBezTo>
                  <a:pt x="234" y="202"/>
                  <a:pt x="234" y="202"/>
                  <a:pt x="234" y="202"/>
                </a:cubicBezTo>
                <a:cubicBezTo>
                  <a:pt x="240" y="202"/>
                  <a:pt x="245" y="207"/>
                  <a:pt x="245" y="213"/>
                </a:cubicBezTo>
                <a:lnTo>
                  <a:pt x="245" y="224"/>
                </a:lnTo>
                <a:close/>
                <a:moveTo>
                  <a:pt x="213" y="192"/>
                </a:moveTo>
                <a:cubicBezTo>
                  <a:pt x="213" y="198"/>
                  <a:pt x="208" y="202"/>
                  <a:pt x="202" y="202"/>
                </a:cubicBezTo>
                <a:cubicBezTo>
                  <a:pt x="192" y="202"/>
                  <a:pt x="192" y="202"/>
                  <a:pt x="192" y="202"/>
                </a:cubicBezTo>
                <a:cubicBezTo>
                  <a:pt x="186" y="202"/>
                  <a:pt x="181" y="198"/>
                  <a:pt x="181" y="192"/>
                </a:cubicBezTo>
                <a:cubicBezTo>
                  <a:pt x="181" y="181"/>
                  <a:pt x="181" y="181"/>
                  <a:pt x="181" y="181"/>
                </a:cubicBezTo>
                <a:cubicBezTo>
                  <a:pt x="181" y="175"/>
                  <a:pt x="186" y="170"/>
                  <a:pt x="192" y="170"/>
                </a:cubicBezTo>
                <a:cubicBezTo>
                  <a:pt x="202" y="170"/>
                  <a:pt x="202" y="170"/>
                  <a:pt x="202" y="170"/>
                </a:cubicBezTo>
                <a:cubicBezTo>
                  <a:pt x="208" y="170"/>
                  <a:pt x="213" y="175"/>
                  <a:pt x="213" y="181"/>
                </a:cubicBezTo>
                <a:lnTo>
                  <a:pt x="213" y="192"/>
                </a:lnTo>
                <a:close/>
                <a:moveTo>
                  <a:pt x="181" y="224"/>
                </a:moveTo>
                <a:cubicBezTo>
                  <a:pt x="181" y="230"/>
                  <a:pt x="176" y="234"/>
                  <a:pt x="170" y="234"/>
                </a:cubicBezTo>
                <a:cubicBezTo>
                  <a:pt x="160" y="234"/>
                  <a:pt x="160" y="234"/>
                  <a:pt x="160" y="234"/>
                </a:cubicBezTo>
                <a:cubicBezTo>
                  <a:pt x="154" y="234"/>
                  <a:pt x="149" y="230"/>
                  <a:pt x="149" y="224"/>
                </a:cubicBezTo>
                <a:cubicBezTo>
                  <a:pt x="149" y="213"/>
                  <a:pt x="149" y="213"/>
                  <a:pt x="149" y="213"/>
                </a:cubicBezTo>
                <a:cubicBezTo>
                  <a:pt x="149" y="207"/>
                  <a:pt x="154" y="202"/>
                  <a:pt x="160" y="202"/>
                </a:cubicBezTo>
                <a:cubicBezTo>
                  <a:pt x="170" y="202"/>
                  <a:pt x="170" y="202"/>
                  <a:pt x="170" y="202"/>
                </a:cubicBezTo>
                <a:cubicBezTo>
                  <a:pt x="176" y="202"/>
                  <a:pt x="181" y="207"/>
                  <a:pt x="181" y="213"/>
                </a:cubicBezTo>
                <a:lnTo>
                  <a:pt x="181" y="224"/>
                </a:lnTo>
                <a:close/>
                <a:moveTo>
                  <a:pt x="181" y="288"/>
                </a:moveTo>
                <a:cubicBezTo>
                  <a:pt x="181" y="294"/>
                  <a:pt x="176" y="298"/>
                  <a:pt x="170" y="298"/>
                </a:cubicBezTo>
                <a:cubicBezTo>
                  <a:pt x="160" y="298"/>
                  <a:pt x="160" y="298"/>
                  <a:pt x="160" y="298"/>
                </a:cubicBezTo>
                <a:cubicBezTo>
                  <a:pt x="154" y="298"/>
                  <a:pt x="149" y="294"/>
                  <a:pt x="149" y="288"/>
                </a:cubicBezTo>
                <a:cubicBezTo>
                  <a:pt x="149" y="277"/>
                  <a:pt x="149" y="277"/>
                  <a:pt x="149" y="277"/>
                </a:cubicBezTo>
                <a:cubicBezTo>
                  <a:pt x="149" y="271"/>
                  <a:pt x="154" y="266"/>
                  <a:pt x="160" y="266"/>
                </a:cubicBezTo>
                <a:cubicBezTo>
                  <a:pt x="170" y="266"/>
                  <a:pt x="170" y="266"/>
                  <a:pt x="170" y="266"/>
                </a:cubicBezTo>
                <a:cubicBezTo>
                  <a:pt x="176" y="266"/>
                  <a:pt x="181" y="271"/>
                  <a:pt x="181" y="277"/>
                </a:cubicBezTo>
                <a:lnTo>
                  <a:pt x="181" y="28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20"/>
                </a:moveTo>
                <a:cubicBezTo>
                  <a:pt x="405" y="326"/>
                  <a:pt x="400" y="330"/>
                  <a:pt x="394" y="330"/>
                </a:cubicBezTo>
                <a:cubicBezTo>
                  <a:pt x="138" y="330"/>
                  <a:pt x="138" y="330"/>
                  <a:pt x="138" y="330"/>
                </a:cubicBezTo>
                <a:cubicBezTo>
                  <a:pt x="138" y="384"/>
                  <a:pt x="138" y="384"/>
                  <a:pt x="138" y="384"/>
                </a:cubicBezTo>
                <a:cubicBezTo>
                  <a:pt x="138" y="390"/>
                  <a:pt x="134" y="394"/>
                  <a:pt x="128" y="394"/>
                </a:cubicBezTo>
                <a:cubicBezTo>
                  <a:pt x="122" y="394"/>
                  <a:pt x="117" y="390"/>
                  <a:pt x="117" y="384"/>
                </a:cubicBezTo>
                <a:cubicBezTo>
                  <a:pt x="117" y="320"/>
                  <a:pt x="117" y="320"/>
                  <a:pt x="117" y="320"/>
                </a:cubicBezTo>
                <a:cubicBezTo>
                  <a:pt x="117" y="149"/>
                  <a:pt x="117" y="149"/>
                  <a:pt x="117" y="149"/>
                </a:cubicBezTo>
                <a:cubicBezTo>
                  <a:pt x="117" y="143"/>
                  <a:pt x="122" y="138"/>
                  <a:pt x="128" y="138"/>
                </a:cubicBezTo>
                <a:cubicBezTo>
                  <a:pt x="394" y="138"/>
                  <a:pt x="394" y="138"/>
                  <a:pt x="394" y="138"/>
                </a:cubicBezTo>
                <a:cubicBezTo>
                  <a:pt x="400" y="138"/>
                  <a:pt x="405" y="143"/>
                  <a:pt x="405" y="149"/>
                </a:cubicBezTo>
                <a:lnTo>
                  <a:pt x="405" y="3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2" name="Group 911">
            <a:extLst>
              <a:ext uri="{FF2B5EF4-FFF2-40B4-BE49-F238E27FC236}">
                <a16:creationId xmlns:a16="http://schemas.microsoft.com/office/drawing/2014/main" id="{E41B5B2F-41CB-449E-B201-6272F0921FCB}"/>
              </a:ext>
            </a:extLst>
          </p:cNvPr>
          <p:cNvGrpSpPr>
            <a:grpSpLocks noChangeAspect="1"/>
          </p:cNvGrpSpPr>
          <p:nvPr/>
        </p:nvGrpSpPr>
        <p:grpSpPr bwMode="auto">
          <a:xfrm>
            <a:off x="8741831" y="2529747"/>
            <a:ext cx="367982" cy="367982"/>
            <a:chOff x="5456" y="4321"/>
            <a:chExt cx="340" cy="340"/>
          </a:xfrm>
          <a:solidFill>
            <a:schemeClr val="accent4"/>
          </a:solidFill>
        </p:grpSpPr>
        <p:sp>
          <p:nvSpPr>
            <p:cNvPr id="463" name="Freeform 912">
              <a:extLst>
                <a:ext uri="{FF2B5EF4-FFF2-40B4-BE49-F238E27FC236}">
                  <a16:creationId xmlns:a16="http://schemas.microsoft.com/office/drawing/2014/main" id="{696C5F7B-1F09-4C6D-8770-F75437C58346}"/>
                </a:ext>
              </a:extLst>
            </p:cNvPr>
            <p:cNvSpPr>
              <a:spLocks noEditPoints="1"/>
            </p:cNvSpPr>
            <p:nvPr/>
          </p:nvSpPr>
          <p:spPr bwMode="auto">
            <a:xfrm>
              <a:off x="5456" y="43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913">
              <a:extLst>
                <a:ext uri="{FF2B5EF4-FFF2-40B4-BE49-F238E27FC236}">
                  <a16:creationId xmlns:a16="http://schemas.microsoft.com/office/drawing/2014/main" id="{FDA1B2E4-B01E-4E51-BE9E-16ECF9B4B917}"/>
                </a:ext>
              </a:extLst>
            </p:cNvPr>
            <p:cNvSpPr>
              <a:spLocks noEditPoints="1"/>
            </p:cNvSpPr>
            <p:nvPr/>
          </p:nvSpPr>
          <p:spPr bwMode="auto">
            <a:xfrm>
              <a:off x="5534" y="4413"/>
              <a:ext cx="191" cy="170"/>
            </a:xfrm>
            <a:custGeom>
              <a:avLst/>
              <a:gdLst>
                <a:gd name="T0" fmla="*/ 75 w 288"/>
                <a:gd name="T1" fmla="*/ 32 h 256"/>
                <a:gd name="T2" fmla="*/ 96 w 288"/>
                <a:gd name="T3" fmla="*/ 54 h 256"/>
                <a:gd name="T4" fmla="*/ 64 w 288"/>
                <a:gd name="T5" fmla="*/ 54 h 256"/>
                <a:gd name="T6" fmla="*/ 117 w 288"/>
                <a:gd name="T7" fmla="*/ 96 h 256"/>
                <a:gd name="T8" fmla="*/ 117 w 288"/>
                <a:gd name="T9" fmla="*/ 64 h 256"/>
                <a:gd name="T10" fmla="*/ 96 w 288"/>
                <a:gd name="T11" fmla="*/ 86 h 256"/>
                <a:gd name="T12" fmla="*/ 64 w 288"/>
                <a:gd name="T13" fmla="*/ 86 h 256"/>
                <a:gd name="T14" fmla="*/ 43 w 288"/>
                <a:gd name="T15" fmla="*/ 64 h 256"/>
                <a:gd name="T16" fmla="*/ 43 w 288"/>
                <a:gd name="T17" fmla="*/ 96 h 256"/>
                <a:gd name="T18" fmla="*/ 160 w 288"/>
                <a:gd name="T19" fmla="*/ 54 h 256"/>
                <a:gd name="T20" fmla="*/ 139 w 288"/>
                <a:gd name="T21" fmla="*/ 32 h 256"/>
                <a:gd name="T22" fmla="*/ 139 w 288"/>
                <a:gd name="T23" fmla="*/ 64 h 256"/>
                <a:gd name="T24" fmla="*/ 224 w 288"/>
                <a:gd name="T25" fmla="*/ 54 h 256"/>
                <a:gd name="T26" fmla="*/ 203 w 288"/>
                <a:gd name="T27" fmla="*/ 32 h 256"/>
                <a:gd name="T28" fmla="*/ 203 w 288"/>
                <a:gd name="T29" fmla="*/ 64 h 256"/>
                <a:gd name="T30" fmla="*/ 245 w 288"/>
                <a:gd name="T31" fmla="*/ 96 h 256"/>
                <a:gd name="T32" fmla="*/ 245 w 288"/>
                <a:gd name="T33" fmla="*/ 64 h 256"/>
                <a:gd name="T34" fmla="*/ 224 w 288"/>
                <a:gd name="T35" fmla="*/ 86 h 256"/>
                <a:gd name="T36" fmla="*/ 181 w 288"/>
                <a:gd name="T37" fmla="*/ 96 h 256"/>
                <a:gd name="T38" fmla="*/ 181 w 288"/>
                <a:gd name="T39" fmla="*/ 64 h 256"/>
                <a:gd name="T40" fmla="*/ 160 w 288"/>
                <a:gd name="T41" fmla="*/ 86 h 256"/>
                <a:gd name="T42" fmla="*/ 96 w 288"/>
                <a:gd name="T43" fmla="*/ 139 h 256"/>
                <a:gd name="T44" fmla="*/ 117 w 288"/>
                <a:gd name="T45" fmla="*/ 160 h 256"/>
                <a:gd name="T46" fmla="*/ 117 w 288"/>
                <a:gd name="T47" fmla="*/ 128 h 256"/>
                <a:gd name="T48" fmla="*/ 64 w 288"/>
                <a:gd name="T49" fmla="*/ 150 h 256"/>
                <a:gd name="T50" fmla="*/ 43 w 288"/>
                <a:gd name="T51" fmla="*/ 128 h 256"/>
                <a:gd name="T52" fmla="*/ 43 w 288"/>
                <a:gd name="T53" fmla="*/ 160 h 256"/>
                <a:gd name="T54" fmla="*/ 224 w 288"/>
                <a:gd name="T55" fmla="*/ 139 h 256"/>
                <a:gd name="T56" fmla="*/ 245 w 288"/>
                <a:gd name="T57" fmla="*/ 160 h 256"/>
                <a:gd name="T58" fmla="*/ 245 w 288"/>
                <a:gd name="T59" fmla="*/ 128 h 256"/>
                <a:gd name="T60" fmla="*/ 160 w 288"/>
                <a:gd name="T61" fmla="*/ 139 h 256"/>
                <a:gd name="T62" fmla="*/ 181 w 288"/>
                <a:gd name="T63" fmla="*/ 160 h 256"/>
                <a:gd name="T64" fmla="*/ 181 w 288"/>
                <a:gd name="T65" fmla="*/ 128 h 256"/>
                <a:gd name="T66" fmla="*/ 75 w 288"/>
                <a:gd name="T67" fmla="*/ 96 h 256"/>
                <a:gd name="T68" fmla="*/ 75 w 288"/>
                <a:gd name="T69" fmla="*/ 128 h 256"/>
                <a:gd name="T70" fmla="*/ 96 w 288"/>
                <a:gd name="T71" fmla="*/ 107 h 256"/>
                <a:gd name="T72" fmla="*/ 139 w 288"/>
                <a:gd name="T73" fmla="*/ 96 h 256"/>
                <a:gd name="T74" fmla="*/ 139 w 288"/>
                <a:gd name="T75" fmla="*/ 128 h 256"/>
                <a:gd name="T76" fmla="*/ 160 w 288"/>
                <a:gd name="T77" fmla="*/ 107 h 256"/>
                <a:gd name="T78" fmla="*/ 203 w 288"/>
                <a:gd name="T79" fmla="*/ 96 h 256"/>
                <a:gd name="T80" fmla="*/ 203 w 288"/>
                <a:gd name="T81" fmla="*/ 128 h 256"/>
                <a:gd name="T82" fmla="*/ 224 w 288"/>
                <a:gd name="T83" fmla="*/ 107 h 256"/>
                <a:gd name="T84" fmla="*/ 277 w 288"/>
                <a:gd name="T85" fmla="*/ 192 h 256"/>
                <a:gd name="T86" fmla="*/ 11 w 288"/>
                <a:gd name="T87" fmla="*/ 256 h 256"/>
                <a:gd name="T88" fmla="*/ 0 w 288"/>
                <a:gd name="T89" fmla="*/ 11 h 256"/>
                <a:gd name="T90" fmla="*/ 288 w 288"/>
                <a:gd name="T91" fmla="*/ 11 h 256"/>
                <a:gd name="T92" fmla="*/ 21 w 288"/>
                <a:gd name="T93" fmla="*/ 17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8" h="256">
                  <a:moveTo>
                    <a:pt x="64" y="54"/>
                  </a:moveTo>
                  <a:cubicBezTo>
                    <a:pt x="64" y="43"/>
                    <a:pt x="64" y="43"/>
                    <a:pt x="64" y="43"/>
                  </a:cubicBezTo>
                  <a:cubicBezTo>
                    <a:pt x="64" y="37"/>
                    <a:pt x="69" y="32"/>
                    <a:pt x="75" y="32"/>
                  </a:cubicBezTo>
                  <a:cubicBezTo>
                    <a:pt x="85" y="32"/>
                    <a:pt x="85" y="32"/>
                    <a:pt x="85" y="32"/>
                  </a:cubicBezTo>
                  <a:cubicBezTo>
                    <a:pt x="91" y="32"/>
                    <a:pt x="96" y="37"/>
                    <a:pt x="96" y="43"/>
                  </a:cubicBezTo>
                  <a:cubicBezTo>
                    <a:pt x="96" y="54"/>
                    <a:pt x="96" y="54"/>
                    <a:pt x="96" y="54"/>
                  </a:cubicBezTo>
                  <a:cubicBezTo>
                    <a:pt x="96" y="60"/>
                    <a:pt x="91" y="64"/>
                    <a:pt x="85" y="64"/>
                  </a:cubicBezTo>
                  <a:cubicBezTo>
                    <a:pt x="75" y="64"/>
                    <a:pt x="75" y="64"/>
                    <a:pt x="75" y="64"/>
                  </a:cubicBezTo>
                  <a:cubicBezTo>
                    <a:pt x="69" y="64"/>
                    <a:pt x="64" y="60"/>
                    <a:pt x="64" y="54"/>
                  </a:cubicBezTo>
                  <a:close/>
                  <a:moveTo>
                    <a:pt x="96" y="86"/>
                  </a:moveTo>
                  <a:cubicBezTo>
                    <a:pt x="96" y="92"/>
                    <a:pt x="101" y="96"/>
                    <a:pt x="107" y="96"/>
                  </a:cubicBezTo>
                  <a:cubicBezTo>
                    <a:pt x="117" y="96"/>
                    <a:pt x="117" y="96"/>
                    <a:pt x="117" y="96"/>
                  </a:cubicBezTo>
                  <a:cubicBezTo>
                    <a:pt x="123" y="96"/>
                    <a:pt x="128" y="92"/>
                    <a:pt x="128" y="86"/>
                  </a:cubicBezTo>
                  <a:cubicBezTo>
                    <a:pt x="128" y="75"/>
                    <a:pt x="128" y="75"/>
                    <a:pt x="128" y="75"/>
                  </a:cubicBezTo>
                  <a:cubicBezTo>
                    <a:pt x="128" y="69"/>
                    <a:pt x="123" y="64"/>
                    <a:pt x="117" y="64"/>
                  </a:cubicBezTo>
                  <a:cubicBezTo>
                    <a:pt x="107" y="64"/>
                    <a:pt x="107" y="64"/>
                    <a:pt x="107" y="64"/>
                  </a:cubicBezTo>
                  <a:cubicBezTo>
                    <a:pt x="101" y="64"/>
                    <a:pt x="96" y="69"/>
                    <a:pt x="96" y="75"/>
                  </a:cubicBezTo>
                  <a:lnTo>
                    <a:pt x="96" y="86"/>
                  </a:lnTo>
                  <a:close/>
                  <a:moveTo>
                    <a:pt x="43" y="96"/>
                  </a:moveTo>
                  <a:cubicBezTo>
                    <a:pt x="53" y="96"/>
                    <a:pt x="53" y="96"/>
                    <a:pt x="53" y="96"/>
                  </a:cubicBezTo>
                  <a:cubicBezTo>
                    <a:pt x="59" y="96"/>
                    <a:pt x="64" y="92"/>
                    <a:pt x="64" y="86"/>
                  </a:cubicBezTo>
                  <a:cubicBezTo>
                    <a:pt x="64" y="75"/>
                    <a:pt x="64" y="75"/>
                    <a:pt x="64" y="75"/>
                  </a:cubicBezTo>
                  <a:cubicBezTo>
                    <a:pt x="64" y="69"/>
                    <a:pt x="59" y="64"/>
                    <a:pt x="53" y="64"/>
                  </a:cubicBezTo>
                  <a:cubicBezTo>
                    <a:pt x="43" y="64"/>
                    <a:pt x="43" y="64"/>
                    <a:pt x="43" y="64"/>
                  </a:cubicBezTo>
                  <a:cubicBezTo>
                    <a:pt x="37" y="64"/>
                    <a:pt x="32" y="69"/>
                    <a:pt x="32" y="75"/>
                  </a:cubicBezTo>
                  <a:cubicBezTo>
                    <a:pt x="32" y="86"/>
                    <a:pt x="32" y="86"/>
                    <a:pt x="32" y="86"/>
                  </a:cubicBezTo>
                  <a:cubicBezTo>
                    <a:pt x="32" y="92"/>
                    <a:pt x="37" y="96"/>
                    <a:pt x="43" y="96"/>
                  </a:cubicBezTo>
                  <a:close/>
                  <a:moveTo>
                    <a:pt x="139" y="64"/>
                  </a:moveTo>
                  <a:cubicBezTo>
                    <a:pt x="149" y="64"/>
                    <a:pt x="149" y="64"/>
                    <a:pt x="149" y="64"/>
                  </a:cubicBezTo>
                  <a:cubicBezTo>
                    <a:pt x="155" y="64"/>
                    <a:pt x="160" y="60"/>
                    <a:pt x="160" y="54"/>
                  </a:cubicBezTo>
                  <a:cubicBezTo>
                    <a:pt x="160" y="43"/>
                    <a:pt x="160" y="43"/>
                    <a:pt x="160" y="43"/>
                  </a:cubicBezTo>
                  <a:cubicBezTo>
                    <a:pt x="160" y="37"/>
                    <a:pt x="155" y="32"/>
                    <a:pt x="149" y="32"/>
                  </a:cubicBezTo>
                  <a:cubicBezTo>
                    <a:pt x="139" y="32"/>
                    <a:pt x="139" y="32"/>
                    <a:pt x="139" y="32"/>
                  </a:cubicBezTo>
                  <a:cubicBezTo>
                    <a:pt x="133" y="32"/>
                    <a:pt x="128" y="37"/>
                    <a:pt x="128" y="43"/>
                  </a:cubicBezTo>
                  <a:cubicBezTo>
                    <a:pt x="128" y="54"/>
                    <a:pt x="128" y="54"/>
                    <a:pt x="128" y="54"/>
                  </a:cubicBezTo>
                  <a:cubicBezTo>
                    <a:pt x="128" y="60"/>
                    <a:pt x="133" y="64"/>
                    <a:pt x="139" y="64"/>
                  </a:cubicBezTo>
                  <a:close/>
                  <a:moveTo>
                    <a:pt x="203" y="64"/>
                  </a:moveTo>
                  <a:cubicBezTo>
                    <a:pt x="213" y="64"/>
                    <a:pt x="213" y="64"/>
                    <a:pt x="213" y="64"/>
                  </a:cubicBezTo>
                  <a:cubicBezTo>
                    <a:pt x="219" y="64"/>
                    <a:pt x="224" y="60"/>
                    <a:pt x="224" y="54"/>
                  </a:cubicBezTo>
                  <a:cubicBezTo>
                    <a:pt x="224" y="43"/>
                    <a:pt x="224" y="43"/>
                    <a:pt x="224" y="43"/>
                  </a:cubicBezTo>
                  <a:cubicBezTo>
                    <a:pt x="224" y="37"/>
                    <a:pt x="219" y="32"/>
                    <a:pt x="213" y="32"/>
                  </a:cubicBezTo>
                  <a:cubicBezTo>
                    <a:pt x="203" y="32"/>
                    <a:pt x="203" y="32"/>
                    <a:pt x="203" y="32"/>
                  </a:cubicBezTo>
                  <a:cubicBezTo>
                    <a:pt x="197" y="32"/>
                    <a:pt x="192" y="37"/>
                    <a:pt x="192" y="43"/>
                  </a:cubicBezTo>
                  <a:cubicBezTo>
                    <a:pt x="192" y="54"/>
                    <a:pt x="192" y="54"/>
                    <a:pt x="192" y="54"/>
                  </a:cubicBezTo>
                  <a:cubicBezTo>
                    <a:pt x="192" y="60"/>
                    <a:pt x="197" y="64"/>
                    <a:pt x="203" y="64"/>
                  </a:cubicBezTo>
                  <a:close/>
                  <a:moveTo>
                    <a:pt x="224" y="86"/>
                  </a:moveTo>
                  <a:cubicBezTo>
                    <a:pt x="224" y="92"/>
                    <a:pt x="229" y="96"/>
                    <a:pt x="235" y="96"/>
                  </a:cubicBezTo>
                  <a:cubicBezTo>
                    <a:pt x="245" y="96"/>
                    <a:pt x="245" y="96"/>
                    <a:pt x="245" y="96"/>
                  </a:cubicBezTo>
                  <a:cubicBezTo>
                    <a:pt x="251" y="96"/>
                    <a:pt x="256" y="92"/>
                    <a:pt x="256" y="86"/>
                  </a:cubicBezTo>
                  <a:cubicBezTo>
                    <a:pt x="256" y="75"/>
                    <a:pt x="256" y="75"/>
                    <a:pt x="256" y="75"/>
                  </a:cubicBezTo>
                  <a:cubicBezTo>
                    <a:pt x="256" y="69"/>
                    <a:pt x="251" y="64"/>
                    <a:pt x="245" y="64"/>
                  </a:cubicBezTo>
                  <a:cubicBezTo>
                    <a:pt x="235" y="64"/>
                    <a:pt x="235" y="64"/>
                    <a:pt x="235" y="64"/>
                  </a:cubicBezTo>
                  <a:cubicBezTo>
                    <a:pt x="229" y="64"/>
                    <a:pt x="224" y="69"/>
                    <a:pt x="224" y="75"/>
                  </a:cubicBezTo>
                  <a:lnTo>
                    <a:pt x="224" y="86"/>
                  </a:lnTo>
                  <a:close/>
                  <a:moveTo>
                    <a:pt x="160" y="86"/>
                  </a:moveTo>
                  <a:cubicBezTo>
                    <a:pt x="160" y="92"/>
                    <a:pt x="165" y="96"/>
                    <a:pt x="171" y="96"/>
                  </a:cubicBezTo>
                  <a:cubicBezTo>
                    <a:pt x="181" y="96"/>
                    <a:pt x="181" y="96"/>
                    <a:pt x="181" y="96"/>
                  </a:cubicBezTo>
                  <a:cubicBezTo>
                    <a:pt x="187" y="96"/>
                    <a:pt x="192" y="92"/>
                    <a:pt x="192" y="86"/>
                  </a:cubicBezTo>
                  <a:cubicBezTo>
                    <a:pt x="192" y="75"/>
                    <a:pt x="192" y="75"/>
                    <a:pt x="192" y="75"/>
                  </a:cubicBezTo>
                  <a:cubicBezTo>
                    <a:pt x="192" y="69"/>
                    <a:pt x="187" y="64"/>
                    <a:pt x="181" y="64"/>
                  </a:cubicBezTo>
                  <a:cubicBezTo>
                    <a:pt x="171" y="64"/>
                    <a:pt x="171" y="64"/>
                    <a:pt x="171" y="64"/>
                  </a:cubicBezTo>
                  <a:cubicBezTo>
                    <a:pt x="165" y="64"/>
                    <a:pt x="160" y="69"/>
                    <a:pt x="160" y="75"/>
                  </a:cubicBezTo>
                  <a:lnTo>
                    <a:pt x="160" y="86"/>
                  </a:lnTo>
                  <a:close/>
                  <a:moveTo>
                    <a:pt x="117" y="128"/>
                  </a:moveTo>
                  <a:cubicBezTo>
                    <a:pt x="107" y="128"/>
                    <a:pt x="107" y="128"/>
                    <a:pt x="107" y="128"/>
                  </a:cubicBezTo>
                  <a:cubicBezTo>
                    <a:pt x="101" y="128"/>
                    <a:pt x="96" y="133"/>
                    <a:pt x="96" y="139"/>
                  </a:cubicBezTo>
                  <a:cubicBezTo>
                    <a:pt x="96" y="150"/>
                    <a:pt x="96" y="150"/>
                    <a:pt x="96" y="150"/>
                  </a:cubicBezTo>
                  <a:cubicBezTo>
                    <a:pt x="96" y="156"/>
                    <a:pt x="101" y="160"/>
                    <a:pt x="107" y="160"/>
                  </a:cubicBezTo>
                  <a:cubicBezTo>
                    <a:pt x="117" y="160"/>
                    <a:pt x="117" y="160"/>
                    <a:pt x="117" y="160"/>
                  </a:cubicBezTo>
                  <a:cubicBezTo>
                    <a:pt x="123" y="160"/>
                    <a:pt x="128" y="156"/>
                    <a:pt x="128" y="150"/>
                  </a:cubicBezTo>
                  <a:cubicBezTo>
                    <a:pt x="128" y="139"/>
                    <a:pt x="128" y="139"/>
                    <a:pt x="128" y="139"/>
                  </a:cubicBezTo>
                  <a:cubicBezTo>
                    <a:pt x="128" y="133"/>
                    <a:pt x="123" y="128"/>
                    <a:pt x="117" y="128"/>
                  </a:cubicBezTo>
                  <a:close/>
                  <a:moveTo>
                    <a:pt x="43" y="160"/>
                  </a:moveTo>
                  <a:cubicBezTo>
                    <a:pt x="53" y="160"/>
                    <a:pt x="53" y="160"/>
                    <a:pt x="53" y="160"/>
                  </a:cubicBezTo>
                  <a:cubicBezTo>
                    <a:pt x="59" y="160"/>
                    <a:pt x="64" y="156"/>
                    <a:pt x="64" y="150"/>
                  </a:cubicBezTo>
                  <a:cubicBezTo>
                    <a:pt x="64" y="139"/>
                    <a:pt x="64" y="139"/>
                    <a:pt x="64" y="139"/>
                  </a:cubicBezTo>
                  <a:cubicBezTo>
                    <a:pt x="64" y="133"/>
                    <a:pt x="59" y="128"/>
                    <a:pt x="53" y="128"/>
                  </a:cubicBezTo>
                  <a:cubicBezTo>
                    <a:pt x="43" y="128"/>
                    <a:pt x="43" y="128"/>
                    <a:pt x="43" y="128"/>
                  </a:cubicBezTo>
                  <a:cubicBezTo>
                    <a:pt x="37" y="128"/>
                    <a:pt x="32" y="133"/>
                    <a:pt x="32" y="139"/>
                  </a:cubicBezTo>
                  <a:cubicBezTo>
                    <a:pt x="32" y="150"/>
                    <a:pt x="32" y="150"/>
                    <a:pt x="32" y="150"/>
                  </a:cubicBezTo>
                  <a:cubicBezTo>
                    <a:pt x="32" y="156"/>
                    <a:pt x="37" y="160"/>
                    <a:pt x="43" y="160"/>
                  </a:cubicBezTo>
                  <a:close/>
                  <a:moveTo>
                    <a:pt x="245" y="128"/>
                  </a:moveTo>
                  <a:cubicBezTo>
                    <a:pt x="235" y="128"/>
                    <a:pt x="235" y="128"/>
                    <a:pt x="235" y="128"/>
                  </a:cubicBezTo>
                  <a:cubicBezTo>
                    <a:pt x="229" y="128"/>
                    <a:pt x="224" y="133"/>
                    <a:pt x="224" y="139"/>
                  </a:cubicBezTo>
                  <a:cubicBezTo>
                    <a:pt x="224" y="150"/>
                    <a:pt x="224" y="150"/>
                    <a:pt x="224" y="150"/>
                  </a:cubicBezTo>
                  <a:cubicBezTo>
                    <a:pt x="224" y="156"/>
                    <a:pt x="229" y="160"/>
                    <a:pt x="235" y="160"/>
                  </a:cubicBezTo>
                  <a:cubicBezTo>
                    <a:pt x="245" y="160"/>
                    <a:pt x="245" y="160"/>
                    <a:pt x="245" y="160"/>
                  </a:cubicBezTo>
                  <a:cubicBezTo>
                    <a:pt x="251" y="160"/>
                    <a:pt x="256" y="156"/>
                    <a:pt x="256" y="150"/>
                  </a:cubicBezTo>
                  <a:cubicBezTo>
                    <a:pt x="256" y="139"/>
                    <a:pt x="256" y="139"/>
                    <a:pt x="256" y="139"/>
                  </a:cubicBezTo>
                  <a:cubicBezTo>
                    <a:pt x="256" y="133"/>
                    <a:pt x="251" y="128"/>
                    <a:pt x="245" y="128"/>
                  </a:cubicBezTo>
                  <a:close/>
                  <a:moveTo>
                    <a:pt x="181" y="128"/>
                  </a:moveTo>
                  <a:cubicBezTo>
                    <a:pt x="171" y="128"/>
                    <a:pt x="171" y="128"/>
                    <a:pt x="171" y="128"/>
                  </a:cubicBezTo>
                  <a:cubicBezTo>
                    <a:pt x="165" y="128"/>
                    <a:pt x="160" y="133"/>
                    <a:pt x="160" y="139"/>
                  </a:cubicBezTo>
                  <a:cubicBezTo>
                    <a:pt x="160" y="150"/>
                    <a:pt x="160" y="150"/>
                    <a:pt x="160" y="150"/>
                  </a:cubicBezTo>
                  <a:cubicBezTo>
                    <a:pt x="160" y="156"/>
                    <a:pt x="165" y="160"/>
                    <a:pt x="171" y="160"/>
                  </a:cubicBezTo>
                  <a:cubicBezTo>
                    <a:pt x="181" y="160"/>
                    <a:pt x="181" y="160"/>
                    <a:pt x="181" y="160"/>
                  </a:cubicBezTo>
                  <a:cubicBezTo>
                    <a:pt x="187" y="160"/>
                    <a:pt x="192" y="156"/>
                    <a:pt x="192" y="150"/>
                  </a:cubicBezTo>
                  <a:cubicBezTo>
                    <a:pt x="192" y="139"/>
                    <a:pt x="192" y="139"/>
                    <a:pt x="192" y="139"/>
                  </a:cubicBezTo>
                  <a:cubicBezTo>
                    <a:pt x="192" y="133"/>
                    <a:pt x="187" y="128"/>
                    <a:pt x="181" y="128"/>
                  </a:cubicBezTo>
                  <a:close/>
                  <a:moveTo>
                    <a:pt x="96" y="107"/>
                  </a:moveTo>
                  <a:cubicBezTo>
                    <a:pt x="96" y="101"/>
                    <a:pt x="91" y="96"/>
                    <a:pt x="85" y="96"/>
                  </a:cubicBezTo>
                  <a:cubicBezTo>
                    <a:pt x="75" y="96"/>
                    <a:pt x="75" y="96"/>
                    <a:pt x="75" y="96"/>
                  </a:cubicBezTo>
                  <a:cubicBezTo>
                    <a:pt x="69" y="96"/>
                    <a:pt x="64" y="101"/>
                    <a:pt x="64" y="107"/>
                  </a:cubicBezTo>
                  <a:cubicBezTo>
                    <a:pt x="64" y="118"/>
                    <a:pt x="64" y="118"/>
                    <a:pt x="64" y="118"/>
                  </a:cubicBezTo>
                  <a:cubicBezTo>
                    <a:pt x="64" y="124"/>
                    <a:pt x="69" y="128"/>
                    <a:pt x="75" y="128"/>
                  </a:cubicBezTo>
                  <a:cubicBezTo>
                    <a:pt x="85" y="128"/>
                    <a:pt x="85" y="128"/>
                    <a:pt x="85" y="128"/>
                  </a:cubicBezTo>
                  <a:cubicBezTo>
                    <a:pt x="91" y="128"/>
                    <a:pt x="96" y="124"/>
                    <a:pt x="96" y="118"/>
                  </a:cubicBezTo>
                  <a:lnTo>
                    <a:pt x="96" y="107"/>
                  </a:lnTo>
                  <a:close/>
                  <a:moveTo>
                    <a:pt x="160" y="107"/>
                  </a:moveTo>
                  <a:cubicBezTo>
                    <a:pt x="160" y="101"/>
                    <a:pt x="155" y="96"/>
                    <a:pt x="149" y="96"/>
                  </a:cubicBezTo>
                  <a:cubicBezTo>
                    <a:pt x="139" y="96"/>
                    <a:pt x="139" y="96"/>
                    <a:pt x="139" y="96"/>
                  </a:cubicBezTo>
                  <a:cubicBezTo>
                    <a:pt x="133" y="96"/>
                    <a:pt x="128" y="101"/>
                    <a:pt x="128" y="107"/>
                  </a:cubicBezTo>
                  <a:cubicBezTo>
                    <a:pt x="128" y="118"/>
                    <a:pt x="128" y="118"/>
                    <a:pt x="128" y="118"/>
                  </a:cubicBezTo>
                  <a:cubicBezTo>
                    <a:pt x="128" y="124"/>
                    <a:pt x="133" y="128"/>
                    <a:pt x="139" y="128"/>
                  </a:cubicBezTo>
                  <a:cubicBezTo>
                    <a:pt x="149" y="128"/>
                    <a:pt x="149" y="128"/>
                    <a:pt x="149" y="128"/>
                  </a:cubicBezTo>
                  <a:cubicBezTo>
                    <a:pt x="155" y="128"/>
                    <a:pt x="160" y="124"/>
                    <a:pt x="160" y="118"/>
                  </a:cubicBezTo>
                  <a:lnTo>
                    <a:pt x="160" y="107"/>
                  </a:lnTo>
                  <a:close/>
                  <a:moveTo>
                    <a:pt x="224" y="107"/>
                  </a:moveTo>
                  <a:cubicBezTo>
                    <a:pt x="224" y="101"/>
                    <a:pt x="219" y="96"/>
                    <a:pt x="213" y="96"/>
                  </a:cubicBezTo>
                  <a:cubicBezTo>
                    <a:pt x="203" y="96"/>
                    <a:pt x="203" y="96"/>
                    <a:pt x="203" y="96"/>
                  </a:cubicBezTo>
                  <a:cubicBezTo>
                    <a:pt x="197" y="96"/>
                    <a:pt x="192" y="101"/>
                    <a:pt x="192" y="107"/>
                  </a:cubicBezTo>
                  <a:cubicBezTo>
                    <a:pt x="192" y="118"/>
                    <a:pt x="192" y="118"/>
                    <a:pt x="192" y="118"/>
                  </a:cubicBezTo>
                  <a:cubicBezTo>
                    <a:pt x="192" y="124"/>
                    <a:pt x="197" y="128"/>
                    <a:pt x="203" y="128"/>
                  </a:cubicBezTo>
                  <a:cubicBezTo>
                    <a:pt x="213" y="128"/>
                    <a:pt x="213" y="128"/>
                    <a:pt x="213" y="128"/>
                  </a:cubicBezTo>
                  <a:cubicBezTo>
                    <a:pt x="219" y="128"/>
                    <a:pt x="224" y="124"/>
                    <a:pt x="224" y="118"/>
                  </a:cubicBezTo>
                  <a:lnTo>
                    <a:pt x="224" y="107"/>
                  </a:lnTo>
                  <a:close/>
                  <a:moveTo>
                    <a:pt x="288" y="11"/>
                  </a:moveTo>
                  <a:cubicBezTo>
                    <a:pt x="288" y="182"/>
                    <a:pt x="288" y="182"/>
                    <a:pt x="288" y="182"/>
                  </a:cubicBezTo>
                  <a:cubicBezTo>
                    <a:pt x="288" y="188"/>
                    <a:pt x="283" y="192"/>
                    <a:pt x="277" y="192"/>
                  </a:cubicBezTo>
                  <a:cubicBezTo>
                    <a:pt x="21" y="192"/>
                    <a:pt x="21" y="192"/>
                    <a:pt x="21" y="192"/>
                  </a:cubicBezTo>
                  <a:cubicBezTo>
                    <a:pt x="21" y="246"/>
                    <a:pt x="21" y="246"/>
                    <a:pt x="21" y="246"/>
                  </a:cubicBezTo>
                  <a:cubicBezTo>
                    <a:pt x="21" y="252"/>
                    <a:pt x="17" y="256"/>
                    <a:pt x="11" y="256"/>
                  </a:cubicBezTo>
                  <a:cubicBezTo>
                    <a:pt x="5" y="256"/>
                    <a:pt x="0" y="252"/>
                    <a:pt x="0" y="246"/>
                  </a:cubicBezTo>
                  <a:cubicBezTo>
                    <a:pt x="0" y="182"/>
                    <a:pt x="0" y="182"/>
                    <a:pt x="0" y="182"/>
                  </a:cubicBezTo>
                  <a:cubicBezTo>
                    <a:pt x="0" y="11"/>
                    <a:pt x="0" y="11"/>
                    <a:pt x="0" y="11"/>
                  </a:cubicBezTo>
                  <a:cubicBezTo>
                    <a:pt x="0" y="5"/>
                    <a:pt x="5" y="0"/>
                    <a:pt x="11" y="0"/>
                  </a:cubicBezTo>
                  <a:cubicBezTo>
                    <a:pt x="277" y="0"/>
                    <a:pt x="277" y="0"/>
                    <a:pt x="277" y="0"/>
                  </a:cubicBezTo>
                  <a:cubicBezTo>
                    <a:pt x="283" y="0"/>
                    <a:pt x="288" y="5"/>
                    <a:pt x="288" y="11"/>
                  </a:cubicBezTo>
                  <a:close/>
                  <a:moveTo>
                    <a:pt x="267" y="22"/>
                  </a:moveTo>
                  <a:cubicBezTo>
                    <a:pt x="21" y="22"/>
                    <a:pt x="21" y="22"/>
                    <a:pt x="21" y="22"/>
                  </a:cubicBezTo>
                  <a:cubicBezTo>
                    <a:pt x="21" y="171"/>
                    <a:pt x="21" y="171"/>
                    <a:pt x="21" y="171"/>
                  </a:cubicBezTo>
                  <a:cubicBezTo>
                    <a:pt x="267" y="171"/>
                    <a:pt x="267" y="171"/>
                    <a:pt x="267" y="171"/>
                  </a:cubicBezTo>
                  <a:lnTo>
                    <a:pt x="267"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65" name="Group 1038">
            <a:extLst>
              <a:ext uri="{FF2B5EF4-FFF2-40B4-BE49-F238E27FC236}">
                <a16:creationId xmlns:a16="http://schemas.microsoft.com/office/drawing/2014/main" id="{86521A41-A5D0-4322-A0D8-A161B121A89B}"/>
              </a:ext>
            </a:extLst>
          </p:cNvPr>
          <p:cNvGrpSpPr>
            <a:grpSpLocks noChangeAspect="1"/>
          </p:cNvGrpSpPr>
          <p:nvPr/>
        </p:nvGrpSpPr>
        <p:grpSpPr bwMode="auto">
          <a:xfrm>
            <a:off x="9614291" y="2529747"/>
            <a:ext cx="369021" cy="369021"/>
            <a:chOff x="394" y="3989"/>
            <a:chExt cx="340" cy="340"/>
          </a:xfrm>
          <a:solidFill>
            <a:schemeClr val="accent5"/>
          </a:solidFill>
        </p:grpSpPr>
        <p:sp>
          <p:nvSpPr>
            <p:cNvPr id="466" name="Freeform 1039">
              <a:extLst>
                <a:ext uri="{FF2B5EF4-FFF2-40B4-BE49-F238E27FC236}">
                  <a16:creationId xmlns:a16="http://schemas.microsoft.com/office/drawing/2014/main" id="{24E1E502-B738-4275-9376-9D772D421534}"/>
                </a:ext>
              </a:extLst>
            </p:cNvPr>
            <p:cNvSpPr>
              <a:spLocks noEditPoints="1"/>
            </p:cNvSpPr>
            <p:nvPr/>
          </p:nvSpPr>
          <p:spPr bwMode="auto">
            <a:xfrm>
              <a:off x="394" y="39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7" name="Freeform 1040">
              <a:extLst>
                <a:ext uri="{FF2B5EF4-FFF2-40B4-BE49-F238E27FC236}">
                  <a16:creationId xmlns:a16="http://schemas.microsoft.com/office/drawing/2014/main" id="{DD3C0968-DE58-448F-B71F-02FA8A4771C4}"/>
                </a:ext>
              </a:extLst>
            </p:cNvPr>
            <p:cNvSpPr>
              <a:spLocks noEditPoints="1"/>
            </p:cNvSpPr>
            <p:nvPr/>
          </p:nvSpPr>
          <p:spPr bwMode="auto">
            <a:xfrm>
              <a:off x="471" y="4053"/>
              <a:ext cx="185" cy="201"/>
            </a:xfrm>
            <a:custGeom>
              <a:avLst/>
              <a:gdLst>
                <a:gd name="T0" fmla="*/ 265 w 279"/>
                <a:gd name="T1" fmla="*/ 301 h 303"/>
                <a:gd name="T2" fmla="*/ 225 w 279"/>
                <a:gd name="T3" fmla="*/ 302 h 303"/>
                <a:gd name="T4" fmla="*/ 172 w 279"/>
                <a:gd name="T5" fmla="*/ 302 h 303"/>
                <a:gd name="T6" fmla="*/ 140 w 279"/>
                <a:gd name="T7" fmla="*/ 292 h 303"/>
                <a:gd name="T8" fmla="*/ 87 w 279"/>
                <a:gd name="T9" fmla="*/ 292 h 303"/>
                <a:gd name="T10" fmla="*/ 34 w 279"/>
                <a:gd name="T11" fmla="*/ 292 h 303"/>
                <a:gd name="T12" fmla="*/ 1 w 279"/>
                <a:gd name="T13" fmla="*/ 293 h 303"/>
                <a:gd name="T14" fmla="*/ 24 w 279"/>
                <a:gd name="T15" fmla="*/ 271 h 303"/>
                <a:gd name="T16" fmla="*/ 41 w 279"/>
                <a:gd name="T17" fmla="*/ 269 h 303"/>
                <a:gd name="T18" fmla="*/ 77 w 279"/>
                <a:gd name="T19" fmla="*/ 271 h 303"/>
                <a:gd name="T20" fmla="*/ 94 w 279"/>
                <a:gd name="T21" fmla="*/ 269 h 303"/>
                <a:gd name="T22" fmla="*/ 131 w 279"/>
                <a:gd name="T23" fmla="*/ 271 h 303"/>
                <a:gd name="T24" fmla="*/ 147 w 279"/>
                <a:gd name="T25" fmla="*/ 269 h 303"/>
                <a:gd name="T26" fmla="*/ 184 w 279"/>
                <a:gd name="T27" fmla="*/ 271 h 303"/>
                <a:gd name="T28" fmla="*/ 201 w 279"/>
                <a:gd name="T29" fmla="*/ 269 h 303"/>
                <a:gd name="T30" fmla="*/ 238 w 279"/>
                <a:gd name="T31" fmla="*/ 271 h 303"/>
                <a:gd name="T32" fmla="*/ 254 w 279"/>
                <a:gd name="T33" fmla="*/ 269 h 303"/>
                <a:gd name="T34" fmla="*/ 278 w 279"/>
                <a:gd name="T35" fmla="*/ 293 h 303"/>
                <a:gd name="T36" fmla="*/ 20 w 279"/>
                <a:gd name="T37" fmla="*/ 149 h 303"/>
                <a:gd name="T38" fmla="*/ 65 w 279"/>
                <a:gd name="T39" fmla="*/ 51 h 303"/>
                <a:gd name="T40" fmla="*/ 97 w 279"/>
                <a:gd name="T41" fmla="*/ 42 h 303"/>
                <a:gd name="T42" fmla="*/ 108 w 279"/>
                <a:gd name="T43" fmla="*/ 0 h 303"/>
                <a:gd name="T44" fmla="*/ 182 w 279"/>
                <a:gd name="T45" fmla="*/ 10 h 303"/>
                <a:gd name="T46" fmla="*/ 204 w 279"/>
                <a:gd name="T47" fmla="*/ 42 h 303"/>
                <a:gd name="T48" fmla="*/ 234 w 279"/>
                <a:gd name="T49" fmla="*/ 142 h 303"/>
                <a:gd name="T50" fmla="*/ 267 w 279"/>
                <a:gd name="T51" fmla="*/ 162 h 303"/>
                <a:gd name="T52" fmla="*/ 236 w 279"/>
                <a:gd name="T53" fmla="*/ 256 h 303"/>
                <a:gd name="T54" fmla="*/ 225 w 279"/>
                <a:gd name="T55" fmla="*/ 242 h 303"/>
                <a:gd name="T56" fmla="*/ 150 w 279"/>
                <a:gd name="T57" fmla="*/ 142 h 303"/>
                <a:gd name="T58" fmla="*/ 140 w 279"/>
                <a:gd name="T59" fmla="*/ 245 h 303"/>
                <a:gd name="T60" fmla="*/ 129 w 279"/>
                <a:gd name="T61" fmla="*/ 142 h 303"/>
                <a:gd name="T62" fmla="*/ 54 w 279"/>
                <a:gd name="T63" fmla="*/ 242 h 303"/>
                <a:gd name="T64" fmla="*/ 33 w 279"/>
                <a:gd name="T65" fmla="*/ 248 h 303"/>
                <a:gd name="T66" fmla="*/ 118 w 279"/>
                <a:gd name="T67" fmla="*/ 42 h 303"/>
                <a:gd name="T68" fmla="*/ 161 w 279"/>
                <a:gd name="T69" fmla="*/ 21 h 303"/>
                <a:gd name="T70" fmla="*/ 118 w 279"/>
                <a:gd name="T71" fmla="*/ 42 h 303"/>
                <a:gd name="T72" fmla="*/ 137 w 279"/>
                <a:gd name="T73" fmla="*/ 117 h 303"/>
                <a:gd name="T74" fmla="*/ 211 w 279"/>
                <a:gd name="T75" fmla="*/ 136 h 303"/>
                <a:gd name="T76" fmla="*/ 84 w 279"/>
                <a:gd name="T77" fmla="*/ 6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03">
                  <a:moveTo>
                    <a:pt x="278" y="293"/>
                  </a:moveTo>
                  <a:cubicBezTo>
                    <a:pt x="277" y="299"/>
                    <a:pt x="271" y="302"/>
                    <a:pt x="265" y="301"/>
                  </a:cubicBezTo>
                  <a:cubicBezTo>
                    <a:pt x="259" y="299"/>
                    <a:pt x="253" y="296"/>
                    <a:pt x="247" y="292"/>
                  </a:cubicBezTo>
                  <a:cubicBezTo>
                    <a:pt x="242" y="296"/>
                    <a:pt x="234" y="301"/>
                    <a:pt x="225" y="302"/>
                  </a:cubicBezTo>
                  <a:cubicBezTo>
                    <a:pt x="214" y="303"/>
                    <a:pt x="204" y="299"/>
                    <a:pt x="194" y="292"/>
                  </a:cubicBezTo>
                  <a:cubicBezTo>
                    <a:pt x="189" y="296"/>
                    <a:pt x="181" y="301"/>
                    <a:pt x="172" y="302"/>
                  </a:cubicBezTo>
                  <a:cubicBezTo>
                    <a:pt x="170" y="302"/>
                    <a:pt x="169" y="302"/>
                    <a:pt x="168" y="302"/>
                  </a:cubicBezTo>
                  <a:cubicBezTo>
                    <a:pt x="159" y="302"/>
                    <a:pt x="149" y="299"/>
                    <a:pt x="140" y="292"/>
                  </a:cubicBezTo>
                  <a:cubicBezTo>
                    <a:pt x="135" y="296"/>
                    <a:pt x="128" y="301"/>
                    <a:pt x="118" y="302"/>
                  </a:cubicBezTo>
                  <a:cubicBezTo>
                    <a:pt x="108" y="303"/>
                    <a:pt x="97" y="299"/>
                    <a:pt x="87" y="292"/>
                  </a:cubicBezTo>
                  <a:cubicBezTo>
                    <a:pt x="82" y="296"/>
                    <a:pt x="75" y="301"/>
                    <a:pt x="65" y="302"/>
                  </a:cubicBezTo>
                  <a:cubicBezTo>
                    <a:pt x="54" y="303"/>
                    <a:pt x="44" y="300"/>
                    <a:pt x="34" y="292"/>
                  </a:cubicBezTo>
                  <a:cubicBezTo>
                    <a:pt x="29" y="296"/>
                    <a:pt x="22" y="300"/>
                    <a:pt x="13" y="302"/>
                  </a:cubicBezTo>
                  <a:cubicBezTo>
                    <a:pt x="7" y="302"/>
                    <a:pt x="2" y="298"/>
                    <a:pt x="1" y="293"/>
                  </a:cubicBezTo>
                  <a:cubicBezTo>
                    <a:pt x="0" y="287"/>
                    <a:pt x="4" y="281"/>
                    <a:pt x="10" y="280"/>
                  </a:cubicBezTo>
                  <a:cubicBezTo>
                    <a:pt x="18" y="279"/>
                    <a:pt x="24" y="271"/>
                    <a:pt x="24" y="271"/>
                  </a:cubicBezTo>
                  <a:cubicBezTo>
                    <a:pt x="26" y="268"/>
                    <a:pt x="29" y="267"/>
                    <a:pt x="32" y="266"/>
                  </a:cubicBezTo>
                  <a:cubicBezTo>
                    <a:pt x="35" y="266"/>
                    <a:pt x="38" y="267"/>
                    <a:pt x="41" y="269"/>
                  </a:cubicBezTo>
                  <a:cubicBezTo>
                    <a:pt x="49" y="277"/>
                    <a:pt x="56" y="281"/>
                    <a:pt x="63" y="281"/>
                  </a:cubicBezTo>
                  <a:cubicBezTo>
                    <a:pt x="71" y="280"/>
                    <a:pt x="77" y="271"/>
                    <a:pt x="77" y="271"/>
                  </a:cubicBezTo>
                  <a:cubicBezTo>
                    <a:pt x="79" y="268"/>
                    <a:pt x="82" y="267"/>
                    <a:pt x="85" y="266"/>
                  </a:cubicBezTo>
                  <a:cubicBezTo>
                    <a:pt x="89" y="266"/>
                    <a:pt x="92" y="267"/>
                    <a:pt x="94" y="269"/>
                  </a:cubicBezTo>
                  <a:cubicBezTo>
                    <a:pt x="102" y="277"/>
                    <a:pt x="109" y="281"/>
                    <a:pt x="116" y="281"/>
                  </a:cubicBezTo>
                  <a:cubicBezTo>
                    <a:pt x="125" y="280"/>
                    <a:pt x="131" y="271"/>
                    <a:pt x="131" y="271"/>
                  </a:cubicBezTo>
                  <a:cubicBezTo>
                    <a:pt x="133" y="268"/>
                    <a:pt x="136" y="267"/>
                    <a:pt x="139" y="266"/>
                  </a:cubicBezTo>
                  <a:cubicBezTo>
                    <a:pt x="142" y="266"/>
                    <a:pt x="145" y="267"/>
                    <a:pt x="147" y="269"/>
                  </a:cubicBezTo>
                  <a:cubicBezTo>
                    <a:pt x="155" y="277"/>
                    <a:pt x="163" y="281"/>
                    <a:pt x="169" y="281"/>
                  </a:cubicBezTo>
                  <a:cubicBezTo>
                    <a:pt x="178" y="280"/>
                    <a:pt x="184" y="271"/>
                    <a:pt x="184" y="271"/>
                  </a:cubicBezTo>
                  <a:cubicBezTo>
                    <a:pt x="186" y="268"/>
                    <a:pt x="189" y="267"/>
                    <a:pt x="192" y="266"/>
                  </a:cubicBezTo>
                  <a:cubicBezTo>
                    <a:pt x="195" y="266"/>
                    <a:pt x="198" y="267"/>
                    <a:pt x="201" y="269"/>
                  </a:cubicBezTo>
                  <a:cubicBezTo>
                    <a:pt x="208" y="277"/>
                    <a:pt x="216" y="281"/>
                    <a:pt x="222" y="280"/>
                  </a:cubicBezTo>
                  <a:cubicBezTo>
                    <a:pt x="231" y="280"/>
                    <a:pt x="237" y="271"/>
                    <a:pt x="238" y="271"/>
                  </a:cubicBezTo>
                  <a:cubicBezTo>
                    <a:pt x="239" y="268"/>
                    <a:pt x="242" y="267"/>
                    <a:pt x="245" y="266"/>
                  </a:cubicBezTo>
                  <a:cubicBezTo>
                    <a:pt x="248" y="266"/>
                    <a:pt x="252" y="267"/>
                    <a:pt x="254" y="269"/>
                  </a:cubicBezTo>
                  <a:cubicBezTo>
                    <a:pt x="260" y="275"/>
                    <a:pt x="265" y="279"/>
                    <a:pt x="270" y="280"/>
                  </a:cubicBezTo>
                  <a:cubicBezTo>
                    <a:pt x="276" y="281"/>
                    <a:pt x="279" y="287"/>
                    <a:pt x="278" y="293"/>
                  </a:cubicBezTo>
                  <a:close/>
                  <a:moveTo>
                    <a:pt x="12" y="162"/>
                  </a:moveTo>
                  <a:cubicBezTo>
                    <a:pt x="11" y="157"/>
                    <a:pt x="14" y="151"/>
                    <a:pt x="20" y="149"/>
                  </a:cubicBezTo>
                  <a:cubicBezTo>
                    <a:pt x="45" y="142"/>
                    <a:pt x="45" y="142"/>
                    <a:pt x="45" y="142"/>
                  </a:cubicBezTo>
                  <a:cubicBezTo>
                    <a:pt x="65" y="51"/>
                    <a:pt x="65" y="51"/>
                    <a:pt x="65" y="51"/>
                  </a:cubicBezTo>
                  <a:cubicBezTo>
                    <a:pt x="66" y="46"/>
                    <a:pt x="71" y="42"/>
                    <a:pt x="76" y="42"/>
                  </a:cubicBezTo>
                  <a:cubicBezTo>
                    <a:pt x="97" y="42"/>
                    <a:pt x="97" y="42"/>
                    <a:pt x="97" y="42"/>
                  </a:cubicBezTo>
                  <a:cubicBezTo>
                    <a:pt x="97" y="10"/>
                    <a:pt x="97" y="10"/>
                    <a:pt x="97" y="10"/>
                  </a:cubicBezTo>
                  <a:cubicBezTo>
                    <a:pt x="97" y="4"/>
                    <a:pt x="102" y="0"/>
                    <a:pt x="108" y="0"/>
                  </a:cubicBezTo>
                  <a:cubicBezTo>
                    <a:pt x="172" y="0"/>
                    <a:pt x="172" y="0"/>
                    <a:pt x="172" y="0"/>
                  </a:cubicBezTo>
                  <a:cubicBezTo>
                    <a:pt x="178" y="0"/>
                    <a:pt x="182" y="4"/>
                    <a:pt x="182" y="10"/>
                  </a:cubicBezTo>
                  <a:cubicBezTo>
                    <a:pt x="182" y="42"/>
                    <a:pt x="182" y="42"/>
                    <a:pt x="182" y="42"/>
                  </a:cubicBezTo>
                  <a:cubicBezTo>
                    <a:pt x="204" y="42"/>
                    <a:pt x="204" y="42"/>
                    <a:pt x="204" y="42"/>
                  </a:cubicBezTo>
                  <a:cubicBezTo>
                    <a:pt x="209" y="42"/>
                    <a:pt x="213" y="46"/>
                    <a:pt x="214" y="51"/>
                  </a:cubicBezTo>
                  <a:cubicBezTo>
                    <a:pt x="234" y="142"/>
                    <a:pt x="234" y="142"/>
                    <a:pt x="234" y="142"/>
                  </a:cubicBezTo>
                  <a:cubicBezTo>
                    <a:pt x="260" y="149"/>
                    <a:pt x="260" y="149"/>
                    <a:pt x="260" y="149"/>
                  </a:cubicBezTo>
                  <a:cubicBezTo>
                    <a:pt x="265" y="151"/>
                    <a:pt x="269" y="157"/>
                    <a:pt x="267" y="162"/>
                  </a:cubicBezTo>
                  <a:cubicBezTo>
                    <a:pt x="246" y="248"/>
                    <a:pt x="246" y="248"/>
                    <a:pt x="246" y="248"/>
                  </a:cubicBezTo>
                  <a:cubicBezTo>
                    <a:pt x="245" y="252"/>
                    <a:pt x="240" y="256"/>
                    <a:pt x="236" y="256"/>
                  </a:cubicBezTo>
                  <a:cubicBezTo>
                    <a:pt x="235" y="256"/>
                    <a:pt x="234" y="256"/>
                    <a:pt x="233" y="255"/>
                  </a:cubicBezTo>
                  <a:cubicBezTo>
                    <a:pt x="227" y="254"/>
                    <a:pt x="224" y="248"/>
                    <a:pt x="225" y="242"/>
                  </a:cubicBezTo>
                  <a:cubicBezTo>
                    <a:pt x="244" y="167"/>
                    <a:pt x="244" y="167"/>
                    <a:pt x="244" y="167"/>
                  </a:cubicBezTo>
                  <a:cubicBezTo>
                    <a:pt x="150" y="142"/>
                    <a:pt x="150" y="142"/>
                    <a:pt x="150" y="142"/>
                  </a:cubicBezTo>
                  <a:cubicBezTo>
                    <a:pt x="150" y="234"/>
                    <a:pt x="150" y="234"/>
                    <a:pt x="150" y="234"/>
                  </a:cubicBezTo>
                  <a:cubicBezTo>
                    <a:pt x="150" y="240"/>
                    <a:pt x="146" y="245"/>
                    <a:pt x="140" y="245"/>
                  </a:cubicBezTo>
                  <a:cubicBezTo>
                    <a:pt x="134" y="245"/>
                    <a:pt x="129" y="240"/>
                    <a:pt x="129" y="234"/>
                  </a:cubicBezTo>
                  <a:cubicBezTo>
                    <a:pt x="129" y="142"/>
                    <a:pt x="129" y="142"/>
                    <a:pt x="129" y="142"/>
                  </a:cubicBezTo>
                  <a:cubicBezTo>
                    <a:pt x="35" y="167"/>
                    <a:pt x="35" y="167"/>
                    <a:pt x="35" y="167"/>
                  </a:cubicBezTo>
                  <a:cubicBezTo>
                    <a:pt x="54" y="242"/>
                    <a:pt x="54" y="242"/>
                    <a:pt x="54" y="242"/>
                  </a:cubicBezTo>
                  <a:cubicBezTo>
                    <a:pt x="55" y="248"/>
                    <a:pt x="52" y="254"/>
                    <a:pt x="46" y="255"/>
                  </a:cubicBezTo>
                  <a:cubicBezTo>
                    <a:pt x="41" y="257"/>
                    <a:pt x="35" y="253"/>
                    <a:pt x="33" y="248"/>
                  </a:cubicBezTo>
                  <a:lnTo>
                    <a:pt x="12" y="162"/>
                  </a:lnTo>
                  <a:close/>
                  <a:moveTo>
                    <a:pt x="118" y="42"/>
                  </a:moveTo>
                  <a:cubicBezTo>
                    <a:pt x="161" y="42"/>
                    <a:pt x="161" y="42"/>
                    <a:pt x="161" y="42"/>
                  </a:cubicBezTo>
                  <a:cubicBezTo>
                    <a:pt x="161" y="21"/>
                    <a:pt x="161" y="21"/>
                    <a:pt x="161" y="21"/>
                  </a:cubicBezTo>
                  <a:cubicBezTo>
                    <a:pt x="118" y="21"/>
                    <a:pt x="118" y="21"/>
                    <a:pt x="118" y="21"/>
                  </a:cubicBezTo>
                  <a:lnTo>
                    <a:pt x="118" y="42"/>
                  </a:lnTo>
                  <a:close/>
                  <a:moveTo>
                    <a:pt x="69" y="136"/>
                  </a:moveTo>
                  <a:cubicBezTo>
                    <a:pt x="137" y="117"/>
                    <a:pt x="137" y="117"/>
                    <a:pt x="137" y="117"/>
                  </a:cubicBezTo>
                  <a:cubicBezTo>
                    <a:pt x="139" y="117"/>
                    <a:pt x="141" y="117"/>
                    <a:pt x="142" y="117"/>
                  </a:cubicBezTo>
                  <a:cubicBezTo>
                    <a:pt x="211" y="136"/>
                    <a:pt x="211" y="136"/>
                    <a:pt x="211" y="136"/>
                  </a:cubicBezTo>
                  <a:cubicBezTo>
                    <a:pt x="195" y="64"/>
                    <a:pt x="195" y="64"/>
                    <a:pt x="195" y="64"/>
                  </a:cubicBezTo>
                  <a:cubicBezTo>
                    <a:pt x="84" y="64"/>
                    <a:pt x="84" y="64"/>
                    <a:pt x="84" y="64"/>
                  </a:cubicBezTo>
                  <a:lnTo>
                    <a:pt x="69"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8" name="Freeform 1044">
            <a:extLst>
              <a:ext uri="{FF2B5EF4-FFF2-40B4-BE49-F238E27FC236}">
                <a16:creationId xmlns:a16="http://schemas.microsoft.com/office/drawing/2014/main" id="{1DE9AFE2-88AF-4AFE-BA1E-56F1B7E6C243}"/>
              </a:ext>
            </a:extLst>
          </p:cNvPr>
          <p:cNvSpPr>
            <a:spLocks noChangeAspect="1" noEditPoints="1"/>
          </p:cNvSpPr>
          <p:nvPr/>
        </p:nvSpPr>
        <p:spPr bwMode="auto">
          <a:xfrm>
            <a:off x="9176999" y="2529747"/>
            <a:ext cx="370106" cy="369021"/>
          </a:xfrm>
          <a:custGeom>
            <a:avLst/>
            <a:gdLst>
              <a:gd name="T0" fmla="*/ 234 w 512"/>
              <a:gd name="T1" fmla="*/ 138 h 512"/>
              <a:gd name="T2" fmla="*/ 277 w 512"/>
              <a:gd name="T3" fmla="*/ 117 h 512"/>
              <a:gd name="T4" fmla="*/ 258 w 512"/>
              <a:gd name="T5" fmla="*/ 213 h 512"/>
              <a:gd name="T6" fmla="*/ 311 w 512"/>
              <a:gd name="T7" fmla="*/ 160 h 512"/>
              <a:gd name="T8" fmla="*/ 185 w 512"/>
              <a:gd name="T9" fmla="*/ 232 h 512"/>
              <a:gd name="T10" fmla="*/ 258 w 512"/>
              <a:gd name="T11" fmla="*/ 213 h 512"/>
              <a:gd name="T12" fmla="*/ 256 w 512"/>
              <a:gd name="T13" fmla="*/ 512 h 512"/>
              <a:gd name="T14" fmla="*/ 256 w 512"/>
              <a:gd name="T15" fmla="*/ 0 h 512"/>
              <a:gd name="T16" fmla="*/ 128 w 512"/>
              <a:gd name="T17" fmla="*/ 258 h 512"/>
              <a:gd name="T18" fmla="*/ 162 w 512"/>
              <a:gd name="T19" fmla="*/ 351 h 512"/>
              <a:gd name="T20" fmla="*/ 151 w 512"/>
              <a:gd name="T21" fmla="*/ 263 h 512"/>
              <a:gd name="T22" fmla="*/ 245 w 512"/>
              <a:gd name="T23" fmla="*/ 330 h 512"/>
              <a:gd name="T24" fmla="*/ 266 w 512"/>
              <a:gd name="T25" fmla="*/ 330 h 512"/>
              <a:gd name="T26" fmla="*/ 360 w 512"/>
              <a:gd name="T27" fmla="*/ 263 h 512"/>
              <a:gd name="T28" fmla="*/ 349 w 512"/>
              <a:gd name="T29" fmla="*/ 351 h 512"/>
              <a:gd name="T30" fmla="*/ 362 w 512"/>
              <a:gd name="T31" fmla="*/ 344 h 512"/>
              <a:gd name="T32" fmla="*/ 376 w 512"/>
              <a:gd name="T33" fmla="*/ 245 h 512"/>
              <a:gd name="T34" fmla="*/ 330 w 512"/>
              <a:gd name="T35" fmla="*/ 147 h 512"/>
              <a:gd name="T36" fmla="*/ 298 w 512"/>
              <a:gd name="T37" fmla="*/ 138 h 512"/>
              <a:gd name="T38" fmla="*/ 288 w 512"/>
              <a:gd name="T39" fmla="*/ 96 h 512"/>
              <a:gd name="T40" fmla="*/ 213 w 512"/>
              <a:gd name="T41" fmla="*/ 106 h 512"/>
              <a:gd name="T42" fmla="*/ 192 w 512"/>
              <a:gd name="T43" fmla="*/ 138 h 512"/>
              <a:gd name="T44" fmla="*/ 161 w 512"/>
              <a:gd name="T45" fmla="*/ 238 h 512"/>
              <a:gd name="T46" fmla="*/ 128 w 512"/>
              <a:gd name="T47" fmla="*/ 258 h 512"/>
              <a:gd name="T48" fmla="*/ 370 w 512"/>
              <a:gd name="T49" fmla="*/ 365 h 512"/>
              <a:gd name="T50" fmla="*/ 354 w 512"/>
              <a:gd name="T51" fmla="*/ 367 h 512"/>
              <a:gd name="T52" fmla="*/ 317 w 512"/>
              <a:gd name="T53" fmla="*/ 365 h 512"/>
              <a:gd name="T54" fmla="*/ 300 w 512"/>
              <a:gd name="T55" fmla="*/ 367 h 512"/>
              <a:gd name="T56" fmla="*/ 263 w 512"/>
              <a:gd name="T57" fmla="*/ 365 h 512"/>
              <a:gd name="T58" fmla="*/ 247 w 512"/>
              <a:gd name="T59" fmla="*/ 367 h 512"/>
              <a:gd name="T60" fmla="*/ 210 w 512"/>
              <a:gd name="T61" fmla="*/ 365 h 512"/>
              <a:gd name="T62" fmla="*/ 193 w 512"/>
              <a:gd name="T63" fmla="*/ 367 h 512"/>
              <a:gd name="T64" fmla="*/ 157 w 512"/>
              <a:gd name="T65" fmla="*/ 365 h 512"/>
              <a:gd name="T66" fmla="*/ 140 w 512"/>
              <a:gd name="T67" fmla="*/ 367 h 512"/>
              <a:gd name="T68" fmla="*/ 117 w 512"/>
              <a:gd name="T69" fmla="*/ 389 h 512"/>
              <a:gd name="T70" fmla="*/ 150 w 512"/>
              <a:gd name="T71" fmla="*/ 388 h 512"/>
              <a:gd name="T72" fmla="*/ 203 w 512"/>
              <a:gd name="T73" fmla="*/ 388 h 512"/>
              <a:gd name="T74" fmla="*/ 256 w 512"/>
              <a:gd name="T75" fmla="*/ 388 h 512"/>
              <a:gd name="T76" fmla="*/ 288 w 512"/>
              <a:gd name="T77" fmla="*/ 398 h 512"/>
              <a:gd name="T78" fmla="*/ 341 w 512"/>
              <a:gd name="T79" fmla="*/ 398 h 512"/>
              <a:gd name="T80" fmla="*/ 381 w 512"/>
              <a:gd name="T81" fmla="*/ 397 h 512"/>
              <a:gd name="T82" fmla="*/ 386 w 512"/>
              <a:gd name="T83" fmla="*/ 3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77" y="138"/>
                </a:moveTo>
                <a:cubicBezTo>
                  <a:pt x="234" y="138"/>
                  <a:pt x="234" y="138"/>
                  <a:pt x="234" y="138"/>
                </a:cubicBezTo>
                <a:cubicBezTo>
                  <a:pt x="234" y="117"/>
                  <a:pt x="234" y="117"/>
                  <a:pt x="234" y="117"/>
                </a:cubicBezTo>
                <a:cubicBezTo>
                  <a:pt x="277" y="117"/>
                  <a:pt x="277" y="117"/>
                  <a:pt x="277" y="117"/>
                </a:cubicBezTo>
                <a:lnTo>
                  <a:pt x="277" y="138"/>
                </a:lnTo>
                <a:close/>
                <a:moveTo>
                  <a:pt x="258" y="213"/>
                </a:moveTo>
                <a:cubicBezTo>
                  <a:pt x="327" y="232"/>
                  <a:pt x="327" y="232"/>
                  <a:pt x="327" y="232"/>
                </a:cubicBezTo>
                <a:cubicBezTo>
                  <a:pt x="311" y="160"/>
                  <a:pt x="311" y="160"/>
                  <a:pt x="311" y="160"/>
                </a:cubicBezTo>
                <a:cubicBezTo>
                  <a:pt x="200" y="160"/>
                  <a:pt x="200" y="160"/>
                  <a:pt x="200" y="160"/>
                </a:cubicBezTo>
                <a:cubicBezTo>
                  <a:pt x="185" y="232"/>
                  <a:pt x="185" y="232"/>
                  <a:pt x="185" y="232"/>
                </a:cubicBezTo>
                <a:cubicBezTo>
                  <a:pt x="253" y="213"/>
                  <a:pt x="253" y="213"/>
                  <a:pt x="253" y="213"/>
                </a:cubicBezTo>
                <a:cubicBezTo>
                  <a:pt x="255" y="213"/>
                  <a:pt x="257" y="213"/>
                  <a:pt x="25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258"/>
                </a:moveTo>
                <a:cubicBezTo>
                  <a:pt x="149" y="344"/>
                  <a:pt x="149" y="344"/>
                  <a:pt x="149" y="344"/>
                </a:cubicBezTo>
                <a:cubicBezTo>
                  <a:pt x="151" y="349"/>
                  <a:pt x="157" y="353"/>
                  <a:pt x="162" y="351"/>
                </a:cubicBezTo>
                <a:cubicBezTo>
                  <a:pt x="168" y="350"/>
                  <a:pt x="171" y="344"/>
                  <a:pt x="170" y="338"/>
                </a:cubicBezTo>
                <a:cubicBezTo>
                  <a:pt x="151" y="263"/>
                  <a:pt x="151" y="263"/>
                  <a:pt x="151" y="263"/>
                </a:cubicBezTo>
                <a:cubicBezTo>
                  <a:pt x="245" y="238"/>
                  <a:pt x="245" y="238"/>
                  <a:pt x="245" y="238"/>
                </a:cubicBezTo>
                <a:cubicBezTo>
                  <a:pt x="245" y="330"/>
                  <a:pt x="245" y="330"/>
                  <a:pt x="245" y="330"/>
                </a:cubicBezTo>
                <a:cubicBezTo>
                  <a:pt x="245" y="336"/>
                  <a:pt x="250" y="341"/>
                  <a:pt x="256" y="341"/>
                </a:cubicBezTo>
                <a:cubicBezTo>
                  <a:pt x="262" y="341"/>
                  <a:pt x="266" y="336"/>
                  <a:pt x="266" y="330"/>
                </a:cubicBezTo>
                <a:cubicBezTo>
                  <a:pt x="266" y="238"/>
                  <a:pt x="266" y="238"/>
                  <a:pt x="266" y="238"/>
                </a:cubicBezTo>
                <a:cubicBezTo>
                  <a:pt x="360" y="263"/>
                  <a:pt x="360" y="263"/>
                  <a:pt x="360" y="263"/>
                </a:cubicBezTo>
                <a:cubicBezTo>
                  <a:pt x="341" y="338"/>
                  <a:pt x="341" y="338"/>
                  <a:pt x="341" y="338"/>
                </a:cubicBezTo>
                <a:cubicBezTo>
                  <a:pt x="340" y="344"/>
                  <a:pt x="343" y="350"/>
                  <a:pt x="349" y="351"/>
                </a:cubicBezTo>
                <a:cubicBezTo>
                  <a:pt x="350" y="352"/>
                  <a:pt x="351" y="352"/>
                  <a:pt x="352" y="352"/>
                </a:cubicBezTo>
                <a:cubicBezTo>
                  <a:pt x="356" y="352"/>
                  <a:pt x="361" y="348"/>
                  <a:pt x="362" y="344"/>
                </a:cubicBezTo>
                <a:cubicBezTo>
                  <a:pt x="383" y="258"/>
                  <a:pt x="383" y="258"/>
                  <a:pt x="383" y="258"/>
                </a:cubicBezTo>
                <a:cubicBezTo>
                  <a:pt x="385" y="253"/>
                  <a:pt x="381" y="247"/>
                  <a:pt x="376" y="245"/>
                </a:cubicBezTo>
                <a:cubicBezTo>
                  <a:pt x="350" y="238"/>
                  <a:pt x="350" y="238"/>
                  <a:pt x="350" y="238"/>
                </a:cubicBezTo>
                <a:cubicBezTo>
                  <a:pt x="330" y="147"/>
                  <a:pt x="330" y="147"/>
                  <a:pt x="330" y="147"/>
                </a:cubicBezTo>
                <a:cubicBezTo>
                  <a:pt x="329" y="142"/>
                  <a:pt x="325" y="138"/>
                  <a:pt x="320" y="138"/>
                </a:cubicBezTo>
                <a:cubicBezTo>
                  <a:pt x="298" y="138"/>
                  <a:pt x="298" y="138"/>
                  <a:pt x="298" y="138"/>
                </a:cubicBezTo>
                <a:cubicBezTo>
                  <a:pt x="298" y="106"/>
                  <a:pt x="298" y="106"/>
                  <a:pt x="298" y="106"/>
                </a:cubicBezTo>
                <a:cubicBezTo>
                  <a:pt x="298" y="100"/>
                  <a:pt x="294" y="96"/>
                  <a:pt x="288" y="96"/>
                </a:cubicBezTo>
                <a:cubicBezTo>
                  <a:pt x="224" y="96"/>
                  <a:pt x="224" y="96"/>
                  <a:pt x="224" y="96"/>
                </a:cubicBezTo>
                <a:cubicBezTo>
                  <a:pt x="218" y="96"/>
                  <a:pt x="213" y="100"/>
                  <a:pt x="213" y="106"/>
                </a:cubicBezTo>
                <a:cubicBezTo>
                  <a:pt x="213" y="138"/>
                  <a:pt x="213" y="138"/>
                  <a:pt x="213" y="138"/>
                </a:cubicBezTo>
                <a:cubicBezTo>
                  <a:pt x="192" y="138"/>
                  <a:pt x="192" y="138"/>
                  <a:pt x="192" y="138"/>
                </a:cubicBezTo>
                <a:cubicBezTo>
                  <a:pt x="187" y="138"/>
                  <a:pt x="182" y="142"/>
                  <a:pt x="181" y="147"/>
                </a:cubicBezTo>
                <a:cubicBezTo>
                  <a:pt x="161" y="238"/>
                  <a:pt x="161" y="238"/>
                  <a:pt x="161" y="238"/>
                </a:cubicBezTo>
                <a:cubicBezTo>
                  <a:pt x="136" y="245"/>
                  <a:pt x="136" y="245"/>
                  <a:pt x="136" y="245"/>
                </a:cubicBezTo>
                <a:cubicBezTo>
                  <a:pt x="130" y="247"/>
                  <a:pt x="127" y="253"/>
                  <a:pt x="128" y="258"/>
                </a:cubicBezTo>
                <a:close/>
                <a:moveTo>
                  <a:pt x="386" y="376"/>
                </a:moveTo>
                <a:cubicBezTo>
                  <a:pt x="381" y="375"/>
                  <a:pt x="376" y="371"/>
                  <a:pt x="370" y="365"/>
                </a:cubicBezTo>
                <a:cubicBezTo>
                  <a:pt x="368" y="363"/>
                  <a:pt x="364" y="362"/>
                  <a:pt x="361" y="362"/>
                </a:cubicBezTo>
                <a:cubicBezTo>
                  <a:pt x="358" y="363"/>
                  <a:pt x="355" y="364"/>
                  <a:pt x="354" y="367"/>
                </a:cubicBezTo>
                <a:cubicBezTo>
                  <a:pt x="353" y="367"/>
                  <a:pt x="347" y="376"/>
                  <a:pt x="338" y="376"/>
                </a:cubicBezTo>
                <a:cubicBezTo>
                  <a:pt x="332" y="377"/>
                  <a:pt x="324" y="373"/>
                  <a:pt x="317" y="365"/>
                </a:cubicBezTo>
                <a:cubicBezTo>
                  <a:pt x="314" y="363"/>
                  <a:pt x="311" y="362"/>
                  <a:pt x="308" y="362"/>
                </a:cubicBezTo>
                <a:cubicBezTo>
                  <a:pt x="305" y="363"/>
                  <a:pt x="302" y="364"/>
                  <a:pt x="300" y="367"/>
                </a:cubicBezTo>
                <a:cubicBezTo>
                  <a:pt x="300" y="367"/>
                  <a:pt x="294" y="376"/>
                  <a:pt x="285" y="377"/>
                </a:cubicBezTo>
                <a:cubicBezTo>
                  <a:pt x="279" y="377"/>
                  <a:pt x="271" y="373"/>
                  <a:pt x="263" y="365"/>
                </a:cubicBezTo>
                <a:cubicBezTo>
                  <a:pt x="261" y="363"/>
                  <a:pt x="258" y="362"/>
                  <a:pt x="255" y="362"/>
                </a:cubicBezTo>
                <a:cubicBezTo>
                  <a:pt x="252" y="363"/>
                  <a:pt x="249" y="364"/>
                  <a:pt x="247" y="367"/>
                </a:cubicBezTo>
                <a:cubicBezTo>
                  <a:pt x="247" y="367"/>
                  <a:pt x="241" y="376"/>
                  <a:pt x="232" y="377"/>
                </a:cubicBezTo>
                <a:cubicBezTo>
                  <a:pt x="225" y="377"/>
                  <a:pt x="218" y="373"/>
                  <a:pt x="210" y="365"/>
                </a:cubicBezTo>
                <a:cubicBezTo>
                  <a:pt x="208" y="363"/>
                  <a:pt x="205" y="362"/>
                  <a:pt x="201" y="362"/>
                </a:cubicBezTo>
                <a:cubicBezTo>
                  <a:pt x="198" y="363"/>
                  <a:pt x="195" y="364"/>
                  <a:pt x="193" y="367"/>
                </a:cubicBezTo>
                <a:cubicBezTo>
                  <a:pt x="193" y="367"/>
                  <a:pt x="187" y="376"/>
                  <a:pt x="179" y="377"/>
                </a:cubicBezTo>
                <a:cubicBezTo>
                  <a:pt x="172" y="377"/>
                  <a:pt x="165" y="373"/>
                  <a:pt x="157" y="365"/>
                </a:cubicBezTo>
                <a:cubicBezTo>
                  <a:pt x="154" y="363"/>
                  <a:pt x="151" y="362"/>
                  <a:pt x="148" y="362"/>
                </a:cubicBezTo>
                <a:cubicBezTo>
                  <a:pt x="145" y="363"/>
                  <a:pt x="142" y="364"/>
                  <a:pt x="140" y="367"/>
                </a:cubicBezTo>
                <a:cubicBezTo>
                  <a:pt x="140" y="367"/>
                  <a:pt x="134" y="375"/>
                  <a:pt x="126" y="376"/>
                </a:cubicBezTo>
                <a:cubicBezTo>
                  <a:pt x="120" y="377"/>
                  <a:pt x="116" y="383"/>
                  <a:pt x="117" y="389"/>
                </a:cubicBezTo>
                <a:cubicBezTo>
                  <a:pt x="118" y="394"/>
                  <a:pt x="123" y="398"/>
                  <a:pt x="129" y="398"/>
                </a:cubicBezTo>
                <a:cubicBezTo>
                  <a:pt x="138" y="396"/>
                  <a:pt x="145" y="392"/>
                  <a:pt x="150" y="388"/>
                </a:cubicBezTo>
                <a:cubicBezTo>
                  <a:pt x="160" y="396"/>
                  <a:pt x="170" y="399"/>
                  <a:pt x="181" y="398"/>
                </a:cubicBezTo>
                <a:cubicBezTo>
                  <a:pt x="191" y="397"/>
                  <a:pt x="198" y="392"/>
                  <a:pt x="203" y="388"/>
                </a:cubicBezTo>
                <a:cubicBezTo>
                  <a:pt x="213" y="395"/>
                  <a:pt x="224" y="399"/>
                  <a:pt x="234" y="398"/>
                </a:cubicBezTo>
                <a:cubicBezTo>
                  <a:pt x="244" y="397"/>
                  <a:pt x="251" y="392"/>
                  <a:pt x="256" y="388"/>
                </a:cubicBezTo>
                <a:cubicBezTo>
                  <a:pt x="265" y="395"/>
                  <a:pt x="275" y="398"/>
                  <a:pt x="284" y="398"/>
                </a:cubicBezTo>
                <a:cubicBezTo>
                  <a:pt x="285" y="398"/>
                  <a:pt x="286" y="398"/>
                  <a:pt x="288" y="398"/>
                </a:cubicBezTo>
                <a:cubicBezTo>
                  <a:pt x="297" y="397"/>
                  <a:pt x="305" y="392"/>
                  <a:pt x="310" y="388"/>
                </a:cubicBezTo>
                <a:cubicBezTo>
                  <a:pt x="320" y="395"/>
                  <a:pt x="330" y="399"/>
                  <a:pt x="341" y="398"/>
                </a:cubicBezTo>
                <a:cubicBezTo>
                  <a:pt x="350" y="397"/>
                  <a:pt x="358" y="392"/>
                  <a:pt x="363" y="388"/>
                </a:cubicBezTo>
                <a:cubicBezTo>
                  <a:pt x="369" y="392"/>
                  <a:pt x="375" y="395"/>
                  <a:pt x="381" y="397"/>
                </a:cubicBezTo>
                <a:cubicBezTo>
                  <a:pt x="387" y="398"/>
                  <a:pt x="393" y="395"/>
                  <a:pt x="394" y="389"/>
                </a:cubicBezTo>
                <a:cubicBezTo>
                  <a:pt x="395" y="383"/>
                  <a:pt x="392" y="377"/>
                  <a:pt x="386" y="37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69" name="Group 276">
            <a:extLst>
              <a:ext uri="{FF2B5EF4-FFF2-40B4-BE49-F238E27FC236}">
                <a16:creationId xmlns:a16="http://schemas.microsoft.com/office/drawing/2014/main" id="{302E6A22-5E4C-4494-A84D-CC517367A39F}"/>
              </a:ext>
            </a:extLst>
          </p:cNvPr>
          <p:cNvGrpSpPr>
            <a:grpSpLocks noChangeAspect="1"/>
          </p:cNvGrpSpPr>
          <p:nvPr/>
        </p:nvGrpSpPr>
        <p:grpSpPr bwMode="auto">
          <a:xfrm>
            <a:off x="10050498" y="2529747"/>
            <a:ext cx="369021" cy="369021"/>
            <a:chOff x="6212" y="794"/>
            <a:chExt cx="340" cy="340"/>
          </a:xfrm>
          <a:solidFill>
            <a:schemeClr val="accent3"/>
          </a:solidFill>
        </p:grpSpPr>
        <p:sp>
          <p:nvSpPr>
            <p:cNvPr id="470" name="Freeform 277">
              <a:extLst>
                <a:ext uri="{FF2B5EF4-FFF2-40B4-BE49-F238E27FC236}">
                  <a16:creationId xmlns:a16="http://schemas.microsoft.com/office/drawing/2014/main" id="{8CB91B78-BC8C-44E3-A665-530152C1EF27}"/>
                </a:ext>
              </a:extLst>
            </p:cNvPr>
            <p:cNvSpPr>
              <a:spLocks/>
            </p:cNvSpPr>
            <p:nvPr/>
          </p:nvSpPr>
          <p:spPr bwMode="auto">
            <a:xfrm>
              <a:off x="6452" y="1006"/>
              <a:ext cx="15" cy="22"/>
            </a:xfrm>
            <a:custGeom>
              <a:avLst/>
              <a:gdLst>
                <a:gd name="T0" fmla="*/ 11 w 22"/>
                <a:gd name="T1" fmla="*/ 0 h 32"/>
                <a:gd name="T2" fmla="*/ 1 w 22"/>
                <a:gd name="T3" fmla="*/ 17 h 32"/>
                <a:gd name="T4" fmla="*/ 0 w 22"/>
                <a:gd name="T5" fmla="*/ 21 h 32"/>
                <a:gd name="T6" fmla="*/ 11 w 22"/>
                <a:gd name="T7" fmla="*/ 32 h 32"/>
                <a:gd name="T8" fmla="*/ 22 w 22"/>
                <a:gd name="T9" fmla="*/ 21 h 32"/>
                <a:gd name="T10" fmla="*/ 21 w 22"/>
                <a:gd name="T11" fmla="*/ 17 h 32"/>
                <a:gd name="T12" fmla="*/ 11 w 2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2" h="32">
                  <a:moveTo>
                    <a:pt x="11" y="0"/>
                  </a:moveTo>
                  <a:cubicBezTo>
                    <a:pt x="1" y="17"/>
                    <a:pt x="1" y="17"/>
                    <a:pt x="1" y="17"/>
                  </a:cubicBezTo>
                  <a:cubicBezTo>
                    <a:pt x="1" y="19"/>
                    <a:pt x="0" y="20"/>
                    <a:pt x="0" y="21"/>
                  </a:cubicBezTo>
                  <a:cubicBezTo>
                    <a:pt x="0" y="27"/>
                    <a:pt x="5" y="32"/>
                    <a:pt x="11" y="32"/>
                  </a:cubicBezTo>
                  <a:cubicBezTo>
                    <a:pt x="17" y="32"/>
                    <a:pt x="22" y="27"/>
                    <a:pt x="22" y="21"/>
                  </a:cubicBezTo>
                  <a:cubicBezTo>
                    <a:pt x="22" y="20"/>
                    <a:pt x="21" y="19"/>
                    <a:pt x="21" y="17"/>
                  </a:cubicBezTo>
                  <a:lnTo>
                    <a:pt x="1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1" name="Freeform 278">
              <a:extLst>
                <a:ext uri="{FF2B5EF4-FFF2-40B4-BE49-F238E27FC236}">
                  <a16:creationId xmlns:a16="http://schemas.microsoft.com/office/drawing/2014/main" id="{F3FD6613-6511-415F-8CAB-1B02CD9927CE}"/>
                </a:ext>
              </a:extLst>
            </p:cNvPr>
            <p:cNvSpPr>
              <a:spLocks noEditPoints="1"/>
            </p:cNvSpPr>
            <p:nvPr/>
          </p:nvSpPr>
          <p:spPr bwMode="auto">
            <a:xfrm>
              <a:off x="6292" y="875"/>
              <a:ext cx="132" cy="164"/>
            </a:xfrm>
            <a:custGeom>
              <a:avLst/>
              <a:gdLst>
                <a:gd name="T0" fmla="*/ 0 w 199"/>
                <a:gd name="T1" fmla="*/ 135 h 247"/>
                <a:gd name="T2" fmla="*/ 113 w 199"/>
                <a:gd name="T3" fmla="*/ 247 h 247"/>
                <a:gd name="T4" fmla="*/ 199 w 199"/>
                <a:gd name="T5" fmla="*/ 161 h 247"/>
                <a:gd name="T6" fmla="*/ 199 w 199"/>
                <a:gd name="T7" fmla="*/ 63 h 247"/>
                <a:gd name="T8" fmla="*/ 135 w 199"/>
                <a:gd name="T9" fmla="*/ 0 h 247"/>
                <a:gd name="T10" fmla="*/ 0 w 199"/>
                <a:gd name="T11" fmla="*/ 135 h 247"/>
                <a:gd name="T12" fmla="*/ 167 w 199"/>
                <a:gd name="T13" fmla="*/ 134 h 247"/>
                <a:gd name="T14" fmla="*/ 156 w 199"/>
                <a:gd name="T15" fmla="*/ 144 h 247"/>
                <a:gd name="T16" fmla="*/ 124 w 199"/>
                <a:gd name="T17" fmla="*/ 144 h 247"/>
                <a:gd name="T18" fmla="*/ 124 w 199"/>
                <a:gd name="T19" fmla="*/ 176 h 247"/>
                <a:gd name="T20" fmla="*/ 113 w 199"/>
                <a:gd name="T21" fmla="*/ 187 h 247"/>
                <a:gd name="T22" fmla="*/ 103 w 199"/>
                <a:gd name="T23" fmla="*/ 176 h 247"/>
                <a:gd name="T24" fmla="*/ 103 w 199"/>
                <a:gd name="T25" fmla="*/ 144 h 247"/>
                <a:gd name="T26" fmla="*/ 71 w 199"/>
                <a:gd name="T27" fmla="*/ 144 h 247"/>
                <a:gd name="T28" fmla="*/ 60 w 199"/>
                <a:gd name="T29" fmla="*/ 134 h 247"/>
                <a:gd name="T30" fmla="*/ 71 w 199"/>
                <a:gd name="T31" fmla="*/ 123 h 247"/>
                <a:gd name="T32" fmla="*/ 103 w 199"/>
                <a:gd name="T33" fmla="*/ 123 h 247"/>
                <a:gd name="T34" fmla="*/ 103 w 199"/>
                <a:gd name="T35" fmla="*/ 91 h 247"/>
                <a:gd name="T36" fmla="*/ 113 w 199"/>
                <a:gd name="T37" fmla="*/ 80 h 247"/>
                <a:gd name="T38" fmla="*/ 124 w 199"/>
                <a:gd name="T39" fmla="*/ 91 h 247"/>
                <a:gd name="T40" fmla="*/ 124 w 199"/>
                <a:gd name="T41" fmla="*/ 123 h 247"/>
                <a:gd name="T42" fmla="*/ 156 w 199"/>
                <a:gd name="T43" fmla="*/ 123 h 247"/>
                <a:gd name="T44" fmla="*/ 167 w 199"/>
                <a:gd name="T45" fmla="*/ 134 h 247"/>
                <a:gd name="T46" fmla="*/ 143 w 199"/>
                <a:gd name="T47" fmla="*/ 38 h 247"/>
                <a:gd name="T48" fmla="*/ 158 w 199"/>
                <a:gd name="T49" fmla="*/ 53 h 247"/>
                <a:gd name="T50" fmla="*/ 158 w 199"/>
                <a:gd name="T51" fmla="*/ 68 h 247"/>
                <a:gd name="T52" fmla="*/ 150 w 199"/>
                <a:gd name="T53" fmla="*/ 72 h 247"/>
                <a:gd name="T54" fmla="*/ 143 w 199"/>
                <a:gd name="T55" fmla="*/ 68 h 247"/>
                <a:gd name="T56" fmla="*/ 128 w 199"/>
                <a:gd name="T57" fmla="*/ 53 h 247"/>
                <a:gd name="T58" fmla="*/ 128 w 199"/>
                <a:gd name="T59" fmla="*/ 38 h 247"/>
                <a:gd name="T60" fmla="*/ 143 w 199"/>
                <a:gd name="T61" fmla="*/ 3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247">
                  <a:moveTo>
                    <a:pt x="0" y="135"/>
                  </a:moveTo>
                  <a:cubicBezTo>
                    <a:pt x="113" y="247"/>
                    <a:pt x="113" y="247"/>
                    <a:pt x="113" y="247"/>
                  </a:cubicBezTo>
                  <a:cubicBezTo>
                    <a:pt x="199" y="161"/>
                    <a:pt x="199" y="161"/>
                    <a:pt x="199" y="161"/>
                  </a:cubicBezTo>
                  <a:cubicBezTo>
                    <a:pt x="199" y="63"/>
                    <a:pt x="199" y="63"/>
                    <a:pt x="199" y="63"/>
                  </a:cubicBezTo>
                  <a:cubicBezTo>
                    <a:pt x="135" y="0"/>
                    <a:pt x="135" y="0"/>
                    <a:pt x="135" y="0"/>
                  </a:cubicBezTo>
                  <a:lnTo>
                    <a:pt x="0" y="135"/>
                  </a:lnTo>
                  <a:close/>
                  <a:moveTo>
                    <a:pt x="167" y="134"/>
                  </a:moveTo>
                  <a:cubicBezTo>
                    <a:pt x="167" y="140"/>
                    <a:pt x="162" y="144"/>
                    <a:pt x="156" y="144"/>
                  </a:cubicBezTo>
                  <a:cubicBezTo>
                    <a:pt x="124" y="144"/>
                    <a:pt x="124" y="144"/>
                    <a:pt x="124" y="144"/>
                  </a:cubicBezTo>
                  <a:cubicBezTo>
                    <a:pt x="124" y="176"/>
                    <a:pt x="124" y="176"/>
                    <a:pt x="124" y="176"/>
                  </a:cubicBezTo>
                  <a:cubicBezTo>
                    <a:pt x="124" y="182"/>
                    <a:pt x="119" y="187"/>
                    <a:pt x="113" y="187"/>
                  </a:cubicBezTo>
                  <a:cubicBezTo>
                    <a:pt x="107" y="187"/>
                    <a:pt x="103" y="182"/>
                    <a:pt x="103" y="176"/>
                  </a:cubicBezTo>
                  <a:cubicBezTo>
                    <a:pt x="103" y="144"/>
                    <a:pt x="103" y="144"/>
                    <a:pt x="103" y="144"/>
                  </a:cubicBezTo>
                  <a:cubicBezTo>
                    <a:pt x="71" y="144"/>
                    <a:pt x="71" y="144"/>
                    <a:pt x="71" y="144"/>
                  </a:cubicBezTo>
                  <a:cubicBezTo>
                    <a:pt x="65" y="144"/>
                    <a:pt x="60" y="140"/>
                    <a:pt x="60" y="134"/>
                  </a:cubicBezTo>
                  <a:cubicBezTo>
                    <a:pt x="60" y="128"/>
                    <a:pt x="65" y="123"/>
                    <a:pt x="71" y="123"/>
                  </a:cubicBezTo>
                  <a:cubicBezTo>
                    <a:pt x="103" y="123"/>
                    <a:pt x="103" y="123"/>
                    <a:pt x="103" y="123"/>
                  </a:cubicBezTo>
                  <a:cubicBezTo>
                    <a:pt x="103" y="91"/>
                    <a:pt x="103" y="91"/>
                    <a:pt x="103" y="91"/>
                  </a:cubicBezTo>
                  <a:cubicBezTo>
                    <a:pt x="103" y="85"/>
                    <a:pt x="107" y="80"/>
                    <a:pt x="113" y="80"/>
                  </a:cubicBezTo>
                  <a:cubicBezTo>
                    <a:pt x="119" y="80"/>
                    <a:pt x="124" y="85"/>
                    <a:pt x="124" y="91"/>
                  </a:cubicBezTo>
                  <a:cubicBezTo>
                    <a:pt x="124" y="123"/>
                    <a:pt x="124" y="123"/>
                    <a:pt x="124" y="123"/>
                  </a:cubicBezTo>
                  <a:cubicBezTo>
                    <a:pt x="156" y="123"/>
                    <a:pt x="156" y="123"/>
                    <a:pt x="156" y="123"/>
                  </a:cubicBezTo>
                  <a:cubicBezTo>
                    <a:pt x="162" y="123"/>
                    <a:pt x="167" y="128"/>
                    <a:pt x="167" y="134"/>
                  </a:cubicBezTo>
                  <a:close/>
                  <a:moveTo>
                    <a:pt x="143" y="38"/>
                  </a:moveTo>
                  <a:cubicBezTo>
                    <a:pt x="158" y="53"/>
                    <a:pt x="158" y="53"/>
                    <a:pt x="158" y="53"/>
                  </a:cubicBezTo>
                  <a:cubicBezTo>
                    <a:pt x="162" y="58"/>
                    <a:pt x="162" y="64"/>
                    <a:pt x="158" y="68"/>
                  </a:cubicBezTo>
                  <a:cubicBezTo>
                    <a:pt x="156" y="71"/>
                    <a:pt x="153" y="72"/>
                    <a:pt x="150" y="72"/>
                  </a:cubicBezTo>
                  <a:cubicBezTo>
                    <a:pt x="148" y="72"/>
                    <a:pt x="145" y="71"/>
                    <a:pt x="143" y="68"/>
                  </a:cubicBezTo>
                  <a:cubicBezTo>
                    <a:pt x="128" y="53"/>
                    <a:pt x="128" y="53"/>
                    <a:pt x="128" y="53"/>
                  </a:cubicBezTo>
                  <a:cubicBezTo>
                    <a:pt x="124" y="49"/>
                    <a:pt x="124" y="42"/>
                    <a:pt x="128" y="38"/>
                  </a:cubicBezTo>
                  <a:cubicBezTo>
                    <a:pt x="132" y="34"/>
                    <a:pt x="139" y="34"/>
                    <a:pt x="143" y="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2" name="Freeform 279">
              <a:extLst>
                <a:ext uri="{FF2B5EF4-FFF2-40B4-BE49-F238E27FC236}">
                  <a16:creationId xmlns:a16="http://schemas.microsoft.com/office/drawing/2014/main" id="{1488E616-9A81-4398-82AD-63D2A4B2CAD1}"/>
                </a:ext>
              </a:extLst>
            </p:cNvPr>
            <p:cNvSpPr>
              <a:spLocks noEditPoints="1"/>
            </p:cNvSpPr>
            <p:nvPr/>
          </p:nvSpPr>
          <p:spPr bwMode="auto">
            <a:xfrm>
              <a:off x="6212" y="79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2 w 512"/>
                <a:gd name="T11" fmla="*/ 213 h 512"/>
                <a:gd name="T12" fmla="*/ 373 w 512"/>
                <a:gd name="T13" fmla="*/ 202 h 512"/>
                <a:gd name="T14" fmla="*/ 384 w 512"/>
                <a:gd name="T15" fmla="*/ 213 h 512"/>
                <a:gd name="T16" fmla="*/ 384 w 512"/>
                <a:gd name="T17" fmla="*/ 256 h 512"/>
                <a:gd name="T18" fmla="*/ 373 w 512"/>
                <a:gd name="T19" fmla="*/ 266 h 512"/>
                <a:gd name="T20" fmla="*/ 362 w 512"/>
                <a:gd name="T21" fmla="*/ 256 h 512"/>
                <a:gd name="T22" fmla="*/ 362 w 512"/>
                <a:gd name="T23" fmla="*/ 213 h 512"/>
                <a:gd name="T24" fmla="*/ 241 w 512"/>
                <a:gd name="T25" fmla="*/ 392 h 512"/>
                <a:gd name="T26" fmla="*/ 234 w 512"/>
                <a:gd name="T27" fmla="*/ 395 h 512"/>
                <a:gd name="T28" fmla="*/ 226 w 512"/>
                <a:gd name="T29" fmla="*/ 392 h 512"/>
                <a:gd name="T30" fmla="*/ 99 w 512"/>
                <a:gd name="T31" fmla="*/ 264 h 512"/>
                <a:gd name="T32" fmla="*/ 96 w 512"/>
                <a:gd name="T33" fmla="*/ 257 h 512"/>
                <a:gd name="T34" fmla="*/ 99 w 512"/>
                <a:gd name="T35" fmla="*/ 249 h 512"/>
                <a:gd name="T36" fmla="*/ 249 w 512"/>
                <a:gd name="T37" fmla="*/ 99 h 512"/>
                <a:gd name="T38" fmla="*/ 264 w 512"/>
                <a:gd name="T39" fmla="*/ 99 h 512"/>
                <a:gd name="T40" fmla="*/ 338 w 512"/>
                <a:gd name="T41" fmla="*/ 173 h 512"/>
                <a:gd name="T42" fmla="*/ 341 w 512"/>
                <a:gd name="T43" fmla="*/ 181 h 512"/>
                <a:gd name="T44" fmla="*/ 341 w 512"/>
                <a:gd name="T45" fmla="*/ 288 h 512"/>
                <a:gd name="T46" fmla="*/ 338 w 512"/>
                <a:gd name="T47" fmla="*/ 295 h 512"/>
                <a:gd name="T48" fmla="*/ 241 w 512"/>
                <a:gd name="T49" fmla="*/ 392 h 512"/>
                <a:gd name="T50" fmla="*/ 373 w 512"/>
                <a:gd name="T51" fmla="*/ 373 h 512"/>
                <a:gd name="T52" fmla="*/ 341 w 512"/>
                <a:gd name="T53" fmla="*/ 341 h 512"/>
                <a:gd name="T54" fmla="*/ 343 w 512"/>
                <a:gd name="T55" fmla="*/ 329 h 512"/>
                <a:gd name="T56" fmla="*/ 344 w 512"/>
                <a:gd name="T57" fmla="*/ 327 h 512"/>
                <a:gd name="T58" fmla="*/ 364 w 512"/>
                <a:gd name="T59" fmla="*/ 293 h 512"/>
                <a:gd name="T60" fmla="*/ 382 w 512"/>
                <a:gd name="T61" fmla="*/ 293 h 512"/>
                <a:gd name="T62" fmla="*/ 402 w 512"/>
                <a:gd name="T63" fmla="*/ 327 h 512"/>
                <a:gd name="T64" fmla="*/ 403 w 512"/>
                <a:gd name="T65" fmla="*/ 329 h 512"/>
                <a:gd name="T66" fmla="*/ 405 w 512"/>
                <a:gd name="T67" fmla="*/ 341 h 512"/>
                <a:gd name="T68" fmla="*/ 373 w 512"/>
                <a:gd name="T69"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213"/>
                  </a:moveTo>
                  <a:cubicBezTo>
                    <a:pt x="362" y="207"/>
                    <a:pt x="367" y="202"/>
                    <a:pt x="373" y="202"/>
                  </a:cubicBezTo>
                  <a:cubicBezTo>
                    <a:pt x="379" y="202"/>
                    <a:pt x="384" y="207"/>
                    <a:pt x="384" y="213"/>
                  </a:cubicBezTo>
                  <a:cubicBezTo>
                    <a:pt x="384" y="256"/>
                    <a:pt x="384" y="256"/>
                    <a:pt x="384" y="256"/>
                  </a:cubicBezTo>
                  <a:cubicBezTo>
                    <a:pt x="384" y="262"/>
                    <a:pt x="379" y="266"/>
                    <a:pt x="373" y="266"/>
                  </a:cubicBezTo>
                  <a:cubicBezTo>
                    <a:pt x="367" y="266"/>
                    <a:pt x="362" y="262"/>
                    <a:pt x="362" y="256"/>
                  </a:cubicBezTo>
                  <a:lnTo>
                    <a:pt x="362" y="213"/>
                  </a:lnTo>
                  <a:close/>
                  <a:moveTo>
                    <a:pt x="241" y="392"/>
                  </a:moveTo>
                  <a:cubicBezTo>
                    <a:pt x="239" y="394"/>
                    <a:pt x="237" y="395"/>
                    <a:pt x="234" y="395"/>
                  </a:cubicBezTo>
                  <a:cubicBezTo>
                    <a:pt x="231" y="395"/>
                    <a:pt x="228" y="394"/>
                    <a:pt x="226" y="392"/>
                  </a:cubicBezTo>
                  <a:cubicBezTo>
                    <a:pt x="99" y="264"/>
                    <a:pt x="99" y="264"/>
                    <a:pt x="99" y="264"/>
                  </a:cubicBezTo>
                  <a:cubicBezTo>
                    <a:pt x="97" y="262"/>
                    <a:pt x="96" y="260"/>
                    <a:pt x="96" y="257"/>
                  </a:cubicBezTo>
                  <a:cubicBezTo>
                    <a:pt x="96" y="254"/>
                    <a:pt x="97" y="251"/>
                    <a:pt x="99" y="249"/>
                  </a:cubicBezTo>
                  <a:cubicBezTo>
                    <a:pt x="249" y="99"/>
                    <a:pt x="249" y="99"/>
                    <a:pt x="249" y="99"/>
                  </a:cubicBezTo>
                  <a:cubicBezTo>
                    <a:pt x="253" y="95"/>
                    <a:pt x="260" y="95"/>
                    <a:pt x="264" y="99"/>
                  </a:cubicBezTo>
                  <a:cubicBezTo>
                    <a:pt x="338" y="173"/>
                    <a:pt x="338" y="173"/>
                    <a:pt x="338" y="173"/>
                  </a:cubicBezTo>
                  <a:cubicBezTo>
                    <a:pt x="340" y="175"/>
                    <a:pt x="341" y="178"/>
                    <a:pt x="341" y="181"/>
                  </a:cubicBezTo>
                  <a:cubicBezTo>
                    <a:pt x="341" y="288"/>
                    <a:pt x="341" y="288"/>
                    <a:pt x="341" y="288"/>
                  </a:cubicBezTo>
                  <a:cubicBezTo>
                    <a:pt x="341" y="291"/>
                    <a:pt x="340" y="293"/>
                    <a:pt x="338" y="295"/>
                  </a:cubicBezTo>
                  <a:lnTo>
                    <a:pt x="241" y="392"/>
                  </a:lnTo>
                  <a:close/>
                  <a:moveTo>
                    <a:pt x="373" y="373"/>
                  </a:moveTo>
                  <a:cubicBezTo>
                    <a:pt x="355" y="373"/>
                    <a:pt x="341" y="359"/>
                    <a:pt x="341" y="341"/>
                  </a:cubicBezTo>
                  <a:cubicBezTo>
                    <a:pt x="341" y="337"/>
                    <a:pt x="342" y="333"/>
                    <a:pt x="343" y="329"/>
                  </a:cubicBezTo>
                  <a:cubicBezTo>
                    <a:pt x="344" y="328"/>
                    <a:pt x="344" y="328"/>
                    <a:pt x="344" y="327"/>
                  </a:cubicBezTo>
                  <a:cubicBezTo>
                    <a:pt x="364" y="293"/>
                    <a:pt x="364" y="293"/>
                    <a:pt x="364" y="293"/>
                  </a:cubicBezTo>
                  <a:cubicBezTo>
                    <a:pt x="368" y="286"/>
                    <a:pt x="378" y="286"/>
                    <a:pt x="382" y="293"/>
                  </a:cubicBezTo>
                  <a:cubicBezTo>
                    <a:pt x="402" y="327"/>
                    <a:pt x="402" y="327"/>
                    <a:pt x="402" y="327"/>
                  </a:cubicBezTo>
                  <a:cubicBezTo>
                    <a:pt x="402" y="328"/>
                    <a:pt x="402" y="328"/>
                    <a:pt x="403" y="329"/>
                  </a:cubicBezTo>
                  <a:cubicBezTo>
                    <a:pt x="404" y="333"/>
                    <a:pt x="405" y="337"/>
                    <a:pt x="405" y="341"/>
                  </a:cubicBezTo>
                  <a:cubicBezTo>
                    <a:pt x="405" y="359"/>
                    <a:pt x="391" y="373"/>
                    <a:pt x="373" y="3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3" name="Group 282">
            <a:extLst>
              <a:ext uri="{FF2B5EF4-FFF2-40B4-BE49-F238E27FC236}">
                <a16:creationId xmlns:a16="http://schemas.microsoft.com/office/drawing/2014/main" id="{FC88165B-BB78-431F-87FE-437E89F9CC63}"/>
              </a:ext>
            </a:extLst>
          </p:cNvPr>
          <p:cNvGrpSpPr>
            <a:grpSpLocks noChangeAspect="1"/>
          </p:cNvGrpSpPr>
          <p:nvPr/>
        </p:nvGrpSpPr>
        <p:grpSpPr bwMode="auto">
          <a:xfrm>
            <a:off x="10486705" y="2529747"/>
            <a:ext cx="369021" cy="370106"/>
            <a:chOff x="6580" y="788"/>
            <a:chExt cx="340" cy="341"/>
          </a:xfrm>
          <a:solidFill>
            <a:schemeClr val="accent3"/>
          </a:solidFill>
        </p:grpSpPr>
        <p:sp>
          <p:nvSpPr>
            <p:cNvPr id="484" name="Freeform 283">
              <a:extLst>
                <a:ext uri="{FF2B5EF4-FFF2-40B4-BE49-F238E27FC236}">
                  <a16:creationId xmlns:a16="http://schemas.microsoft.com/office/drawing/2014/main" id="{9891FD42-2C96-4467-B8A9-7B9C392E2864}"/>
                </a:ext>
              </a:extLst>
            </p:cNvPr>
            <p:cNvSpPr>
              <a:spLocks noEditPoints="1"/>
            </p:cNvSpPr>
            <p:nvPr/>
          </p:nvSpPr>
          <p:spPr bwMode="auto">
            <a:xfrm>
              <a:off x="6580" y="78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5" name="Freeform 284">
              <a:extLst>
                <a:ext uri="{FF2B5EF4-FFF2-40B4-BE49-F238E27FC236}">
                  <a16:creationId xmlns:a16="http://schemas.microsoft.com/office/drawing/2014/main" id="{8BEC881A-04BE-4907-993D-23B3AB164F7B}"/>
                </a:ext>
              </a:extLst>
            </p:cNvPr>
            <p:cNvSpPr>
              <a:spLocks/>
            </p:cNvSpPr>
            <p:nvPr/>
          </p:nvSpPr>
          <p:spPr bwMode="auto">
            <a:xfrm>
              <a:off x="6743" y="892"/>
              <a:ext cx="25" cy="25"/>
            </a:xfrm>
            <a:custGeom>
              <a:avLst/>
              <a:gdLst>
                <a:gd name="T0" fmla="*/ 4 w 38"/>
                <a:gd name="T1" fmla="*/ 19 h 38"/>
                <a:gd name="T2" fmla="*/ 19 w 38"/>
                <a:gd name="T3" fmla="*/ 34 h 38"/>
                <a:gd name="T4" fmla="*/ 26 w 38"/>
                <a:gd name="T5" fmla="*/ 38 h 38"/>
                <a:gd name="T6" fmla="*/ 34 w 38"/>
                <a:gd name="T7" fmla="*/ 34 h 38"/>
                <a:gd name="T8" fmla="*/ 34 w 38"/>
                <a:gd name="T9" fmla="*/ 19 h 38"/>
                <a:gd name="T10" fmla="*/ 19 w 38"/>
                <a:gd name="T11" fmla="*/ 4 h 38"/>
                <a:gd name="T12" fmla="*/ 4 w 38"/>
                <a:gd name="T13" fmla="*/ 4 h 38"/>
                <a:gd name="T14" fmla="*/ 4 w 38"/>
                <a:gd name="T15" fmla="*/ 1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4" y="19"/>
                  </a:moveTo>
                  <a:cubicBezTo>
                    <a:pt x="19" y="34"/>
                    <a:pt x="19" y="34"/>
                    <a:pt x="19" y="34"/>
                  </a:cubicBezTo>
                  <a:cubicBezTo>
                    <a:pt x="21" y="37"/>
                    <a:pt x="24" y="38"/>
                    <a:pt x="26" y="38"/>
                  </a:cubicBezTo>
                  <a:cubicBezTo>
                    <a:pt x="29" y="38"/>
                    <a:pt x="32" y="37"/>
                    <a:pt x="34" y="34"/>
                  </a:cubicBezTo>
                  <a:cubicBezTo>
                    <a:pt x="38" y="30"/>
                    <a:pt x="38" y="24"/>
                    <a:pt x="34" y="19"/>
                  </a:cubicBezTo>
                  <a:cubicBezTo>
                    <a:pt x="19" y="4"/>
                    <a:pt x="19" y="4"/>
                    <a:pt x="19" y="4"/>
                  </a:cubicBezTo>
                  <a:cubicBezTo>
                    <a:pt x="15" y="0"/>
                    <a:pt x="8" y="0"/>
                    <a:pt x="4" y="4"/>
                  </a:cubicBezTo>
                  <a:cubicBezTo>
                    <a:pt x="0" y="8"/>
                    <a:pt x="0" y="15"/>
                    <a:pt x="4"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6" name="Freeform 285">
              <a:extLst>
                <a:ext uri="{FF2B5EF4-FFF2-40B4-BE49-F238E27FC236}">
                  <a16:creationId xmlns:a16="http://schemas.microsoft.com/office/drawing/2014/main" id="{F05A5276-4B39-4800-969A-FC6472828D48}"/>
                </a:ext>
              </a:extLst>
            </p:cNvPr>
            <p:cNvSpPr>
              <a:spLocks noEditPoints="1"/>
            </p:cNvSpPr>
            <p:nvPr/>
          </p:nvSpPr>
          <p:spPr bwMode="auto">
            <a:xfrm>
              <a:off x="6806" y="978"/>
              <a:ext cx="43" cy="58"/>
            </a:xfrm>
            <a:custGeom>
              <a:avLst/>
              <a:gdLst>
                <a:gd name="T0" fmla="*/ 62 w 64"/>
                <a:gd name="T1" fmla="*/ 43 h 87"/>
                <a:gd name="T2" fmla="*/ 61 w 64"/>
                <a:gd name="T3" fmla="*/ 41 h 87"/>
                <a:gd name="T4" fmla="*/ 41 w 64"/>
                <a:gd name="T5" fmla="*/ 7 h 87"/>
                <a:gd name="T6" fmla="*/ 23 w 64"/>
                <a:gd name="T7" fmla="*/ 7 h 87"/>
                <a:gd name="T8" fmla="*/ 3 w 64"/>
                <a:gd name="T9" fmla="*/ 41 h 87"/>
                <a:gd name="T10" fmla="*/ 2 w 64"/>
                <a:gd name="T11" fmla="*/ 43 h 87"/>
                <a:gd name="T12" fmla="*/ 0 w 64"/>
                <a:gd name="T13" fmla="*/ 55 h 87"/>
                <a:gd name="T14" fmla="*/ 32 w 64"/>
                <a:gd name="T15" fmla="*/ 87 h 87"/>
                <a:gd name="T16" fmla="*/ 64 w 64"/>
                <a:gd name="T17" fmla="*/ 55 h 87"/>
                <a:gd name="T18" fmla="*/ 62 w 64"/>
                <a:gd name="T19" fmla="*/ 43 h 87"/>
                <a:gd name="T20" fmla="*/ 32 w 64"/>
                <a:gd name="T21" fmla="*/ 66 h 87"/>
                <a:gd name="T22" fmla="*/ 21 w 64"/>
                <a:gd name="T23" fmla="*/ 55 h 87"/>
                <a:gd name="T24" fmla="*/ 22 w 64"/>
                <a:gd name="T25" fmla="*/ 51 h 87"/>
                <a:gd name="T26" fmla="*/ 32 w 64"/>
                <a:gd name="T27" fmla="*/ 34 h 87"/>
                <a:gd name="T28" fmla="*/ 42 w 64"/>
                <a:gd name="T29" fmla="*/ 51 h 87"/>
                <a:gd name="T30" fmla="*/ 43 w 64"/>
                <a:gd name="T31" fmla="*/ 55 h 87"/>
                <a:gd name="T32" fmla="*/ 32 w 64"/>
                <a:gd name="T33" fmla="*/ 6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7">
                  <a:moveTo>
                    <a:pt x="62" y="43"/>
                  </a:moveTo>
                  <a:cubicBezTo>
                    <a:pt x="61" y="42"/>
                    <a:pt x="61" y="42"/>
                    <a:pt x="61" y="41"/>
                  </a:cubicBezTo>
                  <a:cubicBezTo>
                    <a:pt x="41" y="7"/>
                    <a:pt x="41" y="7"/>
                    <a:pt x="41" y="7"/>
                  </a:cubicBezTo>
                  <a:cubicBezTo>
                    <a:pt x="37" y="0"/>
                    <a:pt x="27" y="0"/>
                    <a:pt x="23" y="7"/>
                  </a:cubicBezTo>
                  <a:cubicBezTo>
                    <a:pt x="3" y="41"/>
                    <a:pt x="3" y="41"/>
                    <a:pt x="3" y="41"/>
                  </a:cubicBezTo>
                  <a:cubicBezTo>
                    <a:pt x="3" y="42"/>
                    <a:pt x="3" y="42"/>
                    <a:pt x="2" y="43"/>
                  </a:cubicBezTo>
                  <a:cubicBezTo>
                    <a:pt x="1" y="47"/>
                    <a:pt x="0" y="51"/>
                    <a:pt x="0" y="55"/>
                  </a:cubicBezTo>
                  <a:cubicBezTo>
                    <a:pt x="0" y="73"/>
                    <a:pt x="14" y="87"/>
                    <a:pt x="32" y="87"/>
                  </a:cubicBezTo>
                  <a:cubicBezTo>
                    <a:pt x="50" y="87"/>
                    <a:pt x="64" y="73"/>
                    <a:pt x="64" y="55"/>
                  </a:cubicBezTo>
                  <a:cubicBezTo>
                    <a:pt x="64" y="51"/>
                    <a:pt x="63" y="47"/>
                    <a:pt x="62" y="43"/>
                  </a:cubicBezTo>
                  <a:close/>
                  <a:moveTo>
                    <a:pt x="32" y="66"/>
                  </a:moveTo>
                  <a:cubicBezTo>
                    <a:pt x="26" y="66"/>
                    <a:pt x="21" y="61"/>
                    <a:pt x="21" y="55"/>
                  </a:cubicBezTo>
                  <a:cubicBezTo>
                    <a:pt x="21" y="54"/>
                    <a:pt x="22" y="53"/>
                    <a:pt x="22" y="51"/>
                  </a:cubicBezTo>
                  <a:cubicBezTo>
                    <a:pt x="32" y="34"/>
                    <a:pt x="32" y="34"/>
                    <a:pt x="32" y="34"/>
                  </a:cubicBezTo>
                  <a:cubicBezTo>
                    <a:pt x="42" y="51"/>
                    <a:pt x="42" y="51"/>
                    <a:pt x="42" y="51"/>
                  </a:cubicBezTo>
                  <a:cubicBezTo>
                    <a:pt x="42" y="53"/>
                    <a:pt x="43" y="54"/>
                    <a:pt x="43" y="55"/>
                  </a:cubicBezTo>
                  <a:cubicBezTo>
                    <a:pt x="43" y="61"/>
                    <a:pt x="38" y="66"/>
                    <a:pt x="32" y="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7" name="Freeform 286">
              <a:extLst>
                <a:ext uri="{FF2B5EF4-FFF2-40B4-BE49-F238E27FC236}">
                  <a16:creationId xmlns:a16="http://schemas.microsoft.com/office/drawing/2014/main" id="{B6AA28AC-934D-4FAF-BD89-85A24105B8DE}"/>
                </a:ext>
              </a:extLst>
            </p:cNvPr>
            <p:cNvSpPr>
              <a:spLocks/>
            </p:cNvSpPr>
            <p:nvPr/>
          </p:nvSpPr>
          <p:spPr bwMode="auto">
            <a:xfrm>
              <a:off x="6700" y="923"/>
              <a:ext cx="71" cy="71"/>
            </a:xfrm>
            <a:custGeom>
              <a:avLst/>
              <a:gdLst>
                <a:gd name="T0" fmla="*/ 64 w 107"/>
                <a:gd name="T1" fmla="*/ 43 h 107"/>
                <a:gd name="T2" fmla="*/ 64 w 107"/>
                <a:gd name="T3" fmla="*/ 11 h 107"/>
                <a:gd name="T4" fmla="*/ 53 w 107"/>
                <a:gd name="T5" fmla="*/ 0 h 107"/>
                <a:gd name="T6" fmla="*/ 43 w 107"/>
                <a:gd name="T7" fmla="*/ 11 h 107"/>
                <a:gd name="T8" fmla="*/ 43 w 107"/>
                <a:gd name="T9" fmla="*/ 43 h 107"/>
                <a:gd name="T10" fmla="*/ 11 w 107"/>
                <a:gd name="T11" fmla="*/ 43 h 107"/>
                <a:gd name="T12" fmla="*/ 0 w 107"/>
                <a:gd name="T13" fmla="*/ 54 h 107"/>
                <a:gd name="T14" fmla="*/ 11 w 107"/>
                <a:gd name="T15" fmla="*/ 64 h 107"/>
                <a:gd name="T16" fmla="*/ 43 w 107"/>
                <a:gd name="T17" fmla="*/ 64 h 107"/>
                <a:gd name="T18" fmla="*/ 43 w 107"/>
                <a:gd name="T19" fmla="*/ 96 h 107"/>
                <a:gd name="T20" fmla="*/ 53 w 107"/>
                <a:gd name="T21" fmla="*/ 107 h 107"/>
                <a:gd name="T22" fmla="*/ 64 w 107"/>
                <a:gd name="T23" fmla="*/ 96 h 107"/>
                <a:gd name="T24" fmla="*/ 64 w 107"/>
                <a:gd name="T25" fmla="*/ 64 h 107"/>
                <a:gd name="T26" fmla="*/ 96 w 107"/>
                <a:gd name="T27" fmla="*/ 64 h 107"/>
                <a:gd name="T28" fmla="*/ 107 w 107"/>
                <a:gd name="T29" fmla="*/ 54 h 107"/>
                <a:gd name="T30" fmla="*/ 96 w 107"/>
                <a:gd name="T31" fmla="*/ 43 h 107"/>
                <a:gd name="T32" fmla="*/ 64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64" y="43"/>
                  </a:move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8"/>
                    <a:pt x="0" y="54"/>
                  </a:cubicBezTo>
                  <a:cubicBezTo>
                    <a:pt x="0" y="60"/>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60"/>
                    <a:pt x="107" y="54"/>
                  </a:cubicBezTo>
                  <a:cubicBezTo>
                    <a:pt x="107" y="48"/>
                    <a:pt x="102" y="43"/>
                    <a:pt x="96" y="43"/>
                  </a:cubicBezTo>
                  <a:lnTo>
                    <a:pt x="64" y="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8" name="Freeform 287">
              <a:extLst>
                <a:ext uri="{FF2B5EF4-FFF2-40B4-BE49-F238E27FC236}">
                  <a16:creationId xmlns:a16="http://schemas.microsoft.com/office/drawing/2014/main" id="{972531B4-0285-4517-B7F8-F6DB7740C821}"/>
                </a:ext>
              </a:extLst>
            </p:cNvPr>
            <p:cNvSpPr>
              <a:spLocks noEditPoints="1"/>
            </p:cNvSpPr>
            <p:nvPr/>
          </p:nvSpPr>
          <p:spPr bwMode="auto">
            <a:xfrm>
              <a:off x="6644" y="851"/>
              <a:ext cx="162" cy="200"/>
            </a:xfrm>
            <a:custGeom>
              <a:avLst/>
              <a:gdLst>
                <a:gd name="T0" fmla="*/ 245 w 245"/>
                <a:gd name="T1" fmla="*/ 86 h 300"/>
                <a:gd name="T2" fmla="*/ 242 w 245"/>
                <a:gd name="T3" fmla="*/ 78 h 300"/>
                <a:gd name="T4" fmla="*/ 168 w 245"/>
                <a:gd name="T5" fmla="*/ 4 h 300"/>
                <a:gd name="T6" fmla="*/ 153 w 245"/>
                <a:gd name="T7" fmla="*/ 4 h 300"/>
                <a:gd name="T8" fmla="*/ 3 w 245"/>
                <a:gd name="T9" fmla="*/ 154 h 300"/>
                <a:gd name="T10" fmla="*/ 0 w 245"/>
                <a:gd name="T11" fmla="*/ 162 h 300"/>
                <a:gd name="T12" fmla="*/ 3 w 245"/>
                <a:gd name="T13" fmla="*/ 169 h 300"/>
                <a:gd name="T14" fmla="*/ 130 w 245"/>
                <a:gd name="T15" fmla="*/ 297 h 300"/>
                <a:gd name="T16" fmla="*/ 138 w 245"/>
                <a:gd name="T17" fmla="*/ 300 h 300"/>
                <a:gd name="T18" fmla="*/ 145 w 245"/>
                <a:gd name="T19" fmla="*/ 297 h 300"/>
                <a:gd name="T20" fmla="*/ 242 w 245"/>
                <a:gd name="T21" fmla="*/ 200 h 300"/>
                <a:gd name="T22" fmla="*/ 245 w 245"/>
                <a:gd name="T23" fmla="*/ 193 h 300"/>
                <a:gd name="T24" fmla="*/ 245 w 245"/>
                <a:gd name="T25" fmla="*/ 86 h 300"/>
                <a:gd name="T26" fmla="*/ 224 w 245"/>
                <a:gd name="T27" fmla="*/ 188 h 300"/>
                <a:gd name="T28" fmla="*/ 138 w 245"/>
                <a:gd name="T29" fmla="*/ 274 h 300"/>
                <a:gd name="T30" fmla="*/ 25 w 245"/>
                <a:gd name="T31" fmla="*/ 162 h 300"/>
                <a:gd name="T32" fmla="*/ 160 w 245"/>
                <a:gd name="T33" fmla="*/ 27 h 300"/>
                <a:gd name="T34" fmla="*/ 224 w 245"/>
                <a:gd name="T35" fmla="*/ 90 h 300"/>
                <a:gd name="T36" fmla="*/ 224 w 245"/>
                <a:gd name="T37" fmla="*/ 18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5" h="300">
                  <a:moveTo>
                    <a:pt x="245" y="86"/>
                  </a:moveTo>
                  <a:cubicBezTo>
                    <a:pt x="245" y="83"/>
                    <a:pt x="244" y="80"/>
                    <a:pt x="242" y="78"/>
                  </a:cubicBezTo>
                  <a:cubicBezTo>
                    <a:pt x="168" y="4"/>
                    <a:pt x="168" y="4"/>
                    <a:pt x="168" y="4"/>
                  </a:cubicBezTo>
                  <a:cubicBezTo>
                    <a:pt x="164" y="0"/>
                    <a:pt x="157" y="0"/>
                    <a:pt x="153" y="4"/>
                  </a:cubicBezTo>
                  <a:cubicBezTo>
                    <a:pt x="3" y="154"/>
                    <a:pt x="3" y="154"/>
                    <a:pt x="3" y="154"/>
                  </a:cubicBezTo>
                  <a:cubicBezTo>
                    <a:pt x="1" y="156"/>
                    <a:pt x="0" y="159"/>
                    <a:pt x="0" y="162"/>
                  </a:cubicBezTo>
                  <a:cubicBezTo>
                    <a:pt x="0" y="165"/>
                    <a:pt x="1" y="167"/>
                    <a:pt x="3" y="169"/>
                  </a:cubicBezTo>
                  <a:cubicBezTo>
                    <a:pt x="130" y="297"/>
                    <a:pt x="130" y="297"/>
                    <a:pt x="130" y="297"/>
                  </a:cubicBezTo>
                  <a:cubicBezTo>
                    <a:pt x="132" y="299"/>
                    <a:pt x="135" y="300"/>
                    <a:pt x="138" y="300"/>
                  </a:cubicBezTo>
                  <a:cubicBezTo>
                    <a:pt x="141" y="300"/>
                    <a:pt x="143" y="299"/>
                    <a:pt x="145" y="297"/>
                  </a:cubicBezTo>
                  <a:cubicBezTo>
                    <a:pt x="242" y="200"/>
                    <a:pt x="242" y="200"/>
                    <a:pt x="242" y="200"/>
                  </a:cubicBezTo>
                  <a:cubicBezTo>
                    <a:pt x="244" y="198"/>
                    <a:pt x="245" y="196"/>
                    <a:pt x="245" y="193"/>
                  </a:cubicBezTo>
                  <a:lnTo>
                    <a:pt x="245" y="86"/>
                  </a:lnTo>
                  <a:close/>
                  <a:moveTo>
                    <a:pt x="224" y="188"/>
                  </a:moveTo>
                  <a:cubicBezTo>
                    <a:pt x="138" y="274"/>
                    <a:pt x="138" y="274"/>
                    <a:pt x="138" y="274"/>
                  </a:cubicBezTo>
                  <a:cubicBezTo>
                    <a:pt x="25" y="162"/>
                    <a:pt x="25" y="162"/>
                    <a:pt x="25" y="162"/>
                  </a:cubicBezTo>
                  <a:cubicBezTo>
                    <a:pt x="160" y="27"/>
                    <a:pt x="160" y="27"/>
                    <a:pt x="160" y="27"/>
                  </a:cubicBezTo>
                  <a:cubicBezTo>
                    <a:pt x="224" y="90"/>
                    <a:pt x="224" y="90"/>
                    <a:pt x="224" y="90"/>
                  </a:cubicBezTo>
                  <a:lnTo>
                    <a:pt x="224"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9" name="Freeform 288">
              <a:extLst>
                <a:ext uri="{FF2B5EF4-FFF2-40B4-BE49-F238E27FC236}">
                  <a16:creationId xmlns:a16="http://schemas.microsoft.com/office/drawing/2014/main" id="{592B9D93-5EE0-45C3-918E-C2A1042C2682}"/>
                </a:ext>
              </a:extLst>
            </p:cNvPr>
            <p:cNvSpPr>
              <a:spLocks/>
            </p:cNvSpPr>
            <p:nvPr/>
          </p:nvSpPr>
          <p:spPr bwMode="auto">
            <a:xfrm>
              <a:off x="6820" y="923"/>
              <a:ext cx="15" cy="42"/>
            </a:xfrm>
            <a:custGeom>
              <a:avLst/>
              <a:gdLst>
                <a:gd name="T0" fmla="*/ 11 w 22"/>
                <a:gd name="T1" fmla="*/ 64 h 64"/>
                <a:gd name="T2" fmla="*/ 22 w 22"/>
                <a:gd name="T3" fmla="*/ 54 h 64"/>
                <a:gd name="T4" fmla="*/ 22 w 22"/>
                <a:gd name="T5" fmla="*/ 11 h 64"/>
                <a:gd name="T6" fmla="*/ 11 w 22"/>
                <a:gd name="T7" fmla="*/ 0 h 64"/>
                <a:gd name="T8" fmla="*/ 0 w 22"/>
                <a:gd name="T9" fmla="*/ 11 h 64"/>
                <a:gd name="T10" fmla="*/ 0 w 22"/>
                <a:gd name="T11" fmla="*/ 54 h 64"/>
                <a:gd name="T12" fmla="*/ 11 w 22"/>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22" h="64">
                  <a:moveTo>
                    <a:pt x="11" y="64"/>
                  </a:moveTo>
                  <a:cubicBezTo>
                    <a:pt x="17" y="64"/>
                    <a:pt x="22" y="60"/>
                    <a:pt x="22" y="54"/>
                  </a:cubicBezTo>
                  <a:cubicBezTo>
                    <a:pt x="22" y="11"/>
                    <a:pt x="22" y="11"/>
                    <a:pt x="22" y="11"/>
                  </a:cubicBezTo>
                  <a:cubicBezTo>
                    <a:pt x="22" y="5"/>
                    <a:pt x="17" y="0"/>
                    <a:pt x="11" y="0"/>
                  </a:cubicBezTo>
                  <a:cubicBezTo>
                    <a:pt x="5" y="0"/>
                    <a:pt x="0" y="5"/>
                    <a:pt x="0" y="11"/>
                  </a:cubicBezTo>
                  <a:cubicBezTo>
                    <a:pt x="0" y="54"/>
                    <a:pt x="0" y="54"/>
                    <a:pt x="0" y="54"/>
                  </a:cubicBezTo>
                  <a:cubicBezTo>
                    <a:pt x="0" y="60"/>
                    <a:pt x="5" y="64"/>
                    <a:pt x="1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90" name="Group 883">
            <a:extLst>
              <a:ext uri="{FF2B5EF4-FFF2-40B4-BE49-F238E27FC236}">
                <a16:creationId xmlns:a16="http://schemas.microsoft.com/office/drawing/2014/main" id="{92A25605-49C1-47A0-84E3-F242A0D1597B}"/>
              </a:ext>
            </a:extLst>
          </p:cNvPr>
          <p:cNvGrpSpPr>
            <a:grpSpLocks noChangeAspect="1"/>
          </p:cNvGrpSpPr>
          <p:nvPr/>
        </p:nvGrpSpPr>
        <p:grpSpPr bwMode="auto">
          <a:xfrm>
            <a:off x="11359130" y="2529747"/>
            <a:ext cx="370106" cy="369021"/>
            <a:chOff x="5070" y="3459"/>
            <a:chExt cx="341" cy="340"/>
          </a:xfrm>
          <a:solidFill>
            <a:schemeClr val="accent4"/>
          </a:solidFill>
        </p:grpSpPr>
        <p:sp>
          <p:nvSpPr>
            <p:cNvPr id="491" name="Freeform 884">
              <a:extLst>
                <a:ext uri="{FF2B5EF4-FFF2-40B4-BE49-F238E27FC236}">
                  <a16:creationId xmlns:a16="http://schemas.microsoft.com/office/drawing/2014/main" id="{D941FE40-9FDE-426F-8D8F-7CA917361DB2}"/>
                </a:ext>
              </a:extLst>
            </p:cNvPr>
            <p:cNvSpPr>
              <a:spLocks noEditPoints="1"/>
            </p:cNvSpPr>
            <p:nvPr/>
          </p:nvSpPr>
          <p:spPr bwMode="auto">
            <a:xfrm>
              <a:off x="5070" y="345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2" name="Freeform 885">
              <a:extLst>
                <a:ext uri="{FF2B5EF4-FFF2-40B4-BE49-F238E27FC236}">
                  <a16:creationId xmlns:a16="http://schemas.microsoft.com/office/drawing/2014/main" id="{39E53408-C61F-492B-9360-053A0F8C8A28}"/>
                </a:ext>
              </a:extLst>
            </p:cNvPr>
            <p:cNvSpPr>
              <a:spLocks noEditPoints="1"/>
            </p:cNvSpPr>
            <p:nvPr/>
          </p:nvSpPr>
          <p:spPr bwMode="auto">
            <a:xfrm>
              <a:off x="5155" y="3529"/>
              <a:ext cx="171" cy="206"/>
            </a:xfrm>
            <a:custGeom>
              <a:avLst/>
              <a:gdLst>
                <a:gd name="T0" fmla="*/ 234 w 256"/>
                <a:gd name="T1" fmla="*/ 171 h 310"/>
                <a:gd name="T2" fmla="*/ 208 w 256"/>
                <a:gd name="T3" fmla="*/ 160 h 310"/>
                <a:gd name="T4" fmla="*/ 200 w 256"/>
                <a:gd name="T5" fmla="*/ 133 h 310"/>
                <a:gd name="T6" fmla="*/ 96 w 256"/>
                <a:gd name="T7" fmla="*/ 107 h 310"/>
                <a:gd name="T8" fmla="*/ 53 w 256"/>
                <a:gd name="T9" fmla="*/ 136 h 310"/>
                <a:gd name="T10" fmla="*/ 32 w 256"/>
                <a:gd name="T11" fmla="*/ 160 h 310"/>
                <a:gd name="T12" fmla="*/ 25 w 256"/>
                <a:gd name="T13" fmla="*/ 179 h 310"/>
                <a:gd name="T14" fmla="*/ 0 w 256"/>
                <a:gd name="T15" fmla="*/ 245 h 310"/>
                <a:gd name="T16" fmla="*/ 10 w 256"/>
                <a:gd name="T17" fmla="*/ 265 h 310"/>
                <a:gd name="T18" fmla="*/ 21 w 256"/>
                <a:gd name="T19" fmla="*/ 310 h 310"/>
                <a:gd name="T20" fmla="*/ 74 w 256"/>
                <a:gd name="T21" fmla="*/ 299 h 310"/>
                <a:gd name="T22" fmla="*/ 128 w 256"/>
                <a:gd name="T23" fmla="*/ 288 h 310"/>
                <a:gd name="T24" fmla="*/ 181 w 256"/>
                <a:gd name="T25" fmla="*/ 299 h 310"/>
                <a:gd name="T26" fmla="*/ 234 w 256"/>
                <a:gd name="T27" fmla="*/ 310 h 310"/>
                <a:gd name="T28" fmla="*/ 245 w 256"/>
                <a:gd name="T29" fmla="*/ 265 h 310"/>
                <a:gd name="T30" fmla="*/ 256 w 256"/>
                <a:gd name="T31" fmla="*/ 245 h 310"/>
                <a:gd name="T32" fmla="*/ 230 w 256"/>
                <a:gd name="T33" fmla="*/ 179 h 310"/>
                <a:gd name="T34" fmla="*/ 160 w 256"/>
                <a:gd name="T35" fmla="*/ 128 h 310"/>
                <a:gd name="T36" fmla="*/ 189 w 256"/>
                <a:gd name="T37" fmla="*/ 171 h 310"/>
                <a:gd name="T38" fmla="*/ 73 w 256"/>
                <a:gd name="T39" fmla="*/ 144 h 310"/>
                <a:gd name="T40" fmla="*/ 53 w 256"/>
                <a:gd name="T41" fmla="*/ 288 h 310"/>
                <a:gd name="T42" fmla="*/ 32 w 256"/>
                <a:gd name="T43" fmla="*/ 277 h 310"/>
                <a:gd name="T44" fmla="*/ 53 w 256"/>
                <a:gd name="T45" fmla="*/ 288 h 310"/>
                <a:gd name="T46" fmla="*/ 21 w 256"/>
                <a:gd name="T47" fmla="*/ 224 h 310"/>
                <a:gd name="T48" fmla="*/ 202 w 256"/>
                <a:gd name="T49" fmla="*/ 192 h 310"/>
                <a:gd name="T50" fmla="*/ 234 w 256"/>
                <a:gd name="T51" fmla="*/ 245 h 310"/>
                <a:gd name="T52" fmla="*/ 21 w 256"/>
                <a:gd name="T53" fmla="*/ 245 h 310"/>
                <a:gd name="T54" fmla="*/ 202 w 256"/>
                <a:gd name="T55" fmla="*/ 288 h 310"/>
                <a:gd name="T56" fmla="*/ 224 w 256"/>
                <a:gd name="T57" fmla="*/ 277 h 310"/>
                <a:gd name="T58" fmla="*/ 160 w 256"/>
                <a:gd name="T59" fmla="*/ 224 h 310"/>
                <a:gd name="T60" fmla="*/ 106 w 256"/>
                <a:gd name="T61" fmla="*/ 235 h 310"/>
                <a:gd name="T62" fmla="*/ 106 w 256"/>
                <a:gd name="T63" fmla="*/ 214 h 310"/>
                <a:gd name="T64" fmla="*/ 160 w 256"/>
                <a:gd name="T65" fmla="*/ 224 h 310"/>
                <a:gd name="T66" fmla="*/ 57 w 256"/>
                <a:gd name="T67" fmla="*/ 239 h 310"/>
                <a:gd name="T68" fmla="*/ 57 w 256"/>
                <a:gd name="T69" fmla="*/ 218 h 310"/>
                <a:gd name="T70" fmla="*/ 208 w 256"/>
                <a:gd name="T71" fmla="*/ 228 h 310"/>
                <a:gd name="T72" fmla="*/ 188 w 256"/>
                <a:gd name="T73" fmla="*/ 228 h 310"/>
                <a:gd name="T74" fmla="*/ 208 w 256"/>
                <a:gd name="T75" fmla="*/ 228 h 310"/>
                <a:gd name="T76" fmla="*/ 13 w 256"/>
                <a:gd name="T77" fmla="*/ 55 h 310"/>
                <a:gd name="T78" fmla="*/ 242 w 256"/>
                <a:gd name="T79" fmla="*/ 55 h 310"/>
                <a:gd name="T80" fmla="*/ 226 w 256"/>
                <a:gd name="T81" fmla="*/ 69 h 310"/>
                <a:gd name="T82" fmla="*/ 29 w 256"/>
                <a:gd name="T83" fmla="*/ 69 h 310"/>
                <a:gd name="T84" fmla="*/ 14 w 256"/>
                <a:gd name="T85" fmla="*/ 70 h 310"/>
                <a:gd name="T86" fmla="*/ 211 w 256"/>
                <a:gd name="T87" fmla="*/ 104 h 310"/>
                <a:gd name="T88" fmla="*/ 128 w 256"/>
                <a:gd name="T89" fmla="*/ 70 h 310"/>
                <a:gd name="T90" fmla="*/ 51 w 256"/>
                <a:gd name="T91" fmla="*/ 107 h 310"/>
                <a:gd name="T92" fmla="*/ 43 w 256"/>
                <a:gd name="T93" fmla="*/ 89 h 310"/>
                <a:gd name="T94" fmla="*/ 212 w 256"/>
                <a:gd name="T95" fmla="*/ 8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310">
                  <a:moveTo>
                    <a:pt x="230" y="179"/>
                  </a:moveTo>
                  <a:cubicBezTo>
                    <a:pt x="233" y="177"/>
                    <a:pt x="234" y="175"/>
                    <a:pt x="234" y="171"/>
                  </a:cubicBezTo>
                  <a:cubicBezTo>
                    <a:pt x="234" y="165"/>
                    <a:pt x="230" y="160"/>
                    <a:pt x="224" y="160"/>
                  </a:cubicBezTo>
                  <a:cubicBezTo>
                    <a:pt x="208" y="160"/>
                    <a:pt x="208" y="160"/>
                    <a:pt x="208" y="160"/>
                  </a:cubicBezTo>
                  <a:cubicBezTo>
                    <a:pt x="202" y="136"/>
                    <a:pt x="202" y="136"/>
                    <a:pt x="202" y="136"/>
                  </a:cubicBezTo>
                  <a:cubicBezTo>
                    <a:pt x="202" y="135"/>
                    <a:pt x="201" y="134"/>
                    <a:pt x="200" y="133"/>
                  </a:cubicBezTo>
                  <a:cubicBezTo>
                    <a:pt x="198" y="130"/>
                    <a:pt x="180" y="107"/>
                    <a:pt x="160" y="107"/>
                  </a:cubicBezTo>
                  <a:cubicBezTo>
                    <a:pt x="96" y="107"/>
                    <a:pt x="96" y="107"/>
                    <a:pt x="96" y="107"/>
                  </a:cubicBezTo>
                  <a:cubicBezTo>
                    <a:pt x="75" y="107"/>
                    <a:pt x="57" y="130"/>
                    <a:pt x="55" y="133"/>
                  </a:cubicBezTo>
                  <a:cubicBezTo>
                    <a:pt x="54" y="134"/>
                    <a:pt x="54" y="135"/>
                    <a:pt x="53" y="136"/>
                  </a:cubicBezTo>
                  <a:cubicBezTo>
                    <a:pt x="47" y="160"/>
                    <a:pt x="47" y="160"/>
                    <a:pt x="47" y="160"/>
                  </a:cubicBezTo>
                  <a:cubicBezTo>
                    <a:pt x="32" y="160"/>
                    <a:pt x="32" y="160"/>
                    <a:pt x="32" y="160"/>
                  </a:cubicBezTo>
                  <a:cubicBezTo>
                    <a:pt x="26" y="160"/>
                    <a:pt x="21" y="165"/>
                    <a:pt x="21" y="171"/>
                  </a:cubicBezTo>
                  <a:cubicBezTo>
                    <a:pt x="21" y="175"/>
                    <a:pt x="23" y="177"/>
                    <a:pt x="25" y="179"/>
                  </a:cubicBezTo>
                  <a:cubicBezTo>
                    <a:pt x="10" y="189"/>
                    <a:pt x="0" y="206"/>
                    <a:pt x="0" y="224"/>
                  </a:cubicBezTo>
                  <a:cubicBezTo>
                    <a:pt x="0" y="245"/>
                    <a:pt x="0" y="245"/>
                    <a:pt x="0" y="245"/>
                  </a:cubicBezTo>
                  <a:cubicBezTo>
                    <a:pt x="0" y="248"/>
                    <a:pt x="0" y="255"/>
                    <a:pt x="6" y="262"/>
                  </a:cubicBezTo>
                  <a:cubicBezTo>
                    <a:pt x="8" y="263"/>
                    <a:pt x="9" y="264"/>
                    <a:pt x="10" y="265"/>
                  </a:cubicBezTo>
                  <a:cubicBezTo>
                    <a:pt x="10" y="299"/>
                    <a:pt x="10" y="299"/>
                    <a:pt x="10" y="299"/>
                  </a:cubicBezTo>
                  <a:cubicBezTo>
                    <a:pt x="10" y="305"/>
                    <a:pt x="15" y="310"/>
                    <a:pt x="21" y="310"/>
                  </a:cubicBezTo>
                  <a:cubicBezTo>
                    <a:pt x="64" y="310"/>
                    <a:pt x="64" y="310"/>
                    <a:pt x="64" y="310"/>
                  </a:cubicBezTo>
                  <a:cubicBezTo>
                    <a:pt x="70" y="310"/>
                    <a:pt x="74" y="305"/>
                    <a:pt x="74" y="299"/>
                  </a:cubicBezTo>
                  <a:cubicBezTo>
                    <a:pt x="74" y="286"/>
                    <a:pt x="74" y="286"/>
                    <a:pt x="74" y="286"/>
                  </a:cubicBezTo>
                  <a:cubicBezTo>
                    <a:pt x="90" y="287"/>
                    <a:pt x="107" y="288"/>
                    <a:pt x="128" y="288"/>
                  </a:cubicBezTo>
                  <a:cubicBezTo>
                    <a:pt x="148" y="288"/>
                    <a:pt x="165" y="287"/>
                    <a:pt x="181" y="286"/>
                  </a:cubicBezTo>
                  <a:cubicBezTo>
                    <a:pt x="181" y="299"/>
                    <a:pt x="181" y="299"/>
                    <a:pt x="181" y="299"/>
                  </a:cubicBezTo>
                  <a:cubicBezTo>
                    <a:pt x="181" y="305"/>
                    <a:pt x="186" y="310"/>
                    <a:pt x="192" y="310"/>
                  </a:cubicBezTo>
                  <a:cubicBezTo>
                    <a:pt x="234" y="310"/>
                    <a:pt x="234" y="310"/>
                    <a:pt x="234" y="310"/>
                  </a:cubicBezTo>
                  <a:cubicBezTo>
                    <a:pt x="240" y="310"/>
                    <a:pt x="245" y="305"/>
                    <a:pt x="245" y="299"/>
                  </a:cubicBezTo>
                  <a:cubicBezTo>
                    <a:pt x="245" y="265"/>
                    <a:pt x="245" y="265"/>
                    <a:pt x="245" y="265"/>
                  </a:cubicBezTo>
                  <a:cubicBezTo>
                    <a:pt x="246" y="264"/>
                    <a:pt x="248" y="263"/>
                    <a:pt x="249" y="262"/>
                  </a:cubicBezTo>
                  <a:cubicBezTo>
                    <a:pt x="255" y="255"/>
                    <a:pt x="256" y="248"/>
                    <a:pt x="256" y="245"/>
                  </a:cubicBezTo>
                  <a:cubicBezTo>
                    <a:pt x="256" y="224"/>
                    <a:pt x="256" y="224"/>
                    <a:pt x="256" y="224"/>
                  </a:cubicBezTo>
                  <a:cubicBezTo>
                    <a:pt x="256" y="206"/>
                    <a:pt x="245" y="189"/>
                    <a:pt x="230" y="179"/>
                  </a:cubicBezTo>
                  <a:close/>
                  <a:moveTo>
                    <a:pt x="96" y="128"/>
                  </a:moveTo>
                  <a:cubicBezTo>
                    <a:pt x="160" y="128"/>
                    <a:pt x="160" y="128"/>
                    <a:pt x="160" y="128"/>
                  </a:cubicBezTo>
                  <a:cubicBezTo>
                    <a:pt x="166" y="128"/>
                    <a:pt x="176" y="137"/>
                    <a:pt x="182" y="144"/>
                  </a:cubicBezTo>
                  <a:cubicBezTo>
                    <a:pt x="189" y="171"/>
                    <a:pt x="189" y="171"/>
                    <a:pt x="189" y="171"/>
                  </a:cubicBezTo>
                  <a:cubicBezTo>
                    <a:pt x="67" y="171"/>
                    <a:pt x="67" y="171"/>
                    <a:pt x="67" y="171"/>
                  </a:cubicBezTo>
                  <a:cubicBezTo>
                    <a:pt x="73" y="144"/>
                    <a:pt x="73" y="144"/>
                    <a:pt x="73" y="144"/>
                  </a:cubicBezTo>
                  <a:cubicBezTo>
                    <a:pt x="79" y="137"/>
                    <a:pt x="89" y="128"/>
                    <a:pt x="96" y="128"/>
                  </a:cubicBezTo>
                  <a:close/>
                  <a:moveTo>
                    <a:pt x="53" y="288"/>
                  </a:moveTo>
                  <a:cubicBezTo>
                    <a:pt x="32" y="288"/>
                    <a:pt x="32" y="288"/>
                    <a:pt x="32" y="288"/>
                  </a:cubicBezTo>
                  <a:cubicBezTo>
                    <a:pt x="32" y="277"/>
                    <a:pt x="32" y="277"/>
                    <a:pt x="32" y="277"/>
                  </a:cubicBezTo>
                  <a:cubicBezTo>
                    <a:pt x="38" y="279"/>
                    <a:pt x="45" y="281"/>
                    <a:pt x="53" y="282"/>
                  </a:cubicBezTo>
                  <a:lnTo>
                    <a:pt x="53" y="288"/>
                  </a:lnTo>
                  <a:close/>
                  <a:moveTo>
                    <a:pt x="21" y="245"/>
                  </a:moveTo>
                  <a:cubicBezTo>
                    <a:pt x="21" y="224"/>
                    <a:pt x="21" y="224"/>
                    <a:pt x="21" y="224"/>
                  </a:cubicBezTo>
                  <a:cubicBezTo>
                    <a:pt x="21" y="208"/>
                    <a:pt x="37" y="192"/>
                    <a:pt x="53" y="192"/>
                  </a:cubicBezTo>
                  <a:cubicBezTo>
                    <a:pt x="202" y="192"/>
                    <a:pt x="202" y="192"/>
                    <a:pt x="202" y="192"/>
                  </a:cubicBezTo>
                  <a:cubicBezTo>
                    <a:pt x="219" y="192"/>
                    <a:pt x="234" y="208"/>
                    <a:pt x="234" y="224"/>
                  </a:cubicBezTo>
                  <a:cubicBezTo>
                    <a:pt x="234" y="245"/>
                    <a:pt x="234" y="245"/>
                    <a:pt x="234" y="245"/>
                  </a:cubicBezTo>
                  <a:cubicBezTo>
                    <a:pt x="233" y="247"/>
                    <a:pt x="222" y="267"/>
                    <a:pt x="128" y="267"/>
                  </a:cubicBezTo>
                  <a:cubicBezTo>
                    <a:pt x="34" y="267"/>
                    <a:pt x="22" y="247"/>
                    <a:pt x="21" y="245"/>
                  </a:cubicBezTo>
                  <a:close/>
                  <a:moveTo>
                    <a:pt x="224" y="288"/>
                  </a:moveTo>
                  <a:cubicBezTo>
                    <a:pt x="202" y="288"/>
                    <a:pt x="202" y="288"/>
                    <a:pt x="202" y="288"/>
                  </a:cubicBezTo>
                  <a:cubicBezTo>
                    <a:pt x="202" y="282"/>
                    <a:pt x="202" y="282"/>
                    <a:pt x="202" y="282"/>
                  </a:cubicBezTo>
                  <a:cubicBezTo>
                    <a:pt x="210" y="281"/>
                    <a:pt x="217" y="279"/>
                    <a:pt x="224" y="277"/>
                  </a:cubicBezTo>
                  <a:lnTo>
                    <a:pt x="224" y="288"/>
                  </a:lnTo>
                  <a:close/>
                  <a:moveTo>
                    <a:pt x="160" y="224"/>
                  </a:moveTo>
                  <a:cubicBezTo>
                    <a:pt x="160" y="230"/>
                    <a:pt x="155" y="235"/>
                    <a:pt x="149" y="235"/>
                  </a:cubicBezTo>
                  <a:cubicBezTo>
                    <a:pt x="106" y="235"/>
                    <a:pt x="106" y="235"/>
                    <a:pt x="106" y="235"/>
                  </a:cubicBezTo>
                  <a:cubicBezTo>
                    <a:pt x="100" y="235"/>
                    <a:pt x="96" y="230"/>
                    <a:pt x="96" y="224"/>
                  </a:cubicBezTo>
                  <a:cubicBezTo>
                    <a:pt x="96" y="218"/>
                    <a:pt x="100" y="214"/>
                    <a:pt x="106" y="214"/>
                  </a:cubicBezTo>
                  <a:cubicBezTo>
                    <a:pt x="149" y="214"/>
                    <a:pt x="149" y="214"/>
                    <a:pt x="149" y="214"/>
                  </a:cubicBezTo>
                  <a:cubicBezTo>
                    <a:pt x="155" y="214"/>
                    <a:pt x="160" y="218"/>
                    <a:pt x="160" y="224"/>
                  </a:cubicBezTo>
                  <a:close/>
                  <a:moveTo>
                    <a:pt x="67" y="228"/>
                  </a:moveTo>
                  <a:cubicBezTo>
                    <a:pt x="67" y="234"/>
                    <a:pt x="63" y="239"/>
                    <a:pt x="57" y="239"/>
                  </a:cubicBezTo>
                  <a:cubicBezTo>
                    <a:pt x="52" y="239"/>
                    <a:pt x="47" y="234"/>
                    <a:pt x="47" y="228"/>
                  </a:cubicBezTo>
                  <a:cubicBezTo>
                    <a:pt x="47" y="223"/>
                    <a:pt x="52" y="218"/>
                    <a:pt x="57" y="218"/>
                  </a:cubicBezTo>
                  <a:cubicBezTo>
                    <a:pt x="63" y="218"/>
                    <a:pt x="67" y="223"/>
                    <a:pt x="67" y="228"/>
                  </a:cubicBezTo>
                  <a:close/>
                  <a:moveTo>
                    <a:pt x="208" y="228"/>
                  </a:moveTo>
                  <a:cubicBezTo>
                    <a:pt x="208" y="234"/>
                    <a:pt x="204" y="239"/>
                    <a:pt x="198" y="239"/>
                  </a:cubicBezTo>
                  <a:cubicBezTo>
                    <a:pt x="193" y="239"/>
                    <a:pt x="188" y="234"/>
                    <a:pt x="188" y="228"/>
                  </a:cubicBezTo>
                  <a:cubicBezTo>
                    <a:pt x="188" y="223"/>
                    <a:pt x="193" y="218"/>
                    <a:pt x="198" y="218"/>
                  </a:cubicBezTo>
                  <a:cubicBezTo>
                    <a:pt x="204" y="218"/>
                    <a:pt x="208" y="223"/>
                    <a:pt x="208" y="228"/>
                  </a:cubicBezTo>
                  <a:close/>
                  <a:moveTo>
                    <a:pt x="14" y="70"/>
                  </a:moveTo>
                  <a:cubicBezTo>
                    <a:pt x="10" y="66"/>
                    <a:pt x="9" y="60"/>
                    <a:pt x="13" y="55"/>
                  </a:cubicBezTo>
                  <a:cubicBezTo>
                    <a:pt x="43" y="20"/>
                    <a:pt x="84" y="0"/>
                    <a:pt x="128" y="0"/>
                  </a:cubicBezTo>
                  <a:cubicBezTo>
                    <a:pt x="171" y="0"/>
                    <a:pt x="212" y="20"/>
                    <a:pt x="242" y="55"/>
                  </a:cubicBezTo>
                  <a:cubicBezTo>
                    <a:pt x="246" y="60"/>
                    <a:pt x="246" y="66"/>
                    <a:pt x="241" y="70"/>
                  </a:cubicBezTo>
                  <a:cubicBezTo>
                    <a:pt x="237" y="74"/>
                    <a:pt x="230" y="74"/>
                    <a:pt x="226" y="69"/>
                  </a:cubicBezTo>
                  <a:cubicBezTo>
                    <a:pt x="200" y="39"/>
                    <a:pt x="165" y="22"/>
                    <a:pt x="128" y="22"/>
                  </a:cubicBezTo>
                  <a:cubicBezTo>
                    <a:pt x="90" y="22"/>
                    <a:pt x="55" y="39"/>
                    <a:pt x="29" y="69"/>
                  </a:cubicBezTo>
                  <a:cubicBezTo>
                    <a:pt x="27" y="72"/>
                    <a:pt x="24" y="73"/>
                    <a:pt x="21" y="73"/>
                  </a:cubicBezTo>
                  <a:cubicBezTo>
                    <a:pt x="19" y="73"/>
                    <a:pt x="16" y="72"/>
                    <a:pt x="14" y="70"/>
                  </a:cubicBezTo>
                  <a:close/>
                  <a:moveTo>
                    <a:pt x="212" y="89"/>
                  </a:moveTo>
                  <a:cubicBezTo>
                    <a:pt x="216" y="94"/>
                    <a:pt x="215" y="101"/>
                    <a:pt x="211" y="104"/>
                  </a:cubicBezTo>
                  <a:cubicBezTo>
                    <a:pt x="206" y="108"/>
                    <a:pt x="200" y="108"/>
                    <a:pt x="196" y="103"/>
                  </a:cubicBezTo>
                  <a:cubicBezTo>
                    <a:pt x="178" y="82"/>
                    <a:pt x="153" y="70"/>
                    <a:pt x="128" y="70"/>
                  </a:cubicBezTo>
                  <a:cubicBezTo>
                    <a:pt x="102" y="70"/>
                    <a:pt x="78" y="82"/>
                    <a:pt x="60" y="103"/>
                  </a:cubicBezTo>
                  <a:cubicBezTo>
                    <a:pt x="57" y="106"/>
                    <a:pt x="54" y="107"/>
                    <a:pt x="51" y="107"/>
                  </a:cubicBezTo>
                  <a:cubicBezTo>
                    <a:pt x="49" y="107"/>
                    <a:pt x="47" y="106"/>
                    <a:pt x="45" y="104"/>
                  </a:cubicBezTo>
                  <a:cubicBezTo>
                    <a:pt x="40" y="101"/>
                    <a:pt x="40" y="94"/>
                    <a:pt x="43" y="89"/>
                  </a:cubicBezTo>
                  <a:cubicBezTo>
                    <a:pt x="66" y="63"/>
                    <a:pt x="96" y="49"/>
                    <a:pt x="128" y="49"/>
                  </a:cubicBezTo>
                  <a:cubicBezTo>
                    <a:pt x="160" y="49"/>
                    <a:pt x="190" y="63"/>
                    <a:pt x="212"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3" name="Freeform 889">
            <a:extLst>
              <a:ext uri="{FF2B5EF4-FFF2-40B4-BE49-F238E27FC236}">
                <a16:creationId xmlns:a16="http://schemas.microsoft.com/office/drawing/2014/main" id="{555E4B7E-92AA-4EF5-A31D-ECE2DA3795C7}"/>
              </a:ext>
            </a:extLst>
          </p:cNvPr>
          <p:cNvSpPr>
            <a:spLocks noChangeAspect="1" noEditPoints="1"/>
          </p:cNvSpPr>
          <p:nvPr/>
        </p:nvSpPr>
        <p:spPr bwMode="auto">
          <a:xfrm>
            <a:off x="10922912" y="2529747"/>
            <a:ext cx="369021" cy="369021"/>
          </a:xfrm>
          <a:custGeom>
            <a:avLst/>
            <a:gdLst>
              <a:gd name="T0" fmla="*/ 181 w 512"/>
              <a:gd name="T1" fmla="*/ 388 h 512"/>
              <a:gd name="T2" fmla="*/ 160 w 512"/>
              <a:gd name="T3" fmla="*/ 394 h 512"/>
              <a:gd name="T4" fmla="*/ 310 w 512"/>
              <a:gd name="T5" fmla="*/ 250 h 512"/>
              <a:gd name="T6" fmla="*/ 224 w 512"/>
              <a:gd name="T7" fmla="*/ 234 h 512"/>
              <a:gd name="T8" fmla="*/ 195 w 512"/>
              <a:gd name="T9" fmla="*/ 277 h 512"/>
              <a:gd name="T10" fmla="*/ 310 w 512"/>
              <a:gd name="T11" fmla="*/ 250 h 512"/>
              <a:gd name="T12" fmla="*/ 352 w 512"/>
              <a:gd name="T13" fmla="*/ 394 h 512"/>
              <a:gd name="T14" fmla="*/ 330 w 512"/>
              <a:gd name="T15" fmla="*/ 388 h 512"/>
              <a:gd name="T16" fmla="*/ 362 w 512"/>
              <a:gd name="T17" fmla="*/ 330 h 512"/>
              <a:gd name="T18" fmla="*/ 256 w 512"/>
              <a:gd name="T19" fmla="*/ 373 h 512"/>
              <a:gd name="T20" fmla="*/ 149 w 512"/>
              <a:gd name="T21" fmla="*/ 330 h 512"/>
              <a:gd name="T22" fmla="*/ 330 w 512"/>
              <a:gd name="T23" fmla="*/ 298 h 512"/>
              <a:gd name="T24" fmla="*/ 195 w 512"/>
              <a:gd name="T25" fmla="*/ 334 h 512"/>
              <a:gd name="T26" fmla="*/ 175 w 512"/>
              <a:gd name="T27" fmla="*/ 334 h 512"/>
              <a:gd name="T28" fmla="*/ 195 w 512"/>
              <a:gd name="T29" fmla="*/ 334 h 512"/>
              <a:gd name="T30" fmla="*/ 277 w 512"/>
              <a:gd name="T31" fmla="*/ 320 h 512"/>
              <a:gd name="T32" fmla="*/ 224 w 512"/>
              <a:gd name="T33" fmla="*/ 330 h 512"/>
              <a:gd name="T34" fmla="*/ 277 w 512"/>
              <a:gd name="T35" fmla="*/ 341 h 512"/>
              <a:gd name="T36" fmla="*/ 336 w 512"/>
              <a:gd name="T37" fmla="*/ 334 h 512"/>
              <a:gd name="T38" fmla="*/ 316 w 512"/>
              <a:gd name="T39" fmla="*/ 334 h 512"/>
              <a:gd name="T40" fmla="*/ 336 w 512"/>
              <a:gd name="T41" fmla="*/ 334 h 512"/>
              <a:gd name="T42" fmla="*/ 256 w 512"/>
              <a:gd name="T43" fmla="*/ 512 h 512"/>
              <a:gd name="T44" fmla="*/ 256 w 512"/>
              <a:gd name="T45" fmla="*/ 0 h 512"/>
              <a:gd name="T46" fmla="*/ 142 w 512"/>
              <a:gd name="T47" fmla="*/ 176 h 512"/>
              <a:gd name="T48" fmla="*/ 157 w 512"/>
              <a:gd name="T49" fmla="*/ 175 h 512"/>
              <a:gd name="T50" fmla="*/ 354 w 512"/>
              <a:gd name="T51" fmla="*/ 175 h 512"/>
              <a:gd name="T52" fmla="*/ 370 w 512"/>
              <a:gd name="T53" fmla="*/ 161 h 512"/>
              <a:gd name="T54" fmla="*/ 141 w 512"/>
              <a:gd name="T55" fmla="*/ 161 h 512"/>
              <a:gd name="T56" fmla="*/ 340 w 512"/>
              <a:gd name="T57" fmla="*/ 195 h 512"/>
              <a:gd name="T58" fmla="*/ 171 w 512"/>
              <a:gd name="T59" fmla="*/ 195 h 512"/>
              <a:gd name="T60" fmla="*/ 179 w 512"/>
              <a:gd name="T61" fmla="*/ 213 h 512"/>
              <a:gd name="T62" fmla="*/ 256 w 512"/>
              <a:gd name="T63" fmla="*/ 176 h 512"/>
              <a:gd name="T64" fmla="*/ 339 w 512"/>
              <a:gd name="T65" fmla="*/ 210 h 512"/>
              <a:gd name="T66" fmla="*/ 384 w 512"/>
              <a:gd name="T67" fmla="*/ 330 h 512"/>
              <a:gd name="T68" fmla="*/ 362 w 512"/>
              <a:gd name="T69" fmla="*/ 277 h 512"/>
              <a:gd name="T70" fmla="*/ 336 w 512"/>
              <a:gd name="T71" fmla="*/ 266 h 512"/>
              <a:gd name="T72" fmla="*/ 328 w 512"/>
              <a:gd name="T73" fmla="*/ 239 h 512"/>
              <a:gd name="T74" fmla="*/ 224 w 512"/>
              <a:gd name="T75" fmla="*/ 213 h 512"/>
              <a:gd name="T76" fmla="*/ 181 w 512"/>
              <a:gd name="T77" fmla="*/ 242 h 512"/>
              <a:gd name="T78" fmla="*/ 160 w 512"/>
              <a:gd name="T79" fmla="*/ 266 h 512"/>
              <a:gd name="T80" fmla="*/ 153 w 512"/>
              <a:gd name="T81" fmla="*/ 285 h 512"/>
              <a:gd name="T82" fmla="*/ 128 w 512"/>
              <a:gd name="T83" fmla="*/ 351 h 512"/>
              <a:gd name="T84" fmla="*/ 138 w 512"/>
              <a:gd name="T85" fmla="*/ 371 h 512"/>
              <a:gd name="T86" fmla="*/ 149 w 512"/>
              <a:gd name="T87" fmla="*/ 416 h 512"/>
              <a:gd name="T88" fmla="*/ 202 w 512"/>
              <a:gd name="T89" fmla="*/ 405 h 512"/>
              <a:gd name="T90" fmla="*/ 256 w 512"/>
              <a:gd name="T91" fmla="*/ 394 h 512"/>
              <a:gd name="T92" fmla="*/ 309 w 512"/>
              <a:gd name="T93" fmla="*/ 405 h 512"/>
              <a:gd name="T94" fmla="*/ 362 w 512"/>
              <a:gd name="T95" fmla="*/ 416 h 512"/>
              <a:gd name="T96" fmla="*/ 373 w 512"/>
              <a:gd name="T97" fmla="*/ 371 h 512"/>
              <a:gd name="T98" fmla="*/ 384 w 512"/>
              <a:gd name="T99"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160" y="383"/>
                </a:moveTo>
                <a:cubicBezTo>
                  <a:pt x="166" y="385"/>
                  <a:pt x="173" y="387"/>
                  <a:pt x="181" y="388"/>
                </a:cubicBezTo>
                <a:cubicBezTo>
                  <a:pt x="181" y="394"/>
                  <a:pt x="181" y="394"/>
                  <a:pt x="181" y="394"/>
                </a:cubicBezTo>
                <a:cubicBezTo>
                  <a:pt x="160" y="394"/>
                  <a:pt x="160" y="394"/>
                  <a:pt x="160" y="394"/>
                </a:cubicBezTo>
                <a:lnTo>
                  <a:pt x="160" y="383"/>
                </a:lnTo>
                <a:close/>
                <a:moveTo>
                  <a:pt x="310" y="250"/>
                </a:moveTo>
                <a:cubicBezTo>
                  <a:pt x="304" y="243"/>
                  <a:pt x="294" y="234"/>
                  <a:pt x="288" y="234"/>
                </a:cubicBezTo>
                <a:cubicBezTo>
                  <a:pt x="224" y="234"/>
                  <a:pt x="224" y="234"/>
                  <a:pt x="224" y="234"/>
                </a:cubicBezTo>
                <a:cubicBezTo>
                  <a:pt x="217" y="234"/>
                  <a:pt x="207" y="243"/>
                  <a:pt x="201" y="250"/>
                </a:cubicBezTo>
                <a:cubicBezTo>
                  <a:pt x="195" y="277"/>
                  <a:pt x="195" y="277"/>
                  <a:pt x="195" y="277"/>
                </a:cubicBezTo>
                <a:cubicBezTo>
                  <a:pt x="317" y="277"/>
                  <a:pt x="317" y="277"/>
                  <a:pt x="317" y="277"/>
                </a:cubicBezTo>
                <a:lnTo>
                  <a:pt x="310" y="250"/>
                </a:lnTo>
                <a:close/>
                <a:moveTo>
                  <a:pt x="330" y="394"/>
                </a:moveTo>
                <a:cubicBezTo>
                  <a:pt x="352" y="394"/>
                  <a:pt x="352" y="394"/>
                  <a:pt x="352" y="394"/>
                </a:cubicBezTo>
                <a:cubicBezTo>
                  <a:pt x="352" y="383"/>
                  <a:pt x="352" y="383"/>
                  <a:pt x="352" y="383"/>
                </a:cubicBezTo>
                <a:cubicBezTo>
                  <a:pt x="345" y="385"/>
                  <a:pt x="338" y="387"/>
                  <a:pt x="330" y="388"/>
                </a:cubicBezTo>
                <a:lnTo>
                  <a:pt x="330" y="394"/>
                </a:lnTo>
                <a:close/>
                <a:moveTo>
                  <a:pt x="362" y="330"/>
                </a:moveTo>
                <a:cubicBezTo>
                  <a:pt x="362" y="351"/>
                  <a:pt x="362" y="351"/>
                  <a:pt x="362" y="351"/>
                </a:cubicBezTo>
                <a:cubicBezTo>
                  <a:pt x="361" y="353"/>
                  <a:pt x="350" y="373"/>
                  <a:pt x="256" y="373"/>
                </a:cubicBezTo>
                <a:cubicBezTo>
                  <a:pt x="162" y="373"/>
                  <a:pt x="150" y="353"/>
                  <a:pt x="149" y="351"/>
                </a:cubicBezTo>
                <a:cubicBezTo>
                  <a:pt x="149" y="330"/>
                  <a:pt x="149" y="330"/>
                  <a:pt x="149" y="330"/>
                </a:cubicBezTo>
                <a:cubicBezTo>
                  <a:pt x="149" y="314"/>
                  <a:pt x="165" y="298"/>
                  <a:pt x="181" y="298"/>
                </a:cubicBezTo>
                <a:cubicBezTo>
                  <a:pt x="330" y="298"/>
                  <a:pt x="330" y="298"/>
                  <a:pt x="330" y="298"/>
                </a:cubicBezTo>
                <a:cubicBezTo>
                  <a:pt x="347" y="298"/>
                  <a:pt x="362" y="314"/>
                  <a:pt x="362" y="330"/>
                </a:cubicBezTo>
                <a:close/>
                <a:moveTo>
                  <a:pt x="195" y="334"/>
                </a:moveTo>
                <a:cubicBezTo>
                  <a:pt x="195" y="329"/>
                  <a:pt x="191" y="324"/>
                  <a:pt x="185" y="324"/>
                </a:cubicBezTo>
                <a:cubicBezTo>
                  <a:pt x="180" y="324"/>
                  <a:pt x="175" y="329"/>
                  <a:pt x="175" y="334"/>
                </a:cubicBezTo>
                <a:cubicBezTo>
                  <a:pt x="175" y="340"/>
                  <a:pt x="180" y="345"/>
                  <a:pt x="185" y="345"/>
                </a:cubicBezTo>
                <a:cubicBezTo>
                  <a:pt x="191" y="345"/>
                  <a:pt x="195" y="340"/>
                  <a:pt x="195" y="334"/>
                </a:cubicBezTo>
                <a:close/>
                <a:moveTo>
                  <a:pt x="288" y="330"/>
                </a:moveTo>
                <a:cubicBezTo>
                  <a:pt x="288" y="324"/>
                  <a:pt x="283" y="320"/>
                  <a:pt x="277" y="320"/>
                </a:cubicBezTo>
                <a:cubicBezTo>
                  <a:pt x="234" y="320"/>
                  <a:pt x="234" y="320"/>
                  <a:pt x="234" y="320"/>
                </a:cubicBezTo>
                <a:cubicBezTo>
                  <a:pt x="228" y="320"/>
                  <a:pt x="224" y="324"/>
                  <a:pt x="224" y="330"/>
                </a:cubicBezTo>
                <a:cubicBezTo>
                  <a:pt x="224" y="336"/>
                  <a:pt x="228" y="341"/>
                  <a:pt x="234" y="341"/>
                </a:cubicBezTo>
                <a:cubicBezTo>
                  <a:pt x="277" y="341"/>
                  <a:pt x="277" y="341"/>
                  <a:pt x="277" y="341"/>
                </a:cubicBezTo>
                <a:cubicBezTo>
                  <a:pt x="283" y="341"/>
                  <a:pt x="288" y="336"/>
                  <a:pt x="288" y="330"/>
                </a:cubicBezTo>
                <a:close/>
                <a:moveTo>
                  <a:pt x="336" y="334"/>
                </a:moveTo>
                <a:cubicBezTo>
                  <a:pt x="336" y="329"/>
                  <a:pt x="332" y="324"/>
                  <a:pt x="326" y="324"/>
                </a:cubicBezTo>
                <a:cubicBezTo>
                  <a:pt x="321" y="324"/>
                  <a:pt x="316" y="329"/>
                  <a:pt x="316" y="334"/>
                </a:cubicBezTo>
                <a:cubicBezTo>
                  <a:pt x="316" y="340"/>
                  <a:pt x="321" y="345"/>
                  <a:pt x="326" y="345"/>
                </a:cubicBezTo>
                <a:cubicBezTo>
                  <a:pt x="332" y="345"/>
                  <a:pt x="336" y="340"/>
                  <a:pt x="336" y="3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2" y="176"/>
                </a:moveTo>
                <a:cubicBezTo>
                  <a:pt x="144" y="178"/>
                  <a:pt x="147" y="179"/>
                  <a:pt x="149" y="179"/>
                </a:cubicBezTo>
                <a:cubicBezTo>
                  <a:pt x="152" y="179"/>
                  <a:pt x="155" y="178"/>
                  <a:pt x="157" y="175"/>
                </a:cubicBezTo>
                <a:cubicBezTo>
                  <a:pt x="183" y="145"/>
                  <a:pt x="218" y="128"/>
                  <a:pt x="256" y="128"/>
                </a:cubicBezTo>
                <a:cubicBezTo>
                  <a:pt x="293" y="128"/>
                  <a:pt x="328" y="145"/>
                  <a:pt x="354" y="175"/>
                </a:cubicBezTo>
                <a:cubicBezTo>
                  <a:pt x="358" y="180"/>
                  <a:pt x="365" y="180"/>
                  <a:pt x="369" y="176"/>
                </a:cubicBezTo>
                <a:cubicBezTo>
                  <a:pt x="374" y="172"/>
                  <a:pt x="374" y="166"/>
                  <a:pt x="370" y="161"/>
                </a:cubicBezTo>
                <a:cubicBezTo>
                  <a:pt x="340" y="126"/>
                  <a:pt x="299" y="106"/>
                  <a:pt x="256" y="106"/>
                </a:cubicBezTo>
                <a:cubicBezTo>
                  <a:pt x="212" y="106"/>
                  <a:pt x="171" y="126"/>
                  <a:pt x="141" y="161"/>
                </a:cubicBezTo>
                <a:cubicBezTo>
                  <a:pt x="137" y="166"/>
                  <a:pt x="138" y="172"/>
                  <a:pt x="142" y="176"/>
                </a:cubicBezTo>
                <a:close/>
                <a:moveTo>
                  <a:pt x="340" y="195"/>
                </a:moveTo>
                <a:cubicBezTo>
                  <a:pt x="318" y="169"/>
                  <a:pt x="288" y="155"/>
                  <a:pt x="256" y="155"/>
                </a:cubicBezTo>
                <a:cubicBezTo>
                  <a:pt x="224" y="155"/>
                  <a:pt x="194" y="169"/>
                  <a:pt x="171" y="195"/>
                </a:cubicBezTo>
                <a:cubicBezTo>
                  <a:pt x="168" y="200"/>
                  <a:pt x="168" y="207"/>
                  <a:pt x="173" y="210"/>
                </a:cubicBezTo>
                <a:cubicBezTo>
                  <a:pt x="175" y="212"/>
                  <a:pt x="177" y="213"/>
                  <a:pt x="179" y="213"/>
                </a:cubicBezTo>
                <a:cubicBezTo>
                  <a:pt x="182" y="213"/>
                  <a:pt x="185" y="212"/>
                  <a:pt x="188" y="209"/>
                </a:cubicBezTo>
                <a:cubicBezTo>
                  <a:pt x="206" y="188"/>
                  <a:pt x="230" y="176"/>
                  <a:pt x="256" y="176"/>
                </a:cubicBezTo>
                <a:cubicBezTo>
                  <a:pt x="281" y="176"/>
                  <a:pt x="306" y="188"/>
                  <a:pt x="324" y="209"/>
                </a:cubicBezTo>
                <a:cubicBezTo>
                  <a:pt x="328" y="214"/>
                  <a:pt x="334" y="214"/>
                  <a:pt x="339" y="210"/>
                </a:cubicBezTo>
                <a:cubicBezTo>
                  <a:pt x="343" y="207"/>
                  <a:pt x="344" y="200"/>
                  <a:pt x="340" y="195"/>
                </a:cubicBezTo>
                <a:close/>
                <a:moveTo>
                  <a:pt x="384" y="330"/>
                </a:moveTo>
                <a:cubicBezTo>
                  <a:pt x="384" y="312"/>
                  <a:pt x="373" y="295"/>
                  <a:pt x="358" y="285"/>
                </a:cubicBezTo>
                <a:cubicBezTo>
                  <a:pt x="361" y="283"/>
                  <a:pt x="362" y="281"/>
                  <a:pt x="362" y="277"/>
                </a:cubicBezTo>
                <a:cubicBezTo>
                  <a:pt x="362" y="271"/>
                  <a:pt x="358" y="266"/>
                  <a:pt x="352" y="266"/>
                </a:cubicBezTo>
                <a:cubicBezTo>
                  <a:pt x="336" y="266"/>
                  <a:pt x="336" y="266"/>
                  <a:pt x="336" y="266"/>
                </a:cubicBezTo>
                <a:cubicBezTo>
                  <a:pt x="330" y="242"/>
                  <a:pt x="330" y="242"/>
                  <a:pt x="330" y="242"/>
                </a:cubicBezTo>
                <a:cubicBezTo>
                  <a:pt x="330" y="241"/>
                  <a:pt x="329" y="240"/>
                  <a:pt x="328" y="239"/>
                </a:cubicBezTo>
                <a:cubicBezTo>
                  <a:pt x="326" y="236"/>
                  <a:pt x="308" y="213"/>
                  <a:pt x="288" y="213"/>
                </a:cubicBezTo>
                <a:cubicBezTo>
                  <a:pt x="224" y="213"/>
                  <a:pt x="224" y="213"/>
                  <a:pt x="224" y="213"/>
                </a:cubicBezTo>
                <a:cubicBezTo>
                  <a:pt x="203" y="213"/>
                  <a:pt x="185" y="236"/>
                  <a:pt x="183" y="239"/>
                </a:cubicBezTo>
                <a:cubicBezTo>
                  <a:pt x="182" y="240"/>
                  <a:pt x="182" y="241"/>
                  <a:pt x="181" y="242"/>
                </a:cubicBezTo>
                <a:cubicBezTo>
                  <a:pt x="175" y="266"/>
                  <a:pt x="175" y="266"/>
                  <a:pt x="175" y="266"/>
                </a:cubicBezTo>
                <a:cubicBezTo>
                  <a:pt x="160" y="266"/>
                  <a:pt x="160" y="266"/>
                  <a:pt x="160" y="266"/>
                </a:cubicBezTo>
                <a:cubicBezTo>
                  <a:pt x="154" y="266"/>
                  <a:pt x="149" y="271"/>
                  <a:pt x="149" y="277"/>
                </a:cubicBezTo>
                <a:cubicBezTo>
                  <a:pt x="149" y="281"/>
                  <a:pt x="151" y="283"/>
                  <a:pt x="153" y="285"/>
                </a:cubicBezTo>
                <a:cubicBezTo>
                  <a:pt x="138" y="295"/>
                  <a:pt x="128" y="312"/>
                  <a:pt x="128" y="330"/>
                </a:cubicBezTo>
                <a:cubicBezTo>
                  <a:pt x="128" y="351"/>
                  <a:pt x="128" y="351"/>
                  <a:pt x="128" y="351"/>
                </a:cubicBezTo>
                <a:cubicBezTo>
                  <a:pt x="128" y="354"/>
                  <a:pt x="128" y="361"/>
                  <a:pt x="134" y="368"/>
                </a:cubicBezTo>
                <a:cubicBezTo>
                  <a:pt x="136" y="369"/>
                  <a:pt x="137" y="370"/>
                  <a:pt x="138" y="371"/>
                </a:cubicBezTo>
                <a:cubicBezTo>
                  <a:pt x="138" y="405"/>
                  <a:pt x="138" y="405"/>
                  <a:pt x="138" y="405"/>
                </a:cubicBezTo>
                <a:cubicBezTo>
                  <a:pt x="138" y="411"/>
                  <a:pt x="143" y="416"/>
                  <a:pt x="149" y="416"/>
                </a:cubicBezTo>
                <a:cubicBezTo>
                  <a:pt x="192" y="416"/>
                  <a:pt x="192" y="416"/>
                  <a:pt x="192" y="416"/>
                </a:cubicBezTo>
                <a:cubicBezTo>
                  <a:pt x="198" y="416"/>
                  <a:pt x="202" y="411"/>
                  <a:pt x="202" y="405"/>
                </a:cubicBezTo>
                <a:cubicBezTo>
                  <a:pt x="202" y="392"/>
                  <a:pt x="202" y="392"/>
                  <a:pt x="202" y="392"/>
                </a:cubicBezTo>
                <a:cubicBezTo>
                  <a:pt x="218" y="393"/>
                  <a:pt x="235" y="394"/>
                  <a:pt x="256" y="394"/>
                </a:cubicBezTo>
                <a:cubicBezTo>
                  <a:pt x="276" y="394"/>
                  <a:pt x="293" y="393"/>
                  <a:pt x="309" y="392"/>
                </a:cubicBezTo>
                <a:cubicBezTo>
                  <a:pt x="309" y="405"/>
                  <a:pt x="309" y="405"/>
                  <a:pt x="309" y="405"/>
                </a:cubicBezTo>
                <a:cubicBezTo>
                  <a:pt x="309" y="411"/>
                  <a:pt x="314" y="416"/>
                  <a:pt x="320" y="416"/>
                </a:cubicBezTo>
                <a:cubicBezTo>
                  <a:pt x="362" y="416"/>
                  <a:pt x="362" y="416"/>
                  <a:pt x="362" y="416"/>
                </a:cubicBezTo>
                <a:cubicBezTo>
                  <a:pt x="368" y="416"/>
                  <a:pt x="373" y="411"/>
                  <a:pt x="373" y="405"/>
                </a:cubicBezTo>
                <a:cubicBezTo>
                  <a:pt x="373" y="371"/>
                  <a:pt x="373" y="371"/>
                  <a:pt x="373" y="371"/>
                </a:cubicBezTo>
                <a:cubicBezTo>
                  <a:pt x="374" y="370"/>
                  <a:pt x="376" y="369"/>
                  <a:pt x="377" y="368"/>
                </a:cubicBezTo>
                <a:cubicBezTo>
                  <a:pt x="383" y="361"/>
                  <a:pt x="384" y="354"/>
                  <a:pt x="384" y="351"/>
                </a:cubicBezTo>
                <a:lnTo>
                  <a:pt x="384" y="33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4" name="Group 890">
            <a:extLst>
              <a:ext uri="{FF2B5EF4-FFF2-40B4-BE49-F238E27FC236}">
                <a16:creationId xmlns:a16="http://schemas.microsoft.com/office/drawing/2014/main" id="{53CA6899-F43F-42C5-82E5-131BD065124E}"/>
              </a:ext>
            </a:extLst>
          </p:cNvPr>
          <p:cNvGrpSpPr>
            <a:grpSpLocks noChangeAspect="1"/>
          </p:cNvGrpSpPr>
          <p:nvPr/>
        </p:nvGrpSpPr>
        <p:grpSpPr bwMode="auto">
          <a:xfrm>
            <a:off x="7871012" y="1698655"/>
            <a:ext cx="370763" cy="369676"/>
            <a:chOff x="1153" y="3104"/>
            <a:chExt cx="341" cy="340"/>
          </a:xfrm>
          <a:solidFill>
            <a:schemeClr val="accent3"/>
          </a:solidFill>
        </p:grpSpPr>
        <p:sp>
          <p:nvSpPr>
            <p:cNvPr id="495" name="Freeform 891">
              <a:extLst>
                <a:ext uri="{FF2B5EF4-FFF2-40B4-BE49-F238E27FC236}">
                  <a16:creationId xmlns:a16="http://schemas.microsoft.com/office/drawing/2014/main" id="{B77A4C45-FF9F-4350-AB72-7DD531914E6C}"/>
                </a:ext>
              </a:extLst>
            </p:cNvPr>
            <p:cNvSpPr>
              <a:spLocks noEditPoints="1"/>
            </p:cNvSpPr>
            <p:nvPr/>
          </p:nvSpPr>
          <p:spPr bwMode="auto">
            <a:xfrm>
              <a:off x="1302" y="3168"/>
              <a:ext cx="43" cy="4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6" name="Freeform 892">
              <a:extLst>
                <a:ext uri="{FF2B5EF4-FFF2-40B4-BE49-F238E27FC236}">
                  <a16:creationId xmlns:a16="http://schemas.microsoft.com/office/drawing/2014/main" id="{47DC9B31-9C5C-4AC1-A3B5-DEA4D9EA4916}"/>
                </a:ext>
              </a:extLst>
            </p:cNvPr>
            <p:cNvSpPr>
              <a:spLocks/>
            </p:cNvSpPr>
            <p:nvPr/>
          </p:nvSpPr>
          <p:spPr bwMode="auto">
            <a:xfrm>
              <a:off x="1288" y="3217"/>
              <a:ext cx="78" cy="163"/>
            </a:xfrm>
            <a:custGeom>
              <a:avLst/>
              <a:gdLst>
                <a:gd name="T0" fmla="*/ 107 w 118"/>
                <a:gd name="T1" fmla="*/ 246 h 246"/>
                <a:gd name="T2" fmla="*/ 96 w 118"/>
                <a:gd name="T3" fmla="*/ 237 h 246"/>
                <a:gd name="T4" fmla="*/ 86 w 118"/>
                <a:gd name="T5" fmla="*/ 165 h 246"/>
                <a:gd name="T6" fmla="*/ 45 w 118"/>
                <a:gd name="T7" fmla="*/ 114 h 246"/>
                <a:gd name="T8" fmla="*/ 43 w 118"/>
                <a:gd name="T9" fmla="*/ 107 h 246"/>
                <a:gd name="T10" fmla="*/ 43 w 118"/>
                <a:gd name="T11" fmla="*/ 32 h 246"/>
                <a:gd name="T12" fmla="*/ 22 w 118"/>
                <a:gd name="T13" fmla="*/ 48 h 246"/>
                <a:gd name="T14" fmla="*/ 22 w 118"/>
                <a:gd name="T15" fmla="*/ 118 h 246"/>
                <a:gd name="T16" fmla="*/ 11 w 118"/>
                <a:gd name="T17" fmla="*/ 128 h 246"/>
                <a:gd name="T18" fmla="*/ 0 w 118"/>
                <a:gd name="T19" fmla="*/ 118 h 246"/>
                <a:gd name="T20" fmla="*/ 0 w 118"/>
                <a:gd name="T21" fmla="*/ 43 h 246"/>
                <a:gd name="T22" fmla="*/ 5 w 118"/>
                <a:gd name="T23" fmla="*/ 34 h 246"/>
                <a:gd name="T24" fmla="*/ 47 w 118"/>
                <a:gd name="T25" fmla="*/ 2 h 246"/>
                <a:gd name="T26" fmla="*/ 58 w 118"/>
                <a:gd name="T27" fmla="*/ 1 h 246"/>
                <a:gd name="T28" fmla="*/ 64 w 118"/>
                <a:gd name="T29" fmla="*/ 11 h 246"/>
                <a:gd name="T30" fmla="*/ 64 w 118"/>
                <a:gd name="T31" fmla="*/ 103 h 246"/>
                <a:gd name="T32" fmla="*/ 105 w 118"/>
                <a:gd name="T33" fmla="*/ 154 h 246"/>
                <a:gd name="T34" fmla="*/ 107 w 118"/>
                <a:gd name="T35" fmla="*/ 159 h 246"/>
                <a:gd name="T36" fmla="*/ 118 w 118"/>
                <a:gd name="T37" fmla="*/ 233 h 246"/>
                <a:gd name="T38" fmla="*/ 109 w 118"/>
                <a:gd name="T39" fmla="*/ 246 h 246"/>
                <a:gd name="T40" fmla="*/ 107 w 118"/>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46">
                  <a:moveTo>
                    <a:pt x="107" y="246"/>
                  </a:moveTo>
                  <a:cubicBezTo>
                    <a:pt x="102" y="246"/>
                    <a:pt x="97" y="242"/>
                    <a:pt x="96" y="237"/>
                  </a:cubicBezTo>
                  <a:cubicBezTo>
                    <a:pt x="86" y="165"/>
                    <a:pt x="86" y="165"/>
                    <a:pt x="86" y="165"/>
                  </a:cubicBezTo>
                  <a:cubicBezTo>
                    <a:pt x="45" y="114"/>
                    <a:pt x="45" y="114"/>
                    <a:pt x="45" y="114"/>
                  </a:cubicBezTo>
                  <a:cubicBezTo>
                    <a:pt x="44" y="112"/>
                    <a:pt x="43" y="109"/>
                    <a:pt x="43" y="107"/>
                  </a:cubicBezTo>
                  <a:cubicBezTo>
                    <a:pt x="43" y="32"/>
                    <a:pt x="43" y="32"/>
                    <a:pt x="43" y="32"/>
                  </a:cubicBezTo>
                  <a:cubicBezTo>
                    <a:pt x="22" y="48"/>
                    <a:pt x="22" y="48"/>
                    <a:pt x="22" y="48"/>
                  </a:cubicBezTo>
                  <a:cubicBezTo>
                    <a:pt x="22" y="118"/>
                    <a:pt x="22" y="118"/>
                    <a:pt x="22" y="118"/>
                  </a:cubicBezTo>
                  <a:cubicBezTo>
                    <a:pt x="22" y="124"/>
                    <a:pt x="17" y="128"/>
                    <a:pt x="11" y="128"/>
                  </a:cubicBezTo>
                  <a:cubicBezTo>
                    <a:pt x="5" y="128"/>
                    <a:pt x="0" y="124"/>
                    <a:pt x="0" y="118"/>
                  </a:cubicBezTo>
                  <a:cubicBezTo>
                    <a:pt x="0" y="43"/>
                    <a:pt x="0" y="43"/>
                    <a:pt x="0" y="43"/>
                  </a:cubicBezTo>
                  <a:cubicBezTo>
                    <a:pt x="0" y="40"/>
                    <a:pt x="2" y="36"/>
                    <a:pt x="5" y="34"/>
                  </a:cubicBezTo>
                  <a:cubicBezTo>
                    <a:pt x="47" y="2"/>
                    <a:pt x="47" y="2"/>
                    <a:pt x="47" y="2"/>
                  </a:cubicBezTo>
                  <a:cubicBezTo>
                    <a:pt x="51" y="0"/>
                    <a:pt x="55" y="0"/>
                    <a:pt x="58" y="1"/>
                  </a:cubicBezTo>
                  <a:cubicBezTo>
                    <a:pt x="62" y="3"/>
                    <a:pt x="64" y="7"/>
                    <a:pt x="64" y="11"/>
                  </a:cubicBezTo>
                  <a:cubicBezTo>
                    <a:pt x="64" y="103"/>
                    <a:pt x="64" y="103"/>
                    <a:pt x="64" y="103"/>
                  </a:cubicBezTo>
                  <a:cubicBezTo>
                    <a:pt x="105" y="154"/>
                    <a:pt x="105" y="154"/>
                    <a:pt x="105" y="154"/>
                  </a:cubicBezTo>
                  <a:cubicBezTo>
                    <a:pt x="106" y="155"/>
                    <a:pt x="107" y="157"/>
                    <a:pt x="107" y="159"/>
                  </a:cubicBezTo>
                  <a:cubicBezTo>
                    <a:pt x="118" y="233"/>
                    <a:pt x="118" y="233"/>
                    <a:pt x="118" y="233"/>
                  </a:cubicBezTo>
                  <a:cubicBezTo>
                    <a:pt x="118" y="239"/>
                    <a:pt x="114" y="245"/>
                    <a:pt x="109" y="246"/>
                  </a:cubicBezTo>
                  <a:cubicBezTo>
                    <a:pt x="108" y="246"/>
                    <a:pt x="107" y="246"/>
                    <a:pt x="107" y="2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7" name="Freeform 893">
              <a:extLst>
                <a:ext uri="{FF2B5EF4-FFF2-40B4-BE49-F238E27FC236}">
                  <a16:creationId xmlns:a16="http://schemas.microsoft.com/office/drawing/2014/main" id="{7575BE17-3427-433E-8808-2AB02DC71D47}"/>
                </a:ext>
              </a:extLst>
            </p:cNvPr>
            <p:cNvSpPr>
              <a:spLocks/>
            </p:cNvSpPr>
            <p:nvPr/>
          </p:nvSpPr>
          <p:spPr bwMode="auto">
            <a:xfrm>
              <a:off x="1273" y="3315"/>
              <a:ext cx="51" cy="65"/>
            </a:xfrm>
            <a:custGeom>
              <a:avLst/>
              <a:gdLst>
                <a:gd name="T0" fmla="*/ 12 w 77"/>
                <a:gd name="T1" fmla="*/ 98 h 98"/>
                <a:gd name="T2" fmla="*/ 5 w 77"/>
                <a:gd name="T3" fmla="*/ 96 h 98"/>
                <a:gd name="T4" fmla="*/ 3 w 77"/>
                <a:gd name="T5" fmla="*/ 81 h 98"/>
                <a:gd name="T6" fmla="*/ 56 w 77"/>
                <a:gd name="T7" fmla="*/ 6 h 98"/>
                <a:gd name="T8" fmla="*/ 71 w 77"/>
                <a:gd name="T9" fmla="*/ 4 h 98"/>
                <a:gd name="T10" fmla="*/ 74 w 77"/>
                <a:gd name="T11" fmla="*/ 19 h 98"/>
                <a:gd name="T12" fmla="*/ 20 w 77"/>
                <a:gd name="T13" fmla="*/ 93 h 98"/>
                <a:gd name="T14" fmla="*/ 12 w 77"/>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98">
                  <a:moveTo>
                    <a:pt x="12" y="98"/>
                  </a:moveTo>
                  <a:cubicBezTo>
                    <a:pt x="10" y="98"/>
                    <a:pt x="7" y="97"/>
                    <a:pt x="5" y="96"/>
                  </a:cubicBezTo>
                  <a:cubicBezTo>
                    <a:pt x="1" y="92"/>
                    <a:pt x="0" y="86"/>
                    <a:pt x="3" y="81"/>
                  </a:cubicBezTo>
                  <a:cubicBezTo>
                    <a:pt x="56" y="6"/>
                    <a:pt x="56" y="6"/>
                    <a:pt x="56" y="6"/>
                  </a:cubicBezTo>
                  <a:cubicBezTo>
                    <a:pt x="60" y="1"/>
                    <a:pt x="66" y="0"/>
                    <a:pt x="71" y="4"/>
                  </a:cubicBezTo>
                  <a:cubicBezTo>
                    <a:pt x="76" y="7"/>
                    <a:pt x="77" y="14"/>
                    <a:pt x="74" y="19"/>
                  </a:cubicBezTo>
                  <a:cubicBezTo>
                    <a:pt x="20" y="93"/>
                    <a:pt x="20" y="93"/>
                    <a:pt x="20" y="93"/>
                  </a:cubicBezTo>
                  <a:cubicBezTo>
                    <a:pt x="18" y="96"/>
                    <a:pt x="15" y="98"/>
                    <a:pt x="12" y="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8" name="Freeform 894">
              <a:extLst>
                <a:ext uri="{FF2B5EF4-FFF2-40B4-BE49-F238E27FC236}">
                  <a16:creationId xmlns:a16="http://schemas.microsoft.com/office/drawing/2014/main" id="{44B64AC4-E4F7-4230-ADE1-EE9DBF563137}"/>
                </a:ext>
              </a:extLst>
            </p:cNvPr>
            <p:cNvSpPr>
              <a:spLocks/>
            </p:cNvSpPr>
            <p:nvPr/>
          </p:nvSpPr>
          <p:spPr bwMode="auto">
            <a:xfrm>
              <a:off x="1344" y="3266"/>
              <a:ext cx="23" cy="22"/>
            </a:xfrm>
            <a:custGeom>
              <a:avLst/>
              <a:gdLst>
                <a:gd name="T0" fmla="*/ 22 w 34"/>
                <a:gd name="T1" fmla="*/ 33 h 33"/>
                <a:gd name="T2" fmla="*/ 14 w 34"/>
                <a:gd name="T3" fmla="*/ 30 h 33"/>
                <a:gd name="T4" fmla="*/ 4 w 34"/>
                <a:gd name="T5" fmla="*/ 19 h 33"/>
                <a:gd name="T6" fmla="*/ 4 w 34"/>
                <a:gd name="T7" fmla="*/ 4 h 33"/>
                <a:gd name="T8" fmla="*/ 19 w 34"/>
                <a:gd name="T9" fmla="*/ 4 h 33"/>
                <a:gd name="T10" fmla="*/ 30 w 34"/>
                <a:gd name="T11" fmla="*/ 15 h 33"/>
                <a:gd name="T12" fmla="*/ 30 w 34"/>
                <a:gd name="T13" fmla="*/ 30 h 33"/>
                <a:gd name="T14" fmla="*/ 22 w 34"/>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33">
                  <a:moveTo>
                    <a:pt x="22" y="33"/>
                  </a:moveTo>
                  <a:cubicBezTo>
                    <a:pt x="19" y="33"/>
                    <a:pt x="17" y="32"/>
                    <a:pt x="14" y="30"/>
                  </a:cubicBezTo>
                  <a:cubicBezTo>
                    <a:pt x="4" y="19"/>
                    <a:pt x="4" y="19"/>
                    <a:pt x="4" y="19"/>
                  </a:cubicBezTo>
                  <a:cubicBezTo>
                    <a:pt x="0" y="15"/>
                    <a:pt x="0" y="8"/>
                    <a:pt x="4" y="4"/>
                  </a:cubicBezTo>
                  <a:cubicBezTo>
                    <a:pt x="8" y="0"/>
                    <a:pt x="15" y="0"/>
                    <a:pt x="19" y="4"/>
                  </a:cubicBezTo>
                  <a:cubicBezTo>
                    <a:pt x="30" y="15"/>
                    <a:pt x="30" y="15"/>
                    <a:pt x="30" y="15"/>
                  </a:cubicBezTo>
                  <a:cubicBezTo>
                    <a:pt x="34" y="19"/>
                    <a:pt x="34" y="26"/>
                    <a:pt x="30" y="30"/>
                  </a:cubicBezTo>
                  <a:cubicBezTo>
                    <a:pt x="27" y="32"/>
                    <a:pt x="25" y="33"/>
                    <a:pt x="22" y="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9" name="Freeform 895">
              <a:extLst>
                <a:ext uri="{FF2B5EF4-FFF2-40B4-BE49-F238E27FC236}">
                  <a16:creationId xmlns:a16="http://schemas.microsoft.com/office/drawing/2014/main" id="{E43B0719-C8B8-494F-A32C-8DC924A7409C}"/>
                </a:ext>
              </a:extLst>
            </p:cNvPr>
            <p:cNvSpPr>
              <a:spLocks noEditPoints="1"/>
            </p:cNvSpPr>
            <p:nvPr/>
          </p:nvSpPr>
          <p:spPr bwMode="auto">
            <a:xfrm>
              <a:off x="1153" y="31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00" name="Group 499">
            <a:extLst>
              <a:ext uri="{FF2B5EF4-FFF2-40B4-BE49-F238E27FC236}">
                <a16:creationId xmlns:a16="http://schemas.microsoft.com/office/drawing/2014/main" id="{E4254C5E-AE62-468D-B6CE-1A184CB31222}"/>
              </a:ext>
            </a:extLst>
          </p:cNvPr>
          <p:cNvGrpSpPr>
            <a:grpSpLocks noChangeAspect="1"/>
          </p:cNvGrpSpPr>
          <p:nvPr/>
        </p:nvGrpSpPr>
        <p:grpSpPr bwMode="auto">
          <a:xfrm>
            <a:off x="7434838" y="1698655"/>
            <a:ext cx="369676" cy="369676"/>
            <a:chOff x="787" y="3068"/>
            <a:chExt cx="340" cy="340"/>
          </a:xfrm>
          <a:solidFill>
            <a:schemeClr val="accent3"/>
          </a:solidFill>
        </p:grpSpPr>
        <p:sp>
          <p:nvSpPr>
            <p:cNvPr id="501" name="Oval 899">
              <a:extLst>
                <a:ext uri="{FF2B5EF4-FFF2-40B4-BE49-F238E27FC236}">
                  <a16:creationId xmlns:a16="http://schemas.microsoft.com/office/drawing/2014/main" id="{EE968711-1F93-41C7-8216-E78705AD9783}"/>
                </a:ext>
              </a:extLst>
            </p:cNvPr>
            <p:cNvSpPr>
              <a:spLocks noChangeArrowheads="1"/>
            </p:cNvSpPr>
            <p:nvPr/>
          </p:nvSpPr>
          <p:spPr bwMode="auto">
            <a:xfrm>
              <a:off x="950" y="3146"/>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2" name="Freeform 900">
              <a:extLst>
                <a:ext uri="{FF2B5EF4-FFF2-40B4-BE49-F238E27FC236}">
                  <a16:creationId xmlns:a16="http://schemas.microsoft.com/office/drawing/2014/main" id="{51058FC7-E5B3-49C5-8A00-18A797FBA00E}"/>
                </a:ext>
              </a:extLst>
            </p:cNvPr>
            <p:cNvSpPr>
              <a:spLocks noEditPoints="1"/>
            </p:cNvSpPr>
            <p:nvPr/>
          </p:nvSpPr>
          <p:spPr bwMode="auto">
            <a:xfrm>
              <a:off x="787" y="306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254 w 512"/>
                <a:gd name="T21" fmla="*/ 337 h 512"/>
                <a:gd name="T22" fmla="*/ 200 w 512"/>
                <a:gd name="T23" fmla="*/ 411 h 512"/>
                <a:gd name="T24" fmla="*/ 192 w 512"/>
                <a:gd name="T25" fmla="*/ 416 h 512"/>
                <a:gd name="T26" fmla="*/ 185 w 512"/>
                <a:gd name="T27" fmla="*/ 414 h 512"/>
                <a:gd name="T28" fmla="*/ 183 w 512"/>
                <a:gd name="T29" fmla="*/ 399 h 512"/>
                <a:gd name="T30" fmla="*/ 236 w 512"/>
                <a:gd name="T31" fmla="*/ 324 h 512"/>
                <a:gd name="T32" fmla="*/ 251 w 512"/>
                <a:gd name="T33" fmla="*/ 322 h 512"/>
                <a:gd name="T34" fmla="*/ 254 w 512"/>
                <a:gd name="T35" fmla="*/ 337 h 512"/>
                <a:gd name="T36" fmla="*/ 311 w 512"/>
                <a:gd name="T37" fmla="*/ 416 h 512"/>
                <a:gd name="T38" fmla="*/ 309 w 512"/>
                <a:gd name="T39" fmla="*/ 416 h 512"/>
                <a:gd name="T40" fmla="*/ 298 w 512"/>
                <a:gd name="T41" fmla="*/ 407 h 512"/>
                <a:gd name="T42" fmla="*/ 288 w 512"/>
                <a:gd name="T43" fmla="*/ 335 h 512"/>
                <a:gd name="T44" fmla="*/ 247 w 512"/>
                <a:gd name="T45" fmla="*/ 284 h 512"/>
                <a:gd name="T46" fmla="*/ 245 w 512"/>
                <a:gd name="T47" fmla="*/ 277 h 512"/>
                <a:gd name="T48" fmla="*/ 245 w 512"/>
                <a:gd name="T49" fmla="*/ 202 h 512"/>
                <a:gd name="T50" fmla="*/ 224 w 512"/>
                <a:gd name="T51" fmla="*/ 218 h 512"/>
                <a:gd name="T52" fmla="*/ 224 w 512"/>
                <a:gd name="T53" fmla="*/ 288 h 512"/>
                <a:gd name="T54" fmla="*/ 213 w 512"/>
                <a:gd name="T55" fmla="*/ 298 h 512"/>
                <a:gd name="T56" fmla="*/ 202 w 512"/>
                <a:gd name="T57" fmla="*/ 288 h 512"/>
                <a:gd name="T58" fmla="*/ 202 w 512"/>
                <a:gd name="T59" fmla="*/ 213 h 512"/>
                <a:gd name="T60" fmla="*/ 207 w 512"/>
                <a:gd name="T61" fmla="*/ 204 h 512"/>
                <a:gd name="T62" fmla="*/ 249 w 512"/>
                <a:gd name="T63" fmla="*/ 172 h 512"/>
                <a:gd name="T64" fmla="*/ 260 w 512"/>
                <a:gd name="T65" fmla="*/ 171 h 512"/>
                <a:gd name="T66" fmla="*/ 266 w 512"/>
                <a:gd name="T67" fmla="*/ 181 h 512"/>
                <a:gd name="T68" fmla="*/ 266 w 512"/>
                <a:gd name="T69" fmla="*/ 273 h 512"/>
                <a:gd name="T70" fmla="*/ 307 w 512"/>
                <a:gd name="T71" fmla="*/ 324 h 512"/>
                <a:gd name="T72" fmla="*/ 309 w 512"/>
                <a:gd name="T73" fmla="*/ 329 h 512"/>
                <a:gd name="T74" fmla="*/ 320 w 512"/>
                <a:gd name="T75" fmla="*/ 403 h 512"/>
                <a:gd name="T76" fmla="*/ 311 w 512"/>
                <a:gd name="T77" fmla="*/ 416 h 512"/>
                <a:gd name="T78" fmla="*/ 317 w 512"/>
                <a:gd name="T79" fmla="*/ 274 h 512"/>
                <a:gd name="T80" fmla="*/ 309 w 512"/>
                <a:gd name="T81" fmla="*/ 277 h 512"/>
                <a:gd name="T82" fmla="*/ 301 w 512"/>
                <a:gd name="T83" fmla="*/ 274 h 512"/>
                <a:gd name="T84" fmla="*/ 291 w 512"/>
                <a:gd name="T85" fmla="*/ 263 h 512"/>
                <a:gd name="T86" fmla="*/ 291 w 512"/>
                <a:gd name="T87" fmla="*/ 248 h 512"/>
                <a:gd name="T88" fmla="*/ 306 w 512"/>
                <a:gd name="T89" fmla="*/ 248 h 512"/>
                <a:gd name="T90" fmla="*/ 317 w 512"/>
                <a:gd name="T91" fmla="*/ 259 h 512"/>
                <a:gd name="T92" fmla="*/ 317 w 512"/>
                <a:gd name="T93" fmla="*/ 2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254" y="337"/>
                  </a:moveTo>
                  <a:cubicBezTo>
                    <a:pt x="200" y="411"/>
                    <a:pt x="200" y="411"/>
                    <a:pt x="200" y="411"/>
                  </a:cubicBezTo>
                  <a:cubicBezTo>
                    <a:pt x="198" y="414"/>
                    <a:pt x="195" y="416"/>
                    <a:pt x="192" y="416"/>
                  </a:cubicBezTo>
                  <a:cubicBezTo>
                    <a:pt x="190" y="416"/>
                    <a:pt x="187" y="415"/>
                    <a:pt x="185" y="414"/>
                  </a:cubicBezTo>
                  <a:cubicBezTo>
                    <a:pt x="181" y="410"/>
                    <a:pt x="180" y="404"/>
                    <a:pt x="183" y="399"/>
                  </a:cubicBezTo>
                  <a:cubicBezTo>
                    <a:pt x="236" y="324"/>
                    <a:pt x="236" y="324"/>
                    <a:pt x="236" y="324"/>
                  </a:cubicBezTo>
                  <a:cubicBezTo>
                    <a:pt x="240" y="319"/>
                    <a:pt x="246" y="318"/>
                    <a:pt x="251" y="322"/>
                  </a:cubicBezTo>
                  <a:cubicBezTo>
                    <a:pt x="256" y="325"/>
                    <a:pt x="257" y="332"/>
                    <a:pt x="254" y="337"/>
                  </a:cubicBezTo>
                  <a:close/>
                  <a:moveTo>
                    <a:pt x="311" y="416"/>
                  </a:moveTo>
                  <a:cubicBezTo>
                    <a:pt x="310" y="416"/>
                    <a:pt x="309" y="416"/>
                    <a:pt x="309" y="416"/>
                  </a:cubicBezTo>
                  <a:cubicBezTo>
                    <a:pt x="304" y="416"/>
                    <a:pt x="299" y="412"/>
                    <a:pt x="298" y="407"/>
                  </a:cubicBezTo>
                  <a:cubicBezTo>
                    <a:pt x="288" y="335"/>
                    <a:pt x="288" y="335"/>
                    <a:pt x="288" y="335"/>
                  </a:cubicBezTo>
                  <a:cubicBezTo>
                    <a:pt x="247" y="284"/>
                    <a:pt x="247" y="284"/>
                    <a:pt x="247" y="284"/>
                  </a:cubicBezTo>
                  <a:cubicBezTo>
                    <a:pt x="246" y="282"/>
                    <a:pt x="245" y="279"/>
                    <a:pt x="245" y="277"/>
                  </a:cubicBezTo>
                  <a:cubicBezTo>
                    <a:pt x="245" y="202"/>
                    <a:pt x="245" y="202"/>
                    <a:pt x="245" y="202"/>
                  </a:cubicBezTo>
                  <a:cubicBezTo>
                    <a:pt x="224" y="218"/>
                    <a:pt x="224" y="218"/>
                    <a:pt x="224" y="218"/>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10"/>
                    <a:pt x="204" y="206"/>
                    <a:pt x="207" y="204"/>
                  </a:cubicBezTo>
                  <a:cubicBezTo>
                    <a:pt x="249" y="172"/>
                    <a:pt x="249" y="172"/>
                    <a:pt x="249" y="172"/>
                  </a:cubicBezTo>
                  <a:cubicBezTo>
                    <a:pt x="253" y="170"/>
                    <a:pt x="257" y="170"/>
                    <a:pt x="260" y="171"/>
                  </a:cubicBezTo>
                  <a:cubicBezTo>
                    <a:pt x="264" y="173"/>
                    <a:pt x="266" y="177"/>
                    <a:pt x="266" y="181"/>
                  </a:cubicBezTo>
                  <a:cubicBezTo>
                    <a:pt x="266" y="273"/>
                    <a:pt x="266" y="273"/>
                    <a:pt x="266" y="273"/>
                  </a:cubicBezTo>
                  <a:cubicBezTo>
                    <a:pt x="307" y="324"/>
                    <a:pt x="307" y="324"/>
                    <a:pt x="307" y="324"/>
                  </a:cubicBezTo>
                  <a:cubicBezTo>
                    <a:pt x="308" y="325"/>
                    <a:pt x="309" y="327"/>
                    <a:pt x="309" y="329"/>
                  </a:cubicBezTo>
                  <a:cubicBezTo>
                    <a:pt x="320" y="403"/>
                    <a:pt x="320" y="403"/>
                    <a:pt x="320" y="403"/>
                  </a:cubicBezTo>
                  <a:cubicBezTo>
                    <a:pt x="320" y="409"/>
                    <a:pt x="316" y="415"/>
                    <a:pt x="311" y="416"/>
                  </a:cubicBezTo>
                  <a:close/>
                  <a:moveTo>
                    <a:pt x="317" y="274"/>
                  </a:moveTo>
                  <a:cubicBezTo>
                    <a:pt x="314" y="276"/>
                    <a:pt x="312" y="277"/>
                    <a:pt x="309" y="277"/>
                  </a:cubicBezTo>
                  <a:cubicBezTo>
                    <a:pt x="306" y="277"/>
                    <a:pt x="304" y="276"/>
                    <a:pt x="301" y="274"/>
                  </a:cubicBezTo>
                  <a:cubicBezTo>
                    <a:pt x="291" y="263"/>
                    <a:pt x="291" y="263"/>
                    <a:pt x="291" y="263"/>
                  </a:cubicBezTo>
                  <a:cubicBezTo>
                    <a:pt x="287" y="259"/>
                    <a:pt x="287" y="252"/>
                    <a:pt x="291" y="248"/>
                  </a:cubicBezTo>
                  <a:cubicBezTo>
                    <a:pt x="295" y="244"/>
                    <a:pt x="302" y="244"/>
                    <a:pt x="306" y="248"/>
                  </a:cubicBezTo>
                  <a:cubicBezTo>
                    <a:pt x="317" y="259"/>
                    <a:pt x="317" y="259"/>
                    <a:pt x="317" y="259"/>
                  </a:cubicBezTo>
                  <a:cubicBezTo>
                    <a:pt x="321" y="263"/>
                    <a:pt x="321" y="270"/>
                    <a:pt x="317" y="2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03" name="Group 657">
            <a:extLst>
              <a:ext uri="{FF2B5EF4-FFF2-40B4-BE49-F238E27FC236}">
                <a16:creationId xmlns:a16="http://schemas.microsoft.com/office/drawing/2014/main" id="{582CC931-DE50-4A94-A66B-B72B206EF224}"/>
              </a:ext>
            </a:extLst>
          </p:cNvPr>
          <p:cNvGrpSpPr>
            <a:grpSpLocks noChangeAspect="1"/>
          </p:cNvGrpSpPr>
          <p:nvPr/>
        </p:nvGrpSpPr>
        <p:grpSpPr bwMode="auto">
          <a:xfrm>
            <a:off x="923024" y="3271981"/>
            <a:ext cx="370763" cy="369676"/>
            <a:chOff x="2738" y="2314"/>
            <a:chExt cx="341" cy="340"/>
          </a:xfrm>
          <a:solidFill>
            <a:schemeClr val="accent1"/>
          </a:solidFill>
        </p:grpSpPr>
        <p:sp>
          <p:nvSpPr>
            <p:cNvPr id="504" name="Freeform 658">
              <a:extLst>
                <a:ext uri="{FF2B5EF4-FFF2-40B4-BE49-F238E27FC236}">
                  <a16:creationId xmlns:a16="http://schemas.microsoft.com/office/drawing/2014/main" id="{51079853-6426-4F16-B970-95F8EB45B5B6}"/>
                </a:ext>
              </a:extLst>
            </p:cNvPr>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5" name="Freeform 659">
              <a:extLst>
                <a:ext uri="{FF2B5EF4-FFF2-40B4-BE49-F238E27FC236}">
                  <a16:creationId xmlns:a16="http://schemas.microsoft.com/office/drawing/2014/main" id="{20967DC5-DF88-4E19-8B1E-A4AEE7863074}"/>
                </a:ext>
              </a:extLst>
            </p:cNvPr>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06" name="Group 662">
            <a:extLst>
              <a:ext uri="{FF2B5EF4-FFF2-40B4-BE49-F238E27FC236}">
                <a16:creationId xmlns:a16="http://schemas.microsoft.com/office/drawing/2014/main" id="{EE6BD5D0-E1F2-47E8-B3B1-2DDEEDDB78AD}"/>
              </a:ext>
            </a:extLst>
          </p:cNvPr>
          <p:cNvGrpSpPr>
            <a:grpSpLocks noChangeAspect="1"/>
          </p:cNvGrpSpPr>
          <p:nvPr/>
        </p:nvGrpSpPr>
        <p:grpSpPr bwMode="auto">
          <a:xfrm>
            <a:off x="488298" y="3271981"/>
            <a:ext cx="369676" cy="369676"/>
            <a:chOff x="2340" y="2340"/>
            <a:chExt cx="340" cy="340"/>
          </a:xfrm>
          <a:solidFill>
            <a:schemeClr val="accent1"/>
          </a:solidFill>
        </p:grpSpPr>
        <p:sp>
          <p:nvSpPr>
            <p:cNvPr id="507" name="Oval 663">
              <a:extLst>
                <a:ext uri="{FF2B5EF4-FFF2-40B4-BE49-F238E27FC236}">
                  <a16:creationId xmlns:a16="http://schemas.microsoft.com/office/drawing/2014/main" id="{A34D83E0-4FF6-49A9-B012-372C216AD338}"/>
                </a:ext>
              </a:extLst>
            </p:cNvPr>
            <p:cNvSpPr>
              <a:spLocks noChangeArrowheads="1"/>
            </p:cNvSpPr>
            <p:nvPr/>
          </p:nvSpPr>
          <p:spPr bwMode="auto">
            <a:xfrm>
              <a:off x="2559" y="2559"/>
              <a:ext cx="15"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8" name="Freeform 664">
              <a:extLst>
                <a:ext uri="{FF2B5EF4-FFF2-40B4-BE49-F238E27FC236}">
                  <a16:creationId xmlns:a16="http://schemas.microsoft.com/office/drawing/2014/main" id="{5B2A220D-A6DD-4031-86BD-132D86EF94BF}"/>
                </a:ext>
              </a:extLst>
            </p:cNvPr>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9" name="Oval 665">
              <a:extLst>
                <a:ext uri="{FF2B5EF4-FFF2-40B4-BE49-F238E27FC236}">
                  <a16:creationId xmlns:a16="http://schemas.microsoft.com/office/drawing/2014/main" id="{284DB7A5-987C-4711-B293-E8E4FDE3537B}"/>
                </a:ext>
              </a:extLst>
            </p:cNvPr>
            <p:cNvSpPr>
              <a:spLocks noChangeArrowheads="1"/>
            </p:cNvSpPr>
            <p:nvPr/>
          </p:nvSpPr>
          <p:spPr bwMode="auto">
            <a:xfrm>
              <a:off x="2439" y="2559"/>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0" name="Freeform 666">
              <a:extLst>
                <a:ext uri="{FF2B5EF4-FFF2-40B4-BE49-F238E27FC236}">
                  <a16:creationId xmlns:a16="http://schemas.microsoft.com/office/drawing/2014/main" id="{C003A17E-CAAD-43A2-9148-545CFD9BD0D2}"/>
                </a:ext>
              </a:extLst>
            </p:cNvPr>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1" name="Freeform 516">
            <a:extLst>
              <a:ext uri="{FF2B5EF4-FFF2-40B4-BE49-F238E27FC236}">
                <a16:creationId xmlns:a16="http://schemas.microsoft.com/office/drawing/2014/main" id="{A0B130A9-DD1D-4918-BEEE-81A28D614E5C}"/>
              </a:ext>
            </a:extLst>
          </p:cNvPr>
          <p:cNvSpPr>
            <a:spLocks noChangeAspect="1" noEditPoints="1"/>
          </p:cNvSpPr>
          <p:nvPr/>
        </p:nvSpPr>
        <p:spPr bwMode="auto">
          <a:xfrm>
            <a:off x="1358837" y="3271981"/>
            <a:ext cx="369064" cy="367982"/>
          </a:xfrm>
          <a:custGeom>
            <a:avLst/>
            <a:gdLst>
              <a:gd name="T0" fmla="*/ 141 w 512"/>
              <a:gd name="T1" fmla="*/ 138 h 512"/>
              <a:gd name="T2" fmla="*/ 203 w 512"/>
              <a:gd name="T3" fmla="*/ 213 h 512"/>
              <a:gd name="T4" fmla="*/ 245 w 512"/>
              <a:gd name="T5" fmla="*/ 309 h 512"/>
              <a:gd name="T6" fmla="*/ 266 w 512"/>
              <a:gd name="T7" fmla="*/ 266 h 512"/>
              <a:gd name="T8" fmla="*/ 245 w 512"/>
              <a:gd name="T9" fmla="*/ 309 h 512"/>
              <a:gd name="T10" fmla="*/ 224 w 512"/>
              <a:gd name="T11" fmla="*/ 330 h 512"/>
              <a:gd name="T12" fmla="*/ 139 w 512"/>
              <a:gd name="T13" fmla="*/ 234 h 512"/>
              <a:gd name="T14" fmla="*/ 170 w 512"/>
              <a:gd name="T15" fmla="*/ 373 h 512"/>
              <a:gd name="T16" fmla="*/ 213 w 512"/>
              <a:gd name="T17" fmla="*/ 352 h 512"/>
              <a:gd name="T18" fmla="*/ 170 w 512"/>
              <a:gd name="T19" fmla="*/ 373 h 512"/>
              <a:gd name="T20" fmla="*/ 341 w 512"/>
              <a:gd name="T21" fmla="*/ 373 h 512"/>
              <a:gd name="T22" fmla="*/ 298 w 512"/>
              <a:gd name="T23" fmla="*/ 352 h 512"/>
              <a:gd name="T24" fmla="*/ 512 w 512"/>
              <a:gd name="T25" fmla="*/ 256 h 512"/>
              <a:gd name="T26" fmla="*/ 0 w 512"/>
              <a:gd name="T27" fmla="*/ 256 h 512"/>
              <a:gd name="T28" fmla="*/ 512 w 512"/>
              <a:gd name="T29" fmla="*/ 256 h 512"/>
              <a:gd name="T30" fmla="*/ 392 w 512"/>
              <a:gd name="T31" fmla="*/ 217 h 512"/>
              <a:gd name="T32" fmla="*/ 376 w 512"/>
              <a:gd name="T33" fmla="*/ 213 h 512"/>
              <a:gd name="T34" fmla="*/ 392 w 512"/>
              <a:gd name="T35" fmla="*/ 121 h 512"/>
              <a:gd name="T36" fmla="*/ 288 w 512"/>
              <a:gd name="T37" fmla="*/ 117 h 512"/>
              <a:gd name="T38" fmla="*/ 277 w 512"/>
              <a:gd name="T39" fmla="*/ 129 h 512"/>
              <a:gd name="T40" fmla="*/ 277 w 512"/>
              <a:gd name="T41" fmla="*/ 213 h 512"/>
              <a:gd name="T42" fmla="*/ 266 w 512"/>
              <a:gd name="T43" fmla="*/ 245 h 512"/>
              <a:gd name="T44" fmla="*/ 245 w 512"/>
              <a:gd name="T45" fmla="*/ 224 h 512"/>
              <a:gd name="T46" fmla="*/ 225 w 512"/>
              <a:gd name="T47" fmla="*/ 213 h 512"/>
              <a:gd name="T48" fmla="*/ 232 w 512"/>
              <a:gd name="T49" fmla="*/ 121 h 512"/>
              <a:gd name="T50" fmla="*/ 128 w 512"/>
              <a:gd name="T51" fmla="*/ 117 h 512"/>
              <a:gd name="T52" fmla="*/ 117 w 512"/>
              <a:gd name="T53" fmla="*/ 130 h 512"/>
              <a:gd name="T54" fmla="*/ 128 w 512"/>
              <a:gd name="T55" fmla="*/ 213 h 512"/>
              <a:gd name="T56" fmla="*/ 117 w 512"/>
              <a:gd name="T57" fmla="*/ 225 h 512"/>
              <a:gd name="T58" fmla="*/ 139 w 512"/>
              <a:gd name="T59" fmla="*/ 352 h 512"/>
              <a:gd name="T60" fmla="*/ 149 w 512"/>
              <a:gd name="T61" fmla="*/ 384 h 512"/>
              <a:gd name="T62" fmla="*/ 224 w 512"/>
              <a:gd name="T63" fmla="*/ 394 h 512"/>
              <a:gd name="T64" fmla="*/ 234 w 512"/>
              <a:gd name="T65" fmla="*/ 352 h 512"/>
              <a:gd name="T66" fmla="*/ 245 w 512"/>
              <a:gd name="T67" fmla="*/ 330 h 512"/>
              <a:gd name="T68" fmla="*/ 266 w 512"/>
              <a:gd name="T69" fmla="*/ 341 h 512"/>
              <a:gd name="T70" fmla="*/ 277 w 512"/>
              <a:gd name="T71" fmla="*/ 384 h 512"/>
              <a:gd name="T72" fmla="*/ 352 w 512"/>
              <a:gd name="T73" fmla="*/ 394 h 512"/>
              <a:gd name="T74" fmla="*/ 362 w 512"/>
              <a:gd name="T75" fmla="*/ 352 h 512"/>
              <a:gd name="T76" fmla="*/ 383 w 512"/>
              <a:gd name="T77" fmla="*/ 342 h 512"/>
              <a:gd name="T78" fmla="*/ 354 w 512"/>
              <a:gd name="T79" fmla="*/ 213 h 512"/>
              <a:gd name="T80" fmla="*/ 300 w 512"/>
              <a:gd name="T81" fmla="*/ 138 h 512"/>
              <a:gd name="T82" fmla="*/ 354 w 512"/>
              <a:gd name="T83" fmla="*/ 213 h 512"/>
              <a:gd name="T84" fmla="*/ 362 w 512"/>
              <a:gd name="T85" fmla="*/ 330 h 512"/>
              <a:gd name="T86" fmla="*/ 288 w 512"/>
              <a:gd name="T8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58" y="213"/>
                </a:moveTo>
                <a:cubicBezTo>
                  <a:pt x="141" y="138"/>
                  <a:pt x="141" y="138"/>
                  <a:pt x="141" y="138"/>
                </a:cubicBezTo>
                <a:cubicBezTo>
                  <a:pt x="212" y="138"/>
                  <a:pt x="212" y="138"/>
                  <a:pt x="212" y="138"/>
                </a:cubicBezTo>
                <a:cubicBezTo>
                  <a:pt x="203" y="213"/>
                  <a:pt x="203" y="213"/>
                  <a:pt x="203" y="213"/>
                </a:cubicBezTo>
                <a:lnTo>
                  <a:pt x="158" y="213"/>
                </a:lnTo>
                <a:close/>
                <a:moveTo>
                  <a:pt x="245" y="309"/>
                </a:moveTo>
                <a:cubicBezTo>
                  <a:pt x="266" y="309"/>
                  <a:pt x="266" y="309"/>
                  <a:pt x="266" y="309"/>
                </a:cubicBezTo>
                <a:cubicBezTo>
                  <a:pt x="266" y="266"/>
                  <a:pt x="266" y="266"/>
                  <a:pt x="266" y="266"/>
                </a:cubicBezTo>
                <a:cubicBezTo>
                  <a:pt x="245" y="266"/>
                  <a:pt x="245" y="266"/>
                  <a:pt x="245" y="266"/>
                </a:cubicBezTo>
                <a:lnTo>
                  <a:pt x="245" y="309"/>
                </a:lnTo>
                <a:close/>
                <a:moveTo>
                  <a:pt x="149" y="330"/>
                </a:moveTo>
                <a:cubicBezTo>
                  <a:pt x="224" y="330"/>
                  <a:pt x="224" y="330"/>
                  <a:pt x="224" y="330"/>
                </a:cubicBezTo>
                <a:cubicBezTo>
                  <a:pt x="224" y="234"/>
                  <a:pt x="224" y="234"/>
                  <a:pt x="224" y="234"/>
                </a:cubicBezTo>
                <a:cubicBezTo>
                  <a:pt x="139" y="234"/>
                  <a:pt x="139" y="234"/>
                  <a:pt x="139" y="234"/>
                </a:cubicBezTo>
                <a:lnTo>
                  <a:pt x="149" y="330"/>
                </a:lnTo>
                <a:close/>
                <a:moveTo>
                  <a:pt x="170" y="373"/>
                </a:moveTo>
                <a:cubicBezTo>
                  <a:pt x="213" y="373"/>
                  <a:pt x="213" y="373"/>
                  <a:pt x="213" y="373"/>
                </a:cubicBezTo>
                <a:cubicBezTo>
                  <a:pt x="213" y="352"/>
                  <a:pt x="213" y="352"/>
                  <a:pt x="213" y="352"/>
                </a:cubicBezTo>
                <a:cubicBezTo>
                  <a:pt x="170" y="352"/>
                  <a:pt x="170" y="352"/>
                  <a:pt x="170" y="352"/>
                </a:cubicBezTo>
                <a:lnTo>
                  <a:pt x="170" y="373"/>
                </a:lnTo>
                <a:close/>
                <a:moveTo>
                  <a:pt x="298" y="373"/>
                </a:moveTo>
                <a:cubicBezTo>
                  <a:pt x="341" y="373"/>
                  <a:pt x="341" y="373"/>
                  <a:pt x="341" y="373"/>
                </a:cubicBezTo>
                <a:cubicBezTo>
                  <a:pt x="341" y="352"/>
                  <a:pt x="341" y="352"/>
                  <a:pt x="341" y="352"/>
                </a:cubicBezTo>
                <a:cubicBezTo>
                  <a:pt x="298" y="352"/>
                  <a:pt x="298" y="352"/>
                  <a:pt x="298" y="352"/>
                </a:cubicBezTo>
                <a:lnTo>
                  <a:pt x="29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25"/>
                </a:moveTo>
                <a:cubicBezTo>
                  <a:pt x="395" y="222"/>
                  <a:pt x="394" y="219"/>
                  <a:pt x="392" y="217"/>
                </a:cubicBezTo>
                <a:cubicBezTo>
                  <a:pt x="390" y="214"/>
                  <a:pt x="387" y="213"/>
                  <a:pt x="384" y="213"/>
                </a:cubicBezTo>
                <a:cubicBezTo>
                  <a:pt x="376" y="213"/>
                  <a:pt x="376" y="213"/>
                  <a:pt x="376" y="213"/>
                </a:cubicBezTo>
                <a:cubicBezTo>
                  <a:pt x="394" y="130"/>
                  <a:pt x="394" y="130"/>
                  <a:pt x="394" y="130"/>
                </a:cubicBezTo>
                <a:cubicBezTo>
                  <a:pt x="395" y="127"/>
                  <a:pt x="394" y="124"/>
                  <a:pt x="392" y="121"/>
                </a:cubicBezTo>
                <a:cubicBezTo>
                  <a:pt x="390" y="118"/>
                  <a:pt x="387" y="117"/>
                  <a:pt x="384" y="117"/>
                </a:cubicBezTo>
                <a:cubicBezTo>
                  <a:pt x="288" y="117"/>
                  <a:pt x="288" y="117"/>
                  <a:pt x="288" y="117"/>
                </a:cubicBezTo>
                <a:cubicBezTo>
                  <a:pt x="285" y="117"/>
                  <a:pt x="282" y="118"/>
                  <a:pt x="280" y="121"/>
                </a:cubicBezTo>
                <a:cubicBezTo>
                  <a:pt x="278" y="123"/>
                  <a:pt x="277" y="126"/>
                  <a:pt x="277" y="129"/>
                </a:cubicBezTo>
                <a:cubicBezTo>
                  <a:pt x="286" y="213"/>
                  <a:pt x="286" y="213"/>
                  <a:pt x="286" y="213"/>
                </a:cubicBezTo>
                <a:cubicBezTo>
                  <a:pt x="277" y="213"/>
                  <a:pt x="277" y="213"/>
                  <a:pt x="277" y="213"/>
                </a:cubicBezTo>
                <a:cubicBezTo>
                  <a:pt x="271" y="213"/>
                  <a:pt x="266" y="218"/>
                  <a:pt x="266" y="224"/>
                </a:cubicBezTo>
                <a:cubicBezTo>
                  <a:pt x="266" y="245"/>
                  <a:pt x="266" y="245"/>
                  <a:pt x="266" y="245"/>
                </a:cubicBezTo>
                <a:cubicBezTo>
                  <a:pt x="245" y="245"/>
                  <a:pt x="245" y="245"/>
                  <a:pt x="245" y="245"/>
                </a:cubicBezTo>
                <a:cubicBezTo>
                  <a:pt x="245" y="224"/>
                  <a:pt x="245" y="224"/>
                  <a:pt x="245" y="224"/>
                </a:cubicBezTo>
                <a:cubicBezTo>
                  <a:pt x="245" y="218"/>
                  <a:pt x="240" y="213"/>
                  <a:pt x="234" y="213"/>
                </a:cubicBezTo>
                <a:cubicBezTo>
                  <a:pt x="225" y="213"/>
                  <a:pt x="225" y="213"/>
                  <a:pt x="225" y="213"/>
                </a:cubicBezTo>
                <a:cubicBezTo>
                  <a:pt x="234" y="129"/>
                  <a:pt x="234" y="129"/>
                  <a:pt x="234" y="129"/>
                </a:cubicBezTo>
                <a:cubicBezTo>
                  <a:pt x="235" y="126"/>
                  <a:pt x="234" y="123"/>
                  <a:pt x="232" y="121"/>
                </a:cubicBezTo>
                <a:cubicBezTo>
                  <a:pt x="230" y="118"/>
                  <a:pt x="227" y="117"/>
                  <a:pt x="224" y="117"/>
                </a:cubicBezTo>
                <a:cubicBezTo>
                  <a:pt x="128" y="117"/>
                  <a:pt x="128" y="117"/>
                  <a:pt x="128" y="117"/>
                </a:cubicBezTo>
                <a:cubicBezTo>
                  <a:pt x="124" y="117"/>
                  <a:pt x="121" y="118"/>
                  <a:pt x="119" y="121"/>
                </a:cubicBezTo>
                <a:cubicBezTo>
                  <a:pt x="117" y="124"/>
                  <a:pt x="117" y="127"/>
                  <a:pt x="117" y="130"/>
                </a:cubicBezTo>
                <a:cubicBezTo>
                  <a:pt x="136" y="213"/>
                  <a:pt x="136" y="213"/>
                  <a:pt x="136" y="213"/>
                </a:cubicBezTo>
                <a:cubicBezTo>
                  <a:pt x="128" y="213"/>
                  <a:pt x="128" y="213"/>
                  <a:pt x="128" y="213"/>
                </a:cubicBezTo>
                <a:cubicBezTo>
                  <a:pt x="125" y="213"/>
                  <a:pt x="122" y="214"/>
                  <a:pt x="120" y="217"/>
                </a:cubicBezTo>
                <a:cubicBezTo>
                  <a:pt x="118" y="219"/>
                  <a:pt x="117" y="222"/>
                  <a:pt x="117" y="225"/>
                </a:cubicBezTo>
                <a:cubicBezTo>
                  <a:pt x="129" y="342"/>
                  <a:pt x="129" y="342"/>
                  <a:pt x="129" y="342"/>
                </a:cubicBezTo>
                <a:cubicBezTo>
                  <a:pt x="129" y="348"/>
                  <a:pt x="134" y="352"/>
                  <a:pt x="139" y="352"/>
                </a:cubicBezTo>
                <a:cubicBezTo>
                  <a:pt x="149" y="352"/>
                  <a:pt x="149" y="352"/>
                  <a:pt x="149" y="352"/>
                </a:cubicBezTo>
                <a:cubicBezTo>
                  <a:pt x="149" y="384"/>
                  <a:pt x="149" y="384"/>
                  <a:pt x="149" y="384"/>
                </a:cubicBezTo>
                <a:cubicBezTo>
                  <a:pt x="149" y="390"/>
                  <a:pt x="154" y="394"/>
                  <a:pt x="160" y="394"/>
                </a:cubicBezTo>
                <a:cubicBezTo>
                  <a:pt x="224" y="394"/>
                  <a:pt x="224" y="394"/>
                  <a:pt x="224" y="394"/>
                </a:cubicBezTo>
                <a:cubicBezTo>
                  <a:pt x="230" y="394"/>
                  <a:pt x="234" y="390"/>
                  <a:pt x="234" y="384"/>
                </a:cubicBezTo>
                <a:cubicBezTo>
                  <a:pt x="234" y="352"/>
                  <a:pt x="234" y="352"/>
                  <a:pt x="234" y="352"/>
                </a:cubicBezTo>
                <a:cubicBezTo>
                  <a:pt x="245" y="352"/>
                  <a:pt x="245" y="347"/>
                  <a:pt x="245" y="341"/>
                </a:cubicBezTo>
                <a:cubicBezTo>
                  <a:pt x="245" y="330"/>
                  <a:pt x="245" y="330"/>
                  <a:pt x="245" y="330"/>
                </a:cubicBezTo>
                <a:cubicBezTo>
                  <a:pt x="266" y="330"/>
                  <a:pt x="266" y="330"/>
                  <a:pt x="266" y="330"/>
                </a:cubicBezTo>
                <a:cubicBezTo>
                  <a:pt x="266" y="341"/>
                  <a:pt x="266" y="341"/>
                  <a:pt x="266" y="341"/>
                </a:cubicBezTo>
                <a:cubicBezTo>
                  <a:pt x="266" y="347"/>
                  <a:pt x="266" y="352"/>
                  <a:pt x="277" y="352"/>
                </a:cubicBezTo>
                <a:cubicBezTo>
                  <a:pt x="277" y="384"/>
                  <a:pt x="277" y="384"/>
                  <a:pt x="277" y="384"/>
                </a:cubicBezTo>
                <a:cubicBezTo>
                  <a:pt x="277" y="390"/>
                  <a:pt x="282" y="394"/>
                  <a:pt x="288" y="394"/>
                </a:cubicBezTo>
                <a:cubicBezTo>
                  <a:pt x="352" y="394"/>
                  <a:pt x="352" y="394"/>
                  <a:pt x="352" y="394"/>
                </a:cubicBezTo>
                <a:cubicBezTo>
                  <a:pt x="358" y="394"/>
                  <a:pt x="362" y="390"/>
                  <a:pt x="362" y="384"/>
                </a:cubicBezTo>
                <a:cubicBezTo>
                  <a:pt x="362" y="352"/>
                  <a:pt x="362" y="352"/>
                  <a:pt x="362" y="352"/>
                </a:cubicBezTo>
                <a:cubicBezTo>
                  <a:pt x="372" y="352"/>
                  <a:pt x="372" y="352"/>
                  <a:pt x="372" y="352"/>
                </a:cubicBezTo>
                <a:cubicBezTo>
                  <a:pt x="377" y="352"/>
                  <a:pt x="382" y="348"/>
                  <a:pt x="383" y="342"/>
                </a:cubicBezTo>
                <a:lnTo>
                  <a:pt x="394" y="225"/>
                </a:lnTo>
                <a:close/>
                <a:moveTo>
                  <a:pt x="354" y="213"/>
                </a:moveTo>
                <a:cubicBezTo>
                  <a:pt x="370" y="138"/>
                  <a:pt x="370" y="138"/>
                  <a:pt x="370" y="138"/>
                </a:cubicBezTo>
                <a:cubicBezTo>
                  <a:pt x="300" y="138"/>
                  <a:pt x="300" y="138"/>
                  <a:pt x="300" y="138"/>
                </a:cubicBezTo>
                <a:cubicBezTo>
                  <a:pt x="308" y="213"/>
                  <a:pt x="308" y="213"/>
                  <a:pt x="308" y="213"/>
                </a:cubicBezTo>
                <a:lnTo>
                  <a:pt x="354" y="213"/>
                </a:lnTo>
                <a:close/>
                <a:moveTo>
                  <a:pt x="288" y="330"/>
                </a:moveTo>
                <a:cubicBezTo>
                  <a:pt x="362" y="330"/>
                  <a:pt x="362" y="330"/>
                  <a:pt x="362" y="330"/>
                </a:cubicBezTo>
                <a:cubicBezTo>
                  <a:pt x="372" y="234"/>
                  <a:pt x="372" y="234"/>
                  <a:pt x="372" y="234"/>
                </a:cubicBezTo>
                <a:cubicBezTo>
                  <a:pt x="288" y="234"/>
                  <a:pt x="288" y="234"/>
                  <a:pt x="288" y="234"/>
                </a:cubicBezTo>
                <a:lnTo>
                  <a:pt x="288" y="33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2" name="Group 519">
            <a:extLst>
              <a:ext uri="{FF2B5EF4-FFF2-40B4-BE49-F238E27FC236}">
                <a16:creationId xmlns:a16="http://schemas.microsoft.com/office/drawing/2014/main" id="{F61808D3-74CB-438E-A1E3-9FDF8BCECB47}"/>
              </a:ext>
            </a:extLst>
          </p:cNvPr>
          <p:cNvGrpSpPr>
            <a:grpSpLocks noChangeAspect="1"/>
          </p:cNvGrpSpPr>
          <p:nvPr/>
        </p:nvGrpSpPr>
        <p:grpSpPr bwMode="auto">
          <a:xfrm>
            <a:off x="1792951" y="3271981"/>
            <a:ext cx="367982" cy="367982"/>
            <a:chOff x="4190" y="2983"/>
            <a:chExt cx="340" cy="340"/>
          </a:xfrm>
          <a:solidFill>
            <a:schemeClr val="accent6"/>
          </a:solidFill>
        </p:grpSpPr>
        <p:sp>
          <p:nvSpPr>
            <p:cNvPr id="513" name="Freeform 520">
              <a:extLst>
                <a:ext uri="{FF2B5EF4-FFF2-40B4-BE49-F238E27FC236}">
                  <a16:creationId xmlns:a16="http://schemas.microsoft.com/office/drawing/2014/main" id="{FC88A09C-41C3-4FA8-83F0-C4D5D6B83E60}"/>
                </a:ext>
              </a:extLst>
            </p:cNvPr>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4" name="Freeform 521">
              <a:extLst>
                <a:ext uri="{FF2B5EF4-FFF2-40B4-BE49-F238E27FC236}">
                  <a16:creationId xmlns:a16="http://schemas.microsoft.com/office/drawing/2014/main" id="{9D5B3BA9-86F9-4F62-8A6D-BB2C444B67A2}"/>
                </a:ext>
              </a:extLst>
            </p:cNvPr>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15" name="Group 226">
            <a:extLst>
              <a:ext uri="{FF2B5EF4-FFF2-40B4-BE49-F238E27FC236}">
                <a16:creationId xmlns:a16="http://schemas.microsoft.com/office/drawing/2014/main" id="{AD22CBD1-6371-484F-ABE5-0755D13CBC5F}"/>
              </a:ext>
            </a:extLst>
          </p:cNvPr>
          <p:cNvGrpSpPr>
            <a:grpSpLocks noChangeAspect="1"/>
          </p:cNvGrpSpPr>
          <p:nvPr/>
        </p:nvGrpSpPr>
        <p:grpSpPr bwMode="auto">
          <a:xfrm>
            <a:off x="2660709" y="3271981"/>
            <a:ext cx="369676" cy="369676"/>
            <a:chOff x="5048" y="783"/>
            <a:chExt cx="340" cy="340"/>
          </a:xfrm>
          <a:solidFill>
            <a:schemeClr val="accent3"/>
          </a:solidFill>
        </p:grpSpPr>
        <p:sp>
          <p:nvSpPr>
            <p:cNvPr id="516" name="Freeform 227">
              <a:extLst>
                <a:ext uri="{FF2B5EF4-FFF2-40B4-BE49-F238E27FC236}">
                  <a16:creationId xmlns:a16="http://schemas.microsoft.com/office/drawing/2014/main" id="{849017AD-6036-4742-9C4B-1E9117796B9C}"/>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228">
              <a:extLst>
                <a:ext uri="{FF2B5EF4-FFF2-40B4-BE49-F238E27FC236}">
                  <a16:creationId xmlns:a16="http://schemas.microsoft.com/office/drawing/2014/main" id="{B019E8D8-2E17-4C7F-8D10-C80DB9A8FA71}"/>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18" name="Freeform 232">
            <a:extLst>
              <a:ext uri="{FF2B5EF4-FFF2-40B4-BE49-F238E27FC236}">
                <a16:creationId xmlns:a16="http://schemas.microsoft.com/office/drawing/2014/main" id="{ECDADA50-8B51-4872-A676-8A944973870B}"/>
              </a:ext>
            </a:extLst>
          </p:cNvPr>
          <p:cNvSpPr>
            <a:spLocks noChangeAspect="1" noEditPoints="1"/>
          </p:cNvSpPr>
          <p:nvPr/>
        </p:nvSpPr>
        <p:spPr bwMode="auto">
          <a:xfrm>
            <a:off x="2225983" y="3271981"/>
            <a:ext cx="369676" cy="369676"/>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19" name="Group 305">
            <a:extLst>
              <a:ext uri="{FF2B5EF4-FFF2-40B4-BE49-F238E27FC236}">
                <a16:creationId xmlns:a16="http://schemas.microsoft.com/office/drawing/2014/main" id="{B4E60DC7-6E57-4498-B431-1617B5EA2D00}"/>
              </a:ext>
            </a:extLst>
          </p:cNvPr>
          <p:cNvGrpSpPr>
            <a:grpSpLocks noChangeAspect="1"/>
          </p:cNvGrpSpPr>
          <p:nvPr/>
        </p:nvGrpSpPr>
        <p:grpSpPr bwMode="auto">
          <a:xfrm>
            <a:off x="3530161" y="3271981"/>
            <a:ext cx="369676" cy="369676"/>
            <a:chOff x="6599" y="1143"/>
            <a:chExt cx="340" cy="340"/>
          </a:xfrm>
          <a:solidFill>
            <a:schemeClr val="accent4"/>
          </a:solidFill>
        </p:grpSpPr>
        <p:sp>
          <p:nvSpPr>
            <p:cNvPr id="520" name="Freeform 306">
              <a:extLst>
                <a:ext uri="{FF2B5EF4-FFF2-40B4-BE49-F238E27FC236}">
                  <a16:creationId xmlns:a16="http://schemas.microsoft.com/office/drawing/2014/main" id="{CA9B322B-F3D9-4CC6-B77A-F1E8B3080E35}"/>
                </a:ext>
              </a:extLst>
            </p:cNvPr>
            <p:cNvSpPr>
              <a:spLocks noEditPoints="1"/>
            </p:cNvSpPr>
            <p:nvPr/>
          </p:nvSpPr>
          <p:spPr bwMode="auto">
            <a:xfrm>
              <a:off x="6599" y="114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307">
              <a:extLst>
                <a:ext uri="{FF2B5EF4-FFF2-40B4-BE49-F238E27FC236}">
                  <a16:creationId xmlns:a16="http://schemas.microsoft.com/office/drawing/2014/main" id="{94B6730C-3261-4CDA-8F03-973ED723252B}"/>
                </a:ext>
              </a:extLst>
            </p:cNvPr>
            <p:cNvSpPr>
              <a:spLocks noEditPoints="1"/>
            </p:cNvSpPr>
            <p:nvPr/>
          </p:nvSpPr>
          <p:spPr bwMode="auto">
            <a:xfrm>
              <a:off x="6712" y="1205"/>
              <a:ext cx="113" cy="214"/>
            </a:xfrm>
            <a:custGeom>
              <a:avLst/>
              <a:gdLst>
                <a:gd name="T0" fmla="*/ 160 w 171"/>
                <a:gd name="T1" fmla="*/ 88 h 323"/>
                <a:gd name="T2" fmla="*/ 128 w 171"/>
                <a:gd name="T3" fmla="*/ 88 h 323"/>
                <a:gd name="T4" fmla="*/ 128 w 171"/>
                <a:gd name="T5" fmla="*/ 35 h 323"/>
                <a:gd name="T6" fmla="*/ 128 w 171"/>
                <a:gd name="T7" fmla="*/ 35 h 323"/>
                <a:gd name="T8" fmla="*/ 138 w 171"/>
                <a:gd name="T9" fmla="*/ 27 h 323"/>
                <a:gd name="T10" fmla="*/ 132 w 171"/>
                <a:gd name="T11" fmla="*/ 12 h 323"/>
                <a:gd name="T12" fmla="*/ 39 w 171"/>
                <a:gd name="T13" fmla="*/ 12 h 323"/>
                <a:gd name="T14" fmla="*/ 33 w 171"/>
                <a:gd name="T15" fmla="*/ 25 h 323"/>
                <a:gd name="T16" fmla="*/ 43 w 171"/>
                <a:gd name="T17" fmla="*/ 32 h 323"/>
                <a:gd name="T18" fmla="*/ 43 w 171"/>
                <a:gd name="T19" fmla="*/ 88 h 323"/>
                <a:gd name="T20" fmla="*/ 11 w 171"/>
                <a:gd name="T21" fmla="*/ 88 h 323"/>
                <a:gd name="T22" fmla="*/ 0 w 171"/>
                <a:gd name="T23" fmla="*/ 99 h 323"/>
                <a:gd name="T24" fmla="*/ 0 w 171"/>
                <a:gd name="T25" fmla="*/ 291 h 323"/>
                <a:gd name="T26" fmla="*/ 11 w 171"/>
                <a:gd name="T27" fmla="*/ 301 h 323"/>
                <a:gd name="T28" fmla="*/ 22 w 171"/>
                <a:gd name="T29" fmla="*/ 301 h 323"/>
                <a:gd name="T30" fmla="*/ 22 w 171"/>
                <a:gd name="T31" fmla="*/ 312 h 323"/>
                <a:gd name="T32" fmla="*/ 32 w 171"/>
                <a:gd name="T33" fmla="*/ 323 h 323"/>
                <a:gd name="T34" fmla="*/ 43 w 171"/>
                <a:gd name="T35" fmla="*/ 312 h 323"/>
                <a:gd name="T36" fmla="*/ 43 w 171"/>
                <a:gd name="T37" fmla="*/ 301 h 323"/>
                <a:gd name="T38" fmla="*/ 128 w 171"/>
                <a:gd name="T39" fmla="*/ 301 h 323"/>
                <a:gd name="T40" fmla="*/ 128 w 171"/>
                <a:gd name="T41" fmla="*/ 312 h 323"/>
                <a:gd name="T42" fmla="*/ 139 w 171"/>
                <a:gd name="T43" fmla="*/ 323 h 323"/>
                <a:gd name="T44" fmla="*/ 150 w 171"/>
                <a:gd name="T45" fmla="*/ 312 h 323"/>
                <a:gd name="T46" fmla="*/ 150 w 171"/>
                <a:gd name="T47" fmla="*/ 301 h 323"/>
                <a:gd name="T48" fmla="*/ 160 w 171"/>
                <a:gd name="T49" fmla="*/ 301 h 323"/>
                <a:gd name="T50" fmla="*/ 171 w 171"/>
                <a:gd name="T51" fmla="*/ 291 h 323"/>
                <a:gd name="T52" fmla="*/ 171 w 171"/>
                <a:gd name="T53" fmla="*/ 99 h 323"/>
                <a:gd name="T54" fmla="*/ 160 w 171"/>
                <a:gd name="T55" fmla="*/ 88 h 323"/>
                <a:gd name="T56" fmla="*/ 64 w 171"/>
                <a:gd name="T57" fmla="*/ 26 h 323"/>
                <a:gd name="T58" fmla="*/ 107 w 171"/>
                <a:gd name="T59" fmla="*/ 26 h 323"/>
                <a:gd name="T60" fmla="*/ 107 w 171"/>
                <a:gd name="T61" fmla="*/ 88 h 323"/>
                <a:gd name="T62" fmla="*/ 64 w 171"/>
                <a:gd name="T63" fmla="*/ 88 h 323"/>
                <a:gd name="T64" fmla="*/ 64 w 171"/>
                <a:gd name="T65" fmla="*/ 26 h 323"/>
                <a:gd name="T66" fmla="*/ 150 w 171"/>
                <a:gd name="T67" fmla="*/ 280 h 323"/>
                <a:gd name="T68" fmla="*/ 22 w 171"/>
                <a:gd name="T69" fmla="*/ 280 h 323"/>
                <a:gd name="T70" fmla="*/ 22 w 171"/>
                <a:gd name="T71" fmla="*/ 109 h 323"/>
                <a:gd name="T72" fmla="*/ 150 w 171"/>
                <a:gd name="T73" fmla="*/ 109 h 323"/>
                <a:gd name="T74" fmla="*/ 150 w 171"/>
                <a:gd name="T75" fmla="*/ 280 h 323"/>
                <a:gd name="T76" fmla="*/ 118 w 171"/>
                <a:gd name="T77" fmla="*/ 131 h 323"/>
                <a:gd name="T78" fmla="*/ 128 w 171"/>
                <a:gd name="T79" fmla="*/ 141 h 323"/>
                <a:gd name="T80" fmla="*/ 118 w 171"/>
                <a:gd name="T81" fmla="*/ 152 h 323"/>
                <a:gd name="T82" fmla="*/ 54 w 171"/>
                <a:gd name="T83" fmla="*/ 152 h 323"/>
                <a:gd name="T84" fmla="*/ 43 w 171"/>
                <a:gd name="T85" fmla="*/ 141 h 323"/>
                <a:gd name="T86" fmla="*/ 54 w 171"/>
                <a:gd name="T87" fmla="*/ 131 h 323"/>
                <a:gd name="T88" fmla="*/ 118 w 171"/>
                <a:gd name="T89" fmla="*/ 131 h 323"/>
                <a:gd name="T90" fmla="*/ 128 w 171"/>
                <a:gd name="T91" fmla="*/ 248 h 323"/>
                <a:gd name="T92" fmla="*/ 118 w 171"/>
                <a:gd name="T93" fmla="*/ 259 h 323"/>
                <a:gd name="T94" fmla="*/ 54 w 171"/>
                <a:gd name="T95" fmla="*/ 259 h 323"/>
                <a:gd name="T96" fmla="*/ 43 w 171"/>
                <a:gd name="T97" fmla="*/ 248 h 323"/>
                <a:gd name="T98" fmla="*/ 54 w 171"/>
                <a:gd name="T99" fmla="*/ 237 h 323"/>
                <a:gd name="T100" fmla="*/ 118 w 171"/>
                <a:gd name="T101" fmla="*/ 237 h 323"/>
                <a:gd name="T102" fmla="*/ 128 w 171"/>
                <a:gd name="T103" fmla="*/ 248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1" h="323">
                  <a:moveTo>
                    <a:pt x="160" y="88"/>
                  </a:moveTo>
                  <a:cubicBezTo>
                    <a:pt x="128" y="88"/>
                    <a:pt x="128" y="88"/>
                    <a:pt x="128" y="88"/>
                  </a:cubicBezTo>
                  <a:cubicBezTo>
                    <a:pt x="128" y="35"/>
                    <a:pt x="128" y="35"/>
                    <a:pt x="128" y="35"/>
                  </a:cubicBezTo>
                  <a:cubicBezTo>
                    <a:pt x="128" y="35"/>
                    <a:pt x="128" y="35"/>
                    <a:pt x="128" y="35"/>
                  </a:cubicBezTo>
                  <a:cubicBezTo>
                    <a:pt x="133" y="35"/>
                    <a:pt x="137" y="31"/>
                    <a:pt x="138" y="27"/>
                  </a:cubicBezTo>
                  <a:cubicBezTo>
                    <a:pt x="140" y="21"/>
                    <a:pt x="138" y="14"/>
                    <a:pt x="132" y="12"/>
                  </a:cubicBezTo>
                  <a:cubicBezTo>
                    <a:pt x="103" y="0"/>
                    <a:pt x="69" y="0"/>
                    <a:pt x="39" y="12"/>
                  </a:cubicBezTo>
                  <a:cubicBezTo>
                    <a:pt x="34" y="14"/>
                    <a:pt x="31" y="20"/>
                    <a:pt x="33" y="25"/>
                  </a:cubicBezTo>
                  <a:cubicBezTo>
                    <a:pt x="35" y="30"/>
                    <a:pt x="39" y="32"/>
                    <a:pt x="43" y="32"/>
                  </a:cubicBezTo>
                  <a:cubicBezTo>
                    <a:pt x="43" y="88"/>
                    <a:pt x="43" y="88"/>
                    <a:pt x="43" y="88"/>
                  </a:cubicBezTo>
                  <a:cubicBezTo>
                    <a:pt x="11" y="88"/>
                    <a:pt x="11" y="88"/>
                    <a:pt x="11" y="88"/>
                  </a:cubicBezTo>
                  <a:cubicBezTo>
                    <a:pt x="5" y="88"/>
                    <a:pt x="0" y="93"/>
                    <a:pt x="0" y="99"/>
                  </a:cubicBezTo>
                  <a:cubicBezTo>
                    <a:pt x="0" y="291"/>
                    <a:pt x="0" y="291"/>
                    <a:pt x="0" y="291"/>
                  </a:cubicBezTo>
                  <a:cubicBezTo>
                    <a:pt x="0" y="297"/>
                    <a:pt x="5" y="301"/>
                    <a:pt x="11" y="301"/>
                  </a:cubicBezTo>
                  <a:cubicBezTo>
                    <a:pt x="22" y="301"/>
                    <a:pt x="22" y="301"/>
                    <a:pt x="22" y="301"/>
                  </a:cubicBezTo>
                  <a:cubicBezTo>
                    <a:pt x="22" y="312"/>
                    <a:pt x="22" y="312"/>
                    <a:pt x="22" y="312"/>
                  </a:cubicBezTo>
                  <a:cubicBezTo>
                    <a:pt x="22" y="318"/>
                    <a:pt x="26" y="323"/>
                    <a:pt x="32" y="323"/>
                  </a:cubicBezTo>
                  <a:cubicBezTo>
                    <a:pt x="38" y="323"/>
                    <a:pt x="43" y="318"/>
                    <a:pt x="43" y="312"/>
                  </a:cubicBezTo>
                  <a:cubicBezTo>
                    <a:pt x="43" y="301"/>
                    <a:pt x="43" y="301"/>
                    <a:pt x="43" y="301"/>
                  </a:cubicBezTo>
                  <a:cubicBezTo>
                    <a:pt x="128" y="301"/>
                    <a:pt x="128" y="301"/>
                    <a:pt x="128" y="301"/>
                  </a:cubicBezTo>
                  <a:cubicBezTo>
                    <a:pt x="128" y="312"/>
                    <a:pt x="128" y="312"/>
                    <a:pt x="128" y="312"/>
                  </a:cubicBezTo>
                  <a:cubicBezTo>
                    <a:pt x="128" y="318"/>
                    <a:pt x="133" y="323"/>
                    <a:pt x="139" y="323"/>
                  </a:cubicBezTo>
                  <a:cubicBezTo>
                    <a:pt x="145" y="323"/>
                    <a:pt x="150" y="318"/>
                    <a:pt x="150" y="312"/>
                  </a:cubicBezTo>
                  <a:cubicBezTo>
                    <a:pt x="150" y="301"/>
                    <a:pt x="150" y="301"/>
                    <a:pt x="150" y="301"/>
                  </a:cubicBezTo>
                  <a:cubicBezTo>
                    <a:pt x="160" y="301"/>
                    <a:pt x="160" y="301"/>
                    <a:pt x="160" y="301"/>
                  </a:cubicBezTo>
                  <a:cubicBezTo>
                    <a:pt x="166" y="301"/>
                    <a:pt x="171" y="297"/>
                    <a:pt x="171" y="291"/>
                  </a:cubicBezTo>
                  <a:cubicBezTo>
                    <a:pt x="171" y="99"/>
                    <a:pt x="171" y="99"/>
                    <a:pt x="171" y="99"/>
                  </a:cubicBezTo>
                  <a:cubicBezTo>
                    <a:pt x="171" y="93"/>
                    <a:pt x="166" y="88"/>
                    <a:pt x="160" y="88"/>
                  </a:cubicBezTo>
                  <a:close/>
                  <a:moveTo>
                    <a:pt x="64" y="26"/>
                  </a:moveTo>
                  <a:cubicBezTo>
                    <a:pt x="78" y="23"/>
                    <a:pt x="93" y="23"/>
                    <a:pt x="107" y="26"/>
                  </a:cubicBezTo>
                  <a:cubicBezTo>
                    <a:pt x="107" y="88"/>
                    <a:pt x="107" y="88"/>
                    <a:pt x="107" y="88"/>
                  </a:cubicBezTo>
                  <a:cubicBezTo>
                    <a:pt x="64" y="88"/>
                    <a:pt x="64" y="88"/>
                    <a:pt x="64" y="88"/>
                  </a:cubicBezTo>
                  <a:lnTo>
                    <a:pt x="64" y="26"/>
                  </a:lnTo>
                  <a:close/>
                  <a:moveTo>
                    <a:pt x="150" y="280"/>
                  </a:moveTo>
                  <a:cubicBezTo>
                    <a:pt x="22" y="280"/>
                    <a:pt x="22" y="280"/>
                    <a:pt x="22" y="280"/>
                  </a:cubicBezTo>
                  <a:cubicBezTo>
                    <a:pt x="22" y="109"/>
                    <a:pt x="22" y="109"/>
                    <a:pt x="22" y="109"/>
                  </a:cubicBezTo>
                  <a:cubicBezTo>
                    <a:pt x="150" y="109"/>
                    <a:pt x="150" y="109"/>
                    <a:pt x="150" y="109"/>
                  </a:cubicBezTo>
                  <a:lnTo>
                    <a:pt x="150" y="280"/>
                  </a:lnTo>
                  <a:close/>
                  <a:moveTo>
                    <a:pt x="118" y="131"/>
                  </a:moveTo>
                  <a:cubicBezTo>
                    <a:pt x="124" y="131"/>
                    <a:pt x="128" y="135"/>
                    <a:pt x="128" y="141"/>
                  </a:cubicBezTo>
                  <a:cubicBezTo>
                    <a:pt x="128" y="147"/>
                    <a:pt x="124" y="152"/>
                    <a:pt x="118" y="152"/>
                  </a:cubicBezTo>
                  <a:cubicBezTo>
                    <a:pt x="54" y="152"/>
                    <a:pt x="54" y="152"/>
                    <a:pt x="54" y="152"/>
                  </a:cubicBezTo>
                  <a:cubicBezTo>
                    <a:pt x="48" y="152"/>
                    <a:pt x="43" y="147"/>
                    <a:pt x="43" y="141"/>
                  </a:cubicBezTo>
                  <a:cubicBezTo>
                    <a:pt x="43" y="135"/>
                    <a:pt x="48" y="131"/>
                    <a:pt x="54" y="131"/>
                  </a:cubicBezTo>
                  <a:lnTo>
                    <a:pt x="118" y="131"/>
                  </a:lnTo>
                  <a:close/>
                  <a:moveTo>
                    <a:pt x="128" y="248"/>
                  </a:moveTo>
                  <a:cubicBezTo>
                    <a:pt x="128" y="254"/>
                    <a:pt x="124" y="259"/>
                    <a:pt x="118" y="259"/>
                  </a:cubicBezTo>
                  <a:cubicBezTo>
                    <a:pt x="54" y="259"/>
                    <a:pt x="54" y="259"/>
                    <a:pt x="54" y="259"/>
                  </a:cubicBezTo>
                  <a:cubicBezTo>
                    <a:pt x="48" y="259"/>
                    <a:pt x="43" y="254"/>
                    <a:pt x="43" y="248"/>
                  </a:cubicBezTo>
                  <a:cubicBezTo>
                    <a:pt x="43" y="242"/>
                    <a:pt x="48" y="237"/>
                    <a:pt x="54" y="237"/>
                  </a:cubicBezTo>
                  <a:cubicBezTo>
                    <a:pt x="118" y="237"/>
                    <a:pt x="118" y="237"/>
                    <a:pt x="118" y="237"/>
                  </a:cubicBezTo>
                  <a:cubicBezTo>
                    <a:pt x="124" y="237"/>
                    <a:pt x="128" y="242"/>
                    <a:pt x="128" y="2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29" name="Freeform 311">
            <a:extLst>
              <a:ext uri="{FF2B5EF4-FFF2-40B4-BE49-F238E27FC236}">
                <a16:creationId xmlns:a16="http://schemas.microsoft.com/office/drawing/2014/main" id="{02DAED50-D418-41B9-9AA1-00FC8035AE12}"/>
              </a:ext>
            </a:extLst>
          </p:cNvPr>
          <p:cNvSpPr>
            <a:spLocks noChangeAspect="1" noEditPoints="1"/>
          </p:cNvSpPr>
          <p:nvPr/>
        </p:nvSpPr>
        <p:spPr bwMode="auto">
          <a:xfrm>
            <a:off x="3095435" y="3271981"/>
            <a:ext cx="369676" cy="369676"/>
          </a:xfrm>
          <a:custGeom>
            <a:avLst/>
            <a:gdLst>
              <a:gd name="T0" fmla="*/ 277 w 512"/>
              <a:gd name="T1" fmla="*/ 181 h 512"/>
              <a:gd name="T2" fmla="*/ 234 w 512"/>
              <a:gd name="T3" fmla="*/ 181 h 512"/>
              <a:gd name="T4" fmla="*/ 234 w 512"/>
              <a:gd name="T5" fmla="*/ 119 h 512"/>
              <a:gd name="T6" fmla="*/ 277 w 512"/>
              <a:gd name="T7" fmla="*/ 119 h 512"/>
              <a:gd name="T8" fmla="*/ 277 w 512"/>
              <a:gd name="T9" fmla="*/ 181 h 512"/>
              <a:gd name="T10" fmla="*/ 192 w 512"/>
              <a:gd name="T11" fmla="*/ 202 h 512"/>
              <a:gd name="T12" fmla="*/ 320 w 512"/>
              <a:gd name="T13" fmla="*/ 202 h 512"/>
              <a:gd name="T14" fmla="*/ 320 w 512"/>
              <a:gd name="T15" fmla="*/ 373 h 512"/>
              <a:gd name="T16" fmla="*/ 192 w 512"/>
              <a:gd name="T17" fmla="*/ 373 h 512"/>
              <a:gd name="T18" fmla="*/ 192 w 512"/>
              <a:gd name="T19" fmla="*/ 202 h 512"/>
              <a:gd name="T20" fmla="*/ 213 w 512"/>
              <a:gd name="T21" fmla="*/ 234 h 512"/>
              <a:gd name="T22" fmla="*/ 224 w 512"/>
              <a:gd name="T23" fmla="*/ 245 h 512"/>
              <a:gd name="T24" fmla="*/ 288 w 512"/>
              <a:gd name="T25" fmla="*/ 245 h 512"/>
              <a:gd name="T26" fmla="*/ 298 w 512"/>
              <a:gd name="T27" fmla="*/ 234 h 512"/>
              <a:gd name="T28" fmla="*/ 288 w 512"/>
              <a:gd name="T29" fmla="*/ 224 h 512"/>
              <a:gd name="T30" fmla="*/ 224 w 512"/>
              <a:gd name="T31" fmla="*/ 224 h 512"/>
              <a:gd name="T32" fmla="*/ 213 w 512"/>
              <a:gd name="T33" fmla="*/ 234 h 512"/>
              <a:gd name="T34" fmla="*/ 213 w 512"/>
              <a:gd name="T35" fmla="*/ 341 h 512"/>
              <a:gd name="T36" fmla="*/ 224 w 512"/>
              <a:gd name="T37" fmla="*/ 352 h 512"/>
              <a:gd name="T38" fmla="*/ 288 w 512"/>
              <a:gd name="T39" fmla="*/ 352 h 512"/>
              <a:gd name="T40" fmla="*/ 298 w 512"/>
              <a:gd name="T41" fmla="*/ 341 h 512"/>
              <a:gd name="T42" fmla="*/ 288 w 512"/>
              <a:gd name="T43" fmla="*/ 330 h 512"/>
              <a:gd name="T44" fmla="*/ 224 w 512"/>
              <a:gd name="T45" fmla="*/ 330 h 512"/>
              <a:gd name="T46" fmla="*/ 213 w 512"/>
              <a:gd name="T47" fmla="*/ 341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41 w 512"/>
              <a:gd name="T59" fmla="*/ 192 h 512"/>
              <a:gd name="T60" fmla="*/ 330 w 512"/>
              <a:gd name="T61" fmla="*/ 181 h 512"/>
              <a:gd name="T62" fmla="*/ 298 w 512"/>
              <a:gd name="T63" fmla="*/ 181 h 512"/>
              <a:gd name="T64" fmla="*/ 298 w 512"/>
              <a:gd name="T65" fmla="*/ 128 h 512"/>
              <a:gd name="T66" fmla="*/ 298 w 512"/>
              <a:gd name="T67" fmla="*/ 128 h 512"/>
              <a:gd name="T68" fmla="*/ 308 w 512"/>
              <a:gd name="T69" fmla="*/ 120 h 512"/>
              <a:gd name="T70" fmla="*/ 302 w 512"/>
              <a:gd name="T71" fmla="*/ 105 h 512"/>
              <a:gd name="T72" fmla="*/ 209 w 512"/>
              <a:gd name="T73" fmla="*/ 105 h 512"/>
              <a:gd name="T74" fmla="*/ 203 w 512"/>
              <a:gd name="T75" fmla="*/ 118 h 512"/>
              <a:gd name="T76" fmla="*/ 213 w 512"/>
              <a:gd name="T77" fmla="*/ 125 h 512"/>
              <a:gd name="T78" fmla="*/ 213 w 512"/>
              <a:gd name="T79" fmla="*/ 181 h 512"/>
              <a:gd name="T80" fmla="*/ 181 w 512"/>
              <a:gd name="T81" fmla="*/ 181 h 512"/>
              <a:gd name="T82" fmla="*/ 170 w 512"/>
              <a:gd name="T83" fmla="*/ 192 h 512"/>
              <a:gd name="T84" fmla="*/ 170 w 512"/>
              <a:gd name="T85" fmla="*/ 384 h 512"/>
              <a:gd name="T86" fmla="*/ 181 w 512"/>
              <a:gd name="T87" fmla="*/ 394 h 512"/>
              <a:gd name="T88" fmla="*/ 192 w 512"/>
              <a:gd name="T89" fmla="*/ 394 h 512"/>
              <a:gd name="T90" fmla="*/ 192 w 512"/>
              <a:gd name="T91" fmla="*/ 405 h 512"/>
              <a:gd name="T92" fmla="*/ 202 w 512"/>
              <a:gd name="T93" fmla="*/ 416 h 512"/>
              <a:gd name="T94" fmla="*/ 213 w 512"/>
              <a:gd name="T95" fmla="*/ 405 h 512"/>
              <a:gd name="T96" fmla="*/ 213 w 512"/>
              <a:gd name="T97" fmla="*/ 394 h 512"/>
              <a:gd name="T98" fmla="*/ 298 w 512"/>
              <a:gd name="T99" fmla="*/ 394 h 512"/>
              <a:gd name="T100" fmla="*/ 298 w 512"/>
              <a:gd name="T101" fmla="*/ 405 h 512"/>
              <a:gd name="T102" fmla="*/ 309 w 512"/>
              <a:gd name="T103" fmla="*/ 416 h 512"/>
              <a:gd name="T104" fmla="*/ 320 w 512"/>
              <a:gd name="T105" fmla="*/ 405 h 512"/>
              <a:gd name="T106" fmla="*/ 320 w 512"/>
              <a:gd name="T107" fmla="*/ 394 h 512"/>
              <a:gd name="T108" fmla="*/ 330 w 512"/>
              <a:gd name="T109" fmla="*/ 394 h 512"/>
              <a:gd name="T110" fmla="*/ 341 w 512"/>
              <a:gd name="T111" fmla="*/ 384 h 512"/>
              <a:gd name="T112" fmla="*/ 341 w 512"/>
              <a:gd name="T11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77" y="181"/>
                </a:moveTo>
                <a:cubicBezTo>
                  <a:pt x="234" y="181"/>
                  <a:pt x="234" y="181"/>
                  <a:pt x="234" y="181"/>
                </a:cubicBezTo>
                <a:cubicBezTo>
                  <a:pt x="234" y="119"/>
                  <a:pt x="234" y="119"/>
                  <a:pt x="234" y="119"/>
                </a:cubicBezTo>
                <a:cubicBezTo>
                  <a:pt x="248" y="116"/>
                  <a:pt x="263" y="116"/>
                  <a:pt x="277" y="119"/>
                </a:cubicBezTo>
                <a:lnTo>
                  <a:pt x="277" y="181"/>
                </a:lnTo>
                <a:close/>
                <a:moveTo>
                  <a:pt x="192" y="202"/>
                </a:moveTo>
                <a:cubicBezTo>
                  <a:pt x="320" y="202"/>
                  <a:pt x="320" y="202"/>
                  <a:pt x="320" y="202"/>
                </a:cubicBezTo>
                <a:cubicBezTo>
                  <a:pt x="320" y="373"/>
                  <a:pt x="320" y="373"/>
                  <a:pt x="320" y="373"/>
                </a:cubicBezTo>
                <a:cubicBezTo>
                  <a:pt x="192" y="373"/>
                  <a:pt x="192" y="373"/>
                  <a:pt x="192" y="373"/>
                </a:cubicBezTo>
                <a:lnTo>
                  <a:pt x="192" y="202"/>
                </a:lnTo>
                <a:close/>
                <a:moveTo>
                  <a:pt x="213" y="234"/>
                </a:moveTo>
                <a:cubicBezTo>
                  <a:pt x="213" y="240"/>
                  <a:pt x="218" y="245"/>
                  <a:pt x="224" y="245"/>
                </a:cubicBezTo>
                <a:cubicBezTo>
                  <a:pt x="288" y="245"/>
                  <a:pt x="288" y="245"/>
                  <a:pt x="288" y="245"/>
                </a:cubicBezTo>
                <a:cubicBezTo>
                  <a:pt x="294" y="245"/>
                  <a:pt x="298" y="240"/>
                  <a:pt x="298" y="234"/>
                </a:cubicBezTo>
                <a:cubicBezTo>
                  <a:pt x="298" y="228"/>
                  <a:pt x="294" y="224"/>
                  <a:pt x="288" y="224"/>
                </a:cubicBezTo>
                <a:cubicBezTo>
                  <a:pt x="224" y="224"/>
                  <a:pt x="224" y="224"/>
                  <a:pt x="224" y="224"/>
                </a:cubicBezTo>
                <a:cubicBezTo>
                  <a:pt x="218" y="224"/>
                  <a:pt x="213" y="228"/>
                  <a:pt x="213" y="234"/>
                </a:cubicBezTo>
                <a:close/>
                <a:moveTo>
                  <a:pt x="213" y="341"/>
                </a:moveTo>
                <a:cubicBezTo>
                  <a:pt x="213" y="347"/>
                  <a:pt x="218" y="352"/>
                  <a:pt x="224" y="352"/>
                </a:cubicBezTo>
                <a:cubicBezTo>
                  <a:pt x="288" y="352"/>
                  <a:pt x="288" y="352"/>
                  <a:pt x="288" y="352"/>
                </a:cubicBezTo>
                <a:cubicBezTo>
                  <a:pt x="294" y="352"/>
                  <a:pt x="298" y="347"/>
                  <a:pt x="298" y="341"/>
                </a:cubicBezTo>
                <a:cubicBezTo>
                  <a:pt x="298" y="335"/>
                  <a:pt x="294" y="330"/>
                  <a:pt x="288" y="330"/>
                </a:cubicBezTo>
                <a:cubicBezTo>
                  <a:pt x="224" y="330"/>
                  <a:pt x="224" y="330"/>
                  <a:pt x="224" y="330"/>
                </a:cubicBezTo>
                <a:cubicBezTo>
                  <a:pt x="218" y="330"/>
                  <a:pt x="213" y="335"/>
                  <a:pt x="213" y="34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92"/>
                </a:moveTo>
                <a:cubicBezTo>
                  <a:pt x="341" y="186"/>
                  <a:pt x="336" y="181"/>
                  <a:pt x="330" y="181"/>
                </a:cubicBezTo>
                <a:cubicBezTo>
                  <a:pt x="298" y="181"/>
                  <a:pt x="298" y="181"/>
                  <a:pt x="298" y="181"/>
                </a:cubicBezTo>
                <a:cubicBezTo>
                  <a:pt x="298" y="128"/>
                  <a:pt x="298" y="128"/>
                  <a:pt x="298" y="128"/>
                </a:cubicBezTo>
                <a:cubicBezTo>
                  <a:pt x="298" y="128"/>
                  <a:pt x="298" y="128"/>
                  <a:pt x="298" y="128"/>
                </a:cubicBezTo>
                <a:cubicBezTo>
                  <a:pt x="303" y="128"/>
                  <a:pt x="307" y="124"/>
                  <a:pt x="308" y="120"/>
                </a:cubicBezTo>
                <a:cubicBezTo>
                  <a:pt x="310" y="114"/>
                  <a:pt x="308" y="107"/>
                  <a:pt x="302" y="105"/>
                </a:cubicBezTo>
                <a:cubicBezTo>
                  <a:pt x="273" y="93"/>
                  <a:pt x="239" y="93"/>
                  <a:pt x="209" y="105"/>
                </a:cubicBezTo>
                <a:cubicBezTo>
                  <a:pt x="204" y="107"/>
                  <a:pt x="201" y="113"/>
                  <a:pt x="203" y="118"/>
                </a:cubicBezTo>
                <a:cubicBezTo>
                  <a:pt x="205" y="123"/>
                  <a:pt x="209" y="125"/>
                  <a:pt x="213" y="125"/>
                </a:cubicBezTo>
                <a:cubicBezTo>
                  <a:pt x="213" y="181"/>
                  <a:pt x="213" y="181"/>
                  <a:pt x="213" y="181"/>
                </a:cubicBezTo>
                <a:cubicBezTo>
                  <a:pt x="181" y="181"/>
                  <a:pt x="181" y="181"/>
                  <a:pt x="181" y="181"/>
                </a:cubicBezTo>
                <a:cubicBezTo>
                  <a:pt x="175" y="181"/>
                  <a:pt x="170" y="186"/>
                  <a:pt x="170" y="192"/>
                </a:cubicBezTo>
                <a:cubicBezTo>
                  <a:pt x="170" y="384"/>
                  <a:pt x="170" y="384"/>
                  <a:pt x="170" y="384"/>
                </a:cubicBezTo>
                <a:cubicBezTo>
                  <a:pt x="170" y="390"/>
                  <a:pt x="175" y="394"/>
                  <a:pt x="181" y="394"/>
                </a:cubicBezTo>
                <a:cubicBezTo>
                  <a:pt x="192" y="394"/>
                  <a:pt x="192" y="394"/>
                  <a:pt x="192" y="394"/>
                </a:cubicBezTo>
                <a:cubicBezTo>
                  <a:pt x="192" y="405"/>
                  <a:pt x="192" y="405"/>
                  <a:pt x="192" y="405"/>
                </a:cubicBezTo>
                <a:cubicBezTo>
                  <a:pt x="192" y="411"/>
                  <a:pt x="196" y="416"/>
                  <a:pt x="202" y="416"/>
                </a:cubicBezTo>
                <a:cubicBezTo>
                  <a:pt x="208" y="416"/>
                  <a:pt x="213" y="411"/>
                  <a:pt x="213" y="405"/>
                </a:cubicBezTo>
                <a:cubicBezTo>
                  <a:pt x="213" y="394"/>
                  <a:pt x="213" y="394"/>
                  <a:pt x="213" y="394"/>
                </a:cubicBezTo>
                <a:cubicBezTo>
                  <a:pt x="298" y="394"/>
                  <a:pt x="298" y="394"/>
                  <a:pt x="298" y="394"/>
                </a:cubicBezTo>
                <a:cubicBezTo>
                  <a:pt x="298" y="405"/>
                  <a:pt x="298" y="405"/>
                  <a:pt x="298" y="405"/>
                </a:cubicBezTo>
                <a:cubicBezTo>
                  <a:pt x="298" y="411"/>
                  <a:pt x="303" y="416"/>
                  <a:pt x="309" y="416"/>
                </a:cubicBezTo>
                <a:cubicBezTo>
                  <a:pt x="315" y="416"/>
                  <a:pt x="320" y="411"/>
                  <a:pt x="320" y="405"/>
                </a:cubicBezTo>
                <a:cubicBezTo>
                  <a:pt x="320" y="394"/>
                  <a:pt x="320" y="394"/>
                  <a:pt x="320" y="394"/>
                </a:cubicBezTo>
                <a:cubicBezTo>
                  <a:pt x="330" y="394"/>
                  <a:pt x="330" y="394"/>
                  <a:pt x="330" y="394"/>
                </a:cubicBezTo>
                <a:cubicBezTo>
                  <a:pt x="336" y="394"/>
                  <a:pt x="341" y="390"/>
                  <a:pt x="341" y="384"/>
                </a:cubicBezTo>
                <a:lnTo>
                  <a:pt x="341" y="1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32" name="Freeform 768">
            <a:extLst>
              <a:ext uri="{FF2B5EF4-FFF2-40B4-BE49-F238E27FC236}">
                <a16:creationId xmlns:a16="http://schemas.microsoft.com/office/drawing/2014/main" id="{7077901B-A1F2-4C97-BD51-CC3457B8AB77}"/>
              </a:ext>
            </a:extLst>
          </p:cNvPr>
          <p:cNvSpPr>
            <a:spLocks noChangeAspect="1" noEditPoints="1"/>
          </p:cNvSpPr>
          <p:nvPr/>
        </p:nvSpPr>
        <p:spPr bwMode="auto">
          <a:xfrm>
            <a:off x="3964887" y="3271981"/>
            <a:ext cx="367041" cy="367041"/>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3" name="Group 784">
            <a:extLst>
              <a:ext uri="{FF2B5EF4-FFF2-40B4-BE49-F238E27FC236}">
                <a16:creationId xmlns:a16="http://schemas.microsoft.com/office/drawing/2014/main" id="{2ACA1BE6-C120-46AE-934A-4E3EDA34994A}"/>
              </a:ext>
            </a:extLst>
          </p:cNvPr>
          <p:cNvGrpSpPr>
            <a:grpSpLocks noChangeAspect="1"/>
          </p:cNvGrpSpPr>
          <p:nvPr/>
        </p:nvGrpSpPr>
        <p:grpSpPr bwMode="auto">
          <a:xfrm>
            <a:off x="4396978" y="3271981"/>
            <a:ext cx="367041" cy="367041"/>
            <a:chOff x="2657" y="3361"/>
            <a:chExt cx="340" cy="340"/>
          </a:xfrm>
          <a:solidFill>
            <a:schemeClr val="accent3"/>
          </a:solidFill>
        </p:grpSpPr>
        <p:sp>
          <p:nvSpPr>
            <p:cNvPr id="534" name="Freeform 785">
              <a:extLst>
                <a:ext uri="{FF2B5EF4-FFF2-40B4-BE49-F238E27FC236}">
                  <a16:creationId xmlns:a16="http://schemas.microsoft.com/office/drawing/2014/main" id="{D4824C34-B758-402D-9C6D-07F7A9945BBC}"/>
                </a:ext>
              </a:extLst>
            </p:cNvPr>
            <p:cNvSpPr>
              <a:spLocks noEditPoints="1"/>
            </p:cNvSpPr>
            <p:nvPr/>
          </p:nvSpPr>
          <p:spPr bwMode="auto">
            <a:xfrm>
              <a:off x="2721" y="3439"/>
              <a:ext cx="212" cy="170"/>
            </a:xfrm>
            <a:custGeom>
              <a:avLst/>
              <a:gdLst>
                <a:gd name="T0" fmla="*/ 313 w 320"/>
                <a:gd name="T1" fmla="*/ 33 h 257"/>
                <a:gd name="T2" fmla="*/ 239 w 320"/>
                <a:gd name="T3" fmla="*/ 1 h 257"/>
                <a:gd name="T4" fmla="*/ 230 w 320"/>
                <a:gd name="T5" fmla="*/ 1 h 257"/>
                <a:gd name="T6" fmla="*/ 160 w 320"/>
                <a:gd name="T7" fmla="*/ 31 h 257"/>
                <a:gd name="T8" fmla="*/ 89 w 320"/>
                <a:gd name="T9" fmla="*/ 1 h 257"/>
                <a:gd name="T10" fmla="*/ 81 w 320"/>
                <a:gd name="T11" fmla="*/ 1 h 257"/>
                <a:gd name="T12" fmla="*/ 6 w 320"/>
                <a:gd name="T13" fmla="*/ 33 h 257"/>
                <a:gd name="T14" fmla="*/ 0 w 320"/>
                <a:gd name="T15" fmla="*/ 43 h 257"/>
                <a:gd name="T16" fmla="*/ 0 w 320"/>
                <a:gd name="T17" fmla="*/ 245 h 257"/>
                <a:gd name="T18" fmla="*/ 4 w 320"/>
                <a:gd name="T19" fmla="*/ 254 h 257"/>
                <a:gd name="T20" fmla="*/ 15 w 320"/>
                <a:gd name="T21" fmla="*/ 255 h 257"/>
                <a:gd name="T22" fmla="*/ 85 w 320"/>
                <a:gd name="T23" fmla="*/ 225 h 257"/>
                <a:gd name="T24" fmla="*/ 155 w 320"/>
                <a:gd name="T25" fmla="*/ 255 h 257"/>
                <a:gd name="T26" fmla="*/ 164 w 320"/>
                <a:gd name="T27" fmla="*/ 255 h 257"/>
                <a:gd name="T28" fmla="*/ 234 w 320"/>
                <a:gd name="T29" fmla="*/ 225 h 257"/>
                <a:gd name="T30" fmla="*/ 305 w 320"/>
                <a:gd name="T31" fmla="*/ 255 h 257"/>
                <a:gd name="T32" fmla="*/ 309 w 320"/>
                <a:gd name="T33" fmla="*/ 256 h 257"/>
                <a:gd name="T34" fmla="*/ 315 w 320"/>
                <a:gd name="T35" fmla="*/ 254 h 257"/>
                <a:gd name="T36" fmla="*/ 320 w 320"/>
                <a:gd name="T37" fmla="*/ 245 h 257"/>
                <a:gd name="T38" fmla="*/ 320 w 320"/>
                <a:gd name="T39" fmla="*/ 43 h 257"/>
                <a:gd name="T40" fmla="*/ 313 w 320"/>
                <a:gd name="T41" fmla="*/ 33 h 257"/>
                <a:gd name="T42" fmla="*/ 96 w 320"/>
                <a:gd name="T43" fmla="*/ 27 h 257"/>
                <a:gd name="T44" fmla="*/ 149 w 320"/>
                <a:gd name="T45" fmla="*/ 50 h 257"/>
                <a:gd name="T46" fmla="*/ 149 w 320"/>
                <a:gd name="T47" fmla="*/ 229 h 257"/>
                <a:gd name="T48" fmla="*/ 96 w 320"/>
                <a:gd name="T49" fmla="*/ 206 h 257"/>
                <a:gd name="T50" fmla="*/ 96 w 320"/>
                <a:gd name="T51" fmla="*/ 27 h 257"/>
                <a:gd name="T52" fmla="*/ 170 w 320"/>
                <a:gd name="T53" fmla="*/ 50 h 257"/>
                <a:gd name="T54" fmla="*/ 224 w 320"/>
                <a:gd name="T55" fmla="*/ 27 h 257"/>
                <a:gd name="T56" fmla="*/ 224 w 320"/>
                <a:gd name="T57" fmla="*/ 206 h 257"/>
                <a:gd name="T58" fmla="*/ 170 w 320"/>
                <a:gd name="T59" fmla="*/ 229 h 257"/>
                <a:gd name="T60" fmla="*/ 170 w 320"/>
                <a:gd name="T61" fmla="*/ 50 h 257"/>
                <a:gd name="T62" fmla="*/ 21 w 320"/>
                <a:gd name="T63" fmla="*/ 50 h 257"/>
                <a:gd name="T64" fmla="*/ 74 w 320"/>
                <a:gd name="T65" fmla="*/ 27 h 257"/>
                <a:gd name="T66" fmla="*/ 74 w 320"/>
                <a:gd name="T67" fmla="*/ 206 h 257"/>
                <a:gd name="T68" fmla="*/ 21 w 320"/>
                <a:gd name="T69" fmla="*/ 229 h 257"/>
                <a:gd name="T70" fmla="*/ 21 w 320"/>
                <a:gd name="T71" fmla="*/ 50 h 257"/>
                <a:gd name="T72" fmla="*/ 298 w 320"/>
                <a:gd name="T73" fmla="*/ 229 h 257"/>
                <a:gd name="T74" fmla="*/ 245 w 320"/>
                <a:gd name="T75" fmla="*/ 206 h 257"/>
                <a:gd name="T76" fmla="*/ 245 w 320"/>
                <a:gd name="T77" fmla="*/ 27 h 257"/>
                <a:gd name="T78" fmla="*/ 298 w 320"/>
                <a:gd name="T79" fmla="*/ 50 h 257"/>
                <a:gd name="T80" fmla="*/ 298 w 320"/>
                <a:gd name="T81" fmla="*/ 2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57">
                  <a:moveTo>
                    <a:pt x="313" y="33"/>
                  </a:moveTo>
                  <a:cubicBezTo>
                    <a:pt x="239" y="1"/>
                    <a:pt x="239" y="1"/>
                    <a:pt x="239" y="1"/>
                  </a:cubicBezTo>
                  <a:cubicBezTo>
                    <a:pt x="236" y="0"/>
                    <a:pt x="233" y="0"/>
                    <a:pt x="230" y="1"/>
                  </a:cubicBezTo>
                  <a:cubicBezTo>
                    <a:pt x="160" y="31"/>
                    <a:pt x="160" y="31"/>
                    <a:pt x="160" y="31"/>
                  </a:cubicBezTo>
                  <a:cubicBezTo>
                    <a:pt x="89" y="1"/>
                    <a:pt x="89" y="1"/>
                    <a:pt x="89" y="1"/>
                  </a:cubicBezTo>
                  <a:cubicBezTo>
                    <a:pt x="87" y="0"/>
                    <a:pt x="83" y="0"/>
                    <a:pt x="81" y="1"/>
                  </a:cubicBezTo>
                  <a:cubicBezTo>
                    <a:pt x="6" y="33"/>
                    <a:pt x="6" y="33"/>
                    <a:pt x="6" y="33"/>
                  </a:cubicBezTo>
                  <a:cubicBezTo>
                    <a:pt x="2" y="35"/>
                    <a:pt x="0" y="38"/>
                    <a:pt x="0" y="43"/>
                  </a:cubicBezTo>
                  <a:cubicBezTo>
                    <a:pt x="0" y="245"/>
                    <a:pt x="0" y="245"/>
                    <a:pt x="0" y="245"/>
                  </a:cubicBezTo>
                  <a:cubicBezTo>
                    <a:pt x="0" y="249"/>
                    <a:pt x="1" y="252"/>
                    <a:pt x="4" y="254"/>
                  </a:cubicBezTo>
                  <a:cubicBezTo>
                    <a:pt x="7" y="256"/>
                    <a:pt x="11" y="257"/>
                    <a:pt x="15" y="255"/>
                  </a:cubicBezTo>
                  <a:cubicBezTo>
                    <a:pt x="85" y="225"/>
                    <a:pt x="85" y="225"/>
                    <a:pt x="85" y="225"/>
                  </a:cubicBezTo>
                  <a:cubicBezTo>
                    <a:pt x="155" y="255"/>
                    <a:pt x="155" y="255"/>
                    <a:pt x="155" y="255"/>
                  </a:cubicBezTo>
                  <a:cubicBezTo>
                    <a:pt x="158" y="256"/>
                    <a:pt x="161" y="256"/>
                    <a:pt x="164" y="255"/>
                  </a:cubicBezTo>
                  <a:cubicBezTo>
                    <a:pt x="234" y="225"/>
                    <a:pt x="234" y="225"/>
                    <a:pt x="234" y="225"/>
                  </a:cubicBezTo>
                  <a:cubicBezTo>
                    <a:pt x="305" y="255"/>
                    <a:pt x="305" y="255"/>
                    <a:pt x="305" y="255"/>
                  </a:cubicBezTo>
                  <a:cubicBezTo>
                    <a:pt x="306" y="256"/>
                    <a:pt x="308" y="256"/>
                    <a:pt x="309" y="256"/>
                  </a:cubicBezTo>
                  <a:cubicBezTo>
                    <a:pt x="311" y="256"/>
                    <a:pt x="313" y="255"/>
                    <a:pt x="315" y="254"/>
                  </a:cubicBezTo>
                  <a:cubicBezTo>
                    <a:pt x="318" y="252"/>
                    <a:pt x="320" y="249"/>
                    <a:pt x="320" y="245"/>
                  </a:cubicBezTo>
                  <a:cubicBezTo>
                    <a:pt x="320" y="43"/>
                    <a:pt x="320" y="43"/>
                    <a:pt x="320" y="43"/>
                  </a:cubicBezTo>
                  <a:cubicBezTo>
                    <a:pt x="320" y="38"/>
                    <a:pt x="317" y="35"/>
                    <a:pt x="313" y="33"/>
                  </a:cubicBezTo>
                  <a:close/>
                  <a:moveTo>
                    <a:pt x="96" y="27"/>
                  </a:moveTo>
                  <a:cubicBezTo>
                    <a:pt x="149" y="50"/>
                    <a:pt x="149" y="50"/>
                    <a:pt x="149" y="50"/>
                  </a:cubicBezTo>
                  <a:cubicBezTo>
                    <a:pt x="149" y="229"/>
                    <a:pt x="149" y="229"/>
                    <a:pt x="149" y="229"/>
                  </a:cubicBezTo>
                  <a:cubicBezTo>
                    <a:pt x="96" y="206"/>
                    <a:pt x="96" y="206"/>
                    <a:pt x="96" y="206"/>
                  </a:cubicBezTo>
                  <a:lnTo>
                    <a:pt x="96" y="27"/>
                  </a:lnTo>
                  <a:close/>
                  <a:moveTo>
                    <a:pt x="170" y="50"/>
                  </a:moveTo>
                  <a:cubicBezTo>
                    <a:pt x="224" y="27"/>
                    <a:pt x="224" y="27"/>
                    <a:pt x="224" y="27"/>
                  </a:cubicBezTo>
                  <a:cubicBezTo>
                    <a:pt x="224" y="206"/>
                    <a:pt x="224" y="206"/>
                    <a:pt x="224" y="206"/>
                  </a:cubicBezTo>
                  <a:cubicBezTo>
                    <a:pt x="170" y="229"/>
                    <a:pt x="170" y="229"/>
                    <a:pt x="170" y="229"/>
                  </a:cubicBezTo>
                  <a:lnTo>
                    <a:pt x="170" y="50"/>
                  </a:lnTo>
                  <a:close/>
                  <a:moveTo>
                    <a:pt x="21" y="50"/>
                  </a:moveTo>
                  <a:cubicBezTo>
                    <a:pt x="74" y="27"/>
                    <a:pt x="74" y="27"/>
                    <a:pt x="74" y="27"/>
                  </a:cubicBezTo>
                  <a:cubicBezTo>
                    <a:pt x="74" y="206"/>
                    <a:pt x="74" y="206"/>
                    <a:pt x="74" y="206"/>
                  </a:cubicBezTo>
                  <a:cubicBezTo>
                    <a:pt x="21" y="229"/>
                    <a:pt x="21" y="229"/>
                    <a:pt x="21" y="229"/>
                  </a:cubicBezTo>
                  <a:lnTo>
                    <a:pt x="21" y="50"/>
                  </a:lnTo>
                  <a:close/>
                  <a:moveTo>
                    <a:pt x="298" y="229"/>
                  </a:moveTo>
                  <a:cubicBezTo>
                    <a:pt x="245" y="206"/>
                    <a:pt x="245" y="206"/>
                    <a:pt x="245" y="206"/>
                  </a:cubicBezTo>
                  <a:cubicBezTo>
                    <a:pt x="245" y="27"/>
                    <a:pt x="245" y="27"/>
                    <a:pt x="245" y="27"/>
                  </a:cubicBezTo>
                  <a:cubicBezTo>
                    <a:pt x="298" y="50"/>
                    <a:pt x="298" y="50"/>
                    <a:pt x="298" y="50"/>
                  </a:cubicBezTo>
                  <a:lnTo>
                    <a:pt x="298" y="2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5" name="Freeform 786">
              <a:extLst>
                <a:ext uri="{FF2B5EF4-FFF2-40B4-BE49-F238E27FC236}">
                  <a16:creationId xmlns:a16="http://schemas.microsoft.com/office/drawing/2014/main" id="{251CB284-0FC0-46B9-BAEB-4799F9CB75B0}"/>
                </a:ext>
              </a:extLst>
            </p:cNvPr>
            <p:cNvSpPr>
              <a:spLocks noEditPoints="1"/>
            </p:cNvSpPr>
            <p:nvPr/>
          </p:nvSpPr>
          <p:spPr bwMode="auto">
            <a:xfrm>
              <a:off x="2657" y="33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6" name="Freeform 288">
            <a:extLst>
              <a:ext uri="{FF2B5EF4-FFF2-40B4-BE49-F238E27FC236}">
                <a16:creationId xmlns:a16="http://schemas.microsoft.com/office/drawing/2014/main" id="{979FEDD6-818D-4101-8043-AB1F97B6C897}"/>
              </a:ext>
            </a:extLst>
          </p:cNvPr>
          <p:cNvSpPr>
            <a:spLocks noChangeAspect="1" noEditPoints="1"/>
          </p:cNvSpPr>
          <p:nvPr/>
        </p:nvSpPr>
        <p:spPr bwMode="auto">
          <a:xfrm>
            <a:off x="4829069" y="3271981"/>
            <a:ext cx="367041" cy="367041"/>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37" name="Group 291">
            <a:extLst>
              <a:ext uri="{FF2B5EF4-FFF2-40B4-BE49-F238E27FC236}">
                <a16:creationId xmlns:a16="http://schemas.microsoft.com/office/drawing/2014/main" id="{23376252-2302-4F8D-94F7-7304502444BF}"/>
              </a:ext>
            </a:extLst>
          </p:cNvPr>
          <p:cNvGrpSpPr>
            <a:grpSpLocks noChangeAspect="1"/>
          </p:cNvGrpSpPr>
          <p:nvPr/>
        </p:nvGrpSpPr>
        <p:grpSpPr bwMode="auto">
          <a:xfrm>
            <a:off x="5261160" y="3271981"/>
            <a:ext cx="367041" cy="367041"/>
            <a:chOff x="1197" y="1315"/>
            <a:chExt cx="340" cy="340"/>
          </a:xfrm>
          <a:solidFill>
            <a:schemeClr val="accent4"/>
          </a:solidFill>
        </p:grpSpPr>
        <p:sp>
          <p:nvSpPr>
            <p:cNvPr id="538" name="Freeform 292">
              <a:extLst>
                <a:ext uri="{FF2B5EF4-FFF2-40B4-BE49-F238E27FC236}">
                  <a16:creationId xmlns:a16="http://schemas.microsoft.com/office/drawing/2014/main" id="{B6F53C9A-7D9B-4273-A26C-7E5501FE7C0A}"/>
                </a:ext>
              </a:extLst>
            </p:cNvPr>
            <p:cNvSpPr>
              <a:spLocks noEditPoints="1"/>
            </p:cNvSpPr>
            <p:nvPr/>
          </p:nvSpPr>
          <p:spPr bwMode="auto">
            <a:xfrm>
              <a:off x="1197" y="13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9" name="Freeform 293">
              <a:extLst>
                <a:ext uri="{FF2B5EF4-FFF2-40B4-BE49-F238E27FC236}">
                  <a16:creationId xmlns:a16="http://schemas.microsoft.com/office/drawing/2014/main" id="{38166CAB-9E1B-42D5-9815-B832DD7C59E1}"/>
                </a:ext>
              </a:extLst>
            </p:cNvPr>
            <p:cNvSpPr>
              <a:spLocks noEditPoints="1"/>
            </p:cNvSpPr>
            <p:nvPr/>
          </p:nvSpPr>
          <p:spPr bwMode="auto">
            <a:xfrm>
              <a:off x="1261" y="1442"/>
              <a:ext cx="212" cy="113"/>
            </a:xfrm>
            <a:custGeom>
              <a:avLst/>
              <a:gdLst>
                <a:gd name="T0" fmla="*/ 317 w 320"/>
                <a:gd name="T1" fmla="*/ 45 h 170"/>
                <a:gd name="T2" fmla="*/ 295 w 320"/>
                <a:gd name="T3" fmla="*/ 24 h 170"/>
                <a:gd name="T4" fmla="*/ 288 w 320"/>
                <a:gd name="T5" fmla="*/ 21 h 170"/>
                <a:gd name="T6" fmla="*/ 245 w 320"/>
                <a:gd name="T7" fmla="*/ 21 h 170"/>
                <a:gd name="T8" fmla="*/ 245 w 320"/>
                <a:gd name="T9" fmla="*/ 10 h 170"/>
                <a:gd name="T10" fmla="*/ 234 w 320"/>
                <a:gd name="T11" fmla="*/ 0 h 170"/>
                <a:gd name="T12" fmla="*/ 10 w 320"/>
                <a:gd name="T13" fmla="*/ 0 h 170"/>
                <a:gd name="T14" fmla="*/ 0 w 320"/>
                <a:gd name="T15" fmla="*/ 10 h 170"/>
                <a:gd name="T16" fmla="*/ 0 w 320"/>
                <a:gd name="T17" fmla="*/ 117 h 170"/>
                <a:gd name="T18" fmla="*/ 10 w 320"/>
                <a:gd name="T19" fmla="*/ 128 h 170"/>
                <a:gd name="T20" fmla="*/ 23 w 320"/>
                <a:gd name="T21" fmla="*/ 128 h 170"/>
                <a:gd name="T22" fmla="*/ 21 w 320"/>
                <a:gd name="T23" fmla="*/ 138 h 170"/>
                <a:gd name="T24" fmla="*/ 53 w 320"/>
                <a:gd name="T25" fmla="*/ 170 h 170"/>
                <a:gd name="T26" fmla="*/ 80 w 320"/>
                <a:gd name="T27" fmla="*/ 156 h 170"/>
                <a:gd name="T28" fmla="*/ 106 w 320"/>
                <a:gd name="T29" fmla="*/ 170 h 170"/>
                <a:gd name="T30" fmla="*/ 138 w 320"/>
                <a:gd name="T31" fmla="*/ 138 h 170"/>
                <a:gd name="T32" fmla="*/ 136 w 320"/>
                <a:gd name="T33" fmla="*/ 128 h 170"/>
                <a:gd name="T34" fmla="*/ 234 w 320"/>
                <a:gd name="T35" fmla="*/ 128 h 170"/>
                <a:gd name="T36" fmla="*/ 236 w 320"/>
                <a:gd name="T37" fmla="*/ 128 h 170"/>
                <a:gd name="T38" fmla="*/ 234 w 320"/>
                <a:gd name="T39" fmla="*/ 138 h 170"/>
                <a:gd name="T40" fmla="*/ 266 w 320"/>
                <a:gd name="T41" fmla="*/ 170 h 170"/>
                <a:gd name="T42" fmla="*/ 298 w 320"/>
                <a:gd name="T43" fmla="*/ 138 h 170"/>
                <a:gd name="T44" fmla="*/ 296 w 320"/>
                <a:gd name="T45" fmla="*/ 128 h 170"/>
                <a:gd name="T46" fmla="*/ 309 w 320"/>
                <a:gd name="T47" fmla="*/ 128 h 170"/>
                <a:gd name="T48" fmla="*/ 320 w 320"/>
                <a:gd name="T49" fmla="*/ 117 h 170"/>
                <a:gd name="T50" fmla="*/ 320 w 320"/>
                <a:gd name="T51" fmla="*/ 53 h 170"/>
                <a:gd name="T52" fmla="*/ 317 w 320"/>
                <a:gd name="T53" fmla="*/ 45 h 170"/>
                <a:gd name="T54" fmla="*/ 21 w 320"/>
                <a:gd name="T55" fmla="*/ 21 h 170"/>
                <a:gd name="T56" fmla="*/ 224 w 320"/>
                <a:gd name="T57" fmla="*/ 21 h 170"/>
                <a:gd name="T58" fmla="*/ 224 w 320"/>
                <a:gd name="T59" fmla="*/ 32 h 170"/>
                <a:gd name="T60" fmla="*/ 224 w 320"/>
                <a:gd name="T61" fmla="*/ 106 h 170"/>
                <a:gd name="T62" fmla="*/ 21 w 320"/>
                <a:gd name="T63" fmla="*/ 106 h 170"/>
                <a:gd name="T64" fmla="*/ 21 w 320"/>
                <a:gd name="T65" fmla="*/ 21 h 170"/>
                <a:gd name="T66" fmla="*/ 53 w 320"/>
                <a:gd name="T67" fmla="*/ 149 h 170"/>
                <a:gd name="T68" fmla="*/ 42 w 320"/>
                <a:gd name="T69" fmla="*/ 138 h 170"/>
                <a:gd name="T70" fmla="*/ 53 w 320"/>
                <a:gd name="T71" fmla="*/ 128 h 170"/>
                <a:gd name="T72" fmla="*/ 64 w 320"/>
                <a:gd name="T73" fmla="*/ 138 h 170"/>
                <a:gd name="T74" fmla="*/ 53 w 320"/>
                <a:gd name="T75" fmla="*/ 149 h 170"/>
                <a:gd name="T76" fmla="*/ 117 w 320"/>
                <a:gd name="T77" fmla="*/ 138 h 170"/>
                <a:gd name="T78" fmla="*/ 106 w 320"/>
                <a:gd name="T79" fmla="*/ 149 h 170"/>
                <a:gd name="T80" fmla="*/ 96 w 320"/>
                <a:gd name="T81" fmla="*/ 138 h 170"/>
                <a:gd name="T82" fmla="*/ 106 w 320"/>
                <a:gd name="T83" fmla="*/ 128 h 170"/>
                <a:gd name="T84" fmla="*/ 117 w 320"/>
                <a:gd name="T85" fmla="*/ 138 h 170"/>
                <a:gd name="T86" fmla="*/ 277 w 320"/>
                <a:gd name="T87" fmla="*/ 138 h 170"/>
                <a:gd name="T88" fmla="*/ 266 w 320"/>
                <a:gd name="T89" fmla="*/ 149 h 170"/>
                <a:gd name="T90" fmla="*/ 256 w 320"/>
                <a:gd name="T91" fmla="*/ 138 h 170"/>
                <a:gd name="T92" fmla="*/ 266 w 320"/>
                <a:gd name="T93" fmla="*/ 128 h 170"/>
                <a:gd name="T94" fmla="*/ 277 w 320"/>
                <a:gd name="T95" fmla="*/ 138 h 170"/>
                <a:gd name="T96" fmla="*/ 298 w 320"/>
                <a:gd name="T97" fmla="*/ 106 h 170"/>
                <a:gd name="T98" fmla="*/ 245 w 320"/>
                <a:gd name="T99" fmla="*/ 106 h 170"/>
                <a:gd name="T100" fmla="*/ 245 w 320"/>
                <a:gd name="T101" fmla="*/ 42 h 170"/>
                <a:gd name="T102" fmla="*/ 283 w 320"/>
                <a:gd name="T103" fmla="*/ 42 h 170"/>
                <a:gd name="T104" fmla="*/ 298 w 320"/>
                <a:gd name="T105" fmla="*/ 57 h 170"/>
                <a:gd name="T106" fmla="*/ 298 w 320"/>
                <a:gd name="T107"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170">
                  <a:moveTo>
                    <a:pt x="317" y="45"/>
                  </a:moveTo>
                  <a:cubicBezTo>
                    <a:pt x="295" y="24"/>
                    <a:pt x="295" y="24"/>
                    <a:pt x="295" y="24"/>
                  </a:cubicBezTo>
                  <a:cubicBezTo>
                    <a:pt x="293" y="22"/>
                    <a:pt x="290" y="21"/>
                    <a:pt x="288" y="21"/>
                  </a:cubicBezTo>
                  <a:cubicBezTo>
                    <a:pt x="245" y="21"/>
                    <a:pt x="245" y="21"/>
                    <a:pt x="245" y="21"/>
                  </a:cubicBezTo>
                  <a:cubicBezTo>
                    <a:pt x="245" y="10"/>
                    <a:pt x="245" y="10"/>
                    <a:pt x="245" y="10"/>
                  </a:cubicBezTo>
                  <a:cubicBezTo>
                    <a:pt x="245" y="4"/>
                    <a:pt x="240" y="0"/>
                    <a:pt x="234" y="0"/>
                  </a:cubicBezTo>
                  <a:cubicBezTo>
                    <a:pt x="10" y="0"/>
                    <a:pt x="10" y="0"/>
                    <a:pt x="10" y="0"/>
                  </a:cubicBezTo>
                  <a:cubicBezTo>
                    <a:pt x="4" y="0"/>
                    <a:pt x="0" y="4"/>
                    <a:pt x="0" y="10"/>
                  </a:cubicBezTo>
                  <a:cubicBezTo>
                    <a:pt x="0" y="117"/>
                    <a:pt x="0" y="117"/>
                    <a:pt x="0" y="117"/>
                  </a:cubicBezTo>
                  <a:cubicBezTo>
                    <a:pt x="0" y="123"/>
                    <a:pt x="4" y="128"/>
                    <a:pt x="10" y="128"/>
                  </a:cubicBezTo>
                  <a:cubicBezTo>
                    <a:pt x="23" y="128"/>
                    <a:pt x="23" y="128"/>
                    <a:pt x="23" y="128"/>
                  </a:cubicBezTo>
                  <a:cubicBezTo>
                    <a:pt x="22" y="131"/>
                    <a:pt x="21" y="135"/>
                    <a:pt x="21" y="138"/>
                  </a:cubicBezTo>
                  <a:cubicBezTo>
                    <a:pt x="21" y="156"/>
                    <a:pt x="35" y="170"/>
                    <a:pt x="53" y="170"/>
                  </a:cubicBezTo>
                  <a:cubicBezTo>
                    <a:pt x="64" y="170"/>
                    <a:pt x="74" y="165"/>
                    <a:pt x="80" y="156"/>
                  </a:cubicBezTo>
                  <a:cubicBezTo>
                    <a:pt x="85" y="165"/>
                    <a:pt x="95" y="170"/>
                    <a:pt x="106" y="170"/>
                  </a:cubicBezTo>
                  <a:cubicBezTo>
                    <a:pt x="124" y="170"/>
                    <a:pt x="138" y="156"/>
                    <a:pt x="138" y="138"/>
                  </a:cubicBezTo>
                  <a:cubicBezTo>
                    <a:pt x="138" y="135"/>
                    <a:pt x="138" y="131"/>
                    <a:pt x="136" y="128"/>
                  </a:cubicBezTo>
                  <a:cubicBezTo>
                    <a:pt x="234" y="128"/>
                    <a:pt x="234" y="128"/>
                    <a:pt x="234" y="128"/>
                  </a:cubicBezTo>
                  <a:cubicBezTo>
                    <a:pt x="236" y="128"/>
                    <a:pt x="236" y="128"/>
                    <a:pt x="236" y="128"/>
                  </a:cubicBezTo>
                  <a:cubicBezTo>
                    <a:pt x="235" y="131"/>
                    <a:pt x="234" y="135"/>
                    <a:pt x="234" y="138"/>
                  </a:cubicBezTo>
                  <a:cubicBezTo>
                    <a:pt x="234" y="156"/>
                    <a:pt x="249" y="170"/>
                    <a:pt x="266" y="170"/>
                  </a:cubicBezTo>
                  <a:cubicBezTo>
                    <a:pt x="284" y="170"/>
                    <a:pt x="298" y="156"/>
                    <a:pt x="298" y="138"/>
                  </a:cubicBezTo>
                  <a:cubicBezTo>
                    <a:pt x="298" y="135"/>
                    <a:pt x="298" y="131"/>
                    <a:pt x="296" y="128"/>
                  </a:cubicBezTo>
                  <a:cubicBezTo>
                    <a:pt x="309" y="128"/>
                    <a:pt x="309" y="128"/>
                    <a:pt x="309" y="128"/>
                  </a:cubicBezTo>
                  <a:cubicBezTo>
                    <a:pt x="315" y="128"/>
                    <a:pt x="320" y="123"/>
                    <a:pt x="320" y="117"/>
                  </a:cubicBezTo>
                  <a:cubicBezTo>
                    <a:pt x="320" y="53"/>
                    <a:pt x="320" y="53"/>
                    <a:pt x="320" y="53"/>
                  </a:cubicBezTo>
                  <a:cubicBezTo>
                    <a:pt x="320" y="50"/>
                    <a:pt x="319" y="47"/>
                    <a:pt x="317" y="45"/>
                  </a:cubicBezTo>
                  <a:close/>
                  <a:moveTo>
                    <a:pt x="21" y="21"/>
                  </a:moveTo>
                  <a:cubicBezTo>
                    <a:pt x="224" y="21"/>
                    <a:pt x="224" y="21"/>
                    <a:pt x="224" y="21"/>
                  </a:cubicBezTo>
                  <a:cubicBezTo>
                    <a:pt x="224" y="32"/>
                    <a:pt x="224" y="32"/>
                    <a:pt x="224" y="32"/>
                  </a:cubicBezTo>
                  <a:cubicBezTo>
                    <a:pt x="224" y="106"/>
                    <a:pt x="224" y="106"/>
                    <a:pt x="224" y="106"/>
                  </a:cubicBezTo>
                  <a:cubicBezTo>
                    <a:pt x="21" y="106"/>
                    <a:pt x="21" y="106"/>
                    <a:pt x="21" y="106"/>
                  </a:cubicBezTo>
                  <a:lnTo>
                    <a:pt x="21" y="21"/>
                  </a:lnTo>
                  <a:close/>
                  <a:moveTo>
                    <a:pt x="53" y="149"/>
                  </a:moveTo>
                  <a:cubicBezTo>
                    <a:pt x="47" y="149"/>
                    <a:pt x="42" y="144"/>
                    <a:pt x="42" y="138"/>
                  </a:cubicBezTo>
                  <a:cubicBezTo>
                    <a:pt x="42" y="132"/>
                    <a:pt x="47" y="128"/>
                    <a:pt x="53" y="128"/>
                  </a:cubicBezTo>
                  <a:cubicBezTo>
                    <a:pt x="59" y="128"/>
                    <a:pt x="64" y="132"/>
                    <a:pt x="64" y="138"/>
                  </a:cubicBezTo>
                  <a:cubicBezTo>
                    <a:pt x="64" y="144"/>
                    <a:pt x="59" y="149"/>
                    <a:pt x="53" y="149"/>
                  </a:cubicBezTo>
                  <a:close/>
                  <a:moveTo>
                    <a:pt x="117" y="138"/>
                  </a:moveTo>
                  <a:cubicBezTo>
                    <a:pt x="117" y="144"/>
                    <a:pt x="112" y="149"/>
                    <a:pt x="106" y="149"/>
                  </a:cubicBezTo>
                  <a:cubicBezTo>
                    <a:pt x="100" y="149"/>
                    <a:pt x="96" y="144"/>
                    <a:pt x="96" y="138"/>
                  </a:cubicBezTo>
                  <a:cubicBezTo>
                    <a:pt x="96" y="132"/>
                    <a:pt x="100" y="128"/>
                    <a:pt x="106" y="128"/>
                  </a:cubicBezTo>
                  <a:cubicBezTo>
                    <a:pt x="112" y="128"/>
                    <a:pt x="117" y="132"/>
                    <a:pt x="117" y="138"/>
                  </a:cubicBezTo>
                  <a:close/>
                  <a:moveTo>
                    <a:pt x="277" y="138"/>
                  </a:moveTo>
                  <a:cubicBezTo>
                    <a:pt x="277" y="144"/>
                    <a:pt x="272" y="149"/>
                    <a:pt x="266" y="149"/>
                  </a:cubicBezTo>
                  <a:cubicBezTo>
                    <a:pt x="260" y="149"/>
                    <a:pt x="256" y="144"/>
                    <a:pt x="256" y="138"/>
                  </a:cubicBezTo>
                  <a:cubicBezTo>
                    <a:pt x="256" y="132"/>
                    <a:pt x="260" y="128"/>
                    <a:pt x="266" y="128"/>
                  </a:cubicBezTo>
                  <a:cubicBezTo>
                    <a:pt x="272" y="128"/>
                    <a:pt x="277" y="132"/>
                    <a:pt x="277" y="138"/>
                  </a:cubicBezTo>
                  <a:close/>
                  <a:moveTo>
                    <a:pt x="298" y="106"/>
                  </a:moveTo>
                  <a:cubicBezTo>
                    <a:pt x="245" y="106"/>
                    <a:pt x="245" y="106"/>
                    <a:pt x="245" y="106"/>
                  </a:cubicBezTo>
                  <a:cubicBezTo>
                    <a:pt x="245" y="42"/>
                    <a:pt x="245" y="42"/>
                    <a:pt x="245" y="42"/>
                  </a:cubicBezTo>
                  <a:cubicBezTo>
                    <a:pt x="283" y="42"/>
                    <a:pt x="283" y="42"/>
                    <a:pt x="283" y="42"/>
                  </a:cubicBezTo>
                  <a:cubicBezTo>
                    <a:pt x="298" y="57"/>
                    <a:pt x="298" y="57"/>
                    <a:pt x="298" y="57"/>
                  </a:cubicBezTo>
                  <a:lnTo>
                    <a:pt x="298"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0" name="Freeform 66">
            <a:extLst>
              <a:ext uri="{FF2B5EF4-FFF2-40B4-BE49-F238E27FC236}">
                <a16:creationId xmlns:a16="http://schemas.microsoft.com/office/drawing/2014/main" id="{8F3CA844-B104-4BBD-AF1E-A2FF7AEE6AEB}"/>
              </a:ext>
            </a:extLst>
          </p:cNvPr>
          <p:cNvSpPr>
            <a:spLocks noChangeAspect="1" noEditPoints="1"/>
          </p:cNvSpPr>
          <p:nvPr/>
        </p:nvSpPr>
        <p:spPr bwMode="auto">
          <a:xfrm>
            <a:off x="5693251" y="3271981"/>
            <a:ext cx="367631" cy="367631"/>
          </a:xfrm>
          <a:custGeom>
            <a:avLst/>
            <a:gdLst>
              <a:gd name="T0" fmla="*/ 275 w 512"/>
              <a:gd name="T1" fmla="*/ 260 h 512"/>
              <a:gd name="T2" fmla="*/ 295 w 512"/>
              <a:gd name="T3" fmla="*/ 217 h 512"/>
              <a:gd name="T4" fmla="*/ 251 w 512"/>
              <a:gd name="T5" fmla="*/ 236 h 512"/>
              <a:gd name="T6" fmla="*/ 275 w 512"/>
              <a:gd name="T7" fmla="*/ 260 h 512"/>
              <a:gd name="T8" fmla="*/ 384 w 512"/>
              <a:gd name="T9" fmla="*/ 245 h 512"/>
              <a:gd name="T10" fmla="*/ 394 w 512"/>
              <a:gd name="T11" fmla="*/ 245 h 512"/>
              <a:gd name="T12" fmla="*/ 266 w 512"/>
              <a:gd name="T13" fmla="*/ 118 h 512"/>
              <a:gd name="T14" fmla="*/ 266 w 512"/>
              <a:gd name="T15" fmla="*/ 128 h 512"/>
              <a:gd name="T16" fmla="*/ 256 w 512"/>
              <a:gd name="T17" fmla="*/ 138 h 512"/>
              <a:gd name="T18" fmla="*/ 245 w 512"/>
              <a:gd name="T19" fmla="*/ 128 h 512"/>
              <a:gd name="T20" fmla="*/ 245 w 512"/>
              <a:gd name="T21" fmla="*/ 118 h 512"/>
              <a:gd name="T22" fmla="*/ 118 w 512"/>
              <a:gd name="T23" fmla="*/ 245 h 512"/>
              <a:gd name="T24" fmla="*/ 128 w 512"/>
              <a:gd name="T25" fmla="*/ 245 h 512"/>
              <a:gd name="T26" fmla="*/ 138 w 512"/>
              <a:gd name="T27" fmla="*/ 256 h 512"/>
              <a:gd name="T28" fmla="*/ 128 w 512"/>
              <a:gd name="T29" fmla="*/ 266 h 512"/>
              <a:gd name="T30" fmla="*/ 118 w 512"/>
              <a:gd name="T31" fmla="*/ 266 h 512"/>
              <a:gd name="T32" fmla="*/ 245 w 512"/>
              <a:gd name="T33" fmla="*/ 394 h 512"/>
              <a:gd name="T34" fmla="*/ 245 w 512"/>
              <a:gd name="T35" fmla="*/ 384 h 512"/>
              <a:gd name="T36" fmla="*/ 256 w 512"/>
              <a:gd name="T37" fmla="*/ 373 h 512"/>
              <a:gd name="T38" fmla="*/ 266 w 512"/>
              <a:gd name="T39" fmla="*/ 384 h 512"/>
              <a:gd name="T40" fmla="*/ 266 w 512"/>
              <a:gd name="T41" fmla="*/ 394 h 512"/>
              <a:gd name="T42" fmla="*/ 394 w 512"/>
              <a:gd name="T43" fmla="*/ 266 h 512"/>
              <a:gd name="T44" fmla="*/ 384 w 512"/>
              <a:gd name="T45" fmla="*/ 266 h 512"/>
              <a:gd name="T46" fmla="*/ 373 w 512"/>
              <a:gd name="T47" fmla="*/ 256 h 512"/>
              <a:gd name="T48" fmla="*/ 384 w 512"/>
              <a:gd name="T49" fmla="*/ 245 h 512"/>
              <a:gd name="T50" fmla="*/ 326 w 512"/>
              <a:gd name="T51" fmla="*/ 200 h 512"/>
              <a:gd name="T52" fmla="*/ 288 w 512"/>
              <a:gd name="T53" fmla="*/ 283 h 512"/>
              <a:gd name="T54" fmla="*/ 283 w 512"/>
              <a:gd name="T55" fmla="*/ 288 h 512"/>
              <a:gd name="T56" fmla="*/ 200 w 512"/>
              <a:gd name="T57" fmla="*/ 326 h 512"/>
              <a:gd name="T58" fmla="*/ 195 w 512"/>
              <a:gd name="T59" fmla="*/ 327 h 512"/>
              <a:gd name="T60" fmla="*/ 188 w 512"/>
              <a:gd name="T61" fmla="*/ 324 h 512"/>
              <a:gd name="T62" fmla="*/ 186 w 512"/>
              <a:gd name="T63" fmla="*/ 312 h 512"/>
              <a:gd name="T64" fmla="*/ 223 w 512"/>
              <a:gd name="T65" fmla="*/ 229 h 512"/>
              <a:gd name="T66" fmla="*/ 229 w 512"/>
              <a:gd name="T67" fmla="*/ 223 h 512"/>
              <a:gd name="T68" fmla="*/ 312 w 512"/>
              <a:gd name="T69" fmla="*/ 186 h 512"/>
              <a:gd name="T70" fmla="*/ 324 w 512"/>
              <a:gd name="T71" fmla="*/ 188 h 512"/>
              <a:gd name="T72" fmla="*/ 326 w 512"/>
              <a:gd name="T73" fmla="*/ 200 h 512"/>
              <a:gd name="T74" fmla="*/ 217 w 512"/>
              <a:gd name="T75" fmla="*/ 295 h 512"/>
              <a:gd name="T76" fmla="*/ 260 w 512"/>
              <a:gd name="T77" fmla="*/ 275 h 512"/>
              <a:gd name="T78" fmla="*/ 236 w 512"/>
              <a:gd name="T79" fmla="*/ 251 h 512"/>
              <a:gd name="T80" fmla="*/ 217 w 512"/>
              <a:gd name="T81" fmla="*/ 295 h 512"/>
              <a:gd name="T82" fmla="*/ 256 w 512"/>
              <a:gd name="T83" fmla="*/ 0 h 512"/>
              <a:gd name="T84" fmla="*/ 0 w 512"/>
              <a:gd name="T85" fmla="*/ 256 h 512"/>
              <a:gd name="T86" fmla="*/ 256 w 512"/>
              <a:gd name="T87" fmla="*/ 512 h 512"/>
              <a:gd name="T88" fmla="*/ 512 w 512"/>
              <a:gd name="T89" fmla="*/ 256 h 512"/>
              <a:gd name="T90" fmla="*/ 256 w 512"/>
              <a:gd name="T91" fmla="*/ 0 h 512"/>
              <a:gd name="T92" fmla="*/ 256 w 512"/>
              <a:gd name="T93" fmla="*/ 416 h 512"/>
              <a:gd name="T94" fmla="*/ 96 w 512"/>
              <a:gd name="T95" fmla="*/ 256 h 512"/>
              <a:gd name="T96" fmla="*/ 256 w 512"/>
              <a:gd name="T97" fmla="*/ 96 h 512"/>
              <a:gd name="T98" fmla="*/ 416 w 512"/>
              <a:gd name="T99" fmla="*/ 256 h 512"/>
              <a:gd name="T100" fmla="*/ 256 w 512"/>
              <a:gd name="T10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5" y="260"/>
                </a:moveTo>
                <a:cubicBezTo>
                  <a:pt x="295" y="217"/>
                  <a:pt x="295" y="217"/>
                  <a:pt x="295" y="217"/>
                </a:cubicBezTo>
                <a:cubicBezTo>
                  <a:pt x="251" y="236"/>
                  <a:pt x="251" y="236"/>
                  <a:pt x="251" y="236"/>
                </a:cubicBezTo>
                <a:lnTo>
                  <a:pt x="275" y="260"/>
                </a:lnTo>
                <a:close/>
                <a:moveTo>
                  <a:pt x="384" y="245"/>
                </a:moveTo>
                <a:cubicBezTo>
                  <a:pt x="394" y="245"/>
                  <a:pt x="394" y="245"/>
                  <a:pt x="394" y="245"/>
                </a:cubicBezTo>
                <a:cubicBezTo>
                  <a:pt x="389" y="177"/>
                  <a:pt x="334" y="123"/>
                  <a:pt x="266" y="118"/>
                </a:cubicBezTo>
                <a:cubicBezTo>
                  <a:pt x="266" y="128"/>
                  <a:pt x="266" y="128"/>
                  <a:pt x="266" y="128"/>
                </a:cubicBezTo>
                <a:cubicBezTo>
                  <a:pt x="266" y="134"/>
                  <a:pt x="262" y="138"/>
                  <a:pt x="256" y="138"/>
                </a:cubicBezTo>
                <a:cubicBezTo>
                  <a:pt x="250" y="138"/>
                  <a:pt x="245" y="134"/>
                  <a:pt x="245" y="128"/>
                </a:cubicBezTo>
                <a:cubicBezTo>
                  <a:pt x="245" y="118"/>
                  <a:pt x="245" y="118"/>
                  <a:pt x="245" y="118"/>
                </a:cubicBezTo>
                <a:cubicBezTo>
                  <a:pt x="177" y="123"/>
                  <a:pt x="123" y="177"/>
                  <a:pt x="118" y="245"/>
                </a:cubicBezTo>
                <a:cubicBezTo>
                  <a:pt x="128" y="245"/>
                  <a:pt x="128" y="245"/>
                  <a:pt x="128" y="245"/>
                </a:cubicBezTo>
                <a:cubicBezTo>
                  <a:pt x="134" y="245"/>
                  <a:pt x="138" y="250"/>
                  <a:pt x="138" y="256"/>
                </a:cubicBezTo>
                <a:cubicBezTo>
                  <a:pt x="138" y="262"/>
                  <a:pt x="134" y="266"/>
                  <a:pt x="128" y="266"/>
                </a:cubicBezTo>
                <a:cubicBezTo>
                  <a:pt x="118" y="266"/>
                  <a:pt x="118" y="266"/>
                  <a:pt x="118" y="266"/>
                </a:cubicBezTo>
                <a:cubicBezTo>
                  <a:pt x="123" y="334"/>
                  <a:pt x="177" y="389"/>
                  <a:pt x="245" y="394"/>
                </a:cubicBezTo>
                <a:cubicBezTo>
                  <a:pt x="245" y="384"/>
                  <a:pt x="245" y="384"/>
                  <a:pt x="245" y="384"/>
                </a:cubicBezTo>
                <a:cubicBezTo>
                  <a:pt x="245" y="378"/>
                  <a:pt x="250" y="373"/>
                  <a:pt x="256" y="373"/>
                </a:cubicBezTo>
                <a:cubicBezTo>
                  <a:pt x="262" y="373"/>
                  <a:pt x="266" y="378"/>
                  <a:pt x="266" y="384"/>
                </a:cubicBezTo>
                <a:cubicBezTo>
                  <a:pt x="266" y="394"/>
                  <a:pt x="266" y="394"/>
                  <a:pt x="266" y="394"/>
                </a:cubicBezTo>
                <a:cubicBezTo>
                  <a:pt x="334" y="389"/>
                  <a:pt x="389" y="334"/>
                  <a:pt x="394" y="266"/>
                </a:cubicBezTo>
                <a:cubicBezTo>
                  <a:pt x="384" y="266"/>
                  <a:pt x="384" y="266"/>
                  <a:pt x="384" y="266"/>
                </a:cubicBezTo>
                <a:cubicBezTo>
                  <a:pt x="378" y="266"/>
                  <a:pt x="373" y="262"/>
                  <a:pt x="373" y="256"/>
                </a:cubicBezTo>
                <a:cubicBezTo>
                  <a:pt x="373" y="250"/>
                  <a:pt x="378" y="245"/>
                  <a:pt x="384" y="245"/>
                </a:cubicBezTo>
                <a:close/>
                <a:moveTo>
                  <a:pt x="326" y="200"/>
                </a:moveTo>
                <a:cubicBezTo>
                  <a:pt x="288" y="283"/>
                  <a:pt x="288" y="283"/>
                  <a:pt x="288" y="283"/>
                </a:cubicBezTo>
                <a:cubicBezTo>
                  <a:pt x="287" y="285"/>
                  <a:pt x="285" y="287"/>
                  <a:pt x="283" y="288"/>
                </a:cubicBezTo>
                <a:cubicBezTo>
                  <a:pt x="200" y="326"/>
                  <a:pt x="200" y="326"/>
                  <a:pt x="200" y="326"/>
                </a:cubicBezTo>
                <a:cubicBezTo>
                  <a:pt x="198" y="326"/>
                  <a:pt x="197" y="327"/>
                  <a:pt x="195" y="327"/>
                </a:cubicBezTo>
                <a:cubicBezTo>
                  <a:pt x="193" y="327"/>
                  <a:pt x="190" y="326"/>
                  <a:pt x="188" y="324"/>
                </a:cubicBezTo>
                <a:cubicBezTo>
                  <a:pt x="185" y="320"/>
                  <a:pt x="184" y="316"/>
                  <a:pt x="186" y="312"/>
                </a:cubicBezTo>
                <a:cubicBezTo>
                  <a:pt x="223" y="229"/>
                  <a:pt x="223" y="229"/>
                  <a:pt x="223" y="229"/>
                </a:cubicBezTo>
                <a:cubicBezTo>
                  <a:pt x="224" y="226"/>
                  <a:pt x="226" y="224"/>
                  <a:pt x="229" y="223"/>
                </a:cubicBezTo>
                <a:cubicBezTo>
                  <a:pt x="312" y="186"/>
                  <a:pt x="312" y="186"/>
                  <a:pt x="312" y="186"/>
                </a:cubicBezTo>
                <a:cubicBezTo>
                  <a:pt x="316" y="184"/>
                  <a:pt x="320" y="185"/>
                  <a:pt x="324" y="188"/>
                </a:cubicBezTo>
                <a:cubicBezTo>
                  <a:pt x="327" y="191"/>
                  <a:pt x="328" y="196"/>
                  <a:pt x="326" y="200"/>
                </a:cubicBezTo>
                <a:close/>
                <a:moveTo>
                  <a:pt x="217" y="295"/>
                </a:moveTo>
                <a:cubicBezTo>
                  <a:pt x="260" y="275"/>
                  <a:pt x="260" y="275"/>
                  <a:pt x="260" y="275"/>
                </a:cubicBezTo>
                <a:cubicBezTo>
                  <a:pt x="236" y="251"/>
                  <a:pt x="236" y="251"/>
                  <a:pt x="236" y="251"/>
                </a:cubicBezTo>
                <a:lnTo>
                  <a:pt x="217" y="295"/>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41" name="Group 69">
            <a:extLst>
              <a:ext uri="{FF2B5EF4-FFF2-40B4-BE49-F238E27FC236}">
                <a16:creationId xmlns:a16="http://schemas.microsoft.com/office/drawing/2014/main" id="{8143CA6F-DFC2-4D2E-8320-3D3ECBD3A159}"/>
              </a:ext>
            </a:extLst>
          </p:cNvPr>
          <p:cNvGrpSpPr>
            <a:grpSpLocks noChangeAspect="1"/>
          </p:cNvGrpSpPr>
          <p:nvPr/>
        </p:nvGrpSpPr>
        <p:grpSpPr bwMode="auto">
          <a:xfrm>
            <a:off x="6125933" y="3271981"/>
            <a:ext cx="367631" cy="367631"/>
            <a:chOff x="4334" y="1990"/>
            <a:chExt cx="340" cy="340"/>
          </a:xfrm>
          <a:solidFill>
            <a:schemeClr val="accent1"/>
          </a:solidFill>
        </p:grpSpPr>
        <p:sp>
          <p:nvSpPr>
            <p:cNvPr id="542" name="Freeform 70">
              <a:extLst>
                <a:ext uri="{FF2B5EF4-FFF2-40B4-BE49-F238E27FC236}">
                  <a16:creationId xmlns:a16="http://schemas.microsoft.com/office/drawing/2014/main" id="{99A967EF-C158-4F26-BAC2-D424CE2B9BA1}"/>
                </a:ext>
              </a:extLst>
            </p:cNvPr>
            <p:cNvSpPr>
              <a:spLocks noEditPoints="1"/>
            </p:cNvSpPr>
            <p:nvPr/>
          </p:nvSpPr>
          <p:spPr bwMode="auto">
            <a:xfrm>
              <a:off x="4398" y="2054"/>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3" name="Freeform 71">
              <a:extLst>
                <a:ext uri="{FF2B5EF4-FFF2-40B4-BE49-F238E27FC236}">
                  <a16:creationId xmlns:a16="http://schemas.microsoft.com/office/drawing/2014/main" id="{BCFD36CF-7375-46DD-86CF-E348AE2C8A71}"/>
                </a:ext>
              </a:extLst>
            </p:cNvPr>
            <p:cNvSpPr>
              <a:spLocks noEditPoints="1"/>
            </p:cNvSpPr>
            <p:nvPr/>
          </p:nvSpPr>
          <p:spPr bwMode="auto">
            <a:xfrm>
              <a:off x="4334"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04" name="Group 203">
            <a:extLst>
              <a:ext uri="{FF2B5EF4-FFF2-40B4-BE49-F238E27FC236}">
                <a16:creationId xmlns:a16="http://schemas.microsoft.com/office/drawing/2014/main" id="{86F8B88E-FCD6-4D70-8826-7A62ED83ED98}"/>
              </a:ext>
            </a:extLst>
          </p:cNvPr>
          <p:cNvGrpSpPr>
            <a:grpSpLocks noChangeAspect="1"/>
          </p:cNvGrpSpPr>
          <p:nvPr/>
        </p:nvGrpSpPr>
        <p:grpSpPr>
          <a:xfrm>
            <a:off x="7011885" y="3258336"/>
            <a:ext cx="363358" cy="365760"/>
            <a:chOff x="6172200" y="3074988"/>
            <a:chExt cx="720725" cy="725488"/>
          </a:xfrm>
          <a:solidFill>
            <a:schemeClr val="bg2"/>
          </a:solidFill>
        </p:grpSpPr>
        <p:sp>
          <p:nvSpPr>
            <p:cNvPr id="205" name="Freeform 5">
              <a:extLst>
                <a:ext uri="{FF2B5EF4-FFF2-40B4-BE49-F238E27FC236}">
                  <a16:creationId xmlns:a16="http://schemas.microsoft.com/office/drawing/2014/main" id="{DC1E8DD2-BF3E-4863-B555-AAD017C482A6}"/>
                </a:ext>
              </a:extLst>
            </p:cNvPr>
            <p:cNvSpPr>
              <a:spLocks noEditPoints="1"/>
            </p:cNvSpPr>
            <p:nvPr/>
          </p:nvSpPr>
          <p:spPr bwMode="auto">
            <a:xfrm>
              <a:off x="6172200" y="3074988"/>
              <a:ext cx="720725" cy="725488"/>
            </a:xfrm>
            <a:custGeom>
              <a:avLst/>
              <a:gdLst>
                <a:gd name="T0" fmla="*/ 375 w 750"/>
                <a:gd name="T1" fmla="*/ 0 h 750"/>
                <a:gd name="T2" fmla="*/ 375 w 750"/>
                <a:gd name="T3" fmla="*/ 0 h 750"/>
                <a:gd name="T4" fmla="*/ 0 w 750"/>
                <a:gd name="T5" fmla="*/ 375 h 750"/>
                <a:gd name="T6" fmla="*/ 375 w 750"/>
                <a:gd name="T7" fmla="*/ 750 h 750"/>
                <a:gd name="T8" fmla="*/ 750 w 750"/>
                <a:gd name="T9" fmla="*/ 375 h 750"/>
                <a:gd name="T10" fmla="*/ 375 w 750"/>
                <a:gd name="T11" fmla="*/ 0 h 750"/>
                <a:gd name="T12" fmla="*/ 375 w 750"/>
                <a:gd name="T13" fmla="*/ 31 h 750"/>
                <a:gd name="T14" fmla="*/ 375 w 750"/>
                <a:gd name="T15" fmla="*/ 31 h 750"/>
                <a:gd name="T16" fmla="*/ 718 w 750"/>
                <a:gd name="T17" fmla="*/ 375 h 750"/>
                <a:gd name="T18" fmla="*/ 375 w 750"/>
                <a:gd name="T19" fmla="*/ 717 h 750"/>
                <a:gd name="T20" fmla="*/ 31 w 750"/>
                <a:gd name="T21" fmla="*/ 375 h 750"/>
                <a:gd name="T22" fmla="*/ 375 w 750"/>
                <a:gd name="T23" fmla="*/ 3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0" h="750">
                  <a:moveTo>
                    <a:pt x="375" y="0"/>
                  </a:moveTo>
                  <a:lnTo>
                    <a:pt x="375" y="0"/>
                  </a:lnTo>
                  <a:cubicBezTo>
                    <a:pt x="167" y="0"/>
                    <a:pt x="0" y="167"/>
                    <a:pt x="0" y="375"/>
                  </a:cubicBezTo>
                  <a:cubicBezTo>
                    <a:pt x="0" y="581"/>
                    <a:pt x="167" y="750"/>
                    <a:pt x="375" y="750"/>
                  </a:cubicBezTo>
                  <a:cubicBezTo>
                    <a:pt x="581" y="750"/>
                    <a:pt x="750" y="581"/>
                    <a:pt x="750" y="375"/>
                  </a:cubicBezTo>
                  <a:cubicBezTo>
                    <a:pt x="750" y="167"/>
                    <a:pt x="581" y="0"/>
                    <a:pt x="375" y="0"/>
                  </a:cubicBezTo>
                  <a:close/>
                  <a:moveTo>
                    <a:pt x="375" y="31"/>
                  </a:moveTo>
                  <a:lnTo>
                    <a:pt x="375" y="31"/>
                  </a:lnTo>
                  <a:cubicBezTo>
                    <a:pt x="564" y="31"/>
                    <a:pt x="718" y="184"/>
                    <a:pt x="718" y="375"/>
                  </a:cubicBezTo>
                  <a:cubicBezTo>
                    <a:pt x="718" y="564"/>
                    <a:pt x="564" y="717"/>
                    <a:pt x="375" y="717"/>
                  </a:cubicBezTo>
                  <a:cubicBezTo>
                    <a:pt x="185" y="717"/>
                    <a:pt x="31" y="564"/>
                    <a:pt x="31" y="375"/>
                  </a:cubicBezTo>
                  <a:cubicBezTo>
                    <a:pt x="31" y="184"/>
                    <a:pt x="185" y="31"/>
                    <a:pt x="375"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6">
              <a:extLst>
                <a:ext uri="{FF2B5EF4-FFF2-40B4-BE49-F238E27FC236}">
                  <a16:creationId xmlns:a16="http://schemas.microsoft.com/office/drawing/2014/main" id="{B2F67CA0-CBCC-489A-82B1-952AE32D2F3D}"/>
                </a:ext>
              </a:extLst>
            </p:cNvPr>
            <p:cNvSpPr>
              <a:spLocks noEditPoints="1"/>
            </p:cNvSpPr>
            <p:nvPr/>
          </p:nvSpPr>
          <p:spPr bwMode="auto">
            <a:xfrm>
              <a:off x="6308725" y="3270250"/>
              <a:ext cx="449263" cy="301625"/>
            </a:xfrm>
            <a:custGeom>
              <a:avLst/>
              <a:gdLst>
                <a:gd name="T0" fmla="*/ 437 w 469"/>
                <a:gd name="T1" fmla="*/ 249 h 312"/>
                <a:gd name="T2" fmla="*/ 359 w 469"/>
                <a:gd name="T3" fmla="*/ 218 h 312"/>
                <a:gd name="T4" fmla="*/ 343 w 469"/>
                <a:gd name="T5" fmla="*/ 125 h 312"/>
                <a:gd name="T6" fmla="*/ 437 w 469"/>
                <a:gd name="T7" fmla="*/ 141 h 312"/>
                <a:gd name="T8" fmla="*/ 437 w 469"/>
                <a:gd name="T9" fmla="*/ 249 h 312"/>
                <a:gd name="T10" fmla="*/ 359 w 469"/>
                <a:gd name="T11" fmla="*/ 281 h 312"/>
                <a:gd name="T12" fmla="*/ 359 w 469"/>
                <a:gd name="T13" fmla="*/ 249 h 312"/>
                <a:gd name="T14" fmla="*/ 359 w 469"/>
                <a:gd name="T15" fmla="*/ 281 h 312"/>
                <a:gd name="T16" fmla="*/ 94 w 469"/>
                <a:gd name="T17" fmla="*/ 281 h 312"/>
                <a:gd name="T18" fmla="*/ 94 w 469"/>
                <a:gd name="T19" fmla="*/ 249 h 312"/>
                <a:gd name="T20" fmla="*/ 94 w 469"/>
                <a:gd name="T21" fmla="*/ 281 h 312"/>
                <a:gd name="T22" fmla="*/ 31 w 469"/>
                <a:gd name="T23" fmla="*/ 155 h 312"/>
                <a:gd name="T24" fmla="*/ 281 w 469"/>
                <a:gd name="T25" fmla="*/ 62 h 312"/>
                <a:gd name="T26" fmla="*/ 31 w 469"/>
                <a:gd name="T27" fmla="*/ 31 h 312"/>
                <a:gd name="T28" fmla="*/ 312 w 469"/>
                <a:gd name="T29" fmla="*/ 249 h 312"/>
                <a:gd name="T30" fmla="*/ 94 w 469"/>
                <a:gd name="T31" fmla="*/ 218 h 312"/>
                <a:gd name="T32" fmla="*/ 31 w 469"/>
                <a:gd name="T33" fmla="*/ 249 h 312"/>
                <a:gd name="T34" fmla="*/ 31 w 469"/>
                <a:gd name="T35" fmla="*/ 155 h 312"/>
                <a:gd name="T36" fmla="*/ 218 w 469"/>
                <a:gd name="T37" fmla="*/ 94 h 312"/>
                <a:gd name="T38" fmla="*/ 249 w 469"/>
                <a:gd name="T39" fmla="*/ 125 h 312"/>
                <a:gd name="T40" fmla="*/ 218 w 469"/>
                <a:gd name="T41" fmla="*/ 94 h 312"/>
                <a:gd name="T42" fmla="*/ 155 w 469"/>
                <a:gd name="T43" fmla="*/ 94 h 312"/>
                <a:gd name="T44" fmla="*/ 188 w 469"/>
                <a:gd name="T45" fmla="*/ 125 h 312"/>
                <a:gd name="T46" fmla="*/ 155 w 469"/>
                <a:gd name="T47" fmla="*/ 94 h 312"/>
                <a:gd name="T48" fmla="*/ 94 w 469"/>
                <a:gd name="T49" fmla="*/ 94 h 312"/>
                <a:gd name="T50" fmla="*/ 125 w 469"/>
                <a:gd name="T51" fmla="*/ 125 h 312"/>
                <a:gd name="T52" fmla="*/ 94 w 469"/>
                <a:gd name="T53" fmla="*/ 94 h 312"/>
                <a:gd name="T54" fmla="*/ 31 w 469"/>
                <a:gd name="T55" fmla="*/ 94 h 312"/>
                <a:gd name="T56" fmla="*/ 62 w 469"/>
                <a:gd name="T57" fmla="*/ 125 h 312"/>
                <a:gd name="T58" fmla="*/ 31 w 469"/>
                <a:gd name="T59" fmla="*/ 94 h 312"/>
                <a:gd name="T60" fmla="*/ 422 w 469"/>
                <a:gd name="T61" fmla="*/ 94 h 312"/>
                <a:gd name="T62" fmla="*/ 343 w 469"/>
                <a:gd name="T63" fmla="*/ 15 h 312"/>
                <a:gd name="T64" fmla="*/ 15 w 469"/>
                <a:gd name="T65" fmla="*/ 0 h 312"/>
                <a:gd name="T66" fmla="*/ 0 w 469"/>
                <a:gd name="T67" fmla="*/ 265 h 312"/>
                <a:gd name="T68" fmla="*/ 50 w 469"/>
                <a:gd name="T69" fmla="*/ 281 h 312"/>
                <a:gd name="T70" fmla="*/ 138 w 469"/>
                <a:gd name="T71" fmla="*/ 281 h 312"/>
                <a:gd name="T72" fmla="*/ 359 w 469"/>
                <a:gd name="T73" fmla="*/ 312 h 312"/>
                <a:gd name="T74" fmla="*/ 453 w 469"/>
                <a:gd name="T75" fmla="*/ 281 h 312"/>
                <a:gd name="T76" fmla="*/ 469 w 469"/>
                <a:gd name="T77" fmla="*/ 141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9" h="312">
                  <a:moveTo>
                    <a:pt x="437" y="249"/>
                  </a:moveTo>
                  <a:lnTo>
                    <a:pt x="437" y="249"/>
                  </a:lnTo>
                  <a:lnTo>
                    <a:pt x="403" y="249"/>
                  </a:lnTo>
                  <a:cubicBezTo>
                    <a:pt x="397" y="231"/>
                    <a:pt x="379" y="218"/>
                    <a:pt x="359" y="218"/>
                  </a:cubicBezTo>
                  <a:cubicBezTo>
                    <a:pt x="353" y="218"/>
                    <a:pt x="349" y="220"/>
                    <a:pt x="343" y="221"/>
                  </a:cubicBezTo>
                  <a:lnTo>
                    <a:pt x="343" y="125"/>
                  </a:lnTo>
                  <a:lnTo>
                    <a:pt x="422" y="125"/>
                  </a:lnTo>
                  <a:cubicBezTo>
                    <a:pt x="431" y="125"/>
                    <a:pt x="437" y="132"/>
                    <a:pt x="437" y="141"/>
                  </a:cubicBezTo>
                  <a:lnTo>
                    <a:pt x="437" y="249"/>
                  </a:lnTo>
                  <a:lnTo>
                    <a:pt x="437" y="249"/>
                  </a:lnTo>
                  <a:close/>
                  <a:moveTo>
                    <a:pt x="359" y="281"/>
                  </a:moveTo>
                  <a:lnTo>
                    <a:pt x="359" y="281"/>
                  </a:lnTo>
                  <a:cubicBezTo>
                    <a:pt x="350" y="281"/>
                    <a:pt x="343" y="274"/>
                    <a:pt x="343" y="265"/>
                  </a:cubicBezTo>
                  <a:cubicBezTo>
                    <a:pt x="343" y="256"/>
                    <a:pt x="350" y="249"/>
                    <a:pt x="359" y="249"/>
                  </a:cubicBezTo>
                  <a:cubicBezTo>
                    <a:pt x="368" y="249"/>
                    <a:pt x="375" y="256"/>
                    <a:pt x="375" y="265"/>
                  </a:cubicBezTo>
                  <a:cubicBezTo>
                    <a:pt x="375" y="274"/>
                    <a:pt x="368" y="281"/>
                    <a:pt x="359" y="281"/>
                  </a:cubicBezTo>
                  <a:close/>
                  <a:moveTo>
                    <a:pt x="94" y="281"/>
                  </a:moveTo>
                  <a:lnTo>
                    <a:pt x="94" y="281"/>
                  </a:lnTo>
                  <a:cubicBezTo>
                    <a:pt x="85" y="281"/>
                    <a:pt x="78" y="274"/>
                    <a:pt x="78" y="265"/>
                  </a:cubicBezTo>
                  <a:cubicBezTo>
                    <a:pt x="78" y="256"/>
                    <a:pt x="85" y="249"/>
                    <a:pt x="94" y="249"/>
                  </a:cubicBezTo>
                  <a:cubicBezTo>
                    <a:pt x="103" y="249"/>
                    <a:pt x="109" y="256"/>
                    <a:pt x="109" y="265"/>
                  </a:cubicBezTo>
                  <a:cubicBezTo>
                    <a:pt x="109" y="274"/>
                    <a:pt x="103" y="281"/>
                    <a:pt x="94" y="281"/>
                  </a:cubicBezTo>
                  <a:close/>
                  <a:moveTo>
                    <a:pt x="31" y="155"/>
                  </a:moveTo>
                  <a:lnTo>
                    <a:pt x="31" y="155"/>
                  </a:lnTo>
                  <a:lnTo>
                    <a:pt x="281" y="155"/>
                  </a:lnTo>
                  <a:lnTo>
                    <a:pt x="281" y="62"/>
                  </a:lnTo>
                  <a:lnTo>
                    <a:pt x="31" y="62"/>
                  </a:lnTo>
                  <a:lnTo>
                    <a:pt x="31" y="31"/>
                  </a:lnTo>
                  <a:lnTo>
                    <a:pt x="312" y="31"/>
                  </a:lnTo>
                  <a:lnTo>
                    <a:pt x="312" y="249"/>
                  </a:lnTo>
                  <a:lnTo>
                    <a:pt x="138" y="249"/>
                  </a:lnTo>
                  <a:cubicBezTo>
                    <a:pt x="131" y="231"/>
                    <a:pt x="115" y="218"/>
                    <a:pt x="94" y="218"/>
                  </a:cubicBezTo>
                  <a:cubicBezTo>
                    <a:pt x="74" y="218"/>
                    <a:pt x="56" y="231"/>
                    <a:pt x="50" y="249"/>
                  </a:cubicBezTo>
                  <a:lnTo>
                    <a:pt x="31" y="249"/>
                  </a:lnTo>
                  <a:lnTo>
                    <a:pt x="31" y="155"/>
                  </a:lnTo>
                  <a:lnTo>
                    <a:pt x="31" y="155"/>
                  </a:lnTo>
                  <a:close/>
                  <a:moveTo>
                    <a:pt x="218" y="94"/>
                  </a:moveTo>
                  <a:lnTo>
                    <a:pt x="218" y="94"/>
                  </a:lnTo>
                  <a:lnTo>
                    <a:pt x="249" y="94"/>
                  </a:lnTo>
                  <a:lnTo>
                    <a:pt x="249" y="125"/>
                  </a:lnTo>
                  <a:lnTo>
                    <a:pt x="218" y="125"/>
                  </a:lnTo>
                  <a:lnTo>
                    <a:pt x="218" y="94"/>
                  </a:lnTo>
                  <a:close/>
                  <a:moveTo>
                    <a:pt x="155" y="94"/>
                  </a:moveTo>
                  <a:lnTo>
                    <a:pt x="155" y="94"/>
                  </a:lnTo>
                  <a:lnTo>
                    <a:pt x="188" y="94"/>
                  </a:lnTo>
                  <a:lnTo>
                    <a:pt x="188" y="125"/>
                  </a:lnTo>
                  <a:lnTo>
                    <a:pt x="155" y="125"/>
                  </a:lnTo>
                  <a:lnTo>
                    <a:pt x="155" y="94"/>
                  </a:lnTo>
                  <a:close/>
                  <a:moveTo>
                    <a:pt x="94" y="94"/>
                  </a:moveTo>
                  <a:lnTo>
                    <a:pt x="94" y="94"/>
                  </a:lnTo>
                  <a:lnTo>
                    <a:pt x="125" y="94"/>
                  </a:lnTo>
                  <a:lnTo>
                    <a:pt x="125" y="125"/>
                  </a:lnTo>
                  <a:lnTo>
                    <a:pt x="94" y="125"/>
                  </a:lnTo>
                  <a:lnTo>
                    <a:pt x="94" y="94"/>
                  </a:lnTo>
                  <a:close/>
                  <a:moveTo>
                    <a:pt x="31" y="94"/>
                  </a:moveTo>
                  <a:lnTo>
                    <a:pt x="31" y="94"/>
                  </a:lnTo>
                  <a:lnTo>
                    <a:pt x="62" y="94"/>
                  </a:lnTo>
                  <a:lnTo>
                    <a:pt x="62" y="125"/>
                  </a:lnTo>
                  <a:lnTo>
                    <a:pt x="31" y="125"/>
                  </a:lnTo>
                  <a:lnTo>
                    <a:pt x="31" y="94"/>
                  </a:lnTo>
                  <a:close/>
                  <a:moveTo>
                    <a:pt x="422" y="94"/>
                  </a:moveTo>
                  <a:lnTo>
                    <a:pt x="422" y="94"/>
                  </a:lnTo>
                  <a:lnTo>
                    <a:pt x="343" y="94"/>
                  </a:lnTo>
                  <a:lnTo>
                    <a:pt x="343" y="15"/>
                  </a:lnTo>
                  <a:cubicBezTo>
                    <a:pt x="343" y="6"/>
                    <a:pt x="337" y="0"/>
                    <a:pt x="328" y="0"/>
                  </a:cubicBezTo>
                  <a:lnTo>
                    <a:pt x="15" y="0"/>
                  </a:lnTo>
                  <a:cubicBezTo>
                    <a:pt x="6" y="0"/>
                    <a:pt x="0" y="6"/>
                    <a:pt x="0" y="15"/>
                  </a:cubicBezTo>
                  <a:lnTo>
                    <a:pt x="0" y="265"/>
                  </a:lnTo>
                  <a:cubicBezTo>
                    <a:pt x="0" y="274"/>
                    <a:pt x="6" y="281"/>
                    <a:pt x="15" y="281"/>
                  </a:cubicBezTo>
                  <a:lnTo>
                    <a:pt x="50" y="281"/>
                  </a:lnTo>
                  <a:cubicBezTo>
                    <a:pt x="56" y="298"/>
                    <a:pt x="74" y="312"/>
                    <a:pt x="94" y="312"/>
                  </a:cubicBezTo>
                  <a:cubicBezTo>
                    <a:pt x="115" y="312"/>
                    <a:pt x="131" y="298"/>
                    <a:pt x="138" y="281"/>
                  </a:cubicBezTo>
                  <a:lnTo>
                    <a:pt x="315" y="281"/>
                  </a:lnTo>
                  <a:cubicBezTo>
                    <a:pt x="321" y="298"/>
                    <a:pt x="338" y="312"/>
                    <a:pt x="359" y="312"/>
                  </a:cubicBezTo>
                  <a:cubicBezTo>
                    <a:pt x="379" y="312"/>
                    <a:pt x="397" y="298"/>
                    <a:pt x="403" y="281"/>
                  </a:cubicBezTo>
                  <a:lnTo>
                    <a:pt x="453" y="281"/>
                  </a:lnTo>
                  <a:cubicBezTo>
                    <a:pt x="462" y="281"/>
                    <a:pt x="469" y="274"/>
                    <a:pt x="469" y="265"/>
                  </a:cubicBezTo>
                  <a:lnTo>
                    <a:pt x="469" y="141"/>
                  </a:lnTo>
                  <a:cubicBezTo>
                    <a:pt x="469" y="115"/>
                    <a:pt x="447" y="94"/>
                    <a:pt x="422" y="9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7" name="Group 206">
            <a:extLst>
              <a:ext uri="{FF2B5EF4-FFF2-40B4-BE49-F238E27FC236}">
                <a16:creationId xmlns:a16="http://schemas.microsoft.com/office/drawing/2014/main" id="{56CC92E6-25B9-41A6-90F9-94027655BB80}"/>
              </a:ext>
            </a:extLst>
          </p:cNvPr>
          <p:cNvGrpSpPr>
            <a:grpSpLocks noChangeAspect="1"/>
          </p:cNvGrpSpPr>
          <p:nvPr/>
        </p:nvGrpSpPr>
        <p:grpSpPr>
          <a:xfrm>
            <a:off x="6573534" y="3269677"/>
            <a:ext cx="362558" cy="365760"/>
            <a:chOff x="5308600" y="3074988"/>
            <a:chExt cx="719138" cy="725488"/>
          </a:xfrm>
          <a:solidFill>
            <a:schemeClr val="bg2"/>
          </a:solidFill>
        </p:grpSpPr>
        <p:sp>
          <p:nvSpPr>
            <p:cNvPr id="209" name="Freeform 7">
              <a:extLst>
                <a:ext uri="{FF2B5EF4-FFF2-40B4-BE49-F238E27FC236}">
                  <a16:creationId xmlns:a16="http://schemas.microsoft.com/office/drawing/2014/main" id="{01498235-8189-46BA-B414-25F605909D06}"/>
                </a:ext>
              </a:extLst>
            </p:cNvPr>
            <p:cNvSpPr>
              <a:spLocks/>
            </p:cNvSpPr>
            <p:nvPr/>
          </p:nvSpPr>
          <p:spPr bwMode="auto">
            <a:xfrm>
              <a:off x="5534025" y="3360738"/>
              <a:ext cx="28575" cy="30163"/>
            </a:xfrm>
            <a:custGeom>
              <a:avLst/>
              <a:gdLst>
                <a:gd name="T0" fmla="*/ 0 w 31"/>
                <a:gd name="T1" fmla="*/ 0 h 31"/>
                <a:gd name="T2" fmla="*/ 0 w 31"/>
                <a:gd name="T3" fmla="*/ 0 h 31"/>
                <a:gd name="T4" fmla="*/ 31 w 31"/>
                <a:gd name="T5" fmla="*/ 0 h 31"/>
                <a:gd name="T6" fmla="*/ 31 w 31"/>
                <a:gd name="T7" fmla="*/ 31 h 31"/>
                <a:gd name="T8" fmla="*/ 0 w 31"/>
                <a:gd name="T9" fmla="*/ 31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0"/>
                  </a:lnTo>
                  <a:lnTo>
                    <a:pt x="31" y="0"/>
                  </a:lnTo>
                  <a:lnTo>
                    <a:pt x="31" y="31"/>
                  </a:lnTo>
                  <a:lnTo>
                    <a:pt x="0" y="3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
              <a:extLst>
                <a:ext uri="{FF2B5EF4-FFF2-40B4-BE49-F238E27FC236}">
                  <a16:creationId xmlns:a16="http://schemas.microsoft.com/office/drawing/2014/main" id="{66676980-F6CA-4714-84A3-F5C08AC32C22}"/>
                </a:ext>
              </a:extLst>
            </p:cNvPr>
            <p:cNvSpPr>
              <a:spLocks/>
            </p:cNvSpPr>
            <p:nvPr/>
          </p:nvSpPr>
          <p:spPr bwMode="auto">
            <a:xfrm>
              <a:off x="5472113" y="3300413"/>
              <a:ext cx="271463" cy="211138"/>
            </a:xfrm>
            <a:custGeom>
              <a:avLst/>
              <a:gdLst>
                <a:gd name="T0" fmla="*/ 0 w 282"/>
                <a:gd name="T1" fmla="*/ 31 h 218"/>
                <a:gd name="T2" fmla="*/ 0 w 282"/>
                <a:gd name="T3" fmla="*/ 31 h 218"/>
                <a:gd name="T4" fmla="*/ 251 w 282"/>
                <a:gd name="T5" fmla="*/ 31 h 218"/>
                <a:gd name="T6" fmla="*/ 251 w 282"/>
                <a:gd name="T7" fmla="*/ 124 h 218"/>
                <a:gd name="T8" fmla="*/ 0 w 282"/>
                <a:gd name="T9" fmla="*/ 124 h 218"/>
                <a:gd name="T10" fmla="*/ 0 w 282"/>
                <a:gd name="T11" fmla="*/ 218 h 218"/>
                <a:gd name="T12" fmla="*/ 19 w 282"/>
                <a:gd name="T13" fmla="*/ 218 h 218"/>
                <a:gd name="T14" fmla="*/ 63 w 282"/>
                <a:gd name="T15" fmla="*/ 187 h 218"/>
                <a:gd name="T16" fmla="*/ 107 w 282"/>
                <a:gd name="T17" fmla="*/ 218 h 218"/>
                <a:gd name="T18" fmla="*/ 282 w 282"/>
                <a:gd name="T19" fmla="*/ 218 h 218"/>
                <a:gd name="T20" fmla="*/ 282 w 282"/>
                <a:gd name="T21" fmla="*/ 0 h 218"/>
                <a:gd name="T22" fmla="*/ 0 w 282"/>
                <a:gd name="T23" fmla="*/ 0 h 218"/>
                <a:gd name="T24" fmla="*/ 0 w 282"/>
                <a:gd name="T25" fmla="*/ 3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2" h="218">
                  <a:moveTo>
                    <a:pt x="0" y="31"/>
                  </a:moveTo>
                  <a:lnTo>
                    <a:pt x="0" y="31"/>
                  </a:lnTo>
                  <a:lnTo>
                    <a:pt x="251" y="31"/>
                  </a:lnTo>
                  <a:lnTo>
                    <a:pt x="251" y="124"/>
                  </a:lnTo>
                  <a:lnTo>
                    <a:pt x="0" y="124"/>
                  </a:lnTo>
                  <a:lnTo>
                    <a:pt x="0" y="218"/>
                  </a:lnTo>
                  <a:lnTo>
                    <a:pt x="19" y="218"/>
                  </a:lnTo>
                  <a:cubicBezTo>
                    <a:pt x="25" y="200"/>
                    <a:pt x="43" y="187"/>
                    <a:pt x="63" y="187"/>
                  </a:cubicBezTo>
                  <a:cubicBezTo>
                    <a:pt x="84" y="187"/>
                    <a:pt x="100" y="200"/>
                    <a:pt x="107" y="218"/>
                  </a:cubicBezTo>
                  <a:lnTo>
                    <a:pt x="282" y="218"/>
                  </a:lnTo>
                  <a:lnTo>
                    <a:pt x="282" y="0"/>
                  </a:lnTo>
                  <a:lnTo>
                    <a:pt x="0" y="0"/>
                  </a:lnTo>
                  <a:lnTo>
                    <a:pt x="0" y="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9">
              <a:extLst>
                <a:ext uri="{FF2B5EF4-FFF2-40B4-BE49-F238E27FC236}">
                  <a16:creationId xmlns:a16="http://schemas.microsoft.com/office/drawing/2014/main" id="{8B40B93D-92BF-4B57-B95A-2F073D0FC69B}"/>
                </a:ext>
              </a:extLst>
            </p:cNvPr>
            <p:cNvSpPr>
              <a:spLocks/>
            </p:cNvSpPr>
            <p:nvPr/>
          </p:nvSpPr>
          <p:spPr bwMode="auto">
            <a:xfrm>
              <a:off x="5592763" y="3360738"/>
              <a:ext cx="30163" cy="30163"/>
            </a:xfrm>
            <a:custGeom>
              <a:avLst/>
              <a:gdLst>
                <a:gd name="T0" fmla="*/ 0 w 32"/>
                <a:gd name="T1" fmla="*/ 0 h 31"/>
                <a:gd name="T2" fmla="*/ 0 w 32"/>
                <a:gd name="T3" fmla="*/ 0 h 31"/>
                <a:gd name="T4" fmla="*/ 32 w 32"/>
                <a:gd name="T5" fmla="*/ 0 h 31"/>
                <a:gd name="T6" fmla="*/ 32 w 32"/>
                <a:gd name="T7" fmla="*/ 31 h 31"/>
                <a:gd name="T8" fmla="*/ 0 w 32"/>
                <a:gd name="T9" fmla="*/ 31 h 31"/>
                <a:gd name="T10" fmla="*/ 0 w 32"/>
                <a:gd name="T11" fmla="*/ 0 h 31"/>
              </a:gdLst>
              <a:ahLst/>
              <a:cxnLst>
                <a:cxn ang="0">
                  <a:pos x="T0" y="T1"/>
                </a:cxn>
                <a:cxn ang="0">
                  <a:pos x="T2" y="T3"/>
                </a:cxn>
                <a:cxn ang="0">
                  <a:pos x="T4" y="T5"/>
                </a:cxn>
                <a:cxn ang="0">
                  <a:pos x="T6" y="T7"/>
                </a:cxn>
                <a:cxn ang="0">
                  <a:pos x="T8" y="T9"/>
                </a:cxn>
                <a:cxn ang="0">
                  <a:pos x="T10" y="T11"/>
                </a:cxn>
              </a:cxnLst>
              <a:rect l="0" t="0" r="r" b="b"/>
              <a:pathLst>
                <a:path w="32" h="31">
                  <a:moveTo>
                    <a:pt x="0" y="0"/>
                  </a:moveTo>
                  <a:lnTo>
                    <a:pt x="0" y="0"/>
                  </a:lnTo>
                  <a:lnTo>
                    <a:pt x="32" y="0"/>
                  </a:lnTo>
                  <a:lnTo>
                    <a:pt x="32" y="31"/>
                  </a:lnTo>
                  <a:lnTo>
                    <a:pt x="0" y="3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10">
              <a:extLst>
                <a:ext uri="{FF2B5EF4-FFF2-40B4-BE49-F238E27FC236}">
                  <a16:creationId xmlns:a16="http://schemas.microsoft.com/office/drawing/2014/main" id="{3259C2AE-25BC-42C7-B1A5-7A268367F20C}"/>
                </a:ext>
              </a:extLst>
            </p:cNvPr>
            <p:cNvSpPr>
              <a:spLocks/>
            </p:cNvSpPr>
            <p:nvPr/>
          </p:nvSpPr>
          <p:spPr bwMode="auto">
            <a:xfrm>
              <a:off x="5518150" y="3511550"/>
              <a:ext cx="30163" cy="30163"/>
            </a:xfrm>
            <a:custGeom>
              <a:avLst/>
              <a:gdLst>
                <a:gd name="T0" fmla="*/ 16 w 31"/>
                <a:gd name="T1" fmla="*/ 0 h 32"/>
                <a:gd name="T2" fmla="*/ 16 w 31"/>
                <a:gd name="T3" fmla="*/ 0 h 32"/>
                <a:gd name="T4" fmla="*/ 0 w 31"/>
                <a:gd name="T5" fmla="*/ 16 h 32"/>
                <a:gd name="T6" fmla="*/ 16 w 31"/>
                <a:gd name="T7" fmla="*/ 32 h 32"/>
                <a:gd name="T8" fmla="*/ 31 w 31"/>
                <a:gd name="T9" fmla="*/ 16 h 32"/>
                <a:gd name="T10" fmla="*/ 16 w 31"/>
                <a:gd name="T11" fmla="*/ 0 h 32"/>
              </a:gdLst>
              <a:ahLst/>
              <a:cxnLst>
                <a:cxn ang="0">
                  <a:pos x="T0" y="T1"/>
                </a:cxn>
                <a:cxn ang="0">
                  <a:pos x="T2" y="T3"/>
                </a:cxn>
                <a:cxn ang="0">
                  <a:pos x="T4" y="T5"/>
                </a:cxn>
                <a:cxn ang="0">
                  <a:pos x="T6" y="T7"/>
                </a:cxn>
                <a:cxn ang="0">
                  <a:pos x="T8" y="T9"/>
                </a:cxn>
                <a:cxn ang="0">
                  <a:pos x="T10" y="T11"/>
                </a:cxn>
              </a:cxnLst>
              <a:rect l="0" t="0" r="r" b="b"/>
              <a:pathLst>
                <a:path w="31" h="32">
                  <a:moveTo>
                    <a:pt x="16" y="0"/>
                  </a:moveTo>
                  <a:lnTo>
                    <a:pt x="16" y="0"/>
                  </a:lnTo>
                  <a:cubicBezTo>
                    <a:pt x="8" y="0"/>
                    <a:pt x="0" y="7"/>
                    <a:pt x="0" y="16"/>
                  </a:cubicBezTo>
                  <a:cubicBezTo>
                    <a:pt x="0" y="25"/>
                    <a:pt x="8" y="32"/>
                    <a:pt x="16" y="32"/>
                  </a:cubicBezTo>
                  <a:cubicBezTo>
                    <a:pt x="25" y="32"/>
                    <a:pt x="31" y="25"/>
                    <a:pt x="31" y="16"/>
                  </a:cubicBezTo>
                  <a:cubicBezTo>
                    <a:pt x="31" y="7"/>
                    <a:pt x="25" y="0"/>
                    <a:pt x="1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1">
              <a:extLst>
                <a:ext uri="{FF2B5EF4-FFF2-40B4-BE49-F238E27FC236}">
                  <a16:creationId xmlns:a16="http://schemas.microsoft.com/office/drawing/2014/main" id="{2CB67449-5287-4594-A9AF-D0E394FCF970}"/>
                </a:ext>
              </a:extLst>
            </p:cNvPr>
            <p:cNvSpPr>
              <a:spLocks/>
            </p:cNvSpPr>
            <p:nvPr/>
          </p:nvSpPr>
          <p:spPr bwMode="auto">
            <a:xfrm>
              <a:off x="5472113" y="3360738"/>
              <a:ext cx="30163" cy="30163"/>
            </a:xfrm>
            <a:custGeom>
              <a:avLst/>
              <a:gdLst>
                <a:gd name="T0" fmla="*/ 0 w 31"/>
                <a:gd name="T1" fmla="*/ 0 h 31"/>
                <a:gd name="T2" fmla="*/ 0 w 31"/>
                <a:gd name="T3" fmla="*/ 0 h 31"/>
                <a:gd name="T4" fmla="*/ 31 w 31"/>
                <a:gd name="T5" fmla="*/ 0 h 31"/>
                <a:gd name="T6" fmla="*/ 31 w 31"/>
                <a:gd name="T7" fmla="*/ 31 h 31"/>
                <a:gd name="T8" fmla="*/ 0 w 31"/>
                <a:gd name="T9" fmla="*/ 31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0"/>
                  </a:lnTo>
                  <a:lnTo>
                    <a:pt x="31" y="0"/>
                  </a:lnTo>
                  <a:lnTo>
                    <a:pt x="31" y="31"/>
                  </a:lnTo>
                  <a:lnTo>
                    <a:pt x="0" y="3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
              <a:extLst>
                <a:ext uri="{FF2B5EF4-FFF2-40B4-BE49-F238E27FC236}">
                  <a16:creationId xmlns:a16="http://schemas.microsoft.com/office/drawing/2014/main" id="{662FCDB5-8BB9-482E-9E02-3A19FB68BC5E}"/>
                </a:ext>
              </a:extLst>
            </p:cNvPr>
            <p:cNvSpPr>
              <a:spLocks noEditPoints="1"/>
            </p:cNvSpPr>
            <p:nvPr/>
          </p:nvSpPr>
          <p:spPr bwMode="auto">
            <a:xfrm>
              <a:off x="5308600" y="3074988"/>
              <a:ext cx="719138" cy="725488"/>
            </a:xfrm>
            <a:custGeom>
              <a:avLst/>
              <a:gdLst>
                <a:gd name="T0" fmla="*/ 609 w 749"/>
                <a:gd name="T1" fmla="*/ 467 h 750"/>
                <a:gd name="T2" fmla="*/ 609 w 749"/>
                <a:gd name="T3" fmla="*/ 467 h 750"/>
                <a:gd name="T4" fmla="*/ 593 w 749"/>
                <a:gd name="T5" fmla="*/ 483 h 750"/>
                <a:gd name="T6" fmla="*/ 543 w 749"/>
                <a:gd name="T7" fmla="*/ 483 h 750"/>
                <a:gd name="T8" fmla="*/ 499 w 749"/>
                <a:gd name="T9" fmla="*/ 514 h 750"/>
                <a:gd name="T10" fmla="*/ 455 w 749"/>
                <a:gd name="T11" fmla="*/ 483 h 750"/>
                <a:gd name="T12" fmla="*/ 278 w 749"/>
                <a:gd name="T13" fmla="*/ 483 h 750"/>
                <a:gd name="T14" fmla="*/ 234 w 749"/>
                <a:gd name="T15" fmla="*/ 514 h 750"/>
                <a:gd name="T16" fmla="*/ 190 w 749"/>
                <a:gd name="T17" fmla="*/ 483 h 750"/>
                <a:gd name="T18" fmla="*/ 155 w 749"/>
                <a:gd name="T19" fmla="*/ 483 h 750"/>
                <a:gd name="T20" fmla="*/ 141 w 749"/>
                <a:gd name="T21" fmla="*/ 467 h 750"/>
                <a:gd name="T22" fmla="*/ 141 w 749"/>
                <a:gd name="T23" fmla="*/ 217 h 750"/>
                <a:gd name="T24" fmla="*/ 155 w 749"/>
                <a:gd name="T25" fmla="*/ 202 h 750"/>
                <a:gd name="T26" fmla="*/ 469 w 749"/>
                <a:gd name="T27" fmla="*/ 202 h 750"/>
                <a:gd name="T28" fmla="*/ 483 w 749"/>
                <a:gd name="T29" fmla="*/ 217 h 750"/>
                <a:gd name="T30" fmla="*/ 483 w 749"/>
                <a:gd name="T31" fmla="*/ 296 h 750"/>
                <a:gd name="T32" fmla="*/ 562 w 749"/>
                <a:gd name="T33" fmla="*/ 296 h 750"/>
                <a:gd name="T34" fmla="*/ 609 w 749"/>
                <a:gd name="T35" fmla="*/ 343 h 750"/>
                <a:gd name="T36" fmla="*/ 609 w 749"/>
                <a:gd name="T37" fmla="*/ 467 h 750"/>
                <a:gd name="T38" fmla="*/ 609 w 749"/>
                <a:gd name="T39" fmla="*/ 467 h 750"/>
                <a:gd name="T40" fmla="*/ 374 w 749"/>
                <a:gd name="T41" fmla="*/ 0 h 750"/>
                <a:gd name="T42" fmla="*/ 374 w 749"/>
                <a:gd name="T43" fmla="*/ 0 h 750"/>
                <a:gd name="T44" fmla="*/ 0 w 749"/>
                <a:gd name="T45" fmla="*/ 375 h 750"/>
                <a:gd name="T46" fmla="*/ 374 w 749"/>
                <a:gd name="T47" fmla="*/ 750 h 750"/>
                <a:gd name="T48" fmla="*/ 749 w 749"/>
                <a:gd name="T49" fmla="*/ 375 h 750"/>
                <a:gd name="T50" fmla="*/ 374 w 749"/>
                <a:gd name="T51"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9" h="750">
                  <a:moveTo>
                    <a:pt x="609" y="467"/>
                  </a:moveTo>
                  <a:lnTo>
                    <a:pt x="609" y="467"/>
                  </a:lnTo>
                  <a:cubicBezTo>
                    <a:pt x="609" y="476"/>
                    <a:pt x="602" y="483"/>
                    <a:pt x="593" y="483"/>
                  </a:cubicBezTo>
                  <a:lnTo>
                    <a:pt x="543" y="483"/>
                  </a:lnTo>
                  <a:cubicBezTo>
                    <a:pt x="537" y="500"/>
                    <a:pt x="520" y="514"/>
                    <a:pt x="499" y="514"/>
                  </a:cubicBezTo>
                  <a:cubicBezTo>
                    <a:pt x="479" y="514"/>
                    <a:pt x="461" y="500"/>
                    <a:pt x="455" y="483"/>
                  </a:cubicBezTo>
                  <a:lnTo>
                    <a:pt x="278" y="483"/>
                  </a:lnTo>
                  <a:cubicBezTo>
                    <a:pt x="271" y="500"/>
                    <a:pt x="255" y="514"/>
                    <a:pt x="234" y="514"/>
                  </a:cubicBezTo>
                  <a:cubicBezTo>
                    <a:pt x="214" y="514"/>
                    <a:pt x="196" y="500"/>
                    <a:pt x="190" y="483"/>
                  </a:cubicBezTo>
                  <a:lnTo>
                    <a:pt x="155" y="483"/>
                  </a:lnTo>
                  <a:cubicBezTo>
                    <a:pt x="146" y="483"/>
                    <a:pt x="141" y="476"/>
                    <a:pt x="141" y="467"/>
                  </a:cubicBezTo>
                  <a:lnTo>
                    <a:pt x="141" y="217"/>
                  </a:lnTo>
                  <a:cubicBezTo>
                    <a:pt x="141" y="208"/>
                    <a:pt x="146" y="202"/>
                    <a:pt x="155" y="202"/>
                  </a:cubicBezTo>
                  <a:lnTo>
                    <a:pt x="469" y="202"/>
                  </a:lnTo>
                  <a:cubicBezTo>
                    <a:pt x="477" y="202"/>
                    <a:pt x="483" y="208"/>
                    <a:pt x="483" y="217"/>
                  </a:cubicBezTo>
                  <a:lnTo>
                    <a:pt x="483" y="296"/>
                  </a:lnTo>
                  <a:lnTo>
                    <a:pt x="562" y="296"/>
                  </a:lnTo>
                  <a:cubicBezTo>
                    <a:pt x="587" y="296"/>
                    <a:pt x="609" y="317"/>
                    <a:pt x="609" y="343"/>
                  </a:cubicBezTo>
                  <a:lnTo>
                    <a:pt x="609" y="467"/>
                  </a:lnTo>
                  <a:lnTo>
                    <a:pt x="609" y="467"/>
                  </a:lnTo>
                  <a:close/>
                  <a:moveTo>
                    <a:pt x="374" y="0"/>
                  </a:moveTo>
                  <a:lnTo>
                    <a:pt x="374" y="0"/>
                  </a:lnTo>
                  <a:cubicBezTo>
                    <a:pt x="166" y="0"/>
                    <a:pt x="0" y="167"/>
                    <a:pt x="0" y="375"/>
                  </a:cubicBezTo>
                  <a:cubicBezTo>
                    <a:pt x="0" y="581"/>
                    <a:pt x="166" y="750"/>
                    <a:pt x="374" y="750"/>
                  </a:cubicBezTo>
                  <a:cubicBezTo>
                    <a:pt x="581" y="750"/>
                    <a:pt x="749" y="581"/>
                    <a:pt x="749" y="375"/>
                  </a:cubicBezTo>
                  <a:cubicBezTo>
                    <a:pt x="749" y="167"/>
                    <a:pt x="581" y="0"/>
                    <a:pt x="37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3">
              <a:extLst>
                <a:ext uri="{FF2B5EF4-FFF2-40B4-BE49-F238E27FC236}">
                  <a16:creationId xmlns:a16="http://schemas.microsoft.com/office/drawing/2014/main" id="{E4B51642-EE9D-4171-AAAD-77C1E629C417}"/>
                </a:ext>
              </a:extLst>
            </p:cNvPr>
            <p:cNvSpPr>
              <a:spLocks/>
            </p:cNvSpPr>
            <p:nvPr/>
          </p:nvSpPr>
          <p:spPr bwMode="auto">
            <a:xfrm>
              <a:off x="5772150" y="3390900"/>
              <a:ext cx="90488" cy="120650"/>
            </a:xfrm>
            <a:custGeom>
              <a:avLst/>
              <a:gdLst>
                <a:gd name="T0" fmla="*/ 79 w 94"/>
                <a:gd name="T1" fmla="*/ 0 h 124"/>
                <a:gd name="T2" fmla="*/ 79 w 94"/>
                <a:gd name="T3" fmla="*/ 0 h 124"/>
                <a:gd name="T4" fmla="*/ 0 w 94"/>
                <a:gd name="T5" fmla="*/ 0 h 124"/>
                <a:gd name="T6" fmla="*/ 0 w 94"/>
                <a:gd name="T7" fmla="*/ 96 h 124"/>
                <a:gd name="T8" fmla="*/ 16 w 94"/>
                <a:gd name="T9" fmla="*/ 93 h 124"/>
                <a:gd name="T10" fmla="*/ 60 w 94"/>
                <a:gd name="T11" fmla="*/ 124 h 124"/>
                <a:gd name="T12" fmla="*/ 94 w 94"/>
                <a:gd name="T13" fmla="*/ 124 h 124"/>
                <a:gd name="T14" fmla="*/ 94 w 94"/>
                <a:gd name="T15" fmla="*/ 16 h 124"/>
                <a:gd name="T16" fmla="*/ 79 w 94"/>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24">
                  <a:moveTo>
                    <a:pt x="79" y="0"/>
                  </a:moveTo>
                  <a:lnTo>
                    <a:pt x="79" y="0"/>
                  </a:lnTo>
                  <a:lnTo>
                    <a:pt x="0" y="0"/>
                  </a:lnTo>
                  <a:lnTo>
                    <a:pt x="0" y="96"/>
                  </a:lnTo>
                  <a:cubicBezTo>
                    <a:pt x="6" y="95"/>
                    <a:pt x="11" y="93"/>
                    <a:pt x="16" y="93"/>
                  </a:cubicBezTo>
                  <a:cubicBezTo>
                    <a:pt x="37" y="93"/>
                    <a:pt x="54" y="106"/>
                    <a:pt x="60" y="124"/>
                  </a:cubicBezTo>
                  <a:lnTo>
                    <a:pt x="94" y="124"/>
                  </a:lnTo>
                  <a:lnTo>
                    <a:pt x="94" y="16"/>
                  </a:lnTo>
                  <a:cubicBezTo>
                    <a:pt x="94" y="7"/>
                    <a:pt x="88" y="0"/>
                    <a:pt x="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4">
              <a:extLst>
                <a:ext uri="{FF2B5EF4-FFF2-40B4-BE49-F238E27FC236}">
                  <a16:creationId xmlns:a16="http://schemas.microsoft.com/office/drawing/2014/main" id="{487C8E87-DA8A-4A09-8CD0-1017393B8945}"/>
                </a:ext>
              </a:extLst>
            </p:cNvPr>
            <p:cNvSpPr>
              <a:spLocks/>
            </p:cNvSpPr>
            <p:nvPr/>
          </p:nvSpPr>
          <p:spPr bwMode="auto">
            <a:xfrm>
              <a:off x="5772150" y="3511550"/>
              <a:ext cx="31750" cy="30163"/>
            </a:xfrm>
            <a:custGeom>
              <a:avLst/>
              <a:gdLst>
                <a:gd name="T0" fmla="*/ 16 w 32"/>
                <a:gd name="T1" fmla="*/ 0 h 32"/>
                <a:gd name="T2" fmla="*/ 16 w 32"/>
                <a:gd name="T3" fmla="*/ 0 h 32"/>
                <a:gd name="T4" fmla="*/ 0 w 32"/>
                <a:gd name="T5" fmla="*/ 16 h 32"/>
                <a:gd name="T6" fmla="*/ 16 w 32"/>
                <a:gd name="T7" fmla="*/ 32 h 32"/>
                <a:gd name="T8" fmla="*/ 32 w 32"/>
                <a:gd name="T9" fmla="*/ 16 h 32"/>
                <a:gd name="T10" fmla="*/ 16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16" y="0"/>
                  </a:moveTo>
                  <a:lnTo>
                    <a:pt x="16" y="0"/>
                  </a:lnTo>
                  <a:cubicBezTo>
                    <a:pt x="7" y="0"/>
                    <a:pt x="0" y="7"/>
                    <a:pt x="0" y="16"/>
                  </a:cubicBezTo>
                  <a:cubicBezTo>
                    <a:pt x="0" y="25"/>
                    <a:pt x="7" y="32"/>
                    <a:pt x="16" y="32"/>
                  </a:cubicBezTo>
                  <a:cubicBezTo>
                    <a:pt x="25" y="32"/>
                    <a:pt x="32" y="25"/>
                    <a:pt x="32" y="16"/>
                  </a:cubicBezTo>
                  <a:cubicBezTo>
                    <a:pt x="32" y="7"/>
                    <a:pt x="25" y="0"/>
                    <a:pt x="1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5">
              <a:extLst>
                <a:ext uri="{FF2B5EF4-FFF2-40B4-BE49-F238E27FC236}">
                  <a16:creationId xmlns:a16="http://schemas.microsoft.com/office/drawing/2014/main" id="{CF0D4DD6-3FD4-4BFD-A64E-1453F5E51A3A}"/>
                </a:ext>
              </a:extLst>
            </p:cNvPr>
            <p:cNvSpPr>
              <a:spLocks/>
            </p:cNvSpPr>
            <p:nvPr/>
          </p:nvSpPr>
          <p:spPr bwMode="auto">
            <a:xfrm>
              <a:off x="5653088" y="3360738"/>
              <a:ext cx="30163" cy="30163"/>
            </a:xfrm>
            <a:custGeom>
              <a:avLst/>
              <a:gdLst>
                <a:gd name="T0" fmla="*/ 0 w 31"/>
                <a:gd name="T1" fmla="*/ 0 h 31"/>
                <a:gd name="T2" fmla="*/ 0 w 31"/>
                <a:gd name="T3" fmla="*/ 0 h 31"/>
                <a:gd name="T4" fmla="*/ 31 w 31"/>
                <a:gd name="T5" fmla="*/ 0 h 31"/>
                <a:gd name="T6" fmla="*/ 31 w 31"/>
                <a:gd name="T7" fmla="*/ 31 h 31"/>
                <a:gd name="T8" fmla="*/ 0 w 31"/>
                <a:gd name="T9" fmla="*/ 31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0"/>
                  </a:lnTo>
                  <a:lnTo>
                    <a:pt x="31" y="0"/>
                  </a:lnTo>
                  <a:lnTo>
                    <a:pt x="31" y="31"/>
                  </a:lnTo>
                  <a:lnTo>
                    <a:pt x="0" y="3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61" name="TextBox 260">
            <a:extLst>
              <a:ext uri="{FF2B5EF4-FFF2-40B4-BE49-F238E27FC236}">
                <a16:creationId xmlns:a16="http://schemas.microsoft.com/office/drawing/2014/main" id="{19D8E372-1939-4C0C-92D6-1C948A0DCCFA}"/>
              </a:ext>
            </a:extLst>
          </p:cNvPr>
          <p:cNvSpPr txBox="1"/>
          <p:nvPr/>
        </p:nvSpPr>
        <p:spPr>
          <a:xfrm>
            <a:off x="6547049" y="366401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Bus</a:t>
            </a:r>
          </a:p>
        </p:txBody>
      </p:sp>
      <p:sp>
        <p:nvSpPr>
          <p:cNvPr id="262" name="Freeform 5">
            <a:extLst>
              <a:ext uri="{FF2B5EF4-FFF2-40B4-BE49-F238E27FC236}">
                <a16:creationId xmlns:a16="http://schemas.microsoft.com/office/drawing/2014/main" id="{1E6063D6-49D4-4E2B-8011-7F91A32100AE}"/>
              </a:ext>
            </a:extLst>
          </p:cNvPr>
          <p:cNvSpPr>
            <a:spLocks noEditPoints="1"/>
          </p:cNvSpPr>
          <p:nvPr/>
        </p:nvSpPr>
        <p:spPr bwMode="auto">
          <a:xfrm>
            <a:off x="7447698" y="3269677"/>
            <a:ext cx="365760" cy="365760"/>
          </a:xfrm>
          <a:custGeom>
            <a:avLst/>
            <a:gdLst>
              <a:gd name="T0" fmla="*/ 545 w 749"/>
              <a:gd name="T1" fmla="*/ 312 h 750"/>
              <a:gd name="T2" fmla="*/ 545 w 749"/>
              <a:gd name="T3" fmla="*/ 312 h 750"/>
              <a:gd name="T4" fmla="*/ 374 w 749"/>
              <a:gd name="T5" fmla="*/ 141 h 750"/>
              <a:gd name="T6" fmla="*/ 373 w 749"/>
              <a:gd name="T7" fmla="*/ 141 h 750"/>
              <a:gd name="T8" fmla="*/ 201 w 749"/>
              <a:gd name="T9" fmla="*/ 312 h 750"/>
              <a:gd name="T10" fmla="*/ 226 w 749"/>
              <a:gd name="T11" fmla="*/ 398 h 750"/>
              <a:gd name="T12" fmla="*/ 361 w 749"/>
              <a:gd name="T13" fmla="*/ 602 h 750"/>
              <a:gd name="T14" fmla="*/ 373 w 749"/>
              <a:gd name="T15" fmla="*/ 609 h 750"/>
              <a:gd name="T16" fmla="*/ 374 w 749"/>
              <a:gd name="T17" fmla="*/ 609 h 750"/>
              <a:gd name="T18" fmla="*/ 387 w 749"/>
              <a:gd name="T19" fmla="*/ 602 h 750"/>
              <a:gd name="T20" fmla="*/ 522 w 749"/>
              <a:gd name="T21" fmla="*/ 398 h 750"/>
              <a:gd name="T22" fmla="*/ 545 w 749"/>
              <a:gd name="T23" fmla="*/ 312 h 750"/>
              <a:gd name="T24" fmla="*/ 749 w 749"/>
              <a:gd name="T25" fmla="*/ 375 h 750"/>
              <a:gd name="T26" fmla="*/ 749 w 749"/>
              <a:gd name="T27" fmla="*/ 375 h 750"/>
              <a:gd name="T28" fmla="*/ 374 w 749"/>
              <a:gd name="T29" fmla="*/ 750 h 750"/>
              <a:gd name="T30" fmla="*/ 0 w 749"/>
              <a:gd name="T31" fmla="*/ 375 h 750"/>
              <a:gd name="T32" fmla="*/ 374 w 749"/>
              <a:gd name="T33" fmla="*/ 0 h 750"/>
              <a:gd name="T34" fmla="*/ 749 w 749"/>
              <a:gd name="T35" fmla="*/ 375 h 750"/>
              <a:gd name="T36" fmla="*/ 452 w 749"/>
              <a:gd name="T37" fmla="*/ 312 h 750"/>
              <a:gd name="T38" fmla="*/ 452 w 749"/>
              <a:gd name="T39" fmla="*/ 312 h 750"/>
              <a:gd name="T40" fmla="*/ 374 w 749"/>
              <a:gd name="T41" fmla="*/ 234 h 750"/>
              <a:gd name="T42" fmla="*/ 295 w 749"/>
              <a:gd name="T43" fmla="*/ 312 h 750"/>
              <a:gd name="T44" fmla="*/ 374 w 749"/>
              <a:gd name="T45" fmla="*/ 389 h 750"/>
              <a:gd name="T46" fmla="*/ 452 w 749"/>
              <a:gd name="T47" fmla="*/ 312 h 750"/>
              <a:gd name="T48" fmla="*/ 513 w 749"/>
              <a:gd name="T49" fmla="*/ 312 h 750"/>
              <a:gd name="T50" fmla="*/ 513 w 749"/>
              <a:gd name="T51" fmla="*/ 312 h 750"/>
              <a:gd name="T52" fmla="*/ 496 w 749"/>
              <a:gd name="T53" fmla="*/ 381 h 750"/>
              <a:gd name="T54" fmla="*/ 374 w 749"/>
              <a:gd name="T55" fmla="*/ 565 h 750"/>
              <a:gd name="T56" fmla="*/ 253 w 749"/>
              <a:gd name="T57" fmla="*/ 382 h 750"/>
              <a:gd name="T58" fmla="*/ 234 w 749"/>
              <a:gd name="T59" fmla="*/ 312 h 750"/>
              <a:gd name="T60" fmla="*/ 373 w 749"/>
              <a:gd name="T61" fmla="*/ 171 h 750"/>
              <a:gd name="T62" fmla="*/ 374 w 749"/>
              <a:gd name="T63" fmla="*/ 171 h 750"/>
              <a:gd name="T64" fmla="*/ 513 w 749"/>
              <a:gd name="T65" fmla="*/ 312 h 750"/>
              <a:gd name="T66" fmla="*/ 421 w 749"/>
              <a:gd name="T67" fmla="*/ 312 h 750"/>
              <a:gd name="T68" fmla="*/ 421 w 749"/>
              <a:gd name="T69" fmla="*/ 312 h 750"/>
              <a:gd name="T70" fmla="*/ 374 w 749"/>
              <a:gd name="T71" fmla="*/ 359 h 750"/>
              <a:gd name="T72" fmla="*/ 327 w 749"/>
              <a:gd name="T73" fmla="*/ 312 h 750"/>
              <a:gd name="T74" fmla="*/ 374 w 749"/>
              <a:gd name="T75" fmla="*/ 265 h 750"/>
              <a:gd name="T76" fmla="*/ 421 w 749"/>
              <a:gd name="T77" fmla="*/ 312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49" h="750">
                <a:moveTo>
                  <a:pt x="545" y="312"/>
                </a:moveTo>
                <a:lnTo>
                  <a:pt x="545" y="312"/>
                </a:lnTo>
                <a:cubicBezTo>
                  <a:pt x="545" y="217"/>
                  <a:pt x="468" y="141"/>
                  <a:pt x="374" y="141"/>
                </a:cubicBezTo>
                <a:lnTo>
                  <a:pt x="373" y="141"/>
                </a:lnTo>
                <a:cubicBezTo>
                  <a:pt x="279" y="141"/>
                  <a:pt x="201" y="217"/>
                  <a:pt x="201" y="312"/>
                </a:cubicBezTo>
                <a:cubicBezTo>
                  <a:pt x="201" y="344"/>
                  <a:pt x="209" y="369"/>
                  <a:pt x="226" y="398"/>
                </a:cubicBezTo>
                <a:lnTo>
                  <a:pt x="361" y="602"/>
                </a:lnTo>
                <a:cubicBezTo>
                  <a:pt x="364" y="606"/>
                  <a:pt x="368" y="609"/>
                  <a:pt x="373" y="609"/>
                </a:cubicBezTo>
                <a:lnTo>
                  <a:pt x="374" y="609"/>
                </a:lnTo>
                <a:cubicBezTo>
                  <a:pt x="379" y="609"/>
                  <a:pt x="385" y="606"/>
                  <a:pt x="387" y="602"/>
                </a:cubicBezTo>
                <a:lnTo>
                  <a:pt x="522" y="398"/>
                </a:lnTo>
                <a:cubicBezTo>
                  <a:pt x="538" y="369"/>
                  <a:pt x="545" y="344"/>
                  <a:pt x="545" y="312"/>
                </a:cubicBezTo>
                <a:close/>
                <a:moveTo>
                  <a:pt x="749" y="375"/>
                </a:moveTo>
                <a:lnTo>
                  <a:pt x="749" y="375"/>
                </a:lnTo>
                <a:cubicBezTo>
                  <a:pt x="749" y="581"/>
                  <a:pt x="580" y="750"/>
                  <a:pt x="374" y="750"/>
                </a:cubicBezTo>
                <a:cubicBezTo>
                  <a:pt x="166" y="750"/>
                  <a:pt x="0" y="581"/>
                  <a:pt x="0" y="375"/>
                </a:cubicBezTo>
                <a:cubicBezTo>
                  <a:pt x="0" y="167"/>
                  <a:pt x="166" y="0"/>
                  <a:pt x="374" y="0"/>
                </a:cubicBezTo>
                <a:cubicBezTo>
                  <a:pt x="580" y="0"/>
                  <a:pt x="749" y="167"/>
                  <a:pt x="749" y="375"/>
                </a:cubicBezTo>
                <a:close/>
                <a:moveTo>
                  <a:pt x="452" y="312"/>
                </a:moveTo>
                <a:lnTo>
                  <a:pt x="452" y="312"/>
                </a:lnTo>
                <a:cubicBezTo>
                  <a:pt x="452" y="269"/>
                  <a:pt x="417" y="234"/>
                  <a:pt x="374" y="234"/>
                </a:cubicBezTo>
                <a:cubicBezTo>
                  <a:pt x="330" y="234"/>
                  <a:pt x="295" y="269"/>
                  <a:pt x="295" y="312"/>
                </a:cubicBezTo>
                <a:cubicBezTo>
                  <a:pt x="295" y="354"/>
                  <a:pt x="330" y="389"/>
                  <a:pt x="374" y="389"/>
                </a:cubicBezTo>
                <a:cubicBezTo>
                  <a:pt x="417" y="389"/>
                  <a:pt x="452" y="354"/>
                  <a:pt x="452" y="312"/>
                </a:cubicBezTo>
                <a:close/>
                <a:moveTo>
                  <a:pt x="513" y="312"/>
                </a:moveTo>
                <a:lnTo>
                  <a:pt x="513" y="312"/>
                </a:lnTo>
                <a:cubicBezTo>
                  <a:pt x="513" y="338"/>
                  <a:pt x="509" y="359"/>
                  <a:pt x="496" y="381"/>
                </a:cubicBezTo>
                <a:lnTo>
                  <a:pt x="374" y="565"/>
                </a:lnTo>
                <a:lnTo>
                  <a:pt x="253" y="382"/>
                </a:lnTo>
                <a:cubicBezTo>
                  <a:pt x="238" y="359"/>
                  <a:pt x="234" y="338"/>
                  <a:pt x="234" y="312"/>
                </a:cubicBezTo>
                <a:cubicBezTo>
                  <a:pt x="234" y="234"/>
                  <a:pt x="297" y="171"/>
                  <a:pt x="373" y="171"/>
                </a:cubicBezTo>
                <a:lnTo>
                  <a:pt x="374" y="171"/>
                </a:lnTo>
                <a:cubicBezTo>
                  <a:pt x="450" y="171"/>
                  <a:pt x="513" y="234"/>
                  <a:pt x="513" y="312"/>
                </a:cubicBezTo>
                <a:close/>
                <a:moveTo>
                  <a:pt x="421" y="312"/>
                </a:moveTo>
                <a:lnTo>
                  <a:pt x="421" y="312"/>
                </a:lnTo>
                <a:cubicBezTo>
                  <a:pt x="421" y="338"/>
                  <a:pt x="399" y="359"/>
                  <a:pt x="374" y="359"/>
                </a:cubicBezTo>
                <a:cubicBezTo>
                  <a:pt x="348" y="359"/>
                  <a:pt x="327" y="338"/>
                  <a:pt x="327" y="312"/>
                </a:cubicBezTo>
                <a:cubicBezTo>
                  <a:pt x="327" y="285"/>
                  <a:pt x="348" y="265"/>
                  <a:pt x="374" y="265"/>
                </a:cubicBezTo>
                <a:cubicBezTo>
                  <a:pt x="399" y="265"/>
                  <a:pt x="421" y="285"/>
                  <a:pt x="421" y="312"/>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63" name="Group 262">
            <a:extLst>
              <a:ext uri="{FF2B5EF4-FFF2-40B4-BE49-F238E27FC236}">
                <a16:creationId xmlns:a16="http://schemas.microsoft.com/office/drawing/2014/main" id="{2B615EC9-81FE-4E09-BCA6-05C5E15C44CB}"/>
              </a:ext>
            </a:extLst>
          </p:cNvPr>
          <p:cNvGrpSpPr/>
          <p:nvPr/>
        </p:nvGrpSpPr>
        <p:grpSpPr>
          <a:xfrm>
            <a:off x="7885913" y="3269677"/>
            <a:ext cx="365760" cy="365760"/>
            <a:chOff x="6149975" y="3074988"/>
            <a:chExt cx="719138" cy="725488"/>
          </a:xfrm>
          <a:solidFill>
            <a:schemeClr val="bg2"/>
          </a:solidFill>
        </p:grpSpPr>
        <p:sp>
          <p:nvSpPr>
            <p:cNvPr id="264" name="Freeform 6">
              <a:extLst>
                <a:ext uri="{FF2B5EF4-FFF2-40B4-BE49-F238E27FC236}">
                  <a16:creationId xmlns:a16="http://schemas.microsoft.com/office/drawing/2014/main" id="{AAC99ED1-B620-4961-8835-C248F7DE9FA8}"/>
                </a:ext>
              </a:extLst>
            </p:cNvPr>
            <p:cNvSpPr>
              <a:spLocks noEditPoints="1"/>
            </p:cNvSpPr>
            <p:nvPr/>
          </p:nvSpPr>
          <p:spPr bwMode="auto">
            <a:xfrm>
              <a:off x="6343650" y="3213100"/>
              <a:ext cx="331788" cy="452438"/>
            </a:xfrm>
            <a:custGeom>
              <a:avLst/>
              <a:gdLst>
                <a:gd name="T0" fmla="*/ 295 w 345"/>
                <a:gd name="T1" fmla="*/ 239 h 467"/>
                <a:gd name="T2" fmla="*/ 295 w 345"/>
                <a:gd name="T3" fmla="*/ 239 h 467"/>
                <a:gd name="T4" fmla="*/ 173 w 345"/>
                <a:gd name="T5" fmla="*/ 423 h 467"/>
                <a:gd name="T6" fmla="*/ 51 w 345"/>
                <a:gd name="T7" fmla="*/ 241 h 467"/>
                <a:gd name="T8" fmla="*/ 32 w 345"/>
                <a:gd name="T9" fmla="*/ 171 h 467"/>
                <a:gd name="T10" fmla="*/ 172 w 345"/>
                <a:gd name="T11" fmla="*/ 31 h 467"/>
                <a:gd name="T12" fmla="*/ 173 w 345"/>
                <a:gd name="T13" fmla="*/ 31 h 467"/>
                <a:gd name="T14" fmla="*/ 313 w 345"/>
                <a:gd name="T15" fmla="*/ 171 h 467"/>
                <a:gd name="T16" fmla="*/ 295 w 345"/>
                <a:gd name="T17" fmla="*/ 239 h 467"/>
                <a:gd name="T18" fmla="*/ 173 w 345"/>
                <a:gd name="T19" fmla="*/ 0 h 467"/>
                <a:gd name="T20" fmla="*/ 173 w 345"/>
                <a:gd name="T21" fmla="*/ 0 h 467"/>
                <a:gd name="T22" fmla="*/ 172 w 345"/>
                <a:gd name="T23" fmla="*/ 0 h 467"/>
                <a:gd name="T24" fmla="*/ 0 w 345"/>
                <a:gd name="T25" fmla="*/ 171 h 467"/>
                <a:gd name="T26" fmla="*/ 25 w 345"/>
                <a:gd name="T27" fmla="*/ 257 h 467"/>
                <a:gd name="T28" fmla="*/ 160 w 345"/>
                <a:gd name="T29" fmla="*/ 459 h 467"/>
                <a:gd name="T30" fmla="*/ 172 w 345"/>
                <a:gd name="T31" fmla="*/ 467 h 467"/>
                <a:gd name="T32" fmla="*/ 173 w 345"/>
                <a:gd name="T33" fmla="*/ 467 h 467"/>
                <a:gd name="T34" fmla="*/ 186 w 345"/>
                <a:gd name="T35" fmla="*/ 459 h 467"/>
                <a:gd name="T36" fmla="*/ 321 w 345"/>
                <a:gd name="T37" fmla="*/ 257 h 467"/>
                <a:gd name="T38" fmla="*/ 345 w 345"/>
                <a:gd name="T39" fmla="*/ 171 h 467"/>
                <a:gd name="T40" fmla="*/ 173 w 345"/>
                <a:gd name="T41"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5" h="467">
                  <a:moveTo>
                    <a:pt x="295" y="239"/>
                  </a:moveTo>
                  <a:lnTo>
                    <a:pt x="295" y="239"/>
                  </a:lnTo>
                  <a:lnTo>
                    <a:pt x="173" y="423"/>
                  </a:lnTo>
                  <a:lnTo>
                    <a:pt x="51" y="241"/>
                  </a:lnTo>
                  <a:cubicBezTo>
                    <a:pt x="37" y="217"/>
                    <a:pt x="32" y="197"/>
                    <a:pt x="32" y="171"/>
                  </a:cubicBezTo>
                  <a:cubicBezTo>
                    <a:pt x="32" y="93"/>
                    <a:pt x="95" y="31"/>
                    <a:pt x="172" y="31"/>
                  </a:cubicBezTo>
                  <a:lnTo>
                    <a:pt x="173" y="31"/>
                  </a:lnTo>
                  <a:cubicBezTo>
                    <a:pt x="250" y="31"/>
                    <a:pt x="313" y="93"/>
                    <a:pt x="313" y="171"/>
                  </a:cubicBezTo>
                  <a:cubicBezTo>
                    <a:pt x="313" y="197"/>
                    <a:pt x="308" y="217"/>
                    <a:pt x="295" y="239"/>
                  </a:cubicBezTo>
                  <a:close/>
                  <a:moveTo>
                    <a:pt x="173" y="0"/>
                  </a:moveTo>
                  <a:lnTo>
                    <a:pt x="173" y="0"/>
                  </a:lnTo>
                  <a:lnTo>
                    <a:pt x="172" y="0"/>
                  </a:lnTo>
                  <a:cubicBezTo>
                    <a:pt x="78" y="0"/>
                    <a:pt x="0" y="76"/>
                    <a:pt x="0" y="171"/>
                  </a:cubicBezTo>
                  <a:cubicBezTo>
                    <a:pt x="0" y="203"/>
                    <a:pt x="7" y="227"/>
                    <a:pt x="25" y="257"/>
                  </a:cubicBezTo>
                  <a:lnTo>
                    <a:pt x="160" y="459"/>
                  </a:lnTo>
                  <a:cubicBezTo>
                    <a:pt x="163" y="464"/>
                    <a:pt x="167" y="467"/>
                    <a:pt x="172" y="467"/>
                  </a:cubicBezTo>
                  <a:lnTo>
                    <a:pt x="173" y="467"/>
                  </a:lnTo>
                  <a:cubicBezTo>
                    <a:pt x="178" y="467"/>
                    <a:pt x="183" y="464"/>
                    <a:pt x="186" y="459"/>
                  </a:cubicBezTo>
                  <a:lnTo>
                    <a:pt x="321" y="257"/>
                  </a:lnTo>
                  <a:cubicBezTo>
                    <a:pt x="338" y="227"/>
                    <a:pt x="345" y="203"/>
                    <a:pt x="345" y="171"/>
                  </a:cubicBezTo>
                  <a:cubicBezTo>
                    <a:pt x="345" y="76"/>
                    <a:pt x="267" y="0"/>
                    <a:pt x="1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7">
              <a:extLst>
                <a:ext uri="{FF2B5EF4-FFF2-40B4-BE49-F238E27FC236}">
                  <a16:creationId xmlns:a16="http://schemas.microsoft.com/office/drawing/2014/main" id="{1079D48D-3979-4A60-81C2-2254C6DF8246}"/>
                </a:ext>
              </a:extLst>
            </p:cNvPr>
            <p:cNvSpPr>
              <a:spLocks noEditPoints="1"/>
            </p:cNvSpPr>
            <p:nvPr/>
          </p:nvSpPr>
          <p:spPr bwMode="auto">
            <a:xfrm>
              <a:off x="6434138" y="3300413"/>
              <a:ext cx="149225" cy="153988"/>
            </a:xfrm>
            <a:custGeom>
              <a:avLst/>
              <a:gdLst>
                <a:gd name="T0" fmla="*/ 79 w 156"/>
                <a:gd name="T1" fmla="*/ 128 h 159"/>
                <a:gd name="T2" fmla="*/ 79 w 156"/>
                <a:gd name="T3" fmla="*/ 128 h 159"/>
                <a:gd name="T4" fmla="*/ 32 w 156"/>
                <a:gd name="T5" fmla="*/ 80 h 159"/>
                <a:gd name="T6" fmla="*/ 79 w 156"/>
                <a:gd name="T7" fmla="*/ 32 h 159"/>
                <a:gd name="T8" fmla="*/ 125 w 156"/>
                <a:gd name="T9" fmla="*/ 80 h 159"/>
                <a:gd name="T10" fmla="*/ 79 w 156"/>
                <a:gd name="T11" fmla="*/ 128 h 159"/>
                <a:gd name="T12" fmla="*/ 79 w 156"/>
                <a:gd name="T13" fmla="*/ 0 h 159"/>
                <a:gd name="T14" fmla="*/ 79 w 156"/>
                <a:gd name="T15" fmla="*/ 0 h 159"/>
                <a:gd name="T16" fmla="*/ 0 w 156"/>
                <a:gd name="T17" fmla="*/ 80 h 159"/>
                <a:gd name="T18" fmla="*/ 79 w 156"/>
                <a:gd name="T19" fmla="*/ 159 h 159"/>
                <a:gd name="T20" fmla="*/ 156 w 156"/>
                <a:gd name="T21" fmla="*/ 80 h 159"/>
                <a:gd name="T22" fmla="*/ 79 w 156"/>
                <a:gd name="T2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59">
                  <a:moveTo>
                    <a:pt x="79" y="128"/>
                  </a:moveTo>
                  <a:lnTo>
                    <a:pt x="79" y="128"/>
                  </a:lnTo>
                  <a:cubicBezTo>
                    <a:pt x="52" y="128"/>
                    <a:pt x="32" y="107"/>
                    <a:pt x="32" y="80"/>
                  </a:cubicBezTo>
                  <a:cubicBezTo>
                    <a:pt x="32" y="53"/>
                    <a:pt x="52" y="32"/>
                    <a:pt x="79" y="32"/>
                  </a:cubicBezTo>
                  <a:cubicBezTo>
                    <a:pt x="103" y="32"/>
                    <a:pt x="125" y="53"/>
                    <a:pt x="125" y="80"/>
                  </a:cubicBezTo>
                  <a:cubicBezTo>
                    <a:pt x="125" y="107"/>
                    <a:pt x="103" y="128"/>
                    <a:pt x="79" y="128"/>
                  </a:cubicBezTo>
                  <a:close/>
                  <a:moveTo>
                    <a:pt x="79" y="0"/>
                  </a:moveTo>
                  <a:lnTo>
                    <a:pt x="79" y="0"/>
                  </a:lnTo>
                  <a:cubicBezTo>
                    <a:pt x="35" y="0"/>
                    <a:pt x="0" y="36"/>
                    <a:pt x="0" y="80"/>
                  </a:cubicBezTo>
                  <a:cubicBezTo>
                    <a:pt x="0" y="123"/>
                    <a:pt x="35" y="159"/>
                    <a:pt x="79" y="159"/>
                  </a:cubicBezTo>
                  <a:cubicBezTo>
                    <a:pt x="121" y="159"/>
                    <a:pt x="156" y="123"/>
                    <a:pt x="156" y="80"/>
                  </a:cubicBezTo>
                  <a:cubicBezTo>
                    <a:pt x="156" y="36"/>
                    <a:pt x="121" y="0"/>
                    <a:pt x="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8">
              <a:extLst>
                <a:ext uri="{FF2B5EF4-FFF2-40B4-BE49-F238E27FC236}">
                  <a16:creationId xmlns:a16="http://schemas.microsoft.com/office/drawing/2014/main" id="{C7DBE9D3-E459-4BD0-88C6-AB58ADFE1894}"/>
                </a:ext>
              </a:extLst>
            </p:cNvPr>
            <p:cNvSpPr>
              <a:spLocks noEditPoints="1"/>
            </p:cNvSpPr>
            <p:nvPr/>
          </p:nvSpPr>
          <p:spPr bwMode="auto">
            <a:xfrm>
              <a:off x="6149975" y="3074988"/>
              <a:ext cx="719138" cy="725488"/>
            </a:xfrm>
            <a:custGeom>
              <a:avLst/>
              <a:gdLst>
                <a:gd name="T0" fmla="*/ 374 w 749"/>
                <a:gd name="T1" fmla="*/ 0 h 750"/>
                <a:gd name="T2" fmla="*/ 374 w 749"/>
                <a:gd name="T3" fmla="*/ 0 h 750"/>
                <a:gd name="T4" fmla="*/ 0 w 749"/>
                <a:gd name="T5" fmla="*/ 375 h 750"/>
                <a:gd name="T6" fmla="*/ 374 w 749"/>
                <a:gd name="T7" fmla="*/ 750 h 750"/>
                <a:gd name="T8" fmla="*/ 749 w 749"/>
                <a:gd name="T9" fmla="*/ 375 h 750"/>
                <a:gd name="T10" fmla="*/ 374 w 749"/>
                <a:gd name="T11" fmla="*/ 0 h 750"/>
                <a:gd name="T12" fmla="*/ 374 w 749"/>
                <a:gd name="T13" fmla="*/ 31 h 750"/>
                <a:gd name="T14" fmla="*/ 374 w 749"/>
                <a:gd name="T15" fmla="*/ 31 h 750"/>
                <a:gd name="T16" fmla="*/ 717 w 749"/>
                <a:gd name="T17" fmla="*/ 375 h 750"/>
                <a:gd name="T18" fmla="*/ 374 w 749"/>
                <a:gd name="T19" fmla="*/ 717 h 750"/>
                <a:gd name="T20" fmla="*/ 30 w 749"/>
                <a:gd name="T21" fmla="*/ 375 h 750"/>
                <a:gd name="T22" fmla="*/ 374 w 749"/>
                <a:gd name="T23" fmla="*/ 3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9" h="750">
                  <a:moveTo>
                    <a:pt x="374" y="0"/>
                  </a:moveTo>
                  <a:lnTo>
                    <a:pt x="374" y="0"/>
                  </a:lnTo>
                  <a:cubicBezTo>
                    <a:pt x="167" y="0"/>
                    <a:pt x="0" y="167"/>
                    <a:pt x="0" y="375"/>
                  </a:cubicBezTo>
                  <a:cubicBezTo>
                    <a:pt x="0" y="581"/>
                    <a:pt x="167" y="750"/>
                    <a:pt x="374" y="750"/>
                  </a:cubicBezTo>
                  <a:cubicBezTo>
                    <a:pt x="581" y="750"/>
                    <a:pt x="749" y="581"/>
                    <a:pt x="749" y="375"/>
                  </a:cubicBezTo>
                  <a:cubicBezTo>
                    <a:pt x="749" y="167"/>
                    <a:pt x="581" y="0"/>
                    <a:pt x="374" y="0"/>
                  </a:cubicBezTo>
                  <a:close/>
                  <a:moveTo>
                    <a:pt x="374" y="31"/>
                  </a:moveTo>
                  <a:lnTo>
                    <a:pt x="374" y="31"/>
                  </a:lnTo>
                  <a:cubicBezTo>
                    <a:pt x="563" y="31"/>
                    <a:pt x="717" y="185"/>
                    <a:pt x="717" y="375"/>
                  </a:cubicBezTo>
                  <a:cubicBezTo>
                    <a:pt x="717" y="564"/>
                    <a:pt x="563" y="717"/>
                    <a:pt x="374" y="717"/>
                  </a:cubicBezTo>
                  <a:cubicBezTo>
                    <a:pt x="184" y="717"/>
                    <a:pt x="30" y="564"/>
                    <a:pt x="30" y="375"/>
                  </a:cubicBezTo>
                  <a:cubicBezTo>
                    <a:pt x="30" y="185"/>
                    <a:pt x="184" y="31"/>
                    <a:pt x="374"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67" name="TextBox 266">
            <a:extLst>
              <a:ext uri="{FF2B5EF4-FFF2-40B4-BE49-F238E27FC236}">
                <a16:creationId xmlns:a16="http://schemas.microsoft.com/office/drawing/2014/main" id="{1EF1A9BB-26A1-4298-AE8D-A7178EDF5FF2}"/>
              </a:ext>
            </a:extLst>
          </p:cNvPr>
          <p:cNvSpPr txBox="1"/>
          <p:nvPr/>
        </p:nvSpPr>
        <p:spPr>
          <a:xfrm>
            <a:off x="7418919" y="366401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Navigation</a:t>
            </a:r>
          </a:p>
        </p:txBody>
      </p:sp>
      <p:grpSp>
        <p:nvGrpSpPr>
          <p:cNvPr id="5" name="Group 4">
            <a:extLst>
              <a:ext uri="{FF2B5EF4-FFF2-40B4-BE49-F238E27FC236}">
                <a16:creationId xmlns:a16="http://schemas.microsoft.com/office/drawing/2014/main" id="{7AE5BA02-0024-4491-BCE3-99FEC00F0EFA}"/>
              </a:ext>
            </a:extLst>
          </p:cNvPr>
          <p:cNvGrpSpPr/>
          <p:nvPr/>
        </p:nvGrpSpPr>
        <p:grpSpPr>
          <a:xfrm>
            <a:off x="8820609" y="3269677"/>
            <a:ext cx="365760" cy="365760"/>
            <a:chOff x="9109605" y="4259485"/>
            <a:chExt cx="727075" cy="728663"/>
          </a:xfrm>
          <a:solidFill>
            <a:schemeClr val="bg2"/>
          </a:solidFill>
        </p:grpSpPr>
        <p:sp>
          <p:nvSpPr>
            <p:cNvPr id="269" name="Freeform 5">
              <a:extLst>
                <a:ext uri="{FF2B5EF4-FFF2-40B4-BE49-F238E27FC236}">
                  <a16:creationId xmlns:a16="http://schemas.microsoft.com/office/drawing/2014/main" id="{436B3A62-0186-4818-BDF6-16F0B284FEAB}"/>
                </a:ext>
              </a:extLst>
            </p:cNvPr>
            <p:cNvSpPr>
              <a:spLocks noEditPoints="1"/>
            </p:cNvSpPr>
            <p:nvPr/>
          </p:nvSpPr>
          <p:spPr bwMode="auto">
            <a:xfrm>
              <a:off x="9109605" y="4259485"/>
              <a:ext cx="727075" cy="728663"/>
            </a:xfrm>
            <a:custGeom>
              <a:avLst/>
              <a:gdLst>
                <a:gd name="T0" fmla="*/ 379 w 757"/>
                <a:gd name="T1" fmla="*/ 0 h 753"/>
                <a:gd name="T2" fmla="*/ 379 w 757"/>
                <a:gd name="T3" fmla="*/ 0 h 753"/>
                <a:gd name="T4" fmla="*/ 0 w 757"/>
                <a:gd name="T5" fmla="*/ 376 h 753"/>
                <a:gd name="T6" fmla="*/ 379 w 757"/>
                <a:gd name="T7" fmla="*/ 753 h 753"/>
                <a:gd name="T8" fmla="*/ 757 w 757"/>
                <a:gd name="T9" fmla="*/ 376 h 753"/>
                <a:gd name="T10" fmla="*/ 379 w 757"/>
                <a:gd name="T11" fmla="*/ 0 h 753"/>
                <a:gd name="T12" fmla="*/ 379 w 757"/>
                <a:gd name="T13" fmla="*/ 30 h 753"/>
                <a:gd name="T14" fmla="*/ 379 w 757"/>
                <a:gd name="T15" fmla="*/ 30 h 753"/>
                <a:gd name="T16" fmla="*/ 725 w 757"/>
                <a:gd name="T17" fmla="*/ 376 h 753"/>
                <a:gd name="T18" fmla="*/ 379 w 757"/>
                <a:gd name="T19" fmla="*/ 721 h 753"/>
                <a:gd name="T20" fmla="*/ 31 w 757"/>
                <a:gd name="T21" fmla="*/ 376 h 753"/>
                <a:gd name="T22" fmla="*/ 379 w 757"/>
                <a:gd name="T23" fmla="*/ 30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7" h="753">
                  <a:moveTo>
                    <a:pt x="379" y="0"/>
                  </a:moveTo>
                  <a:lnTo>
                    <a:pt x="379" y="0"/>
                  </a:lnTo>
                  <a:cubicBezTo>
                    <a:pt x="169" y="0"/>
                    <a:pt x="0" y="168"/>
                    <a:pt x="0" y="376"/>
                  </a:cubicBezTo>
                  <a:cubicBezTo>
                    <a:pt x="0" y="584"/>
                    <a:pt x="169" y="753"/>
                    <a:pt x="379" y="753"/>
                  </a:cubicBezTo>
                  <a:cubicBezTo>
                    <a:pt x="587" y="753"/>
                    <a:pt x="757" y="584"/>
                    <a:pt x="757" y="376"/>
                  </a:cubicBezTo>
                  <a:cubicBezTo>
                    <a:pt x="757" y="168"/>
                    <a:pt x="587" y="0"/>
                    <a:pt x="379" y="0"/>
                  </a:cubicBezTo>
                  <a:close/>
                  <a:moveTo>
                    <a:pt x="379" y="30"/>
                  </a:moveTo>
                  <a:lnTo>
                    <a:pt x="379" y="30"/>
                  </a:lnTo>
                  <a:cubicBezTo>
                    <a:pt x="569" y="30"/>
                    <a:pt x="725" y="185"/>
                    <a:pt x="725" y="376"/>
                  </a:cubicBezTo>
                  <a:cubicBezTo>
                    <a:pt x="725" y="566"/>
                    <a:pt x="569" y="721"/>
                    <a:pt x="379" y="721"/>
                  </a:cubicBezTo>
                  <a:cubicBezTo>
                    <a:pt x="186" y="721"/>
                    <a:pt x="31" y="566"/>
                    <a:pt x="31" y="376"/>
                  </a:cubicBezTo>
                  <a:cubicBezTo>
                    <a:pt x="31" y="185"/>
                    <a:pt x="186" y="30"/>
                    <a:pt x="379" y="3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6">
              <a:extLst>
                <a:ext uri="{FF2B5EF4-FFF2-40B4-BE49-F238E27FC236}">
                  <a16:creationId xmlns:a16="http://schemas.microsoft.com/office/drawing/2014/main" id="{00E2EE98-5F7C-4135-813D-56BC5F8C0F31}"/>
                </a:ext>
              </a:extLst>
            </p:cNvPr>
            <p:cNvSpPr>
              <a:spLocks noEditPoints="1"/>
            </p:cNvSpPr>
            <p:nvPr/>
          </p:nvSpPr>
          <p:spPr bwMode="auto">
            <a:xfrm>
              <a:off x="9268355" y="4413472"/>
              <a:ext cx="409575" cy="420688"/>
            </a:xfrm>
            <a:custGeom>
              <a:avLst/>
              <a:gdLst>
                <a:gd name="T0" fmla="*/ 140 w 427"/>
                <a:gd name="T1" fmla="*/ 395 h 435"/>
                <a:gd name="T2" fmla="*/ 140 w 427"/>
                <a:gd name="T3" fmla="*/ 395 h 435"/>
                <a:gd name="T4" fmla="*/ 286 w 427"/>
                <a:gd name="T5" fmla="*/ 395 h 435"/>
                <a:gd name="T6" fmla="*/ 387 w 427"/>
                <a:gd name="T7" fmla="*/ 293 h 435"/>
                <a:gd name="T8" fmla="*/ 387 w 427"/>
                <a:gd name="T9" fmla="*/ 146 h 435"/>
                <a:gd name="T10" fmla="*/ 282 w 427"/>
                <a:gd name="T11" fmla="*/ 40 h 435"/>
                <a:gd name="T12" fmla="*/ 147 w 427"/>
                <a:gd name="T13" fmla="*/ 40 h 435"/>
                <a:gd name="T14" fmla="*/ 40 w 427"/>
                <a:gd name="T15" fmla="*/ 145 h 435"/>
                <a:gd name="T16" fmla="*/ 40 w 427"/>
                <a:gd name="T17" fmla="*/ 295 h 435"/>
                <a:gd name="T18" fmla="*/ 140 w 427"/>
                <a:gd name="T19" fmla="*/ 395 h 435"/>
                <a:gd name="T20" fmla="*/ 140 w 427"/>
                <a:gd name="T21" fmla="*/ 395 h 435"/>
                <a:gd name="T22" fmla="*/ 294 w 427"/>
                <a:gd name="T23" fmla="*/ 435 h 435"/>
                <a:gd name="T24" fmla="*/ 294 w 427"/>
                <a:gd name="T25" fmla="*/ 435 h 435"/>
                <a:gd name="T26" fmla="*/ 132 w 427"/>
                <a:gd name="T27" fmla="*/ 435 h 435"/>
                <a:gd name="T28" fmla="*/ 118 w 427"/>
                <a:gd name="T29" fmla="*/ 429 h 435"/>
                <a:gd name="T30" fmla="*/ 6 w 427"/>
                <a:gd name="T31" fmla="*/ 317 h 435"/>
                <a:gd name="T32" fmla="*/ 0 w 427"/>
                <a:gd name="T33" fmla="*/ 303 h 435"/>
                <a:gd name="T34" fmla="*/ 0 w 427"/>
                <a:gd name="T35" fmla="*/ 136 h 435"/>
                <a:gd name="T36" fmla="*/ 6 w 427"/>
                <a:gd name="T37" fmla="*/ 122 h 435"/>
                <a:gd name="T38" fmla="*/ 125 w 427"/>
                <a:gd name="T39" fmla="*/ 6 h 435"/>
                <a:gd name="T40" fmla="*/ 139 w 427"/>
                <a:gd name="T41" fmla="*/ 0 h 435"/>
                <a:gd name="T42" fmla="*/ 290 w 427"/>
                <a:gd name="T43" fmla="*/ 0 h 435"/>
                <a:gd name="T44" fmla="*/ 304 w 427"/>
                <a:gd name="T45" fmla="*/ 6 h 435"/>
                <a:gd name="T46" fmla="*/ 422 w 427"/>
                <a:gd name="T47" fmla="*/ 123 h 435"/>
                <a:gd name="T48" fmla="*/ 427 w 427"/>
                <a:gd name="T49" fmla="*/ 138 h 435"/>
                <a:gd name="T50" fmla="*/ 427 w 427"/>
                <a:gd name="T51" fmla="*/ 302 h 435"/>
                <a:gd name="T52" fmla="*/ 422 w 427"/>
                <a:gd name="T53" fmla="*/ 316 h 435"/>
                <a:gd name="T54" fmla="*/ 308 w 427"/>
                <a:gd name="T55" fmla="*/ 429 h 435"/>
                <a:gd name="T56" fmla="*/ 294 w 427"/>
                <a:gd name="T57" fmla="*/ 435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7" h="435">
                  <a:moveTo>
                    <a:pt x="140" y="395"/>
                  </a:moveTo>
                  <a:lnTo>
                    <a:pt x="140" y="395"/>
                  </a:lnTo>
                  <a:lnTo>
                    <a:pt x="286" y="395"/>
                  </a:lnTo>
                  <a:lnTo>
                    <a:pt x="387" y="293"/>
                  </a:lnTo>
                  <a:lnTo>
                    <a:pt x="387" y="146"/>
                  </a:lnTo>
                  <a:lnTo>
                    <a:pt x="282" y="40"/>
                  </a:lnTo>
                  <a:lnTo>
                    <a:pt x="147" y="40"/>
                  </a:lnTo>
                  <a:lnTo>
                    <a:pt x="40" y="145"/>
                  </a:lnTo>
                  <a:lnTo>
                    <a:pt x="40" y="295"/>
                  </a:lnTo>
                  <a:lnTo>
                    <a:pt x="140" y="395"/>
                  </a:lnTo>
                  <a:lnTo>
                    <a:pt x="140" y="395"/>
                  </a:lnTo>
                  <a:close/>
                  <a:moveTo>
                    <a:pt x="294" y="435"/>
                  </a:moveTo>
                  <a:lnTo>
                    <a:pt x="294" y="435"/>
                  </a:lnTo>
                  <a:lnTo>
                    <a:pt x="132" y="435"/>
                  </a:lnTo>
                  <a:cubicBezTo>
                    <a:pt x="126" y="435"/>
                    <a:pt x="121" y="433"/>
                    <a:pt x="118" y="429"/>
                  </a:cubicBezTo>
                  <a:lnTo>
                    <a:pt x="6" y="317"/>
                  </a:lnTo>
                  <a:cubicBezTo>
                    <a:pt x="2" y="313"/>
                    <a:pt x="0" y="308"/>
                    <a:pt x="0" y="303"/>
                  </a:cubicBezTo>
                  <a:lnTo>
                    <a:pt x="0" y="136"/>
                  </a:lnTo>
                  <a:cubicBezTo>
                    <a:pt x="0" y="131"/>
                    <a:pt x="2" y="126"/>
                    <a:pt x="6" y="122"/>
                  </a:cubicBezTo>
                  <a:lnTo>
                    <a:pt x="125" y="6"/>
                  </a:lnTo>
                  <a:cubicBezTo>
                    <a:pt x="129" y="2"/>
                    <a:pt x="134" y="0"/>
                    <a:pt x="139" y="0"/>
                  </a:cubicBezTo>
                  <a:lnTo>
                    <a:pt x="290" y="0"/>
                  </a:lnTo>
                  <a:cubicBezTo>
                    <a:pt x="295" y="0"/>
                    <a:pt x="300" y="2"/>
                    <a:pt x="304" y="6"/>
                  </a:cubicBezTo>
                  <a:lnTo>
                    <a:pt x="422" y="123"/>
                  </a:lnTo>
                  <a:cubicBezTo>
                    <a:pt x="425" y="127"/>
                    <a:pt x="427" y="132"/>
                    <a:pt x="427" y="138"/>
                  </a:cubicBezTo>
                  <a:lnTo>
                    <a:pt x="427" y="302"/>
                  </a:lnTo>
                  <a:cubicBezTo>
                    <a:pt x="427" y="307"/>
                    <a:pt x="425" y="312"/>
                    <a:pt x="422" y="316"/>
                  </a:cubicBezTo>
                  <a:lnTo>
                    <a:pt x="308" y="429"/>
                  </a:lnTo>
                  <a:cubicBezTo>
                    <a:pt x="305" y="433"/>
                    <a:pt x="300" y="435"/>
                    <a:pt x="294" y="4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5AF1F921-7CAE-420D-A7E8-CCBCF45AE918}"/>
              </a:ext>
            </a:extLst>
          </p:cNvPr>
          <p:cNvGrpSpPr/>
          <p:nvPr/>
        </p:nvGrpSpPr>
        <p:grpSpPr>
          <a:xfrm>
            <a:off x="8382394" y="3272621"/>
            <a:ext cx="365760" cy="365760"/>
            <a:chOff x="8284105" y="4259485"/>
            <a:chExt cx="723900" cy="731838"/>
          </a:xfrm>
          <a:solidFill>
            <a:schemeClr val="bg2"/>
          </a:solidFill>
        </p:grpSpPr>
        <p:sp>
          <p:nvSpPr>
            <p:cNvPr id="271" name="Freeform 7">
              <a:extLst>
                <a:ext uri="{FF2B5EF4-FFF2-40B4-BE49-F238E27FC236}">
                  <a16:creationId xmlns:a16="http://schemas.microsoft.com/office/drawing/2014/main" id="{AD04C6FD-8D8A-4A12-B9A6-044A5DA2E14F}"/>
                </a:ext>
              </a:extLst>
            </p:cNvPr>
            <p:cNvSpPr>
              <a:spLocks/>
            </p:cNvSpPr>
            <p:nvPr/>
          </p:nvSpPr>
          <p:spPr bwMode="auto">
            <a:xfrm>
              <a:off x="8479368" y="4453160"/>
              <a:ext cx="333375" cy="342900"/>
            </a:xfrm>
            <a:custGeom>
              <a:avLst/>
              <a:gdLst>
                <a:gd name="T0" fmla="*/ 107 w 347"/>
                <a:gd name="T1" fmla="*/ 0 h 354"/>
                <a:gd name="T2" fmla="*/ 107 w 347"/>
                <a:gd name="T3" fmla="*/ 0 h 354"/>
                <a:gd name="T4" fmla="*/ 0 w 347"/>
                <a:gd name="T5" fmla="*/ 104 h 354"/>
                <a:gd name="T6" fmla="*/ 0 w 347"/>
                <a:gd name="T7" fmla="*/ 254 h 354"/>
                <a:gd name="T8" fmla="*/ 100 w 347"/>
                <a:gd name="T9" fmla="*/ 354 h 354"/>
                <a:gd name="T10" fmla="*/ 246 w 347"/>
                <a:gd name="T11" fmla="*/ 354 h 354"/>
                <a:gd name="T12" fmla="*/ 347 w 347"/>
                <a:gd name="T13" fmla="*/ 253 h 354"/>
                <a:gd name="T14" fmla="*/ 347 w 347"/>
                <a:gd name="T15" fmla="*/ 105 h 354"/>
                <a:gd name="T16" fmla="*/ 241 w 347"/>
                <a:gd name="T17" fmla="*/ 0 h 354"/>
                <a:gd name="T18" fmla="*/ 107 w 347"/>
                <a:gd name="T19"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354">
                  <a:moveTo>
                    <a:pt x="107" y="0"/>
                  </a:moveTo>
                  <a:lnTo>
                    <a:pt x="107" y="0"/>
                  </a:lnTo>
                  <a:lnTo>
                    <a:pt x="0" y="104"/>
                  </a:lnTo>
                  <a:lnTo>
                    <a:pt x="0" y="254"/>
                  </a:lnTo>
                  <a:lnTo>
                    <a:pt x="100" y="354"/>
                  </a:lnTo>
                  <a:lnTo>
                    <a:pt x="246" y="354"/>
                  </a:lnTo>
                  <a:lnTo>
                    <a:pt x="347" y="253"/>
                  </a:lnTo>
                  <a:lnTo>
                    <a:pt x="347" y="105"/>
                  </a:lnTo>
                  <a:lnTo>
                    <a:pt x="241" y="0"/>
                  </a:lnTo>
                  <a:lnTo>
                    <a:pt x="10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8">
              <a:extLst>
                <a:ext uri="{FF2B5EF4-FFF2-40B4-BE49-F238E27FC236}">
                  <a16:creationId xmlns:a16="http://schemas.microsoft.com/office/drawing/2014/main" id="{E04F727A-0691-4174-8D4D-061591215406}"/>
                </a:ext>
              </a:extLst>
            </p:cNvPr>
            <p:cNvSpPr>
              <a:spLocks noEditPoints="1"/>
            </p:cNvSpPr>
            <p:nvPr/>
          </p:nvSpPr>
          <p:spPr bwMode="auto">
            <a:xfrm>
              <a:off x="8284105" y="4259485"/>
              <a:ext cx="723900" cy="731838"/>
            </a:xfrm>
            <a:custGeom>
              <a:avLst/>
              <a:gdLst>
                <a:gd name="T0" fmla="*/ 590 w 753"/>
                <a:gd name="T1" fmla="*/ 462 h 757"/>
                <a:gd name="T2" fmla="*/ 590 w 753"/>
                <a:gd name="T3" fmla="*/ 462 h 757"/>
                <a:gd name="T4" fmla="*/ 584 w 753"/>
                <a:gd name="T5" fmla="*/ 476 h 757"/>
                <a:gd name="T6" fmla="*/ 471 w 753"/>
                <a:gd name="T7" fmla="*/ 590 h 757"/>
                <a:gd name="T8" fmla="*/ 457 w 753"/>
                <a:gd name="T9" fmla="*/ 595 h 757"/>
                <a:gd name="T10" fmla="*/ 294 w 753"/>
                <a:gd name="T11" fmla="*/ 595 h 757"/>
                <a:gd name="T12" fmla="*/ 280 w 753"/>
                <a:gd name="T13" fmla="*/ 590 h 757"/>
                <a:gd name="T14" fmla="*/ 169 w 753"/>
                <a:gd name="T15" fmla="*/ 478 h 757"/>
                <a:gd name="T16" fmla="*/ 163 w 753"/>
                <a:gd name="T17" fmla="*/ 464 h 757"/>
                <a:gd name="T18" fmla="*/ 163 w 753"/>
                <a:gd name="T19" fmla="*/ 297 h 757"/>
                <a:gd name="T20" fmla="*/ 169 w 753"/>
                <a:gd name="T21" fmla="*/ 282 h 757"/>
                <a:gd name="T22" fmla="*/ 287 w 753"/>
                <a:gd name="T23" fmla="*/ 166 h 757"/>
                <a:gd name="T24" fmla="*/ 301 w 753"/>
                <a:gd name="T25" fmla="*/ 161 h 757"/>
                <a:gd name="T26" fmla="*/ 453 w 753"/>
                <a:gd name="T27" fmla="*/ 161 h 757"/>
                <a:gd name="T28" fmla="*/ 467 w 753"/>
                <a:gd name="T29" fmla="*/ 167 h 757"/>
                <a:gd name="T30" fmla="*/ 584 w 753"/>
                <a:gd name="T31" fmla="*/ 284 h 757"/>
                <a:gd name="T32" fmla="*/ 590 w 753"/>
                <a:gd name="T33" fmla="*/ 298 h 757"/>
                <a:gd name="T34" fmla="*/ 590 w 753"/>
                <a:gd name="T35" fmla="*/ 462 h 757"/>
                <a:gd name="T36" fmla="*/ 590 w 753"/>
                <a:gd name="T37" fmla="*/ 462 h 757"/>
                <a:gd name="T38" fmla="*/ 376 w 753"/>
                <a:gd name="T39" fmla="*/ 0 h 757"/>
                <a:gd name="T40" fmla="*/ 376 w 753"/>
                <a:gd name="T41" fmla="*/ 0 h 757"/>
                <a:gd name="T42" fmla="*/ 0 w 753"/>
                <a:gd name="T43" fmla="*/ 378 h 757"/>
                <a:gd name="T44" fmla="*/ 376 w 753"/>
                <a:gd name="T45" fmla="*/ 757 h 757"/>
                <a:gd name="T46" fmla="*/ 753 w 753"/>
                <a:gd name="T47" fmla="*/ 378 h 757"/>
                <a:gd name="T48" fmla="*/ 376 w 753"/>
                <a:gd name="T49" fmla="*/ 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53" h="757">
                  <a:moveTo>
                    <a:pt x="590" y="462"/>
                  </a:moveTo>
                  <a:lnTo>
                    <a:pt x="590" y="462"/>
                  </a:lnTo>
                  <a:cubicBezTo>
                    <a:pt x="590" y="467"/>
                    <a:pt x="588" y="473"/>
                    <a:pt x="584" y="476"/>
                  </a:cubicBezTo>
                  <a:lnTo>
                    <a:pt x="471" y="590"/>
                  </a:lnTo>
                  <a:cubicBezTo>
                    <a:pt x="467" y="593"/>
                    <a:pt x="462" y="595"/>
                    <a:pt x="457" y="595"/>
                  </a:cubicBezTo>
                  <a:lnTo>
                    <a:pt x="294" y="595"/>
                  </a:lnTo>
                  <a:cubicBezTo>
                    <a:pt x="289" y="595"/>
                    <a:pt x="284" y="593"/>
                    <a:pt x="280" y="590"/>
                  </a:cubicBezTo>
                  <a:lnTo>
                    <a:pt x="169" y="478"/>
                  </a:lnTo>
                  <a:cubicBezTo>
                    <a:pt x="165" y="474"/>
                    <a:pt x="163" y="469"/>
                    <a:pt x="163" y="464"/>
                  </a:cubicBezTo>
                  <a:lnTo>
                    <a:pt x="163" y="297"/>
                  </a:lnTo>
                  <a:cubicBezTo>
                    <a:pt x="163" y="291"/>
                    <a:pt x="165" y="286"/>
                    <a:pt x="169" y="282"/>
                  </a:cubicBezTo>
                  <a:lnTo>
                    <a:pt x="287" y="166"/>
                  </a:lnTo>
                  <a:cubicBezTo>
                    <a:pt x="291" y="163"/>
                    <a:pt x="296" y="161"/>
                    <a:pt x="301" y="161"/>
                  </a:cubicBezTo>
                  <a:lnTo>
                    <a:pt x="453" y="161"/>
                  </a:lnTo>
                  <a:cubicBezTo>
                    <a:pt x="458" y="161"/>
                    <a:pt x="463" y="163"/>
                    <a:pt x="467" y="167"/>
                  </a:cubicBezTo>
                  <a:lnTo>
                    <a:pt x="584" y="284"/>
                  </a:lnTo>
                  <a:cubicBezTo>
                    <a:pt x="588" y="288"/>
                    <a:pt x="590" y="293"/>
                    <a:pt x="590" y="298"/>
                  </a:cubicBezTo>
                  <a:lnTo>
                    <a:pt x="590" y="462"/>
                  </a:lnTo>
                  <a:lnTo>
                    <a:pt x="590" y="462"/>
                  </a:lnTo>
                  <a:close/>
                  <a:moveTo>
                    <a:pt x="376" y="0"/>
                  </a:moveTo>
                  <a:lnTo>
                    <a:pt x="376" y="0"/>
                  </a:lnTo>
                  <a:cubicBezTo>
                    <a:pt x="167" y="0"/>
                    <a:pt x="0" y="168"/>
                    <a:pt x="0" y="378"/>
                  </a:cubicBezTo>
                  <a:cubicBezTo>
                    <a:pt x="0" y="586"/>
                    <a:pt x="167" y="757"/>
                    <a:pt x="376" y="757"/>
                  </a:cubicBezTo>
                  <a:cubicBezTo>
                    <a:pt x="584" y="757"/>
                    <a:pt x="753" y="586"/>
                    <a:pt x="753" y="378"/>
                  </a:cubicBezTo>
                  <a:cubicBezTo>
                    <a:pt x="753" y="168"/>
                    <a:pt x="584" y="0"/>
                    <a:pt x="3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3" name="TextBox 272">
            <a:extLst>
              <a:ext uri="{FF2B5EF4-FFF2-40B4-BE49-F238E27FC236}">
                <a16:creationId xmlns:a16="http://schemas.microsoft.com/office/drawing/2014/main" id="{F66D9302-80D9-488F-B07A-7171614D1AF9}"/>
              </a:ext>
            </a:extLst>
          </p:cNvPr>
          <p:cNvSpPr txBox="1"/>
          <p:nvPr/>
        </p:nvSpPr>
        <p:spPr>
          <a:xfrm>
            <a:off x="8367859" y="366401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Stop Sign</a:t>
            </a:r>
          </a:p>
        </p:txBody>
      </p:sp>
    </p:spTree>
    <p:extLst>
      <p:ext uri="{BB962C8B-B14F-4D97-AF65-F5344CB8AC3E}">
        <p14:creationId xmlns:p14="http://schemas.microsoft.com/office/powerpoint/2010/main" val="1325519060"/>
      </p:ext>
    </p:extLst>
  </p:cSld>
  <p:clrMapOvr>
    <a:masterClrMapping/>
  </p:clrMapOvr>
  <p:transition>
    <p:fade/>
  </p:transition>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a:t>Icons Real Estate</a:t>
            </a:r>
            <a:endParaRPr lang="en-GB" dirty="0"/>
          </a:p>
        </p:txBody>
      </p:sp>
      <p:sp>
        <p:nvSpPr>
          <p:cNvPr id="4" name="Title 3"/>
          <p:cNvSpPr>
            <a:spLocks noGrp="1"/>
          </p:cNvSpPr>
          <p:nvPr>
            <p:ph type="title"/>
          </p:nvPr>
        </p:nvSpPr>
        <p:spPr/>
        <p:txBody>
          <a:bodyPr/>
          <a:lstStyle/>
          <a:p>
            <a:r>
              <a:rPr lang="en-GB" dirty="0"/>
              <a:t>Iconography</a:t>
            </a:r>
          </a:p>
        </p:txBody>
      </p:sp>
      <p:sp>
        <p:nvSpPr>
          <p:cNvPr id="59" name="TextBox 58">
            <a:extLst>
              <a:ext uri="{FF2B5EF4-FFF2-40B4-BE49-F238E27FC236}">
                <a16:creationId xmlns:a16="http://schemas.microsoft.com/office/drawing/2014/main" id="{CD140A80-2F31-4566-8B07-34AED52926AD}"/>
              </a:ext>
            </a:extLst>
          </p:cNvPr>
          <p:cNvSpPr txBox="1"/>
          <p:nvPr/>
        </p:nvSpPr>
        <p:spPr>
          <a:xfrm>
            <a:off x="453858" y="208563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Key 1</a:t>
            </a:r>
          </a:p>
        </p:txBody>
      </p:sp>
      <p:sp>
        <p:nvSpPr>
          <p:cNvPr id="60" name="TextBox 59">
            <a:extLst>
              <a:ext uri="{FF2B5EF4-FFF2-40B4-BE49-F238E27FC236}">
                <a16:creationId xmlns:a16="http://schemas.microsoft.com/office/drawing/2014/main" id="{0EA2C7EC-F023-4261-9F65-75F8C105CD77}"/>
              </a:ext>
            </a:extLst>
          </p:cNvPr>
          <p:cNvSpPr txBox="1"/>
          <p:nvPr/>
        </p:nvSpPr>
        <p:spPr>
          <a:xfrm>
            <a:off x="1313382" y="2085637"/>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Key 2</a:t>
            </a:r>
          </a:p>
        </p:txBody>
      </p:sp>
      <p:sp>
        <p:nvSpPr>
          <p:cNvPr id="61" name="TextBox 60">
            <a:extLst>
              <a:ext uri="{FF2B5EF4-FFF2-40B4-BE49-F238E27FC236}">
                <a16:creationId xmlns:a16="http://schemas.microsoft.com/office/drawing/2014/main" id="{9A356505-D19A-47B8-A78C-E3ACD5D375A4}"/>
              </a:ext>
            </a:extLst>
          </p:cNvPr>
          <p:cNvSpPr txBox="1"/>
          <p:nvPr/>
        </p:nvSpPr>
        <p:spPr>
          <a:xfrm>
            <a:off x="3058889"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ouse 2</a:t>
            </a:r>
          </a:p>
        </p:txBody>
      </p:sp>
      <p:sp>
        <p:nvSpPr>
          <p:cNvPr id="62" name="TextBox 61">
            <a:extLst>
              <a:ext uri="{FF2B5EF4-FFF2-40B4-BE49-F238E27FC236}">
                <a16:creationId xmlns:a16="http://schemas.microsoft.com/office/drawing/2014/main" id="{76050F64-3551-4369-9705-D8F5105AA3FC}"/>
              </a:ext>
            </a:extLst>
          </p:cNvPr>
          <p:cNvSpPr txBox="1"/>
          <p:nvPr/>
        </p:nvSpPr>
        <p:spPr>
          <a:xfrm>
            <a:off x="2187723"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ouse 1</a:t>
            </a:r>
          </a:p>
        </p:txBody>
      </p:sp>
      <p:sp>
        <p:nvSpPr>
          <p:cNvPr id="63" name="TextBox 62">
            <a:extLst>
              <a:ext uri="{FF2B5EF4-FFF2-40B4-BE49-F238E27FC236}">
                <a16:creationId xmlns:a16="http://schemas.microsoft.com/office/drawing/2014/main" id="{D580D323-9F8C-4F92-8E12-14731FD08616}"/>
              </a:ext>
            </a:extLst>
          </p:cNvPr>
          <p:cNvSpPr txBox="1"/>
          <p:nvPr/>
        </p:nvSpPr>
        <p:spPr>
          <a:xfrm>
            <a:off x="3930055"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Houses</a:t>
            </a:r>
          </a:p>
        </p:txBody>
      </p:sp>
      <p:sp>
        <p:nvSpPr>
          <p:cNvPr id="64" name="TextBox 63">
            <a:extLst>
              <a:ext uri="{FF2B5EF4-FFF2-40B4-BE49-F238E27FC236}">
                <a16:creationId xmlns:a16="http://schemas.microsoft.com/office/drawing/2014/main" id="{8CECF96E-254A-4951-B7BA-F60380DFED65}"/>
              </a:ext>
            </a:extLst>
          </p:cNvPr>
          <p:cNvSpPr txBox="1"/>
          <p:nvPr/>
        </p:nvSpPr>
        <p:spPr>
          <a:xfrm>
            <a:off x="5672387"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2</a:t>
            </a:r>
          </a:p>
        </p:txBody>
      </p:sp>
      <p:sp>
        <p:nvSpPr>
          <p:cNvPr id="65" name="TextBox 64">
            <a:extLst>
              <a:ext uri="{FF2B5EF4-FFF2-40B4-BE49-F238E27FC236}">
                <a16:creationId xmlns:a16="http://schemas.microsoft.com/office/drawing/2014/main" id="{F600233E-DABC-4F90-A4FC-BBC24EAF5912}"/>
              </a:ext>
            </a:extLst>
          </p:cNvPr>
          <p:cNvSpPr txBox="1"/>
          <p:nvPr/>
        </p:nvSpPr>
        <p:spPr>
          <a:xfrm>
            <a:off x="8285885"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5</a:t>
            </a:r>
          </a:p>
        </p:txBody>
      </p:sp>
      <p:sp>
        <p:nvSpPr>
          <p:cNvPr id="66" name="TextBox 65">
            <a:extLst>
              <a:ext uri="{FF2B5EF4-FFF2-40B4-BE49-F238E27FC236}">
                <a16:creationId xmlns:a16="http://schemas.microsoft.com/office/drawing/2014/main" id="{926B1EAE-62E5-4B51-961A-999BFA12FECC}"/>
              </a:ext>
            </a:extLst>
          </p:cNvPr>
          <p:cNvSpPr txBox="1"/>
          <p:nvPr/>
        </p:nvSpPr>
        <p:spPr>
          <a:xfrm>
            <a:off x="4801221"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1</a:t>
            </a:r>
          </a:p>
        </p:txBody>
      </p:sp>
      <p:sp>
        <p:nvSpPr>
          <p:cNvPr id="67" name="TextBox 66">
            <a:extLst>
              <a:ext uri="{FF2B5EF4-FFF2-40B4-BE49-F238E27FC236}">
                <a16:creationId xmlns:a16="http://schemas.microsoft.com/office/drawing/2014/main" id="{E1075283-FC8F-43B0-A524-EFE831E0D583}"/>
              </a:ext>
            </a:extLst>
          </p:cNvPr>
          <p:cNvSpPr txBox="1"/>
          <p:nvPr/>
        </p:nvSpPr>
        <p:spPr>
          <a:xfrm>
            <a:off x="7414719"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4</a:t>
            </a:r>
          </a:p>
        </p:txBody>
      </p:sp>
      <p:sp>
        <p:nvSpPr>
          <p:cNvPr id="68" name="TextBox 67">
            <a:extLst>
              <a:ext uri="{FF2B5EF4-FFF2-40B4-BE49-F238E27FC236}">
                <a16:creationId xmlns:a16="http://schemas.microsoft.com/office/drawing/2014/main" id="{A21EEB1D-E1B9-4290-9E87-E54C4F3BE3B8}"/>
              </a:ext>
            </a:extLst>
          </p:cNvPr>
          <p:cNvSpPr txBox="1"/>
          <p:nvPr/>
        </p:nvSpPr>
        <p:spPr>
          <a:xfrm>
            <a:off x="9157047" y="2085637"/>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Realtor sign</a:t>
            </a:r>
          </a:p>
        </p:txBody>
      </p:sp>
      <p:grpSp>
        <p:nvGrpSpPr>
          <p:cNvPr id="69" name="Group 447">
            <a:extLst>
              <a:ext uri="{FF2B5EF4-FFF2-40B4-BE49-F238E27FC236}">
                <a16:creationId xmlns:a16="http://schemas.microsoft.com/office/drawing/2014/main" id="{A8DF4828-DC6A-4F09-977B-C935CAE11E21}"/>
              </a:ext>
            </a:extLst>
          </p:cNvPr>
          <p:cNvGrpSpPr>
            <a:grpSpLocks noChangeAspect="1"/>
          </p:cNvGrpSpPr>
          <p:nvPr/>
        </p:nvGrpSpPr>
        <p:grpSpPr bwMode="auto">
          <a:xfrm>
            <a:off x="485758" y="1700213"/>
            <a:ext cx="367041" cy="367041"/>
            <a:chOff x="5601" y="1820"/>
            <a:chExt cx="340" cy="340"/>
          </a:xfrm>
          <a:solidFill>
            <a:schemeClr val="accent5"/>
          </a:solidFill>
        </p:grpSpPr>
        <p:sp>
          <p:nvSpPr>
            <p:cNvPr id="70" name="Freeform 448">
              <a:extLst>
                <a:ext uri="{FF2B5EF4-FFF2-40B4-BE49-F238E27FC236}">
                  <a16:creationId xmlns:a16="http://schemas.microsoft.com/office/drawing/2014/main" id="{6951E6F4-05DD-4366-A84F-46985F7D7B6C}"/>
                </a:ext>
              </a:extLst>
            </p:cNvPr>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449">
              <a:extLst>
                <a:ext uri="{FF2B5EF4-FFF2-40B4-BE49-F238E27FC236}">
                  <a16:creationId xmlns:a16="http://schemas.microsoft.com/office/drawing/2014/main" id="{24131F53-BBB3-47D1-B9FF-D9DD696796CE}"/>
                </a:ext>
              </a:extLst>
            </p:cNvPr>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2" name="Group 452">
            <a:extLst>
              <a:ext uri="{FF2B5EF4-FFF2-40B4-BE49-F238E27FC236}">
                <a16:creationId xmlns:a16="http://schemas.microsoft.com/office/drawing/2014/main" id="{54A9E806-FFAF-407B-A7FD-6881FF096A0D}"/>
              </a:ext>
            </a:extLst>
          </p:cNvPr>
          <p:cNvGrpSpPr>
            <a:grpSpLocks noChangeAspect="1"/>
          </p:cNvGrpSpPr>
          <p:nvPr/>
        </p:nvGrpSpPr>
        <p:grpSpPr bwMode="auto">
          <a:xfrm>
            <a:off x="919320" y="1700213"/>
            <a:ext cx="367041" cy="367041"/>
            <a:chOff x="6020" y="1753"/>
            <a:chExt cx="340" cy="340"/>
          </a:xfrm>
          <a:solidFill>
            <a:schemeClr val="accent5"/>
          </a:solidFill>
        </p:grpSpPr>
        <p:sp>
          <p:nvSpPr>
            <p:cNvPr id="73" name="Freeform 453">
              <a:extLst>
                <a:ext uri="{FF2B5EF4-FFF2-40B4-BE49-F238E27FC236}">
                  <a16:creationId xmlns:a16="http://schemas.microsoft.com/office/drawing/2014/main" id="{6E5A00FE-2023-4A62-B466-8F84C46EDB74}"/>
                </a:ext>
              </a:extLst>
            </p:cNvPr>
            <p:cNvSpPr>
              <a:spLocks noEditPoints="1"/>
            </p:cNvSpPr>
            <p:nvPr/>
          </p:nvSpPr>
          <p:spPr bwMode="auto">
            <a:xfrm>
              <a:off x="6020" y="17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454">
              <a:extLst>
                <a:ext uri="{FF2B5EF4-FFF2-40B4-BE49-F238E27FC236}">
                  <a16:creationId xmlns:a16="http://schemas.microsoft.com/office/drawing/2014/main" id="{A8853D77-6314-4136-862A-99F6DD1CDE5E}"/>
                </a:ext>
              </a:extLst>
            </p:cNvPr>
            <p:cNvSpPr>
              <a:spLocks noEditPoints="1"/>
            </p:cNvSpPr>
            <p:nvPr/>
          </p:nvSpPr>
          <p:spPr bwMode="auto">
            <a:xfrm>
              <a:off x="6084" y="1867"/>
              <a:ext cx="212" cy="113"/>
            </a:xfrm>
            <a:custGeom>
              <a:avLst/>
              <a:gdLst>
                <a:gd name="T0" fmla="*/ 318 w 320"/>
                <a:gd name="T1" fmla="*/ 79 h 171"/>
                <a:gd name="T2" fmla="*/ 297 w 320"/>
                <a:gd name="T3" fmla="*/ 47 h 171"/>
                <a:gd name="T4" fmla="*/ 288 w 320"/>
                <a:gd name="T5" fmla="*/ 43 h 171"/>
                <a:gd name="T6" fmla="*/ 159 w 320"/>
                <a:gd name="T7" fmla="*/ 43 h 171"/>
                <a:gd name="T8" fmla="*/ 85 w 320"/>
                <a:gd name="T9" fmla="*/ 0 h 171"/>
                <a:gd name="T10" fmla="*/ 0 w 320"/>
                <a:gd name="T11" fmla="*/ 85 h 171"/>
                <a:gd name="T12" fmla="*/ 85 w 320"/>
                <a:gd name="T13" fmla="*/ 171 h 171"/>
                <a:gd name="T14" fmla="*/ 159 w 320"/>
                <a:gd name="T15" fmla="*/ 128 h 171"/>
                <a:gd name="T16" fmla="*/ 202 w 320"/>
                <a:gd name="T17" fmla="*/ 128 h 171"/>
                <a:gd name="T18" fmla="*/ 210 w 320"/>
                <a:gd name="T19" fmla="*/ 125 h 171"/>
                <a:gd name="T20" fmla="*/ 224 w 320"/>
                <a:gd name="T21" fmla="*/ 111 h 171"/>
                <a:gd name="T22" fmla="*/ 237 w 320"/>
                <a:gd name="T23" fmla="*/ 125 h 171"/>
                <a:gd name="T24" fmla="*/ 253 w 320"/>
                <a:gd name="T25" fmla="*/ 125 h 171"/>
                <a:gd name="T26" fmla="*/ 266 w 320"/>
                <a:gd name="T27" fmla="*/ 111 h 171"/>
                <a:gd name="T28" fmla="*/ 280 w 320"/>
                <a:gd name="T29" fmla="*/ 125 h 171"/>
                <a:gd name="T30" fmla="*/ 289 w 320"/>
                <a:gd name="T31" fmla="*/ 128 h 171"/>
                <a:gd name="T32" fmla="*/ 297 w 320"/>
                <a:gd name="T33" fmla="*/ 123 h 171"/>
                <a:gd name="T34" fmla="*/ 318 w 320"/>
                <a:gd name="T35" fmla="*/ 91 h 171"/>
                <a:gd name="T36" fmla="*/ 318 w 320"/>
                <a:gd name="T37" fmla="*/ 79 h 171"/>
                <a:gd name="T38" fmla="*/ 286 w 320"/>
                <a:gd name="T39" fmla="*/ 100 h 171"/>
                <a:gd name="T40" fmla="*/ 274 w 320"/>
                <a:gd name="T41" fmla="*/ 88 h 171"/>
                <a:gd name="T42" fmla="*/ 259 w 320"/>
                <a:gd name="T43" fmla="*/ 88 h 171"/>
                <a:gd name="T44" fmla="*/ 245 w 320"/>
                <a:gd name="T45" fmla="*/ 102 h 171"/>
                <a:gd name="T46" fmla="*/ 231 w 320"/>
                <a:gd name="T47" fmla="*/ 88 h 171"/>
                <a:gd name="T48" fmla="*/ 216 w 320"/>
                <a:gd name="T49" fmla="*/ 88 h 171"/>
                <a:gd name="T50" fmla="*/ 198 w 320"/>
                <a:gd name="T51" fmla="*/ 107 h 171"/>
                <a:gd name="T52" fmla="*/ 152 w 320"/>
                <a:gd name="T53" fmla="*/ 107 h 171"/>
                <a:gd name="T54" fmla="*/ 143 w 320"/>
                <a:gd name="T55" fmla="*/ 113 h 171"/>
                <a:gd name="T56" fmla="*/ 85 w 320"/>
                <a:gd name="T57" fmla="*/ 149 h 171"/>
                <a:gd name="T58" fmla="*/ 21 w 320"/>
                <a:gd name="T59" fmla="*/ 85 h 171"/>
                <a:gd name="T60" fmla="*/ 85 w 320"/>
                <a:gd name="T61" fmla="*/ 21 h 171"/>
                <a:gd name="T62" fmla="*/ 143 w 320"/>
                <a:gd name="T63" fmla="*/ 58 h 171"/>
                <a:gd name="T64" fmla="*/ 152 w 320"/>
                <a:gd name="T65" fmla="*/ 64 h 171"/>
                <a:gd name="T66" fmla="*/ 282 w 320"/>
                <a:gd name="T67" fmla="*/ 64 h 171"/>
                <a:gd name="T68" fmla="*/ 296 w 320"/>
                <a:gd name="T69" fmla="*/ 85 h 171"/>
                <a:gd name="T70" fmla="*/ 286 w 320"/>
                <a:gd name="T71" fmla="*/ 10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171">
                  <a:moveTo>
                    <a:pt x="318" y="79"/>
                  </a:moveTo>
                  <a:cubicBezTo>
                    <a:pt x="297" y="47"/>
                    <a:pt x="297" y="47"/>
                    <a:pt x="297" y="47"/>
                  </a:cubicBezTo>
                  <a:cubicBezTo>
                    <a:pt x="295" y="44"/>
                    <a:pt x="291" y="43"/>
                    <a:pt x="288" y="43"/>
                  </a:cubicBezTo>
                  <a:cubicBezTo>
                    <a:pt x="159" y="43"/>
                    <a:pt x="159" y="43"/>
                    <a:pt x="159" y="43"/>
                  </a:cubicBezTo>
                  <a:cubicBezTo>
                    <a:pt x="144" y="16"/>
                    <a:pt x="115" y="0"/>
                    <a:pt x="85" y="0"/>
                  </a:cubicBezTo>
                  <a:cubicBezTo>
                    <a:pt x="38" y="0"/>
                    <a:pt x="0" y="38"/>
                    <a:pt x="0" y="85"/>
                  </a:cubicBezTo>
                  <a:cubicBezTo>
                    <a:pt x="0" y="132"/>
                    <a:pt x="38" y="171"/>
                    <a:pt x="85" y="171"/>
                  </a:cubicBezTo>
                  <a:cubicBezTo>
                    <a:pt x="115" y="171"/>
                    <a:pt x="144" y="154"/>
                    <a:pt x="159" y="128"/>
                  </a:cubicBezTo>
                  <a:cubicBezTo>
                    <a:pt x="202" y="128"/>
                    <a:pt x="202" y="128"/>
                    <a:pt x="202" y="128"/>
                  </a:cubicBezTo>
                  <a:cubicBezTo>
                    <a:pt x="205" y="128"/>
                    <a:pt x="208" y="127"/>
                    <a:pt x="210" y="125"/>
                  </a:cubicBezTo>
                  <a:cubicBezTo>
                    <a:pt x="224" y="111"/>
                    <a:pt x="224" y="111"/>
                    <a:pt x="224" y="111"/>
                  </a:cubicBezTo>
                  <a:cubicBezTo>
                    <a:pt x="237" y="125"/>
                    <a:pt x="237" y="125"/>
                    <a:pt x="237" y="125"/>
                  </a:cubicBezTo>
                  <a:cubicBezTo>
                    <a:pt x="242" y="129"/>
                    <a:pt x="248" y="129"/>
                    <a:pt x="253" y="125"/>
                  </a:cubicBezTo>
                  <a:cubicBezTo>
                    <a:pt x="266" y="111"/>
                    <a:pt x="266" y="111"/>
                    <a:pt x="266" y="111"/>
                  </a:cubicBezTo>
                  <a:cubicBezTo>
                    <a:pt x="280" y="125"/>
                    <a:pt x="280" y="125"/>
                    <a:pt x="280" y="125"/>
                  </a:cubicBezTo>
                  <a:cubicBezTo>
                    <a:pt x="282" y="127"/>
                    <a:pt x="285" y="128"/>
                    <a:pt x="289" y="128"/>
                  </a:cubicBezTo>
                  <a:cubicBezTo>
                    <a:pt x="292" y="127"/>
                    <a:pt x="295" y="126"/>
                    <a:pt x="297" y="123"/>
                  </a:cubicBezTo>
                  <a:cubicBezTo>
                    <a:pt x="318" y="91"/>
                    <a:pt x="318" y="91"/>
                    <a:pt x="318" y="91"/>
                  </a:cubicBezTo>
                  <a:cubicBezTo>
                    <a:pt x="320" y="87"/>
                    <a:pt x="320" y="83"/>
                    <a:pt x="318" y="79"/>
                  </a:cubicBezTo>
                  <a:close/>
                  <a:moveTo>
                    <a:pt x="286" y="100"/>
                  </a:moveTo>
                  <a:cubicBezTo>
                    <a:pt x="274" y="88"/>
                    <a:pt x="274" y="88"/>
                    <a:pt x="274" y="88"/>
                  </a:cubicBezTo>
                  <a:cubicBezTo>
                    <a:pt x="270" y="84"/>
                    <a:pt x="263" y="84"/>
                    <a:pt x="259" y="88"/>
                  </a:cubicBezTo>
                  <a:cubicBezTo>
                    <a:pt x="245" y="102"/>
                    <a:pt x="245" y="102"/>
                    <a:pt x="245" y="102"/>
                  </a:cubicBezTo>
                  <a:cubicBezTo>
                    <a:pt x="231" y="88"/>
                    <a:pt x="231" y="88"/>
                    <a:pt x="231" y="88"/>
                  </a:cubicBezTo>
                  <a:cubicBezTo>
                    <a:pt x="227" y="84"/>
                    <a:pt x="220" y="84"/>
                    <a:pt x="216" y="88"/>
                  </a:cubicBezTo>
                  <a:cubicBezTo>
                    <a:pt x="198" y="107"/>
                    <a:pt x="198" y="107"/>
                    <a:pt x="198" y="107"/>
                  </a:cubicBezTo>
                  <a:cubicBezTo>
                    <a:pt x="152" y="107"/>
                    <a:pt x="152" y="107"/>
                    <a:pt x="152" y="107"/>
                  </a:cubicBezTo>
                  <a:cubicBezTo>
                    <a:pt x="148" y="107"/>
                    <a:pt x="145" y="109"/>
                    <a:pt x="143" y="113"/>
                  </a:cubicBezTo>
                  <a:cubicBezTo>
                    <a:pt x="132" y="135"/>
                    <a:pt x="110" y="149"/>
                    <a:pt x="85" y="149"/>
                  </a:cubicBezTo>
                  <a:cubicBezTo>
                    <a:pt x="50" y="149"/>
                    <a:pt x="21" y="120"/>
                    <a:pt x="21" y="85"/>
                  </a:cubicBezTo>
                  <a:cubicBezTo>
                    <a:pt x="21" y="50"/>
                    <a:pt x="50" y="21"/>
                    <a:pt x="85" y="21"/>
                  </a:cubicBezTo>
                  <a:cubicBezTo>
                    <a:pt x="110" y="21"/>
                    <a:pt x="132" y="36"/>
                    <a:pt x="143" y="58"/>
                  </a:cubicBezTo>
                  <a:cubicBezTo>
                    <a:pt x="145" y="62"/>
                    <a:pt x="148" y="64"/>
                    <a:pt x="152" y="64"/>
                  </a:cubicBezTo>
                  <a:cubicBezTo>
                    <a:pt x="282" y="64"/>
                    <a:pt x="282" y="64"/>
                    <a:pt x="282" y="64"/>
                  </a:cubicBezTo>
                  <a:cubicBezTo>
                    <a:pt x="296" y="85"/>
                    <a:pt x="296" y="85"/>
                    <a:pt x="296" y="85"/>
                  </a:cubicBezTo>
                  <a:lnTo>
                    <a:pt x="286" y="1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Oval 455">
              <a:extLst>
                <a:ext uri="{FF2B5EF4-FFF2-40B4-BE49-F238E27FC236}">
                  <a16:creationId xmlns:a16="http://schemas.microsoft.com/office/drawing/2014/main" id="{8DE1B42D-120B-4D24-9A94-CEA5E15EAB40}"/>
                </a:ext>
              </a:extLst>
            </p:cNvPr>
            <p:cNvSpPr>
              <a:spLocks noChangeArrowheads="1"/>
            </p:cNvSpPr>
            <p:nvPr/>
          </p:nvSpPr>
          <p:spPr bwMode="auto">
            <a:xfrm>
              <a:off x="6119" y="1909"/>
              <a:ext cx="28"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6" name="Freeform 459">
            <a:extLst>
              <a:ext uri="{FF2B5EF4-FFF2-40B4-BE49-F238E27FC236}">
                <a16:creationId xmlns:a16="http://schemas.microsoft.com/office/drawing/2014/main" id="{6828C55B-3183-44F6-81E1-E436BB117941}"/>
              </a:ext>
            </a:extLst>
          </p:cNvPr>
          <p:cNvSpPr>
            <a:spLocks noChangeAspect="1" noEditPoints="1"/>
          </p:cNvSpPr>
          <p:nvPr/>
        </p:nvSpPr>
        <p:spPr bwMode="auto">
          <a:xfrm>
            <a:off x="1352882" y="1700213"/>
            <a:ext cx="367041" cy="367041"/>
          </a:xfrm>
          <a:custGeom>
            <a:avLst/>
            <a:gdLst>
              <a:gd name="T0" fmla="*/ 202 w 512"/>
              <a:gd name="T1" fmla="*/ 256 h 512"/>
              <a:gd name="T2" fmla="*/ 160 w 512"/>
              <a:gd name="T3" fmla="*/ 298 h 512"/>
              <a:gd name="T4" fmla="*/ 117 w 512"/>
              <a:gd name="T5" fmla="*/ 256 h 512"/>
              <a:gd name="T6" fmla="*/ 160 w 512"/>
              <a:gd name="T7" fmla="*/ 213 h 512"/>
              <a:gd name="T8" fmla="*/ 202 w 512"/>
              <a:gd name="T9" fmla="*/ 25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256 h 512"/>
              <a:gd name="T22" fmla="*/ 405 w 512"/>
              <a:gd name="T23" fmla="*/ 245 h 512"/>
              <a:gd name="T24" fmla="*/ 223 w 512"/>
              <a:gd name="T25" fmla="*/ 245 h 512"/>
              <a:gd name="T26" fmla="*/ 160 w 512"/>
              <a:gd name="T27" fmla="*/ 192 h 512"/>
              <a:gd name="T28" fmla="*/ 96 w 512"/>
              <a:gd name="T29" fmla="*/ 256 h 512"/>
              <a:gd name="T30" fmla="*/ 160 w 512"/>
              <a:gd name="T31" fmla="*/ 320 h 512"/>
              <a:gd name="T32" fmla="*/ 223 w 512"/>
              <a:gd name="T33" fmla="*/ 266 h 512"/>
              <a:gd name="T34" fmla="*/ 352 w 512"/>
              <a:gd name="T35" fmla="*/ 266 h 512"/>
              <a:gd name="T36" fmla="*/ 352 w 512"/>
              <a:gd name="T37" fmla="*/ 288 h 512"/>
              <a:gd name="T38" fmla="*/ 362 w 512"/>
              <a:gd name="T39" fmla="*/ 298 h 512"/>
              <a:gd name="T40" fmla="*/ 373 w 512"/>
              <a:gd name="T41" fmla="*/ 288 h 512"/>
              <a:gd name="T42" fmla="*/ 373 w 512"/>
              <a:gd name="T43" fmla="*/ 266 h 512"/>
              <a:gd name="T44" fmla="*/ 394 w 512"/>
              <a:gd name="T45" fmla="*/ 266 h 512"/>
              <a:gd name="T46" fmla="*/ 394 w 512"/>
              <a:gd name="T47" fmla="*/ 309 h 512"/>
              <a:gd name="T48" fmla="*/ 405 w 512"/>
              <a:gd name="T49" fmla="*/ 320 h 512"/>
              <a:gd name="T50" fmla="*/ 416 w 512"/>
              <a:gd name="T51" fmla="*/ 309 h 512"/>
              <a:gd name="T52" fmla="*/ 416 w 512"/>
              <a:gd name="T5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02" y="256"/>
                </a:moveTo>
                <a:cubicBezTo>
                  <a:pt x="202" y="279"/>
                  <a:pt x="183" y="298"/>
                  <a:pt x="160" y="298"/>
                </a:cubicBezTo>
                <a:cubicBezTo>
                  <a:pt x="136" y="298"/>
                  <a:pt x="117" y="279"/>
                  <a:pt x="117" y="256"/>
                </a:cubicBezTo>
                <a:cubicBezTo>
                  <a:pt x="117" y="232"/>
                  <a:pt x="136" y="213"/>
                  <a:pt x="160" y="213"/>
                </a:cubicBezTo>
                <a:cubicBezTo>
                  <a:pt x="183" y="213"/>
                  <a:pt x="202" y="232"/>
                  <a:pt x="202"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0"/>
                  <a:pt x="411" y="245"/>
                  <a:pt x="405" y="245"/>
                </a:cubicBezTo>
                <a:cubicBezTo>
                  <a:pt x="223" y="245"/>
                  <a:pt x="223" y="245"/>
                  <a:pt x="223" y="245"/>
                </a:cubicBezTo>
                <a:cubicBezTo>
                  <a:pt x="218" y="215"/>
                  <a:pt x="191" y="192"/>
                  <a:pt x="160" y="192"/>
                </a:cubicBezTo>
                <a:cubicBezTo>
                  <a:pt x="124" y="192"/>
                  <a:pt x="96" y="220"/>
                  <a:pt x="96" y="256"/>
                </a:cubicBezTo>
                <a:cubicBezTo>
                  <a:pt x="96" y="291"/>
                  <a:pt x="124" y="320"/>
                  <a:pt x="160" y="320"/>
                </a:cubicBezTo>
                <a:cubicBezTo>
                  <a:pt x="191" y="320"/>
                  <a:pt x="218" y="297"/>
                  <a:pt x="223" y="266"/>
                </a:cubicBezTo>
                <a:cubicBezTo>
                  <a:pt x="352" y="266"/>
                  <a:pt x="352" y="266"/>
                  <a:pt x="352" y="266"/>
                </a:cubicBezTo>
                <a:cubicBezTo>
                  <a:pt x="352" y="288"/>
                  <a:pt x="352" y="288"/>
                  <a:pt x="352" y="288"/>
                </a:cubicBezTo>
                <a:cubicBezTo>
                  <a:pt x="352" y="294"/>
                  <a:pt x="356" y="298"/>
                  <a:pt x="362" y="298"/>
                </a:cubicBezTo>
                <a:cubicBezTo>
                  <a:pt x="368" y="298"/>
                  <a:pt x="373" y="294"/>
                  <a:pt x="373" y="288"/>
                </a:cubicBezTo>
                <a:cubicBezTo>
                  <a:pt x="373" y="266"/>
                  <a:pt x="373" y="266"/>
                  <a:pt x="373" y="266"/>
                </a:cubicBezTo>
                <a:cubicBezTo>
                  <a:pt x="394" y="266"/>
                  <a:pt x="394" y="266"/>
                  <a:pt x="394" y="266"/>
                </a:cubicBezTo>
                <a:cubicBezTo>
                  <a:pt x="394" y="309"/>
                  <a:pt x="394" y="309"/>
                  <a:pt x="394" y="309"/>
                </a:cubicBezTo>
                <a:cubicBezTo>
                  <a:pt x="394" y="315"/>
                  <a:pt x="399" y="320"/>
                  <a:pt x="405" y="320"/>
                </a:cubicBezTo>
                <a:cubicBezTo>
                  <a:pt x="411" y="320"/>
                  <a:pt x="416" y="315"/>
                  <a:pt x="416" y="309"/>
                </a:cubicBezTo>
                <a:lnTo>
                  <a:pt x="416" y="25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7" name="Group 462">
            <a:extLst>
              <a:ext uri="{FF2B5EF4-FFF2-40B4-BE49-F238E27FC236}">
                <a16:creationId xmlns:a16="http://schemas.microsoft.com/office/drawing/2014/main" id="{70AB8557-0DAA-415E-AA05-248F18732E95}"/>
              </a:ext>
            </a:extLst>
          </p:cNvPr>
          <p:cNvGrpSpPr>
            <a:grpSpLocks noChangeAspect="1"/>
          </p:cNvGrpSpPr>
          <p:nvPr/>
        </p:nvGrpSpPr>
        <p:grpSpPr bwMode="auto">
          <a:xfrm>
            <a:off x="1786444" y="1700213"/>
            <a:ext cx="368121" cy="367041"/>
            <a:chOff x="6232" y="2834"/>
            <a:chExt cx="341" cy="340"/>
          </a:xfrm>
          <a:solidFill>
            <a:schemeClr val="accent5"/>
          </a:solidFill>
        </p:grpSpPr>
        <p:sp>
          <p:nvSpPr>
            <p:cNvPr id="78" name="Freeform 463">
              <a:extLst>
                <a:ext uri="{FF2B5EF4-FFF2-40B4-BE49-F238E27FC236}">
                  <a16:creationId xmlns:a16="http://schemas.microsoft.com/office/drawing/2014/main" id="{A80CCC64-7D67-49CD-8643-39015E963A9C}"/>
                </a:ext>
              </a:extLst>
            </p:cNvPr>
            <p:cNvSpPr>
              <a:spLocks noEditPoints="1"/>
            </p:cNvSpPr>
            <p:nvPr/>
          </p:nvSpPr>
          <p:spPr bwMode="auto">
            <a:xfrm>
              <a:off x="6232" y="283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 name="Freeform 464">
              <a:extLst>
                <a:ext uri="{FF2B5EF4-FFF2-40B4-BE49-F238E27FC236}">
                  <a16:creationId xmlns:a16="http://schemas.microsoft.com/office/drawing/2014/main" id="{28158E8A-F778-47EF-BE43-228F3C2032D0}"/>
                </a:ext>
              </a:extLst>
            </p:cNvPr>
            <p:cNvSpPr>
              <a:spLocks noEditPoints="1"/>
            </p:cNvSpPr>
            <p:nvPr/>
          </p:nvSpPr>
          <p:spPr bwMode="auto">
            <a:xfrm>
              <a:off x="6296" y="2961"/>
              <a:ext cx="213" cy="85"/>
            </a:xfrm>
            <a:custGeom>
              <a:avLst/>
              <a:gdLst>
                <a:gd name="T0" fmla="*/ 309 w 320"/>
                <a:gd name="T1" fmla="*/ 53 h 128"/>
                <a:gd name="T2" fmla="*/ 127 w 320"/>
                <a:gd name="T3" fmla="*/ 53 h 128"/>
                <a:gd name="T4" fmla="*/ 64 w 320"/>
                <a:gd name="T5" fmla="*/ 0 h 128"/>
                <a:gd name="T6" fmla="*/ 0 w 320"/>
                <a:gd name="T7" fmla="*/ 64 h 128"/>
                <a:gd name="T8" fmla="*/ 64 w 320"/>
                <a:gd name="T9" fmla="*/ 128 h 128"/>
                <a:gd name="T10" fmla="*/ 127 w 320"/>
                <a:gd name="T11" fmla="*/ 74 h 128"/>
                <a:gd name="T12" fmla="*/ 256 w 320"/>
                <a:gd name="T13" fmla="*/ 74 h 128"/>
                <a:gd name="T14" fmla="*/ 256 w 320"/>
                <a:gd name="T15" fmla="*/ 96 h 128"/>
                <a:gd name="T16" fmla="*/ 266 w 320"/>
                <a:gd name="T17" fmla="*/ 106 h 128"/>
                <a:gd name="T18" fmla="*/ 277 w 320"/>
                <a:gd name="T19" fmla="*/ 96 h 128"/>
                <a:gd name="T20" fmla="*/ 277 w 320"/>
                <a:gd name="T21" fmla="*/ 74 h 128"/>
                <a:gd name="T22" fmla="*/ 298 w 320"/>
                <a:gd name="T23" fmla="*/ 74 h 128"/>
                <a:gd name="T24" fmla="*/ 298 w 320"/>
                <a:gd name="T25" fmla="*/ 117 h 128"/>
                <a:gd name="T26" fmla="*/ 309 w 320"/>
                <a:gd name="T27" fmla="*/ 128 h 128"/>
                <a:gd name="T28" fmla="*/ 320 w 320"/>
                <a:gd name="T29" fmla="*/ 117 h 128"/>
                <a:gd name="T30" fmla="*/ 320 w 320"/>
                <a:gd name="T31" fmla="*/ 64 h 128"/>
                <a:gd name="T32" fmla="*/ 309 w 320"/>
                <a:gd name="T33" fmla="*/ 53 h 128"/>
                <a:gd name="T34" fmla="*/ 64 w 320"/>
                <a:gd name="T35" fmla="*/ 106 h 128"/>
                <a:gd name="T36" fmla="*/ 21 w 320"/>
                <a:gd name="T37" fmla="*/ 64 h 128"/>
                <a:gd name="T38" fmla="*/ 64 w 320"/>
                <a:gd name="T39" fmla="*/ 21 h 128"/>
                <a:gd name="T40" fmla="*/ 106 w 320"/>
                <a:gd name="T41" fmla="*/ 64 h 128"/>
                <a:gd name="T42" fmla="*/ 64 w 320"/>
                <a:gd name="T43"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128">
                  <a:moveTo>
                    <a:pt x="309" y="53"/>
                  </a:moveTo>
                  <a:cubicBezTo>
                    <a:pt x="127" y="53"/>
                    <a:pt x="127" y="53"/>
                    <a:pt x="127" y="53"/>
                  </a:cubicBezTo>
                  <a:cubicBezTo>
                    <a:pt x="122" y="23"/>
                    <a:pt x="95" y="0"/>
                    <a:pt x="64" y="0"/>
                  </a:cubicBezTo>
                  <a:cubicBezTo>
                    <a:pt x="28" y="0"/>
                    <a:pt x="0" y="28"/>
                    <a:pt x="0" y="64"/>
                  </a:cubicBezTo>
                  <a:cubicBezTo>
                    <a:pt x="0" y="99"/>
                    <a:pt x="28" y="128"/>
                    <a:pt x="64" y="128"/>
                  </a:cubicBezTo>
                  <a:cubicBezTo>
                    <a:pt x="95" y="128"/>
                    <a:pt x="122" y="105"/>
                    <a:pt x="127" y="74"/>
                  </a:cubicBezTo>
                  <a:cubicBezTo>
                    <a:pt x="256" y="74"/>
                    <a:pt x="256" y="74"/>
                    <a:pt x="256" y="74"/>
                  </a:cubicBezTo>
                  <a:cubicBezTo>
                    <a:pt x="256" y="96"/>
                    <a:pt x="256" y="96"/>
                    <a:pt x="256" y="96"/>
                  </a:cubicBezTo>
                  <a:cubicBezTo>
                    <a:pt x="256" y="102"/>
                    <a:pt x="260" y="106"/>
                    <a:pt x="266" y="106"/>
                  </a:cubicBezTo>
                  <a:cubicBezTo>
                    <a:pt x="272" y="106"/>
                    <a:pt x="277" y="102"/>
                    <a:pt x="277" y="96"/>
                  </a:cubicBezTo>
                  <a:cubicBezTo>
                    <a:pt x="277" y="74"/>
                    <a:pt x="277" y="74"/>
                    <a:pt x="277" y="74"/>
                  </a:cubicBezTo>
                  <a:cubicBezTo>
                    <a:pt x="298" y="74"/>
                    <a:pt x="298" y="74"/>
                    <a:pt x="298" y="74"/>
                  </a:cubicBezTo>
                  <a:cubicBezTo>
                    <a:pt x="298" y="117"/>
                    <a:pt x="298" y="117"/>
                    <a:pt x="298" y="117"/>
                  </a:cubicBezTo>
                  <a:cubicBezTo>
                    <a:pt x="298" y="123"/>
                    <a:pt x="303" y="128"/>
                    <a:pt x="309" y="128"/>
                  </a:cubicBezTo>
                  <a:cubicBezTo>
                    <a:pt x="315" y="128"/>
                    <a:pt x="320" y="123"/>
                    <a:pt x="320" y="117"/>
                  </a:cubicBezTo>
                  <a:cubicBezTo>
                    <a:pt x="320" y="64"/>
                    <a:pt x="320" y="64"/>
                    <a:pt x="320" y="64"/>
                  </a:cubicBezTo>
                  <a:cubicBezTo>
                    <a:pt x="320" y="58"/>
                    <a:pt x="315" y="53"/>
                    <a:pt x="309" y="53"/>
                  </a:cubicBezTo>
                  <a:close/>
                  <a:moveTo>
                    <a:pt x="64" y="106"/>
                  </a:moveTo>
                  <a:cubicBezTo>
                    <a:pt x="40" y="106"/>
                    <a:pt x="21" y="87"/>
                    <a:pt x="21" y="64"/>
                  </a:cubicBezTo>
                  <a:cubicBezTo>
                    <a:pt x="21" y="40"/>
                    <a:pt x="40" y="21"/>
                    <a:pt x="64" y="21"/>
                  </a:cubicBezTo>
                  <a:cubicBezTo>
                    <a:pt x="87" y="21"/>
                    <a:pt x="106" y="40"/>
                    <a:pt x="106" y="64"/>
                  </a:cubicBezTo>
                  <a:cubicBezTo>
                    <a:pt x="106" y="87"/>
                    <a:pt x="87" y="106"/>
                    <a:pt x="64"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0" name="Freeform 314">
            <a:extLst>
              <a:ext uri="{FF2B5EF4-FFF2-40B4-BE49-F238E27FC236}">
                <a16:creationId xmlns:a16="http://schemas.microsoft.com/office/drawing/2014/main" id="{E0B57180-DE0A-4EB9-A9D0-9C5D89EA316C}"/>
              </a:ext>
            </a:extLst>
          </p:cNvPr>
          <p:cNvSpPr>
            <a:spLocks noChangeAspect="1" noEditPoints="1"/>
          </p:cNvSpPr>
          <p:nvPr/>
        </p:nvSpPr>
        <p:spPr bwMode="auto">
          <a:xfrm>
            <a:off x="3089289" y="1700213"/>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81" name="Group 317">
            <a:extLst>
              <a:ext uri="{FF2B5EF4-FFF2-40B4-BE49-F238E27FC236}">
                <a16:creationId xmlns:a16="http://schemas.microsoft.com/office/drawing/2014/main" id="{27B45175-A719-45D1-93F3-35CA2B2D632C}"/>
              </a:ext>
            </a:extLst>
          </p:cNvPr>
          <p:cNvGrpSpPr>
            <a:grpSpLocks noChangeAspect="1"/>
          </p:cNvGrpSpPr>
          <p:nvPr/>
        </p:nvGrpSpPr>
        <p:grpSpPr bwMode="auto">
          <a:xfrm>
            <a:off x="3522851" y="1700213"/>
            <a:ext cx="367041" cy="367041"/>
            <a:chOff x="3039" y="1341"/>
            <a:chExt cx="340" cy="340"/>
          </a:xfrm>
          <a:solidFill>
            <a:schemeClr val="accent4"/>
          </a:solidFill>
        </p:grpSpPr>
        <p:sp>
          <p:nvSpPr>
            <p:cNvPr id="82" name="Freeform 318">
              <a:extLst>
                <a:ext uri="{FF2B5EF4-FFF2-40B4-BE49-F238E27FC236}">
                  <a16:creationId xmlns:a16="http://schemas.microsoft.com/office/drawing/2014/main" id="{A6D0AD49-4C49-4860-B348-9D033336888C}"/>
                </a:ext>
              </a:extLst>
            </p:cNvPr>
            <p:cNvSpPr>
              <a:spLocks noEditPoints="1"/>
            </p:cNvSpPr>
            <p:nvPr/>
          </p:nvSpPr>
          <p:spPr bwMode="auto">
            <a:xfrm>
              <a:off x="3152" y="1490"/>
              <a:ext cx="42" cy="42"/>
            </a:xfrm>
            <a:custGeom>
              <a:avLst/>
              <a:gdLst>
                <a:gd name="T0" fmla="*/ 54 w 64"/>
                <a:gd name="T1" fmla="*/ 0 h 64"/>
                <a:gd name="T2" fmla="*/ 11 w 64"/>
                <a:gd name="T3" fmla="*/ 0 h 64"/>
                <a:gd name="T4" fmla="*/ 0 w 64"/>
                <a:gd name="T5" fmla="*/ 10 h 64"/>
                <a:gd name="T6" fmla="*/ 0 w 64"/>
                <a:gd name="T7" fmla="*/ 53 h 64"/>
                <a:gd name="T8" fmla="*/ 11 w 64"/>
                <a:gd name="T9" fmla="*/ 64 h 64"/>
                <a:gd name="T10" fmla="*/ 54 w 64"/>
                <a:gd name="T11" fmla="*/ 64 h 64"/>
                <a:gd name="T12" fmla="*/ 64 w 64"/>
                <a:gd name="T13" fmla="*/ 53 h 64"/>
                <a:gd name="T14" fmla="*/ 64 w 64"/>
                <a:gd name="T15" fmla="*/ 10 h 64"/>
                <a:gd name="T16" fmla="*/ 54 w 64"/>
                <a:gd name="T17" fmla="*/ 0 h 64"/>
                <a:gd name="T18" fmla="*/ 43 w 64"/>
                <a:gd name="T19" fmla="*/ 42 h 64"/>
                <a:gd name="T20" fmla="*/ 22 w 64"/>
                <a:gd name="T21" fmla="*/ 42 h 64"/>
                <a:gd name="T22" fmla="*/ 22 w 64"/>
                <a:gd name="T23" fmla="*/ 21 h 64"/>
                <a:gd name="T24" fmla="*/ 43 w 64"/>
                <a:gd name="T25" fmla="*/ 21 h 64"/>
                <a:gd name="T26" fmla="*/ 43 w 64"/>
                <a:gd name="T27"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54" y="0"/>
                  </a:moveTo>
                  <a:cubicBezTo>
                    <a:pt x="11" y="0"/>
                    <a:pt x="11" y="0"/>
                    <a:pt x="11" y="0"/>
                  </a:cubicBezTo>
                  <a:cubicBezTo>
                    <a:pt x="5" y="0"/>
                    <a:pt x="0" y="4"/>
                    <a:pt x="0" y="10"/>
                  </a:cubicBezTo>
                  <a:cubicBezTo>
                    <a:pt x="0" y="53"/>
                    <a:pt x="0" y="53"/>
                    <a:pt x="0" y="53"/>
                  </a:cubicBezTo>
                  <a:cubicBezTo>
                    <a:pt x="0" y="59"/>
                    <a:pt x="5" y="64"/>
                    <a:pt x="11" y="64"/>
                  </a:cubicBezTo>
                  <a:cubicBezTo>
                    <a:pt x="54" y="64"/>
                    <a:pt x="54" y="64"/>
                    <a:pt x="54" y="64"/>
                  </a:cubicBezTo>
                  <a:cubicBezTo>
                    <a:pt x="60" y="64"/>
                    <a:pt x="64" y="59"/>
                    <a:pt x="64" y="53"/>
                  </a:cubicBezTo>
                  <a:cubicBezTo>
                    <a:pt x="64" y="10"/>
                    <a:pt x="64" y="10"/>
                    <a:pt x="64" y="10"/>
                  </a:cubicBezTo>
                  <a:cubicBezTo>
                    <a:pt x="64" y="4"/>
                    <a:pt x="60" y="0"/>
                    <a:pt x="54" y="0"/>
                  </a:cubicBezTo>
                  <a:close/>
                  <a:moveTo>
                    <a:pt x="43" y="42"/>
                  </a:moveTo>
                  <a:cubicBezTo>
                    <a:pt x="22" y="42"/>
                    <a:pt x="22" y="42"/>
                    <a:pt x="22" y="42"/>
                  </a:cubicBezTo>
                  <a:cubicBezTo>
                    <a:pt x="22" y="21"/>
                    <a:pt x="22" y="21"/>
                    <a:pt x="22" y="21"/>
                  </a:cubicBezTo>
                  <a:cubicBezTo>
                    <a:pt x="43" y="21"/>
                    <a:pt x="43" y="21"/>
                    <a:pt x="43" y="21"/>
                  </a:cubicBezTo>
                  <a:lnTo>
                    <a:pt x="43" y="4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3" name="Freeform 319">
              <a:extLst>
                <a:ext uri="{FF2B5EF4-FFF2-40B4-BE49-F238E27FC236}">
                  <a16:creationId xmlns:a16="http://schemas.microsoft.com/office/drawing/2014/main" id="{BA9EF8A4-3418-4281-B99B-8EF4FE3F7A1C}"/>
                </a:ext>
              </a:extLst>
            </p:cNvPr>
            <p:cNvSpPr>
              <a:spLocks noEditPoints="1"/>
            </p:cNvSpPr>
            <p:nvPr/>
          </p:nvSpPr>
          <p:spPr bwMode="auto">
            <a:xfrm>
              <a:off x="3223" y="1490"/>
              <a:ext cx="42" cy="42"/>
            </a:xfrm>
            <a:custGeom>
              <a:avLst/>
              <a:gdLst>
                <a:gd name="T0" fmla="*/ 11 w 64"/>
                <a:gd name="T1" fmla="*/ 64 h 64"/>
                <a:gd name="T2" fmla="*/ 53 w 64"/>
                <a:gd name="T3" fmla="*/ 64 h 64"/>
                <a:gd name="T4" fmla="*/ 64 w 64"/>
                <a:gd name="T5" fmla="*/ 53 h 64"/>
                <a:gd name="T6" fmla="*/ 64 w 64"/>
                <a:gd name="T7" fmla="*/ 10 h 64"/>
                <a:gd name="T8" fmla="*/ 53 w 64"/>
                <a:gd name="T9" fmla="*/ 0 h 64"/>
                <a:gd name="T10" fmla="*/ 11 w 64"/>
                <a:gd name="T11" fmla="*/ 0 h 64"/>
                <a:gd name="T12" fmla="*/ 0 w 64"/>
                <a:gd name="T13" fmla="*/ 10 h 64"/>
                <a:gd name="T14" fmla="*/ 0 w 64"/>
                <a:gd name="T15" fmla="*/ 53 h 64"/>
                <a:gd name="T16" fmla="*/ 11 w 64"/>
                <a:gd name="T17" fmla="*/ 64 h 64"/>
                <a:gd name="T18" fmla="*/ 21 w 64"/>
                <a:gd name="T19" fmla="*/ 21 h 64"/>
                <a:gd name="T20" fmla="*/ 43 w 64"/>
                <a:gd name="T21" fmla="*/ 21 h 64"/>
                <a:gd name="T22" fmla="*/ 43 w 64"/>
                <a:gd name="T23" fmla="*/ 42 h 64"/>
                <a:gd name="T24" fmla="*/ 21 w 64"/>
                <a:gd name="T25" fmla="*/ 42 h 64"/>
                <a:gd name="T26" fmla="*/ 21 w 64"/>
                <a:gd name="T27"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11" y="64"/>
                  </a:moveTo>
                  <a:cubicBezTo>
                    <a:pt x="53" y="64"/>
                    <a:pt x="53" y="64"/>
                    <a:pt x="53" y="64"/>
                  </a:cubicBezTo>
                  <a:cubicBezTo>
                    <a:pt x="59" y="64"/>
                    <a:pt x="64" y="59"/>
                    <a:pt x="64" y="53"/>
                  </a:cubicBezTo>
                  <a:cubicBezTo>
                    <a:pt x="64" y="10"/>
                    <a:pt x="64" y="10"/>
                    <a:pt x="64" y="10"/>
                  </a:cubicBezTo>
                  <a:cubicBezTo>
                    <a:pt x="64" y="4"/>
                    <a:pt x="59" y="0"/>
                    <a:pt x="53" y="0"/>
                  </a:cubicBezTo>
                  <a:cubicBezTo>
                    <a:pt x="11" y="0"/>
                    <a:pt x="11" y="0"/>
                    <a:pt x="11" y="0"/>
                  </a:cubicBezTo>
                  <a:cubicBezTo>
                    <a:pt x="5" y="0"/>
                    <a:pt x="0" y="4"/>
                    <a:pt x="0" y="10"/>
                  </a:cubicBezTo>
                  <a:cubicBezTo>
                    <a:pt x="0" y="53"/>
                    <a:pt x="0" y="53"/>
                    <a:pt x="0" y="53"/>
                  </a:cubicBezTo>
                  <a:cubicBezTo>
                    <a:pt x="0" y="59"/>
                    <a:pt x="5" y="64"/>
                    <a:pt x="11" y="64"/>
                  </a:cubicBezTo>
                  <a:close/>
                  <a:moveTo>
                    <a:pt x="21" y="21"/>
                  </a:moveTo>
                  <a:cubicBezTo>
                    <a:pt x="43" y="21"/>
                    <a:pt x="43" y="21"/>
                    <a:pt x="43" y="21"/>
                  </a:cubicBezTo>
                  <a:cubicBezTo>
                    <a:pt x="43" y="42"/>
                    <a:pt x="43" y="42"/>
                    <a:pt x="43" y="42"/>
                  </a:cubicBezTo>
                  <a:cubicBezTo>
                    <a:pt x="21" y="42"/>
                    <a:pt x="21" y="42"/>
                    <a:pt x="21" y="42"/>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320">
              <a:extLst>
                <a:ext uri="{FF2B5EF4-FFF2-40B4-BE49-F238E27FC236}">
                  <a16:creationId xmlns:a16="http://schemas.microsoft.com/office/drawing/2014/main" id="{BC6EBB19-C467-4126-8972-737DF6A78143}"/>
                </a:ext>
              </a:extLst>
            </p:cNvPr>
            <p:cNvSpPr>
              <a:spLocks noEditPoints="1"/>
            </p:cNvSpPr>
            <p:nvPr/>
          </p:nvSpPr>
          <p:spPr bwMode="auto">
            <a:xfrm>
              <a:off x="3102" y="1404"/>
              <a:ext cx="214" cy="199"/>
            </a:xfrm>
            <a:custGeom>
              <a:avLst/>
              <a:gdLst>
                <a:gd name="T0" fmla="*/ 317 w 322"/>
                <a:gd name="T1" fmla="*/ 131 h 299"/>
                <a:gd name="T2" fmla="*/ 168 w 322"/>
                <a:gd name="T3" fmla="*/ 3 h 299"/>
                <a:gd name="T4" fmla="*/ 154 w 322"/>
                <a:gd name="T5" fmla="*/ 3 h 299"/>
                <a:gd name="T6" fmla="*/ 4 w 322"/>
                <a:gd name="T7" fmla="*/ 131 h 299"/>
                <a:gd name="T8" fmla="*/ 1 w 322"/>
                <a:gd name="T9" fmla="*/ 143 h 299"/>
                <a:gd name="T10" fmla="*/ 11 w 322"/>
                <a:gd name="T11" fmla="*/ 150 h 299"/>
                <a:gd name="T12" fmla="*/ 33 w 322"/>
                <a:gd name="T13" fmla="*/ 150 h 299"/>
                <a:gd name="T14" fmla="*/ 33 w 322"/>
                <a:gd name="T15" fmla="*/ 289 h 299"/>
                <a:gd name="T16" fmla="*/ 43 w 322"/>
                <a:gd name="T17" fmla="*/ 299 h 299"/>
                <a:gd name="T18" fmla="*/ 139 w 322"/>
                <a:gd name="T19" fmla="*/ 299 h 299"/>
                <a:gd name="T20" fmla="*/ 150 w 322"/>
                <a:gd name="T21" fmla="*/ 289 h 299"/>
                <a:gd name="T22" fmla="*/ 150 w 322"/>
                <a:gd name="T23" fmla="*/ 235 h 299"/>
                <a:gd name="T24" fmla="*/ 171 w 322"/>
                <a:gd name="T25" fmla="*/ 235 h 299"/>
                <a:gd name="T26" fmla="*/ 171 w 322"/>
                <a:gd name="T27" fmla="*/ 289 h 299"/>
                <a:gd name="T28" fmla="*/ 182 w 322"/>
                <a:gd name="T29" fmla="*/ 299 h 299"/>
                <a:gd name="T30" fmla="*/ 278 w 322"/>
                <a:gd name="T31" fmla="*/ 299 h 299"/>
                <a:gd name="T32" fmla="*/ 289 w 322"/>
                <a:gd name="T33" fmla="*/ 289 h 299"/>
                <a:gd name="T34" fmla="*/ 289 w 322"/>
                <a:gd name="T35" fmla="*/ 150 h 299"/>
                <a:gd name="T36" fmla="*/ 310 w 322"/>
                <a:gd name="T37" fmla="*/ 150 h 299"/>
                <a:gd name="T38" fmla="*/ 320 w 322"/>
                <a:gd name="T39" fmla="*/ 143 h 299"/>
                <a:gd name="T40" fmla="*/ 317 w 322"/>
                <a:gd name="T41" fmla="*/ 131 h 299"/>
                <a:gd name="T42" fmla="*/ 278 w 322"/>
                <a:gd name="T43" fmla="*/ 129 h 299"/>
                <a:gd name="T44" fmla="*/ 267 w 322"/>
                <a:gd name="T45" fmla="*/ 139 h 299"/>
                <a:gd name="T46" fmla="*/ 267 w 322"/>
                <a:gd name="T47" fmla="*/ 278 h 299"/>
                <a:gd name="T48" fmla="*/ 193 w 322"/>
                <a:gd name="T49" fmla="*/ 278 h 299"/>
                <a:gd name="T50" fmla="*/ 193 w 322"/>
                <a:gd name="T51" fmla="*/ 225 h 299"/>
                <a:gd name="T52" fmla="*/ 182 w 322"/>
                <a:gd name="T53" fmla="*/ 214 h 299"/>
                <a:gd name="T54" fmla="*/ 139 w 322"/>
                <a:gd name="T55" fmla="*/ 214 h 299"/>
                <a:gd name="T56" fmla="*/ 129 w 322"/>
                <a:gd name="T57" fmla="*/ 225 h 299"/>
                <a:gd name="T58" fmla="*/ 129 w 322"/>
                <a:gd name="T59" fmla="*/ 278 h 299"/>
                <a:gd name="T60" fmla="*/ 54 w 322"/>
                <a:gd name="T61" fmla="*/ 278 h 299"/>
                <a:gd name="T62" fmla="*/ 54 w 322"/>
                <a:gd name="T63" fmla="*/ 139 h 299"/>
                <a:gd name="T64" fmla="*/ 43 w 322"/>
                <a:gd name="T65" fmla="*/ 129 h 299"/>
                <a:gd name="T66" fmla="*/ 40 w 322"/>
                <a:gd name="T67" fmla="*/ 129 h 299"/>
                <a:gd name="T68" fmla="*/ 161 w 322"/>
                <a:gd name="T69" fmla="*/ 25 h 299"/>
                <a:gd name="T70" fmla="*/ 281 w 322"/>
                <a:gd name="T71" fmla="*/ 129 h 299"/>
                <a:gd name="T72" fmla="*/ 278 w 322"/>
                <a:gd name="T73" fmla="*/ 12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317" y="131"/>
                  </a:moveTo>
                  <a:cubicBezTo>
                    <a:pt x="168" y="3"/>
                    <a:pt x="168" y="3"/>
                    <a:pt x="168" y="3"/>
                  </a:cubicBezTo>
                  <a:cubicBezTo>
                    <a:pt x="164" y="0"/>
                    <a:pt x="158" y="0"/>
                    <a:pt x="154" y="3"/>
                  </a:cubicBezTo>
                  <a:cubicBezTo>
                    <a:pt x="4" y="131"/>
                    <a:pt x="4" y="131"/>
                    <a:pt x="4" y="131"/>
                  </a:cubicBezTo>
                  <a:cubicBezTo>
                    <a:pt x="1" y="134"/>
                    <a:pt x="0" y="139"/>
                    <a:pt x="1" y="143"/>
                  </a:cubicBezTo>
                  <a:cubicBezTo>
                    <a:pt x="3" y="147"/>
                    <a:pt x="7" y="150"/>
                    <a:pt x="11" y="150"/>
                  </a:cubicBezTo>
                  <a:cubicBezTo>
                    <a:pt x="33" y="150"/>
                    <a:pt x="33" y="150"/>
                    <a:pt x="33" y="150"/>
                  </a:cubicBezTo>
                  <a:cubicBezTo>
                    <a:pt x="33" y="289"/>
                    <a:pt x="33" y="289"/>
                    <a:pt x="33" y="289"/>
                  </a:cubicBezTo>
                  <a:cubicBezTo>
                    <a:pt x="33" y="295"/>
                    <a:pt x="37" y="299"/>
                    <a:pt x="43" y="299"/>
                  </a:cubicBezTo>
                  <a:cubicBezTo>
                    <a:pt x="139" y="299"/>
                    <a:pt x="139" y="299"/>
                    <a:pt x="139" y="299"/>
                  </a:cubicBezTo>
                  <a:cubicBezTo>
                    <a:pt x="145" y="299"/>
                    <a:pt x="150" y="295"/>
                    <a:pt x="150" y="289"/>
                  </a:cubicBezTo>
                  <a:cubicBezTo>
                    <a:pt x="150" y="235"/>
                    <a:pt x="150" y="235"/>
                    <a:pt x="150" y="235"/>
                  </a:cubicBezTo>
                  <a:cubicBezTo>
                    <a:pt x="171" y="235"/>
                    <a:pt x="171" y="235"/>
                    <a:pt x="171" y="235"/>
                  </a:cubicBezTo>
                  <a:cubicBezTo>
                    <a:pt x="171" y="289"/>
                    <a:pt x="171" y="289"/>
                    <a:pt x="171" y="289"/>
                  </a:cubicBezTo>
                  <a:cubicBezTo>
                    <a:pt x="171" y="295"/>
                    <a:pt x="176" y="299"/>
                    <a:pt x="182" y="299"/>
                  </a:cubicBezTo>
                  <a:cubicBezTo>
                    <a:pt x="278" y="299"/>
                    <a:pt x="278" y="299"/>
                    <a:pt x="278" y="299"/>
                  </a:cubicBezTo>
                  <a:cubicBezTo>
                    <a:pt x="284" y="299"/>
                    <a:pt x="289" y="295"/>
                    <a:pt x="289" y="289"/>
                  </a:cubicBezTo>
                  <a:cubicBezTo>
                    <a:pt x="289" y="150"/>
                    <a:pt x="289" y="150"/>
                    <a:pt x="289" y="150"/>
                  </a:cubicBezTo>
                  <a:cubicBezTo>
                    <a:pt x="310" y="150"/>
                    <a:pt x="310" y="150"/>
                    <a:pt x="310" y="150"/>
                  </a:cubicBezTo>
                  <a:cubicBezTo>
                    <a:pt x="314" y="150"/>
                    <a:pt x="318" y="147"/>
                    <a:pt x="320" y="143"/>
                  </a:cubicBezTo>
                  <a:cubicBezTo>
                    <a:pt x="322" y="139"/>
                    <a:pt x="320" y="134"/>
                    <a:pt x="317" y="131"/>
                  </a:cubicBezTo>
                  <a:close/>
                  <a:moveTo>
                    <a:pt x="278" y="129"/>
                  </a:moveTo>
                  <a:cubicBezTo>
                    <a:pt x="272" y="129"/>
                    <a:pt x="267" y="133"/>
                    <a:pt x="267" y="139"/>
                  </a:cubicBezTo>
                  <a:cubicBezTo>
                    <a:pt x="267" y="278"/>
                    <a:pt x="267" y="278"/>
                    <a:pt x="267" y="278"/>
                  </a:cubicBezTo>
                  <a:cubicBezTo>
                    <a:pt x="193" y="278"/>
                    <a:pt x="193" y="278"/>
                    <a:pt x="193" y="278"/>
                  </a:cubicBezTo>
                  <a:cubicBezTo>
                    <a:pt x="193" y="225"/>
                    <a:pt x="193" y="225"/>
                    <a:pt x="193" y="225"/>
                  </a:cubicBezTo>
                  <a:cubicBezTo>
                    <a:pt x="193" y="219"/>
                    <a:pt x="188" y="214"/>
                    <a:pt x="182" y="214"/>
                  </a:cubicBezTo>
                  <a:cubicBezTo>
                    <a:pt x="139" y="214"/>
                    <a:pt x="139" y="214"/>
                    <a:pt x="139" y="214"/>
                  </a:cubicBezTo>
                  <a:cubicBezTo>
                    <a:pt x="133" y="214"/>
                    <a:pt x="129" y="219"/>
                    <a:pt x="129" y="225"/>
                  </a:cubicBezTo>
                  <a:cubicBezTo>
                    <a:pt x="129" y="278"/>
                    <a:pt x="129" y="278"/>
                    <a:pt x="129" y="278"/>
                  </a:cubicBezTo>
                  <a:cubicBezTo>
                    <a:pt x="54" y="278"/>
                    <a:pt x="54" y="278"/>
                    <a:pt x="54" y="278"/>
                  </a:cubicBezTo>
                  <a:cubicBezTo>
                    <a:pt x="54" y="139"/>
                    <a:pt x="54" y="139"/>
                    <a:pt x="54" y="139"/>
                  </a:cubicBezTo>
                  <a:cubicBezTo>
                    <a:pt x="54" y="133"/>
                    <a:pt x="49" y="129"/>
                    <a:pt x="43" y="129"/>
                  </a:cubicBezTo>
                  <a:cubicBezTo>
                    <a:pt x="40" y="129"/>
                    <a:pt x="40" y="129"/>
                    <a:pt x="40" y="129"/>
                  </a:cubicBezTo>
                  <a:cubicBezTo>
                    <a:pt x="161" y="25"/>
                    <a:pt x="161" y="25"/>
                    <a:pt x="161" y="25"/>
                  </a:cubicBezTo>
                  <a:cubicBezTo>
                    <a:pt x="281" y="129"/>
                    <a:pt x="281" y="129"/>
                    <a:pt x="281" y="129"/>
                  </a:cubicBezTo>
                  <a:lnTo>
                    <a:pt x="278"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5" name="Freeform 321">
              <a:extLst>
                <a:ext uri="{FF2B5EF4-FFF2-40B4-BE49-F238E27FC236}">
                  <a16:creationId xmlns:a16="http://schemas.microsoft.com/office/drawing/2014/main" id="{780877E1-0A8D-4520-9830-60BA002D55D4}"/>
                </a:ext>
              </a:extLst>
            </p:cNvPr>
            <p:cNvSpPr>
              <a:spLocks noEditPoints="1"/>
            </p:cNvSpPr>
            <p:nvPr/>
          </p:nvSpPr>
          <p:spPr bwMode="auto">
            <a:xfrm>
              <a:off x="3039" y="13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6" name="Freeform 337">
            <a:extLst>
              <a:ext uri="{FF2B5EF4-FFF2-40B4-BE49-F238E27FC236}">
                <a16:creationId xmlns:a16="http://schemas.microsoft.com/office/drawing/2014/main" id="{7E3BA19C-91B1-46C1-BA00-F09AD5DE8EDF}"/>
              </a:ext>
            </a:extLst>
          </p:cNvPr>
          <p:cNvSpPr>
            <a:spLocks noChangeAspect="1" noEditPoints="1"/>
          </p:cNvSpPr>
          <p:nvPr/>
        </p:nvSpPr>
        <p:spPr bwMode="auto">
          <a:xfrm>
            <a:off x="2221086" y="1700213"/>
            <a:ext cx="368120" cy="3681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87" name="Group 340">
            <a:extLst>
              <a:ext uri="{FF2B5EF4-FFF2-40B4-BE49-F238E27FC236}">
                <a16:creationId xmlns:a16="http://schemas.microsoft.com/office/drawing/2014/main" id="{CB9210F3-2770-4AC5-AE16-5B4249F99B92}"/>
              </a:ext>
            </a:extLst>
          </p:cNvPr>
          <p:cNvGrpSpPr>
            <a:grpSpLocks noChangeAspect="1"/>
          </p:cNvGrpSpPr>
          <p:nvPr/>
        </p:nvGrpSpPr>
        <p:grpSpPr bwMode="auto">
          <a:xfrm>
            <a:off x="2655727" y="1700213"/>
            <a:ext cx="367041" cy="367041"/>
            <a:chOff x="4436" y="1680"/>
            <a:chExt cx="340" cy="340"/>
          </a:xfrm>
          <a:solidFill>
            <a:schemeClr val="accent4"/>
          </a:solidFill>
        </p:grpSpPr>
        <p:sp>
          <p:nvSpPr>
            <p:cNvPr id="88" name="Freeform 341">
              <a:extLst>
                <a:ext uri="{FF2B5EF4-FFF2-40B4-BE49-F238E27FC236}">
                  <a16:creationId xmlns:a16="http://schemas.microsoft.com/office/drawing/2014/main" id="{D9286096-FC29-4B79-BEB0-A80163355DF9}"/>
                </a:ext>
              </a:extLst>
            </p:cNvPr>
            <p:cNvSpPr>
              <a:spLocks noEditPoints="1"/>
            </p:cNvSpPr>
            <p:nvPr/>
          </p:nvSpPr>
          <p:spPr bwMode="auto">
            <a:xfrm>
              <a:off x="4499" y="1743"/>
              <a:ext cx="214" cy="199"/>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342">
              <a:extLst>
                <a:ext uri="{FF2B5EF4-FFF2-40B4-BE49-F238E27FC236}">
                  <a16:creationId xmlns:a16="http://schemas.microsoft.com/office/drawing/2014/main" id="{870B3A35-50F2-4B63-82F4-2D716EC62368}"/>
                </a:ext>
              </a:extLst>
            </p:cNvPr>
            <p:cNvSpPr>
              <a:spLocks noEditPoints="1"/>
            </p:cNvSpPr>
            <p:nvPr/>
          </p:nvSpPr>
          <p:spPr bwMode="auto">
            <a:xfrm>
              <a:off x="4436" y="16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0" name="Freeform 346">
            <a:extLst>
              <a:ext uri="{FF2B5EF4-FFF2-40B4-BE49-F238E27FC236}">
                <a16:creationId xmlns:a16="http://schemas.microsoft.com/office/drawing/2014/main" id="{0EDDD502-B2AF-486E-A763-C3FAC452ABC0}"/>
              </a:ext>
            </a:extLst>
          </p:cNvPr>
          <p:cNvSpPr>
            <a:spLocks noChangeAspect="1" noEditPoints="1"/>
          </p:cNvSpPr>
          <p:nvPr/>
        </p:nvSpPr>
        <p:spPr bwMode="auto">
          <a:xfrm>
            <a:off x="3956413" y="1700213"/>
            <a:ext cx="367041" cy="367041"/>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1" name="Group 349">
            <a:extLst>
              <a:ext uri="{FF2B5EF4-FFF2-40B4-BE49-F238E27FC236}">
                <a16:creationId xmlns:a16="http://schemas.microsoft.com/office/drawing/2014/main" id="{CF2AD6B0-076B-4E74-A8CE-572A5BE65E28}"/>
              </a:ext>
            </a:extLst>
          </p:cNvPr>
          <p:cNvGrpSpPr>
            <a:grpSpLocks noChangeAspect="1"/>
          </p:cNvGrpSpPr>
          <p:nvPr/>
        </p:nvGrpSpPr>
        <p:grpSpPr bwMode="auto">
          <a:xfrm>
            <a:off x="4389975" y="1700213"/>
            <a:ext cx="367041" cy="367041"/>
            <a:chOff x="5071" y="1628"/>
            <a:chExt cx="340" cy="340"/>
          </a:xfrm>
          <a:solidFill>
            <a:schemeClr val="accent4"/>
          </a:solidFill>
        </p:grpSpPr>
        <p:sp>
          <p:nvSpPr>
            <p:cNvPr id="92" name="Freeform 350">
              <a:extLst>
                <a:ext uri="{FF2B5EF4-FFF2-40B4-BE49-F238E27FC236}">
                  <a16:creationId xmlns:a16="http://schemas.microsoft.com/office/drawing/2014/main" id="{80B07752-E9D4-4D89-98AD-FFAD7B02A626}"/>
                </a:ext>
              </a:extLst>
            </p:cNvPr>
            <p:cNvSpPr>
              <a:spLocks noEditPoints="1"/>
            </p:cNvSpPr>
            <p:nvPr/>
          </p:nvSpPr>
          <p:spPr bwMode="auto">
            <a:xfrm>
              <a:off x="5071" y="162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 name="Freeform 351">
              <a:extLst>
                <a:ext uri="{FF2B5EF4-FFF2-40B4-BE49-F238E27FC236}">
                  <a16:creationId xmlns:a16="http://schemas.microsoft.com/office/drawing/2014/main" id="{120ABDAF-3BAD-4C98-868A-6627B1DC7DEF}"/>
                </a:ext>
              </a:extLst>
            </p:cNvPr>
            <p:cNvSpPr>
              <a:spLocks noEditPoints="1"/>
            </p:cNvSpPr>
            <p:nvPr/>
          </p:nvSpPr>
          <p:spPr bwMode="auto">
            <a:xfrm>
              <a:off x="5141" y="1691"/>
              <a:ext cx="200" cy="199"/>
            </a:xfrm>
            <a:custGeom>
              <a:avLst/>
              <a:gdLst>
                <a:gd name="T0" fmla="*/ 59 w 301"/>
                <a:gd name="T1" fmla="*/ 163 h 299"/>
                <a:gd name="T2" fmla="*/ 2 w 301"/>
                <a:gd name="T3" fmla="*/ 218 h 299"/>
                <a:gd name="T4" fmla="*/ 12 w 301"/>
                <a:gd name="T5" fmla="*/ 289 h 299"/>
                <a:gd name="T6" fmla="*/ 108 w 301"/>
                <a:gd name="T7" fmla="*/ 299 h 299"/>
                <a:gd name="T8" fmla="*/ 119 w 301"/>
                <a:gd name="T9" fmla="*/ 225 h 299"/>
                <a:gd name="T10" fmla="*/ 125 w 301"/>
                <a:gd name="T11" fmla="*/ 206 h 299"/>
                <a:gd name="T12" fmla="*/ 65 w 301"/>
                <a:gd name="T13" fmla="*/ 185 h 299"/>
                <a:gd name="T14" fmla="*/ 42 w 301"/>
                <a:gd name="T15" fmla="*/ 203 h 299"/>
                <a:gd name="T16" fmla="*/ 97 w 301"/>
                <a:gd name="T17" fmla="*/ 278 h 299"/>
                <a:gd name="T18" fmla="*/ 76 w 301"/>
                <a:gd name="T19" fmla="*/ 257 h 299"/>
                <a:gd name="T20" fmla="*/ 55 w 301"/>
                <a:gd name="T21" fmla="*/ 257 h 299"/>
                <a:gd name="T22" fmla="*/ 33 w 301"/>
                <a:gd name="T23" fmla="*/ 278 h 299"/>
                <a:gd name="T24" fmla="*/ 97 w 301"/>
                <a:gd name="T25" fmla="*/ 225 h 299"/>
                <a:gd name="T26" fmla="*/ 296 w 301"/>
                <a:gd name="T27" fmla="*/ 206 h 299"/>
                <a:gd name="T28" fmla="*/ 229 w 301"/>
                <a:gd name="T29" fmla="*/ 163 h 299"/>
                <a:gd name="T30" fmla="*/ 173 w 301"/>
                <a:gd name="T31" fmla="*/ 218 h 299"/>
                <a:gd name="T32" fmla="*/ 183 w 301"/>
                <a:gd name="T33" fmla="*/ 289 h 299"/>
                <a:gd name="T34" fmla="*/ 279 w 301"/>
                <a:gd name="T35" fmla="*/ 299 h 299"/>
                <a:gd name="T36" fmla="*/ 289 w 301"/>
                <a:gd name="T37" fmla="*/ 225 h 299"/>
                <a:gd name="T38" fmla="*/ 296 w 301"/>
                <a:gd name="T39" fmla="*/ 206 h 299"/>
                <a:gd name="T40" fmla="*/ 259 w 301"/>
                <a:gd name="T41" fmla="*/ 203 h 299"/>
                <a:gd name="T42" fmla="*/ 236 w 301"/>
                <a:gd name="T43" fmla="*/ 185 h 299"/>
                <a:gd name="T44" fmla="*/ 247 w 301"/>
                <a:gd name="T45" fmla="*/ 278 h 299"/>
                <a:gd name="T46" fmla="*/ 236 w 301"/>
                <a:gd name="T47" fmla="*/ 246 h 299"/>
                <a:gd name="T48" fmla="*/ 225 w 301"/>
                <a:gd name="T49" fmla="*/ 278 h 299"/>
                <a:gd name="T50" fmla="*/ 204 w 301"/>
                <a:gd name="T51" fmla="*/ 225 h 299"/>
                <a:gd name="T52" fmla="*/ 268 w 301"/>
                <a:gd name="T53" fmla="*/ 278 h 299"/>
                <a:gd name="T54" fmla="*/ 204 w 301"/>
                <a:gd name="T55" fmla="*/ 65 h 299"/>
                <a:gd name="T56" fmla="*/ 211 w 301"/>
                <a:gd name="T57" fmla="*/ 46 h 299"/>
                <a:gd name="T58" fmla="*/ 144 w 301"/>
                <a:gd name="T59" fmla="*/ 3 h 299"/>
                <a:gd name="T60" fmla="*/ 87 w 301"/>
                <a:gd name="T61" fmla="*/ 58 h 299"/>
                <a:gd name="T62" fmla="*/ 97 w 301"/>
                <a:gd name="T63" fmla="*/ 129 h 299"/>
                <a:gd name="T64" fmla="*/ 193 w 301"/>
                <a:gd name="T65" fmla="*/ 139 h 299"/>
                <a:gd name="T66" fmla="*/ 151 w 301"/>
                <a:gd name="T67" fmla="*/ 25 h 299"/>
                <a:gd name="T68" fmla="*/ 128 w 301"/>
                <a:gd name="T69" fmla="*/ 43 h 299"/>
                <a:gd name="T70" fmla="*/ 183 w 301"/>
                <a:gd name="T71" fmla="*/ 118 h 299"/>
                <a:gd name="T72" fmla="*/ 161 w 301"/>
                <a:gd name="T73" fmla="*/ 97 h 299"/>
                <a:gd name="T74" fmla="*/ 140 w 301"/>
                <a:gd name="T75" fmla="*/ 97 h 299"/>
                <a:gd name="T76" fmla="*/ 119 w 301"/>
                <a:gd name="T77" fmla="*/ 118 h 299"/>
                <a:gd name="T78" fmla="*/ 183 w 301"/>
                <a:gd name="T79" fmla="*/ 65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99">
                  <a:moveTo>
                    <a:pt x="72" y="163"/>
                  </a:moveTo>
                  <a:cubicBezTo>
                    <a:pt x="68" y="160"/>
                    <a:pt x="63" y="160"/>
                    <a:pt x="59" y="163"/>
                  </a:cubicBezTo>
                  <a:cubicBezTo>
                    <a:pt x="5" y="206"/>
                    <a:pt x="5" y="206"/>
                    <a:pt x="5" y="206"/>
                  </a:cubicBezTo>
                  <a:cubicBezTo>
                    <a:pt x="2" y="209"/>
                    <a:pt x="0" y="213"/>
                    <a:pt x="2" y="218"/>
                  </a:cubicBezTo>
                  <a:cubicBezTo>
                    <a:pt x="3" y="222"/>
                    <a:pt x="7" y="225"/>
                    <a:pt x="12" y="225"/>
                  </a:cubicBezTo>
                  <a:cubicBezTo>
                    <a:pt x="12" y="289"/>
                    <a:pt x="12" y="289"/>
                    <a:pt x="12" y="289"/>
                  </a:cubicBezTo>
                  <a:cubicBezTo>
                    <a:pt x="12" y="295"/>
                    <a:pt x="17" y="299"/>
                    <a:pt x="23" y="299"/>
                  </a:cubicBezTo>
                  <a:cubicBezTo>
                    <a:pt x="108" y="299"/>
                    <a:pt x="108" y="299"/>
                    <a:pt x="108" y="299"/>
                  </a:cubicBezTo>
                  <a:cubicBezTo>
                    <a:pt x="114" y="299"/>
                    <a:pt x="119" y="295"/>
                    <a:pt x="119" y="289"/>
                  </a:cubicBezTo>
                  <a:cubicBezTo>
                    <a:pt x="119" y="225"/>
                    <a:pt x="119" y="225"/>
                    <a:pt x="119" y="225"/>
                  </a:cubicBezTo>
                  <a:cubicBezTo>
                    <a:pt x="123" y="225"/>
                    <a:pt x="127" y="222"/>
                    <a:pt x="129" y="218"/>
                  </a:cubicBezTo>
                  <a:cubicBezTo>
                    <a:pt x="130" y="213"/>
                    <a:pt x="129" y="209"/>
                    <a:pt x="125" y="206"/>
                  </a:cubicBezTo>
                  <a:lnTo>
                    <a:pt x="72" y="163"/>
                  </a:lnTo>
                  <a:close/>
                  <a:moveTo>
                    <a:pt x="65" y="185"/>
                  </a:moveTo>
                  <a:cubicBezTo>
                    <a:pt x="88" y="203"/>
                    <a:pt x="88" y="203"/>
                    <a:pt x="88" y="203"/>
                  </a:cubicBezTo>
                  <a:cubicBezTo>
                    <a:pt x="42" y="203"/>
                    <a:pt x="42" y="203"/>
                    <a:pt x="42" y="203"/>
                  </a:cubicBezTo>
                  <a:lnTo>
                    <a:pt x="65" y="185"/>
                  </a:lnTo>
                  <a:close/>
                  <a:moveTo>
                    <a:pt x="97" y="278"/>
                  </a:moveTo>
                  <a:cubicBezTo>
                    <a:pt x="76" y="278"/>
                    <a:pt x="76" y="278"/>
                    <a:pt x="76" y="278"/>
                  </a:cubicBezTo>
                  <a:cubicBezTo>
                    <a:pt x="76" y="257"/>
                    <a:pt x="76" y="257"/>
                    <a:pt x="76" y="257"/>
                  </a:cubicBezTo>
                  <a:cubicBezTo>
                    <a:pt x="76" y="251"/>
                    <a:pt x="71" y="246"/>
                    <a:pt x="65" y="246"/>
                  </a:cubicBezTo>
                  <a:cubicBezTo>
                    <a:pt x="59" y="246"/>
                    <a:pt x="55" y="251"/>
                    <a:pt x="55" y="257"/>
                  </a:cubicBezTo>
                  <a:cubicBezTo>
                    <a:pt x="55" y="278"/>
                    <a:pt x="55" y="278"/>
                    <a:pt x="55" y="278"/>
                  </a:cubicBezTo>
                  <a:cubicBezTo>
                    <a:pt x="33" y="278"/>
                    <a:pt x="33" y="278"/>
                    <a:pt x="33" y="278"/>
                  </a:cubicBezTo>
                  <a:cubicBezTo>
                    <a:pt x="33" y="225"/>
                    <a:pt x="33" y="225"/>
                    <a:pt x="33" y="225"/>
                  </a:cubicBezTo>
                  <a:cubicBezTo>
                    <a:pt x="97" y="225"/>
                    <a:pt x="97" y="225"/>
                    <a:pt x="97" y="225"/>
                  </a:cubicBezTo>
                  <a:lnTo>
                    <a:pt x="97" y="278"/>
                  </a:lnTo>
                  <a:close/>
                  <a:moveTo>
                    <a:pt x="296" y="206"/>
                  </a:moveTo>
                  <a:cubicBezTo>
                    <a:pt x="243" y="163"/>
                    <a:pt x="243" y="163"/>
                    <a:pt x="243" y="163"/>
                  </a:cubicBezTo>
                  <a:cubicBezTo>
                    <a:pt x="239" y="160"/>
                    <a:pt x="233" y="160"/>
                    <a:pt x="229" y="163"/>
                  </a:cubicBezTo>
                  <a:cubicBezTo>
                    <a:pt x="176" y="206"/>
                    <a:pt x="176" y="206"/>
                    <a:pt x="176" y="206"/>
                  </a:cubicBezTo>
                  <a:cubicBezTo>
                    <a:pt x="172" y="209"/>
                    <a:pt x="171" y="213"/>
                    <a:pt x="173" y="218"/>
                  </a:cubicBezTo>
                  <a:cubicBezTo>
                    <a:pt x="174" y="222"/>
                    <a:pt x="178" y="225"/>
                    <a:pt x="183" y="225"/>
                  </a:cubicBezTo>
                  <a:cubicBezTo>
                    <a:pt x="183" y="289"/>
                    <a:pt x="183" y="289"/>
                    <a:pt x="183" y="289"/>
                  </a:cubicBezTo>
                  <a:cubicBezTo>
                    <a:pt x="183" y="295"/>
                    <a:pt x="187" y="299"/>
                    <a:pt x="193" y="299"/>
                  </a:cubicBezTo>
                  <a:cubicBezTo>
                    <a:pt x="279" y="299"/>
                    <a:pt x="279" y="299"/>
                    <a:pt x="279" y="299"/>
                  </a:cubicBezTo>
                  <a:cubicBezTo>
                    <a:pt x="285" y="299"/>
                    <a:pt x="289" y="295"/>
                    <a:pt x="289" y="289"/>
                  </a:cubicBezTo>
                  <a:cubicBezTo>
                    <a:pt x="289" y="225"/>
                    <a:pt x="289" y="225"/>
                    <a:pt x="289" y="225"/>
                  </a:cubicBezTo>
                  <a:cubicBezTo>
                    <a:pt x="294" y="225"/>
                    <a:pt x="298" y="222"/>
                    <a:pt x="299" y="218"/>
                  </a:cubicBezTo>
                  <a:cubicBezTo>
                    <a:pt x="301" y="213"/>
                    <a:pt x="300" y="209"/>
                    <a:pt x="296" y="206"/>
                  </a:cubicBezTo>
                  <a:close/>
                  <a:moveTo>
                    <a:pt x="236" y="185"/>
                  </a:moveTo>
                  <a:cubicBezTo>
                    <a:pt x="259" y="203"/>
                    <a:pt x="259" y="203"/>
                    <a:pt x="259" y="203"/>
                  </a:cubicBezTo>
                  <a:cubicBezTo>
                    <a:pt x="213" y="203"/>
                    <a:pt x="213" y="203"/>
                    <a:pt x="213" y="203"/>
                  </a:cubicBezTo>
                  <a:lnTo>
                    <a:pt x="236" y="185"/>
                  </a:lnTo>
                  <a:close/>
                  <a:moveTo>
                    <a:pt x="268" y="278"/>
                  </a:moveTo>
                  <a:cubicBezTo>
                    <a:pt x="247" y="278"/>
                    <a:pt x="247" y="278"/>
                    <a:pt x="247" y="278"/>
                  </a:cubicBezTo>
                  <a:cubicBezTo>
                    <a:pt x="247" y="257"/>
                    <a:pt x="247" y="257"/>
                    <a:pt x="247" y="257"/>
                  </a:cubicBezTo>
                  <a:cubicBezTo>
                    <a:pt x="247" y="251"/>
                    <a:pt x="242" y="246"/>
                    <a:pt x="236" y="246"/>
                  </a:cubicBezTo>
                  <a:cubicBezTo>
                    <a:pt x="230" y="246"/>
                    <a:pt x="225" y="251"/>
                    <a:pt x="225" y="257"/>
                  </a:cubicBezTo>
                  <a:cubicBezTo>
                    <a:pt x="225" y="278"/>
                    <a:pt x="225" y="278"/>
                    <a:pt x="225" y="278"/>
                  </a:cubicBezTo>
                  <a:cubicBezTo>
                    <a:pt x="204" y="278"/>
                    <a:pt x="204" y="278"/>
                    <a:pt x="204" y="278"/>
                  </a:cubicBezTo>
                  <a:cubicBezTo>
                    <a:pt x="204" y="225"/>
                    <a:pt x="204" y="225"/>
                    <a:pt x="204" y="225"/>
                  </a:cubicBezTo>
                  <a:cubicBezTo>
                    <a:pt x="268" y="225"/>
                    <a:pt x="268" y="225"/>
                    <a:pt x="268" y="225"/>
                  </a:cubicBezTo>
                  <a:lnTo>
                    <a:pt x="268" y="278"/>
                  </a:lnTo>
                  <a:close/>
                  <a:moveTo>
                    <a:pt x="204" y="129"/>
                  </a:moveTo>
                  <a:cubicBezTo>
                    <a:pt x="204" y="65"/>
                    <a:pt x="204" y="65"/>
                    <a:pt x="204" y="65"/>
                  </a:cubicBezTo>
                  <a:cubicBezTo>
                    <a:pt x="209" y="65"/>
                    <a:pt x="213" y="62"/>
                    <a:pt x="214" y="58"/>
                  </a:cubicBezTo>
                  <a:cubicBezTo>
                    <a:pt x="216" y="53"/>
                    <a:pt x="214" y="48"/>
                    <a:pt x="211" y="46"/>
                  </a:cubicBezTo>
                  <a:cubicBezTo>
                    <a:pt x="157" y="3"/>
                    <a:pt x="157" y="3"/>
                    <a:pt x="157" y="3"/>
                  </a:cubicBezTo>
                  <a:cubicBezTo>
                    <a:pt x="153" y="0"/>
                    <a:pt x="148" y="0"/>
                    <a:pt x="144" y="3"/>
                  </a:cubicBezTo>
                  <a:cubicBezTo>
                    <a:pt x="91" y="46"/>
                    <a:pt x="91" y="46"/>
                    <a:pt x="91" y="46"/>
                  </a:cubicBezTo>
                  <a:cubicBezTo>
                    <a:pt x="87" y="48"/>
                    <a:pt x="86" y="53"/>
                    <a:pt x="87" y="58"/>
                  </a:cubicBezTo>
                  <a:cubicBezTo>
                    <a:pt x="89" y="62"/>
                    <a:pt x="93" y="65"/>
                    <a:pt x="97" y="65"/>
                  </a:cubicBezTo>
                  <a:cubicBezTo>
                    <a:pt x="97" y="129"/>
                    <a:pt x="97" y="129"/>
                    <a:pt x="97" y="129"/>
                  </a:cubicBezTo>
                  <a:cubicBezTo>
                    <a:pt x="97" y="135"/>
                    <a:pt x="102" y="139"/>
                    <a:pt x="108" y="139"/>
                  </a:cubicBezTo>
                  <a:cubicBezTo>
                    <a:pt x="193" y="139"/>
                    <a:pt x="193" y="139"/>
                    <a:pt x="193" y="139"/>
                  </a:cubicBezTo>
                  <a:cubicBezTo>
                    <a:pt x="199" y="139"/>
                    <a:pt x="204" y="135"/>
                    <a:pt x="204" y="129"/>
                  </a:cubicBezTo>
                  <a:close/>
                  <a:moveTo>
                    <a:pt x="151" y="25"/>
                  </a:moveTo>
                  <a:cubicBezTo>
                    <a:pt x="174" y="43"/>
                    <a:pt x="174" y="43"/>
                    <a:pt x="174" y="43"/>
                  </a:cubicBezTo>
                  <a:cubicBezTo>
                    <a:pt x="128" y="43"/>
                    <a:pt x="128" y="43"/>
                    <a:pt x="128" y="43"/>
                  </a:cubicBezTo>
                  <a:lnTo>
                    <a:pt x="151" y="25"/>
                  </a:lnTo>
                  <a:close/>
                  <a:moveTo>
                    <a:pt x="183" y="118"/>
                  </a:moveTo>
                  <a:cubicBezTo>
                    <a:pt x="161" y="118"/>
                    <a:pt x="161" y="118"/>
                    <a:pt x="161" y="118"/>
                  </a:cubicBezTo>
                  <a:cubicBezTo>
                    <a:pt x="161" y="97"/>
                    <a:pt x="161" y="97"/>
                    <a:pt x="161" y="97"/>
                  </a:cubicBezTo>
                  <a:cubicBezTo>
                    <a:pt x="161" y="91"/>
                    <a:pt x="157" y="86"/>
                    <a:pt x="151" y="86"/>
                  </a:cubicBezTo>
                  <a:cubicBezTo>
                    <a:pt x="145" y="86"/>
                    <a:pt x="140" y="91"/>
                    <a:pt x="140" y="97"/>
                  </a:cubicBezTo>
                  <a:cubicBezTo>
                    <a:pt x="140" y="118"/>
                    <a:pt x="140" y="118"/>
                    <a:pt x="140" y="118"/>
                  </a:cubicBezTo>
                  <a:cubicBezTo>
                    <a:pt x="119" y="118"/>
                    <a:pt x="119" y="118"/>
                    <a:pt x="119" y="118"/>
                  </a:cubicBezTo>
                  <a:cubicBezTo>
                    <a:pt x="119" y="65"/>
                    <a:pt x="119" y="65"/>
                    <a:pt x="119" y="65"/>
                  </a:cubicBezTo>
                  <a:cubicBezTo>
                    <a:pt x="183" y="65"/>
                    <a:pt x="183" y="65"/>
                    <a:pt x="183" y="65"/>
                  </a:cubicBezTo>
                  <a:lnTo>
                    <a:pt x="183" y="1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4" name="Freeform 26">
            <a:extLst>
              <a:ext uri="{FF2B5EF4-FFF2-40B4-BE49-F238E27FC236}">
                <a16:creationId xmlns:a16="http://schemas.microsoft.com/office/drawing/2014/main" id="{11F70E9A-F410-4DE8-B40E-E0E770779261}"/>
              </a:ext>
            </a:extLst>
          </p:cNvPr>
          <p:cNvSpPr>
            <a:spLocks noEditPoints="1"/>
          </p:cNvSpPr>
          <p:nvPr/>
        </p:nvSpPr>
        <p:spPr bwMode="auto">
          <a:xfrm>
            <a:off x="7434999" y="1700213"/>
            <a:ext cx="368300" cy="371475"/>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5" name="Group 29">
            <a:extLst>
              <a:ext uri="{FF2B5EF4-FFF2-40B4-BE49-F238E27FC236}">
                <a16:creationId xmlns:a16="http://schemas.microsoft.com/office/drawing/2014/main" id="{DD63B7FB-0641-4697-BD3C-D0E9A978D2C3}"/>
              </a:ext>
            </a:extLst>
          </p:cNvPr>
          <p:cNvGrpSpPr>
            <a:grpSpLocks noChangeAspect="1"/>
          </p:cNvGrpSpPr>
          <p:nvPr/>
        </p:nvGrpSpPr>
        <p:grpSpPr bwMode="auto">
          <a:xfrm>
            <a:off x="7869820" y="1700213"/>
            <a:ext cx="371475" cy="371475"/>
            <a:chOff x="2077" y="567"/>
            <a:chExt cx="234" cy="234"/>
          </a:xfrm>
          <a:solidFill>
            <a:schemeClr val="accent1"/>
          </a:solidFill>
        </p:grpSpPr>
        <p:sp>
          <p:nvSpPr>
            <p:cNvPr id="96" name="Freeform 30">
              <a:extLst>
                <a:ext uri="{FF2B5EF4-FFF2-40B4-BE49-F238E27FC236}">
                  <a16:creationId xmlns:a16="http://schemas.microsoft.com/office/drawing/2014/main" id="{491A855A-AA5D-4A5F-BC43-63CA90234BFA}"/>
                </a:ext>
              </a:extLst>
            </p:cNvPr>
            <p:cNvSpPr>
              <a:spLocks noEditPoints="1"/>
            </p:cNvSpPr>
            <p:nvPr/>
          </p:nvSpPr>
          <p:spPr bwMode="auto">
            <a:xfrm>
              <a:off x="2077" y="567"/>
              <a:ext cx="234" cy="234"/>
            </a:xfrm>
            <a:custGeom>
              <a:avLst/>
              <a:gdLst>
                <a:gd name="T0" fmla="*/ 97 w 194"/>
                <a:gd name="T1" fmla="*/ 8 h 194"/>
                <a:gd name="T2" fmla="*/ 186 w 194"/>
                <a:gd name="T3" fmla="*/ 97 h 194"/>
                <a:gd name="T4" fmla="*/ 97 w 194"/>
                <a:gd name="T5" fmla="*/ 186 h 194"/>
                <a:gd name="T6" fmla="*/ 8 w 194"/>
                <a:gd name="T7" fmla="*/ 97 h 194"/>
                <a:gd name="T8" fmla="*/ 97 w 194"/>
                <a:gd name="T9" fmla="*/ 8 h 194"/>
                <a:gd name="T10" fmla="*/ 97 w 194"/>
                <a:gd name="T11" fmla="*/ 0 h 194"/>
                <a:gd name="T12" fmla="*/ 0 w 194"/>
                <a:gd name="T13" fmla="*/ 97 h 194"/>
                <a:gd name="T14" fmla="*/ 97 w 194"/>
                <a:gd name="T15" fmla="*/ 194 h 194"/>
                <a:gd name="T16" fmla="*/ 194 w 194"/>
                <a:gd name="T17" fmla="*/ 97 h 194"/>
                <a:gd name="T18" fmla="*/ 97 w 194"/>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94">
                  <a:moveTo>
                    <a:pt x="97" y="8"/>
                  </a:moveTo>
                  <a:cubicBezTo>
                    <a:pt x="146" y="8"/>
                    <a:pt x="186" y="48"/>
                    <a:pt x="186" y="97"/>
                  </a:cubicBezTo>
                  <a:cubicBezTo>
                    <a:pt x="186" y="146"/>
                    <a:pt x="146" y="186"/>
                    <a:pt x="97" y="186"/>
                  </a:cubicBezTo>
                  <a:cubicBezTo>
                    <a:pt x="48" y="186"/>
                    <a:pt x="8" y="146"/>
                    <a:pt x="8" y="97"/>
                  </a:cubicBezTo>
                  <a:cubicBezTo>
                    <a:pt x="8" y="48"/>
                    <a:pt x="48" y="8"/>
                    <a:pt x="97" y="8"/>
                  </a:cubicBezTo>
                  <a:moveTo>
                    <a:pt x="97" y="0"/>
                  </a:moveTo>
                  <a:cubicBezTo>
                    <a:pt x="43" y="0"/>
                    <a:pt x="0" y="43"/>
                    <a:pt x="0" y="97"/>
                  </a:cubicBezTo>
                  <a:cubicBezTo>
                    <a:pt x="0" y="151"/>
                    <a:pt x="43" y="194"/>
                    <a:pt x="97" y="194"/>
                  </a:cubicBezTo>
                  <a:cubicBezTo>
                    <a:pt x="151" y="194"/>
                    <a:pt x="194" y="151"/>
                    <a:pt x="194" y="97"/>
                  </a:cubicBezTo>
                  <a:cubicBezTo>
                    <a:pt x="194" y="43"/>
                    <a:pt x="151" y="0"/>
                    <a:pt x="9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 name="Freeform 31">
              <a:extLst>
                <a:ext uri="{FF2B5EF4-FFF2-40B4-BE49-F238E27FC236}">
                  <a16:creationId xmlns:a16="http://schemas.microsoft.com/office/drawing/2014/main" id="{9319CF8B-D9E9-49F4-8E29-F7F13A25DEB2}"/>
                </a:ext>
              </a:extLst>
            </p:cNvPr>
            <p:cNvSpPr>
              <a:spLocks noEditPoints="1"/>
            </p:cNvSpPr>
            <p:nvPr/>
          </p:nvSpPr>
          <p:spPr bwMode="auto">
            <a:xfrm>
              <a:off x="2118" y="608"/>
              <a:ext cx="152" cy="129"/>
            </a:xfrm>
            <a:custGeom>
              <a:avLst/>
              <a:gdLst>
                <a:gd name="T0" fmla="*/ 91 w 126"/>
                <a:gd name="T1" fmla="*/ 19 h 107"/>
                <a:gd name="T2" fmla="*/ 87 w 126"/>
                <a:gd name="T3" fmla="*/ 0 h 107"/>
                <a:gd name="T4" fmla="*/ 35 w 126"/>
                <a:gd name="T5" fmla="*/ 6 h 107"/>
                <a:gd name="T6" fmla="*/ 6 w 126"/>
                <a:gd name="T7" fmla="*/ 19 h 107"/>
                <a:gd name="T8" fmla="*/ 0 w 126"/>
                <a:gd name="T9" fmla="*/ 104 h 107"/>
                <a:gd name="T10" fmla="*/ 120 w 126"/>
                <a:gd name="T11" fmla="*/ 107 h 107"/>
                <a:gd name="T12" fmla="*/ 126 w 126"/>
                <a:gd name="T13" fmla="*/ 22 h 107"/>
                <a:gd name="T14" fmla="*/ 35 w 126"/>
                <a:gd name="T15" fmla="*/ 100 h 107"/>
                <a:gd name="T16" fmla="*/ 26 w 126"/>
                <a:gd name="T17" fmla="*/ 87 h 107"/>
                <a:gd name="T18" fmla="*/ 19 w 126"/>
                <a:gd name="T19" fmla="*/ 87 h 107"/>
                <a:gd name="T20" fmla="*/ 11 w 126"/>
                <a:gd name="T21" fmla="*/ 100 h 107"/>
                <a:gd name="T22" fmla="*/ 35 w 126"/>
                <a:gd name="T23" fmla="*/ 26 h 107"/>
                <a:gd name="T24" fmla="*/ 83 w 126"/>
                <a:gd name="T25" fmla="*/ 100 h 107"/>
                <a:gd name="T26" fmla="*/ 58 w 126"/>
                <a:gd name="T27" fmla="*/ 87 h 107"/>
                <a:gd name="T28" fmla="*/ 52 w 126"/>
                <a:gd name="T29" fmla="*/ 87 h 107"/>
                <a:gd name="T30" fmla="*/ 43 w 126"/>
                <a:gd name="T31" fmla="*/ 100 h 107"/>
                <a:gd name="T32" fmla="*/ 83 w 126"/>
                <a:gd name="T33" fmla="*/ 11 h 107"/>
                <a:gd name="T34" fmla="*/ 115 w 126"/>
                <a:gd name="T35" fmla="*/ 100 h 107"/>
                <a:gd name="T36" fmla="*/ 107 w 126"/>
                <a:gd name="T37" fmla="*/ 87 h 107"/>
                <a:gd name="T38" fmla="*/ 100 w 126"/>
                <a:gd name="T39" fmla="*/ 87 h 107"/>
                <a:gd name="T40" fmla="*/ 91 w 126"/>
                <a:gd name="T41" fmla="*/ 100 h 107"/>
                <a:gd name="T42" fmla="*/ 115 w 126"/>
                <a:gd name="T43" fmla="*/ 26 h 107"/>
                <a:gd name="T44" fmla="*/ 18 w 126"/>
                <a:gd name="T45" fmla="*/ 71 h 107"/>
                <a:gd name="T46" fmla="*/ 26 w 126"/>
                <a:gd name="T47" fmla="*/ 71 h 107"/>
                <a:gd name="T48" fmla="*/ 18 w 126"/>
                <a:gd name="T49" fmla="*/ 71 h 107"/>
                <a:gd name="T50" fmla="*/ 22 w 126"/>
                <a:gd name="T51" fmla="*/ 51 h 107"/>
                <a:gd name="T52" fmla="*/ 22 w 126"/>
                <a:gd name="T53" fmla="*/ 59 h 107"/>
                <a:gd name="T54" fmla="*/ 18 w 126"/>
                <a:gd name="T55" fmla="*/ 39 h 107"/>
                <a:gd name="T56" fmla="*/ 26 w 126"/>
                <a:gd name="T57" fmla="*/ 39 h 107"/>
                <a:gd name="T58" fmla="*/ 18 w 126"/>
                <a:gd name="T59" fmla="*/ 39 h 107"/>
                <a:gd name="T60" fmla="*/ 55 w 126"/>
                <a:gd name="T61" fmla="*/ 67 h 107"/>
                <a:gd name="T62" fmla="*/ 55 w 126"/>
                <a:gd name="T63" fmla="*/ 75 h 107"/>
                <a:gd name="T64" fmla="*/ 51 w 126"/>
                <a:gd name="T65" fmla="*/ 55 h 107"/>
                <a:gd name="T66" fmla="*/ 59 w 126"/>
                <a:gd name="T67" fmla="*/ 55 h 107"/>
                <a:gd name="T68" fmla="*/ 51 w 126"/>
                <a:gd name="T69" fmla="*/ 55 h 107"/>
                <a:gd name="T70" fmla="*/ 55 w 126"/>
                <a:gd name="T71" fmla="*/ 35 h 107"/>
                <a:gd name="T72" fmla="*/ 55 w 126"/>
                <a:gd name="T73" fmla="*/ 43 h 107"/>
                <a:gd name="T74" fmla="*/ 67 w 126"/>
                <a:gd name="T75" fmla="*/ 71 h 107"/>
                <a:gd name="T76" fmla="*/ 75 w 126"/>
                <a:gd name="T77" fmla="*/ 71 h 107"/>
                <a:gd name="T78" fmla="*/ 67 w 126"/>
                <a:gd name="T79" fmla="*/ 71 h 107"/>
                <a:gd name="T80" fmla="*/ 71 w 126"/>
                <a:gd name="T81" fmla="*/ 51 h 107"/>
                <a:gd name="T82" fmla="*/ 71 w 126"/>
                <a:gd name="T83" fmla="*/ 59 h 107"/>
                <a:gd name="T84" fmla="*/ 67 w 126"/>
                <a:gd name="T85" fmla="*/ 39 h 107"/>
                <a:gd name="T86" fmla="*/ 75 w 126"/>
                <a:gd name="T87" fmla="*/ 39 h 107"/>
                <a:gd name="T88" fmla="*/ 67 w 126"/>
                <a:gd name="T89" fmla="*/ 39 h 107"/>
                <a:gd name="T90" fmla="*/ 104 w 126"/>
                <a:gd name="T91" fmla="*/ 67 h 107"/>
                <a:gd name="T92" fmla="*/ 104 w 126"/>
                <a:gd name="T93" fmla="*/ 75 h 107"/>
                <a:gd name="T94" fmla="*/ 100 w 126"/>
                <a:gd name="T95" fmla="*/ 55 h 107"/>
                <a:gd name="T96" fmla="*/ 108 w 126"/>
                <a:gd name="T97" fmla="*/ 55 h 107"/>
                <a:gd name="T98" fmla="*/ 100 w 126"/>
                <a:gd name="T99" fmla="*/ 55 h 107"/>
                <a:gd name="T100" fmla="*/ 104 w 126"/>
                <a:gd name="T101" fmla="*/ 35 h 107"/>
                <a:gd name="T102" fmla="*/ 104 w 126"/>
                <a:gd name="T103" fmla="*/ 43 h 107"/>
                <a:gd name="T104" fmla="*/ 51 w 126"/>
                <a:gd name="T105" fmla="*/ 22 h 107"/>
                <a:gd name="T106" fmla="*/ 59 w 126"/>
                <a:gd name="T107" fmla="*/ 22 h 107"/>
                <a:gd name="T108" fmla="*/ 51 w 126"/>
                <a:gd name="T109" fmla="*/ 22 h 107"/>
                <a:gd name="T110" fmla="*/ 71 w 126"/>
                <a:gd name="T111" fmla="*/ 18 h 107"/>
                <a:gd name="T112" fmla="*/ 71 w 126"/>
                <a:gd name="T11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07">
                  <a:moveTo>
                    <a:pt x="120" y="19"/>
                  </a:moveTo>
                  <a:cubicBezTo>
                    <a:pt x="91" y="19"/>
                    <a:pt x="91" y="19"/>
                    <a:pt x="91" y="19"/>
                  </a:cubicBezTo>
                  <a:cubicBezTo>
                    <a:pt x="91" y="6"/>
                    <a:pt x="91" y="6"/>
                    <a:pt x="91" y="6"/>
                  </a:cubicBezTo>
                  <a:cubicBezTo>
                    <a:pt x="91" y="4"/>
                    <a:pt x="90" y="0"/>
                    <a:pt x="87" y="0"/>
                  </a:cubicBezTo>
                  <a:cubicBezTo>
                    <a:pt x="39" y="0"/>
                    <a:pt x="39" y="0"/>
                    <a:pt x="39" y="0"/>
                  </a:cubicBezTo>
                  <a:cubicBezTo>
                    <a:pt x="36" y="0"/>
                    <a:pt x="35" y="4"/>
                    <a:pt x="35" y="6"/>
                  </a:cubicBezTo>
                  <a:cubicBezTo>
                    <a:pt x="35" y="19"/>
                    <a:pt x="35" y="19"/>
                    <a:pt x="35" y="19"/>
                  </a:cubicBezTo>
                  <a:cubicBezTo>
                    <a:pt x="6" y="19"/>
                    <a:pt x="6" y="19"/>
                    <a:pt x="6" y="19"/>
                  </a:cubicBezTo>
                  <a:cubicBezTo>
                    <a:pt x="4" y="19"/>
                    <a:pt x="0" y="20"/>
                    <a:pt x="0" y="22"/>
                  </a:cubicBezTo>
                  <a:cubicBezTo>
                    <a:pt x="0" y="104"/>
                    <a:pt x="0" y="104"/>
                    <a:pt x="0" y="104"/>
                  </a:cubicBezTo>
                  <a:cubicBezTo>
                    <a:pt x="0" y="106"/>
                    <a:pt x="4" y="107"/>
                    <a:pt x="6" y="107"/>
                  </a:cubicBezTo>
                  <a:cubicBezTo>
                    <a:pt x="120" y="107"/>
                    <a:pt x="120" y="107"/>
                    <a:pt x="120" y="107"/>
                  </a:cubicBezTo>
                  <a:cubicBezTo>
                    <a:pt x="122" y="107"/>
                    <a:pt x="126" y="106"/>
                    <a:pt x="126" y="104"/>
                  </a:cubicBezTo>
                  <a:cubicBezTo>
                    <a:pt x="126" y="22"/>
                    <a:pt x="126" y="22"/>
                    <a:pt x="126" y="22"/>
                  </a:cubicBezTo>
                  <a:cubicBezTo>
                    <a:pt x="126" y="20"/>
                    <a:pt x="122" y="19"/>
                    <a:pt x="120" y="19"/>
                  </a:cubicBezTo>
                  <a:close/>
                  <a:moveTo>
                    <a:pt x="35" y="100"/>
                  </a:moveTo>
                  <a:cubicBezTo>
                    <a:pt x="26" y="100"/>
                    <a:pt x="26" y="100"/>
                    <a:pt x="26" y="100"/>
                  </a:cubicBezTo>
                  <a:cubicBezTo>
                    <a:pt x="26" y="87"/>
                    <a:pt x="26" y="87"/>
                    <a:pt x="26" y="87"/>
                  </a:cubicBezTo>
                  <a:cubicBezTo>
                    <a:pt x="26" y="85"/>
                    <a:pt x="25" y="83"/>
                    <a:pt x="22" y="83"/>
                  </a:cubicBezTo>
                  <a:cubicBezTo>
                    <a:pt x="20" y="83"/>
                    <a:pt x="19" y="85"/>
                    <a:pt x="19" y="87"/>
                  </a:cubicBezTo>
                  <a:cubicBezTo>
                    <a:pt x="19" y="100"/>
                    <a:pt x="19" y="100"/>
                    <a:pt x="19" y="100"/>
                  </a:cubicBezTo>
                  <a:cubicBezTo>
                    <a:pt x="11" y="100"/>
                    <a:pt x="11" y="100"/>
                    <a:pt x="11" y="100"/>
                  </a:cubicBezTo>
                  <a:cubicBezTo>
                    <a:pt x="11" y="26"/>
                    <a:pt x="11" y="26"/>
                    <a:pt x="11" y="26"/>
                  </a:cubicBezTo>
                  <a:cubicBezTo>
                    <a:pt x="35" y="26"/>
                    <a:pt x="35" y="26"/>
                    <a:pt x="35" y="26"/>
                  </a:cubicBezTo>
                  <a:lnTo>
                    <a:pt x="35" y="100"/>
                  </a:lnTo>
                  <a:close/>
                  <a:moveTo>
                    <a:pt x="83" y="100"/>
                  </a:moveTo>
                  <a:cubicBezTo>
                    <a:pt x="58" y="100"/>
                    <a:pt x="58" y="100"/>
                    <a:pt x="58" y="100"/>
                  </a:cubicBezTo>
                  <a:cubicBezTo>
                    <a:pt x="58" y="87"/>
                    <a:pt x="58" y="87"/>
                    <a:pt x="58" y="87"/>
                  </a:cubicBezTo>
                  <a:cubicBezTo>
                    <a:pt x="58" y="85"/>
                    <a:pt x="57" y="83"/>
                    <a:pt x="55" y="83"/>
                  </a:cubicBezTo>
                  <a:cubicBezTo>
                    <a:pt x="53" y="83"/>
                    <a:pt x="52" y="85"/>
                    <a:pt x="52" y="87"/>
                  </a:cubicBezTo>
                  <a:cubicBezTo>
                    <a:pt x="52" y="100"/>
                    <a:pt x="52" y="100"/>
                    <a:pt x="52" y="100"/>
                  </a:cubicBezTo>
                  <a:cubicBezTo>
                    <a:pt x="43" y="100"/>
                    <a:pt x="43" y="100"/>
                    <a:pt x="43" y="100"/>
                  </a:cubicBezTo>
                  <a:cubicBezTo>
                    <a:pt x="43" y="11"/>
                    <a:pt x="43" y="11"/>
                    <a:pt x="43" y="11"/>
                  </a:cubicBezTo>
                  <a:cubicBezTo>
                    <a:pt x="83" y="11"/>
                    <a:pt x="83" y="11"/>
                    <a:pt x="83" y="11"/>
                  </a:cubicBezTo>
                  <a:lnTo>
                    <a:pt x="83" y="100"/>
                  </a:lnTo>
                  <a:close/>
                  <a:moveTo>
                    <a:pt x="115" y="100"/>
                  </a:moveTo>
                  <a:cubicBezTo>
                    <a:pt x="107" y="100"/>
                    <a:pt x="107" y="100"/>
                    <a:pt x="107" y="100"/>
                  </a:cubicBezTo>
                  <a:cubicBezTo>
                    <a:pt x="107" y="87"/>
                    <a:pt x="107" y="87"/>
                    <a:pt x="107" y="87"/>
                  </a:cubicBezTo>
                  <a:cubicBezTo>
                    <a:pt x="107" y="85"/>
                    <a:pt x="106" y="83"/>
                    <a:pt x="104" y="83"/>
                  </a:cubicBezTo>
                  <a:cubicBezTo>
                    <a:pt x="101" y="83"/>
                    <a:pt x="100" y="85"/>
                    <a:pt x="100" y="87"/>
                  </a:cubicBezTo>
                  <a:cubicBezTo>
                    <a:pt x="100" y="100"/>
                    <a:pt x="100" y="100"/>
                    <a:pt x="100" y="100"/>
                  </a:cubicBezTo>
                  <a:cubicBezTo>
                    <a:pt x="91" y="100"/>
                    <a:pt x="91" y="100"/>
                    <a:pt x="91" y="100"/>
                  </a:cubicBezTo>
                  <a:cubicBezTo>
                    <a:pt x="91" y="26"/>
                    <a:pt x="91" y="26"/>
                    <a:pt x="91" y="26"/>
                  </a:cubicBezTo>
                  <a:cubicBezTo>
                    <a:pt x="115" y="26"/>
                    <a:pt x="115" y="26"/>
                    <a:pt x="115" y="26"/>
                  </a:cubicBezTo>
                  <a:lnTo>
                    <a:pt x="115" y="100"/>
                  </a:lnTo>
                  <a:close/>
                  <a:moveTo>
                    <a:pt x="18" y="71"/>
                  </a:moveTo>
                  <a:cubicBezTo>
                    <a:pt x="18" y="69"/>
                    <a:pt x="20" y="67"/>
                    <a:pt x="22" y="67"/>
                  </a:cubicBezTo>
                  <a:cubicBezTo>
                    <a:pt x="25" y="67"/>
                    <a:pt x="26" y="69"/>
                    <a:pt x="26" y="71"/>
                  </a:cubicBezTo>
                  <a:cubicBezTo>
                    <a:pt x="26" y="73"/>
                    <a:pt x="25" y="75"/>
                    <a:pt x="22" y="75"/>
                  </a:cubicBezTo>
                  <a:cubicBezTo>
                    <a:pt x="20" y="75"/>
                    <a:pt x="18" y="73"/>
                    <a:pt x="18" y="71"/>
                  </a:cubicBezTo>
                  <a:close/>
                  <a:moveTo>
                    <a:pt x="18" y="55"/>
                  </a:moveTo>
                  <a:cubicBezTo>
                    <a:pt x="18" y="53"/>
                    <a:pt x="20" y="51"/>
                    <a:pt x="22" y="51"/>
                  </a:cubicBezTo>
                  <a:cubicBezTo>
                    <a:pt x="25" y="51"/>
                    <a:pt x="26" y="53"/>
                    <a:pt x="26" y="55"/>
                  </a:cubicBezTo>
                  <a:cubicBezTo>
                    <a:pt x="26" y="57"/>
                    <a:pt x="25" y="59"/>
                    <a:pt x="22" y="59"/>
                  </a:cubicBezTo>
                  <a:cubicBezTo>
                    <a:pt x="20" y="59"/>
                    <a:pt x="18" y="57"/>
                    <a:pt x="18" y="55"/>
                  </a:cubicBezTo>
                  <a:close/>
                  <a:moveTo>
                    <a:pt x="18" y="39"/>
                  </a:moveTo>
                  <a:cubicBezTo>
                    <a:pt x="18" y="36"/>
                    <a:pt x="20" y="35"/>
                    <a:pt x="22" y="35"/>
                  </a:cubicBezTo>
                  <a:cubicBezTo>
                    <a:pt x="25" y="35"/>
                    <a:pt x="26" y="36"/>
                    <a:pt x="26" y="39"/>
                  </a:cubicBezTo>
                  <a:cubicBezTo>
                    <a:pt x="26" y="41"/>
                    <a:pt x="25" y="43"/>
                    <a:pt x="22" y="43"/>
                  </a:cubicBezTo>
                  <a:cubicBezTo>
                    <a:pt x="20" y="43"/>
                    <a:pt x="18" y="41"/>
                    <a:pt x="18" y="39"/>
                  </a:cubicBezTo>
                  <a:close/>
                  <a:moveTo>
                    <a:pt x="51" y="71"/>
                  </a:moveTo>
                  <a:cubicBezTo>
                    <a:pt x="51" y="69"/>
                    <a:pt x="53" y="67"/>
                    <a:pt x="55" y="67"/>
                  </a:cubicBezTo>
                  <a:cubicBezTo>
                    <a:pt x="57" y="67"/>
                    <a:pt x="59" y="69"/>
                    <a:pt x="59" y="71"/>
                  </a:cubicBezTo>
                  <a:cubicBezTo>
                    <a:pt x="59" y="73"/>
                    <a:pt x="57" y="75"/>
                    <a:pt x="55" y="75"/>
                  </a:cubicBezTo>
                  <a:cubicBezTo>
                    <a:pt x="53" y="75"/>
                    <a:pt x="51" y="73"/>
                    <a:pt x="51" y="71"/>
                  </a:cubicBezTo>
                  <a:close/>
                  <a:moveTo>
                    <a:pt x="51" y="55"/>
                  </a:moveTo>
                  <a:cubicBezTo>
                    <a:pt x="51" y="53"/>
                    <a:pt x="53" y="51"/>
                    <a:pt x="55" y="51"/>
                  </a:cubicBezTo>
                  <a:cubicBezTo>
                    <a:pt x="57" y="51"/>
                    <a:pt x="59" y="53"/>
                    <a:pt x="59" y="55"/>
                  </a:cubicBezTo>
                  <a:cubicBezTo>
                    <a:pt x="59" y="57"/>
                    <a:pt x="57" y="59"/>
                    <a:pt x="55" y="59"/>
                  </a:cubicBezTo>
                  <a:cubicBezTo>
                    <a:pt x="53" y="59"/>
                    <a:pt x="51" y="57"/>
                    <a:pt x="51" y="55"/>
                  </a:cubicBezTo>
                  <a:close/>
                  <a:moveTo>
                    <a:pt x="51" y="39"/>
                  </a:moveTo>
                  <a:cubicBezTo>
                    <a:pt x="51" y="36"/>
                    <a:pt x="53" y="35"/>
                    <a:pt x="55" y="35"/>
                  </a:cubicBezTo>
                  <a:cubicBezTo>
                    <a:pt x="57" y="35"/>
                    <a:pt x="59" y="36"/>
                    <a:pt x="59" y="39"/>
                  </a:cubicBezTo>
                  <a:cubicBezTo>
                    <a:pt x="59" y="41"/>
                    <a:pt x="57" y="43"/>
                    <a:pt x="55" y="43"/>
                  </a:cubicBezTo>
                  <a:cubicBezTo>
                    <a:pt x="53" y="43"/>
                    <a:pt x="51" y="41"/>
                    <a:pt x="51" y="39"/>
                  </a:cubicBezTo>
                  <a:close/>
                  <a:moveTo>
                    <a:pt x="67" y="71"/>
                  </a:moveTo>
                  <a:cubicBezTo>
                    <a:pt x="67" y="69"/>
                    <a:pt x="69" y="67"/>
                    <a:pt x="71" y="67"/>
                  </a:cubicBezTo>
                  <a:cubicBezTo>
                    <a:pt x="73" y="67"/>
                    <a:pt x="75" y="69"/>
                    <a:pt x="75" y="71"/>
                  </a:cubicBezTo>
                  <a:cubicBezTo>
                    <a:pt x="75" y="73"/>
                    <a:pt x="73" y="75"/>
                    <a:pt x="71" y="75"/>
                  </a:cubicBezTo>
                  <a:cubicBezTo>
                    <a:pt x="69" y="75"/>
                    <a:pt x="67" y="73"/>
                    <a:pt x="67" y="71"/>
                  </a:cubicBezTo>
                  <a:close/>
                  <a:moveTo>
                    <a:pt x="67" y="55"/>
                  </a:moveTo>
                  <a:cubicBezTo>
                    <a:pt x="67" y="53"/>
                    <a:pt x="69" y="51"/>
                    <a:pt x="71" y="51"/>
                  </a:cubicBezTo>
                  <a:cubicBezTo>
                    <a:pt x="73" y="51"/>
                    <a:pt x="75" y="53"/>
                    <a:pt x="75" y="55"/>
                  </a:cubicBezTo>
                  <a:cubicBezTo>
                    <a:pt x="75" y="57"/>
                    <a:pt x="73" y="59"/>
                    <a:pt x="71" y="59"/>
                  </a:cubicBezTo>
                  <a:cubicBezTo>
                    <a:pt x="69" y="59"/>
                    <a:pt x="67" y="57"/>
                    <a:pt x="67" y="55"/>
                  </a:cubicBezTo>
                  <a:close/>
                  <a:moveTo>
                    <a:pt x="67" y="39"/>
                  </a:moveTo>
                  <a:cubicBezTo>
                    <a:pt x="67" y="36"/>
                    <a:pt x="69" y="35"/>
                    <a:pt x="71" y="35"/>
                  </a:cubicBezTo>
                  <a:cubicBezTo>
                    <a:pt x="73" y="35"/>
                    <a:pt x="75" y="36"/>
                    <a:pt x="75" y="39"/>
                  </a:cubicBezTo>
                  <a:cubicBezTo>
                    <a:pt x="75" y="41"/>
                    <a:pt x="73" y="43"/>
                    <a:pt x="71" y="43"/>
                  </a:cubicBezTo>
                  <a:cubicBezTo>
                    <a:pt x="69" y="43"/>
                    <a:pt x="67" y="41"/>
                    <a:pt x="67" y="39"/>
                  </a:cubicBezTo>
                  <a:close/>
                  <a:moveTo>
                    <a:pt x="100" y="71"/>
                  </a:moveTo>
                  <a:cubicBezTo>
                    <a:pt x="100" y="69"/>
                    <a:pt x="101" y="67"/>
                    <a:pt x="104" y="67"/>
                  </a:cubicBezTo>
                  <a:cubicBezTo>
                    <a:pt x="106" y="67"/>
                    <a:pt x="108" y="69"/>
                    <a:pt x="108" y="71"/>
                  </a:cubicBezTo>
                  <a:cubicBezTo>
                    <a:pt x="108" y="73"/>
                    <a:pt x="106" y="75"/>
                    <a:pt x="104" y="75"/>
                  </a:cubicBezTo>
                  <a:cubicBezTo>
                    <a:pt x="101" y="75"/>
                    <a:pt x="100" y="73"/>
                    <a:pt x="100" y="71"/>
                  </a:cubicBezTo>
                  <a:close/>
                  <a:moveTo>
                    <a:pt x="100" y="55"/>
                  </a:moveTo>
                  <a:cubicBezTo>
                    <a:pt x="100" y="53"/>
                    <a:pt x="101" y="51"/>
                    <a:pt x="104" y="51"/>
                  </a:cubicBezTo>
                  <a:cubicBezTo>
                    <a:pt x="106" y="51"/>
                    <a:pt x="108" y="53"/>
                    <a:pt x="108" y="55"/>
                  </a:cubicBezTo>
                  <a:cubicBezTo>
                    <a:pt x="108" y="57"/>
                    <a:pt x="106" y="59"/>
                    <a:pt x="104" y="59"/>
                  </a:cubicBezTo>
                  <a:cubicBezTo>
                    <a:pt x="101" y="59"/>
                    <a:pt x="100" y="57"/>
                    <a:pt x="100" y="55"/>
                  </a:cubicBezTo>
                  <a:close/>
                  <a:moveTo>
                    <a:pt x="100" y="39"/>
                  </a:moveTo>
                  <a:cubicBezTo>
                    <a:pt x="100" y="36"/>
                    <a:pt x="101" y="35"/>
                    <a:pt x="104" y="35"/>
                  </a:cubicBezTo>
                  <a:cubicBezTo>
                    <a:pt x="106" y="35"/>
                    <a:pt x="108" y="36"/>
                    <a:pt x="108" y="39"/>
                  </a:cubicBezTo>
                  <a:cubicBezTo>
                    <a:pt x="108" y="41"/>
                    <a:pt x="106" y="43"/>
                    <a:pt x="104" y="43"/>
                  </a:cubicBezTo>
                  <a:cubicBezTo>
                    <a:pt x="101" y="43"/>
                    <a:pt x="100" y="41"/>
                    <a:pt x="100" y="39"/>
                  </a:cubicBezTo>
                  <a:close/>
                  <a:moveTo>
                    <a:pt x="51" y="22"/>
                  </a:moveTo>
                  <a:cubicBezTo>
                    <a:pt x="51" y="20"/>
                    <a:pt x="53" y="18"/>
                    <a:pt x="55" y="18"/>
                  </a:cubicBezTo>
                  <a:cubicBezTo>
                    <a:pt x="57" y="18"/>
                    <a:pt x="59" y="20"/>
                    <a:pt x="59" y="22"/>
                  </a:cubicBezTo>
                  <a:cubicBezTo>
                    <a:pt x="59" y="25"/>
                    <a:pt x="57" y="26"/>
                    <a:pt x="55" y="26"/>
                  </a:cubicBezTo>
                  <a:cubicBezTo>
                    <a:pt x="53" y="26"/>
                    <a:pt x="51" y="25"/>
                    <a:pt x="51" y="22"/>
                  </a:cubicBezTo>
                  <a:close/>
                  <a:moveTo>
                    <a:pt x="67" y="22"/>
                  </a:moveTo>
                  <a:cubicBezTo>
                    <a:pt x="67" y="20"/>
                    <a:pt x="69" y="18"/>
                    <a:pt x="71" y="18"/>
                  </a:cubicBezTo>
                  <a:cubicBezTo>
                    <a:pt x="73" y="18"/>
                    <a:pt x="75" y="20"/>
                    <a:pt x="75" y="22"/>
                  </a:cubicBezTo>
                  <a:cubicBezTo>
                    <a:pt x="75" y="25"/>
                    <a:pt x="73" y="26"/>
                    <a:pt x="71" y="26"/>
                  </a:cubicBezTo>
                  <a:cubicBezTo>
                    <a:pt x="69" y="26"/>
                    <a:pt x="67" y="25"/>
                    <a:pt x="67"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8" name="Freeform 5">
            <a:extLst>
              <a:ext uri="{FF2B5EF4-FFF2-40B4-BE49-F238E27FC236}">
                <a16:creationId xmlns:a16="http://schemas.microsoft.com/office/drawing/2014/main" id="{72E097B8-B28E-41B5-9342-D62B6B6723B3}"/>
              </a:ext>
            </a:extLst>
          </p:cNvPr>
          <p:cNvSpPr>
            <a:spLocks noChangeAspect="1" noEditPoints="1"/>
          </p:cNvSpPr>
          <p:nvPr/>
        </p:nvSpPr>
        <p:spPr bwMode="auto">
          <a:xfrm>
            <a:off x="6562830" y="1700213"/>
            <a:ext cx="369021" cy="369021"/>
          </a:xfrm>
          <a:custGeom>
            <a:avLst/>
            <a:gdLst>
              <a:gd name="T0" fmla="*/ 138 w 512"/>
              <a:gd name="T1" fmla="*/ 277 h 512"/>
              <a:gd name="T2" fmla="*/ 202 w 512"/>
              <a:gd name="T3" fmla="*/ 277 h 512"/>
              <a:gd name="T4" fmla="*/ 394 w 512"/>
              <a:gd name="T5" fmla="*/ 160 h 512"/>
              <a:gd name="T6" fmla="*/ 362 w 512"/>
              <a:gd name="T7" fmla="*/ 181 h 512"/>
              <a:gd name="T8" fmla="*/ 352 w 512"/>
              <a:gd name="T9" fmla="*/ 192 h 512"/>
              <a:gd name="T10" fmla="*/ 373 w 512"/>
              <a:gd name="T11" fmla="*/ 234 h 512"/>
              <a:gd name="T12" fmla="*/ 362 w 512"/>
              <a:gd name="T13" fmla="*/ 224 h 512"/>
              <a:gd name="T14" fmla="*/ 362 w 512"/>
              <a:gd name="T15" fmla="*/ 288 h 512"/>
              <a:gd name="T16" fmla="*/ 362 w 512"/>
              <a:gd name="T17" fmla="*/ 309 h 512"/>
              <a:gd name="T18" fmla="*/ 352 w 512"/>
              <a:gd name="T19" fmla="*/ 320 h 512"/>
              <a:gd name="T20" fmla="*/ 330 w 512"/>
              <a:gd name="T21" fmla="*/ 192 h 512"/>
              <a:gd name="T22" fmla="*/ 320 w 512"/>
              <a:gd name="T23" fmla="*/ 181 h 512"/>
              <a:gd name="T24" fmla="*/ 320 w 512"/>
              <a:gd name="T25" fmla="*/ 245 h 512"/>
              <a:gd name="T26" fmla="*/ 320 w 512"/>
              <a:gd name="T27" fmla="*/ 266 h 512"/>
              <a:gd name="T28" fmla="*/ 309 w 512"/>
              <a:gd name="T29" fmla="*/ 277 h 512"/>
              <a:gd name="T30" fmla="*/ 330 w 512"/>
              <a:gd name="T31" fmla="*/ 320 h 512"/>
              <a:gd name="T32" fmla="*/ 320 w 512"/>
              <a:gd name="T33" fmla="*/ 309 h 512"/>
              <a:gd name="T34" fmla="*/ 277 w 512"/>
              <a:gd name="T35" fmla="*/ 202 h 512"/>
              <a:gd name="T36" fmla="*/ 277 w 512"/>
              <a:gd name="T37" fmla="*/ 224 h 512"/>
              <a:gd name="T38" fmla="*/ 266 w 512"/>
              <a:gd name="T39" fmla="*/ 234 h 512"/>
              <a:gd name="T40" fmla="*/ 288 w 512"/>
              <a:gd name="T41" fmla="*/ 277 h 512"/>
              <a:gd name="T42" fmla="*/ 277 w 512"/>
              <a:gd name="T43" fmla="*/ 266 h 512"/>
              <a:gd name="T44" fmla="*/ 277 w 512"/>
              <a:gd name="T45" fmla="*/ 330 h 512"/>
              <a:gd name="T46" fmla="*/ 234 w 512"/>
              <a:gd name="T47" fmla="*/ 181 h 512"/>
              <a:gd name="T48" fmla="*/ 224 w 512"/>
              <a:gd name="T49" fmla="*/ 192 h 512"/>
              <a:gd name="T50" fmla="*/ 245 w 512"/>
              <a:gd name="T51" fmla="*/ 234 h 512"/>
              <a:gd name="T52" fmla="*/ 234 w 512"/>
              <a:gd name="T53" fmla="*/ 224 h 512"/>
              <a:gd name="T54" fmla="*/ 234 w 512"/>
              <a:gd name="T55" fmla="*/ 288 h 512"/>
              <a:gd name="T56" fmla="*/ 234 w 512"/>
              <a:gd name="T57" fmla="*/ 309 h 512"/>
              <a:gd name="T58" fmla="*/ 224 w 512"/>
              <a:gd name="T59" fmla="*/ 320 h 512"/>
              <a:gd name="T60" fmla="*/ 202 w 512"/>
              <a:gd name="T61" fmla="*/ 192 h 512"/>
              <a:gd name="T62" fmla="*/ 192 w 512"/>
              <a:gd name="T63" fmla="*/ 181 h 512"/>
              <a:gd name="T64" fmla="*/ 192 w 512"/>
              <a:gd name="T65" fmla="*/ 245 h 512"/>
              <a:gd name="T66" fmla="*/ 149 w 512"/>
              <a:gd name="T67" fmla="*/ 181 h 512"/>
              <a:gd name="T68" fmla="*/ 138 w 512"/>
              <a:gd name="T69" fmla="*/ 192 h 512"/>
              <a:gd name="T70" fmla="*/ 160 w 512"/>
              <a:gd name="T71" fmla="*/ 234 h 512"/>
              <a:gd name="T72" fmla="*/ 149 w 512"/>
              <a:gd name="T73" fmla="*/ 224 h 512"/>
              <a:gd name="T74" fmla="*/ 256 w 512"/>
              <a:gd name="T75" fmla="*/ 512 h 512"/>
              <a:gd name="T76" fmla="*/ 416 w 512"/>
              <a:gd name="T77" fmla="*/ 362 h 512"/>
              <a:gd name="T78" fmla="*/ 96 w 512"/>
              <a:gd name="T79" fmla="*/ 362 h 512"/>
              <a:gd name="T80" fmla="*/ 405 w 512"/>
              <a:gd name="T81" fmla="*/ 138 h 512"/>
              <a:gd name="T82" fmla="*/ 160 w 512"/>
              <a:gd name="T83" fmla="*/ 288 h 512"/>
              <a:gd name="T84" fmla="*/ 160 w 512"/>
              <a:gd name="T8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17" y="352"/>
                </a:moveTo>
                <a:cubicBezTo>
                  <a:pt x="138" y="352"/>
                  <a:pt x="138" y="352"/>
                  <a:pt x="138" y="352"/>
                </a:cubicBezTo>
                <a:cubicBezTo>
                  <a:pt x="138" y="277"/>
                  <a:pt x="138" y="277"/>
                  <a:pt x="138" y="277"/>
                </a:cubicBezTo>
                <a:cubicBezTo>
                  <a:pt x="138" y="271"/>
                  <a:pt x="143" y="266"/>
                  <a:pt x="149" y="266"/>
                </a:cubicBezTo>
                <a:cubicBezTo>
                  <a:pt x="192" y="266"/>
                  <a:pt x="192" y="266"/>
                  <a:pt x="192" y="266"/>
                </a:cubicBezTo>
                <a:cubicBezTo>
                  <a:pt x="198" y="266"/>
                  <a:pt x="202" y="271"/>
                  <a:pt x="202" y="277"/>
                </a:cubicBezTo>
                <a:cubicBezTo>
                  <a:pt x="202" y="352"/>
                  <a:pt x="202" y="352"/>
                  <a:pt x="202" y="352"/>
                </a:cubicBezTo>
                <a:cubicBezTo>
                  <a:pt x="394" y="352"/>
                  <a:pt x="394" y="352"/>
                  <a:pt x="394" y="352"/>
                </a:cubicBezTo>
                <a:cubicBezTo>
                  <a:pt x="394" y="160"/>
                  <a:pt x="394" y="160"/>
                  <a:pt x="394" y="160"/>
                </a:cubicBezTo>
                <a:cubicBezTo>
                  <a:pt x="117" y="160"/>
                  <a:pt x="117" y="160"/>
                  <a:pt x="117" y="160"/>
                </a:cubicBezTo>
                <a:lnTo>
                  <a:pt x="117" y="352"/>
                </a:lnTo>
                <a:close/>
                <a:moveTo>
                  <a:pt x="362" y="181"/>
                </a:moveTo>
                <a:cubicBezTo>
                  <a:pt x="368" y="181"/>
                  <a:pt x="373" y="186"/>
                  <a:pt x="373" y="192"/>
                </a:cubicBezTo>
                <a:cubicBezTo>
                  <a:pt x="373" y="198"/>
                  <a:pt x="368" y="202"/>
                  <a:pt x="362" y="202"/>
                </a:cubicBezTo>
                <a:cubicBezTo>
                  <a:pt x="356" y="202"/>
                  <a:pt x="352" y="198"/>
                  <a:pt x="352" y="192"/>
                </a:cubicBezTo>
                <a:cubicBezTo>
                  <a:pt x="352" y="186"/>
                  <a:pt x="356" y="181"/>
                  <a:pt x="362" y="181"/>
                </a:cubicBezTo>
                <a:close/>
                <a:moveTo>
                  <a:pt x="362" y="224"/>
                </a:moveTo>
                <a:cubicBezTo>
                  <a:pt x="368" y="224"/>
                  <a:pt x="373" y="228"/>
                  <a:pt x="373" y="234"/>
                </a:cubicBezTo>
                <a:cubicBezTo>
                  <a:pt x="373" y="240"/>
                  <a:pt x="368" y="245"/>
                  <a:pt x="362" y="245"/>
                </a:cubicBezTo>
                <a:cubicBezTo>
                  <a:pt x="356" y="245"/>
                  <a:pt x="352" y="240"/>
                  <a:pt x="352" y="234"/>
                </a:cubicBezTo>
                <a:cubicBezTo>
                  <a:pt x="352" y="228"/>
                  <a:pt x="356" y="224"/>
                  <a:pt x="362" y="224"/>
                </a:cubicBezTo>
                <a:close/>
                <a:moveTo>
                  <a:pt x="362" y="266"/>
                </a:moveTo>
                <a:cubicBezTo>
                  <a:pt x="368" y="266"/>
                  <a:pt x="373" y="271"/>
                  <a:pt x="373" y="277"/>
                </a:cubicBezTo>
                <a:cubicBezTo>
                  <a:pt x="373" y="283"/>
                  <a:pt x="368" y="288"/>
                  <a:pt x="362" y="288"/>
                </a:cubicBezTo>
                <a:cubicBezTo>
                  <a:pt x="356" y="288"/>
                  <a:pt x="352" y="283"/>
                  <a:pt x="352" y="277"/>
                </a:cubicBezTo>
                <a:cubicBezTo>
                  <a:pt x="352" y="271"/>
                  <a:pt x="356" y="266"/>
                  <a:pt x="362" y="266"/>
                </a:cubicBezTo>
                <a:close/>
                <a:moveTo>
                  <a:pt x="362" y="309"/>
                </a:moveTo>
                <a:cubicBezTo>
                  <a:pt x="368" y="309"/>
                  <a:pt x="373" y="314"/>
                  <a:pt x="373" y="320"/>
                </a:cubicBezTo>
                <a:cubicBezTo>
                  <a:pt x="373" y="326"/>
                  <a:pt x="368" y="330"/>
                  <a:pt x="362" y="330"/>
                </a:cubicBezTo>
                <a:cubicBezTo>
                  <a:pt x="356" y="330"/>
                  <a:pt x="352" y="326"/>
                  <a:pt x="352" y="320"/>
                </a:cubicBezTo>
                <a:cubicBezTo>
                  <a:pt x="352" y="314"/>
                  <a:pt x="356" y="309"/>
                  <a:pt x="362" y="309"/>
                </a:cubicBezTo>
                <a:close/>
                <a:moveTo>
                  <a:pt x="320" y="181"/>
                </a:moveTo>
                <a:cubicBezTo>
                  <a:pt x="326" y="181"/>
                  <a:pt x="330" y="186"/>
                  <a:pt x="330" y="192"/>
                </a:cubicBezTo>
                <a:cubicBezTo>
                  <a:pt x="330" y="198"/>
                  <a:pt x="326" y="202"/>
                  <a:pt x="320" y="202"/>
                </a:cubicBezTo>
                <a:cubicBezTo>
                  <a:pt x="314" y="202"/>
                  <a:pt x="309" y="198"/>
                  <a:pt x="309" y="192"/>
                </a:cubicBezTo>
                <a:cubicBezTo>
                  <a:pt x="309" y="186"/>
                  <a:pt x="314" y="181"/>
                  <a:pt x="320" y="181"/>
                </a:cubicBezTo>
                <a:close/>
                <a:moveTo>
                  <a:pt x="320" y="224"/>
                </a:moveTo>
                <a:cubicBezTo>
                  <a:pt x="326" y="224"/>
                  <a:pt x="330" y="228"/>
                  <a:pt x="330" y="234"/>
                </a:cubicBezTo>
                <a:cubicBezTo>
                  <a:pt x="330" y="240"/>
                  <a:pt x="326" y="245"/>
                  <a:pt x="320" y="245"/>
                </a:cubicBezTo>
                <a:cubicBezTo>
                  <a:pt x="314" y="245"/>
                  <a:pt x="309" y="240"/>
                  <a:pt x="309" y="234"/>
                </a:cubicBezTo>
                <a:cubicBezTo>
                  <a:pt x="309" y="228"/>
                  <a:pt x="314" y="224"/>
                  <a:pt x="320" y="224"/>
                </a:cubicBezTo>
                <a:close/>
                <a:moveTo>
                  <a:pt x="320" y="266"/>
                </a:moveTo>
                <a:cubicBezTo>
                  <a:pt x="326" y="266"/>
                  <a:pt x="330" y="271"/>
                  <a:pt x="330" y="277"/>
                </a:cubicBezTo>
                <a:cubicBezTo>
                  <a:pt x="330" y="283"/>
                  <a:pt x="326" y="288"/>
                  <a:pt x="320" y="288"/>
                </a:cubicBezTo>
                <a:cubicBezTo>
                  <a:pt x="314" y="288"/>
                  <a:pt x="309" y="283"/>
                  <a:pt x="309" y="277"/>
                </a:cubicBezTo>
                <a:cubicBezTo>
                  <a:pt x="309" y="271"/>
                  <a:pt x="314" y="266"/>
                  <a:pt x="320" y="266"/>
                </a:cubicBezTo>
                <a:close/>
                <a:moveTo>
                  <a:pt x="320" y="309"/>
                </a:moveTo>
                <a:cubicBezTo>
                  <a:pt x="326" y="309"/>
                  <a:pt x="330" y="314"/>
                  <a:pt x="330" y="320"/>
                </a:cubicBezTo>
                <a:cubicBezTo>
                  <a:pt x="330" y="326"/>
                  <a:pt x="326" y="330"/>
                  <a:pt x="320" y="330"/>
                </a:cubicBezTo>
                <a:cubicBezTo>
                  <a:pt x="314" y="330"/>
                  <a:pt x="309" y="326"/>
                  <a:pt x="309" y="320"/>
                </a:cubicBezTo>
                <a:cubicBezTo>
                  <a:pt x="309" y="314"/>
                  <a:pt x="314" y="309"/>
                  <a:pt x="320" y="309"/>
                </a:cubicBezTo>
                <a:close/>
                <a:moveTo>
                  <a:pt x="277" y="181"/>
                </a:moveTo>
                <a:cubicBezTo>
                  <a:pt x="283" y="181"/>
                  <a:pt x="288" y="186"/>
                  <a:pt x="288" y="192"/>
                </a:cubicBezTo>
                <a:cubicBezTo>
                  <a:pt x="288" y="198"/>
                  <a:pt x="283" y="202"/>
                  <a:pt x="277" y="202"/>
                </a:cubicBezTo>
                <a:cubicBezTo>
                  <a:pt x="271" y="202"/>
                  <a:pt x="266" y="198"/>
                  <a:pt x="266" y="192"/>
                </a:cubicBezTo>
                <a:cubicBezTo>
                  <a:pt x="266" y="186"/>
                  <a:pt x="271" y="181"/>
                  <a:pt x="277" y="181"/>
                </a:cubicBezTo>
                <a:close/>
                <a:moveTo>
                  <a:pt x="277" y="224"/>
                </a:moveTo>
                <a:cubicBezTo>
                  <a:pt x="283" y="224"/>
                  <a:pt x="288" y="228"/>
                  <a:pt x="288" y="234"/>
                </a:cubicBezTo>
                <a:cubicBezTo>
                  <a:pt x="288" y="240"/>
                  <a:pt x="283" y="245"/>
                  <a:pt x="277" y="245"/>
                </a:cubicBezTo>
                <a:cubicBezTo>
                  <a:pt x="271" y="245"/>
                  <a:pt x="266" y="240"/>
                  <a:pt x="266" y="234"/>
                </a:cubicBezTo>
                <a:cubicBezTo>
                  <a:pt x="266" y="228"/>
                  <a:pt x="271" y="224"/>
                  <a:pt x="277" y="224"/>
                </a:cubicBezTo>
                <a:close/>
                <a:moveTo>
                  <a:pt x="277" y="266"/>
                </a:moveTo>
                <a:cubicBezTo>
                  <a:pt x="283" y="266"/>
                  <a:pt x="288" y="271"/>
                  <a:pt x="288" y="277"/>
                </a:cubicBezTo>
                <a:cubicBezTo>
                  <a:pt x="288" y="283"/>
                  <a:pt x="283" y="288"/>
                  <a:pt x="277" y="288"/>
                </a:cubicBezTo>
                <a:cubicBezTo>
                  <a:pt x="271" y="288"/>
                  <a:pt x="266" y="283"/>
                  <a:pt x="266" y="277"/>
                </a:cubicBezTo>
                <a:cubicBezTo>
                  <a:pt x="266" y="271"/>
                  <a:pt x="271" y="266"/>
                  <a:pt x="277" y="266"/>
                </a:cubicBezTo>
                <a:close/>
                <a:moveTo>
                  <a:pt x="277" y="309"/>
                </a:moveTo>
                <a:cubicBezTo>
                  <a:pt x="283" y="309"/>
                  <a:pt x="288" y="314"/>
                  <a:pt x="288" y="320"/>
                </a:cubicBezTo>
                <a:cubicBezTo>
                  <a:pt x="288" y="326"/>
                  <a:pt x="283" y="330"/>
                  <a:pt x="277" y="330"/>
                </a:cubicBezTo>
                <a:cubicBezTo>
                  <a:pt x="271" y="330"/>
                  <a:pt x="266" y="326"/>
                  <a:pt x="266" y="320"/>
                </a:cubicBezTo>
                <a:cubicBezTo>
                  <a:pt x="266" y="314"/>
                  <a:pt x="271" y="309"/>
                  <a:pt x="277" y="309"/>
                </a:cubicBezTo>
                <a:close/>
                <a:moveTo>
                  <a:pt x="234" y="181"/>
                </a:moveTo>
                <a:cubicBezTo>
                  <a:pt x="240" y="181"/>
                  <a:pt x="245" y="186"/>
                  <a:pt x="245" y="192"/>
                </a:cubicBezTo>
                <a:cubicBezTo>
                  <a:pt x="245" y="198"/>
                  <a:pt x="240" y="202"/>
                  <a:pt x="234" y="202"/>
                </a:cubicBezTo>
                <a:cubicBezTo>
                  <a:pt x="228" y="202"/>
                  <a:pt x="224" y="198"/>
                  <a:pt x="224" y="192"/>
                </a:cubicBezTo>
                <a:cubicBezTo>
                  <a:pt x="224" y="186"/>
                  <a:pt x="228" y="181"/>
                  <a:pt x="234" y="181"/>
                </a:cubicBezTo>
                <a:close/>
                <a:moveTo>
                  <a:pt x="234" y="224"/>
                </a:moveTo>
                <a:cubicBezTo>
                  <a:pt x="240" y="224"/>
                  <a:pt x="245" y="228"/>
                  <a:pt x="245" y="234"/>
                </a:cubicBezTo>
                <a:cubicBezTo>
                  <a:pt x="245" y="240"/>
                  <a:pt x="240" y="245"/>
                  <a:pt x="234" y="245"/>
                </a:cubicBezTo>
                <a:cubicBezTo>
                  <a:pt x="228" y="245"/>
                  <a:pt x="224" y="240"/>
                  <a:pt x="224" y="234"/>
                </a:cubicBezTo>
                <a:cubicBezTo>
                  <a:pt x="224" y="228"/>
                  <a:pt x="228" y="224"/>
                  <a:pt x="234" y="224"/>
                </a:cubicBezTo>
                <a:close/>
                <a:moveTo>
                  <a:pt x="234" y="266"/>
                </a:moveTo>
                <a:cubicBezTo>
                  <a:pt x="240" y="266"/>
                  <a:pt x="245" y="271"/>
                  <a:pt x="245" y="277"/>
                </a:cubicBezTo>
                <a:cubicBezTo>
                  <a:pt x="245" y="283"/>
                  <a:pt x="240" y="288"/>
                  <a:pt x="234" y="288"/>
                </a:cubicBezTo>
                <a:cubicBezTo>
                  <a:pt x="228" y="288"/>
                  <a:pt x="224" y="283"/>
                  <a:pt x="224" y="277"/>
                </a:cubicBezTo>
                <a:cubicBezTo>
                  <a:pt x="224" y="271"/>
                  <a:pt x="228" y="266"/>
                  <a:pt x="234" y="266"/>
                </a:cubicBezTo>
                <a:close/>
                <a:moveTo>
                  <a:pt x="234" y="309"/>
                </a:moveTo>
                <a:cubicBezTo>
                  <a:pt x="240" y="309"/>
                  <a:pt x="245" y="314"/>
                  <a:pt x="245" y="320"/>
                </a:cubicBezTo>
                <a:cubicBezTo>
                  <a:pt x="245" y="326"/>
                  <a:pt x="240" y="330"/>
                  <a:pt x="234" y="330"/>
                </a:cubicBezTo>
                <a:cubicBezTo>
                  <a:pt x="228" y="330"/>
                  <a:pt x="224" y="326"/>
                  <a:pt x="224" y="320"/>
                </a:cubicBezTo>
                <a:cubicBezTo>
                  <a:pt x="224" y="314"/>
                  <a:pt x="228" y="309"/>
                  <a:pt x="234" y="309"/>
                </a:cubicBezTo>
                <a:close/>
                <a:moveTo>
                  <a:pt x="192" y="181"/>
                </a:moveTo>
                <a:cubicBezTo>
                  <a:pt x="198" y="181"/>
                  <a:pt x="202" y="186"/>
                  <a:pt x="202" y="192"/>
                </a:cubicBezTo>
                <a:cubicBezTo>
                  <a:pt x="202" y="198"/>
                  <a:pt x="198" y="202"/>
                  <a:pt x="192" y="202"/>
                </a:cubicBezTo>
                <a:cubicBezTo>
                  <a:pt x="186" y="202"/>
                  <a:pt x="181" y="198"/>
                  <a:pt x="181" y="192"/>
                </a:cubicBezTo>
                <a:cubicBezTo>
                  <a:pt x="181" y="186"/>
                  <a:pt x="186" y="181"/>
                  <a:pt x="192" y="181"/>
                </a:cubicBezTo>
                <a:close/>
                <a:moveTo>
                  <a:pt x="192" y="224"/>
                </a:moveTo>
                <a:cubicBezTo>
                  <a:pt x="198" y="224"/>
                  <a:pt x="202" y="228"/>
                  <a:pt x="202" y="234"/>
                </a:cubicBezTo>
                <a:cubicBezTo>
                  <a:pt x="202" y="240"/>
                  <a:pt x="198" y="245"/>
                  <a:pt x="192" y="245"/>
                </a:cubicBezTo>
                <a:cubicBezTo>
                  <a:pt x="186" y="245"/>
                  <a:pt x="181" y="240"/>
                  <a:pt x="181" y="234"/>
                </a:cubicBezTo>
                <a:cubicBezTo>
                  <a:pt x="181" y="228"/>
                  <a:pt x="186" y="224"/>
                  <a:pt x="192" y="224"/>
                </a:cubicBezTo>
                <a:close/>
                <a:moveTo>
                  <a:pt x="149" y="181"/>
                </a:moveTo>
                <a:cubicBezTo>
                  <a:pt x="155" y="181"/>
                  <a:pt x="160" y="186"/>
                  <a:pt x="160" y="192"/>
                </a:cubicBezTo>
                <a:cubicBezTo>
                  <a:pt x="160" y="198"/>
                  <a:pt x="155" y="202"/>
                  <a:pt x="149" y="202"/>
                </a:cubicBezTo>
                <a:cubicBezTo>
                  <a:pt x="143" y="202"/>
                  <a:pt x="138" y="198"/>
                  <a:pt x="138" y="192"/>
                </a:cubicBezTo>
                <a:cubicBezTo>
                  <a:pt x="138" y="186"/>
                  <a:pt x="143" y="181"/>
                  <a:pt x="149" y="181"/>
                </a:cubicBezTo>
                <a:close/>
                <a:moveTo>
                  <a:pt x="149" y="224"/>
                </a:moveTo>
                <a:cubicBezTo>
                  <a:pt x="155" y="224"/>
                  <a:pt x="160" y="228"/>
                  <a:pt x="160" y="234"/>
                </a:cubicBezTo>
                <a:cubicBezTo>
                  <a:pt x="160" y="240"/>
                  <a:pt x="155" y="245"/>
                  <a:pt x="149" y="245"/>
                </a:cubicBezTo>
                <a:cubicBezTo>
                  <a:pt x="143" y="245"/>
                  <a:pt x="138" y="240"/>
                  <a:pt x="138" y="234"/>
                </a:cubicBezTo>
                <a:cubicBezTo>
                  <a:pt x="138" y="228"/>
                  <a:pt x="143" y="224"/>
                  <a:pt x="149" y="22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62"/>
                </a:lnTo>
                <a:close/>
                <a:moveTo>
                  <a:pt x="160" y="288"/>
                </a:moveTo>
                <a:cubicBezTo>
                  <a:pt x="181" y="288"/>
                  <a:pt x="181" y="288"/>
                  <a:pt x="181" y="288"/>
                </a:cubicBezTo>
                <a:cubicBezTo>
                  <a:pt x="181" y="352"/>
                  <a:pt x="181" y="352"/>
                  <a:pt x="181" y="352"/>
                </a:cubicBezTo>
                <a:cubicBezTo>
                  <a:pt x="160" y="352"/>
                  <a:pt x="160" y="352"/>
                  <a:pt x="160" y="352"/>
                </a:cubicBezTo>
                <a:lnTo>
                  <a:pt x="160" y="28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9" name="Group 8">
            <a:extLst>
              <a:ext uri="{FF2B5EF4-FFF2-40B4-BE49-F238E27FC236}">
                <a16:creationId xmlns:a16="http://schemas.microsoft.com/office/drawing/2014/main" id="{7C973A47-1995-4645-88DF-BD021AB3F149}"/>
              </a:ext>
            </a:extLst>
          </p:cNvPr>
          <p:cNvGrpSpPr>
            <a:grpSpLocks noChangeAspect="1"/>
          </p:cNvGrpSpPr>
          <p:nvPr/>
        </p:nvGrpSpPr>
        <p:grpSpPr bwMode="auto">
          <a:xfrm>
            <a:off x="6998372" y="1700213"/>
            <a:ext cx="370106" cy="369021"/>
            <a:chOff x="407" y="-13"/>
            <a:chExt cx="341" cy="340"/>
          </a:xfrm>
          <a:solidFill>
            <a:schemeClr val="accent1"/>
          </a:solidFill>
        </p:grpSpPr>
        <p:sp>
          <p:nvSpPr>
            <p:cNvPr id="100" name="Freeform 9">
              <a:extLst>
                <a:ext uri="{FF2B5EF4-FFF2-40B4-BE49-F238E27FC236}">
                  <a16:creationId xmlns:a16="http://schemas.microsoft.com/office/drawing/2014/main" id="{D10D2450-4DF4-4223-B297-DAF30599F117}"/>
                </a:ext>
              </a:extLst>
            </p:cNvPr>
            <p:cNvSpPr>
              <a:spLocks noEditPoints="1"/>
            </p:cNvSpPr>
            <p:nvPr/>
          </p:nvSpPr>
          <p:spPr bwMode="auto">
            <a:xfrm>
              <a:off x="407" y="-1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10">
              <a:extLst>
                <a:ext uri="{FF2B5EF4-FFF2-40B4-BE49-F238E27FC236}">
                  <a16:creationId xmlns:a16="http://schemas.microsoft.com/office/drawing/2014/main" id="{8DDCB788-BDF3-4720-BAE5-28C2A170CEBF}"/>
                </a:ext>
              </a:extLst>
            </p:cNvPr>
            <p:cNvSpPr>
              <a:spLocks noEditPoints="1"/>
            </p:cNvSpPr>
            <p:nvPr/>
          </p:nvSpPr>
          <p:spPr bwMode="auto">
            <a:xfrm>
              <a:off x="471" y="79"/>
              <a:ext cx="213" cy="156"/>
            </a:xfrm>
            <a:custGeom>
              <a:avLst/>
              <a:gdLst>
                <a:gd name="T0" fmla="*/ 10 w 320"/>
                <a:gd name="T1" fmla="*/ 0 h 235"/>
                <a:gd name="T2" fmla="*/ 0 w 320"/>
                <a:gd name="T3" fmla="*/ 224 h 235"/>
                <a:gd name="T4" fmla="*/ 309 w 320"/>
                <a:gd name="T5" fmla="*/ 235 h 235"/>
                <a:gd name="T6" fmla="*/ 320 w 320"/>
                <a:gd name="T7" fmla="*/ 11 h 235"/>
                <a:gd name="T8" fmla="*/ 85 w 320"/>
                <a:gd name="T9" fmla="*/ 214 h 235"/>
                <a:gd name="T10" fmla="*/ 64 w 320"/>
                <a:gd name="T11" fmla="*/ 150 h 235"/>
                <a:gd name="T12" fmla="*/ 85 w 320"/>
                <a:gd name="T13" fmla="*/ 214 h 235"/>
                <a:gd name="T14" fmla="*/ 106 w 320"/>
                <a:gd name="T15" fmla="*/ 214 h 235"/>
                <a:gd name="T16" fmla="*/ 96 w 320"/>
                <a:gd name="T17" fmla="*/ 128 h 235"/>
                <a:gd name="T18" fmla="*/ 42 w 320"/>
                <a:gd name="T19" fmla="*/ 139 h 235"/>
                <a:gd name="T20" fmla="*/ 21 w 320"/>
                <a:gd name="T21" fmla="*/ 214 h 235"/>
                <a:gd name="T22" fmla="*/ 298 w 320"/>
                <a:gd name="T23" fmla="*/ 22 h 235"/>
                <a:gd name="T24" fmla="*/ 42 w 320"/>
                <a:gd name="T25" fmla="*/ 96 h 235"/>
                <a:gd name="T26" fmla="*/ 64 w 320"/>
                <a:gd name="T27" fmla="*/ 96 h 235"/>
                <a:gd name="T28" fmla="*/ 42 w 320"/>
                <a:gd name="T29" fmla="*/ 96 h 235"/>
                <a:gd name="T30" fmla="*/ 53 w 320"/>
                <a:gd name="T31" fmla="*/ 43 h 235"/>
                <a:gd name="T32" fmla="*/ 53 w 320"/>
                <a:gd name="T33" fmla="*/ 64 h 235"/>
                <a:gd name="T34" fmla="*/ 85 w 320"/>
                <a:gd name="T35" fmla="*/ 96 h 235"/>
                <a:gd name="T36" fmla="*/ 106 w 320"/>
                <a:gd name="T37" fmla="*/ 96 h 235"/>
                <a:gd name="T38" fmla="*/ 85 w 320"/>
                <a:gd name="T39" fmla="*/ 96 h 235"/>
                <a:gd name="T40" fmla="*/ 96 w 320"/>
                <a:gd name="T41" fmla="*/ 43 h 235"/>
                <a:gd name="T42" fmla="*/ 96 w 320"/>
                <a:gd name="T43" fmla="*/ 64 h 235"/>
                <a:gd name="T44" fmla="*/ 128 w 320"/>
                <a:gd name="T45" fmla="*/ 96 h 235"/>
                <a:gd name="T46" fmla="*/ 149 w 320"/>
                <a:gd name="T47" fmla="*/ 96 h 235"/>
                <a:gd name="T48" fmla="*/ 128 w 320"/>
                <a:gd name="T49" fmla="*/ 96 h 235"/>
                <a:gd name="T50" fmla="*/ 138 w 320"/>
                <a:gd name="T51" fmla="*/ 43 h 235"/>
                <a:gd name="T52" fmla="*/ 138 w 320"/>
                <a:gd name="T53" fmla="*/ 64 h 235"/>
                <a:gd name="T54" fmla="*/ 170 w 320"/>
                <a:gd name="T55" fmla="*/ 96 h 235"/>
                <a:gd name="T56" fmla="*/ 192 w 320"/>
                <a:gd name="T57" fmla="*/ 96 h 235"/>
                <a:gd name="T58" fmla="*/ 170 w 320"/>
                <a:gd name="T59" fmla="*/ 96 h 235"/>
                <a:gd name="T60" fmla="*/ 181 w 320"/>
                <a:gd name="T61" fmla="*/ 43 h 235"/>
                <a:gd name="T62" fmla="*/ 181 w 320"/>
                <a:gd name="T63" fmla="*/ 64 h 235"/>
                <a:gd name="T64" fmla="*/ 213 w 320"/>
                <a:gd name="T65" fmla="*/ 96 h 235"/>
                <a:gd name="T66" fmla="*/ 234 w 320"/>
                <a:gd name="T67" fmla="*/ 96 h 235"/>
                <a:gd name="T68" fmla="*/ 213 w 320"/>
                <a:gd name="T69" fmla="*/ 96 h 235"/>
                <a:gd name="T70" fmla="*/ 224 w 320"/>
                <a:gd name="T71" fmla="*/ 43 h 235"/>
                <a:gd name="T72" fmla="*/ 224 w 320"/>
                <a:gd name="T73" fmla="*/ 64 h 235"/>
                <a:gd name="T74" fmla="*/ 256 w 320"/>
                <a:gd name="T75" fmla="*/ 96 h 235"/>
                <a:gd name="T76" fmla="*/ 277 w 320"/>
                <a:gd name="T77" fmla="*/ 96 h 235"/>
                <a:gd name="T78" fmla="*/ 256 w 320"/>
                <a:gd name="T79" fmla="*/ 96 h 235"/>
                <a:gd name="T80" fmla="*/ 138 w 320"/>
                <a:gd name="T81" fmla="*/ 128 h 235"/>
                <a:gd name="T82" fmla="*/ 138 w 320"/>
                <a:gd name="T83" fmla="*/ 150 h 235"/>
                <a:gd name="T84" fmla="*/ 170 w 320"/>
                <a:gd name="T85" fmla="*/ 139 h 235"/>
                <a:gd name="T86" fmla="*/ 192 w 320"/>
                <a:gd name="T87" fmla="*/ 139 h 235"/>
                <a:gd name="T88" fmla="*/ 170 w 320"/>
                <a:gd name="T89" fmla="*/ 139 h 235"/>
                <a:gd name="T90" fmla="*/ 224 w 320"/>
                <a:gd name="T91" fmla="*/ 128 h 235"/>
                <a:gd name="T92" fmla="*/ 224 w 320"/>
                <a:gd name="T93" fmla="*/ 150 h 235"/>
                <a:gd name="T94" fmla="*/ 256 w 320"/>
                <a:gd name="T95" fmla="*/ 139 h 235"/>
                <a:gd name="T96" fmla="*/ 277 w 320"/>
                <a:gd name="T97" fmla="*/ 139 h 235"/>
                <a:gd name="T98" fmla="*/ 256 w 320"/>
                <a:gd name="T99" fmla="*/ 139 h 235"/>
                <a:gd name="T100" fmla="*/ 138 w 320"/>
                <a:gd name="T101" fmla="*/ 171 h 235"/>
                <a:gd name="T102" fmla="*/ 138 w 320"/>
                <a:gd name="T103" fmla="*/ 192 h 235"/>
                <a:gd name="T104" fmla="*/ 170 w 320"/>
                <a:gd name="T105" fmla="*/ 182 h 235"/>
                <a:gd name="T106" fmla="*/ 192 w 320"/>
                <a:gd name="T107" fmla="*/ 182 h 235"/>
                <a:gd name="T108" fmla="*/ 170 w 320"/>
                <a:gd name="T109" fmla="*/ 182 h 235"/>
                <a:gd name="T110" fmla="*/ 224 w 320"/>
                <a:gd name="T111" fmla="*/ 171 h 235"/>
                <a:gd name="T112" fmla="*/ 224 w 320"/>
                <a:gd name="T113" fmla="*/ 192 h 235"/>
                <a:gd name="T114" fmla="*/ 256 w 320"/>
                <a:gd name="T115" fmla="*/ 182 h 235"/>
                <a:gd name="T116" fmla="*/ 277 w 320"/>
                <a:gd name="T117" fmla="*/ 182 h 235"/>
                <a:gd name="T118" fmla="*/ 256 w 320"/>
                <a:gd name="T119" fmla="*/ 182 h 235"/>
                <a:gd name="T120" fmla="*/ 266 w 320"/>
                <a:gd name="T121" fmla="*/ 43 h 235"/>
                <a:gd name="T122" fmla="*/ 266 w 320"/>
                <a:gd name="T123" fmla="*/ 6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85" y="214"/>
                  </a:moveTo>
                  <a:cubicBezTo>
                    <a:pt x="64" y="214"/>
                    <a:pt x="64" y="214"/>
                    <a:pt x="64" y="214"/>
                  </a:cubicBezTo>
                  <a:cubicBezTo>
                    <a:pt x="64" y="150"/>
                    <a:pt x="64" y="150"/>
                    <a:pt x="64" y="150"/>
                  </a:cubicBezTo>
                  <a:cubicBezTo>
                    <a:pt x="85" y="150"/>
                    <a:pt x="85" y="150"/>
                    <a:pt x="85" y="150"/>
                  </a:cubicBezTo>
                  <a:lnTo>
                    <a:pt x="85" y="214"/>
                  </a:lnTo>
                  <a:close/>
                  <a:moveTo>
                    <a:pt x="298" y="214"/>
                  </a:moveTo>
                  <a:cubicBezTo>
                    <a:pt x="106" y="214"/>
                    <a:pt x="106" y="214"/>
                    <a:pt x="106" y="214"/>
                  </a:cubicBezTo>
                  <a:cubicBezTo>
                    <a:pt x="106" y="139"/>
                    <a:pt x="106" y="139"/>
                    <a:pt x="106" y="139"/>
                  </a:cubicBezTo>
                  <a:cubicBezTo>
                    <a:pt x="106" y="133"/>
                    <a:pt x="102" y="128"/>
                    <a:pt x="96" y="128"/>
                  </a:cubicBezTo>
                  <a:cubicBezTo>
                    <a:pt x="53" y="128"/>
                    <a:pt x="53" y="128"/>
                    <a:pt x="53" y="128"/>
                  </a:cubicBezTo>
                  <a:cubicBezTo>
                    <a:pt x="47" y="128"/>
                    <a:pt x="42" y="133"/>
                    <a:pt x="42" y="139"/>
                  </a:cubicBezTo>
                  <a:cubicBezTo>
                    <a:pt x="42" y="214"/>
                    <a:pt x="42" y="214"/>
                    <a:pt x="42" y="214"/>
                  </a:cubicBezTo>
                  <a:cubicBezTo>
                    <a:pt x="21" y="214"/>
                    <a:pt x="21" y="214"/>
                    <a:pt x="21" y="214"/>
                  </a:cubicBezTo>
                  <a:cubicBezTo>
                    <a:pt x="21" y="22"/>
                    <a:pt x="21" y="22"/>
                    <a:pt x="21" y="22"/>
                  </a:cubicBezTo>
                  <a:cubicBezTo>
                    <a:pt x="298" y="22"/>
                    <a:pt x="298" y="22"/>
                    <a:pt x="298" y="22"/>
                  </a:cubicBezTo>
                  <a:lnTo>
                    <a:pt x="298" y="214"/>
                  </a:lnTo>
                  <a:close/>
                  <a:moveTo>
                    <a:pt x="42" y="96"/>
                  </a:moveTo>
                  <a:cubicBezTo>
                    <a:pt x="42" y="90"/>
                    <a:pt x="47" y="86"/>
                    <a:pt x="53" y="86"/>
                  </a:cubicBezTo>
                  <a:cubicBezTo>
                    <a:pt x="59" y="86"/>
                    <a:pt x="64" y="90"/>
                    <a:pt x="64" y="96"/>
                  </a:cubicBezTo>
                  <a:cubicBezTo>
                    <a:pt x="64" y="102"/>
                    <a:pt x="59" y="107"/>
                    <a:pt x="53" y="107"/>
                  </a:cubicBezTo>
                  <a:cubicBezTo>
                    <a:pt x="47" y="107"/>
                    <a:pt x="42" y="102"/>
                    <a:pt x="42" y="96"/>
                  </a:cubicBezTo>
                  <a:close/>
                  <a:moveTo>
                    <a:pt x="42" y="54"/>
                  </a:moveTo>
                  <a:cubicBezTo>
                    <a:pt x="42" y="48"/>
                    <a:pt x="47" y="43"/>
                    <a:pt x="53" y="43"/>
                  </a:cubicBezTo>
                  <a:cubicBezTo>
                    <a:pt x="59" y="43"/>
                    <a:pt x="64" y="48"/>
                    <a:pt x="64" y="54"/>
                  </a:cubicBezTo>
                  <a:cubicBezTo>
                    <a:pt x="64" y="60"/>
                    <a:pt x="59" y="64"/>
                    <a:pt x="53" y="64"/>
                  </a:cubicBezTo>
                  <a:cubicBezTo>
                    <a:pt x="47" y="64"/>
                    <a:pt x="42" y="60"/>
                    <a:pt x="42" y="54"/>
                  </a:cubicBezTo>
                  <a:close/>
                  <a:moveTo>
                    <a:pt x="85" y="96"/>
                  </a:moveTo>
                  <a:cubicBezTo>
                    <a:pt x="85" y="90"/>
                    <a:pt x="90" y="86"/>
                    <a:pt x="96" y="86"/>
                  </a:cubicBezTo>
                  <a:cubicBezTo>
                    <a:pt x="102" y="86"/>
                    <a:pt x="106" y="90"/>
                    <a:pt x="106" y="96"/>
                  </a:cubicBezTo>
                  <a:cubicBezTo>
                    <a:pt x="106" y="102"/>
                    <a:pt x="102" y="107"/>
                    <a:pt x="96" y="107"/>
                  </a:cubicBezTo>
                  <a:cubicBezTo>
                    <a:pt x="90" y="107"/>
                    <a:pt x="85" y="102"/>
                    <a:pt x="85" y="96"/>
                  </a:cubicBezTo>
                  <a:close/>
                  <a:moveTo>
                    <a:pt x="85" y="54"/>
                  </a:moveTo>
                  <a:cubicBezTo>
                    <a:pt x="85" y="48"/>
                    <a:pt x="90" y="43"/>
                    <a:pt x="96" y="43"/>
                  </a:cubicBezTo>
                  <a:cubicBezTo>
                    <a:pt x="102" y="43"/>
                    <a:pt x="106" y="48"/>
                    <a:pt x="106" y="54"/>
                  </a:cubicBezTo>
                  <a:cubicBezTo>
                    <a:pt x="106" y="60"/>
                    <a:pt x="102" y="64"/>
                    <a:pt x="96" y="64"/>
                  </a:cubicBezTo>
                  <a:cubicBezTo>
                    <a:pt x="90" y="64"/>
                    <a:pt x="85" y="60"/>
                    <a:pt x="85" y="54"/>
                  </a:cubicBezTo>
                  <a:close/>
                  <a:moveTo>
                    <a:pt x="128" y="96"/>
                  </a:moveTo>
                  <a:cubicBezTo>
                    <a:pt x="128" y="90"/>
                    <a:pt x="132" y="86"/>
                    <a:pt x="138" y="86"/>
                  </a:cubicBezTo>
                  <a:cubicBezTo>
                    <a:pt x="144" y="86"/>
                    <a:pt x="149" y="90"/>
                    <a:pt x="149" y="96"/>
                  </a:cubicBezTo>
                  <a:cubicBezTo>
                    <a:pt x="149" y="102"/>
                    <a:pt x="144" y="107"/>
                    <a:pt x="138" y="107"/>
                  </a:cubicBezTo>
                  <a:cubicBezTo>
                    <a:pt x="132" y="107"/>
                    <a:pt x="128" y="102"/>
                    <a:pt x="128" y="96"/>
                  </a:cubicBezTo>
                  <a:close/>
                  <a:moveTo>
                    <a:pt x="128" y="54"/>
                  </a:moveTo>
                  <a:cubicBezTo>
                    <a:pt x="128" y="48"/>
                    <a:pt x="132" y="43"/>
                    <a:pt x="138" y="43"/>
                  </a:cubicBezTo>
                  <a:cubicBezTo>
                    <a:pt x="144" y="43"/>
                    <a:pt x="149" y="48"/>
                    <a:pt x="149" y="54"/>
                  </a:cubicBezTo>
                  <a:cubicBezTo>
                    <a:pt x="149" y="60"/>
                    <a:pt x="144" y="64"/>
                    <a:pt x="138" y="64"/>
                  </a:cubicBezTo>
                  <a:cubicBezTo>
                    <a:pt x="132" y="64"/>
                    <a:pt x="128" y="60"/>
                    <a:pt x="128" y="54"/>
                  </a:cubicBezTo>
                  <a:close/>
                  <a:moveTo>
                    <a:pt x="170" y="96"/>
                  </a:moveTo>
                  <a:cubicBezTo>
                    <a:pt x="170" y="90"/>
                    <a:pt x="175" y="86"/>
                    <a:pt x="181" y="86"/>
                  </a:cubicBezTo>
                  <a:cubicBezTo>
                    <a:pt x="187" y="86"/>
                    <a:pt x="192" y="90"/>
                    <a:pt x="192" y="96"/>
                  </a:cubicBezTo>
                  <a:cubicBezTo>
                    <a:pt x="192" y="102"/>
                    <a:pt x="187" y="107"/>
                    <a:pt x="181" y="107"/>
                  </a:cubicBezTo>
                  <a:cubicBezTo>
                    <a:pt x="175" y="107"/>
                    <a:pt x="170" y="102"/>
                    <a:pt x="170" y="96"/>
                  </a:cubicBezTo>
                  <a:close/>
                  <a:moveTo>
                    <a:pt x="170" y="54"/>
                  </a:moveTo>
                  <a:cubicBezTo>
                    <a:pt x="170" y="48"/>
                    <a:pt x="175" y="43"/>
                    <a:pt x="181" y="43"/>
                  </a:cubicBezTo>
                  <a:cubicBezTo>
                    <a:pt x="187" y="43"/>
                    <a:pt x="192" y="48"/>
                    <a:pt x="192" y="54"/>
                  </a:cubicBezTo>
                  <a:cubicBezTo>
                    <a:pt x="192" y="60"/>
                    <a:pt x="187" y="64"/>
                    <a:pt x="181" y="64"/>
                  </a:cubicBezTo>
                  <a:cubicBezTo>
                    <a:pt x="175" y="64"/>
                    <a:pt x="170" y="60"/>
                    <a:pt x="170" y="54"/>
                  </a:cubicBezTo>
                  <a:close/>
                  <a:moveTo>
                    <a:pt x="213" y="96"/>
                  </a:moveTo>
                  <a:cubicBezTo>
                    <a:pt x="213" y="90"/>
                    <a:pt x="218" y="86"/>
                    <a:pt x="224" y="86"/>
                  </a:cubicBezTo>
                  <a:cubicBezTo>
                    <a:pt x="230" y="86"/>
                    <a:pt x="234" y="90"/>
                    <a:pt x="234" y="96"/>
                  </a:cubicBezTo>
                  <a:cubicBezTo>
                    <a:pt x="234" y="102"/>
                    <a:pt x="230" y="107"/>
                    <a:pt x="224" y="107"/>
                  </a:cubicBezTo>
                  <a:cubicBezTo>
                    <a:pt x="218" y="107"/>
                    <a:pt x="213" y="102"/>
                    <a:pt x="213" y="96"/>
                  </a:cubicBezTo>
                  <a:close/>
                  <a:moveTo>
                    <a:pt x="213" y="54"/>
                  </a:moveTo>
                  <a:cubicBezTo>
                    <a:pt x="213" y="48"/>
                    <a:pt x="218" y="43"/>
                    <a:pt x="224" y="43"/>
                  </a:cubicBezTo>
                  <a:cubicBezTo>
                    <a:pt x="230" y="43"/>
                    <a:pt x="234" y="48"/>
                    <a:pt x="234" y="54"/>
                  </a:cubicBezTo>
                  <a:cubicBezTo>
                    <a:pt x="234" y="60"/>
                    <a:pt x="230" y="64"/>
                    <a:pt x="224" y="64"/>
                  </a:cubicBezTo>
                  <a:cubicBezTo>
                    <a:pt x="218" y="64"/>
                    <a:pt x="213" y="60"/>
                    <a:pt x="213" y="54"/>
                  </a:cubicBezTo>
                  <a:close/>
                  <a:moveTo>
                    <a:pt x="256" y="96"/>
                  </a:moveTo>
                  <a:cubicBezTo>
                    <a:pt x="256" y="90"/>
                    <a:pt x="260" y="86"/>
                    <a:pt x="266" y="86"/>
                  </a:cubicBezTo>
                  <a:cubicBezTo>
                    <a:pt x="272" y="86"/>
                    <a:pt x="277" y="90"/>
                    <a:pt x="277" y="96"/>
                  </a:cubicBezTo>
                  <a:cubicBezTo>
                    <a:pt x="277" y="102"/>
                    <a:pt x="272" y="107"/>
                    <a:pt x="266" y="107"/>
                  </a:cubicBezTo>
                  <a:cubicBezTo>
                    <a:pt x="260" y="107"/>
                    <a:pt x="256" y="102"/>
                    <a:pt x="256" y="96"/>
                  </a:cubicBezTo>
                  <a:close/>
                  <a:moveTo>
                    <a:pt x="128" y="139"/>
                  </a:moveTo>
                  <a:cubicBezTo>
                    <a:pt x="128" y="133"/>
                    <a:pt x="132" y="128"/>
                    <a:pt x="138" y="128"/>
                  </a:cubicBezTo>
                  <a:cubicBezTo>
                    <a:pt x="144" y="128"/>
                    <a:pt x="149" y="133"/>
                    <a:pt x="149" y="139"/>
                  </a:cubicBezTo>
                  <a:cubicBezTo>
                    <a:pt x="149" y="145"/>
                    <a:pt x="144" y="150"/>
                    <a:pt x="138" y="150"/>
                  </a:cubicBezTo>
                  <a:cubicBezTo>
                    <a:pt x="132" y="150"/>
                    <a:pt x="128" y="145"/>
                    <a:pt x="128" y="139"/>
                  </a:cubicBezTo>
                  <a:close/>
                  <a:moveTo>
                    <a:pt x="170" y="139"/>
                  </a:moveTo>
                  <a:cubicBezTo>
                    <a:pt x="170" y="133"/>
                    <a:pt x="175" y="128"/>
                    <a:pt x="181" y="128"/>
                  </a:cubicBezTo>
                  <a:cubicBezTo>
                    <a:pt x="187" y="128"/>
                    <a:pt x="192" y="133"/>
                    <a:pt x="192" y="139"/>
                  </a:cubicBezTo>
                  <a:cubicBezTo>
                    <a:pt x="192" y="145"/>
                    <a:pt x="187" y="150"/>
                    <a:pt x="181" y="150"/>
                  </a:cubicBezTo>
                  <a:cubicBezTo>
                    <a:pt x="175" y="150"/>
                    <a:pt x="170" y="145"/>
                    <a:pt x="170" y="139"/>
                  </a:cubicBezTo>
                  <a:close/>
                  <a:moveTo>
                    <a:pt x="213" y="139"/>
                  </a:moveTo>
                  <a:cubicBezTo>
                    <a:pt x="213" y="133"/>
                    <a:pt x="218" y="128"/>
                    <a:pt x="224" y="128"/>
                  </a:cubicBezTo>
                  <a:cubicBezTo>
                    <a:pt x="230" y="128"/>
                    <a:pt x="234" y="133"/>
                    <a:pt x="234" y="139"/>
                  </a:cubicBezTo>
                  <a:cubicBezTo>
                    <a:pt x="234" y="145"/>
                    <a:pt x="230" y="150"/>
                    <a:pt x="224" y="150"/>
                  </a:cubicBezTo>
                  <a:cubicBezTo>
                    <a:pt x="218" y="150"/>
                    <a:pt x="213" y="145"/>
                    <a:pt x="213" y="139"/>
                  </a:cubicBezTo>
                  <a:close/>
                  <a:moveTo>
                    <a:pt x="256" y="139"/>
                  </a:moveTo>
                  <a:cubicBezTo>
                    <a:pt x="256" y="133"/>
                    <a:pt x="260" y="128"/>
                    <a:pt x="266" y="128"/>
                  </a:cubicBezTo>
                  <a:cubicBezTo>
                    <a:pt x="272" y="128"/>
                    <a:pt x="277" y="133"/>
                    <a:pt x="277" y="139"/>
                  </a:cubicBezTo>
                  <a:cubicBezTo>
                    <a:pt x="277" y="145"/>
                    <a:pt x="272" y="150"/>
                    <a:pt x="266" y="150"/>
                  </a:cubicBezTo>
                  <a:cubicBezTo>
                    <a:pt x="260" y="150"/>
                    <a:pt x="256" y="145"/>
                    <a:pt x="256" y="139"/>
                  </a:cubicBezTo>
                  <a:close/>
                  <a:moveTo>
                    <a:pt x="128" y="182"/>
                  </a:moveTo>
                  <a:cubicBezTo>
                    <a:pt x="128" y="176"/>
                    <a:pt x="132" y="171"/>
                    <a:pt x="138" y="171"/>
                  </a:cubicBezTo>
                  <a:cubicBezTo>
                    <a:pt x="144" y="171"/>
                    <a:pt x="149" y="176"/>
                    <a:pt x="149" y="182"/>
                  </a:cubicBezTo>
                  <a:cubicBezTo>
                    <a:pt x="149" y="188"/>
                    <a:pt x="144" y="192"/>
                    <a:pt x="138" y="192"/>
                  </a:cubicBezTo>
                  <a:cubicBezTo>
                    <a:pt x="132" y="192"/>
                    <a:pt x="128" y="188"/>
                    <a:pt x="128" y="182"/>
                  </a:cubicBezTo>
                  <a:close/>
                  <a:moveTo>
                    <a:pt x="170" y="182"/>
                  </a:moveTo>
                  <a:cubicBezTo>
                    <a:pt x="170" y="176"/>
                    <a:pt x="175" y="171"/>
                    <a:pt x="181" y="171"/>
                  </a:cubicBezTo>
                  <a:cubicBezTo>
                    <a:pt x="187" y="171"/>
                    <a:pt x="192" y="176"/>
                    <a:pt x="192" y="182"/>
                  </a:cubicBezTo>
                  <a:cubicBezTo>
                    <a:pt x="192" y="188"/>
                    <a:pt x="187" y="192"/>
                    <a:pt x="181" y="192"/>
                  </a:cubicBezTo>
                  <a:cubicBezTo>
                    <a:pt x="175" y="192"/>
                    <a:pt x="170" y="188"/>
                    <a:pt x="170" y="182"/>
                  </a:cubicBezTo>
                  <a:close/>
                  <a:moveTo>
                    <a:pt x="213" y="182"/>
                  </a:moveTo>
                  <a:cubicBezTo>
                    <a:pt x="213" y="176"/>
                    <a:pt x="218" y="171"/>
                    <a:pt x="224" y="171"/>
                  </a:cubicBezTo>
                  <a:cubicBezTo>
                    <a:pt x="230" y="171"/>
                    <a:pt x="234" y="176"/>
                    <a:pt x="234" y="182"/>
                  </a:cubicBezTo>
                  <a:cubicBezTo>
                    <a:pt x="234" y="188"/>
                    <a:pt x="230" y="192"/>
                    <a:pt x="224" y="192"/>
                  </a:cubicBezTo>
                  <a:cubicBezTo>
                    <a:pt x="218" y="192"/>
                    <a:pt x="213" y="188"/>
                    <a:pt x="213" y="182"/>
                  </a:cubicBezTo>
                  <a:close/>
                  <a:moveTo>
                    <a:pt x="256" y="182"/>
                  </a:moveTo>
                  <a:cubicBezTo>
                    <a:pt x="256" y="176"/>
                    <a:pt x="260" y="171"/>
                    <a:pt x="266" y="171"/>
                  </a:cubicBezTo>
                  <a:cubicBezTo>
                    <a:pt x="272" y="171"/>
                    <a:pt x="277" y="176"/>
                    <a:pt x="277" y="182"/>
                  </a:cubicBezTo>
                  <a:cubicBezTo>
                    <a:pt x="277" y="188"/>
                    <a:pt x="272" y="192"/>
                    <a:pt x="266" y="192"/>
                  </a:cubicBezTo>
                  <a:cubicBezTo>
                    <a:pt x="260" y="192"/>
                    <a:pt x="256" y="188"/>
                    <a:pt x="256" y="182"/>
                  </a:cubicBezTo>
                  <a:close/>
                  <a:moveTo>
                    <a:pt x="256" y="54"/>
                  </a:moveTo>
                  <a:cubicBezTo>
                    <a:pt x="256" y="48"/>
                    <a:pt x="260" y="43"/>
                    <a:pt x="266" y="43"/>
                  </a:cubicBezTo>
                  <a:cubicBezTo>
                    <a:pt x="272" y="43"/>
                    <a:pt x="277" y="48"/>
                    <a:pt x="277" y="54"/>
                  </a:cubicBezTo>
                  <a:cubicBezTo>
                    <a:pt x="277" y="60"/>
                    <a:pt x="272" y="64"/>
                    <a:pt x="266" y="64"/>
                  </a:cubicBezTo>
                  <a:cubicBezTo>
                    <a:pt x="260" y="64"/>
                    <a:pt x="256" y="60"/>
                    <a:pt x="256"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2" name="Freeform 14">
            <a:extLst>
              <a:ext uri="{FF2B5EF4-FFF2-40B4-BE49-F238E27FC236}">
                <a16:creationId xmlns:a16="http://schemas.microsoft.com/office/drawing/2014/main" id="{F408A3B9-CC1C-4D24-808F-F0E5AA87AD5D}"/>
              </a:ext>
            </a:extLst>
          </p:cNvPr>
          <p:cNvSpPr>
            <a:spLocks noChangeAspect="1" noEditPoints="1"/>
          </p:cNvSpPr>
          <p:nvPr/>
        </p:nvSpPr>
        <p:spPr bwMode="auto">
          <a:xfrm>
            <a:off x="8307816" y="1700213"/>
            <a:ext cx="369021" cy="369021"/>
          </a:xfrm>
          <a:custGeom>
            <a:avLst/>
            <a:gdLst>
              <a:gd name="T0" fmla="*/ 266 w 512"/>
              <a:gd name="T1" fmla="*/ 138 h 512"/>
              <a:gd name="T2" fmla="*/ 309 w 512"/>
              <a:gd name="T3" fmla="*/ 117 h 512"/>
              <a:gd name="T4" fmla="*/ 373 w 512"/>
              <a:gd name="T5" fmla="*/ 234 h 512"/>
              <a:gd name="T6" fmla="*/ 394 w 512"/>
              <a:gd name="T7" fmla="*/ 352 h 512"/>
              <a:gd name="T8" fmla="*/ 160 w 512"/>
              <a:gd name="T9" fmla="*/ 320 h 512"/>
              <a:gd name="T10" fmla="*/ 138 w 512"/>
              <a:gd name="T11" fmla="*/ 320 h 512"/>
              <a:gd name="T12" fmla="*/ 117 w 512"/>
              <a:gd name="T13" fmla="*/ 352 h 512"/>
              <a:gd name="T14" fmla="*/ 138 w 512"/>
              <a:gd name="T15" fmla="*/ 234 h 512"/>
              <a:gd name="T16" fmla="*/ 149 w 512"/>
              <a:gd name="T17" fmla="*/ 202 h 512"/>
              <a:gd name="T18" fmla="*/ 362 w 512"/>
              <a:gd name="T19" fmla="*/ 224 h 512"/>
              <a:gd name="T20" fmla="*/ 160 w 512"/>
              <a:gd name="T21" fmla="*/ 277 h 512"/>
              <a:gd name="T22" fmla="*/ 138 w 512"/>
              <a:gd name="T23" fmla="*/ 277 h 512"/>
              <a:gd name="T24" fmla="*/ 160 w 512"/>
              <a:gd name="T25" fmla="*/ 277 h 512"/>
              <a:gd name="T26" fmla="*/ 192 w 512"/>
              <a:gd name="T27" fmla="*/ 309 h 512"/>
              <a:gd name="T28" fmla="*/ 192 w 512"/>
              <a:gd name="T29" fmla="*/ 330 h 512"/>
              <a:gd name="T30" fmla="*/ 202 w 512"/>
              <a:gd name="T31" fmla="*/ 277 h 512"/>
              <a:gd name="T32" fmla="*/ 181 w 512"/>
              <a:gd name="T33" fmla="*/ 277 h 512"/>
              <a:gd name="T34" fmla="*/ 202 w 512"/>
              <a:gd name="T35" fmla="*/ 277 h 512"/>
              <a:gd name="T36" fmla="*/ 192 w 512"/>
              <a:gd name="T37" fmla="*/ 224 h 512"/>
              <a:gd name="T38" fmla="*/ 192 w 512"/>
              <a:gd name="T39" fmla="*/ 245 h 512"/>
              <a:gd name="T40" fmla="*/ 245 w 512"/>
              <a:gd name="T41" fmla="*/ 320 h 512"/>
              <a:gd name="T42" fmla="*/ 224 w 512"/>
              <a:gd name="T43" fmla="*/ 320 h 512"/>
              <a:gd name="T44" fmla="*/ 245 w 512"/>
              <a:gd name="T45" fmla="*/ 320 h 512"/>
              <a:gd name="T46" fmla="*/ 234 w 512"/>
              <a:gd name="T47" fmla="*/ 266 h 512"/>
              <a:gd name="T48" fmla="*/ 234 w 512"/>
              <a:gd name="T49" fmla="*/ 288 h 512"/>
              <a:gd name="T50" fmla="*/ 245 w 512"/>
              <a:gd name="T51" fmla="*/ 234 h 512"/>
              <a:gd name="T52" fmla="*/ 224 w 512"/>
              <a:gd name="T53" fmla="*/ 234 h 512"/>
              <a:gd name="T54" fmla="*/ 245 w 512"/>
              <a:gd name="T55" fmla="*/ 234 h 512"/>
              <a:gd name="T56" fmla="*/ 277 w 512"/>
              <a:gd name="T57" fmla="*/ 309 h 512"/>
              <a:gd name="T58" fmla="*/ 277 w 512"/>
              <a:gd name="T59" fmla="*/ 330 h 512"/>
              <a:gd name="T60" fmla="*/ 288 w 512"/>
              <a:gd name="T61" fmla="*/ 277 h 512"/>
              <a:gd name="T62" fmla="*/ 266 w 512"/>
              <a:gd name="T63" fmla="*/ 277 h 512"/>
              <a:gd name="T64" fmla="*/ 288 w 512"/>
              <a:gd name="T65" fmla="*/ 277 h 512"/>
              <a:gd name="T66" fmla="*/ 277 w 512"/>
              <a:gd name="T67" fmla="*/ 224 h 512"/>
              <a:gd name="T68" fmla="*/ 277 w 512"/>
              <a:gd name="T69" fmla="*/ 245 h 512"/>
              <a:gd name="T70" fmla="*/ 330 w 512"/>
              <a:gd name="T71" fmla="*/ 320 h 512"/>
              <a:gd name="T72" fmla="*/ 309 w 512"/>
              <a:gd name="T73" fmla="*/ 320 h 512"/>
              <a:gd name="T74" fmla="*/ 330 w 512"/>
              <a:gd name="T75" fmla="*/ 320 h 512"/>
              <a:gd name="T76" fmla="*/ 320 w 512"/>
              <a:gd name="T77" fmla="*/ 266 h 512"/>
              <a:gd name="T78" fmla="*/ 320 w 512"/>
              <a:gd name="T79" fmla="*/ 288 h 512"/>
              <a:gd name="T80" fmla="*/ 330 w 512"/>
              <a:gd name="T81" fmla="*/ 234 h 512"/>
              <a:gd name="T82" fmla="*/ 309 w 512"/>
              <a:gd name="T83" fmla="*/ 234 h 512"/>
              <a:gd name="T84" fmla="*/ 330 w 512"/>
              <a:gd name="T85" fmla="*/ 234 h 512"/>
              <a:gd name="T86" fmla="*/ 362 w 512"/>
              <a:gd name="T87" fmla="*/ 309 h 512"/>
              <a:gd name="T88" fmla="*/ 362 w 512"/>
              <a:gd name="T89" fmla="*/ 330 h 512"/>
              <a:gd name="T90" fmla="*/ 373 w 512"/>
              <a:gd name="T91" fmla="*/ 277 h 512"/>
              <a:gd name="T92" fmla="*/ 352 w 512"/>
              <a:gd name="T93" fmla="*/ 277 h 512"/>
              <a:gd name="T94" fmla="*/ 373 w 512"/>
              <a:gd name="T95" fmla="*/ 277 h 512"/>
              <a:gd name="T96" fmla="*/ 256 w 512"/>
              <a:gd name="T97" fmla="*/ 512 h 512"/>
              <a:gd name="T98" fmla="*/ 256 w 512"/>
              <a:gd name="T99" fmla="*/ 0 h 512"/>
              <a:gd name="T100" fmla="*/ 416 w 512"/>
              <a:gd name="T101" fmla="*/ 224 h 512"/>
              <a:gd name="T102" fmla="*/ 384 w 512"/>
              <a:gd name="T103" fmla="*/ 213 h 512"/>
              <a:gd name="T104" fmla="*/ 373 w 512"/>
              <a:gd name="T105" fmla="*/ 181 h 512"/>
              <a:gd name="T106" fmla="*/ 266 w 512"/>
              <a:gd name="T107" fmla="*/ 160 h 512"/>
              <a:gd name="T108" fmla="*/ 330 w 512"/>
              <a:gd name="T109" fmla="*/ 149 h 512"/>
              <a:gd name="T110" fmla="*/ 320 w 512"/>
              <a:gd name="T111" fmla="*/ 96 h 512"/>
              <a:gd name="T112" fmla="*/ 245 w 512"/>
              <a:gd name="T113" fmla="*/ 106 h 512"/>
              <a:gd name="T114" fmla="*/ 245 w 512"/>
              <a:gd name="T115" fmla="*/ 181 h 512"/>
              <a:gd name="T116" fmla="*/ 128 w 512"/>
              <a:gd name="T117" fmla="*/ 192 h 512"/>
              <a:gd name="T118" fmla="*/ 106 w 512"/>
              <a:gd name="T119" fmla="*/ 213 h 512"/>
              <a:gd name="T120" fmla="*/ 96 w 512"/>
              <a:gd name="T121" fmla="*/ 362 h 512"/>
              <a:gd name="T122" fmla="*/ 405 w 512"/>
              <a:gd name="T123" fmla="*/ 373 h 512"/>
              <a:gd name="T124" fmla="*/ 416 w 512"/>
              <a:gd name="T12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09" y="138"/>
                </a:moveTo>
                <a:cubicBezTo>
                  <a:pt x="266" y="138"/>
                  <a:pt x="266" y="138"/>
                  <a:pt x="266" y="138"/>
                </a:cubicBezTo>
                <a:cubicBezTo>
                  <a:pt x="266" y="117"/>
                  <a:pt x="266" y="117"/>
                  <a:pt x="266" y="117"/>
                </a:cubicBezTo>
                <a:cubicBezTo>
                  <a:pt x="309" y="117"/>
                  <a:pt x="309" y="117"/>
                  <a:pt x="309" y="117"/>
                </a:cubicBezTo>
                <a:lnTo>
                  <a:pt x="309" y="138"/>
                </a:lnTo>
                <a:close/>
                <a:moveTo>
                  <a:pt x="373" y="234"/>
                </a:moveTo>
                <a:cubicBezTo>
                  <a:pt x="394" y="234"/>
                  <a:pt x="394" y="234"/>
                  <a:pt x="394" y="234"/>
                </a:cubicBezTo>
                <a:cubicBezTo>
                  <a:pt x="394" y="352"/>
                  <a:pt x="394" y="352"/>
                  <a:pt x="394" y="352"/>
                </a:cubicBezTo>
                <a:cubicBezTo>
                  <a:pt x="160" y="352"/>
                  <a:pt x="160" y="352"/>
                  <a:pt x="160" y="352"/>
                </a:cubicBezTo>
                <a:cubicBezTo>
                  <a:pt x="160" y="320"/>
                  <a:pt x="160" y="320"/>
                  <a:pt x="160" y="320"/>
                </a:cubicBezTo>
                <a:cubicBezTo>
                  <a:pt x="160" y="314"/>
                  <a:pt x="155" y="309"/>
                  <a:pt x="149" y="309"/>
                </a:cubicBezTo>
                <a:cubicBezTo>
                  <a:pt x="143" y="309"/>
                  <a:pt x="138" y="314"/>
                  <a:pt x="138" y="320"/>
                </a:cubicBezTo>
                <a:cubicBezTo>
                  <a:pt x="138" y="352"/>
                  <a:pt x="138" y="352"/>
                  <a:pt x="138" y="352"/>
                </a:cubicBezTo>
                <a:cubicBezTo>
                  <a:pt x="117" y="352"/>
                  <a:pt x="117" y="352"/>
                  <a:pt x="117" y="352"/>
                </a:cubicBezTo>
                <a:cubicBezTo>
                  <a:pt x="117" y="234"/>
                  <a:pt x="117" y="234"/>
                  <a:pt x="117" y="234"/>
                </a:cubicBezTo>
                <a:cubicBezTo>
                  <a:pt x="138" y="234"/>
                  <a:pt x="138" y="234"/>
                  <a:pt x="138" y="234"/>
                </a:cubicBezTo>
                <a:cubicBezTo>
                  <a:pt x="144" y="234"/>
                  <a:pt x="149" y="230"/>
                  <a:pt x="149" y="224"/>
                </a:cubicBezTo>
                <a:cubicBezTo>
                  <a:pt x="149" y="202"/>
                  <a:pt x="149" y="202"/>
                  <a:pt x="149" y="202"/>
                </a:cubicBezTo>
                <a:cubicBezTo>
                  <a:pt x="362" y="202"/>
                  <a:pt x="362" y="202"/>
                  <a:pt x="362" y="202"/>
                </a:cubicBezTo>
                <a:cubicBezTo>
                  <a:pt x="362" y="224"/>
                  <a:pt x="362" y="224"/>
                  <a:pt x="362" y="224"/>
                </a:cubicBezTo>
                <a:cubicBezTo>
                  <a:pt x="362" y="230"/>
                  <a:pt x="367" y="234"/>
                  <a:pt x="373" y="234"/>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73" y="320"/>
                </a:moveTo>
                <a:cubicBezTo>
                  <a:pt x="373" y="314"/>
                  <a:pt x="368" y="309"/>
                  <a:pt x="362" y="309"/>
                </a:cubicBezTo>
                <a:cubicBezTo>
                  <a:pt x="356" y="309"/>
                  <a:pt x="352" y="314"/>
                  <a:pt x="352" y="320"/>
                </a:cubicBezTo>
                <a:cubicBezTo>
                  <a:pt x="352" y="326"/>
                  <a:pt x="356" y="330"/>
                  <a:pt x="362" y="330"/>
                </a:cubicBezTo>
                <a:cubicBezTo>
                  <a:pt x="368" y="330"/>
                  <a:pt x="373" y="326"/>
                  <a:pt x="373" y="320"/>
                </a:cubicBezTo>
                <a:close/>
                <a:moveTo>
                  <a:pt x="373" y="277"/>
                </a:moveTo>
                <a:cubicBezTo>
                  <a:pt x="373" y="271"/>
                  <a:pt x="368" y="266"/>
                  <a:pt x="362" y="266"/>
                </a:cubicBezTo>
                <a:cubicBezTo>
                  <a:pt x="356" y="266"/>
                  <a:pt x="352" y="271"/>
                  <a:pt x="352" y="277"/>
                </a:cubicBezTo>
                <a:cubicBezTo>
                  <a:pt x="352" y="283"/>
                  <a:pt x="356" y="288"/>
                  <a:pt x="362" y="288"/>
                </a:cubicBezTo>
                <a:cubicBezTo>
                  <a:pt x="368" y="288"/>
                  <a:pt x="373" y="283"/>
                  <a:pt x="373"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84" y="213"/>
                  <a:pt x="384" y="213"/>
                  <a:pt x="384" y="213"/>
                </a:cubicBezTo>
                <a:cubicBezTo>
                  <a:pt x="384" y="192"/>
                  <a:pt x="384" y="192"/>
                  <a:pt x="384" y="192"/>
                </a:cubicBezTo>
                <a:cubicBezTo>
                  <a:pt x="384" y="186"/>
                  <a:pt x="379" y="181"/>
                  <a:pt x="373" y="181"/>
                </a:cubicBezTo>
                <a:cubicBezTo>
                  <a:pt x="266" y="181"/>
                  <a:pt x="266" y="181"/>
                  <a:pt x="266" y="181"/>
                </a:cubicBezTo>
                <a:cubicBezTo>
                  <a:pt x="266" y="160"/>
                  <a:pt x="266" y="160"/>
                  <a:pt x="266" y="160"/>
                </a:cubicBezTo>
                <a:cubicBezTo>
                  <a:pt x="320" y="160"/>
                  <a:pt x="320" y="160"/>
                  <a:pt x="320" y="160"/>
                </a:cubicBezTo>
                <a:cubicBezTo>
                  <a:pt x="326" y="160"/>
                  <a:pt x="330" y="155"/>
                  <a:pt x="330" y="149"/>
                </a:cubicBezTo>
                <a:cubicBezTo>
                  <a:pt x="330" y="106"/>
                  <a:pt x="330" y="106"/>
                  <a:pt x="330" y="106"/>
                </a:cubicBezTo>
                <a:cubicBezTo>
                  <a:pt x="330" y="100"/>
                  <a:pt x="326" y="96"/>
                  <a:pt x="320" y="96"/>
                </a:cubicBezTo>
                <a:cubicBezTo>
                  <a:pt x="256" y="96"/>
                  <a:pt x="256" y="96"/>
                  <a:pt x="256" y="96"/>
                </a:cubicBezTo>
                <a:cubicBezTo>
                  <a:pt x="250" y="96"/>
                  <a:pt x="245" y="100"/>
                  <a:pt x="245" y="106"/>
                </a:cubicBezTo>
                <a:cubicBezTo>
                  <a:pt x="245" y="149"/>
                  <a:pt x="245" y="149"/>
                  <a:pt x="245" y="149"/>
                </a:cubicBezTo>
                <a:cubicBezTo>
                  <a:pt x="245" y="181"/>
                  <a:pt x="245" y="181"/>
                  <a:pt x="245" y="181"/>
                </a:cubicBezTo>
                <a:cubicBezTo>
                  <a:pt x="138" y="181"/>
                  <a:pt x="138" y="181"/>
                  <a:pt x="138" y="181"/>
                </a:cubicBezTo>
                <a:cubicBezTo>
                  <a:pt x="132" y="181"/>
                  <a:pt x="128" y="186"/>
                  <a:pt x="128" y="192"/>
                </a:cubicBezTo>
                <a:cubicBezTo>
                  <a:pt x="128" y="213"/>
                  <a:pt x="128" y="213"/>
                  <a:pt x="128" y="213"/>
                </a:cubicBezTo>
                <a:cubicBezTo>
                  <a:pt x="106" y="213"/>
                  <a:pt x="106" y="213"/>
                  <a:pt x="106" y="213"/>
                </a:cubicBezTo>
                <a:cubicBezTo>
                  <a:pt x="100" y="213"/>
                  <a:pt x="96" y="218"/>
                  <a:pt x="96" y="224"/>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2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3" name="Group 17">
            <a:extLst>
              <a:ext uri="{FF2B5EF4-FFF2-40B4-BE49-F238E27FC236}">
                <a16:creationId xmlns:a16="http://schemas.microsoft.com/office/drawing/2014/main" id="{D4A0D900-4C10-4084-B507-82C578602C1E}"/>
              </a:ext>
            </a:extLst>
          </p:cNvPr>
          <p:cNvGrpSpPr>
            <a:grpSpLocks noChangeAspect="1"/>
          </p:cNvGrpSpPr>
          <p:nvPr/>
        </p:nvGrpSpPr>
        <p:grpSpPr bwMode="auto">
          <a:xfrm>
            <a:off x="8743358" y="1700213"/>
            <a:ext cx="369021" cy="369021"/>
            <a:chOff x="1240" y="-1"/>
            <a:chExt cx="340" cy="340"/>
          </a:xfrm>
          <a:solidFill>
            <a:schemeClr val="accent1"/>
          </a:solidFill>
        </p:grpSpPr>
        <p:sp>
          <p:nvSpPr>
            <p:cNvPr id="104" name="Freeform 18">
              <a:extLst>
                <a:ext uri="{FF2B5EF4-FFF2-40B4-BE49-F238E27FC236}">
                  <a16:creationId xmlns:a16="http://schemas.microsoft.com/office/drawing/2014/main" id="{8543069E-180F-489E-8644-3F0E5CA63A74}"/>
                </a:ext>
              </a:extLst>
            </p:cNvPr>
            <p:cNvSpPr>
              <a:spLocks noEditPoints="1"/>
            </p:cNvSpPr>
            <p:nvPr/>
          </p:nvSpPr>
          <p:spPr bwMode="auto">
            <a:xfrm>
              <a:off x="1240" y="-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5" name="Freeform 19">
              <a:extLst>
                <a:ext uri="{FF2B5EF4-FFF2-40B4-BE49-F238E27FC236}">
                  <a16:creationId xmlns:a16="http://schemas.microsoft.com/office/drawing/2014/main" id="{CCD2F75B-FBC0-491B-B729-DC3035B94A20}"/>
                </a:ext>
              </a:extLst>
            </p:cNvPr>
            <p:cNvSpPr>
              <a:spLocks noEditPoints="1"/>
            </p:cNvSpPr>
            <p:nvPr/>
          </p:nvSpPr>
          <p:spPr bwMode="auto">
            <a:xfrm>
              <a:off x="1304" y="63"/>
              <a:ext cx="212" cy="184"/>
            </a:xfrm>
            <a:custGeom>
              <a:avLst/>
              <a:gdLst>
                <a:gd name="T0" fmla="*/ 288 w 320"/>
                <a:gd name="T1" fmla="*/ 117 h 277"/>
                <a:gd name="T2" fmla="*/ 277 w 320"/>
                <a:gd name="T3" fmla="*/ 85 h 277"/>
                <a:gd name="T4" fmla="*/ 170 w 320"/>
                <a:gd name="T5" fmla="*/ 64 h 277"/>
                <a:gd name="T6" fmla="*/ 234 w 320"/>
                <a:gd name="T7" fmla="*/ 53 h 277"/>
                <a:gd name="T8" fmla="*/ 224 w 320"/>
                <a:gd name="T9" fmla="*/ 0 h 277"/>
                <a:gd name="T10" fmla="*/ 149 w 320"/>
                <a:gd name="T11" fmla="*/ 10 h 277"/>
                <a:gd name="T12" fmla="*/ 149 w 320"/>
                <a:gd name="T13" fmla="*/ 85 h 277"/>
                <a:gd name="T14" fmla="*/ 32 w 320"/>
                <a:gd name="T15" fmla="*/ 96 h 277"/>
                <a:gd name="T16" fmla="*/ 10 w 320"/>
                <a:gd name="T17" fmla="*/ 117 h 277"/>
                <a:gd name="T18" fmla="*/ 0 w 320"/>
                <a:gd name="T19" fmla="*/ 266 h 277"/>
                <a:gd name="T20" fmla="*/ 309 w 320"/>
                <a:gd name="T21" fmla="*/ 277 h 277"/>
                <a:gd name="T22" fmla="*/ 320 w 320"/>
                <a:gd name="T23" fmla="*/ 128 h 277"/>
                <a:gd name="T24" fmla="*/ 170 w 320"/>
                <a:gd name="T25" fmla="*/ 21 h 277"/>
                <a:gd name="T26" fmla="*/ 213 w 320"/>
                <a:gd name="T27" fmla="*/ 42 h 277"/>
                <a:gd name="T28" fmla="*/ 170 w 320"/>
                <a:gd name="T29" fmla="*/ 21 h 277"/>
                <a:gd name="T30" fmla="*/ 64 w 320"/>
                <a:gd name="T31" fmla="*/ 256 h 277"/>
                <a:gd name="T32" fmla="*/ 53 w 320"/>
                <a:gd name="T33" fmla="*/ 213 h 277"/>
                <a:gd name="T34" fmla="*/ 42 w 320"/>
                <a:gd name="T35" fmla="*/ 256 h 277"/>
                <a:gd name="T36" fmla="*/ 21 w 320"/>
                <a:gd name="T37" fmla="*/ 138 h 277"/>
                <a:gd name="T38" fmla="*/ 53 w 320"/>
                <a:gd name="T39" fmla="*/ 128 h 277"/>
                <a:gd name="T40" fmla="*/ 266 w 320"/>
                <a:gd name="T41" fmla="*/ 106 h 277"/>
                <a:gd name="T42" fmla="*/ 277 w 320"/>
                <a:gd name="T43" fmla="*/ 138 h 277"/>
                <a:gd name="T44" fmla="*/ 298 w 320"/>
                <a:gd name="T45" fmla="*/ 256 h 277"/>
                <a:gd name="T46" fmla="*/ 53 w 320"/>
                <a:gd name="T47" fmla="*/ 192 h 277"/>
                <a:gd name="T48" fmla="*/ 53 w 320"/>
                <a:gd name="T49" fmla="*/ 170 h 277"/>
                <a:gd name="T50" fmla="*/ 106 w 320"/>
                <a:gd name="T51" fmla="*/ 181 h 277"/>
                <a:gd name="T52" fmla="*/ 85 w 320"/>
                <a:gd name="T53" fmla="*/ 181 h 277"/>
                <a:gd name="T54" fmla="*/ 106 w 320"/>
                <a:gd name="T55" fmla="*/ 181 h 277"/>
                <a:gd name="T56" fmla="*/ 138 w 320"/>
                <a:gd name="T57" fmla="*/ 192 h 277"/>
                <a:gd name="T58" fmla="*/ 138 w 320"/>
                <a:gd name="T59" fmla="*/ 170 h 277"/>
                <a:gd name="T60" fmla="*/ 192 w 320"/>
                <a:gd name="T61" fmla="*/ 181 h 277"/>
                <a:gd name="T62" fmla="*/ 170 w 320"/>
                <a:gd name="T63" fmla="*/ 181 h 277"/>
                <a:gd name="T64" fmla="*/ 192 w 320"/>
                <a:gd name="T65" fmla="*/ 181 h 277"/>
                <a:gd name="T66" fmla="*/ 224 w 320"/>
                <a:gd name="T67" fmla="*/ 192 h 277"/>
                <a:gd name="T68" fmla="*/ 224 w 320"/>
                <a:gd name="T69" fmla="*/ 170 h 277"/>
                <a:gd name="T70" fmla="*/ 106 w 320"/>
                <a:gd name="T71" fmla="*/ 138 h 277"/>
                <a:gd name="T72" fmla="*/ 85 w 320"/>
                <a:gd name="T73" fmla="*/ 138 h 277"/>
                <a:gd name="T74" fmla="*/ 106 w 320"/>
                <a:gd name="T75" fmla="*/ 138 h 277"/>
                <a:gd name="T76" fmla="*/ 138 w 320"/>
                <a:gd name="T77" fmla="*/ 149 h 277"/>
                <a:gd name="T78" fmla="*/ 138 w 320"/>
                <a:gd name="T79" fmla="*/ 128 h 277"/>
                <a:gd name="T80" fmla="*/ 192 w 320"/>
                <a:gd name="T81" fmla="*/ 138 h 277"/>
                <a:gd name="T82" fmla="*/ 170 w 320"/>
                <a:gd name="T83" fmla="*/ 138 h 277"/>
                <a:gd name="T84" fmla="*/ 192 w 320"/>
                <a:gd name="T85" fmla="*/ 138 h 277"/>
                <a:gd name="T86" fmla="*/ 224 w 320"/>
                <a:gd name="T87" fmla="*/ 149 h 277"/>
                <a:gd name="T88" fmla="*/ 224 w 320"/>
                <a:gd name="T89" fmla="*/ 128 h 277"/>
                <a:gd name="T90" fmla="*/ 277 w 320"/>
                <a:gd name="T91" fmla="*/ 181 h 277"/>
                <a:gd name="T92" fmla="*/ 256 w 320"/>
                <a:gd name="T93" fmla="*/ 181 h 277"/>
                <a:gd name="T94" fmla="*/ 277 w 320"/>
                <a:gd name="T95" fmla="*/ 181 h 277"/>
                <a:gd name="T96" fmla="*/ 96 w 320"/>
                <a:gd name="T97" fmla="*/ 234 h 277"/>
                <a:gd name="T98" fmla="*/ 96 w 320"/>
                <a:gd name="T99" fmla="*/ 213 h 277"/>
                <a:gd name="T100" fmla="*/ 149 w 320"/>
                <a:gd name="T101" fmla="*/ 224 h 277"/>
                <a:gd name="T102" fmla="*/ 128 w 320"/>
                <a:gd name="T103" fmla="*/ 224 h 277"/>
                <a:gd name="T104" fmla="*/ 149 w 320"/>
                <a:gd name="T105" fmla="*/ 224 h 277"/>
                <a:gd name="T106" fmla="*/ 181 w 320"/>
                <a:gd name="T107" fmla="*/ 234 h 277"/>
                <a:gd name="T108" fmla="*/ 181 w 320"/>
                <a:gd name="T109" fmla="*/ 213 h 277"/>
                <a:gd name="T110" fmla="*/ 234 w 320"/>
                <a:gd name="T111" fmla="*/ 224 h 277"/>
                <a:gd name="T112" fmla="*/ 213 w 320"/>
                <a:gd name="T113" fmla="*/ 224 h 277"/>
                <a:gd name="T114" fmla="*/ 234 w 320"/>
                <a:gd name="T115" fmla="*/ 224 h 277"/>
                <a:gd name="T116" fmla="*/ 266 w 320"/>
                <a:gd name="T117" fmla="*/ 234 h 277"/>
                <a:gd name="T118" fmla="*/ 266 w 320"/>
                <a:gd name="T119"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77">
                  <a:moveTo>
                    <a:pt x="309" y="117"/>
                  </a:moveTo>
                  <a:cubicBezTo>
                    <a:pt x="288" y="117"/>
                    <a:pt x="288" y="117"/>
                    <a:pt x="288" y="117"/>
                  </a:cubicBezTo>
                  <a:cubicBezTo>
                    <a:pt x="288" y="96"/>
                    <a:pt x="288" y="96"/>
                    <a:pt x="288" y="96"/>
                  </a:cubicBezTo>
                  <a:cubicBezTo>
                    <a:pt x="288" y="90"/>
                    <a:pt x="283" y="85"/>
                    <a:pt x="277" y="85"/>
                  </a:cubicBezTo>
                  <a:cubicBezTo>
                    <a:pt x="170" y="85"/>
                    <a:pt x="170" y="85"/>
                    <a:pt x="170" y="85"/>
                  </a:cubicBezTo>
                  <a:cubicBezTo>
                    <a:pt x="170" y="64"/>
                    <a:pt x="170" y="64"/>
                    <a:pt x="170" y="64"/>
                  </a:cubicBezTo>
                  <a:cubicBezTo>
                    <a:pt x="224" y="64"/>
                    <a:pt x="224" y="64"/>
                    <a:pt x="224" y="64"/>
                  </a:cubicBezTo>
                  <a:cubicBezTo>
                    <a:pt x="230" y="64"/>
                    <a:pt x="234" y="59"/>
                    <a:pt x="234" y="53"/>
                  </a:cubicBezTo>
                  <a:cubicBezTo>
                    <a:pt x="234" y="10"/>
                    <a:pt x="234" y="10"/>
                    <a:pt x="234" y="10"/>
                  </a:cubicBezTo>
                  <a:cubicBezTo>
                    <a:pt x="234" y="4"/>
                    <a:pt x="230" y="0"/>
                    <a:pt x="224" y="0"/>
                  </a:cubicBezTo>
                  <a:cubicBezTo>
                    <a:pt x="160" y="0"/>
                    <a:pt x="160" y="0"/>
                    <a:pt x="160" y="0"/>
                  </a:cubicBezTo>
                  <a:cubicBezTo>
                    <a:pt x="154" y="0"/>
                    <a:pt x="149" y="4"/>
                    <a:pt x="149" y="10"/>
                  </a:cubicBezTo>
                  <a:cubicBezTo>
                    <a:pt x="149" y="53"/>
                    <a:pt x="149" y="53"/>
                    <a:pt x="149" y="53"/>
                  </a:cubicBezTo>
                  <a:cubicBezTo>
                    <a:pt x="149" y="85"/>
                    <a:pt x="149" y="85"/>
                    <a:pt x="149" y="85"/>
                  </a:cubicBezTo>
                  <a:cubicBezTo>
                    <a:pt x="42" y="85"/>
                    <a:pt x="42" y="85"/>
                    <a:pt x="42" y="85"/>
                  </a:cubicBezTo>
                  <a:cubicBezTo>
                    <a:pt x="36" y="85"/>
                    <a:pt x="32" y="90"/>
                    <a:pt x="32" y="96"/>
                  </a:cubicBezTo>
                  <a:cubicBezTo>
                    <a:pt x="32" y="117"/>
                    <a:pt x="32" y="117"/>
                    <a:pt x="32" y="117"/>
                  </a:cubicBezTo>
                  <a:cubicBezTo>
                    <a:pt x="10" y="117"/>
                    <a:pt x="10" y="117"/>
                    <a:pt x="10" y="117"/>
                  </a:cubicBezTo>
                  <a:cubicBezTo>
                    <a:pt x="4" y="117"/>
                    <a:pt x="0" y="122"/>
                    <a:pt x="0" y="128"/>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128"/>
                    <a:pt x="320" y="128"/>
                    <a:pt x="320" y="128"/>
                  </a:cubicBezTo>
                  <a:cubicBezTo>
                    <a:pt x="320" y="122"/>
                    <a:pt x="315" y="117"/>
                    <a:pt x="309" y="117"/>
                  </a:cubicBezTo>
                  <a:close/>
                  <a:moveTo>
                    <a:pt x="170" y="21"/>
                  </a:moveTo>
                  <a:cubicBezTo>
                    <a:pt x="213" y="21"/>
                    <a:pt x="213" y="21"/>
                    <a:pt x="213" y="21"/>
                  </a:cubicBezTo>
                  <a:cubicBezTo>
                    <a:pt x="213" y="42"/>
                    <a:pt x="213" y="42"/>
                    <a:pt x="213" y="42"/>
                  </a:cubicBezTo>
                  <a:cubicBezTo>
                    <a:pt x="170" y="42"/>
                    <a:pt x="170" y="42"/>
                    <a:pt x="170" y="42"/>
                  </a:cubicBezTo>
                  <a:lnTo>
                    <a:pt x="170" y="21"/>
                  </a:lnTo>
                  <a:close/>
                  <a:moveTo>
                    <a:pt x="298" y="256"/>
                  </a:moveTo>
                  <a:cubicBezTo>
                    <a:pt x="64" y="256"/>
                    <a:pt x="64" y="256"/>
                    <a:pt x="64" y="256"/>
                  </a:cubicBezTo>
                  <a:cubicBezTo>
                    <a:pt x="64" y="224"/>
                    <a:pt x="64" y="224"/>
                    <a:pt x="64" y="224"/>
                  </a:cubicBezTo>
                  <a:cubicBezTo>
                    <a:pt x="64" y="218"/>
                    <a:pt x="59" y="213"/>
                    <a:pt x="53" y="213"/>
                  </a:cubicBezTo>
                  <a:cubicBezTo>
                    <a:pt x="47" y="213"/>
                    <a:pt x="42" y="218"/>
                    <a:pt x="42" y="224"/>
                  </a:cubicBezTo>
                  <a:cubicBezTo>
                    <a:pt x="42" y="256"/>
                    <a:pt x="42" y="256"/>
                    <a:pt x="42" y="256"/>
                  </a:cubicBezTo>
                  <a:cubicBezTo>
                    <a:pt x="21" y="256"/>
                    <a:pt x="21" y="256"/>
                    <a:pt x="21" y="256"/>
                  </a:cubicBezTo>
                  <a:cubicBezTo>
                    <a:pt x="21" y="138"/>
                    <a:pt x="21" y="138"/>
                    <a:pt x="21" y="138"/>
                  </a:cubicBezTo>
                  <a:cubicBezTo>
                    <a:pt x="42" y="138"/>
                    <a:pt x="42" y="138"/>
                    <a:pt x="42" y="138"/>
                  </a:cubicBezTo>
                  <a:cubicBezTo>
                    <a:pt x="48" y="138"/>
                    <a:pt x="53" y="134"/>
                    <a:pt x="53" y="128"/>
                  </a:cubicBezTo>
                  <a:cubicBezTo>
                    <a:pt x="53" y="106"/>
                    <a:pt x="53" y="106"/>
                    <a:pt x="53" y="106"/>
                  </a:cubicBezTo>
                  <a:cubicBezTo>
                    <a:pt x="266" y="106"/>
                    <a:pt x="266" y="106"/>
                    <a:pt x="266" y="106"/>
                  </a:cubicBezTo>
                  <a:cubicBezTo>
                    <a:pt x="266" y="128"/>
                    <a:pt x="266" y="128"/>
                    <a:pt x="266" y="128"/>
                  </a:cubicBezTo>
                  <a:cubicBezTo>
                    <a:pt x="266" y="134"/>
                    <a:pt x="271" y="138"/>
                    <a:pt x="277" y="138"/>
                  </a:cubicBezTo>
                  <a:cubicBezTo>
                    <a:pt x="298" y="138"/>
                    <a:pt x="298" y="138"/>
                    <a:pt x="298" y="138"/>
                  </a:cubicBezTo>
                  <a:lnTo>
                    <a:pt x="298" y="256"/>
                  </a:lnTo>
                  <a:close/>
                  <a:moveTo>
                    <a:pt x="64" y="181"/>
                  </a:moveTo>
                  <a:cubicBezTo>
                    <a:pt x="64" y="187"/>
                    <a:pt x="59" y="192"/>
                    <a:pt x="53" y="192"/>
                  </a:cubicBezTo>
                  <a:cubicBezTo>
                    <a:pt x="47" y="192"/>
                    <a:pt x="42" y="187"/>
                    <a:pt x="42" y="181"/>
                  </a:cubicBezTo>
                  <a:cubicBezTo>
                    <a:pt x="42" y="175"/>
                    <a:pt x="47" y="170"/>
                    <a:pt x="53" y="170"/>
                  </a:cubicBezTo>
                  <a:cubicBezTo>
                    <a:pt x="59" y="170"/>
                    <a:pt x="64" y="175"/>
                    <a:pt x="64" y="181"/>
                  </a:cubicBezTo>
                  <a:close/>
                  <a:moveTo>
                    <a:pt x="106" y="181"/>
                  </a:moveTo>
                  <a:cubicBezTo>
                    <a:pt x="106" y="187"/>
                    <a:pt x="102" y="192"/>
                    <a:pt x="96" y="192"/>
                  </a:cubicBezTo>
                  <a:cubicBezTo>
                    <a:pt x="90" y="192"/>
                    <a:pt x="85" y="187"/>
                    <a:pt x="85" y="181"/>
                  </a:cubicBezTo>
                  <a:cubicBezTo>
                    <a:pt x="85" y="175"/>
                    <a:pt x="90" y="170"/>
                    <a:pt x="96" y="170"/>
                  </a:cubicBezTo>
                  <a:cubicBezTo>
                    <a:pt x="102" y="170"/>
                    <a:pt x="106" y="175"/>
                    <a:pt x="106" y="181"/>
                  </a:cubicBezTo>
                  <a:close/>
                  <a:moveTo>
                    <a:pt x="149" y="181"/>
                  </a:moveTo>
                  <a:cubicBezTo>
                    <a:pt x="149" y="187"/>
                    <a:pt x="144" y="192"/>
                    <a:pt x="138" y="192"/>
                  </a:cubicBezTo>
                  <a:cubicBezTo>
                    <a:pt x="132" y="192"/>
                    <a:pt x="128" y="187"/>
                    <a:pt x="128" y="181"/>
                  </a:cubicBezTo>
                  <a:cubicBezTo>
                    <a:pt x="128" y="175"/>
                    <a:pt x="132" y="170"/>
                    <a:pt x="138" y="170"/>
                  </a:cubicBezTo>
                  <a:cubicBezTo>
                    <a:pt x="144" y="170"/>
                    <a:pt x="149" y="175"/>
                    <a:pt x="149" y="181"/>
                  </a:cubicBezTo>
                  <a:close/>
                  <a:moveTo>
                    <a:pt x="192" y="181"/>
                  </a:moveTo>
                  <a:cubicBezTo>
                    <a:pt x="192" y="187"/>
                    <a:pt x="187" y="192"/>
                    <a:pt x="181" y="192"/>
                  </a:cubicBezTo>
                  <a:cubicBezTo>
                    <a:pt x="175" y="192"/>
                    <a:pt x="170" y="187"/>
                    <a:pt x="170" y="181"/>
                  </a:cubicBezTo>
                  <a:cubicBezTo>
                    <a:pt x="170" y="175"/>
                    <a:pt x="175" y="170"/>
                    <a:pt x="181" y="170"/>
                  </a:cubicBezTo>
                  <a:cubicBezTo>
                    <a:pt x="187" y="170"/>
                    <a:pt x="192" y="175"/>
                    <a:pt x="192" y="181"/>
                  </a:cubicBezTo>
                  <a:close/>
                  <a:moveTo>
                    <a:pt x="234" y="181"/>
                  </a:moveTo>
                  <a:cubicBezTo>
                    <a:pt x="234" y="187"/>
                    <a:pt x="230" y="192"/>
                    <a:pt x="224" y="192"/>
                  </a:cubicBezTo>
                  <a:cubicBezTo>
                    <a:pt x="218" y="192"/>
                    <a:pt x="213" y="187"/>
                    <a:pt x="213" y="181"/>
                  </a:cubicBezTo>
                  <a:cubicBezTo>
                    <a:pt x="213" y="175"/>
                    <a:pt x="218" y="170"/>
                    <a:pt x="224" y="170"/>
                  </a:cubicBezTo>
                  <a:cubicBezTo>
                    <a:pt x="230" y="170"/>
                    <a:pt x="234" y="175"/>
                    <a:pt x="234" y="181"/>
                  </a:cubicBezTo>
                  <a:close/>
                  <a:moveTo>
                    <a:pt x="106" y="138"/>
                  </a:moveTo>
                  <a:cubicBezTo>
                    <a:pt x="106" y="144"/>
                    <a:pt x="102" y="149"/>
                    <a:pt x="96" y="149"/>
                  </a:cubicBezTo>
                  <a:cubicBezTo>
                    <a:pt x="90" y="149"/>
                    <a:pt x="85" y="144"/>
                    <a:pt x="85" y="138"/>
                  </a:cubicBezTo>
                  <a:cubicBezTo>
                    <a:pt x="85" y="132"/>
                    <a:pt x="90" y="128"/>
                    <a:pt x="96" y="128"/>
                  </a:cubicBezTo>
                  <a:cubicBezTo>
                    <a:pt x="102" y="128"/>
                    <a:pt x="106" y="132"/>
                    <a:pt x="106" y="138"/>
                  </a:cubicBezTo>
                  <a:close/>
                  <a:moveTo>
                    <a:pt x="149" y="138"/>
                  </a:moveTo>
                  <a:cubicBezTo>
                    <a:pt x="149" y="144"/>
                    <a:pt x="144" y="149"/>
                    <a:pt x="138" y="149"/>
                  </a:cubicBezTo>
                  <a:cubicBezTo>
                    <a:pt x="132" y="149"/>
                    <a:pt x="128" y="144"/>
                    <a:pt x="128" y="138"/>
                  </a:cubicBezTo>
                  <a:cubicBezTo>
                    <a:pt x="128" y="132"/>
                    <a:pt x="132" y="128"/>
                    <a:pt x="138" y="128"/>
                  </a:cubicBezTo>
                  <a:cubicBezTo>
                    <a:pt x="144" y="128"/>
                    <a:pt x="149" y="132"/>
                    <a:pt x="149" y="138"/>
                  </a:cubicBezTo>
                  <a:close/>
                  <a:moveTo>
                    <a:pt x="192" y="138"/>
                  </a:moveTo>
                  <a:cubicBezTo>
                    <a:pt x="192" y="144"/>
                    <a:pt x="187" y="149"/>
                    <a:pt x="181" y="149"/>
                  </a:cubicBezTo>
                  <a:cubicBezTo>
                    <a:pt x="175" y="149"/>
                    <a:pt x="170" y="144"/>
                    <a:pt x="170" y="138"/>
                  </a:cubicBezTo>
                  <a:cubicBezTo>
                    <a:pt x="170" y="132"/>
                    <a:pt x="175" y="128"/>
                    <a:pt x="181" y="128"/>
                  </a:cubicBezTo>
                  <a:cubicBezTo>
                    <a:pt x="187" y="128"/>
                    <a:pt x="192" y="132"/>
                    <a:pt x="192" y="138"/>
                  </a:cubicBezTo>
                  <a:close/>
                  <a:moveTo>
                    <a:pt x="234" y="138"/>
                  </a:moveTo>
                  <a:cubicBezTo>
                    <a:pt x="234" y="144"/>
                    <a:pt x="230" y="149"/>
                    <a:pt x="224" y="149"/>
                  </a:cubicBezTo>
                  <a:cubicBezTo>
                    <a:pt x="218" y="149"/>
                    <a:pt x="213" y="144"/>
                    <a:pt x="213" y="138"/>
                  </a:cubicBezTo>
                  <a:cubicBezTo>
                    <a:pt x="213" y="132"/>
                    <a:pt x="218" y="128"/>
                    <a:pt x="224" y="128"/>
                  </a:cubicBezTo>
                  <a:cubicBezTo>
                    <a:pt x="230" y="128"/>
                    <a:pt x="234" y="132"/>
                    <a:pt x="234" y="138"/>
                  </a:cubicBezTo>
                  <a:close/>
                  <a:moveTo>
                    <a:pt x="277" y="181"/>
                  </a:moveTo>
                  <a:cubicBezTo>
                    <a:pt x="277" y="187"/>
                    <a:pt x="272" y="192"/>
                    <a:pt x="266" y="192"/>
                  </a:cubicBezTo>
                  <a:cubicBezTo>
                    <a:pt x="260" y="192"/>
                    <a:pt x="256" y="187"/>
                    <a:pt x="256" y="181"/>
                  </a:cubicBezTo>
                  <a:cubicBezTo>
                    <a:pt x="256" y="175"/>
                    <a:pt x="260" y="170"/>
                    <a:pt x="266" y="170"/>
                  </a:cubicBezTo>
                  <a:cubicBezTo>
                    <a:pt x="272" y="170"/>
                    <a:pt x="277" y="175"/>
                    <a:pt x="277" y="181"/>
                  </a:cubicBezTo>
                  <a:close/>
                  <a:moveTo>
                    <a:pt x="106" y="224"/>
                  </a:moveTo>
                  <a:cubicBezTo>
                    <a:pt x="106" y="230"/>
                    <a:pt x="102" y="234"/>
                    <a:pt x="96" y="234"/>
                  </a:cubicBezTo>
                  <a:cubicBezTo>
                    <a:pt x="90" y="234"/>
                    <a:pt x="85" y="230"/>
                    <a:pt x="85" y="224"/>
                  </a:cubicBezTo>
                  <a:cubicBezTo>
                    <a:pt x="85" y="218"/>
                    <a:pt x="90" y="213"/>
                    <a:pt x="96" y="213"/>
                  </a:cubicBezTo>
                  <a:cubicBezTo>
                    <a:pt x="102" y="213"/>
                    <a:pt x="106" y="218"/>
                    <a:pt x="106" y="224"/>
                  </a:cubicBezTo>
                  <a:close/>
                  <a:moveTo>
                    <a:pt x="149" y="224"/>
                  </a:moveTo>
                  <a:cubicBezTo>
                    <a:pt x="149" y="230"/>
                    <a:pt x="144" y="234"/>
                    <a:pt x="138" y="234"/>
                  </a:cubicBezTo>
                  <a:cubicBezTo>
                    <a:pt x="132" y="234"/>
                    <a:pt x="128" y="230"/>
                    <a:pt x="128" y="224"/>
                  </a:cubicBezTo>
                  <a:cubicBezTo>
                    <a:pt x="128" y="218"/>
                    <a:pt x="132" y="213"/>
                    <a:pt x="138" y="213"/>
                  </a:cubicBezTo>
                  <a:cubicBezTo>
                    <a:pt x="144" y="213"/>
                    <a:pt x="149" y="218"/>
                    <a:pt x="149" y="224"/>
                  </a:cubicBezTo>
                  <a:close/>
                  <a:moveTo>
                    <a:pt x="192" y="224"/>
                  </a:moveTo>
                  <a:cubicBezTo>
                    <a:pt x="192" y="230"/>
                    <a:pt x="187" y="234"/>
                    <a:pt x="181" y="234"/>
                  </a:cubicBezTo>
                  <a:cubicBezTo>
                    <a:pt x="175" y="234"/>
                    <a:pt x="170" y="230"/>
                    <a:pt x="170" y="224"/>
                  </a:cubicBezTo>
                  <a:cubicBezTo>
                    <a:pt x="170" y="218"/>
                    <a:pt x="175" y="213"/>
                    <a:pt x="181" y="213"/>
                  </a:cubicBezTo>
                  <a:cubicBezTo>
                    <a:pt x="187" y="213"/>
                    <a:pt x="192" y="218"/>
                    <a:pt x="192" y="224"/>
                  </a:cubicBezTo>
                  <a:close/>
                  <a:moveTo>
                    <a:pt x="234" y="224"/>
                  </a:moveTo>
                  <a:cubicBezTo>
                    <a:pt x="234" y="230"/>
                    <a:pt x="230" y="234"/>
                    <a:pt x="224" y="234"/>
                  </a:cubicBezTo>
                  <a:cubicBezTo>
                    <a:pt x="218" y="234"/>
                    <a:pt x="213" y="230"/>
                    <a:pt x="213" y="224"/>
                  </a:cubicBezTo>
                  <a:cubicBezTo>
                    <a:pt x="213" y="218"/>
                    <a:pt x="218" y="213"/>
                    <a:pt x="224" y="213"/>
                  </a:cubicBezTo>
                  <a:cubicBezTo>
                    <a:pt x="230" y="213"/>
                    <a:pt x="234" y="218"/>
                    <a:pt x="234" y="224"/>
                  </a:cubicBezTo>
                  <a:close/>
                  <a:moveTo>
                    <a:pt x="277" y="224"/>
                  </a:moveTo>
                  <a:cubicBezTo>
                    <a:pt x="277" y="230"/>
                    <a:pt x="272" y="234"/>
                    <a:pt x="266" y="234"/>
                  </a:cubicBezTo>
                  <a:cubicBezTo>
                    <a:pt x="260" y="234"/>
                    <a:pt x="256" y="230"/>
                    <a:pt x="256" y="224"/>
                  </a:cubicBezTo>
                  <a:cubicBezTo>
                    <a:pt x="256" y="218"/>
                    <a:pt x="260" y="213"/>
                    <a:pt x="266" y="213"/>
                  </a:cubicBezTo>
                  <a:cubicBezTo>
                    <a:pt x="272" y="213"/>
                    <a:pt x="277" y="218"/>
                    <a:pt x="277"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6" name="Freeform 23">
            <a:extLst>
              <a:ext uri="{FF2B5EF4-FFF2-40B4-BE49-F238E27FC236}">
                <a16:creationId xmlns:a16="http://schemas.microsoft.com/office/drawing/2014/main" id="{EC72EEF8-F010-42FF-9875-164CA6779CA1}"/>
              </a:ext>
            </a:extLst>
          </p:cNvPr>
          <p:cNvSpPr>
            <a:spLocks noChangeAspect="1" noEditPoints="1"/>
          </p:cNvSpPr>
          <p:nvPr/>
        </p:nvSpPr>
        <p:spPr bwMode="auto">
          <a:xfrm>
            <a:off x="5690661" y="1700213"/>
            <a:ext cx="370106" cy="369021"/>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7" name="Group 106">
            <a:extLst>
              <a:ext uri="{FF2B5EF4-FFF2-40B4-BE49-F238E27FC236}">
                <a16:creationId xmlns:a16="http://schemas.microsoft.com/office/drawing/2014/main" id="{EF32C42F-ADEC-4467-AB41-170FFC47DD2E}"/>
              </a:ext>
            </a:extLst>
          </p:cNvPr>
          <p:cNvGrpSpPr>
            <a:grpSpLocks noChangeAspect="1"/>
          </p:cNvGrpSpPr>
          <p:nvPr/>
        </p:nvGrpSpPr>
        <p:grpSpPr bwMode="auto">
          <a:xfrm>
            <a:off x="6127288" y="1700213"/>
            <a:ext cx="369021" cy="369021"/>
            <a:chOff x="1925" y="6"/>
            <a:chExt cx="340" cy="340"/>
          </a:xfrm>
          <a:solidFill>
            <a:schemeClr val="accent1"/>
          </a:solidFill>
        </p:grpSpPr>
        <p:sp>
          <p:nvSpPr>
            <p:cNvPr id="108" name="Freeform 324">
              <a:extLst>
                <a:ext uri="{FF2B5EF4-FFF2-40B4-BE49-F238E27FC236}">
                  <a16:creationId xmlns:a16="http://schemas.microsoft.com/office/drawing/2014/main" id="{E45D357E-26FE-40F0-91A0-6290EF1A8E4A}"/>
                </a:ext>
              </a:extLst>
            </p:cNvPr>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325">
              <a:extLst>
                <a:ext uri="{FF2B5EF4-FFF2-40B4-BE49-F238E27FC236}">
                  <a16:creationId xmlns:a16="http://schemas.microsoft.com/office/drawing/2014/main" id="{B3207EA9-580D-4EE7-80E6-A6C163F7802D}"/>
                </a:ext>
              </a:extLst>
            </p:cNvPr>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0" name="TextBox 109">
            <a:extLst>
              <a:ext uri="{FF2B5EF4-FFF2-40B4-BE49-F238E27FC236}">
                <a16:creationId xmlns:a16="http://schemas.microsoft.com/office/drawing/2014/main" id="{BFB78965-E0BE-4BAB-92F7-C2BCFB6DFB4D}"/>
              </a:ext>
            </a:extLst>
          </p:cNvPr>
          <p:cNvSpPr txBox="1"/>
          <p:nvPr/>
        </p:nvSpPr>
        <p:spPr>
          <a:xfrm>
            <a:off x="6543553" y="2085637"/>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3</a:t>
            </a:r>
          </a:p>
        </p:txBody>
      </p:sp>
      <p:grpSp>
        <p:nvGrpSpPr>
          <p:cNvPr id="111" name="Group 603">
            <a:extLst>
              <a:ext uri="{FF2B5EF4-FFF2-40B4-BE49-F238E27FC236}">
                <a16:creationId xmlns:a16="http://schemas.microsoft.com/office/drawing/2014/main" id="{74EC6BAB-5FF3-4D50-9326-DC8C1927E51E}"/>
              </a:ext>
            </a:extLst>
          </p:cNvPr>
          <p:cNvGrpSpPr>
            <a:grpSpLocks noChangeAspect="1"/>
          </p:cNvGrpSpPr>
          <p:nvPr/>
        </p:nvGrpSpPr>
        <p:grpSpPr bwMode="auto">
          <a:xfrm>
            <a:off x="9614441" y="1700213"/>
            <a:ext cx="369021" cy="369021"/>
            <a:chOff x="5044" y="2340"/>
            <a:chExt cx="340" cy="340"/>
          </a:xfrm>
          <a:solidFill>
            <a:schemeClr val="accent1"/>
          </a:solidFill>
        </p:grpSpPr>
        <p:sp>
          <p:nvSpPr>
            <p:cNvPr id="112" name="Freeform 604">
              <a:extLst>
                <a:ext uri="{FF2B5EF4-FFF2-40B4-BE49-F238E27FC236}">
                  <a16:creationId xmlns:a16="http://schemas.microsoft.com/office/drawing/2014/main" id="{0F3346E7-873E-4390-975D-BB37346940E0}"/>
                </a:ext>
              </a:extLst>
            </p:cNvPr>
            <p:cNvSpPr>
              <a:spLocks noEditPoints="1"/>
            </p:cNvSpPr>
            <p:nvPr/>
          </p:nvSpPr>
          <p:spPr bwMode="auto">
            <a:xfrm>
              <a:off x="5044" y="234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605">
              <a:extLst>
                <a:ext uri="{FF2B5EF4-FFF2-40B4-BE49-F238E27FC236}">
                  <a16:creationId xmlns:a16="http://schemas.microsoft.com/office/drawing/2014/main" id="{99F853DD-3F6D-4B64-B117-9E72C32D8519}"/>
                </a:ext>
              </a:extLst>
            </p:cNvPr>
            <p:cNvSpPr>
              <a:spLocks noEditPoints="1"/>
            </p:cNvSpPr>
            <p:nvPr/>
          </p:nvSpPr>
          <p:spPr bwMode="auto">
            <a:xfrm>
              <a:off x="5114" y="2410"/>
              <a:ext cx="206" cy="206"/>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4" name="Freeform 609">
            <a:extLst>
              <a:ext uri="{FF2B5EF4-FFF2-40B4-BE49-F238E27FC236}">
                <a16:creationId xmlns:a16="http://schemas.microsoft.com/office/drawing/2014/main" id="{D288A06F-3DB5-4EAF-824D-CC49A4CF39EA}"/>
              </a:ext>
            </a:extLst>
          </p:cNvPr>
          <p:cNvSpPr>
            <a:spLocks noChangeAspect="1" noEditPoints="1"/>
          </p:cNvSpPr>
          <p:nvPr/>
        </p:nvSpPr>
        <p:spPr bwMode="auto">
          <a:xfrm>
            <a:off x="9178900" y="1700213"/>
            <a:ext cx="369021" cy="369021"/>
          </a:xfrm>
          <a:custGeom>
            <a:avLst/>
            <a:gdLst>
              <a:gd name="T0" fmla="*/ 352 w 512"/>
              <a:gd name="T1" fmla="*/ 181 h 512"/>
              <a:gd name="T2" fmla="*/ 245 w 512"/>
              <a:gd name="T3" fmla="*/ 181 h 512"/>
              <a:gd name="T4" fmla="*/ 245 w 512"/>
              <a:gd name="T5" fmla="*/ 160 h 512"/>
              <a:gd name="T6" fmla="*/ 352 w 512"/>
              <a:gd name="T7" fmla="*/ 160 h 512"/>
              <a:gd name="T8" fmla="*/ 352 w 512"/>
              <a:gd name="T9" fmla="*/ 181 h 512"/>
              <a:gd name="T10" fmla="*/ 373 w 512"/>
              <a:gd name="T11" fmla="*/ 224 h 512"/>
              <a:gd name="T12" fmla="*/ 362 w 512"/>
              <a:gd name="T13" fmla="*/ 234 h 512"/>
              <a:gd name="T14" fmla="*/ 352 w 512"/>
              <a:gd name="T15" fmla="*/ 224 h 512"/>
              <a:gd name="T16" fmla="*/ 352 w 512"/>
              <a:gd name="T17" fmla="*/ 202 h 512"/>
              <a:gd name="T18" fmla="*/ 245 w 512"/>
              <a:gd name="T19" fmla="*/ 202 h 512"/>
              <a:gd name="T20" fmla="*/ 245 w 512"/>
              <a:gd name="T21" fmla="*/ 224 h 512"/>
              <a:gd name="T22" fmla="*/ 234 w 512"/>
              <a:gd name="T23" fmla="*/ 234 h 512"/>
              <a:gd name="T24" fmla="*/ 224 w 512"/>
              <a:gd name="T25" fmla="*/ 224 h 512"/>
              <a:gd name="T26" fmla="*/ 224 w 512"/>
              <a:gd name="T27" fmla="*/ 202 h 512"/>
              <a:gd name="T28" fmla="*/ 202 w 512"/>
              <a:gd name="T29" fmla="*/ 202 h 512"/>
              <a:gd name="T30" fmla="*/ 202 w 512"/>
              <a:gd name="T31" fmla="*/ 341 h 512"/>
              <a:gd name="T32" fmla="*/ 394 w 512"/>
              <a:gd name="T33" fmla="*/ 341 h 512"/>
              <a:gd name="T34" fmla="*/ 394 w 512"/>
              <a:gd name="T35" fmla="*/ 202 h 512"/>
              <a:gd name="T36" fmla="*/ 373 w 512"/>
              <a:gd name="T37" fmla="*/ 202 h 512"/>
              <a:gd name="T38" fmla="*/ 373 w 512"/>
              <a:gd name="T39" fmla="*/ 224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181 h 512"/>
              <a:gd name="T52" fmla="*/ 373 w 512"/>
              <a:gd name="T53" fmla="*/ 160 h 512"/>
              <a:gd name="T54" fmla="*/ 405 w 512"/>
              <a:gd name="T55" fmla="*/ 160 h 512"/>
              <a:gd name="T56" fmla="*/ 416 w 512"/>
              <a:gd name="T57" fmla="*/ 149 h 512"/>
              <a:gd name="T58" fmla="*/ 405 w 512"/>
              <a:gd name="T59" fmla="*/ 138 h 512"/>
              <a:gd name="T60" fmla="*/ 160 w 512"/>
              <a:gd name="T61" fmla="*/ 138 h 512"/>
              <a:gd name="T62" fmla="*/ 160 w 512"/>
              <a:gd name="T63" fmla="*/ 117 h 512"/>
              <a:gd name="T64" fmla="*/ 149 w 512"/>
              <a:gd name="T65" fmla="*/ 106 h 512"/>
              <a:gd name="T66" fmla="*/ 138 w 512"/>
              <a:gd name="T67" fmla="*/ 117 h 512"/>
              <a:gd name="T68" fmla="*/ 138 w 512"/>
              <a:gd name="T69" fmla="*/ 138 h 512"/>
              <a:gd name="T70" fmla="*/ 117 w 512"/>
              <a:gd name="T71" fmla="*/ 138 h 512"/>
              <a:gd name="T72" fmla="*/ 106 w 512"/>
              <a:gd name="T73" fmla="*/ 149 h 512"/>
              <a:gd name="T74" fmla="*/ 117 w 512"/>
              <a:gd name="T75" fmla="*/ 160 h 512"/>
              <a:gd name="T76" fmla="*/ 138 w 512"/>
              <a:gd name="T77" fmla="*/ 160 h 512"/>
              <a:gd name="T78" fmla="*/ 138 w 512"/>
              <a:gd name="T79" fmla="*/ 405 h 512"/>
              <a:gd name="T80" fmla="*/ 149 w 512"/>
              <a:gd name="T81" fmla="*/ 416 h 512"/>
              <a:gd name="T82" fmla="*/ 160 w 512"/>
              <a:gd name="T83" fmla="*/ 405 h 512"/>
              <a:gd name="T84" fmla="*/ 160 w 512"/>
              <a:gd name="T85" fmla="*/ 160 h 512"/>
              <a:gd name="T86" fmla="*/ 224 w 512"/>
              <a:gd name="T87" fmla="*/ 160 h 512"/>
              <a:gd name="T88" fmla="*/ 224 w 512"/>
              <a:gd name="T89" fmla="*/ 181 h 512"/>
              <a:gd name="T90" fmla="*/ 192 w 512"/>
              <a:gd name="T91" fmla="*/ 181 h 512"/>
              <a:gd name="T92" fmla="*/ 181 w 512"/>
              <a:gd name="T93" fmla="*/ 192 h 512"/>
              <a:gd name="T94" fmla="*/ 181 w 512"/>
              <a:gd name="T95" fmla="*/ 352 h 512"/>
              <a:gd name="T96" fmla="*/ 192 w 512"/>
              <a:gd name="T97" fmla="*/ 362 h 512"/>
              <a:gd name="T98" fmla="*/ 405 w 512"/>
              <a:gd name="T99" fmla="*/ 362 h 512"/>
              <a:gd name="T100" fmla="*/ 416 w 512"/>
              <a:gd name="T101" fmla="*/ 352 h 512"/>
              <a:gd name="T102" fmla="*/ 416 w 512"/>
              <a:gd name="T103" fmla="*/ 192 h 512"/>
              <a:gd name="T104" fmla="*/ 405 w 512"/>
              <a:gd name="T105" fmla="*/ 181 h 512"/>
              <a:gd name="T106" fmla="*/ 373 w 512"/>
              <a:gd name="T10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52" y="181"/>
                </a:moveTo>
                <a:cubicBezTo>
                  <a:pt x="245" y="181"/>
                  <a:pt x="245" y="181"/>
                  <a:pt x="245" y="181"/>
                </a:cubicBezTo>
                <a:cubicBezTo>
                  <a:pt x="245" y="160"/>
                  <a:pt x="245" y="160"/>
                  <a:pt x="245" y="160"/>
                </a:cubicBezTo>
                <a:cubicBezTo>
                  <a:pt x="352" y="160"/>
                  <a:pt x="352" y="160"/>
                  <a:pt x="352" y="160"/>
                </a:cubicBezTo>
                <a:lnTo>
                  <a:pt x="352" y="181"/>
                </a:lnTo>
                <a:close/>
                <a:moveTo>
                  <a:pt x="373" y="224"/>
                </a:moveTo>
                <a:cubicBezTo>
                  <a:pt x="373" y="230"/>
                  <a:pt x="368" y="234"/>
                  <a:pt x="362" y="234"/>
                </a:cubicBezTo>
                <a:cubicBezTo>
                  <a:pt x="356" y="234"/>
                  <a:pt x="352" y="230"/>
                  <a:pt x="352" y="224"/>
                </a:cubicBezTo>
                <a:cubicBezTo>
                  <a:pt x="352" y="202"/>
                  <a:pt x="352" y="202"/>
                  <a:pt x="352" y="202"/>
                </a:cubicBezTo>
                <a:cubicBezTo>
                  <a:pt x="245" y="202"/>
                  <a:pt x="245" y="202"/>
                  <a:pt x="245" y="202"/>
                </a:cubicBezTo>
                <a:cubicBezTo>
                  <a:pt x="245" y="224"/>
                  <a:pt x="245" y="224"/>
                  <a:pt x="245" y="224"/>
                </a:cubicBezTo>
                <a:cubicBezTo>
                  <a:pt x="245" y="230"/>
                  <a:pt x="240" y="234"/>
                  <a:pt x="234" y="234"/>
                </a:cubicBezTo>
                <a:cubicBezTo>
                  <a:pt x="228" y="234"/>
                  <a:pt x="224" y="230"/>
                  <a:pt x="224" y="224"/>
                </a:cubicBezTo>
                <a:cubicBezTo>
                  <a:pt x="224" y="202"/>
                  <a:pt x="224" y="202"/>
                  <a:pt x="224" y="202"/>
                </a:cubicBezTo>
                <a:cubicBezTo>
                  <a:pt x="202" y="202"/>
                  <a:pt x="202" y="202"/>
                  <a:pt x="202" y="202"/>
                </a:cubicBezTo>
                <a:cubicBezTo>
                  <a:pt x="202" y="341"/>
                  <a:pt x="202" y="341"/>
                  <a:pt x="202" y="341"/>
                </a:cubicBezTo>
                <a:cubicBezTo>
                  <a:pt x="394" y="341"/>
                  <a:pt x="394" y="341"/>
                  <a:pt x="394" y="341"/>
                </a:cubicBezTo>
                <a:cubicBezTo>
                  <a:pt x="394" y="202"/>
                  <a:pt x="394" y="202"/>
                  <a:pt x="394" y="202"/>
                </a:cubicBezTo>
                <a:cubicBezTo>
                  <a:pt x="373" y="202"/>
                  <a:pt x="373" y="202"/>
                  <a:pt x="373" y="202"/>
                </a:cubicBezTo>
                <a:lnTo>
                  <a:pt x="373" y="2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60"/>
                  <a:pt x="373" y="160"/>
                  <a:pt x="373" y="160"/>
                </a:cubicBezTo>
                <a:cubicBezTo>
                  <a:pt x="405" y="160"/>
                  <a:pt x="405" y="160"/>
                  <a:pt x="405" y="160"/>
                </a:cubicBezTo>
                <a:cubicBezTo>
                  <a:pt x="411" y="160"/>
                  <a:pt x="416" y="155"/>
                  <a:pt x="416" y="149"/>
                </a:cubicBezTo>
                <a:cubicBezTo>
                  <a:pt x="416" y="143"/>
                  <a:pt x="411" y="138"/>
                  <a:pt x="405" y="138"/>
                </a:cubicBezTo>
                <a:cubicBezTo>
                  <a:pt x="160" y="138"/>
                  <a:pt x="160" y="138"/>
                  <a:pt x="160" y="138"/>
                </a:cubicBezTo>
                <a:cubicBezTo>
                  <a:pt x="160" y="117"/>
                  <a:pt x="160" y="117"/>
                  <a:pt x="160" y="117"/>
                </a:cubicBezTo>
                <a:cubicBezTo>
                  <a:pt x="160" y="111"/>
                  <a:pt x="155" y="106"/>
                  <a:pt x="149" y="106"/>
                </a:cubicBezTo>
                <a:cubicBezTo>
                  <a:pt x="143" y="106"/>
                  <a:pt x="138" y="111"/>
                  <a:pt x="138" y="117"/>
                </a:cubicBezTo>
                <a:cubicBezTo>
                  <a:pt x="138" y="138"/>
                  <a:pt x="138" y="138"/>
                  <a:pt x="138" y="138"/>
                </a:cubicBezTo>
                <a:cubicBezTo>
                  <a:pt x="117" y="138"/>
                  <a:pt x="117" y="138"/>
                  <a:pt x="117" y="138"/>
                </a:cubicBezTo>
                <a:cubicBezTo>
                  <a:pt x="111" y="138"/>
                  <a:pt x="106" y="143"/>
                  <a:pt x="106" y="149"/>
                </a:cubicBezTo>
                <a:cubicBezTo>
                  <a:pt x="106" y="155"/>
                  <a:pt x="111" y="160"/>
                  <a:pt x="117" y="160"/>
                </a:cubicBezTo>
                <a:cubicBezTo>
                  <a:pt x="138" y="160"/>
                  <a:pt x="138" y="160"/>
                  <a:pt x="138" y="160"/>
                </a:cubicBezTo>
                <a:cubicBezTo>
                  <a:pt x="138" y="405"/>
                  <a:pt x="138" y="405"/>
                  <a:pt x="138" y="405"/>
                </a:cubicBezTo>
                <a:cubicBezTo>
                  <a:pt x="138" y="411"/>
                  <a:pt x="143" y="416"/>
                  <a:pt x="149" y="416"/>
                </a:cubicBezTo>
                <a:cubicBezTo>
                  <a:pt x="155" y="416"/>
                  <a:pt x="160" y="411"/>
                  <a:pt x="160" y="405"/>
                </a:cubicBezTo>
                <a:cubicBezTo>
                  <a:pt x="160" y="160"/>
                  <a:pt x="160" y="160"/>
                  <a:pt x="160" y="160"/>
                </a:cubicBezTo>
                <a:cubicBezTo>
                  <a:pt x="224" y="160"/>
                  <a:pt x="224" y="160"/>
                  <a:pt x="224" y="160"/>
                </a:cubicBezTo>
                <a:cubicBezTo>
                  <a:pt x="224" y="181"/>
                  <a:pt x="224" y="181"/>
                  <a:pt x="224" y="181"/>
                </a:cubicBezTo>
                <a:cubicBezTo>
                  <a:pt x="192" y="181"/>
                  <a:pt x="192" y="181"/>
                  <a:pt x="192" y="181"/>
                </a:cubicBezTo>
                <a:cubicBezTo>
                  <a:pt x="186" y="181"/>
                  <a:pt x="181" y="186"/>
                  <a:pt x="181" y="192"/>
                </a:cubicBezTo>
                <a:cubicBezTo>
                  <a:pt x="181" y="352"/>
                  <a:pt x="181" y="352"/>
                  <a:pt x="181" y="352"/>
                </a:cubicBezTo>
                <a:cubicBezTo>
                  <a:pt x="181" y="358"/>
                  <a:pt x="186" y="362"/>
                  <a:pt x="192" y="362"/>
                </a:cubicBezTo>
                <a:cubicBezTo>
                  <a:pt x="405" y="362"/>
                  <a:pt x="405" y="362"/>
                  <a:pt x="405" y="362"/>
                </a:cubicBezTo>
                <a:cubicBezTo>
                  <a:pt x="411" y="362"/>
                  <a:pt x="416" y="358"/>
                  <a:pt x="416" y="352"/>
                </a:cubicBezTo>
                <a:cubicBezTo>
                  <a:pt x="416" y="192"/>
                  <a:pt x="416" y="192"/>
                  <a:pt x="416" y="192"/>
                </a:cubicBezTo>
                <a:cubicBezTo>
                  <a:pt x="416" y="186"/>
                  <a:pt x="411" y="181"/>
                  <a:pt x="405" y="181"/>
                </a:cubicBezTo>
                <a:lnTo>
                  <a:pt x="373" y="18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5" name="Group 1037">
            <a:extLst>
              <a:ext uri="{FF2B5EF4-FFF2-40B4-BE49-F238E27FC236}">
                <a16:creationId xmlns:a16="http://schemas.microsoft.com/office/drawing/2014/main" id="{AD6EA0F0-21AC-42B8-9C1A-E965694CDF00}"/>
              </a:ext>
            </a:extLst>
          </p:cNvPr>
          <p:cNvGrpSpPr>
            <a:grpSpLocks noChangeAspect="1"/>
          </p:cNvGrpSpPr>
          <p:nvPr/>
        </p:nvGrpSpPr>
        <p:grpSpPr bwMode="auto">
          <a:xfrm>
            <a:off x="5257099" y="1700213"/>
            <a:ext cx="367041" cy="368120"/>
            <a:chOff x="7382" y="4025"/>
            <a:chExt cx="340" cy="341"/>
          </a:xfrm>
          <a:solidFill>
            <a:schemeClr val="accent5"/>
          </a:solidFill>
        </p:grpSpPr>
        <p:sp>
          <p:nvSpPr>
            <p:cNvPr id="116" name="Freeform 1038">
              <a:extLst>
                <a:ext uri="{FF2B5EF4-FFF2-40B4-BE49-F238E27FC236}">
                  <a16:creationId xmlns:a16="http://schemas.microsoft.com/office/drawing/2014/main" id="{14AEE0B0-5F4D-409F-BDFA-D5D3F9E6DFF2}"/>
                </a:ext>
              </a:extLst>
            </p:cNvPr>
            <p:cNvSpPr>
              <a:spLocks noEditPoints="1"/>
            </p:cNvSpPr>
            <p:nvPr/>
          </p:nvSpPr>
          <p:spPr bwMode="auto">
            <a:xfrm>
              <a:off x="7382" y="402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1039">
              <a:extLst>
                <a:ext uri="{FF2B5EF4-FFF2-40B4-BE49-F238E27FC236}">
                  <a16:creationId xmlns:a16="http://schemas.microsoft.com/office/drawing/2014/main" id="{6C321F6A-3200-4167-B386-357E855E9707}"/>
                </a:ext>
              </a:extLst>
            </p:cNvPr>
            <p:cNvSpPr>
              <a:spLocks noEditPoints="1"/>
            </p:cNvSpPr>
            <p:nvPr/>
          </p:nvSpPr>
          <p:spPr bwMode="auto">
            <a:xfrm>
              <a:off x="7446" y="4103"/>
              <a:ext cx="212" cy="170"/>
            </a:xfrm>
            <a:custGeom>
              <a:avLst/>
              <a:gdLst>
                <a:gd name="T0" fmla="*/ 256 w 320"/>
                <a:gd name="T1" fmla="*/ 11 h 256"/>
                <a:gd name="T2" fmla="*/ 64 w 320"/>
                <a:gd name="T3" fmla="*/ 11 h 256"/>
                <a:gd name="T4" fmla="*/ 0 w 320"/>
                <a:gd name="T5" fmla="*/ 32 h 256"/>
                <a:gd name="T6" fmla="*/ 309 w 320"/>
                <a:gd name="T7" fmla="*/ 256 h 256"/>
                <a:gd name="T8" fmla="*/ 309 w 320"/>
                <a:gd name="T9" fmla="*/ 21 h 256"/>
                <a:gd name="T10" fmla="*/ 149 w 320"/>
                <a:gd name="T11" fmla="*/ 171 h 256"/>
                <a:gd name="T12" fmla="*/ 298 w 320"/>
                <a:gd name="T13" fmla="*/ 235 h 256"/>
                <a:gd name="T14" fmla="*/ 181 w 320"/>
                <a:gd name="T15" fmla="*/ 149 h 256"/>
                <a:gd name="T16" fmla="*/ 128 w 320"/>
                <a:gd name="T17" fmla="*/ 235 h 256"/>
                <a:gd name="T18" fmla="*/ 74 w 320"/>
                <a:gd name="T19" fmla="*/ 43 h 256"/>
                <a:gd name="T20" fmla="*/ 234 w 320"/>
                <a:gd name="T21" fmla="*/ 21 h 256"/>
                <a:gd name="T22" fmla="*/ 298 w 320"/>
                <a:gd name="T23" fmla="*/ 43 h 256"/>
                <a:gd name="T24" fmla="*/ 53 w 320"/>
                <a:gd name="T25" fmla="*/ 85 h 256"/>
                <a:gd name="T26" fmla="*/ 64 w 320"/>
                <a:gd name="T27" fmla="*/ 75 h 256"/>
                <a:gd name="T28" fmla="*/ 85 w 320"/>
                <a:gd name="T29" fmla="*/ 75 h 256"/>
                <a:gd name="T30" fmla="*/ 149 w 320"/>
                <a:gd name="T31" fmla="*/ 75 h 256"/>
                <a:gd name="T32" fmla="*/ 138 w 320"/>
                <a:gd name="T33" fmla="*/ 64 h 256"/>
                <a:gd name="T34" fmla="*/ 181 w 320"/>
                <a:gd name="T35" fmla="*/ 85 h 256"/>
                <a:gd name="T36" fmla="*/ 192 w 320"/>
                <a:gd name="T37" fmla="*/ 75 h 256"/>
                <a:gd name="T38" fmla="*/ 213 w 320"/>
                <a:gd name="T39" fmla="*/ 75 h 256"/>
                <a:gd name="T40" fmla="*/ 256 w 320"/>
                <a:gd name="T41" fmla="*/ 75 h 256"/>
                <a:gd name="T42" fmla="*/ 266 w 320"/>
                <a:gd name="T43" fmla="*/ 85 h 256"/>
                <a:gd name="T44" fmla="*/ 53 w 320"/>
                <a:gd name="T45" fmla="*/ 128 h 256"/>
                <a:gd name="T46" fmla="*/ 64 w 320"/>
                <a:gd name="T47" fmla="*/ 117 h 256"/>
                <a:gd name="T48" fmla="*/ 85 w 320"/>
                <a:gd name="T49" fmla="*/ 117 h 256"/>
                <a:gd name="T50" fmla="*/ 149 w 320"/>
                <a:gd name="T51" fmla="*/ 117 h 256"/>
                <a:gd name="T52" fmla="*/ 138 w 320"/>
                <a:gd name="T53" fmla="*/ 107 h 256"/>
                <a:gd name="T54" fmla="*/ 181 w 320"/>
                <a:gd name="T55" fmla="*/ 128 h 256"/>
                <a:gd name="T56" fmla="*/ 192 w 320"/>
                <a:gd name="T57" fmla="*/ 117 h 256"/>
                <a:gd name="T58" fmla="*/ 213 w 320"/>
                <a:gd name="T59" fmla="*/ 117 h 256"/>
                <a:gd name="T60" fmla="*/ 256 w 320"/>
                <a:gd name="T61" fmla="*/ 117 h 256"/>
                <a:gd name="T62" fmla="*/ 266 w 320"/>
                <a:gd name="T63" fmla="*/ 128 h 256"/>
                <a:gd name="T64" fmla="*/ 53 w 320"/>
                <a:gd name="T65" fmla="*/ 171 h 256"/>
                <a:gd name="T66" fmla="*/ 64 w 320"/>
                <a:gd name="T67" fmla="*/ 160 h 256"/>
                <a:gd name="T68" fmla="*/ 85 w 320"/>
                <a:gd name="T69" fmla="*/ 160 h 256"/>
                <a:gd name="T70" fmla="*/ 234 w 320"/>
                <a:gd name="T71" fmla="*/ 160 h 256"/>
                <a:gd name="T72" fmla="*/ 224 w 320"/>
                <a:gd name="T73" fmla="*/ 149 h 256"/>
                <a:gd name="T74" fmla="*/ 266 w 320"/>
                <a:gd name="T75" fmla="*/ 149 h 256"/>
                <a:gd name="T76" fmla="*/ 256 w 320"/>
                <a:gd name="T77" fmla="*/ 160 h 256"/>
                <a:gd name="T78" fmla="*/ 42 w 320"/>
                <a:gd name="T79" fmla="*/ 203 h 256"/>
                <a:gd name="T80" fmla="*/ 106 w 320"/>
                <a:gd name="T81" fmla="*/ 203 h 256"/>
                <a:gd name="T82" fmla="*/ 96 w 320"/>
                <a:gd name="T83" fmla="*/ 192 h 256"/>
                <a:gd name="T84" fmla="*/ 224 w 320"/>
                <a:gd name="T85" fmla="*/ 213 h 256"/>
                <a:gd name="T86" fmla="*/ 234 w 320"/>
                <a:gd name="T87" fmla="*/ 203 h 256"/>
                <a:gd name="T88" fmla="*/ 277 w 320"/>
                <a:gd name="T89" fmla="*/ 20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56">
                  <a:moveTo>
                    <a:pt x="309" y="21"/>
                  </a:moveTo>
                  <a:cubicBezTo>
                    <a:pt x="256" y="21"/>
                    <a:pt x="256" y="21"/>
                    <a:pt x="256" y="21"/>
                  </a:cubicBezTo>
                  <a:cubicBezTo>
                    <a:pt x="256" y="11"/>
                    <a:pt x="256" y="11"/>
                    <a:pt x="256" y="11"/>
                  </a:cubicBezTo>
                  <a:cubicBezTo>
                    <a:pt x="256" y="5"/>
                    <a:pt x="251" y="0"/>
                    <a:pt x="245" y="0"/>
                  </a:cubicBezTo>
                  <a:cubicBezTo>
                    <a:pt x="74" y="0"/>
                    <a:pt x="74" y="0"/>
                    <a:pt x="74" y="0"/>
                  </a:cubicBezTo>
                  <a:cubicBezTo>
                    <a:pt x="68" y="0"/>
                    <a:pt x="64" y="5"/>
                    <a:pt x="64" y="11"/>
                  </a:cubicBezTo>
                  <a:cubicBezTo>
                    <a:pt x="64" y="21"/>
                    <a:pt x="64" y="21"/>
                    <a:pt x="64" y="21"/>
                  </a:cubicBezTo>
                  <a:cubicBezTo>
                    <a:pt x="10" y="21"/>
                    <a:pt x="10" y="21"/>
                    <a:pt x="10" y="21"/>
                  </a:cubicBezTo>
                  <a:cubicBezTo>
                    <a:pt x="4" y="21"/>
                    <a:pt x="0" y="26"/>
                    <a:pt x="0" y="32"/>
                  </a:cubicBezTo>
                  <a:cubicBezTo>
                    <a:pt x="0" y="245"/>
                    <a:pt x="0" y="245"/>
                    <a:pt x="0" y="245"/>
                  </a:cubicBezTo>
                  <a:cubicBezTo>
                    <a:pt x="0" y="251"/>
                    <a:pt x="4" y="256"/>
                    <a:pt x="10" y="256"/>
                  </a:cubicBezTo>
                  <a:cubicBezTo>
                    <a:pt x="309" y="256"/>
                    <a:pt x="309" y="256"/>
                    <a:pt x="309" y="256"/>
                  </a:cubicBezTo>
                  <a:cubicBezTo>
                    <a:pt x="315" y="256"/>
                    <a:pt x="320" y="251"/>
                    <a:pt x="320" y="245"/>
                  </a:cubicBezTo>
                  <a:cubicBezTo>
                    <a:pt x="320" y="32"/>
                    <a:pt x="320" y="32"/>
                    <a:pt x="320" y="32"/>
                  </a:cubicBezTo>
                  <a:cubicBezTo>
                    <a:pt x="320" y="26"/>
                    <a:pt x="315" y="21"/>
                    <a:pt x="309" y="21"/>
                  </a:cubicBezTo>
                  <a:close/>
                  <a:moveTo>
                    <a:pt x="170" y="235"/>
                  </a:moveTo>
                  <a:cubicBezTo>
                    <a:pt x="149" y="235"/>
                    <a:pt x="149" y="235"/>
                    <a:pt x="149" y="235"/>
                  </a:cubicBezTo>
                  <a:cubicBezTo>
                    <a:pt x="149" y="171"/>
                    <a:pt x="149" y="171"/>
                    <a:pt x="149" y="171"/>
                  </a:cubicBezTo>
                  <a:cubicBezTo>
                    <a:pt x="170" y="171"/>
                    <a:pt x="170" y="171"/>
                    <a:pt x="170" y="171"/>
                  </a:cubicBezTo>
                  <a:lnTo>
                    <a:pt x="170" y="235"/>
                  </a:lnTo>
                  <a:close/>
                  <a:moveTo>
                    <a:pt x="298" y="235"/>
                  </a:moveTo>
                  <a:cubicBezTo>
                    <a:pt x="192" y="235"/>
                    <a:pt x="192" y="235"/>
                    <a:pt x="192" y="235"/>
                  </a:cubicBezTo>
                  <a:cubicBezTo>
                    <a:pt x="192" y="160"/>
                    <a:pt x="192" y="160"/>
                    <a:pt x="192" y="160"/>
                  </a:cubicBezTo>
                  <a:cubicBezTo>
                    <a:pt x="192" y="154"/>
                    <a:pt x="187" y="149"/>
                    <a:pt x="181" y="149"/>
                  </a:cubicBezTo>
                  <a:cubicBezTo>
                    <a:pt x="138" y="149"/>
                    <a:pt x="138" y="149"/>
                    <a:pt x="138" y="149"/>
                  </a:cubicBezTo>
                  <a:cubicBezTo>
                    <a:pt x="132" y="149"/>
                    <a:pt x="128" y="154"/>
                    <a:pt x="128" y="160"/>
                  </a:cubicBezTo>
                  <a:cubicBezTo>
                    <a:pt x="128" y="235"/>
                    <a:pt x="128" y="235"/>
                    <a:pt x="128" y="235"/>
                  </a:cubicBezTo>
                  <a:cubicBezTo>
                    <a:pt x="21" y="235"/>
                    <a:pt x="21" y="235"/>
                    <a:pt x="21" y="235"/>
                  </a:cubicBezTo>
                  <a:cubicBezTo>
                    <a:pt x="21" y="43"/>
                    <a:pt x="21" y="43"/>
                    <a:pt x="21" y="43"/>
                  </a:cubicBezTo>
                  <a:cubicBezTo>
                    <a:pt x="74" y="43"/>
                    <a:pt x="74" y="43"/>
                    <a:pt x="74" y="43"/>
                  </a:cubicBezTo>
                  <a:cubicBezTo>
                    <a:pt x="80" y="43"/>
                    <a:pt x="85" y="38"/>
                    <a:pt x="85" y="32"/>
                  </a:cubicBezTo>
                  <a:cubicBezTo>
                    <a:pt x="85" y="21"/>
                    <a:pt x="85" y="21"/>
                    <a:pt x="85" y="21"/>
                  </a:cubicBezTo>
                  <a:cubicBezTo>
                    <a:pt x="234" y="21"/>
                    <a:pt x="234" y="21"/>
                    <a:pt x="234" y="21"/>
                  </a:cubicBezTo>
                  <a:cubicBezTo>
                    <a:pt x="234" y="32"/>
                    <a:pt x="234" y="32"/>
                    <a:pt x="234" y="32"/>
                  </a:cubicBezTo>
                  <a:cubicBezTo>
                    <a:pt x="234" y="38"/>
                    <a:pt x="239" y="43"/>
                    <a:pt x="245" y="43"/>
                  </a:cubicBezTo>
                  <a:cubicBezTo>
                    <a:pt x="298" y="43"/>
                    <a:pt x="298" y="43"/>
                    <a:pt x="298" y="43"/>
                  </a:cubicBezTo>
                  <a:lnTo>
                    <a:pt x="298" y="235"/>
                  </a:lnTo>
                  <a:close/>
                  <a:moveTo>
                    <a:pt x="64" y="75"/>
                  </a:moveTo>
                  <a:cubicBezTo>
                    <a:pt x="64" y="81"/>
                    <a:pt x="59" y="85"/>
                    <a:pt x="53" y="85"/>
                  </a:cubicBezTo>
                  <a:cubicBezTo>
                    <a:pt x="47" y="85"/>
                    <a:pt x="42" y="81"/>
                    <a:pt x="42" y="75"/>
                  </a:cubicBezTo>
                  <a:cubicBezTo>
                    <a:pt x="42" y="69"/>
                    <a:pt x="47" y="64"/>
                    <a:pt x="53" y="64"/>
                  </a:cubicBezTo>
                  <a:cubicBezTo>
                    <a:pt x="59" y="64"/>
                    <a:pt x="64" y="69"/>
                    <a:pt x="64" y="75"/>
                  </a:cubicBezTo>
                  <a:close/>
                  <a:moveTo>
                    <a:pt x="106" y="75"/>
                  </a:moveTo>
                  <a:cubicBezTo>
                    <a:pt x="106" y="81"/>
                    <a:pt x="102" y="85"/>
                    <a:pt x="96" y="85"/>
                  </a:cubicBezTo>
                  <a:cubicBezTo>
                    <a:pt x="90" y="85"/>
                    <a:pt x="85" y="81"/>
                    <a:pt x="85" y="75"/>
                  </a:cubicBezTo>
                  <a:cubicBezTo>
                    <a:pt x="85" y="69"/>
                    <a:pt x="90" y="64"/>
                    <a:pt x="96" y="64"/>
                  </a:cubicBezTo>
                  <a:cubicBezTo>
                    <a:pt x="102" y="64"/>
                    <a:pt x="106" y="69"/>
                    <a:pt x="106" y="75"/>
                  </a:cubicBezTo>
                  <a:close/>
                  <a:moveTo>
                    <a:pt x="149" y="75"/>
                  </a:moveTo>
                  <a:cubicBezTo>
                    <a:pt x="149" y="81"/>
                    <a:pt x="144" y="85"/>
                    <a:pt x="138" y="85"/>
                  </a:cubicBezTo>
                  <a:cubicBezTo>
                    <a:pt x="132" y="85"/>
                    <a:pt x="128" y="81"/>
                    <a:pt x="128" y="75"/>
                  </a:cubicBezTo>
                  <a:cubicBezTo>
                    <a:pt x="128" y="69"/>
                    <a:pt x="132" y="64"/>
                    <a:pt x="138" y="64"/>
                  </a:cubicBezTo>
                  <a:cubicBezTo>
                    <a:pt x="144" y="64"/>
                    <a:pt x="149" y="69"/>
                    <a:pt x="149" y="75"/>
                  </a:cubicBezTo>
                  <a:close/>
                  <a:moveTo>
                    <a:pt x="192" y="75"/>
                  </a:moveTo>
                  <a:cubicBezTo>
                    <a:pt x="192" y="81"/>
                    <a:pt x="187" y="85"/>
                    <a:pt x="181" y="85"/>
                  </a:cubicBezTo>
                  <a:cubicBezTo>
                    <a:pt x="175" y="85"/>
                    <a:pt x="170" y="81"/>
                    <a:pt x="170" y="75"/>
                  </a:cubicBezTo>
                  <a:cubicBezTo>
                    <a:pt x="170" y="69"/>
                    <a:pt x="175" y="64"/>
                    <a:pt x="181" y="64"/>
                  </a:cubicBezTo>
                  <a:cubicBezTo>
                    <a:pt x="187" y="64"/>
                    <a:pt x="192" y="69"/>
                    <a:pt x="192" y="75"/>
                  </a:cubicBezTo>
                  <a:close/>
                  <a:moveTo>
                    <a:pt x="234" y="75"/>
                  </a:moveTo>
                  <a:cubicBezTo>
                    <a:pt x="234" y="81"/>
                    <a:pt x="230" y="85"/>
                    <a:pt x="224" y="85"/>
                  </a:cubicBezTo>
                  <a:cubicBezTo>
                    <a:pt x="218" y="85"/>
                    <a:pt x="213" y="81"/>
                    <a:pt x="213" y="75"/>
                  </a:cubicBezTo>
                  <a:cubicBezTo>
                    <a:pt x="213" y="69"/>
                    <a:pt x="218" y="64"/>
                    <a:pt x="224" y="64"/>
                  </a:cubicBezTo>
                  <a:cubicBezTo>
                    <a:pt x="230" y="64"/>
                    <a:pt x="234" y="69"/>
                    <a:pt x="234" y="75"/>
                  </a:cubicBezTo>
                  <a:close/>
                  <a:moveTo>
                    <a:pt x="256" y="75"/>
                  </a:moveTo>
                  <a:cubicBezTo>
                    <a:pt x="256" y="69"/>
                    <a:pt x="260" y="64"/>
                    <a:pt x="266" y="64"/>
                  </a:cubicBezTo>
                  <a:cubicBezTo>
                    <a:pt x="272" y="64"/>
                    <a:pt x="277" y="69"/>
                    <a:pt x="277" y="75"/>
                  </a:cubicBezTo>
                  <a:cubicBezTo>
                    <a:pt x="277" y="81"/>
                    <a:pt x="272" y="85"/>
                    <a:pt x="266" y="85"/>
                  </a:cubicBezTo>
                  <a:cubicBezTo>
                    <a:pt x="260" y="85"/>
                    <a:pt x="256" y="81"/>
                    <a:pt x="256" y="75"/>
                  </a:cubicBezTo>
                  <a:close/>
                  <a:moveTo>
                    <a:pt x="64" y="117"/>
                  </a:moveTo>
                  <a:cubicBezTo>
                    <a:pt x="64" y="123"/>
                    <a:pt x="59" y="128"/>
                    <a:pt x="53" y="128"/>
                  </a:cubicBezTo>
                  <a:cubicBezTo>
                    <a:pt x="47" y="128"/>
                    <a:pt x="42" y="123"/>
                    <a:pt x="42" y="117"/>
                  </a:cubicBezTo>
                  <a:cubicBezTo>
                    <a:pt x="42" y="111"/>
                    <a:pt x="47" y="107"/>
                    <a:pt x="53" y="107"/>
                  </a:cubicBezTo>
                  <a:cubicBezTo>
                    <a:pt x="59" y="107"/>
                    <a:pt x="64" y="111"/>
                    <a:pt x="64" y="117"/>
                  </a:cubicBezTo>
                  <a:close/>
                  <a:moveTo>
                    <a:pt x="106" y="117"/>
                  </a:moveTo>
                  <a:cubicBezTo>
                    <a:pt x="106" y="123"/>
                    <a:pt x="102" y="128"/>
                    <a:pt x="96" y="128"/>
                  </a:cubicBezTo>
                  <a:cubicBezTo>
                    <a:pt x="90" y="128"/>
                    <a:pt x="85" y="123"/>
                    <a:pt x="85" y="117"/>
                  </a:cubicBezTo>
                  <a:cubicBezTo>
                    <a:pt x="85" y="111"/>
                    <a:pt x="90" y="107"/>
                    <a:pt x="96" y="107"/>
                  </a:cubicBezTo>
                  <a:cubicBezTo>
                    <a:pt x="102" y="107"/>
                    <a:pt x="106" y="111"/>
                    <a:pt x="106" y="117"/>
                  </a:cubicBezTo>
                  <a:close/>
                  <a:moveTo>
                    <a:pt x="149" y="117"/>
                  </a:moveTo>
                  <a:cubicBezTo>
                    <a:pt x="149" y="123"/>
                    <a:pt x="144" y="128"/>
                    <a:pt x="138" y="128"/>
                  </a:cubicBezTo>
                  <a:cubicBezTo>
                    <a:pt x="132" y="128"/>
                    <a:pt x="128" y="123"/>
                    <a:pt x="128" y="117"/>
                  </a:cubicBezTo>
                  <a:cubicBezTo>
                    <a:pt x="128" y="111"/>
                    <a:pt x="132" y="107"/>
                    <a:pt x="138" y="107"/>
                  </a:cubicBezTo>
                  <a:cubicBezTo>
                    <a:pt x="144" y="107"/>
                    <a:pt x="149" y="111"/>
                    <a:pt x="149" y="117"/>
                  </a:cubicBezTo>
                  <a:close/>
                  <a:moveTo>
                    <a:pt x="192" y="117"/>
                  </a:moveTo>
                  <a:cubicBezTo>
                    <a:pt x="192" y="123"/>
                    <a:pt x="187" y="128"/>
                    <a:pt x="181" y="128"/>
                  </a:cubicBezTo>
                  <a:cubicBezTo>
                    <a:pt x="175" y="128"/>
                    <a:pt x="170" y="123"/>
                    <a:pt x="170" y="117"/>
                  </a:cubicBezTo>
                  <a:cubicBezTo>
                    <a:pt x="170" y="111"/>
                    <a:pt x="175" y="107"/>
                    <a:pt x="181" y="107"/>
                  </a:cubicBezTo>
                  <a:cubicBezTo>
                    <a:pt x="187" y="107"/>
                    <a:pt x="192" y="111"/>
                    <a:pt x="192" y="117"/>
                  </a:cubicBezTo>
                  <a:close/>
                  <a:moveTo>
                    <a:pt x="234" y="117"/>
                  </a:moveTo>
                  <a:cubicBezTo>
                    <a:pt x="234" y="123"/>
                    <a:pt x="230" y="128"/>
                    <a:pt x="224" y="128"/>
                  </a:cubicBezTo>
                  <a:cubicBezTo>
                    <a:pt x="218" y="128"/>
                    <a:pt x="213" y="123"/>
                    <a:pt x="213" y="117"/>
                  </a:cubicBezTo>
                  <a:cubicBezTo>
                    <a:pt x="213" y="111"/>
                    <a:pt x="218" y="107"/>
                    <a:pt x="224" y="107"/>
                  </a:cubicBezTo>
                  <a:cubicBezTo>
                    <a:pt x="230" y="107"/>
                    <a:pt x="234" y="111"/>
                    <a:pt x="234" y="117"/>
                  </a:cubicBezTo>
                  <a:close/>
                  <a:moveTo>
                    <a:pt x="256" y="117"/>
                  </a:moveTo>
                  <a:cubicBezTo>
                    <a:pt x="256" y="111"/>
                    <a:pt x="260" y="107"/>
                    <a:pt x="266" y="107"/>
                  </a:cubicBezTo>
                  <a:cubicBezTo>
                    <a:pt x="272" y="107"/>
                    <a:pt x="277" y="111"/>
                    <a:pt x="277" y="117"/>
                  </a:cubicBezTo>
                  <a:cubicBezTo>
                    <a:pt x="277" y="123"/>
                    <a:pt x="272" y="128"/>
                    <a:pt x="266" y="128"/>
                  </a:cubicBezTo>
                  <a:cubicBezTo>
                    <a:pt x="260" y="128"/>
                    <a:pt x="256" y="123"/>
                    <a:pt x="256" y="117"/>
                  </a:cubicBezTo>
                  <a:close/>
                  <a:moveTo>
                    <a:pt x="64" y="160"/>
                  </a:moveTo>
                  <a:cubicBezTo>
                    <a:pt x="64" y="166"/>
                    <a:pt x="59" y="171"/>
                    <a:pt x="53" y="171"/>
                  </a:cubicBezTo>
                  <a:cubicBezTo>
                    <a:pt x="47" y="171"/>
                    <a:pt x="42" y="166"/>
                    <a:pt x="42" y="160"/>
                  </a:cubicBezTo>
                  <a:cubicBezTo>
                    <a:pt x="42" y="154"/>
                    <a:pt x="47" y="149"/>
                    <a:pt x="53" y="149"/>
                  </a:cubicBezTo>
                  <a:cubicBezTo>
                    <a:pt x="59" y="149"/>
                    <a:pt x="64" y="154"/>
                    <a:pt x="64" y="160"/>
                  </a:cubicBezTo>
                  <a:close/>
                  <a:moveTo>
                    <a:pt x="106" y="160"/>
                  </a:moveTo>
                  <a:cubicBezTo>
                    <a:pt x="106" y="166"/>
                    <a:pt x="102" y="171"/>
                    <a:pt x="96" y="171"/>
                  </a:cubicBezTo>
                  <a:cubicBezTo>
                    <a:pt x="90" y="171"/>
                    <a:pt x="85" y="166"/>
                    <a:pt x="85" y="160"/>
                  </a:cubicBezTo>
                  <a:cubicBezTo>
                    <a:pt x="85" y="154"/>
                    <a:pt x="90" y="149"/>
                    <a:pt x="96" y="149"/>
                  </a:cubicBezTo>
                  <a:cubicBezTo>
                    <a:pt x="102" y="149"/>
                    <a:pt x="106" y="154"/>
                    <a:pt x="106" y="160"/>
                  </a:cubicBezTo>
                  <a:close/>
                  <a:moveTo>
                    <a:pt x="234" y="160"/>
                  </a:moveTo>
                  <a:cubicBezTo>
                    <a:pt x="234" y="166"/>
                    <a:pt x="230" y="171"/>
                    <a:pt x="224" y="171"/>
                  </a:cubicBezTo>
                  <a:cubicBezTo>
                    <a:pt x="218" y="171"/>
                    <a:pt x="213" y="166"/>
                    <a:pt x="213" y="160"/>
                  </a:cubicBezTo>
                  <a:cubicBezTo>
                    <a:pt x="213" y="154"/>
                    <a:pt x="218" y="149"/>
                    <a:pt x="224" y="149"/>
                  </a:cubicBezTo>
                  <a:cubicBezTo>
                    <a:pt x="230" y="149"/>
                    <a:pt x="234" y="154"/>
                    <a:pt x="234" y="160"/>
                  </a:cubicBezTo>
                  <a:close/>
                  <a:moveTo>
                    <a:pt x="256" y="160"/>
                  </a:moveTo>
                  <a:cubicBezTo>
                    <a:pt x="256" y="154"/>
                    <a:pt x="260" y="149"/>
                    <a:pt x="266" y="149"/>
                  </a:cubicBezTo>
                  <a:cubicBezTo>
                    <a:pt x="272" y="149"/>
                    <a:pt x="277" y="154"/>
                    <a:pt x="277" y="160"/>
                  </a:cubicBezTo>
                  <a:cubicBezTo>
                    <a:pt x="277" y="166"/>
                    <a:pt x="272" y="171"/>
                    <a:pt x="266" y="171"/>
                  </a:cubicBezTo>
                  <a:cubicBezTo>
                    <a:pt x="260" y="171"/>
                    <a:pt x="256" y="166"/>
                    <a:pt x="256" y="160"/>
                  </a:cubicBezTo>
                  <a:close/>
                  <a:moveTo>
                    <a:pt x="64" y="203"/>
                  </a:moveTo>
                  <a:cubicBezTo>
                    <a:pt x="64" y="209"/>
                    <a:pt x="59" y="213"/>
                    <a:pt x="53" y="213"/>
                  </a:cubicBezTo>
                  <a:cubicBezTo>
                    <a:pt x="47" y="213"/>
                    <a:pt x="42" y="209"/>
                    <a:pt x="42" y="203"/>
                  </a:cubicBezTo>
                  <a:cubicBezTo>
                    <a:pt x="42" y="197"/>
                    <a:pt x="47" y="192"/>
                    <a:pt x="53" y="192"/>
                  </a:cubicBezTo>
                  <a:cubicBezTo>
                    <a:pt x="59" y="192"/>
                    <a:pt x="64" y="197"/>
                    <a:pt x="64" y="203"/>
                  </a:cubicBezTo>
                  <a:close/>
                  <a:moveTo>
                    <a:pt x="106" y="203"/>
                  </a:moveTo>
                  <a:cubicBezTo>
                    <a:pt x="106" y="209"/>
                    <a:pt x="102" y="213"/>
                    <a:pt x="96" y="213"/>
                  </a:cubicBezTo>
                  <a:cubicBezTo>
                    <a:pt x="90" y="213"/>
                    <a:pt x="85" y="209"/>
                    <a:pt x="85" y="203"/>
                  </a:cubicBezTo>
                  <a:cubicBezTo>
                    <a:pt x="85" y="197"/>
                    <a:pt x="90" y="192"/>
                    <a:pt x="96" y="192"/>
                  </a:cubicBezTo>
                  <a:cubicBezTo>
                    <a:pt x="102" y="192"/>
                    <a:pt x="106" y="197"/>
                    <a:pt x="106" y="203"/>
                  </a:cubicBezTo>
                  <a:close/>
                  <a:moveTo>
                    <a:pt x="234" y="203"/>
                  </a:moveTo>
                  <a:cubicBezTo>
                    <a:pt x="234" y="209"/>
                    <a:pt x="230" y="213"/>
                    <a:pt x="224" y="213"/>
                  </a:cubicBezTo>
                  <a:cubicBezTo>
                    <a:pt x="218" y="213"/>
                    <a:pt x="213" y="209"/>
                    <a:pt x="213" y="203"/>
                  </a:cubicBezTo>
                  <a:cubicBezTo>
                    <a:pt x="213" y="197"/>
                    <a:pt x="218" y="192"/>
                    <a:pt x="224" y="192"/>
                  </a:cubicBezTo>
                  <a:cubicBezTo>
                    <a:pt x="230" y="192"/>
                    <a:pt x="234" y="197"/>
                    <a:pt x="234" y="203"/>
                  </a:cubicBezTo>
                  <a:close/>
                  <a:moveTo>
                    <a:pt x="256" y="203"/>
                  </a:moveTo>
                  <a:cubicBezTo>
                    <a:pt x="256" y="197"/>
                    <a:pt x="260" y="192"/>
                    <a:pt x="266" y="192"/>
                  </a:cubicBezTo>
                  <a:cubicBezTo>
                    <a:pt x="272" y="192"/>
                    <a:pt x="277" y="197"/>
                    <a:pt x="277" y="203"/>
                  </a:cubicBezTo>
                  <a:cubicBezTo>
                    <a:pt x="277" y="209"/>
                    <a:pt x="272" y="213"/>
                    <a:pt x="266" y="213"/>
                  </a:cubicBezTo>
                  <a:cubicBezTo>
                    <a:pt x="260" y="213"/>
                    <a:pt x="256" y="209"/>
                    <a:pt x="25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8" name="Freeform 1043">
            <a:extLst>
              <a:ext uri="{FF2B5EF4-FFF2-40B4-BE49-F238E27FC236}">
                <a16:creationId xmlns:a16="http://schemas.microsoft.com/office/drawing/2014/main" id="{7FB3F955-2A71-43BF-912A-2905CCA9BAC9}"/>
              </a:ext>
            </a:extLst>
          </p:cNvPr>
          <p:cNvSpPr>
            <a:spLocks noChangeAspect="1" noEditPoints="1"/>
          </p:cNvSpPr>
          <p:nvPr/>
        </p:nvSpPr>
        <p:spPr bwMode="auto">
          <a:xfrm>
            <a:off x="4823537" y="1700213"/>
            <a:ext cx="367041" cy="367041"/>
          </a:xfrm>
          <a:custGeom>
            <a:avLst/>
            <a:gdLst>
              <a:gd name="T0" fmla="*/ 266 w 512"/>
              <a:gd name="T1" fmla="*/ 352 h 512"/>
              <a:gd name="T2" fmla="*/ 341 w 512"/>
              <a:gd name="T3" fmla="*/ 160 h 512"/>
              <a:gd name="T4" fmla="*/ 288 w 512"/>
              <a:gd name="T5" fmla="*/ 352 h 512"/>
              <a:gd name="T6" fmla="*/ 234 w 512"/>
              <a:gd name="T7" fmla="*/ 266 h 512"/>
              <a:gd name="T8" fmla="*/ 117 w 512"/>
              <a:gd name="T9" fmla="*/ 352 h 512"/>
              <a:gd name="T10" fmla="*/ 181 w 512"/>
              <a:gd name="T11" fmla="*/ 149 h 512"/>
              <a:gd name="T12" fmla="*/ 330 w 512"/>
              <a:gd name="T13" fmla="*/ 149 h 512"/>
              <a:gd name="T14" fmla="*/ 149 w 512"/>
              <a:gd name="T15" fmla="*/ 309 h 512"/>
              <a:gd name="T16" fmla="*/ 160 w 512"/>
              <a:gd name="T17" fmla="*/ 320 h 512"/>
              <a:gd name="T18" fmla="*/ 138 w 512"/>
              <a:gd name="T19" fmla="*/ 277 h 512"/>
              <a:gd name="T20" fmla="*/ 160 w 512"/>
              <a:gd name="T21" fmla="*/ 234 h 512"/>
              <a:gd name="T22" fmla="*/ 149 w 512"/>
              <a:gd name="T23" fmla="*/ 245 h 512"/>
              <a:gd name="T24" fmla="*/ 149 w 512"/>
              <a:gd name="T25" fmla="*/ 181 h 512"/>
              <a:gd name="T26" fmla="*/ 160 w 512"/>
              <a:gd name="T27" fmla="*/ 192 h 512"/>
              <a:gd name="T28" fmla="*/ 181 w 512"/>
              <a:gd name="T29" fmla="*/ 320 h 512"/>
              <a:gd name="T30" fmla="*/ 202 w 512"/>
              <a:gd name="T31" fmla="*/ 277 h 512"/>
              <a:gd name="T32" fmla="*/ 192 w 512"/>
              <a:gd name="T33" fmla="*/ 288 h 512"/>
              <a:gd name="T34" fmla="*/ 192 w 512"/>
              <a:gd name="T35" fmla="*/ 224 h 512"/>
              <a:gd name="T36" fmla="*/ 202 w 512"/>
              <a:gd name="T37" fmla="*/ 234 h 512"/>
              <a:gd name="T38" fmla="*/ 181 w 512"/>
              <a:gd name="T39" fmla="*/ 192 h 512"/>
              <a:gd name="T40" fmla="*/ 245 w 512"/>
              <a:gd name="T41" fmla="*/ 234 h 512"/>
              <a:gd name="T42" fmla="*/ 234 w 512"/>
              <a:gd name="T43" fmla="*/ 245 h 512"/>
              <a:gd name="T44" fmla="*/ 234 w 512"/>
              <a:gd name="T45" fmla="*/ 181 h 512"/>
              <a:gd name="T46" fmla="*/ 245 w 512"/>
              <a:gd name="T47" fmla="*/ 192 h 512"/>
              <a:gd name="T48" fmla="*/ 266 w 512"/>
              <a:gd name="T49" fmla="*/ 234 h 512"/>
              <a:gd name="T50" fmla="*/ 288 w 512"/>
              <a:gd name="T51" fmla="*/ 192 h 512"/>
              <a:gd name="T52" fmla="*/ 277 w 512"/>
              <a:gd name="T53" fmla="*/ 202 h 512"/>
              <a:gd name="T54" fmla="*/ 320 w 512"/>
              <a:gd name="T55" fmla="*/ 309 h 512"/>
              <a:gd name="T56" fmla="*/ 330 w 512"/>
              <a:gd name="T57" fmla="*/ 320 h 512"/>
              <a:gd name="T58" fmla="*/ 309 w 512"/>
              <a:gd name="T59" fmla="*/ 277 h 512"/>
              <a:gd name="T60" fmla="*/ 330 w 512"/>
              <a:gd name="T61" fmla="*/ 234 h 512"/>
              <a:gd name="T62" fmla="*/ 320 w 512"/>
              <a:gd name="T63" fmla="*/ 245 h 512"/>
              <a:gd name="T64" fmla="*/ 320 w 512"/>
              <a:gd name="T65" fmla="*/ 181 h 512"/>
              <a:gd name="T66" fmla="*/ 330 w 512"/>
              <a:gd name="T67" fmla="*/ 192 h 512"/>
              <a:gd name="T68" fmla="*/ 373 w 512"/>
              <a:gd name="T69" fmla="*/ 192 h 512"/>
              <a:gd name="T70" fmla="*/ 352 w 512"/>
              <a:gd name="T71" fmla="*/ 234 h 512"/>
              <a:gd name="T72" fmla="*/ 362 w 512"/>
              <a:gd name="T73" fmla="*/ 224 h 512"/>
              <a:gd name="T74" fmla="*/ 362 w 512"/>
              <a:gd name="T75" fmla="*/ 288 h 512"/>
              <a:gd name="T76" fmla="*/ 352 w 512"/>
              <a:gd name="T77" fmla="*/ 277 h 512"/>
              <a:gd name="T78" fmla="*/ 373 w 512"/>
              <a:gd name="T79" fmla="*/ 320 h 512"/>
              <a:gd name="T80" fmla="*/ 512 w 512"/>
              <a:gd name="T81" fmla="*/ 256 h 512"/>
              <a:gd name="T82" fmla="*/ 256 w 512"/>
              <a:gd name="T83" fmla="*/ 0 h 512"/>
              <a:gd name="T84" fmla="*/ 405 w 512"/>
              <a:gd name="T85" fmla="*/ 138 h 512"/>
              <a:gd name="T86" fmla="*/ 341 w 512"/>
              <a:gd name="T87" fmla="*/ 117 h 512"/>
              <a:gd name="T88" fmla="*/ 160 w 512"/>
              <a:gd name="T89" fmla="*/ 138 h 512"/>
              <a:gd name="T90" fmla="*/ 96 w 512"/>
              <a:gd name="T91" fmla="*/ 362 h 512"/>
              <a:gd name="T92" fmla="*/ 416 w 512"/>
              <a:gd name="T9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45" y="288"/>
                </a:moveTo>
                <a:cubicBezTo>
                  <a:pt x="266" y="288"/>
                  <a:pt x="266" y="288"/>
                  <a:pt x="266" y="288"/>
                </a:cubicBezTo>
                <a:cubicBezTo>
                  <a:pt x="266" y="352"/>
                  <a:pt x="266" y="352"/>
                  <a:pt x="266" y="352"/>
                </a:cubicBezTo>
                <a:cubicBezTo>
                  <a:pt x="245" y="352"/>
                  <a:pt x="245" y="352"/>
                  <a:pt x="245" y="352"/>
                </a:cubicBezTo>
                <a:lnTo>
                  <a:pt x="245" y="288"/>
                </a:lnTo>
                <a:close/>
                <a:moveTo>
                  <a:pt x="341" y="160"/>
                </a:moveTo>
                <a:cubicBezTo>
                  <a:pt x="394" y="160"/>
                  <a:pt x="394" y="160"/>
                  <a:pt x="394" y="160"/>
                </a:cubicBezTo>
                <a:cubicBezTo>
                  <a:pt x="394" y="352"/>
                  <a:pt x="394" y="352"/>
                  <a:pt x="394" y="352"/>
                </a:cubicBezTo>
                <a:cubicBezTo>
                  <a:pt x="288" y="352"/>
                  <a:pt x="288" y="352"/>
                  <a:pt x="288" y="352"/>
                </a:cubicBezTo>
                <a:cubicBezTo>
                  <a:pt x="288" y="277"/>
                  <a:pt x="288" y="277"/>
                  <a:pt x="288" y="277"/>
                </a:cubicBezTo>
                <a:cubicBezTo>
                  <a:pt x="288" y="271"/>
                  <a:pt x="283" y="266"/>
                  <a:pt x="277" y="266"/>
                </a:cubicBezTo>
                <a:cubicBezTo>
                  <a:pt x="234" y="266"/>
                  <a:pt x="234" y="266"/>
                  <a:pt x="234" y="266"/>
                </a:cubicBezTo>
                <a:cubicBezTo>
                  <a:pt x="228" y="266"/>
                  <a:pt x="224" y="271"/>
                  <a:pt x="224" y="277"/>
                </a:cubicBezTo>
                <a:cubicBezTo>
                  <a:pt x="224" y="352"/>
                  <a:pt x="224" y="352"/>
                  <a:pt x="224" y="352"/>
                </a:cubicBezTo>
                <a:cubicBezTo>
                  <a:pt x="117" y="352"/>
                  <a:pt x="117" y="352"/>
                  <a:pt x="117" y="352"/>
                </a:cubicBezTo>
                <a:cubicBezTo>
                  <a:pt x="117" y="160"/>
                  <a:pt x="117" y="160"/>
                  <a:pt x="117" y="160"/>
                </a:cubicBezTo>
                <a:cubicBezTo>
                  <a:pt x="170" y="160"/>
                  <a:pt x="170" y="160"/>
                  <a:pt x="170" y="160"/>
                </a:cubicBezTo>
                <a:cubicBezTo>
                  <a:pt x="176" y="160"/>
                  <a:pt x="181" y="155"/>
                  <a:pt x="181" y="149"/>
                </a:cubicBezTo>
                <a:cubicBezTo>
                  <a:pt x="181" y="138"/>
                  <a:pt x="181" y="138"/>
                  <a:pt x="181" y="138"/>
                </a:cubicBezTo>
                <a:cubicBezTo>
                  <a:pt x="330" y="138"/>
                  <a:pt x="330" y="138"/>
                  <a:pt x="330" y="138"/>
                </a:cubicBezTo>
                <a:cubicBezTo>
                  <a:pt x="330" y="149"/>
                  <a:pt x="330" y="149"/>
                  <a:pt x="330" y="149"/>
                </a:cubicBezTo>
                <a:cubicBezTo>
                  <a:pt x="330" y="155"/>
                  <a:pt x="335" y="160"/>
                  <a:pt x="341" y="160"/>
                </a:cubicBezTo>
                <a:close/>
                <a:moveTo>
                  <a:pt x="160" y="320"/>
                </a:moveTo>
                <a:cubicBezTo>
                  <a:pt x="160" y="314"/>
                  <a:pt x="155" y="309"/>
                  <a:pt x="149" y="309"/>
                </a:cubicBezTo>
                <a:cubicBezTo>
                  <a:pt x="143" y="309"/>
                  <a:pt x="138" y="314"/>
                  <a:pt x="138" y="320"/>
                </a:cubicBezTo>
                <a:cubicBezTo>
                  <a:pt x="138" y="326"/>
                  <a:pt x="143" y="330"/>
                  <a:pt x="149" y="330"/>
                </a:cubicBezTo>
                <a:cubicBezTo>
                  <a:pt x="155" y="330"/>
                  <a:pt x="160" y="326"/>
                  <a:pt x="160" y="320"/>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160" y="234"/>
                </a:moveTo>
                <a:cubicBezTo>
                  <a:pt x="160" y="228"/>
                  <a:pt x="155" y="224"/>
                  <a:pt x="149" y="224"/>
                </a:cubicBezTo>
                <a:cubicBezTo>
                  <a:pt x="143" y="224"/>
                  <a:pt x="138" y="228"/>
                  <a:pt x="138" y="234"/>
                </a:cubicBezTo>
                <a:cubicBezTo>
                  <a:pt x="138" y="240"/>
                  <a:pt x="143" y="245"/>
                  <a:pt x="149" y="245"/>
                </a:cubicBezTo>
                <a:cubicBezTo>
                  <a:pt x="155" y="245"/>
                  <a:pt x="160" y="240"/>
                  <a:pt x="160" y="234"/>
                </a:cubicBezTo>
                <a:close/>
                <a:moveTo>
                  <a:pt x="160" y="192"/>
                </a:moveTo>
                <a:cubicBezTo>
                  <a:pt x="160" y="186"/>
                  <a:pt x="155" y="181"/>
                  <a:pt x="149" y="181"/>
                </a:cubicBezTo>
                <a:cubicBezTo>
                  <a:pt x="143" y="181"/>
                  <a:pt x="138" y="186"/>
                  <a:pt x="138" y="192"/>
                </a:cubicBezTo>
                <a:cubicBezTo>
                  <a:pt x="138" y="198"/>
                  <a:pt x="143" y="202"/>
                  <a:pt x="149" y="202"/>
                </a:cubicBezTo>
                <a:cubicBezTo>
                  <a:pt x="155" y="202"/>
                  <a:pt x="160" y="198"/>
                  <a:pt x="160" y="192"/>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02" y="192"/>
                </a:moveTo>
                <a:cubicBezTo>
                  <a:pt x="202" y="186"/>
                  <a:pt x="198" y="181"/>
                  <a:pt x="192" y="181"/>
                </a:cubicBezTo>
                <a:cubicBezTo>
                  <a:pt x="186" y="181"/>
                  <a:pt x="181" y="186"/>
                  <a:pt x="181" y="192"/>
                </a:cubicBezTo>
                <a:cubicBezTo>
                  <a:pt x="181" y="198"/>
                  <a:pt x="186" y="202"/>
                  <a:pt x="192" y="202"/>
                </a:cubicBezTo>
                <a:cubicBezTo>
                  <a:pt x="198" y="202"/>
                  <a:pt x="202" y="198"/>
                  <a:pt x="202" y="192"/>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45" y="192"/>
                </a:moveTo>
                <a:cubicBezTo>
                  <a:pt x="245" y="186"/>
                  <a:pt x="240" y="181"/>
                  <a:pt x="234" y="181"/>
                </a:cubicBezTo>
                <a:cubicBezTo>
                  <a:pt x="228" y="181"/>
                  <a:pt x="224" y="186"/>
                  <a:pt x="224" y="192"/>
                </a:cubicBezTo>
                <a:cubicBezTo>
                  <a:pt x="224" y="198"/>
                  <a:pt x="228" y="202"/>
                  <a:pt x="234" y="202"/>
                </a:cubicBezTo>
                <a:cubicBezTo>
                  <a:pt x="240" y="202"/>
                  <a:pt x="245" y="198"/>
                  <a:pt x="245" y="192"/>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288" y="192"/>
                </a:moveTo>
                <a:cubicBezTo>
                  <a:pt x="288" y="186"/>
                  <a:pt x="283" y="181"/>
                  <a:pt x="277" y="181"/>
                </a:cubicBezTo>
                <a:cubicBezTo>
                  <a:pt x="271" y="181"/>
                  <a:pt x="266" y="186"/>
                  <a:pt x="266" y="192"/>
                </a:cubicBezTo>
                <a:cubicBezTo>
                  <a:pt x="266" y="198"/>
                  <a:pt x="271" y="202"/>
                  <a:pt x="277" y="202"/>
                </a:cubicBezTo>
                <a:cubicBezTo>
                  <a:pt x="283" y="202"/>
                  <a:pt x="288" y="198"/>
                  <a:pt x="288" y="192"/>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30" y="192"/>
                </a:moveTo>
                <a:cubicBezTo>
                  <a:pt x="330" y="186"/>
                  <a:pt x="326" y="181"/>
                  <a:pt x="320" y="181"/>
                </a:cubicBezTo>
                <a:cubicBezTo>
                  <a:pt x="314" y="181"/>
                  <a:pt x="309" y="186"/>
                  <a:pt x="309" y="192"/>
                </a:cubicBezTo>
                <a:cubicBezTo>
                  <a:pt x="309" y="198"/>
                  <a:pt x="314" y="202"/>
                  <a:pt x="320" y="202"/>
                </a:cubicBezTo>
                <a:cubicBezTo>
                  <a:pt x="326" y="202"/>
                  <a:pt x="330" y="198"/>
                  <a:pt x="330" y="192"/>
                </a:cubicBezTo>
                <a:close/>
                <a:moveTo>
                  <a:pt x="352" y="192"/>
                </a:moveTo>
                <a:cubicBezTo>
                  <a:pt x="352" y="198"/>
                  <a:pt x="356" y="202"/>
                  <a:pt x="362" y="202"/>
                </a:cubicBezTo>
                <a:cubicBezTo>
                  <a:pt x="368" y="202"/>
                  <a:pt x="373" y="198"/>
                  <a:pt x="373" y="192"/>
                </a:cubicBezTo>
                <a:cubicBezTo>
                  <a:pt x="373" y="186"/>
                  <a:pt x="368" y="181"/>
                  <a:pt x="362" y="181"/>
                </a:cubicBezTo>
                <a:cubicBezTo>
                  <a:pt x="356" y="181"/>
                  <a:pt x="352" y="186"/>
                  <a:pt x="352" y="192"/>
                </a:cubicBezTo>
                <a:close/>
                <a:moveTo>
                  <a:pt x="352" y="234"/>
                </a:moveTo>
                <a:cubicBezTo>
                  <a:pt x="352" y="240"/>
                  <a:pt x="356" y="245"/>
                  <a:pt x="362" y="245"/>
                </a:cubicBezTo>
                <a:cubicBezTo>
                  <a:pt x="368" y="245"/>
                  <a:pt x="373" y="240"/>
                  <a:pt x="373" y="234"/>
                </a:cubicBezTo>
                <a:cubicBezTo>
                  <a:pt x="373" y="228"/>
                  <a:pt x="368" y="224"/>
                  <a:pt x="362" y="224"/>
                </a:cubicBezTo>
                <a:cubicBezTo>
                  <a:pt x="356" y="224"/>
                  <a:pt x="352" y="228"/>
                  <a:pt x="352" y="234"/>
                </a:cubicBezTo>
                <a:close/>
                <a:moveTo>
                  <a:pt x="352" y="277"/>
                </a:moveTo>
                <a:cubicBezTo>
                  <a:pt x="352" y="283"/>
                  <a:pt x="356" y="288"/>
                  <a:pt x="362" y="288"/>
                </a:cubicBezTo>
                <a:cubicBezTo>
                  <a:pt x="368" y="288"/>
                  <a:pt x="373" y="283"/>
                  <a:pt x="373" y="277"/>
                </a:cubicBezTo>
                <a:cubicBezTo>
                  <a:pt x="373" y="271"/>
                  <a:pt x="368" y="266"/>
                  <a:pt x="362" y="266"/>
                </a:cubicBezTo>
                <a:cubicBezTo>
                  <a:pt x="356" y="266"/>
                  <a:pt x="352" y="271"/>
                  <a:pt x="352" y="277"/>
                </a:cubicBezTo>
                <a:close/>
                <a:moveTo>
                  <a:pt x="352" y="320"/>
                </a:moveTo>
                <a:cubicBezTo>
                  <a:pt x="352" y="326"/>
                  <a:pt x="356" y="330"/>
                  <a:pt x="362" y="330"/>
                </a:cubicBezTo>
                <a:cubicBezTo>
                  <a:pt x="368" y="330"/>
                  <a:pt x="373" y="326"/>
                  <a:pt x="373" y="320"/>
                </a:cubicBezTo>
                <a:cubicBezTo>
                  <a:pt x="373" y="314"/>
                  <a:pt x="368" y="309"/>
                  <a:pt x="362" y="309"/>
                </a:cubicBezTo>
                <a:cubicBezTo>
                  <a:pt x="356" y="309"/>
                  <a:pt x="352" y="314"/>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52" y="138"/>
                  <a:pt x="352" y="138"/>
                  <a:pt x="352" y="138"/>
                </a:cubicBezTo>
                <a:cubicBezTo>
                  <a:pt x="352" y="128"/>
                  <a:pt x="352" y="128"/>
                  <a:pt x="352" y="128"/>
                </a:cubicBezTo>
                <a:cubicBezTo>
                  <a:pt x="352" y="122"/>
                  <a:pt x="347" y="117"/>
                  <a:pt x="341" y="117"/>
                </a:cubicBezTo>
                <a:cubicBezTo>
                  <a:pt x="170" y="117"/>
                  <a:pt x="170" y="117"/>
                  <a:pt x="170" y="117"/>
                </a:cubicBezTo>
                <a:cubicBezTo>
                  <a:pt x="164" y="117"/>
                  <a:pt x="160" y="122"/>
                  <a:pt x="160" y="128"/>
                </a:cubicBezTo>
                <a:cubicBezTo>
                  <a:pt x="160" y="138"/>
                  <a:pt x="160" y="138"/>
                  <a:pt x="16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173776432"/>
      </p:ext>
    </p:extLst>
  </p:cSld>
  <p:clrMapOvr>
    <a:masterClrMapping/>
  </p:clrMapOvr>
  <p:transition>
    <p:fade/>
  </p:transition>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a:t>Icons  specific</a:t>
            </a:r>
          </a:p>
        </p:txBody>
      </p:sp>
      <p:sp>
        <p:nvSpPr>
          <p:cNvPr id="4" name="Title 3"/>
          <p:cNvSpPr>
            <a:spLocks noGrp="1"/>
          </p:cNvSpPr>
          <p:nvPr>
            <p:ph type="title"/>
          </p:nvPr>
        </p:nvSpPr>
        <p:spPr/>
        <p:txBody>
          <a:bodyPr/>
          <a:lstStyle/>
          <a:p>
            <a:r>
              <a:rPr lang="en-GB" dirty="0"/>
              <a:t>Iconography</a:t>
            </a:r>
          </a:p>
        </p:txBody>
      </p:sp>
      <p:sp>
        <p:nvSpPr>
          <p:cNvPr id="24" name="TextBox 23">
            <a:extLst>
              <a:ext uri="{FF2B5EF4-FFF2-40B4-BE49-F238E27FC236}">
                <a16:creationId xmlns:a16="http://schemas.microsoft.com/office/drawing/2014/main" id="{950C5283-4DD9-44DD-B5DC-8069FCF4B9E4}"/>
              </a:ext>
            </a:extLst>
          </p:cNvPr>
          <p:cNvSpPr txBox="1"/>
          <p:nvPr/>
        </p:nvSpPr>
        <p:spPr>
          <a:xfrm>
            <a:off x="485942" y="2120424"/>
            <a:ext cx="819150"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ubmit RFP</a:t>
            </a:r>
          </a:p>
        </p:txBody>
      </p:sp>
      <p:sp>
        <p:nvSpPr>
          <p:cNvPr id="25" name="TextBox 24">
            <a:extLst>
              <a:ext uri="{FF2B5EF4-FFF2-40B4-BE49-F238E27FC236}">
                <a16:creationId xmlns:a16="http://schemas.microsoft.com/office/drawing/2014/main" id="{8DD71915-52B0-479F-99BD-7E83D7F79376}"/>
              </a:ext>
            </a:extLst>
          </p:cNvPr>
          <p:cNvSpPr txBox="1"/>
          <p:nvPr/>
        </p:nvSpPr>
        <p:spPr>
          <a:xfrm>
            <a:off x="1331550" y="2121165"/>
            <a:ext cx="83396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Office locator</a:t>
            </a:r>
          </a:p>
        </p:txBody>
      </p:sp>
      <p:sp>
        <p:nvSpPr>
          <p:cNvPr id="26" name="TextBox 25">
            <a:extLst>
              <a:ext uri="{FF2B5EF4-FFF2-40B4-BE49-F238E27FC236}">
                <a16:creationId xmlns:a16="http://schemas.microsoft.com/office/drawing/2014/main" id="{76EC0246-2B2A-40C5-A46E-8AD0D7A917AC}"/>
              </a:ext>
            </a:extLst>
          </p:cNvPr>
          <p:cNvSpPr txBox="1"/>
          <p:nvPr/>
        </p:nvSpPr>
        <p:spPr>
          <a:xfrm>
            <a:off x="2191975" y="2121164"/>
            <a:ext cx="830792"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cs typeface="Calibri Light" panose="020F0302020204030204" pitchFamily="34" charset="0"/>
              </a:rPr>
              <a:t>Search jobs</a:t>
            </a:r>
          </a:p>
        </p:txBody>
      </p:sp>
      <p:grpSp>
        <p:nvGrpSpPr>
          <p:cNvPr id="27" name="Group 314">
            <a:extLst>
              <a:ext uri="{FF2B5EF4-FFF2-40B4-BE49-F238E27FC236}">
                <a16:creationId xmlns:a16="http://schemas.microsoft.com/office/drawing/2014/main" id="{8AAA9AB2-E21B-450C-A296-2449F0D353BD}"/>
              </a:ext>
            </a:extLst>
          </p:cNvPr>
          <p:cNvGrpSpPr>
            <a:grpSpLocks noChangeAspect="1"/>
          </p:cNvGrpSpPr>
          <p:nvPr/>
        </p:nvGrpSpPr>
        <p:grpSpPr bwMode="auto">
          <a:xfrm>
            <a:off x="917027" y="1700213"/>
            <a:ext cx="369676" cy="369676"/>
            <a:chOff x="5811" y="1152"/>
            <a:chExt cx="340" cy="340"/>
          </a:xfrm>
          <a:solidFill>
            <a:schemeClr val="accent4"/>
          </a:solidFill>
        </p:grpSpPr>
        <p:sp>
          <p:nvSpPr>
            <p:cNvPr id="28" name="Freeform 315">
              <a:extLst>
                <a:ext uri="{FF2B5EF4-FFF2-40B4-BE49-F238E27FC236}">
                  <a16:creationId xmlns:a16="http://schemas.microsoft.com/office/drawing/2014/main" id="{1B0739F7-68EE-4DF2-9749-CEFD7CBD9967}"/>
                </a:ext>
              </a:extLst>
            </p:cNvPr>
            <p:cNvSpPr>
              <a:spLocks noEditPoints="1"/>
            </p:cNvSpPr>
            <p:nvPr/>
          </p:nvSpPr>
          <p:spPr bwMode="auto">
            <a:xfrm>
              <a:off x="5889" y="1222"/>
              <a:ext cx="184" cy="192"/>
            </a:xfrm>
            <a:custGeom>
              <a:avLst/>
              <a:gdLst>
                <a:gd name="T0" fmla="*/ 267 w 277"/>
                <a:gd name="T1" fmla="*/ 32 h 288"/>
                <a:gd name="T2" fmla="*/ 224 w 277"/>
                <a:gd name="T3" fmla="*/ 32 h 288"/>
                <a:gd name="T4" fmla="*/ 224 w 277"/>
                <a:gd name="T5" fmla="*/ 11 h 288"/>
                <a:gd name="T6" fmla="*/ 213 w 277"/>
                <a:gd name="T7" fmla="*/ 0 h 288"/>
                <a:gd name="T8" fmla="*/ 64 w 277"/>
                <a:gd name="T9" fmla="*/ 0 h 288"/>
                <a:gd name="T10" fmla="*/ 53 w 277"/>
                <a:gd name="T11" fmla="*/ 11 h 288"/>
                <a:gd name="T12" fmla="*/ 53 w 277"/>
                <a:gd name="T13" fmla="*/ 32 h 288"/>
                <a:gd name="T14" fmla="*/ 11 w 277"/>
                <a:gd name="T15" fmla="*/ 32 h 288"/>
                <a:gd name="T16" fmla="*/ 0 w 277"/>
                <a:gd name="T17" fmla="*/ 43 h 288"/>
                <a:gd name="T18" fmla="*/ 0 w 277"/>
                <a:gd name="T19" fmla="*/ 278 h 288"/>
                <a:gd name="T20" fmla="*/ 11 w 277"/>
                <a:gd name="T21" fmla="*/ 288 h 288"/>
                <a:gd name="T22" fmla="*/ 267 w 277"/>
                <a:gd name="T23" fmla="*/ 288 h 288"/>
                <a:gd name="T24" fmla="*/ 277 w 277"/>
                <a:gd name="T25" fmla="*/ 278 h 288"/>
                <a:gd name="T26" fmla="*/ 277 w 277"/>
                <a:gd name="T27" fmla="*/ 43 h 288"/>
                <a:gd name="T28" fmla="*/ 267 w 277"/>
                <a:gd name="T29" fmla="*/ 32 h 288"/>
                <a:gd name="T30" fmla="*/ 75 w 277"/>
                <a:gd name="T31" fmla="*/ 22 h 288"/>
                <a:gd name="T32" fmla="*/ 203 w 277"/>
                <a:gd name="T33" fmla="*/ 22 h 288"/>
                <a:gd name="T34" fmla="*/ 203 w 277"/>
                <a:gd name="T35" fmla="*/ 105 h 288"/>
                <a:gd name="T36" fmla="*/ 138 w 277"/>
                <a:gd name="T37" fmla="*/ 139 h 288"/>
                <a:gd name="T38" fmla="*/ 75 w 277"/>
                <a:gd name="T39" fmla="*/ 105 h 288"/>
                <a:gd name="T40" fmla="*/ 75 w 277"/>
                <a:gd name="T41" fmla="*/ 22 h 288"/>
                <a:gd name="T42" fmla="*/ 256 w 277"/>
                <a:gd name="T43" fmla="*/ 267 h 288"/>
                <a:gd name="T44" fmla="*/ 21 w 277"/>
                <a:gd name="T45" fmla="*/ 267 h 288"/>
                <a:gd name="T46" fmla="*/ 21 w 277"/>
                <a:gd name="T47" fmla="*/ 54 h 288"/>
                <a:gd name="T48" fmla="*/ 53 w 277"/>
                <a:gd name="T49" fmla="*/ 54 h 288"/>
                <a:gd name="T50" fmla="*/ 53 w 277"/>
                <a:gd name="T51" fmla="*/ 107 h 288"/>
                <a:gd name="T52" fmla="*/ 54 w 277"/>
                <a:gd name="T53" fmla="*/ 111 h 288"/>
                <a:gd name="T54" fmla="*/ 138 w 277"/>
                <a:gd name="T55" fmla="*/ 160 h 288"/>
                <a:gd name="T56" fmla="*/ 223 w 277"/>
                <a:gd name="T57" fmla="*/ 111 h 288"/>
                <a:gd name="T58" fmla="*/ 224 w 277"/>
                <a:gd name="T59" fmla="*/ 107 h 288"/>
                <a:gd name="T60" fmla="*/ 224 w 277"/>
                <a:gd name="T61" fmla="*/ 54 h 288"/>
                <a:gd name="T62" fmla="*/ 256 w 277"/>
                <a:gd name="T63" fmla="*/ 54 h 288"/>
                <a:gd name="T64" fmla="*/ 256 w 277"/>
                <a:gd name="T65" fmla="*/ 267 h 288"/>
                <a:gd name="T66" fmla="*/ 99 w 277"/>
                <a:gd name="T67" fmla="*/ 83 h 288"/>
                <a:gd name="T68" fmla="*/ 99 w 277"/>
                <a:gd name="T69" fmla="*/ 67 h 288"/>
                <a:gd name="T70" fmla="*/ 114 w 277"/>
                <a:gd name="T71" fmla="*/ 67 h 288"/>
                <a:gd name="T72" fmla="*/ 128 w 277"/>
                <a:gd name="T73" fmla="*/ 81 h 288"/>
                <a:gd name="T74" fmla="*/ 128 w 277"/>
                <a:gd name="T75" fmla="*/ 54 h 288"/>
                <a:gd name="T76" fmla="*/ 139 w 277"/>
                <a:gd name="T77" fmla="*/ 43 h 288"/>
                <a:gd name="T78" fmla="*/ 149 w 277"/>
                <a:gd name="T79" fmla="*/ 54 h 288"/>
                <a:gd name="T80" fmla="*/ 149 w 277"/>
                <a:gd name="T81" fmla="*/ 81 h 288"/>
                <a:gd name="T82" fmla="*/ 163 w 277"/>
                <a:gd name="T83" fmla="*/ 67 h 288"/>
                <a:gd name="T84" fmla="*/ 178 w 277"/>
                <a:gd name="T85" fmla="*/ 67 h 288"/>
                <a:gd name="T86" fmla="*/ 178 w 277"/>
                <a:gd name="T87" fmla="*/ 83 h 288"/>
                <a:gd name="T88" fmla="*/ 146 w 277"/>
                <a:gd name="T89" fmla="*/ 115 h 288"/>
                <a:gd name="T90" fmla="*/ 139 w 277"/>
                <a:gd name="T91" fmla="*/ 118 h 288"/>
                <a:gd name="T92" fmla="*/ 131 w 277"/>
                <a:gd name="T93" fmla="*/ 115 h 288"/>
                <a:gd name="T94" fmla="*/ 99 w 277"/>
                <a:gd name="T95" fmla="*/ 83 h 288"/>
                <a:gd name="T96" fmla="*/ 235 w 277"/>
                <a:gd name="T97" fmla="*/ 192 h 288"/>
                <a:gd name="T98" fmla="*/ 224 w 277"/>
                <a:gd name="T99" fmla="*/ 203 h 288"/>
                <a:gd name="T100" fmla="*/ 53 w 277"/>
                <a:gd name="T101" fmla="*/ 203 h 288"/>
                <a:gd name="T102" fmla="*/ 43 w 277"/>
                <a:gd name="T103" fmla="*/ 192 h 288"/>
                <a:gd name="T104" fmla="*/ 53 w 277"/>
                <a:gd name="T105" fmla="*/ 182 h 288"/>
                <a:gd name="T106" fmla="*/ 224 w 277"/>
                <a:gd name="T107" fmla="*/ 182 h 288"/>
                <a:gd name="T108" fmla="*/ 235 w 277"/>
                <a:gd name="T109" fmla="*/ 192 h 288"/>
                <a:gd name="T110" fmla="*/ 235 w 277"/>
                <a:gd name="T111" fmla="*/ 235 h 288"/>
                <a:gd name="T112" fmla="*/ 224 w 277"/>
                <a:gd name="T113" fmla="*/ 246 h 288"/>
                <a:gd name="T114" fmla="*/ 53 w 277"/>
                <a:gd name="T115" fmla="*/ 246 h 288"/>
                <a:gd name="T116" fmla="*/ 43 w 277"/>
                <a:gd name="T117" fmla="*/ 235 h 288"/>
                <a:gd name="T118" fmla="*/ 53 w 277"/>
                <a:gd name="T119" fmla="*/ 224 h 288"/>
                <a:gd name="T120" fmla="*/ 224 w 277"/>
                <a:gd name="T121" fmla="*/ 224 h 288"/>
                <a:gd name="T122" fmla="*/ 235 w 277"/>
                <a:gd name="T123" fmla="*/ 23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 h="288">
                  <a:moveTo>
                    <a:pt x="267" y="32"/>
                  </a:moveTo>
                  <a:cubicBezTo>
                    <a:pt x="224" y="32"/>
                    <a:pt x="224" y="32"/>
                    <a:pt x="224" y="32"/>
                  </a:cubicBezTo>
                  <a:cubicBezTo>
                    <a:pt x="224" y="11"/>
                    <a:pt x="224" y="11"/>
                    <a:pt x="224" y="11"/>
                  </a:cubicBezTo>
                  <a:cubicBezTo>
                    <a:pt x="224" y="5"/>
                    <a:pt x="219" y="0"/>
                    <a:pt x="213" y="0"/>
                  </a:cubicBezTo>
                  <a:cubicBezTo>
                    <a:pt x="64" y="0"/>
                    <a:pt x="64" y="0"/>
                    <a:pt x="64" y="0"/>
                  </a:cubicBezTo>
                  <a:cubicBezTo>
                    <a:pt x="58" y="0"/>
                    <a:pt x="53" y="5"/>
                    <a:pt x="53" y="11"/>
                  </a:cubicBezTo>
                  <a:cubicBezTo>
                    <a:pt x="53" y="32"/>
                    <a:pt x="53" y="32"/>
                    <a:pt x="53" y="32"/>
                  </a:cubicBezTo>
                  <a:cubicBezTo>
                    <a:pt x="11" y="32"/>
                    <a:pt x="11" y="32"/>
                    <a:pt x="11" y="32"/>
                  </a:cubicBezTo>
                  <a:cubicBezTo>
                    <a:pt x="5" y="32"/>
                    <a:pt x="0" y="37"/>
                    <a:pt x="0" y="43"/>
                  </a:cubicBezTo>
                  <a:cubicBezTo>
                    <a:pt x="0" y="278"/>
                    <a:pt x="0" y="278"/>
                    <a:pt x="0" y="278"/>
                  </a:cubicBezTo>
                  <a:cubicBezTo>
                    <a:pt x="0" y="284"/>
                    <a:pt x="5" y="288"/>
                    <a:pt x="11" y="288"/>
                  </a:cubicBezTo>
                  <a:cubicBezTo>
                    <a:pt x="267" y="288"/>
                    <a:pt x="267" y="288"/>
                    <a:pt x="267" y="288"/>
                  </a:cubicBezTo>
                  <a:cubicBezTo>
                    <a:pt x="273" y="288"/>
                    <a:pt x="277" y="284"/>
                    <a:pt x="277" y="278"/>
                  </a:cubicBezTo>
                  <a:cubicBezTo>
                    <a:pt x="277" y="43"/>
                    <a:pt x="277" y="43"/>
                    <a:pt x="277" y="43"/>
                  </a:cubicBezTo>
                  <a:cubicBezTo>
                    <a:pt x="277" y="37"/>
                    <a:pt x="273" y="32"/>
                    <a:pt x="267" y="32"/>
                  </a:cubicBezTo>
                  <a:close/>
                  <a:moveTo>
                    <a:pt x="75" y="22"/>
                  </a:moveTo>
                  <a:cubicBezTo>
                    <a:pt x="203" y="22"/>
                    <a:pt x="203" y="22"/>
                    <a:pt x="203" y="22"/>
                  </a:cubicBezTo>
                  <a:cubicBezTo>
                    <a:pt x="203" y="105"/>
                    <a:pt x="203" y="105"/>
                    <a:pt x="203" y="105"/>
                  </a:cubicBezTo>
                  <a:cubicBezTo>
                    <a:pt x="192" y="125"/>
                    <a:pt x="166" y="139"/>
                    <a:pt x="138" y="139"/>
                  </a:cubicBezTo>
                  <a:cubicBezTo>
                    <a:pt x="106" y="139"/>
                    <a:pt x="84" y="122"/>
                    <a:pt x="75" y="105"/>
                  </a:cubicBezTo>
                  <a:lnTo>
                    <a:pt x="75" y="22"/>
                  </a:lnTo>
                  <a:close/>
                  <a:moveTo>
                    <a:pt x="256" y="267"/>
                  </a:moveTo>
                  <a:cubicBezTo>
                    <a:pt x="21" y="267"/>
                    <a:pt x="21" y="267"/>
                    <a:pt x="21" y="267"/>
                  </a:cubicBezTo>
                  <a:cubicBezTo>
                    <a:pt x="21" y="54"/>
                    <a:pt x="21" y="54"/>
                    <a:pt x="21" y="54"/>
                  </a:cubicBezTo>
                  <a:cubicBezTo>
                    <a:pt x="53" y="54"/>
                    <a:pt x="53" y="54"/>
                    <a:pt x="53" y="54"/>
                  </a:cubicBezTo>
                  <a:cubicBezTo>
                    <a:pt x="53" y="107"/>
                    <a:pt x="53" y="107"/>
                    <a:pt x="53" y="107"/>
                  </a:cubicBezTo>
                  <a:cubicBezTo>
                    <a:pt x="53" y="109"/>
                    <a:pt x="54" y="110"/>
                    <a:pt x="54" y="111"/>
                  </a:cubicBezTo>
                  <a:cubicBezTo>
                    <a:pt x="68" y="141"/>
                    <a:pt x="101" y="160"/>
                    <a:pt x="138" y="160"/>
                  </a:cubicBezTo>
                  <a:cubicBezTo>
                    <a:pt x="176" y="160"/>
                    <a:pt x="210" y="141"/>
                    <a:pt x="223" y="111"/>
                  </a:cubicBezTo>
                  <a:cubicBezTo>
                    <a:pt x="224" y="110"/>
                    <a:pt x="224" y="109"/>
                    <a:pt x="224" y="107"/>
                  </a:cubicBezTo>
                  <a:cubicBezTo>
                    <a:pt x="224" y="54"/>
                    <a:pt x="224" y="54"/>
                    <a:pt x="224" y="54"/>
                  </a:cubicBezTo>
                  <a:cubicBezTo>
                    <a:pt x="256" y="54"/>
                    <a:pt x="256" y="54"/>
                    <a:pt x="256" y="54"/>
                  </a:cubicBezTo>
                  <a:lnTo>
                    <a:pt x="256" y="267"/>
                  </a:lnTo>
                  <a:close/>
                  <a:moveTo>
                    <a:pt x="99" y="83"/>
                  </a:moveTo>
                  <a:cubicBezTo>
                    <a:pt x="95" y="78"/>
                    <a:pt x="95" y="72"/>
                    <a:pt x="99" y="67"/>
                  </a:cubicBezTo>
                  <a:cubicBezTo>
                    <a:pt x="103" y="63"/>
                    <a:pt x="110" y="63"/>
                    <a:pt x="114" y="67"/>
                  </a:cubicBezTo>
                  <a:cubicBezTo>
                    <a:pt x="128" y="81"/>
                    <a:pt x="128" y="81"/>
                    <a:pt x="128" y="81"/>
                  </a:cubicBezTo>
                  <a:cubicBezTo>
                    <a:pt x="128" y="54"/>
                    <a:pt x="128" y="54"/>
                    <a:pt x="128" y="54"/>
                  </a:cubicBezTo>
                  <a:cubicBezTo>
                    <a:pt x="128" y="48"/>
                    <a:pt x="133" y="43"/>
                    <a:pt x="139" y="43"/>
                  </a:cubicBezTo>
                  <a:cubicBezTo>
                    <a:pt x="145" y="43"/>
                    <a:pt x="149" y="48"/>
                    <a:pt x="149" y="54"/>
                  </a:cubicBezTo>
                  <a:cubicBezTo>
                    <a:pt x="149" y="81"/>
                    <a:pt x="149" y="81"/>
                    <a:pt x="149" y="81"/>
                  </a:cubicBezTo>
                  <a:cubicBezTo>
                    <a:pt x="163" y="67"/>
                    <a:pt x="163" y="67"/>
                    <a:pt x="163" y="67"/>
                  </a:cubicBezTo>
                  <a:cubicBezTo>
                    <a:pt x="167" y="63"/>
                    <a:pt x="174" y="63"/>
                    <a:pt x="178" y="67"/>
                  </a:cubicBezTo>
                  <a:cubicBezTo>
                    <a:pt x="182" y="72"/>
                    <a:pt x="182" y="78"/>
                    <a:pt x="178" y="83"/>
                  </a:cubicBezTo>
                  <a:cubicBezTo>
                    <a:pt x="146" y="115"/>
                    <a:pt x="146" y="115"/>
                    <a:pt x="146" y="115"/>
                  </a:cubicBezTo>
                  <a:cubicBezTo>
                    <a:pt x="144" y="117"/>
                    <a:pt x="141" y="118"/>
                    <a:pt x="139" y="118"/>
                  </a:cubicBezTo>
                  <a:cubicBezTo>
                    <a:pt x="136" y="118"/>
                    <a:pt x="133" y="117"/>
                    <a:pt x="131" y="115"/>
                  </a:cubicBezTo>
                  <a:lnTo>
                    <a:pt x="99" y="83"/>
                  </a:lnTo>
                  <a:close/>
                  <a:moveTo>
                    <a:pt x="235" y="192"/>
                  </a:moveTo>
                  <a:cubicBezTo>
                    <a:pt x="235" y="198"/>
                    <a:pt x="230" y="203"/>
                    <a:pt x="224" y="203"/>
                  </a:cubicBezTo>
                  <a:cubicBezTo>
                    <a:pt x="53" y="203"/>
                    <a:pt x="53" y="203"/>
                    <a:pt x="53" y="203"/>
                  </a:cubicBezTo>
                  <a:cubicBezTo>
                    <a:pt x="47" y="203"/>
                    <a:pt x="43" y="198"/>
                    <a:pt x="43" y="192"/>
                  </a:cubicBezTo>
                  <a:cubicBezTo>
                    <a:pt x="43" y="186"/>
                    <a:pt x="47" y="182"/>
                    <a:pt x="53" y="182"/>
                  </a:cubicBezTo>
                  <a:cubicBezTo>
                    <a:pt x="224" y="182"/>
                    <a:pt x="224" y="182"/>
                    <a:pt x="224" y="182"/>
                  </a:cubicBezTo>
                  <a:cubicBezTo>
                    <a:pt x="230" y="182"/>
                    <a:pt x="235" y="186"/>
                    <a:pt x="235" y="192"/>
                  </a:cubicBezTo>
                  <a:close/>
                  <a:moveTo>
                    <a:pt x="235" y="235"/>
                  </a:moveTo>
                  <a:cubicBezTo>
                    <a:pt x="235" y="241"/>
                    <a:pt x="230" y="246"/>
                    <a:pt x="224" y="246"/>
                  </a:cubicBezTo>
                  <a:cubicBezTo>
                    <a:pt x="53" y="246"/>
                    <a:pt x="53" y="246"/>
                    <a:pt x="53" y="246"/>
                  </a:cubicBezTo>
                  <a:cubicBezTo>
                    <a:pt x="47" y="246"/>
                    <a:pt x="43" y="241"/>
                    <a:pt x="43" y="235"/>
                  </a:cubicBezTo>
                  <a:cubicBezTo>
                    <a:pt x="43" y="229"/>
                    <a:pt x="47" y="224"/>
                    <a:pt x="53" y="224"/>
                  </a:cubicBezTo>
                  <a:cubicBezTo>
                    <a:pt x="224" y="224"/>
                    <a:pt x="224" y="224"/>
                    <a:pt x="224" y="224"/>
                  </a:cubicBezTo>
                  <a:cubicBezTo>
                    <a:pt x="230" y="224"/>
                    <a:pt x="235" y="229"/>
                    <a:pt x="235" y="2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316">
              <a:extLst>
                <a:ext uri="{FF2B5EF4-FFF2-40B4-BE49-F238E27FC236}">
                  <a16:creationId xmlns:a16="http://schemas.microsoft.com/office/drawing/2014/main" id="{164EBFB7-F300-4363-8E8B-776F5795C975}"/>
                </a:ext>
              </a:extLst>
            </p:cNvPr>
            <p:cNvSpPr>
              <a:spLocks noEditPoints="1"/>
            </p:cNvSpPr>
            <p:nvPr/>
          </p:nvSpPr>
          <p:spPr bwMode="auto">
            <a:xfrm>
              <a:off x="5811" y="115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0" name="Group 319">
            <a:extLst>
              <a:ext uri="{FF2B5EF4-FFF2-40B4-BE49-F238E27FC236}">
                <a16:creationId xmlns:a16="http://schemas.microsoft.com/office/drawing/2014/main" id="{A00A14DC-EB7C-482F-AAF2-5A9771E4F514}"/>
              </a:ext>
            </a:extLst>
          </p:cNvPr>
          <p:cNvGrpSpPr>
            <a:grpSpLocks noChangeAspect="1"/>
          </p:cNvGrpSpPr>
          <p:nvPr/>
        </p:nvGrpSpPr>
        <p:grpSpPr bwMode="auto">
          <a:xfrm>
            <a:off x="482627" y="1700213"/>
            <a:ext cx="369676" cy="369676"/>
            <a:chOff x="5426" y="1148"/>
            <a:chExt cx="340" cy="340"/>
          </a:xfrm>
          <a:solidFill>
            <a:schemeClr val="accent4"/>
          </a:solidFill>
        </p:grpSpPr>
        <p:sp>
          <p:nvSpPr>
            <p:cNvPr id="31" name="Freeform 320">
              <a:extLst>
                <a:ext uri="{FF2B5EF4-FFF2-40B4-BE49-F238E27FC236}">
                  <a16:creationId xmlns:a16="http://schemas.microsoft.com/office/drawing/2014/main" id="{3A6BC2A9-3ABD-4F7E-8D01-D572B3698D52}"/>
                </a:ext>
              </a:extLst>
            </p:cNvPr>
            <p:cNvSpPr>
              <a:spLocks noEditPoints="1"/>
            </p:cNvSpPr>
            <p:nvPr/>
          </p:nvSpPr>
          <p:spPr bwMode="auto">
            <a:xfrm>
              <a:off x="5518" y="1254"/>
              <a:ext cx="156" cy="142"/>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321">
              <a:extLst>
                <a:ext uri="{FF2B5EF4-FFF2-40B4-BE49-F238E27FC236}">
                  <a16:creationId xmlns:a16="http://schemas.microsoft.com/office/drawing/2014/main" id="{FD553CAD-6037-4904-8E18-3727A016868B}"/>
                </a:ext>
              </a:extLst>
            </p:cNvPr>
            <p:cNvSpPr>
              <a:spLocks noEditPoints="1"/>
            </p:cNvSpPr>
            <p:nvPr/>
          </p:nvSpPr>
          <p:spPr bwMode="auto">
            <a:xfrm>
              <a:off x="5553" y="1233"/>
              <a:ext cx="85" cy="78"/>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322">
              <a:extLst>
                <a:ext uri="{FF2B5EF4-FFF2-40B4-BE49-F238E27FC236}">
                  <a16:creationId xmlns:a16="http://schemas.microsoft.com/office/drawing/2014/main" id="{7F03E89D-E42E-4AF1-8AC8-E0138A7E9312}"/>
                </a:ext>
              </a:extLst>
            </p:cNvPr>
            <p:cNvSpPr>
              <a:spLocks noEditPoints="1"/>
            </p:cNvSpPr>
            <p:nvPr/>
          </p:nvSpPr>
          <p:spPr bwMode="auto">
            <a:xfrm>
              <a:off x="5426" y="114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 name="Freeform 32">
            <a:extLst>
              <a:ext uri="{FF2B5EF4-FFF2-40B4-BE49-F238E27FC236}">
                <a16:creationId xmlns:a16="http://schemas.microsoft.com/office/drawing/2014/main" id="{A2B15825-7B97-4054-B21D-4FB63FFC9B32}"/>
              </a:ext>
            </a:extLst>
          </p:cNvPr>
          <p:cNvSpPr>
            <a:spLocks noChangeAspect="1" noEditPoints="1"/>
          </p:cNvSpPr>
          <p:nvPr/>
        </p:nvSpPr>
        <p:spPr bwMode="auto">
          <a:xfrm>
            <a:off x="1351427" y="1700213"/>
            <a:ext cx="369021" cy="369021"/>
          </a:xfrm>
          <a:custGeom>
            <a:avLst/>
            <a:gdLst>
              <a:gd name="T0" fmla="*/ 305 w 512"/>
              <a:gd name="T1" fmla="*/ 330 h 512"/>
              <a:gd name="T2" fmla="*/ 249 w 512"/>
              <a:gd name="T3" fmla="*/ 330 h 512"/>
              <a:gd name="T4" fmla="*/ 128 w 512"/>
              <a:gd name="T5" fmla="*/ 170 h 512"/>
              <a:gd name="T6" fmla="*/ 192 w 512"/>
              <a:gd name="T7" fmla="*/ 170 h 512"/>
              <a:gd name="T8" fmla="*/ 160 w 512"/>
              <a:gd name="T9" fmla="*/ 181 h 512"/>
              <a:gd name="T10" fmla="*/ 160 w 512"/>
              <a:gd name="T11" fmla="*/ 160 h 512"/>
              <a:gd name="T12" fmla="*/ 160 w 512"/>
              <a:gd name="T13" fmla="*/ 181 h 512"/>
              <a:gd name="T14" fmla="*/ 242 w 512"/>
              <a:gd name="T15" fmla="*/ 378 h 512"/>
              <a:gd name="T16" fmla="*/ 185 w 512"/>
              <a:gd name="T17" fmla="*/ 330 h 512"/>
              <a:gd name="T18" fmla="*/ 244 w 512"/>
              <a:gd name="T19" fmla="*/ 277 h 512"/>
              <a:gd name="T20" fmla="*/ 309 w 512"/>
              <a:gd name="T21" fmla="*/ 309 h 512"/>
              <a:gd name="T22" fmla="*/ 309 w 512"/>
              <a:gd name="T23" fmla="*/ 245 h 512"/>
              <a:gd name="T24" fmla="*/ 277 w 512"/>
              <a:gd name="T25" fmla="*/ 170 h 512"/>
              <a:gd name="T26" fmla="*/ 305 w 512"/>
              <a:gd name="T27" fmla="*/ 224 h 512"/>
              <a:gd name="T28" fmla="*/ 312 w 512"/>
              <a:gd name="T29" fmla="*/ 176 h 512"/>
              <a:gd name="T30" fmla="*/ 369 w 512"/>
              <a:gd name="T31" fmla="*/ 224 h 512"/>
              <a:gd name="T32" fmla="*/ 512 w 512"/>
              <a:gd name="T33" fmla="*/ 256 h 512"/>
              <a:gd name="T34" fmla="*/ 0 w 512"/>
              <a:gd name="T35" fmla="*/ 256 h 512"/>
              <a:gd name="T36" fmla="*/ 512 w 512"/>
              <a:gd name="T37" fmla="*/ 256 h 512"/>
              <a:gd name="T38" fmla="*/ 152 w 512"/>
              <a:gd name="T39" fmla="*/ 253 h 512"/>
              <a:gd name="T40" fmla="*/ 167 w 512"/>
              <a:gd name="T41" fmla="*/ 253 h 512"/>
              <a:gd name="T42" fmla="*/ 160 w 512"/>
              <a:gd name="T43" fmla="*/ 117 h 512"/>
              <a:gd name="T44" fmla="*/ 405 w 512"/>
              <a:gd name="T45" fmla="*/ 277 h 512"/>
              <a:gd name="T46" fmla="*/ 242 w 512"/>
              <a:gd name="T47" fmla="*/ 154 h 512"/>
              <a:gd name="T48" fmla="*/ 243 w 512"/>
              <a:gd name="T49" fmla="*/ 174 h 512"/>
              <a:gd name="T50" fmla="*/ 224 w 512"/>
              <a:gd name="T51" fmla="*/ 224 h 512"/>
              <a:gd name="T52" fmla="*/ 224 w 512"/>
              <a:gd name="T53" fmla="*/ 245 h 512"/>
              <a:gd name="T54" fmla="*/ 222 w 512"/>
              <a:gd name="T55" fmla="*/ 277 h 512"/>
              <a:gd name="T56" fmla="*/ 175 w 512"/>
              <a:gd name="T57" fmla="*/ 309 h 512"/>
              <a:gd name="T58" fmla="*/ 159 w 512"/>
              <a:gd name="T59" fmla="*/ 277 h 512"/>
              <a:gd name="T60" fmla="*/ 277 w 512"/>
              <a:gd name="T61" fmla="*/ 405 h 512"/>
              <a:gd name="T62" fmla="*/ 332 w 512"/>
              <a:gd name="T63" fmla="*/ 277 h 512"/>
              <a:gd name="T64" fmla="*/ 379 w 512"/>
              <a:gd name="T65" fmla="*/ 309 h 512"/>
              <a:gd name="T66" fmla="*/ 379 w 512"/>
              <a:gd name="T67" fmla="*/ 245 h 512"/>
              <a:gd name="T68" fmla="*/ 332 w 512"/>
              <a:gd name="T69" fmla="*/ 277 h 512"/>
              <a:gd name="T70" fmla="*/ 369 w 512"/>
              <a:gd name="T71" fmla="*/ 330 h 512"/>
              <a:gd name="T72" fmla="*/ 312 w 512"/>
              <a:gd name="T73" fmla="*/ 3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9" y="330"/>
                </a:moveTo>
                <a:cubicBezTo>
                  <a:pt x="305" y="330"/>
                  <a:pt x="305" y="330"/>
                  <a:pt x="305" y="330"/>
                </a:cubicBezTo>
                <a:cubicBezTo>
                  <a:pt x="299" y="364"/>
                  <a:pt x="286" y="384"/>
                  <a:pt x="277" y="384"/>
                </a:cubicBezTo>
                <a:cubicBezTo>
                  <a:pt x="268" y="384"/>
                  <a:pt x="255" y="364"/>
                  <a:pt x="249" y="330"/>
                </a:cubicBezTo>
                <a:close/>
                <a:moveTo>
                  <a:pt x="160" y="230"/>
                </a:moveTo>
                <a:cubicBezTo>
                  <a:pt x="129" y="195"/>
                  <a:pt x="128" y="171"/>
                  <a:pt x="128" y="170"/>
                </a:cubicBezTo>
                <a:cubicBezTo>
                  <a:pt x="128" y="153"/>
                  <a:pt x="142" y="138"/>
                  <a:pt x="160" y="138"/>
                </a:cubicBezTo>
                <a:cubicBezTo>
                  <a:pt x="177" y="138"/>
                  <a:pt x="192" y="153"/>
                  <a:pt x="192" y="170"/>
                </a:cubicBezTo>
                <a:cubicBezTo>
                  <a:pt x="192" y="171"/>
                  <a:pt x="191" y="195"/>
                  <a:pt x="160" y="230"/>
                </a:cubicBezTo>
                <a:close/>
                <a:moveTo>
                  <a:pt x="160" y="181"/>
                </a:moveTo>
                <a:cubicBezTo>
                  <a:pt x="166" y="181"/>
                  <a:pt x="170" y="176"/>
                  <a:pt x="170" y="170"/>
                </a:cubicBezTo>
                <a:cubicBezTo>
                  <a:pt x="170" y="164"/>
                  <a:pt x="166" y="160"/>
                  <a:pt x="160" y="160"/>
                </a:cubicBezTo>
                <a:cubicBezTo>
                  <a:pt x="154" y="160"/>
                  <a:pt x="149" y="164"/>
                  <a:pt x="149" y="170"/>
                </a:cubicBezTo>
                <a:cubicBezTo>
                  <a:pt x="149" y="176"/>
                  <a:pt x="154" y="181"/>
                  <a:pt x="160" y="181"/>
                </a:cubicBezTo>
                <a:close/>
                <a:moveTo>
                  <a:pt x="185" y="330"/>
                </a:moveTo>
                <a:cubicBezTo>
                  <a:pt x="197" y="353"/>
                  <a:pt x="218" y="369"/>
                  <a:pt x="242" y="378"/>
                </a:cubicBezTo>
                <a:cubicBezTo>
                  <a:pt x="235" y="365"/>
                  <a:pt x="230" y="349"/>
                  <a:pt x="227" y="330"/>
                </a:cubicBezTo>
                <a:lnTo>
                  <a:pt x="185" y="330"/>
                </a:lnTo>
                <a:close/>
                <a:moveTo>
                  <a:pt x="245" y="245"/>
                </a:moveTo>
                <a:cubicBezTo>
                  <a:pt x="244" y="255"/>
                  <a:pt x="244" y="266"/>
                  <a:pt x="244" y="277"/>
                </a:cubicBezTo>
                <a:cubicBezTo>
                  <a:pt x="244" y="288"/>
                  <a:pt x="244" y="299"/>
                  <a:pt x="245" y="309"/>
                </a:cubicBezTo>
                <a:cubicBezTo>
                  <a:pt x="309" y="309"/>
                  <a:pt x="309" y="309"/>
                  <a:pt x="309" y="309"/>
                </a:cubicBezTo>
                <a:cubicBezTo>
                  <a:pt x="310" y="299"/>
                  <a:pt x="310" y="288"/>
                  <a:pt x="310" y="277"/>
                </a:cubicBezTo>
                <a:cubicBezTo>
                  <a:pt x="310" y="266"/>
                  <a:pt x="310" y="255"/>
                  <a:pt x="309" y="245"/>
                </a:cubicBezTo>
                <a:lnTo>
                  <a:pt x="245" y="245"/>
                </a:lnTo>
                <a:close/>
                <a:moveTo>
                  <a:pt x="277" y="170"/>
                </a:moveTo>
                <a:cubicBezTo>
                  <a:pt x="268" y="170"/>
                  <a:pt x="255" y="190"/>
                  <a:pt x="249" y="224"/>
                </a:cubicBezTo>
                <a:cubicBezTo>
                  <a:pt x="305" y="224"/>
                  <a:pt x="305" y="224"/>
                  <a:pt x="305" y="224"/>
                </a:cubicBezTo>
                <a:cubicBezTo>
                  <a:pt x="299" y="190"/>
                  <a:pt x="286" y="170"/>
                  <a:pt x="277" y="170"/>
                </a:cubicBezTo>
                <a:close/>
                <a:moveTo>
                  <a:pt x="312" y="176"/>
                </a:moveTo>
                <a:cubicBezTo>
                  <a:pt x="319" y="189"/>
                  <a:pt x="324" y="206"/>
                  <a:pt x="327" y="224"/>
                </a:cubicBezTo>
                <a:cubicBezTo>
                  <a:pt x="369" y="224"/>
                  <a:pt x="369" y="224"/>
                  <a:pt x="369" y="224"/>
                </a:cubicBezTo>
                <a:cubicBezTo>
                  <a:pt x="356" y="202"/>
                  <a:pt x="336" y="185"/>
                  <a:pt x="312" y="17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06" y="170"/>
                </a:moveTo>
                <a:cubicBezTo>
                  <a:pt x="106" y="172"/>
                  <a:pt x="106" y="207"/>
                  <a:pt x="152" y="253"/>
                </a:cubicBezTo>
                <a:cubicBezTo>
                  <a:pt x="154" y="255"/>
                  <a:pt x="157" y="256"/>
                  <a:pt x="160" y="256"/>
                </a:cubicBezTo>
                <a:cubicBezTo>
                  <a:pt x="162" y="256"/>
                  <a:pt x="165" y="255"/>
                  <a:pt x="167" y="253"/>
                </a:cubicBezTo>
                <a:cubicBezTo>
                  <a:pt x="213" y="207"/>
                  <a:pt x="213" y="172"/>
                  <a:pt x="213" y="170"/>
                </a:cubicBezTo>
                <a:cubicBezTo>
                  <a:pt x="213" y="141"/>
                  <a:pt x="189" y="117"/>
                  <a:pt x="160" y="117"/>
                </a:cubicBezTo>
                <a:cubicBezTo>
                  <a:pt x="130" y="117"/>
                  <a:pt x="106" y="141"/>
                  <a:pt x="106" y="170"/>
                </a:cubicBezTo>
                <a:close/>
                <a:moveTo>
                  <a:pt x="405" y="277"/>
                </a:moveTo>
                <a:cubicBezTo>
                  <a:pt x="405" y="206"/>
                  <a:pt x="348" y="149"/>
                  <a:pt x="277" y="149"/>
                </a:cubicBezTo>
                <a:cubicBezTo>
                  <a:pt x="265" y="149"/>
                  <a:pt x="253" y="151"/>
                  <a:pt x="242" y="154"/>
                </a:cubicBezTo>
                <a:cubicBezTo>
                  <a:pt x="236" y="155"/>
                  <a:pt x="233" y="161"/>
                  <a:pt x="235" y="167"/>
                </a:cubicBezTo>
                <a:cubicBezTo>
                  <a:pt x="236" y="171"/>
                  <a:pt x="239" y="174"/>
                  <a:pt x="243" y="174"/>
                </a:cubicBezTo>
                <a:cubicBezTo>
                  <a:pt x="236" y="188"/>
                  <a:pt x="230" y="205"/>
                  <a:pt x="227" y="224"/>
                </a:cubicBezTo>
                <a:cubicBezTo>
                  <a:pt x="224" y="224"/>
                  <a:pt x="224" y="224"/>
                  <a:pt x="224" y="224"/>
                </a:cubicBezTo>
                <a:cubicBezTo>
                  <a:pt x="218" y="224"/>
                  <a:pt x="213" y="228"/>
                  <a:pt x="213" y="234"/>
                </a:cubicBezTo>
                <a:cubicBezTo>
                  <a:pt x="213" y="240"/>
                  <a:pt x="218" y="245"/>
                  <a:pt x="224" y="245"/>
                </a:cubicBezTo>
                <a:cubicBezTo>
                  <a:pt x="224" y="245"/>
                  <a:pt x="224" y="245"/>
                  <a:pt x="224" y="245"/>
                </a:cubicBezTo>
                <a:cubicBezTo>
                  <a:pt x="223" y="255"/>
                  <a:pt x="222" y="266"/>
                  <a:pt x="222" y="277"/>
                </a:cubicBezTo>
                <a:cubicBezTo>
                  <a:pt x="222" y="288"/>
                  <a:pt x="223" y="299"/>
                  <a:pt x="224" y="309"/>
                </a:cubicBezTo>
                <a:cubicBezTo>
                  <a:pt x="175" y="309"/>
                  <a:pt x="175" y="309"/>
                  <a:pt x="175" y="309"/>
                </a:cubicBezTo>
                <a:cubicBezTo>
                  <a:pt x="173" y="302"/>
                  <a:pt x="171" y="294"/>
                  <a:pt x="171" y="287"/>
                </a:cubicBezTo>
                <a:cubicBezTo>
                  <a:pt x="170" y="281"/>
                  <a:pt x="165" y="276"/>
                  <a:pt x="159" y="277"/>
                </a:cubicBezTo>
                <a:cubicBezTo>
                  <a:pt x="153" y="278"/>
                  <a:pt x="149" y="283"/>
                  <a:pt x="150" y="289"/>
                </a:cubicBezTo>
                <a:cubicBezTo>
                  <a:pt x="155" y="355"/>
                  <a:pt x="210" y="405"/>
                  <a:pt x="277" y="405"/>
                </a:cubicBezTo>
                <a:cubicBezTo>
                  <a:pt x="348" y="405"/>
                  <a:pt x="405" y="348"/>
                  <a:pt x="405" y="277"/>
                </a:cubicBezTo>
                <a:close/>
                <a:moveTo>
                  <a:pt x="332" y="277"/>
                </a:moveTo>
                <a:cubicBezTo>
                  <a:pt x="332" y="288"/>
                  <a:pt x="331" y="299"/>
                  <a:pt x="330" y="309"/>
                </a:cubicBezTo>
                <a:cubicBezTo>
                  <a:pt x="379" y="309"/>
                  <a:pt x="379" y="309"/>
                  <a:pt x="379" y="309"/>
                </a:cubicBezTo>
                <a:cubicBezTo>
                  <a:pt x="382" y="299"/>
                  <a:pt x="384" y="288"/>
                  <a:pt x="384" y="277"/>
                </a:cubicBezTo>
                <a:cubicBezTo>
                  <a:pt x="384" y="266"/>
                  <a:pt x="382" y="255"/>
                  <a:pt x="379" y="245"/>
                </a:cubicBezTo>
                <a:cubicBezTo>
                  <a:pt x="330" y="245"/>
                  <a:pt x="330" y="245"/>
                  <a:pt x="330" y="245"/>
                </a:cubicBezTo>
                <a:cubicBezTo>
                  <a:pt x="331" y="255"/>
                  <a:pt x="332" y="266"/>
                  <a:pt x="332" y="277"/>
                </a:cubicBezTo>
                <a:close/>
                <a:moveTo>
                  <a:pt x="312" y="378"/>
                </a:moveTo>
                <a:cubicBezTo>
                  <a:pt x="336" y="369"/>
                  <a:pt x="356" y="352"/>
                  <a:pt x="369" y="330"/>
                </a:cubicBezTo>
                <a:cubicBezTo>
                  <a:pt x="327" y="330"/>
                  <a:pt x="327" y="330"/>
                  <a:pt x="327" y="330"/>
                </a:cubicBezTo>
                <a:cubicBezTo>
                  <a:pt x="324" y="348"/>
                  <a:pt x="319" y="365"/>
                  <a:pt x="312" y="37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5" name="Group 35">
            <a:extLst>
              <a:ext uri="{FF2B5EF4-FFF2-40B4-BE49-F238E27FC236}">
                <a16:creationId xmlns:a16="http://schemas.microsoft.com/office/drawing/2014/main" id="{A5153529-1D41-4A6D-8FE4-9A909CCA1A8D}"/>
              </a:ext>
            </a:extLst>
          </p:cNvPr>
          <p:cNvGrpSpPr>
            <a:grpSpLocks noChangeAspect="1"/>
          </p:cNvGrpSpPr>
          <p:nvPr/>
        </p:nvGrpSpPr>
        <p:grpSpPr bwMode="auto">
          <a:xfrm>
            <a:off x="1785172" y="1700213"/>
            <a:ext cx="369021" cy="369021"/>
            <a:chOff x="2709" y="6"/>
            <a:chExt cx="340" cy="340"/>
          </a:xfrm>
          <a:solidFill>
            <a:schemeClr val="accent1"/>
          </a:solidFill>
        </p:grpSpPr>
        <p:sp>
          <p:nvSpPr>
            <p:cNvPr id="36" name="Freeform 36">
              <a:extLst>
                <a:ext uri="{FF2B5EF4-FFF2-40B4-BE49-F238E27FC236}">
                  <a16:creationId xmlns:a16="http://schemas.microsoft.com/office/drawing/2014/main" id="{F0D58283-0F3E-4192-B62C-36B203996383}"/>
                </a:ext>
              </a:extLst>
            </p:cNvPr>
            <p:cNvSpPr>
              <a:spLocks noEditPoints="1"/>
            </p:cNvSpPr>
            <p:nvPr/>
          </p:nvSpPr>
          <p:spPr bwMode="auto">
            <a:xfrm>
              <a:off x="2779" y="84"/>
              <a:ext cx="71" cy="92"/>
            </a:xfrm>
            <a:custGeom>
              <a:avLst/>
              <a:gdLst>
                <a:gd name="T0" fmla="*/ 54 w 107"/>
                <a:gd name="T1" fmla="*/ 139 h 139"/>
                <a:gd name="T2" fmla="*/ 61 w 107"/>
                <a:gd name="T3" fmla="*/ 136 h 139"/>
                <a:gd name="T4" fmla="*/ 107 w 107"/>
                <a:gd name="T5" fmla="*/ 53 h 139"/>
                <a:gd name="T6" fmla="*/ 54 w 107"/>
                <a:gd name="T7" fmla="*/ 0 h 139"/>
                <a:gd name="T8" fmla="*/ 0 w 107"/>
                <a:gd name="T9" fmla="*/ 53 h 139"/>
                <a:gd name="T10" fmla="*/ 46 w 107"/>
                <a:gd name="T11" fmla="*/ 136 h 139"/>
                <a:gd name="T12" fmla="*/ 54 w 107"/>
                <a:gd name="T13" fmla="*/ 139 h 139"/>
                <a:gd name="T14" fmla="*/ 54 w 107"/>
                <a:gd name="T15" fmla="*/ 21 h 139"/>
                <a:gd name="T16" fmla="*/ 86 w 107"/>
                <a:gd name="T17" fmla="*/ 53 h 139"/>
                <a:gd name="T18" fmla="*/ 54 w 107"/>
                <a:gd name="T19" fmla="*/ 113 h 139"/>
                <a:gd name="T20" fmla="*/ 22 w 107"/>
                <a:gd name="T21" fmla="*/ 53 h 139"/>
                <a:gd name="T22" fmla="*/ 54 w 107"/>
                <a:gd name="T23" fmla="*/ 2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139">
                  <a:moveTo>
                    <a:pt x="54" y="139"/>
                  </a:moveTo>
                  <a:cubicBezTo>
                    <a:pt x="56" y="139"/>
                    <a:pt x="59" y="138"/>
                    <a:pt x="61" y="136"/>
                  </a:cubicBezTo>
                  <a:cubicBezTo>
                    <a:pt x="107" y="90"/>
                    <a:pt x="107" y="55"/>
                    <a:pt x="107" y="53"/>
                  </a:cubicBezTo>
                  <a:cubicBezTo>
                    <a:pt x="107" y="24"/>
                    <a:pt x="83" y="0"/>
                    <a:pt x="54" y="0"/>
                  </a:cubicBezTo>
                  <a:cubicBezTo>
                    <a:pt x="24" y="0"/>
                    <a:pt x="0" y="24"/>
                    <a:pt x="0" y="53"/>
                  </a:cubicBezTo>
                  <a:cubicBezTo>
                    <a:pt x="0" y="55"/>
                    <a:pt x="0" y="90"/>
                    <a:pt x="46" y="136"/>
                  </a:cubicBezTo>
                  <a:cubicBezTo>
                    <a:pt x="48" y="138"/>
                    <a:pt x="51" y="139"/>
                    <a:pt x="54" y="139"/>
                  </a:cubicBezTo>
                  <a:close/>
                  <a:moveTo>
                    <a:pt x="54" y="21"/>
                  </a:moveTo>
                  <a:cubicBezTo>
                    <a:pt x="71" y="21"/>
                    <a:pt x="86" y="36"/>
                    <a:pt x="86" y="53"/>
                  </a:cubicBezTo>
                  <a:cubicBezTo>
                    <a:pt x="86" y="54"/>
                    <a:pt x="85" y="78"/>
                    <a:pt x="54" y="113"/>
                  </a:cubicBezTo>
                  <a:cubicBezTo>
                    <a:pt x="23" y="78"/>
                    <a:pt x="22" y="54"/>
                    <a:pt x="22" y="53"/>
                  </a:cubicBezTo>
                  <a:cubicBezTo>
                    <a:pt x="22" y="36"/>
                    <a:pt x="36" y="21"/>
                    <a:pt x="5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 name="Oval 37">
              <a:extLst>
                <a:ext uri="{FF2B5EF4-FFF2-40B4-BE49-F238E27FC236}">
                  <a16:creationId xmlns:a16="http://schemas.microsoft.com/office/drawing/2014/main" id="{B92E0AEF-4BD6-442D-950D-11CAF8B8E39E}"/>
                </a:ext>
              </a:extLst>
            </p:cNvPr>
            <p:cNvSpPr>
              <a:spLocks noChangeArrowheads="1"/>
            </p:cNvSpPr>
            <p:nvPr/>
          </p:nvSpPr>
          <p:spPr bwMode="auto">
            <a:xfrm>
              <a:off x="2808" y="112"/>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38">
              <a:extLst>
                <a:ext uri="{FF2B5EF4-FFF2-40B4-BE49-F238E27FC236}">
                  <a16:creationId xmlns:a16="http://schemas.microsoft.com/office/drawing/2014/main" id="{747A9400-F7A0-407E-B497-4AC500AD0083}"/>
                </a:ext>
              </a:extLst>
            </p:cNvPr>
            <p:cNvSpPr>
              <a:spLocks noEditPoints="1"/>
            </p:cNvSpPr>
            <p:nvPr/>
          </p:nvSpPr>
          <p:spPr bwMode="auto">
            <a:xfrm>
              <a:off x="2808" y="105"/>
              <a:ext cx="170" cy="170"/>
            </a:xfrm>
            <a:custGeom>
              <a:avLst/>
              <a:gdLst>
                <a:gd name="T0" fmla="*/ 128 w 256"/>
                <a:gd name="T1" fmla="*/ 0 h 256"/>
                <a:gd name="T2" fmla="*/ 93 w 256"/>
                <a:gd name="T3" fmla="*/ 5 h 256"/>
                <a:gd name="T4" fmla="*/ 86 w 256"/>
                <a:gd name="T5" fmla="*/ 18 h 256"/>
                <a:gd name="T6" fmla="*/ 94 w 256"/>
                <a:gd name="T7" fmla="*/ 25 h 256"/>
                <a:gd name="T8" fmla="*/ 78 w 256"/>
                <a:gd name="T9" fmla="*/ 75 h 256"/>
                <a:gd name="T10" fmla="*/ 75 w 256"/>
                <a:gd name="T11" fmla="*/ 75 h 256"/>
                <a:gd name="T12" fmla="*/ 64 w 256"/>
                <a:gd name="T13" fmla="*/ 85 h 256"/>
                <a:gd name="T14" fmla="*/ 75 w 256"/>
                <a:gd name="T15" fmla="*/ 96 h 256"/>
                <a:gd name="T16" fmla="*/ 75 w 256"/>
                <a:gd name="T17" fmla="*/ 96 h 256"/>
                <a:gd name="T18" fmla="*/ 73 w 256"/>
                <a:gd name="T19" fmla="*/ 128 h 256"/>
                <a:gd name="T20" fmla="*/ 75 w 256"/>
                <a:gd name="T21" fmla="*/ 160 h 256"/>
                <a:gd name="T22" fmla="*/ 26 w 256"/>
                <a:gd name="T23" fmla="*/ 160 h 256"/>
                <a:gd name="T24" fmla="*/ 22 w 256"/>
                <a:gd name="T25" fmla="*/ 138 h 256"/>
                <a:gd name="T26" fmla="*/ 10 w 256"/>
                <a:gd name="T27" fmla="*/ 128 h 256"/>
                <a:gd name="T28" fmla="*/ 1 w 256"/>
                <a:gd name="T29" fmla="*/ 140 h 256"/>
                <a:gd name="T30" fmla="*/ 128 w 256"/>
                <a:gd name="T31" fmla="*/ 256 h 256"/>
                <a:gd name="T32" fmla="*/ 256 w 256"/>
                <a:gd name="T33" fmla="*/ 128 h 256"/>
                <a:gd name="T34" fmla="*/ 128 w 256"/>
                <a:gd name="T35" fmla="*/ 0 h 256"/>
                <a:gd name="T36" fmla="*/ 36 w 256"/>
                <a:gd name="T37" fmla="*/ 181 h 256"/>
                <a:gd name="T38" fmla="*/ 78 w 256"/>
                <a:gd name="T39" fmla="*/ 181 h 256"/>
                <a:gd name="T40" fmla="*/ 93 w 256"/>
                <a:gd name="T41" fmla="*/ 229 h 256"/>
                <a:gd name="T42" fmla="*/ 36 w 256"/>
                <a:gd name="T43" fmla="*/ 181 h 256"/>
                <a:gd name="T44" fmla="*/ 220 w 256"/>
                <a:gd name="T45" fmla="*/ 75 h 256"/>
                <a:gd name="T46" fmla="*/ 178 w 256"/>
                <a:gd name="T47" fmla="*/ 75 h 256"/>
                <a:gd name="T48" fmla="*/ 163 w 256"/>
                <a:gd name="T49" fmla="*/ 27 h 256"/>
                <a:gd name="T50" fmla="*/ 220 w 256"/>
                <a:gd name="T51" fmla="*/ 75 h 256"/>
                <a:gd name="T52" fmla="*/ 128 w 256"/>
                <a:gd name="T53" fmla="*/ 21 h 256"/>
                <a:gd name="T54" fmla="*/ 156 w 256"/>
                <a:gd name="T55" fmla="*/ 75 h 256"/>
                <a:gd name="T56" fmla="*/ 100 w 256"/>
                <a:gd name="T57" fmla="*/ 75 h 256"/>
                <a:gd name="T58" fmla="*/ 128 w 256"/>
                <a:gd name="T59" fmla="*/ 21 h 256"/>
                <a:gd name="T60" fmla="*/ 128 w 256"/>
                <a:gd name="T61" fmla="*/ 235 h 256"/>
                <a:gd name="T62" fmla="*/ 100 w 256"/>
                <a:gd name="T63" fmla="*/ 181 h 256"/>
                <a:gd name="T64" fmla="*/ 156 w 256"/>
                <a:gd name="T65" fmla="*/ 181 h 256"/>
                <a:gd name="T66" fmla="*/ 128 w 256"/>
                <a:gd name="T67" fmla="*/ 235 h 256"/>
                <a:gd name="T68" fmla="*/ 160 w 256"/>
                <a:gd name="T69" fmla="*/ 160 h 256"/>
                <a:gd name="T70" fmla="*/ 96 w 256"/>
                <a:gd name="T71" fmla="*/ 160 h 256"/>
                <a:gd name="T72" fmla="*/ 95 w 256"/>
                <a:gd name="T73" fmla="*/ 128 h 256"/>
                <a:gd name="T74" fmla="*/ 96 w 256"/>
                <a:gd name="T75" fmla="*/ 96 h 256"/>
                <a:gd name="T76" fmla="*/ 160 w 256"/>
                <a:gd name="T77" fmla="*/ 96 h 256"/>
                <a:gd name="T78" fmla="*/ 161 w 256"/>
                <a:gd name="T79" fmla="*/ 128 h 256"/>
                <a:gd name="T80" fmla="*/ 160 w 256"/>
                <a:gd name="T81" fmla="*/ 160 h 256"/>
                <a:gd name="T82" fmla="*/ 163 w 256"/>
                <a:gd name="T83" fmla="*/ 229 h 256"/>
                <a:gd name="T84" fmla="*/ 178 w 256"/>
                <a:gd name="T85" fmla="*/ 181 h 256"/>
                <a:gd name="T86" fmla="*/ 220 w 256"/>
                <a:gd name="T87" fmla="*/ 181 h 256"/>
                <a:gd name="T88" fmla="*/ 163 w 256"/>
                <a:gd name="T89" fmla="*/ 229 h 256"/>
                <a:gd name="T90" fmla="*/ 181 w 256"/>
                <a:gd name="T91" fmla="*/ 160 h 256"/>
                <a:gd name="T92" fmla="*/ 183 w 256"/>
                <a:gd name="T93" fmla="*/ 128 h 256"/>
                <a:gd name="T94" fmla="*/ 181 w 256"/>
                <a:gd name="T95" fmla="*/ 96 h 256"/>
                <a:gd name="T96" fmla="*/ 230 w 256"/>
                <a:gd name="T97" fmla="*/ 96 h 256"/>
                <a:gd name="T98" fmla="*/ 235 w 256"/>
                <a:gd name="T99" fmla="*/ 128 h 256"/>
                <a:gd name="T100" fmla="*/ 230 w 256"/>
                <a:gd name="T101" fmla="*/ 160 h 256"/>
                <a:gd name="T102" fmla="*/ 181 w 256"/>
                <a:gd name="T103" fmla="*/ 16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6" h="256">
                  <a:moveTo>
                    <a:pt x="128" y="0"/>
                  </a:moveTo>
                  <a:cubicBezTo>
                    <a:pt x="116" y="0"/>
                    <a:pt x="104" y="2"/>
                    <a:pt x="93" y="5"/>
                  </a:cubicBezTo>
                  <a:cubicBezTo>
                    <a:pt x="87" y="6"/>
                    <a:pt x="84" y="12"/>
                    <a:pt x="86" y="18"/>
                  </a:cubicBezTo>
                  <a:cubicBezTo>
                    <a:pt x="87" y="22"/>
                    <a:pt x="90" y="25"/>
                    <a:pt x="94" y="25"/>
                  </a:cubicBezTo>
                  <a:cubicBezTo>
                    <a:pt x="87" y="39"/>
                    <a:pt x="81" y="56"/>
                    <a:pt x="78" y="75"/>
                  </a:cubicBezTo>
                  <a:cubicBezTo>
                    <a:pt x="75" y="75"/>
                    <a:pt x="75" y="75"/>
                    <a:pt x="75" y="75"/>
                  </a:cubicBezTo>
                  <a:cubicBezTo>
                    <a:pt x="69" y="75"/>
                    <a:pt x="64" y="79"/>
                    <a:pt x="64" y="85"/>
                  </a:cubicBezTo>
                  <a:cubicBezTo>
                    <a:pt x="64" y="91"/>
                    <a:pt x="69" y="96"/>
                    <a:pt x="75" y="96"/>
                  </a:cubicBezTo>
                  <a:cubicBezTo>
                    <a:pt x="75" y="96"/>
                    <a:pt x="75" y="96"/>
                    <a:pt x="75" y="96"/>
                  </a:cubicBezTo>
                  <a:cubicBezTo>
                    <a:pt x="74" y="106"/>
                    <a:pt x="73" y="117"/>
                    <a:pt x="73" y="128"/>
                  </a:cubicBezTo>
                  <a:cubicBezTo>
                    <a:pt x="73" y="139"/>
                    <a:pt x="74" y="150"/>
                    <a:pt x="75" y="160"/>
                  </a:cubicBezTo>
                  <a:cubicBezTo>
                    <a:pt x="26" y="160"/>
                    <a:pt x="26" y="160"/>
                    <a:pt x="26" y="160"/>
                  </a:cubicBezTo>
                  <a:cubicBezTo>
                    <a:pt x="24" y="153"/>
                    <a:pt x="22" y="145"/>
                    <a:pt x="22" y="138"/>
                  </a:cubicBezTo>
                  <a:cubicBezTo>
                    <a:pt x="21" y="132"/>
                    <a:pt x="16" y="127"/>
                    <a:pt x="10" y="128"/>
                  </a:cubicBezTo>
                  <a:cubicBezTo>
                    <a:pt x="4" y="129"/>
                    <a:pt x="0" y="134"/>
                    <a:pt x="1" y="140"/>
                  </a:cubicBezTo>
                  <a:cubicBezTo>
                    <a:pt x="6" y="206"/>
                    <a:pt x="61" y="256"/>
                    <a:pt x="128" y="256"/>
                  </a:cubicBezTo>
                  <a:cubicBezTo>
                    <a:pt x="199" y="256"/>
                    <a:pt x="256" y="199"/>
                    <a:pt x="256" y="128"/>
                  </a:cubicBezTo>
                  <a:cubicBezTo>
                    <a:pt x="256" y="57"/>
                    <a:pt x="199" y="0"/>
                    <a:pt x="128" y="0"/>
                  </a:cubicBezTo>
                  <a:close/>
                  <a:moveTo>
                    <a:pt x="36" y="181"/>
                  </a:moveTo>
                  <a:cubicBezTo>
                    <a:pt x="78" y="181"/>
                    <a:pt x="78" y="181"/>
                    <a:pt x="78" y="181"/>
                  </a:cubicBezTo>
                  <a:cubicBezTo>
                    <a:pt x="81" y="200"/>
                    <a:pt x="86" y="216"/>
                    <a:pt x="93" y="229"/>
                  </a:cubicBezTo>
                  <a:cubicBezTo>
                    <a:pt x="69" y="220"/>
                    <a:pt x="48" y="204"/>
                    <a:pt x="36" y="181"/>
                  </a:cubicBezTo>
                  <a:close/>
                  <a:moveTo>
                    <a:pt x="220" y="75"/>
                  </a:moveTo>
                  <a:cubicBezTo>
                    <a:pt x="178" y="75"/>
                    <a:pt x="178" y="75"/>
                    <a:pt x="178" y="75"/>
                  </a:cubicBezTo>
                  <a:cubicBezTo>
                    <a:pt x="175" y="57"/>
                    <a:pt x="170" y="40"/>
                    <a:pt x="163" y="27"/>
                  </a:cubicBezTo>
                  <a:cubicBezTo>
                    <a:pt x="187" y="36"/>
                    <a:pt x="207" y="53"/>
                    <a:pt x="220" y="75"/>
                  </a:cubicBezTo>
                  <a:close/>
                  <a:moveTo>
                    <a:pt x="128" y="21"/>
                  </a:moveTo>
                  <a:cubicBezTo>
                    <a:pt x="137" y="21"/>
                    <a:pt x="150" y="41"/>
                    <a:pt x="156" y="75"/>
                  </a:cubicBezTo>
                  <a:cubicBezTo>
                    <a:pt x="100" y="75"/>
                    <a:pt x="100" y="75"/>
                    <a:pt x="100" y="75"/>
                  </a:cubicBezTo>
                  <a:cubicBezTo>
                    <a:pt x="106" y="41"/>
                    <a:pt x="119" y="21"/>
                    <a:pt x="128" y="21"/>
                  </a:cubicBezTo>
                  <a:close/>
                  <a:moveTo>
                    <a:pt x="128" y="235"/>
                  </a:moveTo>
                  <a:cubicBezTo>
                    <a:pt x="119" y="235"/>
                    <a:pt x="106" y="215"/>
                    <a:pt x="100" y="181"/>
                  </a:cubicBezTo>
                  <a:cubicBezTo>
                    <a:pt x="156" y="181"/>
                    <a:pt x="156" y="181"/>
                    <a:pt x="156" y="181"/>
                  </a:cubicBezTo>
                  <a:cubicBezTo>
                    <a:pt x="150" y="215"/>
                    <a:pt x="137" y="235"/>
                    <a:pt x="128" y="235"/>
                  </a:cubicBezTo>
                  <a:close/>
                  <a:moveTo>
                    <a:pt x="160" y="160"/>
                  </a:moveTo>
                  <a:cubicBezTo>
                    <a:pt x="96" y="160"/>
                    <a:pt x="96" y="160"/>
                    <a:pt x="96" y="160"/>
                  </a:cubicBezTo>
                  <a:cubicBezTo>
                    <a:pt x="95" y="150"/>
                    <a:pt x="95" y="139"/>
                    <a:pt x="95" y="128"/>
                  </a:cubicBezTo>
                  <a:cubicBezTo>
                    <a:pt x="95" y="117"/>
                    <a:pt x="95" y="106"/>
                    <a:pt x="96" y="96"/>
                  </a:cubicBezTo>
                  <a:cubicBezTo>
                    <a:pt x="160" y="96"/>
                    <a:pt x="160" y="96"/>
                    <a:pt x="160" y="96"/>
                  </a:cubicBezTo>
                  <a:cubicBezTo>
                    <a:pt x="161" y="106"/>
                    <a:pt x="161" y="117"/>
                    <a:pt x="161" y="128"/>
                  </a:cubicBezTo>
                  <a:cubicBezTo>
                    <a:pt x="161" y="139"/>
                    <a:pt x="161" y="150"/>
                    <a:pt x="160" y="160"/>
                  </a:cubicBezTo>
                  <a:close/>
                  <a:moveTo>
                    <a:pt x="163" y="229"/>
                  </a:moveTo>
                  <a:cubicBezTo>
                    <a:pt x="170" y="216"/>
                    <a:pt x="175" y="199"/>
                    <a:pt x="178" y="181"/>
                  </a:cubicBezTo>
                  <a:cubicBezTo>
                    <a:pt x="220" y="181"/>
                    <a:pt x="220" y="181"/>
                    <a:pt x="220" y="181"/>
                  </a:cubicBezTo>
                  <a:cubicBezTo>
                    <a:pt x="207" y="203"/>
                    <a:pt x="187" y="220"/>
                    <a:pt x="163" y="229"/>
                  </a:cubicBezTo>
                  <a:close/>
                  <a:moveTo>
                    <a:pt x="181" y="160"/>
                  </a:moveTo>
                  <a:cubicBezTo>
                    <a:pt x="182" y="150"/>
                    <a:pt x="183" y="139"/>
                    <a:pt x="183" y="128"/>
                  </a:cubicBezTo>
                  <a:cubicBezTo>
                    <a:pt x="183" y="117"/>
                    <a:pt x="182" y="106"/>
                    <a:pt x="181" y="96"/>
                  </a:cubicBezTo>
                  <a:cubicBezTo>
                    <a:pt x="230" y="96"/>
                    <a:pt x="230" y="96"/>
                    <a:pt x="230" y="96"/>
                  </a:cubicBezTo>
                  <a:cubicBezTo>
                    <a:pt x="233" y="106"/>
                    <a:pt x="235" y="117"/>
                    <a:pt x="235" y="128"/>
                  </a:cubicBezTo>
                  <a:cubicBezTo>
                    <a:pt x="235" y="139"/>
                    <a:pt x="233" y="150"/>
                    <a:pt x="230" y="160"/>
                  </a:cubicBezTo>
                  <a:lnTo>
                    <a:pt x="181" y="16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39">
              <a:extLst>
                <a:ext uri="{FF2B5EF4-FFF2-40B4-BE49-F238E27FC236}">
                  <a16:creationId xmlns:a16="http://schemas.microsoft.com/office/drawing/2014/main" id="{737FAB43-45E8-4C22-BFBF-C3E8D945593B}"/>
                </a:ext>
              </a:extLst>
            </p:cNvPr>
            <p:cNvSpPr>
              <a:spLocks noEditPoints="1"/>
            </p:cNvSpPr>
            <p:nvPr/>
          </p:nvSpPr>
          <p:spPr bwMode="auto">
            <a:xfrm>
              <a:off x="2709"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0" name="Group 902">
            <a:extLst>
              <a:ext uri="{FF2B5EF4-FFF2-40B4-BE49-F238E27FC236}">
                <a16:creationId xmlns:a16="http://schemas.microsoft.com/office/drawing/2014/main" id="{44E0D1E3-AF68-4BD1-B099-C7BE6EDF0AD0}"/>
              </a:ext>
            </a:extLst>
          </p:cNvPr>
          <p:cNvGrpSpPr>
            <a:grpSpLocks noChangeAspect="1"/>
          </p:cNvGrpSpPr>
          <p:nvPr/>
        </p:nvGrpSpPr>
        <p:grpSpPr bwMode="auto">
          <a:xfrm>
            <a:off x="2652662" y="1700213"/>
            <a:ext cx="370106" cy="369021"/>
            <a:chOff x="3456" y="3471"/>
            <a:chExt cx="341" cy="340"/>
          </a:xfrm>
          <a:solidFill>
            <a:schemeClr val="accent4"/>
          </a:solidFill>
        </p:grpSpPr>
        <p:sp>
          <p:nvSpPr>
            <p:cNvPr id="41" name="Freeform 903">
              <a:extLst>
                <a:ext uri="{FF2B5EF4-FFF2-40B4-BE49-F238E27FC236}">
                  <a16:creationId xmlns:a16="http://schemas.microsoft.com/office/drawing/2014/main" id="{4B5C1C1A-DA13-453C-B1ED-287988BCD61E}"/>
                </a:ext>
              </a:extLst>
            </p:cNvPr>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904">
              <a:extLst>
                <a:ext uri="{FF2B5EF4-FFF2-40B4-BE49-F238E27FC236}">
                  <a16:creationId xmlns:a16="http://schemas.microsoft.com/office/drawing/2014/main" id="{A40077A8-9E29-41EA-8743-3C925A4C51C9}"/>
                </a:ext>
              </a:extLst>
            </p:cNvPr>
            <p:cNvSpPr>
              <a:spLocks noEditPoints="1"/>
            </p:cNvSpPr>
            <p:nvPr/>
          </p:nvSpPr>
          <p:spPr bwMode="auto">
            <a:xfrm>
              <a:off x="3520" y="3546"/>
              <a:ext cx="214" cy="173"/>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3" name="Freeform 908">
            <a:extLst>
              <a:ext uri="{FF2B5EF4-FFF2-40B4-BE49-F238E27FC236}">
                <a16:creationId xmlns:a16="http://schemas.microsoft.com/office/drawing/2014/main" id="{82458938-5FDB-4613-9781-E6EDFED2194A}"/>
              </a:ext>
            </a:extLst>
          </p:cNvPr>
          <p:cNvSpPr>
            <a:spLocks noChangeAspect="1" noEditPoints="1"/>
          </p:cNvSpPr>
          <p:nvPr/>
        </p:nvSpPr>
        <p:spPr bwMode="auto">
          <a:xfrm>
            <a:off x="2218917" y="1700213"/>
            <a:ext cx="369021" cy="369021"/>
          </a:xfrm>
          <a:custGeom>
            <a:avLst/>
            <a:gdLst>
              <a:gd name="T0" fmla="*/ 160 w 512"/>
              <a:gd name="T1" fmla="*/ 224 h 512"/>
              <a:gd name="T2" fmla="*/ 213 w 512"/>
              <a:gd name="T3" fmla="*/ 224 h 512"/>
              <a:gd name="T4" fmla="*/ 213 w 512"/>
              <a:gd name="T5" fmla="*/ 245 h 512"/>
              <a:gd name="T6" fmla="*/ 160 w 512"/>
              <a:gd name="T7" fmla="*/ 245 h 512"/>
              <a:gd name="T8" fmla="*/ 160 w 512"/>
              <a:gd name="T9" fmla="*/ 224 h 512"/>
              <a:gd name="T10" fmla="*/ 234 w 512"/>
              <a:gd name="T11" fmla="*/ 352 h 512"/>
              <a:gd name="T12" fmla="*/ 256 w 512"/>
              <a:gd name="T13" fmla="*/ 352 h 512"/>
              <a:gd name="T14" fmla="*/ 256 w 512"/>
              <a:gd name="T15" fmla="*/ 266 h 512"/>
              <a:gd name="T16" fmla="*/ 234 w 512"/>
              <a:gd name="T17" fmla="*/ 266 h 512"/>
              <a:gd name="T18" fmla="*/ 234 w 512"/>
              <a:gd name="T19" fmla="*/ 352 h 512"/>
              <a:gd name="T20" fmla="*/ 160 w 512"/>
              <a:gd name="T21" fmla="*/ 352 h 512"/>
              <a:gd name="T22" fmla="*/ 213 w 512"/>
              <a:gd name="T23" fmla="*/ 352 h 512"/>
              <a:gd name="T24" fmla="*/ 213 w 512"/>
              <a:gd name="T25" fmla="*/ 266 h 512"/>
              <a:gd name="T26" fmla="*/ 160 w 512"/>
              <a:gd name="T27" fmla="*/ 266 h 512"/>
              <a:gd name="T28" fmla="*/ 160 w 512"/>
              <a:gd name="T29" fmla="*/ 35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77 w 512"/>
              <a:gd name="T41" fmla="*/ 256 h 512"/>
              <a:gd name="T42" fmla="*/ 266 w 512"/>
              <a:gd name="T43" fmla="*/ 245 h 512"/>
              <a:gd name="T44" fmla="*/ 234 w 512"/>
              <a:gd name="T45" fmla="*/ 245 h 512"/>
              <a:gd name="T46" fmla="*/ 234 w 512"/>
              <a:gd name="T47" fmla="*/ 213 h 512"/>
              <a:gd name="T48" fmla="*/ 224 w 512"/>
              <a:gd name="T49" fmla="*/ 202 h 512"/>
              <a:gd name="T50" fmla="*/ 149 w 512"/>
              <a:gd name="T51" fmla="*/ 202 h 512"/>
              <a:gd name="T52" fmla="*/ 138 w 512"/>
              <a:gd name="T53" fmla="*/ 213 h 512"/>
              <a:gd name="T54" fmla="*/ 138 w 512"/>
              <a:gd name="T55" fmla="*/ 245 h 512"/>
              <a:gd name="T56" fmla="*/ 106 w 512"/>
              <a:gd name="T57" fmla="*/ 245 h 512"/>
              <a:gd name="T58" fmla="*/ 96 w 512"/>
              <a:gd name="T59" fmla="*/ 256 h 512"/>
              <a:gd name="T60" fmla="*/ 96 w 512"/>
              <a:gd name="T61" fmla="*/ 362 h 512"/>
              <a:gd name="T62" fmla="*/ 106 w 512"/>
              <a:gd name="T63" fmla="*/ 373 h 512"/>
              <a:gd name="T64" fmla="*/ 266 w 512"/>
              <a:gd name="T65" fmla="*/ 373 h 512"/>
              <a:gd name="T66" fmla="*/ 277 w 512"/>
              <a:gd name="T67" fmla="*/ 362 h 512"/>
              <a:gd name="T68" fmla="*/ 277 w 512"/>
              <a:gd name="T69" fmla="*/ 256 h 512"/>
              <a:gd name="T70" fmla="*/ 413 w 512"/>
              <a:gd name="T71" fmla="*/ 259 h 512"/>
              <a:gd name="T72" fmla="*/ 362 w 512"/>
              <a:gd name="T73" fmla="*/ 209 h 512"/>
              <a:gd name="T74" fmla="*/ 374 w 512"/>
              <a:gd name="T75" fmla="*/ 174 h 512"/>
              <a:gd name="T76" fmla="*/ 356 w 512"/>
              <a:gd name="T77" fmla="*/ 131 h 512"/>
              <a:gd name="T78" fmla="*/ 313 w 512"/>
              <a:gd name="T79" fmla="*/ 113 h 512"/>
              <a:gd name="T80" fmla="*/ 269 w 512"/>
              <a:gd name="T81" fmla="*/ 131 h 512"/>
              <a:gd name="T82" fmla="*/ 252 w 512"/>
              <a:gd name="T83" fmla="*/ 174 h 512"/>
              <a:gd name="T84" fmla="*/ 269 w 512"/>
              <a:gd name="T85" fmla="*/ 217 h 512"/>
              <a:gd name="T86" fmla="*/ 313 w 512"/>
              <a:gd name="T87" fmla="*/ 235 h 512"/>
              <a:gd name="T88" fmla="*/ 347 w 512"/>
              <a:gd name="T89" fmla="*/ 224 h 512"/>
              <a:gd name="T90" fmla="*/ 397 w 512"/>
              <a:gd name="T91" fmla="*/ 274 h 512"/>
              <a:gd name="T92" fmla="*/ 405 w 512"/>
              <a:gd name="T93" fmla="*/ 277 h 512"/>
              <a:gd name="T94" fmla="*/ 413 w 512"/>
              <a:gd name="T95" fmla="*/ 274 h 512"/>
              <a:gd name="T96" fmla="*/ 413 w 512"/>
              <a:gd name="T97" fmla="*/ 259 h 512"/>
              <a:gd name="T98" fmla="*/ 117 w 512"/>
              <a:gd name="T99" fmla="*/ 352 h 512"/>
              <a:gd name="T100" fmla="*/ 138 w 512"/>
              <a:gd name="T101" fmla="*/ 352 h 512"/>
              <a:gd name="T102" fmla="*/ 138 w 512"/>
              <a:gd name="T103" fmla="*/ 266 h 512"/>
              <a:gd name="T104" fmla="*/ 117 w 512"/>
              <a:gd name="T105" fmla="*/ 266 h 512"/>
              <a:gd name="T106" fmla="*/ 117 w 512"/>
              <a:gd name="T107" fmla="*/ 352 h 512"/>
              <a:gd name="T108" fmla="*/ 313 w 512"/>
              <a:gd name="T109" fmla="*/ 134 h 512"/>
              <a:gd name="T110" fmla="*/ 285 w 512"/>
              <a:gd name="T111" fmla="*/ 146 h 512"/>
              <a:gd name="T112" fmla="*/ 285 w 512"/>
              <a:gd name="T113" fmla="*/ 202 h 512"/>
              <a:gd name="T114" fmla="*/ 341 w 512"/>
              <a:gd name="T115" fmla="*/ 202 h 512"/>
              <a:gd name="T116" fmla="*/ 352 w 512"/>
              <a:gd name="T117" fmla="*/ 174 h 512"/>
              <a:gd name="T118" fmla="*/ 341 w 512"/>
              <a:gd name="T119" fmla="*/ 146 h 512"/>
              <a:gd name="T120" fmla="*/ 313 w 512"/>
              <a:gd name="T12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60" y="224"/>
                </a:moveTo>
                <a:cubicBezTo>
                  <a:pt x="213" y="224"/>
                  <a:pt x="213" y="224"/>
                  <a:pt x="213" y="224"/>
                </a:cubicBezTo>
                <a:cubicBezTo>
                  <a:pt x="213" y="245"/>
                  <a:pt x="213" y="245"/>
                  <a:pt x="213" y="245"/>
                </a:cubicBezTo>
                <a:cubicBezTo>
                  <a:pt x="160" y="245"/>
                  <a:pt x="160" y="245"/>
                  <a:pt x="160" y="245"/>
                </a:cubicBezTo>
                <a:lnTo>
                  <a:pt x="160" y="224"/>
                </a:lnTo>
                <a:close/>
                <a:moveTo>
                  <a:pt x="234" y="352"/>
                </a:moveTo>
                <a:cubicBezTo>
                  <a:pt x="256" y="352"/>
                  <a:pt x="256" y="352"/>
                  <a:pt x="256" y="352"/>
                </a:cubicBezTo>
                <a:cubicBezTo>
                  <a:pt x="256" y="266"/>
                  <a:pt x="256" y="266"/>
                  <a:pt x="256" y="266"/>
                </a:cubicBezTo>
                <a:cubicBezTo>
                  <a:pt x="234" y="266"/>
                  <a:pt x="234" y="266"/>
                  <a:pt x="234" y="266"/>
                </a:cubicBezTo>
                <a:lnTo>
                  <a:pt x="234" y="352"/>
                </a:lnTo>
                <a:close/>
                <a:moveTo>
                  <a:pt x="160" y="352"/>
                </a:moveTo>
                <a:cubicBezTo>
                  <a:pt x="213" y="352"/>
                  <a:pt x="213" y="352"/>
                  <a:pt x="213" y="352"/>
                </a:cubicBezTo>
                <a:cubicBezTo>
                  <a:pt x="213" y="266"/>
                  <a:pt x="213" y="266"/>
                  <a:pt x="213" y="266"/>
                </a:cubicBezTo>
                <a:cubicBezTo>
                  <a:pt x="160" y="266"/>
                  <a:pt x="160" y="266"/>
                  <a:pt x="160" y="266"/>
                </a:cubicBezTo>
                <a:lnTo>
                  <a:pt x="160"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7" y="256"/>
                </a:moveTo>
                <a:cubicBezTo>
                  <a:pt x="277" y="250"/>
                  <a:pt x="272" y="245"/>
                  <a:pt x="266" y="245"/>
                </a:cubicBezTo>
                <a:cubicBezTo>
                  <a:pt x="234" y="245"/>
                  <a:pt x="234" y="245"/>
                  <a:pt x="234" y="245"/>
                </a:cubicBezTo>
                <a:cubicBezTo>
                  <a:pt x="234" y="213"/>
                  <a:pt x="234" y="213"/>
                  <a:pt x="234" y="213"/>
                </a:cubicBezTo>
                <a:cubicBezTo>
                  <a:pt x="234" y="207"/>
                  <a:pt x="230" y="202"/>
                  <a:pt x="224" y="202"/>
                </a:cubicBezTo>
                <a:cubicBezTo>
                  <a:pt x="149" y="202"/>
                  <a:pt x="149" y="202"/>
                  <a:pt x="149" y="202"/>
                </a:cubicBezTo>
                <a:cubicBezTo>
                  <a:pt x="143" y="202"/>
                  <a:pt x="138" y="207"/>
                  <a:pt x="138" y="213"/>
                </a:cubicBezTo>
                <a:cubicBezTo>
                  <a:pt x="138" y="245"/>
                  <a:pt x="138" y="245"/>
                  <a:pt x="138" y="245"/>
                </a:cubicBezTo>
                <a:cubicBezTo>
                  <a:pt x="106" y="245"/>
                  <a:pt x="106" y="245"/>
                  <a:pt x="106" y="245"/>
                </a:cubicBezTo>
                <a:cubicBezTo>
                  <a:pt x="100" y="245"/>
                  <a:pt x="96" y="250"/>
                  <a:pt x="96" y="256"/>
                </a:cubicBezTo>
                <a:cubicBezTo>
                  <a:pt x="96" y="362"/>
                  <a:pt x="96" y="362"/>
                  <a:pt x="96" y="362"/>
                </a:cubicBezTo>
                <a:cubicBezTo>
                  <a:pt x="96" y="368"/>
                  <a:pt x="100" y="373"/>
                  <a:pt x="106" y="373"/>
                </a:cubicBezTo>
                <a:cubicBezTo>
                  <a:pt x="266" y="373"/>
                  <a:pt x="266" y="373"/>
                  <a:pt x="266" y="373"/>
                </a:cubicBezTo>
                <a:cubicBezTo>
                  <a:pt x="272" y="373"/>
                  <a:pt x="277" y="368"/>
                  <a:pt x="277" y="362"/>
                </a:cubicBezTo>
                <a:lnTo>
                  <a:pt x="277" y="256"/>
                </a:lnTo>
                <a:close/>
                <a:moveTo>
                  <a:pt x="413" y="259"/>
                </a:moveTo>
                <a:cubicBezTo>
                  <a:pt x="362" y="209"/>
                  <a:pt x="362" y="209"/>
                  <a:pt x="362" y="209"/>
                </a:cubicBezTo>
                <a:cubicBezTo>
                  <a:pt x="370" y="199"/>
                  <a:pt x="374" y="187"/>
                  <a:pt x="374" y="174"/>
                </a:cubicBezTo>
                <a:cubicBezTo>
                  <a:pt x="374" y="158"/>
                  <a:pt x="367" y="142"/>
                  <a:pt x="356" y="131"/>
                </a:cubicBezTo>
                <a:cubicBezTo>
                  <a:pt x="344" y="119"/>
                  <a:pt x="329" y="113"/>
                  <a:pt x="313" y="113"/>
                </a:cubicBezTo>
                <a:cubicBezTo>
                  <a:pt x="296" y="113"/>
                  <a:pt x="281" y="119"/>
                  <a:pt x="269" y="131"/>
                </a:cubicBezTo>
                <a:cubicBezTo>
                  <a:pt x="258" y="142"/>
                  <a:pt x="252" y="158"/>
                  <a:pt x="252" y="174"/>
                </a:cubicBezTo>
                <a:cubicBezTo>
                  <a:pt x="252" y="190"/>
                  <a:pt x="258" y="205"/>
                  <a:pt x="269" y="217"/>
                </a:cubicBezTo>
                <a:cubicBezTo>
                  <a:pt x="281" y="229"/>
                  <a:pt x="296" y="235"/>
                  <a:pt x="313" y="235"/>
                </a:cubicBezTo>
                <a:cubicBezTo>
                  <a:pt x="325" y="235"/>
                  <a:pt x="337" y="231"/>
                  <a:pt x="347" y="224"/>
                </a:cubicBezTo>
                <a:cubicBezTo>
                  <a:pt x="397" y="274"/>
                  <a:pt x="397" y="274"/>
                  <a:pt x="397" y="274"/>
                </a:cubicBezTo>
                <a:cubicBezTo>
                  <a:pt x="400" y="276"/>
                  <a:pt x="402" y="277"/>
                  <a:pt x="405" y="277"/>
                </a:cubicBezTo>
                <a:cubicBezTo>
                  <a:pt x="408" y="277"/>
                  <a:pt x="410" y="276"/>
                  <a:pt x="413" y="274"/>
                </a:cubicBezTo>
                <a:cubicBezTo>
                  <a:pt x="417" y="270"/>
                  <a:pt x="417" y="263"/>
                  <a:pt x="413" y="259"/>
                </a:cubicBezTo>
                <a:close/>
                <a:moveTo>
                  <a:pt x="117" y="352"/>
                </a:moveTo>
                <a:cubicBezTo>
                  <a:pt x="138" y="352"/>
                  <a:pt x="138" y="352"/>
                  <a:pt x="138" y="352"/>
                </a:cubicBezTo>
                <a:cubicBezTo>
                  <a:pt x="138" y="266"/>
                  <a:pt x="138" y="266"/>
                  <a:pt x="138" y="266"/>
                </a:cubicBezTo>
                <a:cubicBezTo>
                  <a:pt x="117" y="266"/>
                  <a:pt x="117" y="266"/>
                  <a:pt x="117" y="266"/>
                </a:cubicBezTo>
                <a:lnTo>
                  <a:pt x="117" y="352"/>
                </a:lnTo>
                <a:close/>
                <a:moveTo>
                  <a:pt x="313" y="134"/>
                </a:moveTo>
                <a:cubicBezTo>
                  <a:pt x="302" y="134"/>
                  <a:pt x="292" y="138"/>
                  <a:pt x="285" y="146"/>
                </a:cubicBezTo>
                <a:cubicBezTo>
                  <a:pt x="269" y="161"/>
                  <a:pt x="269" y="186"/>
                  <a:pt x="285" y="202"/>
                </a:cubicBezTo>
                <a:cubicBezTo>
                  <a:pt x="300" y="217"/>
                  <a:pt x="325" y="217"/>
                  <a:pt x="341" y="202"/>
                </a:cubicBezTo>
                <a:cubicBezTo>
                  <a:pt x="348" y="194"/>
                  <a:pt x="352" y="184"/>
                  <a:pt x="352" y="174"/>
                </a:cubicBezTo>
                <a:cubicBezTo>
                  <a:pt x="352" y="163"/>
                  <a:pt x="348" y="153"/>
                  <a:pt x="341" y="146"/>
                </a:cubicBezTo>
                <a:cubicBezTo>
                  <a:pt x="333" y="138"/>
                  <a:pt x="323" y="134"/>
                  <a:pt x="313" y="13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99103714"/>
      </p:ext>
    </p:extLst>
  </p:cSld>
  <p:clrMapOvr>
    <a:masterClrMapping/>
  </p:clrMapOvr>
  <p:transition>
    <p:fade/>
  </p:transition>
</p:sld>
</file>

<file path=ppt/slides/slide316.xml><?xml version="1.0" encoding="utf-8"?>
<p:sld xmlns:a="http://schemas.openxmlformats.org/drawingml/2006/main" xmlns:r="http://schemas.openxmlformats.org/officeDocument/2006/relationships" xmlns:p="http://schemas.openxmlformats.org/presentationml/2006/main">
  <p:cSld>
    <p:bg>
      <p:bgPr>
        <a:solidFill>
          <a:schemeClr val="bg2">
            <a:lumMod val="60000"/>
            <a:lumOff val="4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tx1"/>
                </a:solidFill>
              </a:rPr>
              <a:t>Appendix</a:t>
            </a:r>
          </a:p>
        </p:txBody>
      </p:sp>
    </p:spTree>
    <p:extLst>
      <p:ext uri="{BB962C8B-B14F-4D97-AF65-F5344CB8AC3E}">
        <p14:creationId xmlns:p14="http://schemas.microsoft.com/office/powerpoint/2010/main" val="2674014039"/>
      </p:ext>
    </p:extLst>
  </p:cSld>
  <p:clrMapOvr>
    <a:masterClrMapping/>
  </p:clrMapOvr>
  <p:transition>
    <p:fade/>
  </p:transition>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2">
            <a:extLst>
              <a:ext uri="{FF2B5EF4-FFF2-40B4-BE49-F238E27FC236}">
                <a16:creationId xmlns:a16="http://schemas.microsoft.com/office/drawing/2014/main" id="{A99E8EA8-34E9-4111-B2E2-178AE278245C}"/>
              </a:ext>
            </a:extLst>
          </p:cNvPr>
          <p:cNvSpPr txBox="1">
            <a:spLocks/>
          </p:cNvSpPr>
          <p:nvPr/>
        </p:nvSpPr>
        <p:spPr>
          <a:xfrm>
            <a:off x="501650" y="651600"/>
            <a:ext cx="11188700" cy="757255"/>
          </a:xfrm>
          <a:prstGeom prst="rect">
            <a:avLst/>
          </a:prstGeom>
        </p:spPr>
        <p:txBody>
          <a:bodyPr lIns="0" tIns="0"/>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800" dirty="0" err="1"/>
              <a:t>Color</a:t>
            </a:r>
            <a:endParaRPr lang="en-GB" sz="1800" dirty="0"/>
          </a:p>
        </p:txBody>
      </p:sp>
      <p:sp>
        <p:nvSpPr>
          <p:cNvPr id="32" name="Title 3">
            <a:extLst>
              <a:ext uri="{FF2B5EF4-FFF2-40B4-BE49-F238E27FC236}">
                <a16:creationId xmlns:a16="http://schemas.microsoft.com/office/drawing/2014/main" id="{11F8F3FF-5BCF-4B01-9310-7BF2990432FF}"/>
              </a:ext>
            </a:extLst>
          </p:cNvPr>
          <p:cNvSpPr txBox="1">
            <a:spLocks/>
          </p:cNvSpPr>
          <p:nvPr/>
        </p:nvSpPr>
        <p:spPr>
          <a:xfrm>
            <a:off x="501650" y="317500"/>
            <a:ext cx="11188700" cy="698501"/>
          </a:xfrm>
          <a:prstGeom prst="rect">
            <a:avLst/>
          </a:prstGeom>
        </p:spPr>
        <p:txBody>
          <a:bodyPr lIns="0" tIns="0"/>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GB" dirty="0"/>
              <a:t>Appendix</a:t>
            </a:r>
          </a:p>
        </p:txBody>
      </p:sp>
      <p:graphicFrame>
        <p:nvGraphicFramePr>
          <p:cNvPr id="5" name="Table 4">
            <a:extLst>
              <a:ext uri="{FF2B5EF4-FFF2-40B4-BE49-F238E27FC236}">
                <a16:creationId xmlns:a16="http://schemas.microsoft.com/office/drawing/2014/main" id="{DCBE05B7-C81C-4B13-94E2-B5B382691EAF}"/>
              </a:ext>
            </a:extLst>
          </p:cNvPr>
          <p:cNvGraphicFramePr>
            <a:graphicFrameLocks noGrp="1"/>
          </p:cNvGraphicFramePr>
          <p:nvPr>
            <p:extLst>
              <p:ext uri="{D42A27DB-BD31-4B8C-83A1-F6EECF244321}">
                <p14:modId xmlns:p14="http://schemas.microsoft.com/office/powerpoint/2010/main" val="1412198648"/>
              </p:ext>
            </p:extLst>
          </p:nvPr>
        </p:nvGraphicFramePr>
        <p:xfrm>
          <a:off x="501648" y="1391239"/>
          <a:ext cx="11188700" cy="1242908"/>
        </p:xfrm>
        <a:graphic>
          <a:graphicData uri="http://schemas.openxmlformats.org/drawingml/2006/table">
            <a:tbl>
              <a:tblPr firstRow="1" firstCol="1" bandRow="1"/>
              <a:tblGrid>
                <a:gridCol w="2797175">
                  <a:extLst>
                    <a:ext uri="{9D8B030D-6E8A-4147-A177-3AD203B41FA5}">
                      <a16:colId xmlns:a16="http://schemas.microsoft.com/office/drawing/2014/main" val="20000"/>
                    </a:ext>
                  </a:extLst>
                </a:gridCol>
                <a:gridCol w="2797175">
                  <a:extLst>
                    <a:ext uri="{9D8B030D-6E8A-4147-A177-3AD203B41FA5}">
                      <a16:colId xmlns:a16="http://schemas.microsoft.com/office/drawing/2014/main" val="20001"/>
                    </a:ext>
                  </a:extLst>
                </a:gridCol>
                <a:gridCol w="2797175">
                  <a:extLst>
                    <a:ext uri="{9D8B030D-6E8A-4147-A177-3AD203B41FA5}">
                      <a16:colId xmlns:a16="http://schemas.microsoft.com/office/drawing/2014/main" val="20002"/>
                    </a:ext>
                  </a:extLst>
                </a:gridCol>
                <a:gridCol w="2797175">
                  <a:extLst>
                    <a:ext uri="{9D8B030D-6E8A-4147-A177-3AD203B41FA5}">
                      <a16:colId xmlns:a16="http://schemas.microsoft.com/office/drawing/2014/main" val="441375122"/>
                    </a:ext>
                  </a:extLst>
                </a:gridCol>
              </a:tblGrid>
              <a:tr h="229226">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tx1"/>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1"/>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43B02A"/>
                    </a:solidFill>
                  </a:tcPr>
                </a:tc>
                <a:extLst>
                  <a:ext uri="{0D108BD9-81ED-4DB2-BD59-A6C34878D82A}">
                    <a16:rowId xmlns:a16="http://schemas.microsoft.com/office/drawing/2014/main" val="10000"/>
                  </a:ext>
                </a:extLst>
              </a:tr>
              <a:tr h="353772">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White</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255 G 255 B 255</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ack</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0 G 0 B 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134 G 188 B 37</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4</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67 G 176 B 4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229226">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26890D"/>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46A38"/>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D8390"/>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CB0"/>
                    </a:solidFill>
                  </a:tcPr>
                </a:tc>
                <a:extLst>
                  <a:ext uri="{0D108BD9-81ED-4DB2-BD59-A6C34878D82A}">
                    <a16:rowId xmlns:a16="http://schemas.microsoft.com/office/drawing/2014/main" val="10002"/>
                  </a:ext>
                </a:extLst>
              </a:tr>
              <a:tr h="353772">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Accessible Green</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38 G 137 B 13</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6</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4 G 106 B 5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Accessible Teal</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13 G 131 B 144</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Accessible Blue</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 0 G 124 B 17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6" name="Table 5">
            <a:extLst>
              <a:ext uri="{FF2B5EF4-FFF2-40B4-BE49-F238E27FC236}">
                <a16:creationId xmlns:a16="http://schemas.microsoft.com/office/drawing/2014/main" id="{9D6968C5-3A51-49E7-8918-C2A2B3C52C8C}"/>
              </a:ext>
            </a:extLst>
          </p:cNvPr>
          <p:cNvGraphicFramePr>
            <a:graphicFrameLocks noGrp="1"/>
          </p:cNvGraphicFramePr>
          <p:nvPr>
            <p:extLst>
              <p:ext uri="{D42A27DB-BD31-4B8C-83A1-F6EECF244321}">
                <p14:modId xmlns:p14="http://schemas.microsoft.com/office/powerpoint/2010/main" val="2268202538"/>
              </p:ext>
            </p:extLst>
          </p:nvPr>
        </p:nvGraphicFramePr>
        <p:xfrm>
          <a:off x="501647" y="3201216"/>
          <a:ext cx="11188702" cy="2890404"/>
        </p:xfrm>
        <a:graphic>
          <a:graphicData uri="http://schemas.openxmlformats.org/drawingml/2006/table">
            <a:tbl>
              <a:tblPr firstRow="1" firstCol="1" bandRow="1"/>
              <a:tblGrid>
                <a:gridCol w="1598386">
                  <a:extLst>
                    <a:ext uri="{9D8B030D-6E8A-4147-A177-3AD203B41FA5}">
                      <a16:colId xmlns:a16="http://schemas.microsoft.com/office/drawing/2014/main" val="20000"/>
                    </a:ext>
                  </a:extLst>
                </a:gridCol>
                <a:gridCol w="1598386">
                  <a:extLst>
                    <a:ext uri="{9D8B030D-6E8A-4147-A177-3AD203B41FA5}">
                      <a16:colId xmlns:a16="http://schemas.microsoft.com/office/drawing/2014/main" val="20001"/>
                    </a:ext>
                  </a:extLst>
                </a:gridCol>
                <a:gridCol w="1598386">
                  <a:extLst>
                    <a:ext uri="{9D8B030D-6E8A-4147-A177-3AD203B41FA5}">
                      <a16:colId xmlns:a16="http://schemas.microsoft.com/office/drawing/2014/main" val="20002"/>
                    </a:ext>
                  </a:extLst>
                </a:gridCol>
                <a:gridCol w="1598386">
                  <a:extLst>
                    <a:ext uri="{9D8B030D-6E8A-4147-A177-3AD203B41FA5}">
                      <a16:colId xmlns:a16="http://schemas.microsoft.com/office/drawing/2014/main" val="533255097"/>
                    </a:ext>
                  </a:extLst>
                </a:gridCol>
                <a:gridCol w="1598386">
                  <a:extLst>
                    <a:ext uri="{9D8B030D-6E8A-4147-A177-3AD203B41FA5}">
                      <a16:colId xmlns:a16="http://schemas.microsoft.com/office/drawing/2014/main" val="3342033590"/>
                    </a:ext>
                  </a:extLst>
                </a:gridCol>
                <a:gridCol w="1598386">
                  <a:extLst>
                    <a:ext uri="{9D8B030D-6E8A-4147-A177-3AD203B41FA5}">
                      <a16:colId xmlns:a16="http://schemas.microsoft.com/office/drawing/2014/main" val="2390683145"/>
                    </a:ext>
                  </a:extLst>
                </a:gridCol>
                <a:gridCol w="1598386">
                  <a:extLst>
                    <a:ext uri="{9D8B030D-6E8A-4147-A177-3AD203B41FA5}">
                      <a16:colId xmlns:a16="http://schemas.microsoft.com/office/drawing/2014/main" val="698247616"/>
                    </a:ext>
                  </a:extLst>
                </a:gridCol>
              </a:tblGrid>
              <a:tr h="226644">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a:noFill/>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E3E48D"/>
                    </a:solidFill>
                  </a:tcPr>
                </a:tc>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C4D600"/>
                    </a:solidFill>
                  </a:tcPr>
                </a:tc>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009A44"/>
                    </a:solidFill>
                  </a:tcPr>
                </a:tc>
                <a:tc>
                  <a:txBody>
                    <a:bodyPr/>
                    <a:lstStyle/>
                    <a:p>
                      <a:pPr>
                        <a:lnSpc>
                          <a:spcPct val="100000"/>
                        </a:lnSpc>
                        <a:spcBef>
                          <a:spcPts val="0"/>
                        </a:spcBef>
                        <a:spcAft>
                          <a:spcPts val="0"/>
                        </a:spcAft>
                      </a:pPr>
                      <a:endParaRPr lang="en-US" sz="900" dirty="0">
                        <a:effectLst/>
                        <a:latin typeface="+mn-lt"/>
                        <a:ea typeface="Verdana" panose="020B0604030504040204" pitchFamily="34" charset="0"/>
                        <a:cs typeface="Calibri Light" panose="020F0302020204030204" pitchFamily="34" charset="0"/>
                      </a:endParaRP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2C5234"/>
                    </a:solidFill>
                  </a:tcPr>
                </a:tc>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A0DCFF"/>
                    </a:solidFill>
                  </a:tcPr>
                </a:tc>
                <a:tc>
                  <a:txBody>
                    <a:bodyPr/>
                    <a:lstStyle/>
                    <a:p>
                      <a:pPr>
                        <a:lnSpc>
                          <a:spcPct val="100000"/>
                        </a:lnSpc>
                        <a:spcBef>
                          <a:spcPts val="0"/>
                        </a:spcBef>
                        <a:spcAft>
                          <a:spcPts val="0"/>
                        </a:spcAft>
                      </a:pPr>
                      <a:r>
                        <a:rPr lang="en-US" sz="900" dirty="0">
                          <a:effectLst/>
                          <a:latin typeface="+mn-lt"/>
                          <a:ea typeface="Verdana" panose="020B0604030504040204" pitchFamily="34" charset="0"/>
                          <a:cs typeface="Calibri Light" panose="020F0302020204030204" pitchFamily="34" charset="0"/>
                        </a:rPr>
                        <a:t> </a:t>
                      </a: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62B5E5"/>
                    </a:solidFill>
                  </a:tcPr>
                </a:tc>
                <a:tc>
                  <a:txBody>
                    <a:bodyPr/>
                    <a:lstStyle/>
                    <a:p>
                      <a:pPr>
                        <a:lnSpc>
                          <a:spcPct val="100000"/>
                        </a:lnSpc>
                        <a:spcBef>
                          <a:spcPts val="0"/>
                        </a:spcBef>
                        <a:spcAft>
                          <a:spcPts val="0"/>
                        </a:spcAft>
                      </a:pPr>
                      <a:endParaRPr lang="en-US" sz="900" dirty="0">
                        <a:effectLst/>
                        <a:latin typeface="+mn-lt"/>
                        <a:ea typeface="Verdana" panose="020B0604030504040204" pitchFamily="34" charset="0"/>
                        <a:cs typeface="Calibri Light" panose="020F0302020204030204" pitchFamily="34" charset="0"/>
                      </a:endParaRPr>
                    </a:p>
                  </a:txBody>
                  <a:tcPr marL="0" marR="0" marT="57641" marB="57641">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00A3E0"/>
                    </a:solidFill>
                  </a:tcPr>
                </a:tc>
                <a:extLst>
                  <a:ext uri="{0D108BD9-81ED-4DB2-BD59-A6C34878D82A}">
                    <a16:rowId xmlns:a16="http://schemas.microsoft.com/office/drawing/2014/main" val="10000"/>
                  </a:ext>
                </a:extLst>
              </a:tr>
              <a:tr h="358354">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1</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227 G228 B141</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2</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96 G214 B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5</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54 B6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Green 7</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44 G8</a:t>
                      </a:r>
                      <a:r>
                        <a:rPr lang="en-US" sz="1000" dirty="0">
                          <a:solidFill>
                            <a:schemeClr val="tx1"/>
                          </a:solidFill>
                          <a:effectLst/>
                          <a:latin typeface="+mn-lt"/>
                          <a:ea typeface="Verdana" panose="020B0604030504040204" pitchFamily="34" charset="0"/>
                          <a:cs typeface="Calibri Light" panose="020F0302020204030204" pitchFamily="34" charset="0"/>
                        </a:rPr>
                        <a:t>2</a:t>
                      </a:r>
                      <a:r>
                        <a:rPr lang="en-US" sz="1000" dirty="0">
                          <a:effectLst/>
                          <a:latin typeface="+mn-lt"/>
                          <a:ea typeface="Verdana" panose="020B0604030504040204" pitchFamily="34" charset="0"/>
                          <a:cs typeface="Calibri Light" panose="020F0302020204030204" pitchFamily="34" charset="0"/>
                        </a:rPr>
                        <a:t> B5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1</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60 G220 B25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2</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98 G181 B22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3</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63 B224</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226644">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6A8"/>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5587"/>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12169"/>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41E42"/>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DEFE8"/>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DD4CF"/>
                    </a:solidFill>
                  </a:tcPr>
                </a:tc>
                <a:tc>
                  <a:txBody>
                    <a:bodyPr/>
                    <a:lstStyle/>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6FC2B4"/>
                    </a:solidFill>
                  </a:tcPr>
                </a:tc>
                <a:extLst>
                  <a:ext uri="{0D108BD9-81ED-4DB2-BD59-A6C34878D82A}">
                    <a16:rowId xmlns:a16="http://schemas.microsoft.com/office/drawing/2014/main" val="10002"/>
                  </a:ext>
                </a:extLst>
              </a:tr>
              <a:tr h="349787">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4</a:t>
                      </a:r>
                      <a:endParaRPr lang="en-US" sz="1000" dirty="0">
                        <a:effectLst/>
                        <a:latin typeface="+mn-lt"/>
                        <a:ea typeface="Verdana" panose="020B0604030504040204" pitchFamily="34" charset="0"/>
                        <a:cs typeface="Calibri" panose="020F0502020204030204" pitchFamily="34" charset="0"/>
                      </a:endParaRP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18 B168</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5</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85 B13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6</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 G33 B10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panose="020F0502020204030204" pitchFamily="34" charset="0"/>
                        </a:rPr>
                        <a:t>Blue 7</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4 G30 B6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1</a:t>
                      </a:r>
                      <a:endParaRPr lang="en-US" sz="1000" b="0" dirty="0">
                        <a:effectLst/>
                        <a:latin typeface="+mn-lt"/>
                        <a:ea typeface="Verdana" panose="020B0604030504040204" pitchFamily="34" charset="0"/>
                        <a:cs typeface="Calibri Light" panose="020F0302020204030204" pitchFamily="34" charset="0"/>
                      </a:endParaRPr>
                    </a:p>
                    <a:p>
                      <a:pPr>
                        <a:lnSpc>
                          <a:spcPct val="100000"/>
                        </a:lnSpc>
                        <a:spcBef>
                          <a:spcPts val="0"/>
                        </a:spcBef>
                        <a:spcAft>
                          <a:spcPts val="0"/>
                        </a:spcAft>
                      </a:pPr>
                      <a:r>
                        <a:rPr lang="en-US" sz="1000" b="0" dirty="0">
                          <a:effectLst/>
                          <a:latin typeface="+mn-lt"/>
                          <a:ea typeface="Verdana" panose="020B0604030504040204" pitchFamily="34" charset="0"/>
                          <a:cs typeface="Calibri Light" panose="020F0302020204030204" pitchFamily="34" charset="0"/>
                        </a:rPr>
                        <a:t>R221 G239 B23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2</a:t>
                      </a:r>
                    </a:p>
                    <a:p>
                      <a:pPr>
                        <a:lnSpc>
                          <a:spcPct val="100000"/>
                        </a:lnSpc>
                        <a:spcBef>
                          <a:spcPts val="0"/>
                        </a:spcBef>
                        <a:spcAft>
                          <a:spcPts val="0"/>
                        </a:spcAft>
                      </a:pPr>
                      <a:r>
                        <a:rPr lang="en-US" sz="1000" b="0" dirty="0">
                          <a:effectLst/>
                          <a:latin typeface="+mn-lt"/>
                          <a:ea typeface="Verdana" panose="020B0604030504040204" pitchFamily="34" charset="0"/>
                          <a:cs typeface="Calibri Light" panose="020F0302020204030204" pitchFamily="34" charset="0"/>
                        </a:rPr>
                        <a:t>R157 G212 B207</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3</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11 G194 B18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r h="226644">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ABAB"/>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97A9"/>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680"/>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4F59"/>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0D0CE"/>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BBBCBC"/>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7A8AA"/>
                    </a:solidFill>
                  </a:tcPr>
                </a:tc>
                <a:extLst>
                  <a:ext uri="{0D108BD9-81ED-4DB2-BD59-A6C34878D82A}">
                    <a16:rowId xmlns:a16="http://schemas.microsoft.com/office/drawing/2014/main" val="10004"/>
                  </a:ext>
                </a:extLst>
              </a:tr>
              <a:tr h="349787">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4</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71 B171</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5</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51 B16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6</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118 B12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Teal 7</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0 G79 B8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2</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208 G208 B20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4</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87 G188 B18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6</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67 G168 B17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5"/>
                  </a:ext>
                </a:extLst>
              </a:tr>
              <a:tr h="226644">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7999B"/>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5787B"/>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63666A"/>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3565A"/>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DF200"/>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EFAC5"/>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3F0FF"/>
                    </a:solidFill>
                  </a:tcPr>
                </a:tc>
                <a:extLst>
                  <a:ext uri="{0D108BD9-81ED-4DB2-BD59-A6C34878D82A}">
                    <a16:rowId xmlns:a16="http://schemas.microsoft.com/office/drawing/2014/main" val="1618977446"/>
                  </a:ext>
                </a:extLst>
              </a:tr>
              <a:tr h="323671">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7</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51 G153 B155</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9</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117 G120 B123</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10</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99 G102 B10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Cool Gray 11</a:t>
                      </a:r>
                    </a:p>
                    <a:p>
                      <a:pPr>
                        <a:lnSpc>
                          <a:spcPct val="100000"/>
                        </a:lnSpc>
                        <a:spcBef>
                          <a:spcPts val="0"/>
                        </a:spcBef>
                        <a:spcAft>
                          <a:spcPts val="0"/>
                        </a:spcAft>
                      </a:pPr>
                      <a:r>
                        <a:rPr lang="en-US" sz="1000" dirty="0">
                          <a:effectLst/>
                          <a:latin typeface="+mn-lt"/>
                          <a:ea typeface="Verdana" panose="020B0604030504040204" pitchFamily="34" charset="0"/>
                          <a:cs typeface="Calibri Light" panose="020F0302020204030204" pitchFamily="34" charset="0"/>
                        </a:rPr>
                        <a:t>R83 G86 B9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Bright Green (Limited Use)</a:t>
                      </a:r>
                    </a:p>
                    <a:p>
                      <a:r>
                        <a:rPr lang="en-US" sz="1000" b="0" i="0" u="none" strike="noStrike" kern="1200" baseline="0" dirty="0">
                          <a:solidFill>
                            <a:schemeClr val="tx1"/>
                          </a:solidFill>
                          <a:latin typeface="+mn-lt"/>
                          <a:ea typeface="+mn-ea"/>
                          <a:cs typeface="+mn-cs"/>
                        </a:rPr>
                        <a:t>R13 G242 B0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Bright Teal (Limited Use)</a:t>
                      </a:r>
                    </a:p>
                    <a:p>
                      <a:r>
                        <a:rPr lang="en-US" sz="1000" b="0" i="0" u="none" strike="noStrike" kern="1200" baseline="0" dirty="0">
                          <a:solidFill>
                            <a:schemeClr val="tx1"/>
                          </a:solidFill>
                          <a:latin typeface="+mn-lt"/>
                          <a:ea typeface="+mn-ea"/>
                          <a:cs typeface="+mn-cs"/>
                        </a:rPr>
                        <a:t>R62 G250 B197 </a:t>
                      </a: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Bright Blue (Limited Use)</a:t>
                      </a:r>
                    </a:p>
                    <a:p>
                      <a:r>
                        <a:rPr lang="en-US" sz="1000" b="0" i="0" u="none" strike="noStrike" kern="1200" baseline="0" dirty="0">
                          <a:solidFill>
                            <a:schemeClr val="tx1"/>
                          </a:solidFill>
                          <a:latin typeface="+mn-lt"/>
                          <a:ea typeface="+mn-ea"/>
                          <a:cs typeface="+mn-cs"/>
                        </a:rPr>
                        <a:t>R51 G240 B255 </a:t>
                      </a: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657596839"/>
                  </a:ext>
                </a:extLst>
              </a:tr>
              <a:tr h="226644">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A291C"/>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ED8B00"/>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FCD00"/>
                    </a:solid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47306872"/>
                  </a:ext>
                </a:extLst>
              </a:tr>
              <a:tr h="349787">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Red (Functional Use)</a:t>
                      </a:r>
                    </a:p>
                    <a:p>
                      <a:r>
                        <a:rPr lang="en-US" sz="1000" b="0" i="0" u="none" strike="noStrike" kern="1200" baseline="0" dirty="0">
                          <a:solidFill>
                            <a:schemeClr val="tx1"/>
                          </a:solidFill>
                          <a:latin typeface="+mn-lt"/>
                          <a:ea typeface="+mn-ea"/>
                          <a:cs typeface="+mn-cs"/>
                        </a:rPr>
                        <a:t>R218 G41 B28 </a:t>
                      </a:r>
                      <a:endParaRPr lang="en-US" sz="1000" b="0" dirty="0">
                        <a:effectLst/>
                        <a:latin typeface="+mn-lt"/>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Orange (Functional Use)</a:t>
                      </a:r>
                    </a:p>
                    <a:p>
                      <a:r>
                        <a:rPr lang="en-US" sz="1000" b="0" i="0" u="none" strike="noStrike" kern="1200" baseline="0" dirty="0">
                          <a:solidFill>
                            <a:schemeClr val="tx1"/>
                          </a:solidFill>
                          <a:latin typeface="+mn-lt"/>
                          <a:ea typeface="+mn-ea"/>
                          <a:cs typeface="+mn-cs"/>
                        </a:rPr>
                        <a:t>R237 G139 B0 </a:t>
                      </a: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1000" b="1" dirty="0">
                          <a:effectLst/>
                          <a:latin typeface="+mn-lt"/>
                          <a:ea typeface="Verdana" panose="020B0604030504040204" pitchFamily="34" charset="0"/>
                          <a:cs typeface="Calibri Light" panose="020F0302020204030204" pitchFamily="34" charset="0"/>
                        </a:rPr>
                        <a:t>Yellow (Functional Use)</a:t>
                      </a:r>
                    </a:p>
                    <a:p>
                      <a:r>
                        <a:rPr lang="en-US" sz="1000" b="0" i="0" u="none" strike="noStrike" kern="1200" baseline="0" dirty="0">
                          <a:solidFill>
                            <a:schemeClr val="tx1"/>
                          </a:solidFill>
                          <a:latin typeface="+mn-lt"/>
                          <a:ea typeface="+mn-ea"/>
                          <a:cs typeface="+mn-cs"/>
                        </a:rPr>
                        <a:t>R255 G205 B0 </a:t>
                      </a: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endParaRPr lang="en-US" sz="1000" b="0" dirty="0">
                        <a:effectLst/>
                        <a:latin typeface="+mn-lt"/>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19936511"/>
                  </a:ext>
                </a:extLst>
              </a:tr>
            </a:tbl>
          </a:graphicData>
        </a:graphic>
      </p:graphicFrame>
      <p:sp>
        <p:nvSpPr>
          <p:cNvPr id="7" name="TextBox 6">
            <a:extLst>
              <a:ext uri="{FF2B5EF4-FFF2-40B4-BE49-F238E27FC236}">
                <a16:creationId xmlns:a16="http://schemas.microsoft.com/office/drawing/2014/main" id="{69BB86F3-F755-49AE-9120-836717026FCA}"/>
              </a:ext>
            </a:extLst>
          </p:cNvPr>
          <p:cNvSpPr txBox="1"/>
          <p:nvPr/>
        </p:nvSpPr>
        <p:spPr>
          <a:xfrm>
            <a:off x="501647" y="1167905"/>
            <a:ext cx="1061904" cy="184666"/>
          </a:xfrm>
          <a:prstGeom prst="rect">
            <a:avLst/>
          </a:prstGeom>
          <a:noFill/>
        </p:spPr>
        <p:txBody>
          <a:bodyPr wrap="square" lIns="0" tIns="0" rIns="0" bIns="0" rtlCol="0">
            <a:spAutoFit/>
          </a:bodyPr>
          <a:lstStyle/>
          <a:p>
            <a:pPr>
              <a:spcBef>
                <a:spcPts val="600"/>
              </a:spcBef>
              <a:buSzPct val="100000"/>
            </a:pPr>
            <a:r>
              <a:rPr lang="en-US" sz="1200" b="1" dirty="0">
                <a:solidFill>
                  <a:schemeClr val="accent1"/>
                </a:solidFill>
              </a:rPr>
              <a:t>Primary palette</a:t>
            </a:r>
          </a:p>
        </p:txBody>
      </p:sp>
      <p:sp>
        <p:nvSpPr>
          <p:cNvPr id="8" name="TextBox 7">
            <a:extLst>
              <a:ext uri="{FF2B5EF4-FFF2-40B4-BE49-F238E27FC236}">
                <a16:creationId xmlns:a16="http://schemas.microsoft.com/office/drawing/2014/main" id="{CCE15273-0754-4E40-933E-1295808D0426}"/>
              </a:ext>
            </a:extLst>
          </p:cNvPr>
          <p:cNvSpPr txBox="1"/>
          <p:nvPr/>
        </p:nvSpPr>
        <p:spPr>
          <a:xfrm>
            <a:off x="501647" y="2939697"/>
            <a:ext cx="1471479" cy="184666"/>
          </a:xfrm>
          <a:prstGeom prst="rect">
            <a:avLst/>
          </a:prstGeom>
          <a:noFill/>
        </p:spPr>
        <p:txBody>
          <a:bodyPr wrap="square" lIns="0" tIns="0" rIns="0" bIns="0" rtlCol="0">
            <a:spAutoFit/>
          </a:bodyPr>
          <a:lstStyle/>
          <a:p>
            <a:pPr>
              <a:spcBef>
                <a:spcPts val="600"/>
              </a:spcBef>
              <a:buSzPct val="100000"/>
            </a:pPr>
            <a:r>
              <a:rPr lang="en-US" sz="1200" b="1" dirty="0">
                <a:solidFill>
                  <a:schemeClr val="accent1"/>
                </a:solidFill>
              </a:rPr>
              <a:t>Secondary palette</a:t>
            </a:r>
          </a:p>
        </p:txBody>
      </p:sp>
    </p:spTree>
    <p:extLst>
      <p:ext uri="{BB962C8B-B14F-4D97-AF65-F5344CB8AC3E}">
        <p14:creationId xmlns:p14="http://schemas.microsoft.com/office/powerpoint/2010/main" val="224169214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Chevrons resulting from</a:t>
            </a:r>
            <a:endParaRPr lang="en-US" dirty="0"/>
          </a:p>
        </p:txBody>
      </p:sp>
      <p:sp>
        <p:nvSpPr>
          <p:cNvPr id="3" name="Title 2"/>
          <p:cNvSpPr>
            <a:spLocks noGrp="1"/>
          </p:cNvSpPr>
          <p:nvPr>
            <p:ph type="title"/>
          </p:nvPr>
        </p:nvSpPr>
        <p:spPr/>
        <p:txBody>
          <a:bodyPr/>
          <a:lstStyle/>
          <a:p>
            <a:r>
              <a:rPr lang="en-US" altLang="ja-JP"/>
              <a:t>Text boxes</a:t>
            </a:r>
            <a:endParaRPr lang="en-US" dirty="0"/>
          </a:p>
        </p:txBody>
      </p:sp>
      <p:grpSp>
        <p:nvGrpSpPr>
          <p:cNvPr id="4" name="Group 3">
            <a:extLst>
              <a:ext uri="{FF2B5EF4-FFF2-40B4-BE49-F238E27FC236}">
                <a16:creationId xmlns:a16="http://schemas.microsoft.com/office/drawing/2014/main" id="{E4CB28FB-8D7E-4592-95B8-D3559DE193F4}"/>
              </a:ext>
            </a:extLst>
          </p:cNvPr>
          <p:cNvGrpSpPr/>
          <p:nvPr/>
        </p:nvGrpSpPr>
        <p:grpSpPr>
          <a:xfrm>
            <a:off x="501650" y="1611785"/>
            <a:ext cx="11188700" cy="4445000"/>
            <a:chOff x="2219782" y="1611785"/>
            <a:chExt cx="7752439" cy="4445000"/>
          </a:xfrm>
        </p:grpSpPr>
        <p:sp>
          <p:nvSpPr>
            <p:cNvPr id="11" name="Rectangle 10"/>
            <p:cNvSpPr>
              <a:spLocks noChangeArrowheads="1"/>
            </p:cNvSpPr>
            <p:nvPr>
              <p:custDataLst>
                <p:tags r:id="rId1"/>
              </p:custDataLst>
            </p:nvPr>
          </p:nvSpPr>
          <p:spPr bwMode="auto">
            <a:xfrm>
              <a:off x="4790283" y="1611785"/>
              <a:ext cx="2600325" cy="4445000"/>
            </a:xfrm>
            <a:prstGeom prst="rect">
              <a:avLst/>
            </a:prstGeom>
            <a:noFill/>
            <a:ln w="6350" algn="ctr">
              <a:solidFill>
                <a:srgbClr val="BBBCBC"/>
              </a:solidFill>
              <a:miter lim="800000"/>
              <a:headEnd/>
              <a:tailEnd/>
            </a:ln>
          </p:spPr>
          <p:txBody>
            <a:bodyPr lIns="88900" tIns="88900" rIns="88900" bIns="88900" anchor="ctr"/>
            <a:lstStyle/>
            <a:p>
              <a:pPr algn="ctr">
                <a:defRPr/>
              </a:pPr>
              <a:r>
                <a:rPr lang="en-US" altLang="ja-JP" sz="2400" dirty="0">
                  <a:ea typeface="ＭＳ Ｐゴシック" pitchFamily="50" charset="-128"/>
                </a:rPr>
                <a:t>Text</a:t>
              </a:r>
            </a:p>
          </p:txBody>
        </p:sp>
        <p:sp>
          <p:nvSpPr>
            <p:cNvPr id="12" name="Text Placeholder 5"/>
            <p:cNvSpPr txBox="1">
              <a:spLocks/>
            </p:cNvSpPr>
            <p:nvPr>
              <p:custDataLst>
                <p:tags r:id="rId2"/>
              </p:custDataLst>
            </p:nvPr>
          </p:nvSpPr>
          <p:spPr>
            <a:xfrm flipH="1">
              <a:off x="2219782" y="1706653"/>
              <a:ext cx="3146425" cy="990000"/>
            </a:xfrm>
            <a:prstGeom prst="homePlate">
              <a:avLst>
                <a:gd name="adj" fmla="val 22028"/>
              </a:avLst>
            </a:prstGeom>
            <a:solidFill>
              <a:schemeClr val="tx1"/>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13" name="Text Placeholder 5"/>
            <p:cNvSpPr txBox="1">
              <a:spLocks/>
            </p:cNvSpPr>
            <p:nvPr>
              <p:custDataLst>
                <p:tags r:id="rId3"/>
              </p:custDataLst>
            </p:nvPr>
          </p:nvSpPr>
          <p:spPr>
            <a:xfrm flipH="1">
              <a:off x="2219782" y="2796399"/>
              <a:ext cx="3146425" cy="990000"/>
            </a:xfrm>
            <a:prstGeom prst="homePlate">
              <a:avLst>
                <a:gd name="adj" fmla="val 22028"/>
              </a:avLst>
            </a:prstGeom>
            <a:solidFill>
              <a:schemeClr val="tx1"/>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1" name="Text Placeholder 5"/>
            <p:cNvSpPr txBox="1">
              <a:spLocks/>
            </p:cNvSpPr>
            <p:nvPr>
              <p:custDataLst>
                <p:tags r:id="rId4"/>
              </p:custDataLst>
            </p:nvPr>
          </p:nvSpPr>
          <p:spPr>
            <a:xfrm flipH="1">
              <a:off x="2219782" y="3886145"/>
              <a:ext cx="3146425" cy="990000"/>
            </a:xfrm>
            <a:prstGeom prst="homePlate">
              <a:avLst>
                <a:gd name="adj" fmla="val 22028"/>
              </a:avLst>
            </a:prstGeom>
            <a:solidFill>
              <a:schemeClr val="tx1"/>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2" name="Text Placeholder 5"/>
            <p:cNvSpPr txBox="1">
              <a:spLocks/>
            </p:cNvSpPr>
            <p:nvPr>
              <p:custDataLst>
                <p:tags r:id="rId5"/>
              </p:custDataLst>
            </p:nvPr>
          </p:nvSpPr>
          <p:spPr>
            <a:xfrm>
              <a:off x="6825796" y="1706653"/>
              <a:ext cx="3146425" cy="990000"/>
            </a:xfrm>
            <a:prstGeom prst="homePlate">
              <a:avLst>
                <a:gd name="adj" fmla="val 22028"/>
              </a:avLst>
            </a:prstGeom>
            <a:solidFill>
              <a:schemeClr val="accent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3" name="Text Placeholder 5"/>
            <p:cNvSpPr txBox="1">
              <a:spLocks/>
            </p:cNvSpPr>
            <p:nvPr>
              <p:custDataLst>
                <p:tags r:id="rId6"/>
              </p:custDataLst>
            </p:nvPr>
          </p:nvSpPr>
          <p:spPr>
            <a:xfrm>
              <a:off x="6825796" y="2796399"/>
              <a:ext cx="3146425" cy="990000"/>
            </a:xfrm>
            <a:prstGeom prst="homePlate">
              <a:avLst>
                <a:gd name="adj" fmla="val 22028"/>
              </a:avLst>
            </a:prstGeom>
            <a:solidFill>
              <a:schemeClr val="accent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4" name="Text Placeholder 5"/>
            <p:cNvSpPr txBox="1">
              <a:spLocks/>
            </p:cNvSpPr>
            <p:nvPr>
              <p:custDataLst>
                <p:tags r:id="rId7"/>
              </p:custDataLst>
            </p:nvPr>
          </p:nvSpPr>
          <p:spPr>
            <a:xfrm>
              <a:off x="6825796" y="3886145"/>
              <a:ext cx="3146425" cy="990000"/>
            </a:xfrm>
            <a:prstGeom prst="homePlate">
              <a:avLst>
                <a:gd name="adj" fmla="val 22028"/>
              </a:avLst>
            </a:prstGeom>
            <a:solidFill>
              <a:schemeClr val="accent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5" name="Text Placeholder 5"/>
            <p:cNvSpPr txBox="1">
              <a:spLocks/>
            </p:cNvSpPr>
            <p:nvPr>
              <p:custDataLst>
                <p:tags r:id="rId8"/>
              </p:custDataLst>
            </p:nvPr>
          </p:nvSpPr>
          <p:spPr>
            <a:xfrm>
              <a:off x="6825796" y="4975890"/>
              <a:ext cx="3146425" cy="990000"/>
            </a:xfrm>
            <a:prstGeom prst="homePlate">
              <a:avLst>
                <a:gd name="adj" fmla="val 22028"/>
              </a:avLst>
            </a:prstGeom>
            <a:solidFill>
              <a:schemeClr val="accent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26" name="Text Placeholder 5"/>
            <p:cNvSpPr txBox="1">
              <a:spLocks/>
            </p:cNvSpPr>
            <p:nvPr>
              <p:custDataLst>
                <p:tags r:id="rId9"/>
              </p:custDataLst>
            </p:nvPr>
          </p:nvSpPr>
          <p:spPr>
            <a:xfrm flipH="1">
              <a:off x="2219782" y="4975890"/>
              <a:ext cx="3146425" cy="990000"/>
            </a:xfrm>
            <a:prstGeom prst="homePlate">
              <a:avLst>
                <a:gd name="adj" fmla="val 22028"/>
              </a:avLst>
            </a:prstGeom>
            <a:solidFill>
              <a:schemeClr val="tx1"/>
            </a:solidFill>
            <a:ln>
              <a:noFill/>
            </a:ln>
          </p:spPr>
          <p:txBody>
            <a:bodyPr wrap="square" lIns="18288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grpSp>
    </p:spTree>
    <p:extLst>
      <p:ext uri="{BB962C8B-B14F-4D97-AF65-F5344CB8AC3E}">
        <p14:creationId xmlns:p14="http://schemas.microsoft.com/office/powerpoint/2010/main" val="294578587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Arrow leading to</a:t>
            </a:r>
          </a:p>
        </p:txBody>
      </p:sp>
      <p:sp>
        <p:nvSpPr>
          <p:cNvPr id="3" name="Title 2"/>
          <p:cNvSpPr>
            <a:spLocks noGrp="1"/>
          </p:cNvSpPr>
          <p:nvPr>
            <p:ph type="title"/>
          </p:nvPr>
        </p:nvSpPr>
        <p:spPr/>
        <p:txBody>
          <a:bodyPr/>
          <a:lstStyle/>
          <a:p>
            <a:r>
              <a:rPr lang="en-US"/>
              <a:t>Text blocks</a:t>
            </a:r>
            <a:endParaRPr lang="en-US" dirty="0"/>
          </a:p>
        </p:txBody>
      </p:sp>
      <p:sp>
        <p:nvSpPr>
          <p:cNvPr id="14" name="Oval 13"/>
          <p:cNvSpPr/>
          <p:nvPr/>
        </p:nvSpPr>
        <p:spPr bwMode="gray">
          <a:xfrm>
            <a:off x="8907184" y="2569998"/>
            <a:ext cx="1655064" cy="1656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300" dirty="0">
                <a:solidFill>
                  <a:schemeClr val="bg1"/>
                </a:solidFill>
              </a:rPr>
              <a:t>Text runs here</a:t>
            </a:r>
          </a:p>
        </p:txBody>
      </p:sp>
      <p:sp>
        <p:nvSpPr>
          <p:cNvPr id="15" name="TextBox 14"/>
          <p:cNvSpPr txBox="1"/>
          <p:nvPr/>
        </p:nvSpPr>
        <p:spPr bwMode="gray">
          <a:xfrm>
            <a:off x="501650" y="1811783"/>
            <a:ext cx="6314769" cy="215444"/>
          </a:xfrm>
          <a:prstGeom prst="rect">
            <a:avLst/>
          </a:prstGeom>
          <a:noFill/>
        </p:spPr>
        <p:txBody>
          <a:bodyPr wrap="square" lIns="0" tIns="0" rIns="0" bIns="0" rtlCol="0" anchor="ctr">
            <a:spAutoFit/>
          </a:bodyPr>
          <a:lstStyle/>
          <a:p>
            <a:r>
              <a:rPr lang="en-US" sz="1400" dirty="0"/>
              <a:t>Text runs here</a:t>
            </a:r>
          </a:p>
        </p:txBody>
      </p:sp>
      <p:sp>
        <p:nvSpPr>
          <p:cNvPr id="16" name="TextBox 15"/>
          <p:cNvSpPr txBox="1"/>
          <p:nvPr/>
        </p:nvSpPr>
        <p:spPr bwMode="gray">
          <a:xfrm>
            <a:off x="501650" y="2405581"/>
            <a:ext cx="6314769" cy="215444"/>
          </a:xfrm>
          <a:prstGeom prst="rect">
            <a:avLst/>
          </a:prstGeom>
          <a:noFill/>
        </p:spPr>
        <p:txBody>
          <a:bodyPr wrap="square" lIns="0" tIns="0" rIns="0" bIns="0" rtlCol="0" anchor="ctr">
            <a:spAutoFit/>
          </a:bodyPr>
          <a:lstStyle/>
          <a:p>
            <a:r>
              <a:rPr lang="en-US" sz="1400" dirty="0"/>
              <a:t>Text runs here</a:t>
            </a:r>
          </a:p>
        </p:txBody>
      </p:sp>
      <p:sp>
        <p:nvSpPr>
          <p:cNvPr id="17" name="TextBox 16"/>
          <p:cNvSpPr txBox="1"/>
          <p:nvPr/>
        </p:nvSpPr>
        <p:spPr bwMode="gray">
          <a:xfrm>
            <a:off x="501650" y="2999379"/>
            <a:ext cx="6314769" cy="215444"/>
          </a:xfrm>
          <a:prstGeom prst="rect">
            <a:avLst/>
          </a:prstGeom>
          <a:noFill/>
        </p:spPr>
        <p:txBody>
          <a:bodyPr wrap="square" lIns="0" tIns="0" rIns="0" bIns="0" rtlCol="0" anchor="ctr">
            <a:spAutoFit/>
          </a:bodyPr>
          <a:lstStyle/>
          <a:p>
            <a:r>
              <a:rPr lang="en-US" sz="1400" dirty="0"/>
              <a:t>Text runs here</a:t>
            </a:r>
          </a:p>
        </p:txBody>
      </p:sp>
      <p:sp>
        <p:nvSpPr>
          <p:cNvPr id="18" name="TextBox 17"/>
          <p:cNvSpPr txBox="1"/>
          <p:nvPr/>
        </p:nvSpPr>
        <p:spPr bwMode="gray">
          <a:xfrm>
            <a:off x="501650" y="3593177"/>
            <a:ext cx="6314769" cy="215444"/>
          </a:xfrm>
          <a:prstGeom prst="rect">
            <a:avLst/>
          </a:prstGeom>
          <a:noFill/>
        </p:spPr>
        <p:txBody>
          <a:bodyPr wrap="square" lIns="0" tIns="0" rIns="0" bIns="0" rtlCol="0" anchor="ctr">
            <a:spAutoFit/>
          </a:bodyPr>
          <a:lstStyle/>
          <a:p>
            <a:r>
              <a:rPr lang="en-US" sz="1400" dirty="0"/>
              <a:t>Text runs here</a:t>
            </a:r>
          </a:p>
        </p:txBody>
      </p:sp>
      <p:sp>
        <p:nvSpPr>
          <p:cNvPr id="19" name="TextBox 18"/>
          <p:cNvSpPr txBox="1"/>
          <p:nvPr/>
        </p:nvSpPr>
        <p:spPr bwMode="gray">
          <a:xfrm>
            <a:off x="501650" y="4186975"/>
            <a:ext cx="6314769" cy="215444"/>
          </a:xfrm>
          <a:prstGeom prst="rect">
            <a:avLst/>
          </a:prstGeom>
          <a:noFill/>
        </p:spPr>
        <p:txBody>
          <a:bodyPr wrap="square" lIns="0" tIns="0" rIns="0" bIns="0" rtlCol="0" anchor="ctr">
            <a:spAutoFit/>
          </a:bodyPr>
          <a:lstStyle/>
          <a:p>
            <a:r>
              <a:rPr lang="en-US" sz="1400" dirty="0"/>
              <a:t>Text runs here</a:t>
            </a:r>
          </a:p>
        </p:txBody>
      </p:sp>
      <p:sp>
        <p:nvSpPr>
          <p:cNvPr id="20" name="TextBox 19"/>
          <p:cNvSpPr txBox="1"/>
          <p:nvPr/>
        </p:nvSpPr>
        <p:spPr bwMode="gray">
          <a:xfrm>
            <a:off x="501650" y="4780775"/>
            <a:ext cx="6314769" cy="215444"/>
          </a:xfrm>
          <a:prstGeom prst="rect">
            <a:avLst/>
          </a:prstGeom>
          <a:noFill/>
        </p:spPr>
        <p:txBody>
          <a:bodyPr wrap="square" lIns="0" tIns="0" rIns="0" bIns="0" rtlCol="0" anchor="ctr">
            <a:spAutoFit/>
          </a:bodyPr>
          <a:lstStyle/>
          <a:p>
            <a:r>
              <a:rPr lang="en-US" sz="1400" dirty="0"/>
              <a:t>Text runs here</a:t>
            </a:r>
          </a:p>
        </p:txBody>
      </p:sp>
      <p:grpSp>
        <p:nvGrpSpPr>
          <p:cNvPr id="27" name="Group 26"/>
          <p:cNvGrpSpPr/>
          <p:nvPr/>
        </p:nvGrpSpPr>
        <p:grpSpPr>
          <a:xfrm>
            <a:off x="501650" y="1610656"/>
            <a:ext cx="8167200" cy="3577738"/>
            <a:chOff x="374650" y="1747816"/>
            <a:chExt cx="6547628" cy="3577738"/>
          </a:xfrm>
        </p:grpSpPr>
        <p:sp>
          <p:nvSpPr>
            <p:cNvPr id="28" name="Freeform 3"/>
            <p:cNvSpPr>
              <a:spLocks/>
            </p:cNvSpPr>
            <p:nvPr/>
          </p:nvSpPr>
          <p:spPr bwMode="auto">
            <a:xfrm>
              <a:off x="387975" y="3542474"/>
              <a:ext cx="6534303" cy="1783080"/>
            </a:xfrm>
            <a:custGeom>
              <a:avLst/>
              <a:gdLst>
                <a:gd name="T0" fmla="*/ 0 w 3783"/>
                <a:gd name="T1" fmla="*/ 1237 h 1144"/>
                <a:gd name="T2" fmla="*/ 4896 w 3783"/>
                <a:gd name="T3" fmla="*/ 1237 h 1144"/>
                <a:gd name="T4" fmla="*/ 6031 w 3783"/>
                <a:gd name="T5" fmla="*/ 0 h 1144"/>
                <a:gd name="T6" fmla="*/ 28 w 3783"/>
                <a:gd name="T7" fmla="*/ 0 h 1144"/>
                <a:gd name="T8" fmla="*/ 0 60000 65536"/>
                <a:gd name="T9" fmla="*/ 0 60000 65536"/>
                <a:gd name="T10" fmla="*/ 0 60000 65536"/>
                <a:gd name="T11" fmla="*/ 0 60000 65536"/>
                <a:gd name="T12" fmla="*/ 0 w 3783"/>
                <a:gd name="T13" fmla="*/ 0 h 1144"/>
                <a:gd name="T14" fmla="*/ 3783 w 3783"/>
                <a:gd name="T15" fmla="*/ 1144 h 1144"/>
                <a:gd name="connsiteX0" fmla="*/ 0 w 9997"/>
                <a:gd name="connsiteY0" fmla="*/ 9991 h 9991"/>
                <a:gd name="connsiteX1" fmla="*/ 8115 w 9997"/>
                <a:gd name="connsiteY1" fmla="*/ 9991 h 9991"/>
                <a:gd name="connsiteX2" fmla="*/ 9997 w 9997"/>
                <a:gd name="connsiteY2" fmla="*/ 0 h 9991"/>
              </a:gdLst>
              <a:ahLst/>
              <a:cxnLst>
                <a:cxn ang="0">
                  <a:pos x="connsiteX0" y="connsiteY0"/>
                </a:cxn>
                <a:cxn ang="0">
                  <a:pos x="connsiteX1" y="connsiteY1"/>
                </a:cxn>
                <a:cxn ang="0">
                  <a:pos x="connsiteX2" y="connsiteY2"/>
                </a:cxn>
              </a:cxnLst>
              <a:rect l="l" t="t" r="r" b="b"/>
              <a:pathLst>
                <a:path w="9997" h="9991">
                  <a:moveTo>
                    <a:pt x="0" y="9991"/>
                  </a:moveTo>
                  <a:lnTo>
                    <a:pt x="8115" y="9991"/>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29" name="Freeform 4"/>
            <p:cNvSpPr>
              <a:spLocks/>
            </p:cNvSpPr>
            <p:nvPr/>
          </p:nvSpPr>
          <p:spPr bwMode="auto">
            <a:xfrm>
              <a:off x="374650" y="3542474"/>
              <a:ext cx="5966466" cy="1177861"/>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0" name="Freeform 6"/>
            <p:cNvSpPr>
              <a:spLocks/>
            </p:cNvSpPr>
            <p:nvPr/>
          </p:nvSpPr>
          <p:spPr bwMode="auto">
            <a:xfrm>
              <a:off x="377983" y="1747816"/>
              <a:ext cx="6544295" cy="1783080"/>
            </a:xfrm>
            <a:custGeom>
              <a:avLst/>
              <a:gdLst>
                <a:gd name="T0" fmla="*/ 0 w 3789"/>
                <a:gd name="T1" fmla="*/ 0 h 1144"/>
                <a:gd name="T2" fmla="*/ 4905 w 3789"/>
                <a:gd name="T3" fmla="*/ 0 h 1144"/>
                <a:gd name="T4" fmla="*/ 6041 w 3789"/>
                <a:gd name="T5" fmla="*/ 1237 h 1144"/>
                <a:gd name="T6" fmla="*/ 25 w 3789"/>
                <a:gd name="T7" fmla="*/ 1237 h 1144"/>
                <a:gd name="T8" fmla="*/ 0 60000 65536"/>
                <a:gd name="T9" fmla="*/ 0 60000 65536"/>
                <a:gd name="T10" fmla="*/ 0 60000 65536"/>
                <a:gd name="T11" fmla="*/ 0 60000 65536"/>
                <a:gd name="T12" fmla="*/ 0 w 3789"/>
                <a:gd name="T13" fmla="*/ 0 h 1144"/>
                <a:gd name="T14" fmla="*/ 3789 w 3789"/>
                <a:gd name="T15" fmla="*/ 1144 h 1144"/>
                <a:gd name="connsiteX0" fmla="*/ 0 w 9997"/>
                <a:gd name="connsiteY0" fmla="*/ 0 h 9991"/>
                <a:gd name="connsiteX1" fmla="*/ 8116 w 9997"/>
                <a:gd name="connsiteY1" fmla="*/ 0 h 9991"/>
                <a:gd name="connsiteX2" fmla="*/ 9997 w 9997"/>
                <a:gd name="connsiteY2" fmla="*/ 9991 h 9991"/>
              </a:gdLst>
              <a:ahLst/>
              <a:cxnLst>
                <a:cxn ang="0">
                  <a:pos x="connsiteX0" y="connsiteY0"/>
                </a:cxn>
                <a:cxn ang="0">
                  <a:pos x="connsiteX1" y="connsiteY1"/>
                </a:cxn>
                <a:cxn ang="0">
                  <a:pos x="connsiteX2" y="connsiteY2"/>
                </a:cxn>
              </a:cxnLst>
              <a:rect l="l" t="t" r="r" b="b"/>
              <a:pathLst>
                <a:path w="9997" h="9991">
                  <a:moveTo>
                    <a:pt x="0" y="0"/>
                  </a:moveTo>
                  <a:lnTo>
                    <a:pt x="8116" y="0"/>
                  </a:lnTo>
                  <a:lnTo>
                    <a:pt x="9997" y="9991"/>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1" name="Freeform 8"/>
            <p:cNvSpPr>
              <a:spLocks/>
            </p:cNvSpPr>
            <p:nvPr/>
          </p:nvSpPr>
          <p:spPr bwMode="auto">
            <a:xfrm>
              <a:off x="374650" y="2953599"/>
              <a:ext cx="5373648" cy="582564"/>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sp>
          <p:nvSpPr>
            <p:cNvPr id="32" name="Freeform 4"/>
            <p:cNvSpPr>
              <a:spLocks/>
            </p:cNvSpPr>
            <p:nvPr/>
          </p:nvSpPr>
          <p:spPr bwMode="auto">
            <a:xfrm flipV="1">
              <a:off x="374650" y="2360017"/>
              <a:ext cx="5966466" cy="1177861"/>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cxnSp>
          <p:nvCxnSpPr>
            <p:cNvPr id="33" name="Straight Connector 32"/>
            <p:cNvCxnSpPr/>
            <p:nvPr/>
          </p:nvCxnSpPr>
          <p:spPr>
            <a:xfrm flipH="1" flipV="1">
              <a:off x="374650" y="3538603"/>
              <a:ext cx="6547628"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34" name="Freeform 8"/>
            <p:cNvSpPr>
              <a:spLocks/>
            </p:cNvSpPr>
            <p:nvPr/>
          </p:nvSpPr>
          <p:spPr bwMode="auto">
            <a:xfrm flipV="1">
              <a:off x="374650" y="3542322"/>
              <a:ext cx="5373648" cy="582564"/>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a:buFont typeface="Arial" pitchFamily="34" charset="0"/>
                <a:buChar char="•"/>
                <a:defRPr/>
              </a:pPr>
              <a:endParaRPr lang="en-GB" sz="1200" dirty="0">
                <a:solidFill>
                  <a:schemeClr val="tx2"/>
                </a:solidFill>
              </a:endParaRPr>
            </a:p>
          </p:txBody>
        </p:sp>
      </p:grpSp>
    </p:spTree>
    <p:extLst>
      <p:ext uri="{BB962C8B-B14F-4D97-AF65-F5344CB8AC3E}">
        <p14:creationId xmlns:p14="http://schemas.microsoft.com/office/powerpoint/2010/main" val="250257236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Elements leading to</a:t>
            </a:r>
            <a:endParaRPr lang="en-US" dirty="0"/>
          </a:p>
        </p:txBody>
      </p:sp>
      <p:sp>
        <p:nvSpPr>
          <p:cNvPr id="3" name="Title 2"/>
          <p:cNvSpPr>
            <a:spLocks noGrp="1"/>
          </p:cNvSpPr>
          <p:nvPr>
            <p:ph type="title"/>
          </p:nvPr>
        </p:nvSpPr>
        <p:spPr/>
        <p:txBody>
          <a:bodyPr/>
          <a:lstStyle/>
          <a:p>
            <a:r>
              <a:rPr lang="en-US"/>
              <a:t>Text blocks </a:t>
            </a:r>
            <a:endParaRPr lang="en-US" dirty="0"/>
          </a:p>
        </p:txBody>
      </p:sp>
      <p:grpSp>
        <p:nvGrpSpPr>
          <p:cNvPr id="15" name="Group 14">
            <a:extLst>
              <a:ext uri="{FF2B5EF4-FFF2-40B4-BE49-F238E27FC236}">
                <a16:creationId xmlns:a16="http://schemas.microsoft.com/office/drawing/2014/main" id="{C12244FE-ED7C-497C-9C7C-7972766C916D}"/>
              </a:ext>
            </a:extLst>
          </p:cNvPr>
          <p:cNvGrpSpPr/>
          <p:nvPr/>
        </p:nvGrpSpPr>
        <p:grpSpPr>
          <a:xfrm>
            <a:off x="501650" y="1611784"/>
            <a:ext cx="11188699" cy="4299099"/>
            <a:chOff x="2576685" y="1611784"/>
            <a:chExt cx="7038631" cy="4299099"/>
          </a:xfrm>
        </p:grpSpPr>
        <p:sp>
          <p:nvSpPr>
            <p:cNvPr id="4" name="Rectangle 3"/>
            <p:cNvSpPr>
              <a:spLocks noChangeArrowheads="1"/>
            </p:cNvSpPr>
            <p:nvPr/>
          </p:nvSpPr>
          <p:spPr bwMode="auto">
            <a:xfrm>
              <a:off x="2576685" y="161178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5" name="Rectangle 4"/>
            <p:cNvSpPr>
              <a:spLocks noChangeArrowheads="1"/>
            </p:cNvSpPr>
            <p:nvPr/>
          </p:nvSpPr>
          <p:spPr bwMode="auto">
            <a:xfrm>
              <a:off x="4073526" y="161178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lvl="0"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6" name="Rectangle 5"/>
            <p:cNvSpPr>
              <a:spLocks noChangeArrowheads="1"/>
            </p:cNvSpPr>
            <p:nvPr/>
          </p:nvSpPr>
          <p:spPr bwMode="auto">
            <a:xfrm>
              <a:off x="5570367" y="161178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7" name="Rectangle 6"/>
            <p:cNvSpPr>
              <a:spLocks noChangeArrowheads="1"/>
            </p:cNvSpPr>
            <p:nvPr/>
          </p:nvSpPr>
          <p:spPr bwMode="auto">
            <a:xfrm>
              <a:off x="2576685" y="4539283"/>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8" name="Rectangle 7"/>
            <p:cNvSpPr>
              <a:spLocks noChangeArrowheads="1"/>
            </p:cNvSpPr>
            <p:nvPr/>
          </p:nvSpPr>
          <p:spPr bwMode="auto">
            <a:xfrm>
              <a:off x="4073526" y="4539283"/>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9" name="Rectangle 8"/>
            <p:cNvSpPr>
              <a:spLocks noChangeArrowheads="1"/>
            </p:cNvSpPr>
            <p:nvPr/>
          </p:nvSpPr>
          <p:spPr bwMode="auto">
            <a:xfrm>
              <a:off x="5570367" y="4539283"/>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0" name="Rectangle 9"/>
            <p:cNvSpPr>
              <a:spLocks noChangeArrowheads="1"/>
            </p:cNvSpPr>
            <p:nvPr/>
          </p:nvSpPr>
          <p:spPr bwMode="auto">
            <a:xfrm>
              <a:off x="2576685" y="307553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1" name="Rectangle 10"/>
            <p:cNvSpPr>
              <a:spLocks noChangeArrowheads="1"/>
            </p:cNvSpPr>
            <p:nvPr/>
          </p:nvSpPr>
          <p:spPr bwMode="auto">
            <a:xfrm>
              <a:off x="4073526" y="307553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2" name="Rectangle 11"/>
            <p:cNvSpPr>
              <a:spLocks noChangeArrowheads="1"/>
            </p:cNvSpPr>
            <p:nvPr/>
          </p:nvSpPr>
          <p:spPr bwMode="auto">
            <a:xfrm>
              <a:off x="5570367" y="3075534"/>
              <a:ext cx="1406525" cy="1371600"/>
            </a:xfrm>
            <a:prstGeom prst="rect">
              <a:avLst/>
            </a:prstGeom>
            <a:solidFill>
              <a:schemeClr val="accent1"/>
            </a:solidFill>
            <a:ln w="19050" algn="ctr">
              <a:no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3" name="AutoShape 12"/>
            <p:cNvSpPr>
              <a:spLocks noChangeArrowheads="1"/>
            </p:cNvSpPr>
            <p:nvPr/>
          </p:nvSpPr>
          <p:spPr bwMode="auto">
            <a:xfrm>
              <a:off x="7178503" y="1611784"/>
              <a:ext cx="336550" cy="4297680"/>
            </a:xfrm>
            <a:prstGeom prst="homePlate">
              <a:avLst>
                <a:gd name="adj" fmla="val 100000"/>
              </a:avLst>
            </a:prstGeom>
            <a:solidFill>
              <a:schemeClr val="bg1">
                <a:lumMod val="75000"/>
              </a:schemeClr>
            </a:solidFill>
            <a:ln w="6350" algn="ctr">
              <a:noFill/>
              <a:miter lim="800000"/>
              <a:headEnd/>
              <a:tailEnd/>
            </a:ln>
          </p:spPr>
          <p:txBody>
            <a:bodyPr wrap="square" lIns="88900" tIns="88900" rIns="88900" bIns="88900" anchor="ctr"/>
            <a:lstStyle/>
            <a:p>
              <a:pPr algn="ctr"/>
              <a:endParaRPr lang="en-US" sz="1400" dirty="0"/>
            </a:p>
          </p:txBody>
        </p:sp>
        <p:sp>
          <p:nvSpPr>
            <p:cNvPr id="14" name="Rectangle 19"/>
            <p:cNvSpPr>
              <a:spLocks noChangeArrowheads="1"/>
            </p:cNvSpPr>
            <p:nvPr/>
          </p:nvSpPr>
          <p:spPr bwMode="auto">
            <a:xfrm>
              <a:off x="7716666" y="1611785"/>
              <a:ext cx="1898650" cy="4299098"/>
            </a:xfrm>
            <a:prstGeom prst="rect">
              <a:avLst/>
            </a:prstGeom>
            <a:solidFill>
              <a:schemeClr val="tx1"/>
            </a:solidFill>
            <a:ln w="19050" algn="ctr">
              <a:noFill/>
              <a:miter lim="800000"/>
              <a:headEnd/>
              <a:tailEnd/>
            </a:ln>
          </p:spPr>
          <p:txBody>
            <a:bodyPr wrap="square" lIns="88900" tIns="88900" rIns="88900" bIns="889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grpSp>
    </p:spTree>
    <p:extLst>
      <p:ext uri="{BB962C8B-B14F-4D97-AF65-F5344CB8AC3E}">
        <p14:creationId xmlns:p14="http://schemas.microsoft.com/office/powerpoint/2010/main" val="49674572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Elements leading to</a:t>
            </a:r>
            <a:endParaRPr lang="en-US" dirty="0"/>
          </a:p>
        </p:txBody>
      </p:sp>
      <p:sp>
        <p:nvSpPr>
          <p:cNvPr id="3" name="Title 2"/>
          <p:cNvSpPr>
            <a:spLocks noGrp="1"/>
          </p:cNvSpPr>
          <p:nvPr>
            <p:ph type="title"/>
          </p:nvPr>
        </p:nvSpPr>
        <p:spPr/>
        <p:txBody>
          <a:bodyPr/>
          <a:lstStyle/>
          <a:p>
            <a:r>
              <a:rPr lang="en-US"/>
              <a:t>Text blocks on solid background </a:t>
            </a:r>
            <a:endParaRPr lang="en-US" dirty="0"/>
          </a:p>
        </p:txBody>
      </p:sp>
      <p:grpSp>
        <p:nvGrpSpPr>
          <p:cNvPr id="15" name="Group 14">
            <a:extLst>
              <a:ext uri="{FF2B5EF4-FFF2-40B4-BE49-F238E27FC236}">
                <a16:creationId xmlns:a16="http://schemas.microsoft.com/office/drawing/2014/main" id="{6A4C7094-87F5-48B5-8C21-8948BFFC4A42}"/>
              </a:ext>
            </a:extLst>
          </p:cNvPr>
          <p:cNvGrpSpPr/>
          <p:nvPr/>
        </p:nvGrpSpPr>
        <p:grpSpPr>
          <a:xfrm>
            <a:off x="528000" y="1611784"/>
            <a:ext cx="11135999" cy="4299099"/>
            <a:chOff x="2576685" y="1611784"/>
            <a:chExt cx="7038631" cy="4299099"/>
          </a:xfrm>
        </p:grpSpPr>
        <p:sp>
          <p:nvSpPr>
            <p:cNvPr id="4" name="Rectangle 3"/>
            <p:cNvSpPr>
              <a:spLocks noChangeArrowheads="1"/>
            </p:cNvSpPr>
            <p:nvPr/>
          </p:nvSpPr>
          <p:spPr bwMode="auto">
            <a:xfrm>
              <a:off x="2576685" y="161178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5" name="Rectangle 4"/>
            <p:cNvSpPr>
              <a:spLocks noChangeArrowheads="1"/>
            </p:cNvSpPr>
            <p:nvPr/>
          </p:nvSpPr>
          <p:spPr bwMode="auto">
            <a:xfrm>
              <a:off x="4073526" y="161178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lvl="0"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6" name="Rectangle 5"/>
            <p:cNvSpPr>
              <a:spLocks noChangeArrowheads="1"/>
            </p:cNvSpPr>
            <p:nvPr/>
          </p:nvSpPr>
          <p:spPr bwMode="auto">
            <a:xfrm>
              <a:off x="5570367" y="161178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7" name="Rectangle 6"/>
            <p:cNvSpPr>
              <a:spLocks noChangeArrowheads="1"/>
            </p:cNvSpPr>
            <p:nvPr/>
          </p:nvSpPr>
          <p:spPr bwMode="auto">
            <a:xfrm>
              <a:off x="2576685" y="4539283"/>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8" name="Rectangle 7"/>
            <p:cNvSpPr>
              <a:spLocks noChangeArrowheads="1"/>
            </p:cNvSpPr>
            <p:nvPr/>
          </p:nvSpPr>
          <p:spPr bwMode="auto">
            <a:xfrm>
              <a:off x="4073526" y="4539283"/>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9" name="Rectangle 8"/>
            <p:cNvSpPr>
              <a:spLocks noChangeArrowheads="1"/>
            </p:cNvSpPr>
            <p:nvPr/>
          </p:nvSpPr>
          <p:spPr bwMode="auto">
            <a:xfrm>
              <a:off x="5570367" y="4539283"/>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0" name="Rectangle 9"/>
            <p:cNvSpPr>
              <a:spLocks noChangeArrowheads="1"/>
            </p:cNvSpPr>
            <p:nvPr/>
          </p:nvSpPr>
          <p:spPr bwMode="auto">
            <a:xfrm>
              <a:off x="2576685" y="307553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1" name="Rectangle 10"/>
            <p:cNvSpPr>
              <a:spLocks noChangeArrowheads="1"/>
            </p:cNvSpPr>
            <p:nvPr/>
          </p:nvSpPr>
          <p:spPr bwMode="auto">
            <a:xfrm>
              <a:off x="4073526" y="307553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2" name="Rectangle 11"/>
            <p:cNvSpPr>
              <a:spLocks noChangeArrowheads="1"/>
            </p:cNvSpPr>
            <p:nvPr/>
          </p:nvSpPr>
          <p:spPr bwMode="auto">
            <a:xfrm>
              <a:off x="5570367" y="3075534"/>
              <a:ext cx="1406525" cy="1371600"/>
            </a:xfrm>
            <a:prstGeom prst="rect">
              <a:avLst/>
            </a:prstGeom>
            <a:noFill/>
            <a:ln w="19050" algn="ctr">
              <a:solidFill>
                <a:schemeClr val="accent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sp>
          <p:nvSpPr>
            <p:cNvPr id="13" name="AutoShape 12"/>
            <p:cNvSpPr>
              <a:spLocks noChangeArrowheads="1"/>
            </p:cNvSpPr>
            <p:nvPr/>
          </p:nvSpPr>
          <p:spPr bwMode="auto">
            <a:xfrm>
              <a:off x="7178503" y="1611784"/>
              <a:ext cx="336550" cy="4297680"/>
            </a:xfrm>
            <a:prstGeom prst="homePlate">
              <a:avLst>
                <a:gd name="adj" fmla="val 100000"/>
              </a:avLst>
            </a:prstGeom>
            <a:solidFill>
              <a:schemeClr val="bg2">
                <a:lumMod val="75000"/>
              </a:schemeClr>
            </a:solidFill>
            <a:ln w="6350" algn="ctr">
              <a:noFill/>
              <a:miter lim="800000"/>
              <a:headEnd/>
              <a:tailEnd/>
            </a:ln>
          </p:spPr>
          <p:txBody>
            <a:bodyPr wrap="square" lIns="88900" tIns="88900" rIns="88900" bIns="88900" anchor="ctr"/>
            <a:lstStyle/>
            <a:p>
              <a:pPr algn="ctr"/>
              <a:endParaRPr lang="en-US" sz="1400" dirty="0"/>
            </a:p>
          </p:txBody>
        </p:sp>
        <p:sp>
          <p:nvSpPr>
            <p:cNvPr id="14" name="Rectangle 19"/>
            <p:cNvSpPr>
              <a:spLocks noChangeArrowheads="1"/>
            </p:cNvSpPr>
            <p:nvPr/>
          </p:nvSpPr>
          <p:spPr bwMode="auto">
            <a:xfrm>
              <a:off x="7716666" y="1611785"/>
              <a:ext cx="1898650" cy="4299098"/>
            </a:xfrm>
            <a:prstGeom prst="rect">
              <a:avLst/>
            </a:prstGeom>
            <a:noFill/>
            <a:ln w="19050" algn="ctr">
              <a:solidFill>
                <a:schemeClr val="tx1"/>
              </a:solidFill>
              <a:miter lim="800000"/>
              <a:headEnd/>
              <a:tailEnd/>
            </a:ln>
          </p:spPr>
          <p:txBody>
            <a:bodyPr wrap="square" lIns="88900" tIns="88900" rIns="88900" bIns="88900" anchor="ctr"/>
            <a:lstStyle/>
            <a:p>
              <a:pPr algn="ctr">
                <a:defRPr/>
              </a:pPr>
              <a:r>
                <a:rPr lang="en-US" sz="1400" dirty="0">
                  <a:ea typeface="ＭＳ Ｐゴシック" pitchFamily="50" charset="-128"/>
                </a:rPr>
                <a:t>Text runs here</a:t>
              </a:r>
              <a:endParaRPr lang="en-US" altLang="ja-JP" sz="1400" dirty="0">
                <a:ea typeface="ＭＳ Ｐゴシック" pitchFamily="50" charset="-128"/>
              </a:endParaRPr>
            </a:p>
          </p:txBody>
        </p:sp>
      </p:grpSp>
    </p:spTree>
    <p:extLst>
      <p:ext uri="{BB962C8B-B14F-4D97-AF65-F5344CB8AC3E}">
        <p14:creationId xmlns:p14="http://schemas.microsoft.com/office/powerpoint/2010/main" val="129739492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Interrelated</a:t>
            </a:r>
            <a:endParaRPr lang="en-US" dirty="0"/>
          </a:p>
        </p:txBody>
      </p:sp>
      <p:sp>
        <p:nvSpPr>
          <p:cNvPr id="3" name="Title 2"/>
          <p:cNvSpPr>
            <a:spLocks noGrp="1"/>
          </p:cNvSpPr>
          <p:nvPr>
            <p:ph type="title"/>
          </p:nvPr>
        </p:nvSpPr>
        <p:spPr/>
        <p:txBody>
          <a:bodyPr/>
          <a:lstStyle/>
          <a:p>
            <a:r>
              <a:rPr lang="en-US" altLang="ja-JP"/>
              <a:t>Text b</a:t>
            </a:r>
            <a:r>
              <a:rPr lang="en-US"/>
              <a:t>locks</a:t>
            </a:r>
            <a:endParaRPr lang="en-US" dirty="0"/>
          </a:p>
        </p:txBody>
      </p:sp>
      <p:grpSp>
        <p:nvGrpSpPr>
          <p:cNvPr id="20" name="Group 19"/>
          <p:cNvGrpSpPr/>
          <p:nvPr/>
        </p:nvGrpSpPr>
        <p:grpSpPr>
          <a:xfrm>
            <a:off x="3815657" y="1699105"/>
            <a:ext cx="4098387" cy="4098387"/>
            <a:chOff x="3524738" y="2896756"/>
            <a:chExt cx="2094524" cy="2161453"/>
          </a:xfrm>
        </p:grpSpPr>
        <p:sp>
          <p:nvSpPr>
            <p:cNvPr id="12" name="Freeform 3"/>
            <p:cNvSpPr>
              <a:spLocks/>
            </p:cNvSpPr>
            <p:nvPr/>
          </p:nvSpPr>
          <p:spPr bwMode="blackWhite">
            <a:xfrm>
              <a:off x="3650678" y="2896756"/>
              <a:ext cx="1091134" cy="958752"/>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1"/>
            </a:solidFill>
            <a:ln w="12700" cap="rnd">
              <a:solidFill>
                <a:schemeClr val="bg1"/>
              </a:solidFill>
              <a:round/>
              <a:headEnd/>
              <a:tailEnd/>
            </a:ln>
          </p:spPr>
          <p:txBody>
            <a:bodyPr/>
            <a:lstStyle/>
            <a:p>
              <a:pPr>
                <a:defRPr/>
              </a:pPr>
              <a:endParaRPr lang="en-GB" dirty="0"/>
            </a:p>
          </p:txBody>
        </p:sp>
        <p:sp>
          <p:nvSpPr>
            <p:cNvPr id="13" name="Freeform 4"/>
            <p:cNvSpPr>
              <a:spLocks/>
            </p:cNvSpPr>
            <p:nvPr/>
          </p:nvSpPr>
          <p:spPr bwMode="blackWhite">
            <a:xfrm>
              <a:off x="4380510" y="4095196"/>
              <a:ext cx="1066359" cy="963013"/>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accent1"/>
            </a:solidFill>
            <a:ln w="12700" cap="rnd">
              <a:solidFill>
                <a:schemeClr val="bg1"/>
              </a:solidFill>
              <a:round/>
              <a:headEnd/>
              <a:tailEnd/>
            </a:ln>
          </p:spPr>
          <p:txBody>
            <a:bodyPr/>
            <a:lstStyle/>
            <a:p>
              <a:pPr>
                <a:defRPr/>
              </a:pPr>
              <a:endParaRPr lang="en-GB" dirty="0">
                <a:solidFill>
                  <a:schemeClr val="accent1"/>
                </a:solidFill>
              </a:endParaRPr>
            </a:p>
          </p:txBody>
        </p:sp>
        <p:sp>
          <p:nvSpPr>
            <p:cNvPr id="14" name="Freeform 5"/>
            <p:cNvSpPr>
              <a:spLocks/>
            </p:cNvSpPr>
            <p:nvPr/>
          </p:nvSpPr>
          <p:spPr bwMode="blackWhite">
            <a:xfrm>
              <a:off x="3524738" y="3744719"/>
              <a:ext cx="960033" cy="1145176"/>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1"/>
            </a:solidFill>
            <a:ln w="12700" cap="rnd">
              <a:solidFill>
                <a:schemeClr val="bg1"/>
              </a:solidFill>
              <a:round/>
              <a:headEnd/>
              <a:tailEnd/>
            </a:ln>
          </p:spPr>
          <p:txBody>
            <a:bodyPr/>
            <a:lstStyle/>
            <a:p>
              <a:pPr>
                <a:defRPr/>
              </a:pPr>
              <a:endParaRPr lang="en-GB" dirty="0"/>
            </a:p>
          </p:txBody>
        </p:sp>
        <p:sp>
          <p:nvSpPr>
            <p:cNvPr id="15" name="Freeform 6"/>
            <p:cNvSpPr>
              <a:spLocks/>
            </p:cNvSpPr>
            <p:nvPr/>
          </p:nvSpPr>
          <p:spPr bwMode="blackWhite">
            <a:xfrm>
              <a:off x="4645809" y="3048026"/>
              <a:ext cx="973453" cy="1134523"/>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1"/>
            </a:solidFill>
            <a:ln w="12700" cap="rnd">
              <a:solidFill>
                <a:schemeClr val="bg1"/>
              </a:solidFill>
              <a:round/>
              <a:headEnd/>
              <a:tailEnd/>
            </a:ln>
          </p:spPr>
          <p:txBody>
            <a:bodyPr/>
            <a:lstStyle/>
            <a:p>
              <a:pPr>
                <a:defRPr/>
              </a:pPr>
              <a:endParaRPr lang="en-GB" dirty="0"/>
            </a:p>
          </p:txBody>
        </p:sp>
      </p:grpSp>
      <p:graphicFrame>
        <p:nvGraphicFramePr>
          <p:cNvPr id="16" name="Content Placeholder 6"/>
          <p:cNvGraphicFramePr>
            <a:graphicFrameLocks/>
          </p:cNvGraphicFramePr>
          <p:nvPr>
            <p:extLst>
              <p:ext uri="{D42A27DB-BD31-4B8C-83A1-F6EECF244321}">
                <p14:modId xmlns:p14="http://schemas.microsoft.com/office/powerpoint/2010/main" val="111320553"/>
              </p:ext>
            </p:extLst>
          </p:nvPr>
        </p:nvGraphicFramePr>
        <p:xfrm>
          <a:off x="501650" y="1605847"/>
          <a:ext cx="3017520" cy="19812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BC25"/>
                          </a:solidFill>
                          <a:effectLst/>
                          <a:uLnTx/>
                          <a:uFillTx/>
                          <a:latin typeface="Calibri"/>
                          <a:ea typeface="+mn-ea"/>
                          <a:cs typeface="+mn-cs"/>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7" name="Content Placeholder 6"/>
          <p:cNvGraphicFramePr>
            <a:graphicFrameLocks/>
          </p:cNvGraphicFramePr>
          <p:nvPr>
            <p:extLst>
              <p:ext uri="{D42A27DB-BD31-4B8C-83A1-F6EECF244321}">
                <p14:modId xmlns:p14="http://schemas.microsoft.com/office/powerpoint/2010/main" val="38981030"/>
              </p:ext>
            </p:extLst>
          </p:nvPr>
        </p:nvGraphicFramePr>
        <p:xfrm>
          <a:off x="501650" y="4036732"/>
          <a:ext cx="3017520" cy="19812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BC25"/>
                          </a:solidFill>
                          <a:effectLst/>
                          <a:uLnTx/>
                          <a:uFillTx/>
                          <a:latin typeface="Calibri"/>
                          <a:ea typeface="+mn-ea"/>
                          <a:cs typeface="+mn-cs"/>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8" name="Content Placeholder 6"/>
          <p:cNvGraphicFramePr>
            <a:graphicFrameLocks/>
          </p:cNvGraphicFramePr>
          <p:nvPr>
            <p:extLst>
              <p:ext uri="{D42A27DB-BD31-4B8C-83A1-F6EECF244321}">
                <p14:modId xmlns:p14="http://schemas.microsoft.com/office/powerpoint/2010/main" val="308110013"/>
              </p:ext>
            </p:extLst>
          </p:nvPr>
        </p:nvGraphicFramePr>
        <p:xfrm>
          <a:off x="8376344" y="1605847"/>
          <a:ext cx="3017520" cy="19812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r>
                        <a:rPr lang="en-US" sz="1600" b="1" dirty="0">
                          <a:solidFill>
                            <a:schemeClr val="accent1"/>
                          </a:solidFill>
                          <a:latin typeface="+mj-lt"/>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Content Placeholder 6"/>
          <p:cNvGraphicFramePr>
            <a:graphicFrameLocks/>
          </p:cNvGraphicFramePr>
          <p:nvPr>
            <p:extLst>
              <p:ext uri="{D42A27DB-BD31-4B8C-83A1-F6EECF244321}">
                <p14:modId xmlns:p14="http://schemas.microsoft.com/office/powerpoint/2010/main" val="1258592238"/>
              </p:ext>
            </p:extLst>
          </p:nvPr>
        </p:nvGraphicFramePr>
        <p:xfrm>
          <a:off x="8376344" y="4036732"/>
          <a:ext cx="3017520" cy="19812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0000"/>
                    </a:ext>
                  </a:extLst>
                </a:gridCol>
              </a:tblGrid>
              <a:tr h="466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BC25"/>
                          </a:solidFill>
                          <a:effectLst/>
                          <a:uLnTx/>
                          <a:uFillTx/>
                          <a:latin typeface="Calibri"/>
                          <a:ea typeface="+mn-ea"/>
                          <a:cs typeface="+mn-cs"/>
                        </a:rPr>
                        <a:t>Title text runs her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1</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300" b="0" i="0" u="none" strike="noStrike" kern="1200" cap="none" spc="0" normalizeH="0" baseline="0" noProof="0" dirty="0">
                          <a:ln>
                            <a:noFill/>
                          </a:ln>
                          <a:solidFill>
                            <a:prstClr val="black"/>
                          </a:solidFill>
                          <a:effectLst/>
                          <a:uLnTx/>
                          <a:uFillTx/>
                          <a:latin typeface="+mn-lt"/>
                          <a:ea typeface="+mn-ea"/>
                          <a:cs typeface="+mn-cs"/>
                        </a:rPr>
                        <a:t>Bullet level 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77886032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equence</a:t>
            </a:r>
            <a:endParaRPr lang="en-US" dirty="0"/>
          </a:p>
        </p:txBody>
      </p:sp>
      <p:sp>
        <p:nvSpPr>
          <p:cNvPr id="3" name="Title 2"/>
          <p:cNvSpPr>
            <a:spLocks noGrp="1"/>
          </p:cNvSpPr>
          <p:nvPr>
            <p:ph type="title"/>
          </p:nvPr>
        </p:nvSpPr>
        <p:spPr/>
        <p:txBody>
          <a:bodyPr/>
          <a:lstStyle/>
          <a:p>
            <a:r>
              <a:rPr lang="en-US"/>
              <a:t>Text blocks </a:t>
            </a:r>
            <a:endParaRPr lang="en-US" dirty="0"/>
          </a:p>
        </p:txBody>
      </p:sp>
      <p:sp>
        <p:nvSpPr>
          <p:cNvPr id="4" name="Rectangle 3"/>
          <p:cNvSpPr>
            <a:spLocks noChangeArrowheads="1"/>
          </p:cNvSpPr>
          <p:nvPr/>
        </p:nvSpPr>
        <p:spPr bwMode="gray">
          <a:xfrm>
            <a:off x="501650" y="1321639"/>
            <a:ext cx="5790280"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5" name="Rectangle 4"/>
          <p:cNvSpPr>
            <a:spLocks noChangeArrowheads="1"/>
          </p:cNvSpPr>
          <p:nvPr/>
        </p:nvSpPr>
        <p:spPr bwMode="gray">
          <a:xfrm>
            <a:off x="2302746" y="2555444"/>
            <a:ext cx="5787846"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6" name="Rectangle 5"/>
          <p:cNvSpPr>
            <a:spLocks noChangeArrowheads="1"/>
          </p:cNvSpPr>
          <p:nvPr/>
        </p:nvSpPr>
        <p:spPr bwMode="gray">
          <a:xfrm>
            <a:off x="4101407" y="3789249"/>
            <a:ext cx="5790279"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sp>
        <p:nvSpPr>
          <p:cNvPr id="7" name="Rectangle 6"/>
          <p:cNvSpPr>
            <a:spLocks noChangeArrowheads="1"/>
          </p:cNvSpPr>
          <p:nvPr/>
        </p:nvSpPr>
        <p:spPr bwMode="gray">
          <a:xfrm>
            <a:off x="5900070" y="5023054"/>
            <a:ext cx="5790280" cy="822960"/>
          </a:xfrm>
          <a:prstGeom prst="rect">
            <a:avLst/>
          </a:prstGeom>
          <a:solidFill>
            <a:schemeClr val="accent3"/>
          </a:solidFill>
          <a:ln w="9525" algn="ctr">
            <a:noFill/>
            <a:miter lim="800000"/>
            <a:headEnd/>
            <a:tailEnd/>
          </a:ln>
        </p:spPr>
        <p:txBody>
          <a:bodyPr lIns="88900" tIns="88900" rIns="88900" bIns="88900" anchor="ctr" anchorCtr="0"/>
          <a:lstStyle/>
          <a:p>
            <a:pPr>
              <a:buClr>
                <a:schemeClr val="bg1"/>
              </a:buClr>
              <a:buSzPct val="100000"/>
            </a:pPr>
            <a:r>
              <a:rPr lang="en-US" sz="1300" dirty="0">
                <a:solidFill>
                  <a:schemeClr val="bg1"/>
                </a:solidFill>
                <a:cs typeface="Arial" charset="0"/>
              </a:rPr>
              <a:t>Text runs here</a:t>
            </a:r>
          </a:p>
          <a:p>
            <a:pPr marL="114300" lvl="1" indent="-114300">
              <a:spcBef>
                <a:spcPts val="600"/>
              </a:spcBef>
              <a:buSzPct val="100000"/>
              <a:buFont typeface="Arial"/>
              <a:buChar char="•"/>
            </a:pPr>
            <a:r>
              <a:rPr lang="en-US" sz="1300" dirty="0">
                <a:solidFill>
                  <a:schemeClr val="bg1"/>
                </a:solidFill>
                <a:cs typeface="Arial" charset="0"/>
              </a:rPr>
              <a:t>This is a level 1 bullet</a:t>
            </a:r>
          </a:p>
          <a:p>
            <a:pPr marL="254000" lvl="2" indent="-114300">
              <a:spcBef>
                <a:spcPts val="600"/>
              </a:spcBef>
              <a:buSzPct val="100000"/>
              <a:buFont typeface="Arial"/>
              <a:buChar char="−"/>
            </a:pPr>
            <a:r>
              <a:rPr lang="en-US" sz="1300" dirty="0">
                <a:solidFill>
                  <a:schemeClr val="bg1"/>
                </a:solidFill>
                <a:cs typeface="Arial" charset="0"/>
              </a:rPr>
              <a:t>This is a level 2 bullet</a:t>
            </a:r>
          </a:p>
        </p:txBody>
      </p:sp>
      <p:cxnSp>
        <p:nvCxnSpPr>
          <p:cNvPr id="8" name="Elbow Connector 7"/>
          <p:cNvCxnSpPr>
            <a:endCxn id="5" idx="1"/>
          </p:cNvCxnSpPr>
          <p:nvPr/>
        </p:nvCxnSpPr>
        <p:spPr>
          <a:xfrm rot="16200000" flipH="1">
            <a:off x="1364962" y="2180583"/>
            <a:ext cx="731520" cy="841160"/>
          </a:xfrm>
          <a:prstGeom prst="bentConnector2">
            <a:avLst/>
          </a:prstGeom>
          <a:noFill/>
          <a:ln w="6350">
            <a:solidFill>
              <a:srgbClr val="BBBCBC"/>
            </a:solidFill>
            <a:round/>
            <a:headEnd type="none" w="med" len="med"/>
            <a:tailEnd type="triangle" w="med" len="med"/>
          </a:ln>
        </p:spPr>
      </p:cxnSp>
      <p:cxnSp>
        <p:nvCxnSpPr>
          <p:cNvPr id="9" name="Elbow Connector 8"/>
          <p:cNvCxnSpPr/>
          <p:nvPr/>
        </p:nvCxnSpPr>
        <p:spPr>
          <a:xfrm rot="16200000" flipH="1">
            <a:off x="3197193" y="3411854"/>
            <a:ext cx="731520" cy="841160"/>
          </a:xfrm>
          <a:prstGeom prst="bentConnector2">
            <a:avLst/>
          </a:prstGeom>
          <a:noFill/>
          <a:ln w="6350">
            <a:solidFill>
              <a:srgbClr val="BBBCBC"/>
            </a:solidFill>
            <a:round/>
            <a:headEnd type="none" w="med" len="med"/>
            <a:tailEnd type="triangle" w="med" len="med"/>
          </a:ln>
        </p:spPr>
      </p:cxnSp>
      <p:cxnSp>
        <p:nvCxnSpPr>
          <p:cNvPr id="10" name="Elbow Connector 9"/>
          <p:cNvCxnSpPr/>
          <p:nvPr/>
        </p:nvCxnSpPr>
        <p:spPr>
          <a:xfrm rot="16200000" flipH="1">
            <a:off x="4946143" y="4643125"/>
            <a:ext cx="731520" cy="841160"/>
          </a:xfrm>
          <a:prstGeom prst="bentConnector2">
            <a:avLst/>
          </a:prstGeom>
          <a:noFill/>
          <a:ln w="6350">
            <a:solidFill>
              <a:srgbClr val="BBBCBC"/>
            </a:solidFill>
            <a:round/>
            <a:headEnd type="none" w="med" len="med"/>
            <a:tailEnd type="triangle" w="med" len="med"/>
          </a:ln>
        </p:spPr>
      </p:cxnSp>
    </p:spTree>
    <p:extLst>
      <p:ext uri="{BB962C8B-B14F-4D97-AF65-F5344CB8AC3E}">
        <p14:creationId xmlns:p14="http://schemas.microsoft.com/office/powerpoint/2010/main" val="85129898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Leading to</a:t>
            </a:r>
            <a:endParaRPr lang="en-US" dirty="0"/>
          </a:p>
        </p:txBody>
      </p:sp>
      <p:sp>
        <p:nvSpPr>
          <p:cNvPr id="3" name="Title 2"/>
          <p:cNvSpPr>
            <a:spLocks noGrp="1"/>
          </p:cNvSpPr>
          <p:nvPr>
            <p:ph type="title"/>
          </p:nvPr>
        </p:nvSpPr>
        <p:spPr/>
        <p:txBody>
          <a:bodyPr/>
          <a:lstStyle/>
          <a:p>
            <a:r>
              <a:rPr lang="en-US"/>
              <a:t>Text blocks</a:t>
            </a:r>
            <a:endParaRPr lang="en-US" dirty="0"/>
          </a:p>
        </p:txBody>
      </p:sp>
      <p:sp>
        <p:nvSpPr>
          <p:cNvPr id="4" name="Rectangle 15"/>
          <p:cNvSpPr>
            <a:spLocks noChangeArrowheads="1"/>
          </p:cNvSpPr>
          <p:nvPr>
            <p:custDataLst>
              <p:tags r:id="rId1"/>
            </p:custDataLst>
          </p:nvPr>
        </p:nvSpPr>
        <p:spPr bwMode="gray">
          <a:xfrm>
            <a:off x="580377" y="1502903"/>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5" name="Rectangle 16"/>
          <p:cNvSpPr>
            <a:spLocks noChangeArrowheads="1"/>
          </p:cNvSpPr>
          <p:nvPr>
            <p:custDataLst>
              <p:tags r:id="rId2"/>
            </p:custDataLst>
          </p:nvPr>
        </p:nvSpPr>
        <p:spPr bwMode="gray">
          <a:xfrm>
            <a:off x="8405940" y="1502903"/>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6" name="Rectangle 17"/>
          <p:cNvSpPr>
            <a:spLocks noChangeArrowheads="1"/>
          </p:cNvSpPr>
          <p:nvPr>
            <p:custDataLst>
              <p:tags r:id="rId3"/>
            </p:custDataLst>
          </p:nvPr>
        </p:nvSpPr>
        <p:spPr bwMode="gray">
          <a:xfrm>
            <a:off x="580377" y="2339955"/>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7" name="Rectangle 18"/>
          <p:cNvSpPr>
            <a:spLocks noChangeArrowheads="1"/>
          </p:cNvSpPr>
          <p:nvPr>
            <p:custDataLst>
              <p:tags r:id="rId4"/>
            </p:custDataLst>
          </p:nvPr>
        </p:nvSpPr>
        <p:spPr bwMode="gray">
          <a:xfrm>
            <a:off x="8405940" y="2339955"/>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8" name="Rectangle 19"/>
          <p:cNvSpPr>
            <a:spLocks noChangeArrowheads="1"/>
          </p:cNvSpPr>
          <p:nvPr>
            <p:custDataLst>
              <p:tags r:id="rId5"/>
            </p:custDataLst>
          </p:nvPr>
        </p:nvSpPr>
        <p:spPr bwMode="gray">
          <a:xfrm>
            <a:off x="580377" y="3521393"/>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9" name="Rectangle 20"/>
          <p:cNvSpPr>
            <a:spLocks noChangeArrowheads="1"/>
          </p:cNvSpPr>
          <p:nvPr>
            <p:custDataLst>
              <p:tags r:id="rId6"/>
            </p:custDataLst>
          </p:nvPr>
        </p:nvSpPr>
        <p:spPr bwMode="gray">
          <a:xfrm>
            <a:off x="8405940" y="3521393"/>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10" name="Rectangle 21"/>
          <p:cNvSpPr>
            <a:spLocks noChangeArrowheads="1"/>
          </p:cNvSpPr>
          <p:nvPr>
            <p:custDataLst>
              <p:tags r:id="rId7"/>
            </p:custDataLst>
          </p:nvPr>
        </p:nvSpPr>
        <p:spPr bwMode="gray">
          <a:xfrm>
            <a:off x="580377" y="4700746"/>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11" name="Rectangle 22"/>
          <p:cNvSpPr>
            <a:spLocks noChangeArrowheads="1"/>
          </p:cNvSpPr>
          <p:nvPr>
            <p:custDataLst>
              <p:tags r:id="rId8"/>
            </p:custDataLst>
          </p:nvPr>
        </p:nvSpPr>
        <p:spPr bwMode="gray">
          <a:xfrm>
            <a:off x="8405940" y="4700746"/>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12" name="Rectangle 23"/>
          <p:cNvSpPr>
            <a:spLocks noChangeArrowheads="1"/>
          </p:cNvSpPr>
          <p:nvPr>
            <p:custDataLst>
              <p:tags r:id="rId9"/>
            </p:custDataLst>
          </p:nvPr>
        </p:nvSpPr>
        <p:spPr bwMode="gray">
          <a:xfrm>
            <a:off x="580377" y="5541387"/>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sp>
        <p:nvSpPr>
          <p:cNvPr id="13" name="Rectangle 24"/>
          <p:cNvSpPr>
            <a:spLocks noChangeArrowheads="1"/>
          </p:cNvSpPr>
          <p:nvPr>
            <p:custDataLst>
              <p:tags r:id="rId10"/>
            </p:custDataLst>
          </p:nvPr>
        </p:nvSpPr>
        <p:spPr bwMode="gray">
          <a:xfrm>
            <a:off x="8405940" y="5541387"/>
            <a:ext cx="3284410" cy="488616"/>
          </a:xfrm>
          <a:prstGeom prst="rect">
            <a:avLst/>
          </a:prstGeom>
          <a:noFill/>
          <a:ln w="9525" algn="ctr">
            <a:noFill/>
            <a:miter lim="800000"/>
            <a:headEnd/>
            <a:tailEnd/>
          </a:ln>
        </p:spPr>
        <p:txBody>
          <a:bodyPr lIns="0" tIns="0" rIns="0" bIns="0" anchor="ctr" anchorCtr="0"/>
          <a:lstStyle/>
          <a:p>
            <a:pPr defTabSz="957263">
              <a:lnSpc>
                <a:spcPct val="106000"/>
              </a:lnSpc>
              <a:spcBef>
                <a:spcPts val="1350"/>
              </a:spcBef>
              <a:buSzPct val="100000"/>
            </a:pPr>
            <a:r>
              <a:rPr lang="en-GB" sz="1300" dirty="0"/>
              <a:t>Text</a:t>
            </a:r>
          </a:p>
        </p:txBody>
      </p:sp>
      <p:grpSp>
        <p:nvGrpSpPr>
          <p:cNvPr id="27" name="Group 26"/>
          <p:cNvGrpSpPr/>
          <p:nvPr/>
        </p:nvGrpSpPr>
        <p:grpSpPr>
          <a:xfrm>
            <a:off x="622643" y="1322607"/>
            <a:ext cx="11025441" cy="4883792"/>
            <a:chOff x="365760" y="1610155"/>
            <a:chExt cx="8412480" cy="3977202"/>
          </a:xfrm>
        </p:grpSpPr>
        <p:sp>
          <p:nvSpPr>
            <p:cNvPr id="14" name="Freeform 2"/>
            <p:cNvSpPr>
              <a:spLocks/>
            </p:cNvSpPr>
            <p:nvPr/>
          </p:nvSpPr>
          <p:spPr bwMode="blackWhite">
            <a:xfrm>
              <a:off x="365760" y="2295674"/>
              <a:ext cx="3183306" cy="390314"/>
            </a:xfrm>
            <a:custGeom>
              <a:avLst/>
              <a:gdLst>
                <a:gd name="T0" fmla="*/ 2147483647 w 937"/>
                <a:gd name="T1" fmla="*/ 2147483647 h 153"/>
                <a:gd name="T2" fmla="*/ 2147483647 w 937"/>
                <a:gd name="T3" fmla="*/ 0 h 153"/>
                <a:gd name="T4" fmla="*/ 0 w 937"/>
                <a:gd name="T5" fmla="*/ 0 h 153"/>
                <a:gd name="T6" fmla="*/ 0 60000 65536"/>
                <a:gd name="T7" fmla="*/ 0 60000 65536"/>
                <a:gd name="T8" fmla="*/ 0 60000 65536"/>
                <a:gd name="T9" fmla="*/ 0 w 937"/>
                <a:gd name="T10" fmla="*/ 0 h 153"/>
                <a:gd name="T11" fmla="*/ 937 w 937"/>
                <a:gd name="T12" fmla="*/ 153 h 153"/>
                <a:gd name="connsiteX0" fmla="*/ 936 w 936"/>
                <a:gd name="connsiteY0" fmla="*/ 152 h 152"/>
                <a:gd name="connsiteX1" fmla="*/ 812 w 936"/>
                <a:gd name="connsiteY1" fmla="*/ 0 h 152"/>
                <a:gd name="connsiteX2" fmla="*/ 0 w 936"/>
                <a:gd name="connsiteY2" fmla="*/ 0 h 152"/>
                <a:gd name="connsiteX0" fmla="*/ 936 w 936"/>
                <a:gd name="connsiteY0" fmla="*/ 152 h 152"/>
                <a:gd name="connsiteX1" fmla="*/ 812 w 936"/>
                <a:gd name="connsiteY1" fmla="*/ 0 h 152"/>
                <a:gd name="connsiteX2" fmla="*/ 0 w 936"/>
                <a:gd name="connsiteY2" fmla="*/ 0 h 152"/>
              </a:gdLst>
              <a:ahLst/>
              <a:cxnLst>
                <a:cxn ang="0">
                  <a:pos x="connsiteX0" y="connsiteY0"/>
                </a:cxn>
                <a:cxn ang="0">
                  <a:pos x="connsiteX1" y="connsiteY1"/>
                </a:cxn>
                <a:cxn ang="0">
                  <a:pos x="connsiteX2" y="connsiteY2"/>
                </a:cxn>
              </a:cxnLst>
              <a:rect l="l" t="t" r="r" b="b"/>
              <a:pathLst>
                <a:path w="936" h="152">
                  <a:moveTo>
                    <a:pt x="936" y="152"/>
                  </a:moveTo>
                  <a:cubicBezTo>
                    <a:pt x="895" y="101"/>
                    <a:pt x="853" y="51"/>
                    <a:pt x="812" y="0"/>
                  </a:cubicBez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5" name="Freeform 3"/>
            <p:cNvSpPr>
              <a:spLocks/>
            </p:cNvSpPr>
            <p:nvPr/>
          </p:nvSpPr>
          <p:spPr bwMode="blackWhite">
            <a:xfrm>
              <a:off x="365760" y="2984889"/>
              <a:ext cx="2811644" cy="597560"/>
            </a:xfrm>
            <a:custGeom>
              <a:avLst/>
              <a:gdLst>
                <a:gd name="T0" fmla="*/ 2147483647 w 831"/>
                <a:gd name="T1" fmla="*/ 2147483647 h 182"/>
                <a:gd name="T2" fmla="*/ 2147483647 w 831"/>
                <a:gd name="T3" fmla="*/ 0 h 182"/>
                <a:gd name="T4" fmla="*/ 0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830" y="181"/>
                  </a:moveTo>
                  <a:lnTo>
                    <a:pt x="639" y="0"/>
                  </a:ln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6" name="Freeform 4"/>
            <p:cNvSpPr>
              <a:spLocks/>
            </p:cNvSpPr>
            <p:nvPr/>
          </p:nvSpPr>
          <p:spPr bwMode="blackWhite">
            <a:xfrm>
              <a:off x="365760" y="3604388"/>
              <a:ext cx="2809917" cy="595834"/>
            </a:xfrm>
            <a:custGeom>
              <a:avLst/>
              <a:gdLst>
                <a:gd name="T0" fmla="*/ 2147483647 w 825"/>
                <a:gd name="T1" fmla="*/ 0 h 182"/>
                <a:gd name="T2" fmla="*/ 2147483647 w 825"/>
                <a:gd name="T3" fmla="*/ 2147483647 h 182"/>
                <a:gd name="T4" fmla="*/ 0 w 825"/>
                <a:gd name="T5" fmla="*/ 2147483647 h 182"/>
                <a:gd name="T6" fmla="*/ 0 60000 65536"/>
                <a:gd name="T7" fmla="*/ 0 60000 65536"/>
                <a:gd name="T8" fmla="*/ 0 60000 65536"/>
                <a:gd name="T9" fmla="*/ 0 w 825"/>
                <a:gd name="T10" fmla="*/ 0 h 182"/>
                <a:gd name="T11" fmla="*/ 825 w 825"/>
                <a:gd name="T12" fmla="*/ 182 h 182"/>
              </a:gdLst>
              <a:ahLst/>
              <a:cxnLst>
                <a:cxn ang="T6">
                  <a:pos x="T0" y="T1"/>
                </a:cxn>
                <a:cxn ang="T7">
                  <a:pos x="T2" y="T3"/>
                </a:cxn>
                <a:cxn ang="T8">
                  <a:pos x="T4" y="T5"/>
                </a:cxn>
              </a:cxnLst>
              <a:rect l="T9" t="T10" r="T11" b="T12"/>
              <a:pathLst>
                <a:path w="825" h="182">
                  <a:moveTo>
                    <a:pt x="824" y="0"/>
                  </a:moveTo>
                  <a:lnTo>
                    <a:pt x="639" y="181"/>
                  </a:lnTo>
                  <a:lnTo>
                    <a:pt x="0" y="181"/>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7" name="Freeform 6"/>
            <p:cNvSpPr>
              <a:spLocks/>
            </p:cNvSpPr>
            <p:nvPr/>
          </p:nvSpPr>
          <p:spPr bwMode="blackWhite">
            <a:xfrm>
              <a:off x="365760" y="1610155"/>
              <a:ext cx="4196741" cy="642464"/>
            </a:xfrm>
            <a:custGeom>
              <a:avLst/>
              <a:gdLst>
                <a:gd name="T0" fmla="*/ 2147483647 w 1239"/>
                <a:gd name="T1" fmla="*/ 2147483647 h 195"/>
                <a:gd name="T2" fmla="*/ 2147483647 w 1239"/>
                <a:gd name="T3" fmla="*/ 0 h 195"/>
                <a:gd name="T4" fmla="*/ 0 w 1239"/>
                <a:gd name="T5" fmla="*/ 0 h 195"/>
                <a:gd name="T6" fmla="*/ 0 60000 65536"/>
                <a:gd name="T7" fmla="*/ 0 60000 65536"/>
                <a:gd name="T8" fmla="*/ 0 60000 65536"/>
                <a:gd name="T9" fmla="*/ 0 w 1239"/>
                <a:gd name="T10" fmla="*/ 0 h 195"/>
                <a:gd name="T11" fmla="*/ 1239 w 1239"/>
                <a:gd name="T12" fmla="*/ 195 h 195"/>
              </a:gdLst>
              <a:ahLst/>
              <a:cxnLst>
                <a:cxn ang="T6">
                  <a:pos x="T0" y="T1"/>
                </a:cxn>
                <a:cxn ang="T7">
                  <a:pos x="T2" y="T3"/>
                </a:cxn>
                <a:cxn ang="T8">
                  <a:pos x="T4" y="T5"/>
                </a:cxn>
              </a:cxnLst>
              <a:rect l="T9" t="T10" r="T11" b="T12"/>
              <a:pathLst>
                <a:path w="1239" h="195">
                  <a:moveTo>
                    <a:pt x="1238" y="194"/>
                  </a:moveTo>
                  <a:lnTo>
                    <a:pt x="1047" y="0"/>
                  </a:lnTo>
                  <a:lnTo>
                    <a:pt x="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8" name="Freeform 7"/>
            <p:cNvSpPr>
              <a:spLocks/>
            </p:cNvSpPr>
            <p:nvPr/>
          </p:nvSpPr>
          <p:spPr bwMode="blackWhite">
            <a:xfrm>
              <a:off x="365760" y="4979434"/>
              <a:ext cx="4196741" cy="607923"/>
            </a:xfrm>
            <a:custGeom>
              <a:avLst/>
              <a:gdLst>
                <a:gd name="T0" fmla="*/ 2147483647 w 1240"/>
                <a:gd name="T1" fmla="*/ 0 h 185"/>
                <a:gd name="T2" fmla="*/ 2147483647 w 1240"/>
                <a:gd name="T3" fmla="*/ 2147483647 h 185"/>
                <a:gd name="T4" fmla="*/ 0 w 1240"/>
                <a:gd name="T5" fmla="*/ 2147483647 h 185"/>
                <a:gd name="T6" fmla="*/ 0 60000 65536"/>
                <a:gd name="T7" fmla="*/ 0 60000 65536"/>
                <a:gd name="T8" fmla="*/ 0 60000 65536"/>
                <a:gd name="T9" fmla="*/ 0 w 1240"/>
                <a:gd name="T10" fmla="*/ 0 h 185"/>
                <a:gd name="T11" fmla="*/ 1240 w 1240"/>
                <a:gd name="T12" fmla="*/ 185 h 185"/>
              </a:gdLst>
              <a:ahLst/>
              <a:cxnLst>
                <a:cxn ang="T6">
                  <a:pos x="T0" y="T1"/>
                </a:cxn>
                <a:cxn ang="T7">
                  <a:pos x="T2" y="T3"/>
                </a:cxn>
                <a:cxn ang="T8">
                  <a:pos x="T4" y="T5"/>
                </a:cxn>
              </a:cxnLst>
              <a:rect l="T9" t="T10" r="T11" b="T12"/>
              <a:pathLst>
                <a:path w="1240" h="185">
                  <a:moveTo>
                    <a:pt x="1239" y="0"/>
                  </a:moveTo>
                  <a:lnTo>
                    <a:pt x="1047" y="184"/>
                  </a:lnTo>
                  <a:lnTo>
                    <a:pt x="0" y="184"/>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19" name="Freeform 8"/>
            <p:cNvSpPr>
              <a:spLocks/>
            </p:cNvSpPr>
            <p:nvPr/>
          </p:nvSpPr>
          <p:spPr bwMode="blackWhite">
            <a:xfrm>
              <a:off x="365760" y="4511081"/>
              <a:ext cx="3153600" cy="392041"/>
            </a:xfrm>
            <a:custGeom>
              <a:avLst/>
              <a:gdLst>
                <a:gd name="T0" fmla="*/ 2147483647 w 920"/>
                <a:gd name="T1" fmla="*/ 0 h 120"/>
                <a:gd name="T2" fmla="*/ 2147483647 w 920"/>
                <a:gd name="T3" fmla="*/ 2147483647 h 120"/>
                <a:gd name="T4" fmla="*/ 0 w 920"/>
                <a:gd name="T5" fmla="*/ 2147483647 h 120"/>
                <a:gd name="T6" fmla="*/ 0 60000 65536"/>
                <a:gd name="T7" fmla="*/ 0 60000 65536"/>
                <a:gd name="T8" fmla="*/ 0 60000 65536"/>
                <a:gd name="T9" fmla="*/ 0 w 920"/>
                <a:gd name="T10" fmla="*/ 0 h 120"/>
                <a:gd name="T11" fmla="*/ 920 w 920"/>
                <a:gd name="T12" fmla="*/ 120 h 120"/>
              </a:gdLst>
              <a:ahLst/>
              <a:cxnLst>
                <a:cxn ang="T6">
                  <a:pos x="T0" y="T1"/>
                </a:cxn>
                <a:cxn ang="T7">
                  <a:pos x="T2" y="T3"/>
                </a:cxn>
                <a:cxn ang="T8">
                  <a:pos x="T4" y="T5"/>
                </a:cxn>
              </a:cxnLst>
              <a:rect l="T9" t="T10" r="T11" b="T12"/>
              <a:pathLst>
                <a:path w="920" h="120">
                  <a:moveTo>
                    <a:pt x="919" y="0"/>
                  </a:moveTo>
                  <a:lnTo>
                    <a:pt x="799" y="119"/>
                  </a:lnTo>
                  <a:lnTo>
                    <a:pt x="0" y="119"/>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0" name="Freeform 9"/>
            <p:cNvSpPr>
              <a:spLocks/>
            </p:cNvSpPr>
            <p:nvPr/>
          </p:nvSpPr>
          <p:spPr bwMode="blackWhite">
            <a:xfrm>
              <a:off x="4574591" y="1610155"/>
              <a:ext cx="4203649" cy="649372"/>
            </a:xfrm>
            <a:custGeom>
              <a:avLst/>
              <a:gdLst>
                <a:gd name="T0" fmla="*/ 0 w 1233"/>
                <a:gd name="T1" fmla="*/ 2147483647 h 198"/>
                <a:gd name="T2" fmla="*/ 2147483647 w 1233"/>
                <a:gd name="T3" fmla="*/ 0 h 198"/>
                <a:gd name="T4" fmla="*/ 2147483647 w 1233"/>
                <a:gd name="T5" fmla="*/ 0 h 198"/>
                <a:gd name="T6" fmla="*/ 0 60000 65536"/>
                <a:gd name="T7" fmla="*/ 0 60000 65536"/>
                <a:gd name="T8" fmla="*/ 0 60000 65536"/>
                <a:gd name="T9" fmla="*/ 0 w 1233"/>
                <a:gd name="T10" fmla="*/ 0 h 198"/>
                <a:gd name="T11" fmla="*/ 1233 w 1233"/>
                <a:gd name="T12" fmla="*/ 198 h 198"/>
              </a:gdLst>
              <a:ahLst/>
              <a:cxnLst>
                <a:cxn ang="T6">
                  <a:pos x="T0" y="T1"/>
                </a:cxn>
                <a:cxn ang="T7">
                  <a:pos x="T2" y="T3"/>
                </a:cxn>
                <a:cxn ang="T8">
                  <a:pos x="T4" y="T5"/>
                </a:cxn>
              </a:cxnLst>
              <a:rect l="T9" t="T10" r="T11" b="T12"/>
              <a:pathLst>
                <a:path w="1233" h="198">
                  <a:moveTo>
                    <a:pt x="0" y="197"/>
                  </a:moveTo>
                  <a:lnTo>
                    <a:pt x="185" y="0"/>
                  </a:lnTo>
                  <a:lnTo>
                    <a:pt x="1232"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1" name="Freeform 10"/>
            <p:cNvSpPr>
              <a:spLocks/>
            </p:cNvSpPr>
            <p:nvPr/>
          </p:nvSpPr>
          <p:spPr bwMode="blackWhite">
            <a:xfrm>
              <a:off x="5594934" y="2295674"/>
              <a:ext cx="3183306" cy="390314"/>
            </a:xfrm>
            <a:custGeom>
              <a:avLst/>
              <a:gdLst>
                <a:gd name="T0" fmla="*/ 0 w 920"/>
                <a:gd name="T1" fmla="*/ 2147483647 h 112"/>
                <a:gd name="T2" fmla="*/ 2147483647 w 920"/>
                <a:gd name="T3" fmla="*/ 0 h 112"/>
                <a:gd name="T4" fmla="*/ 2147483647 w 920"/>
                <a:gd name="T5" fmla="*/ 0 h 112"/>
                <a:gd name="T6" fmla="*/ 0 60000 65536"/>
                <a:gd name="T7" fmla="*/ 0 60000 65536"/>
                <a:gd name="T8" fmla="*/ 0 60000 65536"/>
                <a:gd name="T9" fmla="*/ 0 w 920"/>
                <a:gd name="T10" fmla="*/ 0 h 112"/>
                <a:gd name="T11" fmla="*/ 920 w 920"/>
                <a:gd name="T12" fmla="*/ 112 h 112"/>
              </a:gdLst>
              <a:ahLst/>
              <a:cxnLst>
                <a:cxn ang="T6">
                  <a:pos x="T0" y="T1"/>
                </a:cxn>
                <a:cxn ang="T7">
                  <a:pos x="T2" y="T3"/>
                </a:cxn>
                <a:cxn ang="T8">
                  <a:pos x="T4" y="T5"/>
                </a:cxn>
              </a:cxnLst>
              <a:rect l="T9" t="T10" r="T11" b="T12"/>
              <a:pathLst>
                <a:path w="920" h="112">
                  <a:moveTo>
                    <a:pt x="0" y="111"/>
                  </a:moveTo>
                  <a:lnTo>
                    <a:pt x="120" y="0"/>
                  </a:lnTo>
                  <a:lnTo>
                    <a:pt x="919"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2" name="Freeform 11"/>
            <p:cNvSpPr>
              <a:spLocks/>
            </p:cNvSpPr>
            <p:nvPr/>
          </p:nvSpPr>
          <p:spPr bwMode="blackWhite">
            <a:xfrm>
              <a:off x="4578045" y="4979434"/>
              <a:ext cx="4200195" cy="607923"/>
            </a:xfrm>
            <a:custGeom>
              <a:avLst/>
              <a:gdLst>
                <a:gd name="T0" fmla="*/ 0 w 1232"/>
                <a:gd name="T1" fmla="*/ 0 h 185"/>
                <a:gd name="T2" fmla="*/ 2147483647 w 1232"/>
                <a:gd name="T3" fmla="*/ 2147483647 h 185"/>
                <a:gd name="T4" fmla="*/ 2147483647 w 1232"/>
                <a:gd name="T5" fmla="*/ 2147483647 h 185"/>
                <a:gd name="T6" fmla="*/ 0 60000 65536"/>
                <a:gd name="T7" fmla="*/ 0 60000 65536"/>
                <a:gd name="T8" fmla="*/ 0 60000 65536"/>
                <a:gd name="T9" fmla="*/ 0 w 1232"/>
                <a:gd name="T10" fmla="*/ 0 h 185"/>
                <a:gd name="T11" fmla="*/ 1232 w 1232"/>
                <a:gd name="T12" fmla="*/ 185 h 185"/>
              </a:gdLst>
              <a:ahLst/>
              <a:cxnLst>
                <a:cxn ang="T6">
                  <a:pos x="T0" y="T1"/>
                </a:cxn>
                <a:cxn ang="T7">
                  <a:pos x="T2" y="T3"/>
                </a:cxn>
                <a:cxn ang="T8">
                  <a:pos x="T4" y="T5"/>
                </a:cxn>
              </a:cxnLst>
              <a:rect l="T9" t="T10" r="T11" b="T12"/>
              <a:pathLst>
                <a:path w="1232" h="185">
                  <a:moveTo>
                    <a:pt x="0" y="0"/>
                  </a:moveTo>
                  <a:lnTo>
                    <a:pt x="184" y="184"/>
                  </a:lnTo>
                  <a:lnTo>
                    <a:pt x="1231" y="184"/>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3" name="Freeform 12"/>
            <p:cNvSpPr>
              <a:spLocks/>
            </p:cNvSpPr>
            <p:nvPr/>
          </p:nvSpPr>
          <p:spPr bwMode="blackWhite">
            <a:xfrm>
              <a:off x="5621186" y="4511081"/>
              <a:ext cx="3157054" cy="392041"/>
            </a:xfrm>
            <a:custGeom>
              <a:avLst/>
              <a:gdLst>
                <a:gd name="T0" fmla="*/ 0 w 918"/>
                <a:gd name="T1" fmla="*/ 0 h 111"/>
                <a:gd name="T2" fmla="*/ 2147483647 w 918"/>
                <a:gd name="T3" fmla="*/ 2147483647 h 111"/>
                <a:gd name="T4" fmla="*/ 2147483647 w 918"/>
                <a:gd name="T5" fmla="*/ 2147483647 h 111"/>
                <a:gd name="T6" fmla="*/ 0 60000 65536"/>
                <a:gd name="T7" fmla="*/ 0 60000 65536"/>
                <a:gd name="T8" fmla="*/ 0 60000 65536"/>
                <a:gd name="T9" fmla="*/ 0 w 918"/>
                <a:gd name="T10" fmla="*/ 0 h 111"/>
                <a:gd name="T11" fmla="*/ 918 w 918"/>
                <a:gd name="T12" fmla="*/ 111 h 111"/>
              </a:gdLst>
              <a:ahLst/>
              <a:cxnLst>
                <a:cxn ang="T6">
                  <a:pos x="T0" y="T1"/>
                </a:cxn>
                <a:cxn ang="T7">
                  <a:pos x="T2" y="T3"/>
                </a:cxn>
                <a:cxn ang="T8">
                  <a:pos x="T4" y="T5"/>
                </a:cxn>
              </a:cxnLst>
              <a:rect l="T9" t="T10" r="T11" b="T12"/>
              <a:pathLst>
                <a:path w="918" h="111">
                  <a:moveTo>
                    <a:pt x="0" y="0"/>
                  </a:moveTo>
                  <a:lnTo>
                    <a:pt x="118" y="110"/>
                  </a:lnTo>
                  <a:lnTo>
                    <a:pt x="917" y="11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4" name="Freeform 13"/>
            <p:cNvSpPr>
              <a:spLocks/>
            </p:cNvSpPr>
            <p:nvPr/>
          </p:nvSpPr>
          <p:spPr bwMode="blackWhite">
            <a:xfrm>
              <a:off x="5961415" y="2984889"/>
              <a:ext cx="2816825" cy="597560"/>
            </a:xfrm>
            <a:custGeom>
              <a:avLst/>
              <a:gdLst>
                <a:gd name="T0" fmla="*/ 0 w 831"/>
                <a:gd name="T1" fmla="*/ 2147483647 h 182"/>
                <a:gd name="T2" fmla="*/ 2147483647 w 831"/>
                <a:gd name="T3" fmla="*/ 0 h 182"/>
                <a:gd name="T4" fmla="*/ 2147483647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0" y="181"/>
                  </a:moveTo>
                  <a:lnTo>
                    <a:pt x="191" y="0"/>
                  </a:lnTo>
                  <a:lnTo>
                    <a:pt x="830" y="0"/>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sp>
          <p:nvSpPr>
            <p:cNvPr id="25" name="Freeform 14"/>
            <p:cNvSpPr>
              <a:spLocks/>
            </p:cNvSpPr>
            <p:nvPr/>
          </p:nvSpPr>
          <p:spPr bwMode="blackWhite">
            <a:xfrm>
              <a:off x="5963004" y="3604388"/>
              <a:ext cx="2815236" cy="599288"/>
            </a:xfrm>
            <a:custGeom>
              <a:avLst/>
              <a:gdLst>
                <a:gd name="T0" fmla="*/ 0 w 835"/>
                <a:gd name="T1" fmla="*/ 0 h 183"/>
                <a:gd name="T2" fmla="*/ 2147483647 w 835"/>
                <a:gd name="T3" fmla="*/ 2147483647 h 183"/>
                <a:gd name="T4" fmla="*/ 2147483647 w 835"/>
                <a:gd name="T5" fmla="*/ 2147483647 h 183"/>
                <a:gd name="T6" fmla="*/ 0 60000 65536"/>
                <a:gd name="T7" fmla="*/ 0 60000 65536"/>
                <a:gd name="T8" fmla="*/ 0 60000 65536"/>
                <a:gd name="T9" fmla="*/ 0 w 835"/>
                <a:gd name="T10" fmla="*/ 0 h 183"/>
                <a:gd name="T11" fmla="*/ 835 w 835"/>
                <a:gd name="T12" fmla="*/ 183 h 183"/>
              </a:gdLst>
              <a:ahLst/>
              <a:cxnLst>
                <a:cxn ang="T6">
                  <a:pos x="T0" y="T1"/>
                </a:cxn>
                <a:cxn ang="T7">
                  <a:pos x="T2" y="T3"/>
                </a:cxn>
                <a:cxn ang="T8">
                  <a:pos x="T4" y="T5"/>
                </a:cxn>
              </a:cxnLst>
              <a:rect l="T9" t="T10" r="T11" b="T12"/>
              <a:pathLst>
                <a:path w="835" h="183">
                  <a:moveTo>
                    <a:pt x="0" y="0"/>
                  </a:moveTo>
                  <a:lnTo>
                    <a:pt x="196" y="182"/>
                  </a:lnTo>
                  <a:lnTo>
                    <a:pt x="834" y="182"/>
                  </a:lnTo>
                </a:path>
              </a:pathLst>
            </a:custGeom>
            <a:noFill/>
            <a:ln w="6350" cap="rnd">
              <a:solidFill>
                <a:srgbClr val="BBBCBC"/>
              </a:solidFill>
              <a:round/>
              <a:headEnd type="none" w="sm" len="sm"/>
              <a:tailEnd type="none" w="sm" len="sm"/>
            </a:ln>
          </p:spPr>
          <p:txBody>
            <a:bodyPr lIns="91438" tIns="45719" rIns="91438" bIns="45719" anchor="ctr"/>
            <a:lstStyle/>
            <a:p>
              <a:pPr>
                <a:defRPr/>
              </a:pPr>
              <a:endParaRPr lang="en-GB" sz="1200" dirty="0"/>
            </a:p>
          </p:txBody>
        </p:sp>
      </p:grpSp>
      <p:sp>
        <p:nvSpPr>
          <p:cNvPr id="26" name="Oval 5"/>
          <p:cNvSpPr>
            <a:spLocks noChangeArrowheads="1"/>
          </p:cNvSpPr>
          <p:nvPr/>
        </p:nvSpPr>
        <p:spPr bwMode="blackWhite">
          <a:xfrm>
            <a:off x="4408071" y="2054346"/>
            <a:ext cx="3474720" cy="3474720"/>
          </a:xfrm>
          <a:prstGeom prst="ellipse">
            <a:avLst/>
          </a:prstGeom>
          <a:solidFill>
            <a:schemeClr val="accent2"/>
          </a:solidFill>
          <a:ln w="12700">
            <a:noFill/>
            <a:round/>
            <a:headEnd/>
            <a:tailEnd/>
          </a:ln>
        </p:spPr>
        <p:txBody>
          <a:bodyPr wrap="square" lIns="88900" tIns="88900" rIns="88900" bIns="88900" anchor="ctr"/>
          <a:lstStyle/>
          <a:p>
            <a:pPr algn="ctr">
              <a:defRPr/>
            </a:pPr>
            <a:r>
              <a:rPr lang="en-GB" sz="1400" dirty="0">
                <a:solidFill>
                  <a:schemeClr val="bg1"/>
                </a:solidFill>
                <a:ea typeface="ＭＳ Ｐゴシック" pitchFamily="50" charset="-128"/>
              </a:rPr>
              <a:t>Conclusion</a:t>
            </a:r>
          </a:p>
        </p:txBody>
      </p:sp>
    </p:spTree>
    <p:extLst>
      <p:ext uri="{BB962C8B-B14F-4D97-AF65-F5344CB8AC3E}">
        <p14:creationId xmlns:p14="http://schemas.microsoft.com/office/powerpoint/2010/main" val="332863281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ources leading to</a:t>
            </a:r>
            <a:endParaRPr lang="en-US" dirty="0"/>
          </a:p>
        </p:txBody>
      </p:sp>
      <p:sp>
        <p:nvSpPr>
          <p:cNvPr id="3" name="Title 2"/>
          <p:cNvSpPr>
            <a:spLocks noGrp="1"/>
          </p:cNvSpPr>
          <p:nvPr>
            <p:ph type="title"/>
          </p:nvPr>
        </p:nvSpPr>
        <p:spPr/>
        <p:txBody>
          <a:bodyPr/>
          <a:lstStyle/>
          <a:p>
            <a:r>
              <a:rPr lang="en-US"/>
              <a:t>Text blocks </a:t>
            </a:r>
            <a:endParaRPr lang="en-US" dirty="0"/>
          </a:p>
        </p:txBody>
      </p:sp>
      <p:grpSp>
        <p:nvGrpSpPr>
          <p:cNvPr id="7" name="Group 6">
            <a:extLst>
              <a:ext uri="{FF2B5EF4-FFF2-40B4-BE49-F238E27FC236}">
                <a16:creationId xmlns:a16="http://schemas.microsoft.com/office/drawing/2014/main" id="{5E4EFDBE-75EF-4291-9BA1-41CAF95B9340}"/>
              </a:ext>
            </a:extLst>
          </p:cNvPr>
          <p:cNvGrpSpPr/>
          <p:nvPr/>
        </p:nvGrpSpPr>
        <p:grpSpPr>
          <a:xfrm>
            <a:off x="1019127" y="1460053"/>
            <a:ext cx="10153746" cy="4733907"/>
            <a:chOff x="1900238" y="1608028"/>
            <a:chExt cx="8391525" cy="3912320"/>
          </a:xfrm>
        </p:grpSpPr>
        <p:sp>
          <p:nvSpPr>
            <p:cNvPr id="4" name="Text Placeholder 5"/>
            <p:cNvSpPr txBox="1">
              <a:spLocks/>
            </p:cNvSpPr>
            <p:nvPr>
              <p:custDataLst>
                <p:tags r:id="rId1"/>
              </p:custDataLst>
            </p:nvPr>
          </p:nvSpPr>
          <p:spPr>
            <a:xfrm>
              <a:off x="1900238" y="1608896"/>
              <a:ext cx="3605213" cy="3911452"/>
            </a:xfrm>
            <a:prstGeom prst="homePlate">
              <a:avLst>
                <a:gd name="adj" fmla="val 8173"/>
              </a:avLst>
            </a:prstGeom>
            <a:solidFill>
              <a:sysClr val="window" lastClr="FFFFFF"/>
            </a:solidFill>
            <a:ln w="6350">
              <a:solidFill>
                <a:srgbClr val="BBBCBC"/>
              </a:solid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defRPr/>
              </a:pPr>
              <a:r>
                <a:rPr lang="en-US" sz="1300" dirty="0">
                  <a:solidFill>
                    <a:schemeClr val="tx1"/>
                  </a:solidFill>
                </a:rPr>
                <a:t>This is dummy text its not here to be read </a:t>
              </a:r>
            </a:p>
            <a:p>
              <a:pPr marL="114300" lvl="1" indent="-114300">
                <a:spcBef>
                  <a:spcPts val="600"/>
                </a:spcBef>
                <a:buSzPct val="100000"/>
                <a:buFont typeface="Arial"/>
                <a:buChar char="•"/>
                <a:defRPr/>
              </a:pPr>
              <a:r>
                <a:rPr lang="en-US" sz="1300" dirty="0">
                  <a:solidFill>
                    <a:schemeClr val="tx1"/>
                  </a:solidFill>
                </a:rPr>
                <a:t>This is a level 1 bullet </a:t>
              </a:r>
            </a:p>
            <a:p>
              <a:pPr marL="254000" lvl="2" indent="-114300">
                <a:spcBef>
                  <a:spcPts val="600"/>
                </a:spcBef>
                <a:buSzPct val="100000"/>
                <a:buFont typeface="Arial"/>
                <a:buChar char="−"/>
                <a:defRPr/>
              </a:pPr>
              <a:r>
                <a:rPr lang="en-US" sz="1300" dirty="0">
                  <a:solidFill>
                    <a:schemeClr val="tx1"/>
                  </a:solidFill>
                </a:rPr>
                <a:t>This is a level 2 bullet</a:t>
              </a:r>
            </a:p>
          </p:txBody>
        </p:sp>
        <p:sp>
          <p:nvSpPr>
            <p:cNvPr id="5" name="Text Placeholder 5"/>
            <p:cNvSpPr txBox="1">
              <a:spLocks/>
            </p:cNvSpPr>
            <p:nvPr/>
          </p:nvSpPr>
          <p:spPr>
            <a:xfrm flipH="1">
              <a:off x="6686550" y="1608028"/>
              <a:ext cx="3605213" cy="3911452"/>
            </a:xfrm>
            <a:prstGeom prst="homePlate">
              <a:avLst>
                <a:gd name="adj" fmla="val 8173"/>
              </a:avLst>
            </a:prstGeom>
            <a:solidFill>
              <a:sysClr val="window" lastClr="FFFFFF"/>
            </a:solidFill>
            <a:ln w="6350">
              <a:solidFill>
                <a:srgbClr val="BBBCBC"/>
              </a:solid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defRPr/>
              </a:pPr>
              <a:r>
                <a:rPr lang="en-US" sz="1300" dirty="0">
                  <a:solidFill>
                    <a:schemeClr val="tx1"/>
                  </a:solidFill>
                </a:rPr>
                <a:t>This is dummy text its not here to be read </a:t>
              </a:r>
            </a:p>
            <a:p>
              <a:pPr marL="114300" lvl="1" indent="-114300">
                <a:spcBef>
                  <a:spcPts val="600"/>
                </a:spcBef>
                <a:buSzPct val="100000"/>
                <a:buFont typeface="Arial"/>
                <a:buChar char="•"/>
                <a:defRPr/>
              </a:pPr>
              <a:r>
                <a:rPr lang="en-US" sz="1300" dirty="0">
                  <a:solidFill>
                    <a:schemeClr val="tx1"/>
                  </a:solidFill>
                </a:rPr>
                <a:t>This is a level 1 bullet </a:t>
              </a:r>
            </a:p>
            <a:p>
              <a:pPr marL="254000" lvl="2" indent="-114300">
                <a:spcBef>
                  <a:spcPts val="600"/>
                </a:spcBef>
                <a:buSzPct val="100000"/>
                <a:buFont typeface="Arial"/>
                <a:buChar char="−"/>
                <a:defRPr/>
              </a:pPr>
              <a:r>
                <a:rPr lang="en-US" sz="1300" dirty="0">
                  <a:solidFill>
                    <a:schemeClr val="tx1"/>
                  </a:solidFill>
                </a:rPr>
                <a:t>This is a level 2 bullet</a:t>
              </a:r>
            </a:p>
          </p:txBody>
        </p:sp>
        <p:sp>
          <p:nvSpPr>
            <p:cNvPr id="6" name="Oval 5"/>
            <p:cNvSpPr>
              <a:spLocks noChangeArrowheads="1"/>
            </p:cNvSpPr>
            <p:nvPr>
              <p:custDataLst>
                <p:tags r:id="rId2"/>
              </p:custDataLst>
            </p:nvPr>
          </p:nvSpPr>
          <p:spPr bwMode="auto">
            <a:xfrm>
              <a:off x="4964087" y="2430541"/>
              <a:ext cx="2263829" cy="2266427"/>
            </a:xfrm>
            <a:prstGeom prst="ellipse">
              <a:avLst/>
            </a:prstGeom>
            <a:solidFill>
              <a:schemeClr val="accent4"/>
            </a:solidFill>
            <a:ln w="6350" algn="ctr">
              <a:noFill/>
              <a:round/>
              <a:headEnd/>
              <a:tailEnd/>
            </a:ln>
          </p:spPr>
          <p:txBody>
            <a:bodyPr lIns="88900" tIns="88900" rIns="88900" bIns="88900" anchor="ctr"/>
            <a:lstStyle/>
            <a:p>
              <a:pPr algn="ctr">
                <a:defRPr/>
              </a:pPr>
              <a:r>
                <a:rPr lang="en-US" sz="1600" kern="0" dirty="0">
                  <a:solidFill>
                    <a:prstClr val="white"/>
                  </a:solidFill>
                  <a:latin typeface="+mj-lt"/>
                  <a:ea typeface="ＭＳ Ｐゴシック" pitchFamily="50" charset="-128"/>
                </a:rPr>
                <a:t>Text</a:t>
              </a:r>
            </a:p>
          </p:txBody>
        </p:sp>
      </p:grpSp>
    </p:spTree>
    <p:extLst>
      <p:ext uri="{BB962C8B-B14F-4D97-AF65-F5344CB8AC3E}">
        <p14:creationId xmlns:p14="http://schemas.microsoft.com/office/powerpoint/2010/main" val="126806635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2C0ACD-0D98-4DE6-9146-54BD5195D6AF}"/>
              </a:ext>
            </a:extLst>
          </p:cNvPr>
          <p:cNvSpPr>
            <a:spLocks noGrp="1"/>
          </p:cNvSpPr>
          <p:nvPr>
            <p:ph type="title"/>
          </p:nvPr>
        </p:nvSpPr>
        <p:spPr/>
        <p:txBody>
          <a:bodyPr/>
          <a:lstStyle/>
          <a:p>
            <a:r>
              <a:rPr lang="en-US" dirty="0"/>
              <a:t>Outline</a:t>
            </a:r>
          </a:p>
        </p:txBody>
      </p:sp>
      <p:sp>
        <p:nvSpPr>
          <p:cNvPr id="19" name="Rectangle 18">
            <a:extLst>
              <a:ext uri="{FF2B5EF4-FFF2-40B4-BE49-F238E27FC236}">
                <a16:creationId xmlns:a16="http://schemas.microsoft.com/office/drawing/2014/main" id="{A83E7845-F5A4-435F-A034-85FE37A0D924}"/>
              </a:ext>
            </a:extLst>
          </p:cNvPr>
          <p:cNvSpPr/>
          <p:nvPr/>
        </p:nvSpPr>
        <p:spPr>
          <a:xfrm>
            <a:off x="2073098" y="5211342"/>
            <a:ext cx="9590901" cy="1170408"/>
          </a:xfrm>
          <a:prstGeom prst="rect">
            <a:avLst/>
          </a:prstGeom>
          <a:ln w="12700">
            <a:solidFill>
              <a:schemeClr val="accent4"/>
            </a:solidFill>
          </a:ln>
        </p:spPr>
        <p:txBody>
          <a:bodyPr wrap="square" lIns="162000" tIns="54000" rIns="72000" bIns="54000" anchor="ctr">
            <a:noAutofit/>
          </a:bodyPr>
          <a:lstStyle/>
          <a:p>
            <a:pPr lvl="0">
              <a:lnSpc>
                <a:spcPct val="110000"/>
              </a:lnSpc>
            </a:pPr>
            <a:r>
              <a:rPr lang="en-IE" sz="11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a:p>
            <a:pPr lvl="0">
              <a:lnSpc>
                <a:spcPct val="110000"/>
              </a:lnSpc>
            </a:pPr>
            <a:r>
              <a:rPr lang="en-IE" sz="1100" dirty="0">
                <a:solidFill>
                  <a:prstClr val="black"/>
                </a:solidFill>
                <a:ea typeface="Open Sans Light" panose="020B0306030504020204" pitchFamily="34" charset="0"/>
                <a:cs typeface="Open Sans Light" panose="020B0306030504020204" pitchFamily="34" charset="0"/>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e is just text to show where you could insert text. This is dummy text it is not here to be read. </a:t>
            </a:r>
          </a:p>
        </p:txBody>
      </p:sp>
      <p:sp>
        <p:nvSpPr>
          <p:cNvPr id="20" name="Oval 19">
            <a:extLst>
              <a:ext uri="{FF2B5EF4-FFF2-40B4-BE49-F238E27FC236}">
                <a16:creationId xmlns:a16="http://schemas.microsoft.com/office/drawing/2014/main" id="{A6783977-F4C9-4789-B6EB-03F2478728D2}"/>
              </a:ext>
            </a:extLst>
          </p:cNvPr>
          <p:cNvSpPr/>
          <p:nvPr/>
        </p:nvSpPr>
        <p:spPr bwMode="gray">
          <a:xfrm>
            <a:off x="1562778" y="5491989"/>
            <a:ext cx="548640" cy="548640"/>
          </a:xfrm>
          <a:prstGeom prst="ellipse">
            <a:avLst/>
          </a:prstGeom>
          <a:solidFill>
            <a:schemeClr val="accent4"/>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3</a:t>
            </a:r>
          </a:p>
        </p:txBody>
      </p:sp>
      <p:sp>
        <p:nvSpPr>
          <p:cNvPr id="21" name="Rectangle 20">
            <a:extLst>
              <a:ext uri="{FF2B5EF4-FFF2-40B4-BE49-F238E27FC236}">
                <a16:creationId xmlns:a16="http://schemas.microsoft.com/office/drawing/2014/main" id="{A7404E68-8F6E-4415-B6E0-2E21A5998844}"/>
              </a:ext>
            </a:extLst>
          </p:cNvPr>
          <p:cNvSpPr/>
          <p:nvPr/>
        </p:nvSpPr>
        <p:spPr>
          <a:xfrm>
            <a:off x="2073098" y="3586799"/>
            <a:ext cx="9590901" cy="1265658"/>
          </a:xfrm>
          <a:prstGeom prst="rect">
            <a:avLst/>
          </a:prstGeom>
          <a:ln w="12700">
            <a:solidFill>
              <a:schemeClr val="accent3"/>
            </a:solidFill>
          </a:ln>
        </p:spPr>
        <p:txBody>
          <a:bodyPr wrap="square" lIns="162000" tIns="54000" rIns="72000" bIns="54000" anchor="ctr">
            <a:noAutofit/>
          </a:bodyPr>
          <a:lstStyle/>
          <a:p>
            <a:pPr lvl="0">
              <a:lnSpc>
                <a:spcPct val="110000"/>
              </a:lnSpc>
            </a:pPr>
            <a:r>
              <a:rPr lang="en-IE" sz="11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a:p>
            <a:pPr lvl="0">
              <a:lnSpc>
                <a:spcPct val="110000"/>
              </a:lnSpc>
            </a:pPr>
            <a:r>
              <a:rPr lang="en-IE" sz="1100" dirty="0">
                <a:solidFill>
                  <a:prstClr val="black"/>
                </a:solidFill>
                <a:ea typeface="Open Sans Light" panose="020B0306030504020204" pitchFamily="34" charset="0"/>
                <a:cs typeface="Open Sans Light" panose="020B0306030504020204" pitchFamily="34" charset="0"/>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e is just text to show where you could insert text. This is dummy text it is not here to be read. </a:t>
            </a:r>
          </a:p>
        </p:txBody>
      </p:sp>
      <p:sp>
        <p:nvSpPr>
          <p:cNvPr id="22" name="Oval 21">
            <a:extLst>
              <a:ext uri="{FF2B5EF4-FFF2-40B4-BE49-F238E27FC236}">
                <a16:creationId xmlns:a16="http://schemas.microsoft.com/office/drawing/2014/main" id="{7BB796F0-2DE6-45B1-851B-D8991F423CF4}"/>
              </a:ext>
            </a:extLst>
          </p:cNvPr>
          <p:cNvSpPr/>
          <p:nvPr/>
        </p:nvSpPr>
        <p:spPr bwMode="gray">
          <a:xfrm>
            <a:off x="1562778" y="3865580"/>
            <a:ext cx="548640" cy="548640"/>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2</a:t>
            </a:r>
          </a:p>
        </p:txBody>
      </p:sp>
      <p:sp>
        <p:nvSpPr>
          <p:cNvPr id="23" name="Rectangle 22">
            <a:extLst>
              <a:ext uri="{FF2B5EF4-FFF2-40B4-BE49-F238E27FC236}">
                <a16:creationId xmlns:a16="http://schemas.microsoft.com/office/drawing/2014/main" id="{4CD23CFE-3F31-4BA9-B26F-B9B5B351518E}"/>
              </a:ext>
            </a:extLst>
          </p:cNvPr>
          <p:cNvSpPr/>
          <p:nvPr/>
        </p:nvSpPr>
        <p:spPr>
          <a:xfrm>
            <a:off x="2073098" y="1875264"/>
            <a:ext cx="9590901" cy="1415626"/>
          </a:xfrm>
          <a:prstGeom prst="rect">
            <a:avLst/>
          </a:prstGeom>
          <a:ln w="12700">
            <a:solidFill>
              <a:schemeClr val="accent2"/>
            </a:solidFill>
          </a:ln>
        </p:spPr>
        <p:txBody>
          <a:bodyPr wrap="square" lIns="162000" tIns="54000" rIns="72000" bIns="54000" anchor="ctr">
            <a:noAutofit/>
          </a:bodyPr>
          <a:lstStyle/>
          <a:p>
            <a:pPr lvl="0">
              <a:lnSpc>
                <a:spcPct val="110000"/>
              </a:lnSpc>
            </a:pPr>
            <a:r>
              <a:rPr lang="en-IE" sz="11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a:p>
            <a:pPr lvl="0">
              <a:lnSpc>
                <a:spcPct val="110000"/>
              </a:lnSpc>
            </a:pPr>
            <a:r>
              <a:rPr lang="en-IE" sz="1100" dirty="0">
                <a:solidFill>
                  <a:prstClr val="black"/>
                </a:solidFill>
                <a:ea typeface="Open Sans Light" panose="020B0306030504020204" pitchFamily="34" charset="0"/>
                <a:cs typeface="Open Sans Light" panose="020B0306030504020204" pitchFamily="34" charset="0"/>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The is just text to show where you could insert text. The is just text to show where you could insert text. This is dummy text it is not here to be read. This is dummy text it is not here to be read. The is just text to show where you could insert text. This is dummy text it is not here to be read. This is dummy text it is not here to be read. </a:t>
            </a:r>
          </a:p>
        </p:txBody>
      </p:sp>
      <p:sp>
        <p:nvSpPr>
          <p:cNvPr id="24" name="Oval 23">
            <a:extLst>
              <a:ext uri="{FF2B5EF4-FFF2-40B4-BE49-F238E27FC236}">
                <a16:creationId xmlns:a16="http://schemas.microsoft.com/office/drawing/2014/main" id="{4F0DE697-EE87-4D12-9875-D2453715F08D}"/>
              </a:ext>
            </a:extLst>
          </p:cNvPr>
          <p:cNvSpPr/>
          <p:nvPr/>
        </p:nvSpPr>
        <p:spPr bwMode="gray">
          <a:xfrm>
            <a:off x="1562778" y="2240177"/>
            <a:ext cx="548640" cy="548640"/>
          </a:xfrm>
          <a:prstGeom prst="ellipse">
            <a:avLst/>
          </a:prstGeom>
          <a:solidFill>
            <a:schemeClr val="accent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1</a:t>
            </a:r>
          </a:p>
        </p:txBody>
      </p:sp>
      <p:grpSp>
        <p:nvGrpSpPr>
          <p:cNvPr id="25" name="Group 360">
            <a:extLst>
              <a:ext uri="{FF2B5EF4-FFF2-40B4-BE49-F238E27FC236}">
                <a16:creationId xmlns:a16="http://schemas.microsoft.com/office/drawing/2014/main" id="{7B424503-728B-4986-8C7A-8D08147061B7}"/>
              </a:ext>
            </a:extLst>
          </p:cNvPr>
          <p:cNvGrpSpPr>
            <a:grpSpLocks/>
          </p:cNvGrpSpPr>
          <p:nvPr/>
        </p:nvGrpSpPr>
        <p:grpSpPr bwMode="auto">
          <a:xfrm>
            <a:off x="642900" y="1105758"/>
            <a:ext cx="640080" cy="640080"/>
            <a:chOff x="1935" y="1199"/>
            <a:chExt cx="341" cy="340"/>
          </a:xfrm>
          <a:solidFill>
            <a:schemeClr val="accent1"/>
          </a:solidFill>
        </p:grpSpPr>
        <p:sp>
          <p:nvSpPr>
            <p:cNvPr id="26" name="Freeform 361">
              <a:extLst>
                <a:ext uri="{FF2B5EF4-FFF2-40B4-BE49-F238E27FC236}">
                  <a16:creationId xmlns:a16="http://schemas.microsoft.com/office/drawing/2014/main" id="{0F846FC7-9C27-471C-904D-89B1E2A18DE0}"/>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Freeform 362">
              <a:extLst>
                <a:ext uri="{FF2B5EF4-FFF2-40B4-BE49-F238E27FC236}">
                  <a16:creationId xmlns:a16="http://schemas.microsoft.com/office/drawing/2014/main" id="{438EB8D5-E794-49A3-96B0-835483DB8565}"/>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28" name="Rectangle 27">
            <a:extLst>
              <a:ext uri="{FF2B5EF4-FFF2-40B4-BE49-F238E27FC236}">
                <a16:creationId xmlns:a16="http://schemas.microsoft.com/office/drawing/2014/main" id="{9B9B23AA-050D-4543-80A0-873FE31AFFF7}"/>
              </a:ext>
            </a:extLst>
          </p:cNvPr>
          <p:cNvSpPr/>
          <p:nvPr/>
        </p:nvSpPr>
        <p:spPr>
          <a:xfrm>
            <a:off x="1562778" y="1383772"/>
            <a:ext cx="5748535" cy="209032"/>
          </a:xfrm>
          <a:prstGeom prst="rect">
            <a:avLst/>
          </a:prstGeom>
        </p:spPr>
        <p:txBody>
          <a:bodyPr wrap="square" lIns="0" tIns="0" rIns="0" bIns="0">
            <a:spAutoFit/>
          </a:bodyPr>
          <a:lstStyle/>
          <a:p>
            <a:pPr lvl="0">
              <a:lnSpc>
                <a:spcPct val="110000"/>
              </a:lnSpc>
            </a:pPr>
            <a:r>
              <a:rPr lang="en-IE" sz="1300" b="1" dirty="0">
                <a:solidFill>
                  <a:prstClr val="black"/>
                </a:solidFill>
                <a:latin typeface="Calibri" panose="020F0502020204030204" pitchFamily="34" charset="0"/>
                <a:ea typeface="Open Sans Semibold" panose="020B0706030804020204" pitchFamily="34" charset="0"/>
                <a:cs typeface="Calibri" panose="020F0502020204030204" pitchFamily="34" charset="0"/>
              </a:rPr>
              <a:t>Lorem ipsum </a:t>
            </a:r>
          </a:p>
        </p:txBody>
      </p:sp>
      <p:cxnSp>
        <p:nvCxnSpPr>
          <p:cNvPr id="29" name="Straight Connector 28">
            <a:extLst>
              <a:ext uri="{FF2B5EF4-FFF2-40B4-BE49-F238E27FC236}">
                <a16:creationId xmlns:a16="http://schemas.microsoft.com/office/drawing/2014/main" id="{09E553D9-3562-45A7-BE4B-0F12FAA0490F}"/>
              </a:ext>
            </a:extLst>
          </p:cNvPr>
          <p:cNvCxnSpPr>
            <a:cxnSpLocks/>
          </p:cNvCxnSpPr>
          <p:nvPr/>
        </p:nvCxnSpPr>
        <p:spPr>
          <a:xfrm>
            <a:off x="940867" y="1742955"/>
            <a:ext cx="0" cy="410121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A735D38-741F-4EFB-826C-6F87FD459AB4}"/>
              </a:ext>
            </a:extLst>
          </p:cNvPr>
          <p:cNvCxnSpPr/>
          <p:nvPr/>
        </p:nvCxnSpPr>
        <p:spPr>
          <a:xfrm>
            <a:off x="940867" y="2585357"/>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BCFE36B-AE16-49E8-90A6-6621A0EB0473}"/>
              </a:ext>
            </a:extLst>
          </p:cNvPr>
          <p:cNvCxnSpPr/>
          <p:nvPr/>
        </p:nvCxnSpPr>
        <p:spPr>
          <a:xfrm>
            <a:off x="940867" y="4201825"/>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697F6E2-C26B-4E5F-B7F9-95C6E9325040}"/>
              </a:ext>
            </a:extLst>
          </p:cNvPr>
          <p:cNvCxnSpPr/>
          <p:nvPr/>
        </p:nvCxnSpPr>
        <p:spPr>
          <a:xfrm>
            <a:off x="940867" y="5834889"/>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Star: 5 Points 16">
            <a:extLst>
              <a:ext uri="{FF2B5EF4-FFF2-40B4-BE49-F238E27FC236}">
                <a16:creationId xmlns:a16="http://schemas.microsoft.com/office/drawing/2014/main" id="{2270232E-5163-4B6C-B45C-47EF13B888FB}"/>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10286645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Gravitating to</a:t>
            </a:r>
            <a:endParaRPr lang="en-US" dirty="0"/>
          </a:p>
        </p:txBody>
      </p:sp>
      <p:sp>
        <p:nvSpPr>
          <p:cNvPr id="3" name="Title 2"/>
          <p:cNvSpPr>
            <a:spLocks noGrp="1"/>
          </p:cNvSpPr>
          <p:nvPr>
            <p:ph type="title"/>
          </p:nvPr>
        </p:nvSpPr>
        <p:spPr/>
        <p:txBody>
          <a:bodyPr/>
          <a:lstStyle/>
          <a:p>
            <a:r>
              <a:rPr lang="en-US"/>
              <a:t>Text blocks</a:t>
            </a:r>
            <a:endParaRPr lang="en-US" dirty="0"/>
          </a:p>
        </p:txBody>
      </p:sp>
      <p:sp>
        <p:nvSpPr>
          <p:cNvPr id="21" name="Oval 2"/>
          <p:cNvSpPr>
            <a:spLocks noChangeArrowheads="1"/>
          </p:cNvSpPr>
          <p:nvPr/>
        </p:nvSpPr>
        <p:spPr bwMode="auto">
          <a:xfrm>
            <a:off x="4991712" y="3121275"/>
            <a:ext cx="2193925" cy="1017587"/>
          </a:xfrm>
          <a:prstGeom prst="ellipse">
            <a:avLst/>
          </a:prstGeom>
          <a:solidFill>
            <a:schemeClr val="accent2"/>
          </a:solidFill>
          <a:ln w="12700">
            <a:noFill/>
            <a:round/>
            <a:headEnd/>
            <a:tailEnd/>
          </a:ln>
        </p:spPr>
        <p:txBody>
          <a:bodyPr lIns="88900" tIns="88900" rIns="88900" bIns="88900" anchor="ctr"/>
          <a:lstStyle/>
          <a:p>
            <a:pPr algn="ctr" defTabSz="954088">
              <a:lnSpc>
                <a:spcPct val="95000"/>
              </a:lnSpc>
              <a:defRPr/>
            </a:pPr>
            <a:r>
              <a:rPr lang="en-US" sz="1600" kern="0" dirty="0">
                <a:solidFill>
                  <a:schemeClr val="bg1"/>
                </a:solidFill>
                <a:latin typeface="+mj-lt"/>
                <a:ea typeface="ＭＳ Ｐゴシック" charset="-128"/>
              </a:rPr>
              <a:t>It all comes </a:t>
            </a:r>
          </a:p>
          <a:p>
            <a:pPr algn="ctr" defTabSz="954088">
              <a:lnSpc>
                <a:spcPct val="95000"/>
              </a:lnSpc>
              <a:defRPr/>
            </a:pPr>
            <a:r>
              <a:rPr lang="en-US" sz="1600" kern="0" dirty="0">
                <a:solidFill>
                  <a:schemeClr val="bg1"/>
                </a:solidFill>
                <a:latin typeface="+mj-lt"/>
                <a:ea typeface="ＭＳ Ｐゴシック" charset="-128"/>
              </a:rPr>
              <a:t>down to this</a:t>
            </a:r>
          </a:p>
        </p:txBody>
      </p:sp>
      <p:sp>
        <p:nvSpPr>
          <p:cNvPr id="22" name="Rectangle 3"/>
          <p:cNvSpPr>
            <a:spLocks noChangeArrowheads="1"/>
          </p:cNvSpPr>
          <p:nvPr/>
        </p:nvSpPr>
        <p:spPr bwMode="auto">
          <a:xfrm>
            <a:off x="5082833" y="5105648"/>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3" name="Rectangle 4"/>
          <p:cNvSpPr>
            <a:spLocks noChangeArrowheads="1"/>
          </p:cNvSpPr>
          <p:nvPr/>
        </p:nvSpPr>
        <p:spPr bwMode="auto">
          <a:xfrm>
            <a:off x="7820857" y="2208143"/>
            <a:ext cx="2011680" cy="731520"/>
          </a:xfrm>
          <a:prstGeom prst="rect">
            <a:avLst/>
          </a:prstGeom>
          <a:solidFill>
            <a:schemeClr val="tx1"/>
          </a:solidFill>
          <a:ln w="19050" algn="ctr">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4" name="Rectangle 5"/>
          <p:cNvSpPr>
            <a:spLocks noChangeArrowheads="1"/>
          </p:cNvSpPr>
          <p:nvPr/>
        </p:nvSpPr>
        <p:spPr bwMode="auto">
          <a:xfrm>
            <a:off x="7803935" y="3267324"/>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5" name="Rectangle 6"/>
          <p:cNvSpPr>
            <a:spLocks noChangeArrowheads="1"/>
          </p:cNvSpPr>
          <p:nvPr/>
        </p:nvSpPr>
        <p:spPr bwMode="auto">
          <a:xfrm>
            <a:off x="2361985" y="4445249"/>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6" name="Rectangle 7"/>
          <p:cNvSpPr>
            <a:spLocks noChangeArrowheads="1"/>
          </p:cNvSpPr>
          <p:nvPr/>
        </p:nvSpPr>
        <p:spPr bwMode="auto">
          <a:xfrm>
            <a:off x="7803935" y="4445249"/>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7" name="Rectangle 8"/>
          <p:cNvSpPr>
            <a:spLocks noChangeArrowheads="1"/>
          </p:cNvSpPr>
          <p:nvPr/>
        </p:nvSpPr>
        <p:spPr bwMode="auto">
          <a:xfrm>
            <a:off x="5082833" y="1424236"/>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8" name="Rectangle 9"/>
          <p:cNvSpPr>
            <a:spLocks noChangeArrowheads="1"/>
          </p:cNvSpPr>
          <p:nvPr/>
        </p:nvSpPr>
        <p:spPr bwMode="auto">
          <a:xfrm>
            <a:off x="2361985" y="3267324"/>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9" name="Rectangle 10"/>
          <p:cNvSpPr>
            <a:spLocks noChangeArrowheads="1"/>
          </p:cNvSpPr>
          <p:nvPr/>
        </p:nvSpPr>
        <p:spPr bwMode="auto">
          <a:xfrm>
            <a:off x="2361985" y="2162423"/>
            <a:ext cx="2011680" cy="731520"/>
          </a:xfrm>
          <a:prstGeom prst="rect">
            <a:avLst/>
          </a:prstGeom>
          <a:solidFill>
            <a:schemeClr val="tx1"/>
          </a:solidFill>
          <a:ln w="19050">
            <a:no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cxnSp>
        <p:nvCxnSpPr>
          <p:cNvPr id="30" name="AutoShape 11"/>
          <p:cNvCxnSpPr>
            <a:cxnSpLocks noChangeShapeType="1"/>
            <a:stCxn id="29" idx="3"/>
            <a:endCxn id="21" idx="1"/>
          </p:cNvCxnSpPr>
          <p:nvPr/>
        </p:nvCxnSpPr>
        <p:spPr bwMode="auto">
          <a:xfrm>
            <a:off x="4373666" y="2528184"/>
            <a:ext cx="939339" cy="742113"/>
          </a:xfrm>
          <a:prstGeom prst="curvedConnector2">
            <a:avLst/>
          </a:prstGeom>
          <a:noFill/>
          <a:ln w="6350">
            <a:solidFill>
              <a:srgbClr val="BBBCBC"/>
            </a:solidFill>
            <a:round/>
            <a:headEnd/>
            <a:tailEnd type="triangle" w="med" len="med"/>
          </a:ln>
        </p:spPr>
      </p:cxnSp>
      <p:cxnSp>
        <p:nvCxnSpPr>
          <p:cNvPr id="31" name="AutoShape 12"/>
          <p:cNvCxnSpPr>
            <a:cxnSpLocks noChangeShapeType="1"/>
            <a:stCxn id="25" idx="3"/>
            <a:endCxn id="21" idx="3"/>
          </p:cNvCxnSpPr>
          <p:nvPr/>
        </p:nvCxnSpPr>
        <p:spPr bwMode="auto">
          <a:xfrm flipV="1">
            <a:off x="4373666" y="3989839"/>
            <a:ext cx="939339" cy="821170"/>
          </a:xfrm>
          <a:prstGeom prst="curvedConnector2">
            <a:avLst/>
          </a:prstGeom>
          <a:noFill/>
          <a:ln w="6350">
            <a:solidFill>
              <a:srgbClr val="BBBCBC"/>
            </a:solidFill>
            <a:round/>
            <a:headEnd/>
            <a:tailEnd type="triangle" w="med" len="med"/>
          </a:ln>
        </p:spPr>
      </p:cxnSp>
      <p:cxnSp>
        <p:nvCxnSpPr>
          <p:cNvPr id="32" name="AutoShape 13"/>
          <p:cNvCxnSpPr>
            <a:cxnSpLocks noChangeShapeType="1"/>
            <a:stCxn id="26" idx="1"/>
            <a:endCxn id="21" idx="5"/>
          </p:cNvCxnSpPr>
          <p:nvPr/>
        </p:nvCxnSpPr>
        <p:spPr bwMode="auto">
          <a:xfrm rot="10800000">
            <a:off x="6864343" y="3989839"/>
            <a:ext cx="939592" cy="821170"/>
          </a:xfrm>
          <a:prstGeom prst="curvedConnector2">
            <a:avLst/>
          </a:prstGeom>
          <a:noFill/>
          <a:ln w="6350">
            <a:solidFill>
              <a:srgbClr val="BBBCBC"/>
            </a:solidFill>
            <a:round/>
            <a:headEnd/>
            <a:tailEnd type="triangle" w="med" len="med"/>
          </a:ln>
        </p:spPr>
      </p:cxnSp>
      <p:cxnSp>
        <p:nvCxnSpPr>
          <p:cNvPr id="33" name="AutoShape 14"/>
          <p:cNvCxnSpPr>
            <a:cxnSpLocks noChangeShapeType="1"/>
            <a:stCxn id="23" idx="1"/>
            <a:endCxn id="21" idx="7"/>
          </p:cNvCxnSpPr>
          <p:nvPr/>
        </p:nvCxnSpPr>
        <p:spPr bwMode="auto">
          <a:xfrm rot="10800000" flipV="1">
            <a:off x="6864345" y="2573903"/>
            <a:ext cx="956513" cy="696394"/>
          </a:xfrm>
          <a:prstGeom prst="curvedConnector2">
            <a:avLst/>
          </a:prstGeom>
          <a:noFill/>
          <a:ln w="6350">
            <a:solidFill>
              <a:srgbClr val="BBBCBC"/>
            </a:solidFill>
            <a:round/>
            <a:headEnd/>
            <a:tailEnd type="triangle" w="med" len="med"/>
          </a:ln>
        </p:spPr>
      </p:cxnSp>
      <p:cxnSp>
        <p:nvCxnSpPr>
          <p:cNvPr id="34" name="AutoShape 15"/>
          <p:cNvCxnSpPr>
            <a:cxnSpLocks noChangeShapeType="1"/>
            <a:stCxn id="27" idx="2"/>
            <a:endCxn id="21" idx="0"/>
          </p:cNvCxnSpPr>
          <p:nvPr/>
        </p:nvCxnSpPr>
        <p:spPr bwMode="auto">
          <a:xfrm>
            <a:off x="6088674" y="2155756"/>
            <a:ext cx="1" cy="965518"/>
          </a:xfrm>
          <a:prstGeom prst="straightConnector1">
            <a:avLst/>
          </a:prstGeom>
          <a:noFill/>
          <a:ln w="6350">
            <a:solidFill>
              <a:srgbClr val="BBBCBC"/>
            </a:solidFill>
            <a:round/>
            <a:headEnd/>
            <a:tailEnd type="triangle" w="med" len="med"/>
          </a:ln>
        </p:spPr>
      </p:cxnSp>
      <p:cxnSp>
        <p:nvCxnSpPr>
          <p:cNvPr id="35" name="AutoShape 16"/>
          <p:cNvCxnSpPr>
            <a:cxnSpLocks noChangeShapeType="1"/>
            <a:stCxn id="22" idx="0"/>
            <a:endCxn id="21" idx="4"/>
          </p:cNvCxnSpPr>
          <p:nvPr/>
        </p:nvCxnSpPr>
        <p:spPr bwMode="auto">
          <a:xfrm flipV="1">
            <a:off x="6088674" y="4138862"/>
            <a:ext cx="1" cy="966787"/>
          </a:xfrm>
          <a:prstGeom prst="straightConnector1">
            <a:avLst/>
          </a:prstGeom>
          <a:noFill/>
          <a:ln w="6350">
            <a:solidFill>
              <a:srgbClr val="BBBCBC"/>
            </a:solidFill>
            <a:round/>
            <a:headEnd/>
            <a:tailEnd type="triangle" w="med" len="med"/>
          </a:ln>
        </p:spPr>
      </p:cxnSp>
      <p:cxnSp>
        <p:nvCxnSpPr>
          <p:cNvPr id="36" name="AutoShape 17"/>
          <p:cNvCxnSpPr>
            <a:cxnSpLocks noChangeShapeType="1"/>
            <a:stCxn id="28" idx="3"/>
            <a:endCxn id="21" idx="2"/>
          </p:cNvCxnSpPr>
          <p:nvPr/>
        </p:nvCxnSpPr>
        <p:spPr bwMode="auto">
          <a:xfrm flipV="1">
            <a:off x="4373665" y="3630068"/>
            <a:ext cx="618046" cy="3016"/>
          </a:xfrm>
          <a:prstGeom prst="straightConnector1">
            <a:avLst/>
          </a:prstGeom>
          <a:noFill/>
          <a:ln w="6350">
            <a:solidFill>
              <a:srgbClr val="BBBCBC"/>
            </a:solidFill>
            <a:round/>
            <a:headEnd/>
            <a:tailEnd type="triangle" w="med" len="med"/>
          </a:ln>
        </p:spPr>
      </p:cxnSp>
      <p:cxnSp>
        <p:nvCxnSpPr>
          <p:cNvPr id="37" name="AutoShape 18"/>
          <p:cNvCxnSpPr>
            <a:cxnSpLocks noChangeShapeType="1"/>
            <a:stCxn id="24" idx="1"/>
            <a:endCxn id="21" idx="6"/>
          </p:cNvCxnSpPr>
          <p:nvPr/>
        </p:nvCxnSpPr>
        <p:spPr bwMode="auto">
          <a:xfrm flipH="1" flipV="1">
            <a:off x="7185637" y="3630068"/>
            <a:ext cx="618299" cy="3016"/>
          </a:xfrm>
          <a:prstGeom prst="straightConnector1">
            <a:avLst/>
          </a:prstGeom>
          <a:noFill/>
          <a:ln w="6350">
            <a:solidFill>
              <a:srgbClr val="BBBCBC"/>
            </a:solidFill>
            <a:round/>
            <a:headEnd/>
            <a:tailEnd type="triangle" w="med" len="med"/>
          </a:ln>
        </p:spPr>
      </p:cxnSp>
    </p:spTree>
    <p:extLst>
      <p:ext uri="{BB962C8B-B14F-4D97-AF65-F5344CB8AC3E}">
        <p14:creationId xmlns:p14="http://schemas.microsoft.com/office/powerpoint/2010/main" val="219433525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Gravitating to</a:t>
            </a:r>
          </a:p>
        </p:txBody>
      </p:sp>
      <p:sp>
        <p:nvSpPr>
          <p:cNvPr id="3" name="Title 2"/>
          <p:cNvSpPr>
            <a:spLocks noGrp="1"/>
          </p:cNvSpPr>
          <p:nvPr>
            <p:ph type="title"/>
          </p:nvPr>
        </p:nvSpPr>
        <p:spPr/>
        <p:txBody>
          <a:bodyPr/>
          <a:lstStyle/>
          <a:p>
            <a:r>
              <a:rPr lang="en-US"/>
              <a:t>Text blocks on solid background</a:t>
            </a:r>
            <a:endParaRPr lang="en-US" dirty="0"/>
          </a:p>
        </p:txBody>
      </p:sp>
      <p:sp>
        <p:nvSpPr>
          <p:cNvPr id="21" name="Oval 2"/>
          <p:cNvSpPr>
            <a:spLocks noChangeArrowheads="1"/>
          </p:cNvSpPr>
          <p:nvPr/>
        </p:nvSpPr>
        <p:spPr bwMode="auto">
          <a:xfrm>
            <a:off x="4991712" y="3121275"/>
            <a:ext cx="2193925" cy="1017587"/>
          </a:xfrm>
          <a:prstGeom prst="ellipse">
            <a:avLst/>
          </a:prstGeom>
          <a:solidFill>
            <a:schemeClr val="accent2"/>
          </a:solidFill>
          <a:ln w="12700">
            <a:noFill/>
            <a:round/>
            <a:headEnd/>
            <a:tailEnd/>
          </a:ln>
        </p:spPr>
        <p:txBody>
          <a:bodyPr lIns="88900" tIns="88900" rIns="88900" bIns="88900" anchor="ctr"/>
          <a:lstStyle/>
          <a:p>
            <a:pPr algn="ctr" defTabSz="954088">
              <a:lnSpc>
                <a:spcPct val="95000"/>
              </a:lnSpc>
              <a:defRPr/>
            </a:pPr>
            <a:r>
              <a:rPr lang="en-US" sz="1500" kern="0" dirty="0">
                <a:latin typeface="+mj-lt"/>
                <a:ea typeface="ＭＳ Ｐゴシック" charset="-128"/>
              </a:rPr>
              <a:t>It all comes </a:t>
            </a:r>
          </a:p>
          <a:p>
            <a:pPr algn="ctr" defTabSz="954088">
              <a:lnSpc>
                <a:spcPct val="95000"/>
              </a:lnSpc>
              <a:defRPr/>
            </a:pPr>
            <a:r>
              <a:rPr lang="en-US" sz="1500" kern="0" dirty="0">
                <a:latin typeface="+mj-lt"/>
                <a:ea typeface="ＭＳ Ｐゴシック" charset="-128"/>
              </a:rPr>
              <a:t>down to this</a:t>
            </a:r>
          </a:p>
        </p:txBody>
      </p:sp>
      <p:sp>
        <p:nvSpPr>
          <p:cNvPr id="22" name="Rectangle 3"/>
          <p:cNvSpPr>
            <a:spLocks noChangeArrowheads="1"/>
          </p:cNvSpPr>
          <p:nvPr/>
        </p:nvSpPr>
        <p:spPr bwMode="auto">
          <a:xfrm>
            <a:off x="5082833" y="5105648"/>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3" name="Rectangle 4"/>
          <p:cNvSpPr>
            <a:spLocks noChangeArrowheads="1"/>
          </p:cNvSpPr>
          <p:nvPr/>
        </p:nvSpPr>
        <p:spPr bwMode="auto">
          <a:xfrm>
            <a:off x="7820857" y="2208143"/>
            <a:ext cx="2011680" cy="731520"/>
          </a:xfrm>
          <a:prstGeom prst="rect">
            <a:avLst/>
          </a:prstGeom>
          <a:noFill/>
          <a:ln w="19050" algn="ctr">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4" name="Rectangle 5"/>
          <p:cNvSpPr>
            <a:spLocks noChangeArrowheads="1"/>
          </p:cNvSpPr>
          <p:nvPr/>
        </p:nvSpPr>
        <p:spPr bwMode="auto">
          <a:xfrm>
            <a:off x="7803935" y="3267324"/>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5" name="Rectangle 6"/>
          <p:cNvSpPr>
            <a:spLocks noChangeArrowheads="1"/>
          </p:cNvSpPr>
          <p:nvPr/>
        </p:nvSpPr>
        <p:spPr bwMode="auto">
          <a:xfrm>
            <a:off x="2361985" y="4445249"/>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6" name="Rectangle 7"/>
          <p:cNvSpPr>
            <a:spLocks noChangeArrowheads="1"/>
          </p:cNvSpPr>
          <p:nvPr/>
        </p:nvSpPr>
        <p:spPr bwMode="auto">
          <a:xfrm>
            <a:off x="7803935" y="4445249"/>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7" name="Rectangle 8"/>
          <p:cNvSpPr>
            <a:spLocks noChangeArrowheads="1"/>
          </p:cNvSpPr>
          <p:nvPr/>
        </p:nvSpPr>
        <p:spPr bwMode="auto">
          <a:xfrm>
            <a:off x="5082833" y="1424236"/>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8" name="Rectangle 9"/>
          <p:cNvSpPr>
            <a:spLocks noChangeArrowheads="1"/>
          </p:cNvSpPr>
          <p:nvPr/>
        </p:nvSpPr>
        <p:spPr bwMode="auto">
          <a:xfrm>
            <a:off x="2361985" y="3267324"/>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sp>
        <p:nvSpPr>
          <p:cNvPr id="29" name="Rectangle 10"/>
          <p:cNvSpPr>
            <a:spLocks noChangeArrowheads="1"/>
          </p:cNvSpPr>
          <p:nvPr/>
        </p:nvSpPr>
        <p:spPr bwMode="auto">
          <a:xfrm>
            <a:off x="2361985" y="2162423"/>
            <a:ext cx="2011680" cy="731520"/>
          </a:xfrm>
          <a:prstGeom prst="rect">
            <a:avLst/>
          </a:prstGeom>
          <a:noFill/>
          <a:ln w="19050">
            <a:solidFill>
              <a:schemeClr val="tx1"/>
            </a:solidFill>
            <a:miter lim="800000"/>
            <a:headEnd/>
            <a:tailEnd/>
          </a:ln>
        </p:spPr>
        <p:txBody>
          <a:bodyPr lIns="88900" tIns="88900" rIns="88900" bIns="88900" anchor="ctr"/>
          <a:lstStyle/>
          <a:p>
            <a:pPr algn="ctr" defTabSz="954088">
              <a:lnSpc>
                <a:spcPct val="95000"/>
              </a:lnSpc>
              <a:defRPr/>
            </a:pPr>
            <a:r>
              <a:rPr lang="en-US" kern="0" dirty="0">
                <a:solidFill>
                  <a:prstClr val="white"/>
                </a:solidFill>
                <a:latin typeface="+mj-lt"/>
                <a:ea typeface="ＭＳ Ｐゴシック" pitchFamily="50" charset="-128"/>
              </a:rPr>
              <a:t>Text</a:t>
            </a:r>
          </a:p>
        </p:txBody>
      </p:sp>
      <p:cxnSp>
        <p:nvCxnSpPr>
          <p:cNvPr id="30" name="AutoShape 11"/>
          <p:cNvCxnSpPr>
            <a:cxnSpLocks noChangeShapeType="1"/>
            <a:stCxn id="29" idx="3"/>
            <a:endCxn id="21" idx="1"/>
          </p:cNvCxnSpPr>
          <p:nvPr/>
        </p:nvCxnSpPr>
        <p:spPr bwMode="auto">
          <a:xfrm>
            <a:off x="4373666" y="2528184"/>
            <a:ext cx="939339" cy="742113"/>
          </a:xfrm>
          <a:prstGeom prst="curvedConnector2">
            <a:avLst/>
          </a:prstGeom>
          <a:noFill/>
          <a:ln w="6350">
            <a:solidFill>
              <a:schemeClr val="tx1"/>
            </a:solidFill>
            <a:round/>
            <a:headEnd/>
            <a:tailEnd type="triangle" w="med" len="med"/>
          </a:ln>
        </p:spPr>
      </p:cxnSp>
      <p:cxnSp>
        <p:nvCxnSpPr>
          <p:cNvPr id="31" name="AutoShape 12"/>
          <p:cNvCxnSpPr>
            <a:cxnSpLocks noChangeShapeType="1"/>
            <a:stCxn id="25" idx="3"/>
            <a:endCxn id="21" idx="3"/>
          </p:cNvCxnSpPr>
          <p:nvPr/>
        </p:nvCxnSpPr>
        <p:spPr bwMode="auto">
          <a:xfrm flipV="1">
            <a:off x="4373666" y="3989839"/>
            <a:ext cx="939339" cy="821170"/>
          </a:xfrm>
          <a:prstGeom prst="curvedConnector2">
            <a:avLst/>
          </a:prstGeom>
          <a:noFill/>
          <a:ln w="6350">
            <a:solidFill>
              <a:schemeClr val="tx1"/>
            </a:solidFill>
            <a:round/>
            <a:headEnd/>
            <a:tailEnd type="triangle" w="med" len="med"/>
          </a:ln>
        </p:spPr>
      </p:cxnSp>
      <p:cxnSp>
        <p:nvCxnSpPr>
          <p:cNvPr id="32" name="AutoShape 13"/>
          <p:cNvCxnSpPr>
            <a:cxnSpLocks noChangeShapeType="1"/>
            <a:stCxn id="26" idx="1"/>
            <a:endCxn id="21" idx="5"/>
          </p:cNvCxnSpPr>
          <p:nvPr/>
        </p:nvCxnSpPr>
        <p:spPr bwMode="auto">
          <a:xfrm rot="10800000">
            <a:off x="6864343" y="3989839"/>
            <a:ext cx="939592" cy="821170"/>
          </a:xfrm>
          <a:prstGeom prst="curvedConnector2">
            <a:avLst/>
          </a:prstGeom>
          <a:noFill/>
          <a:ln w="6350">
            <a:solidFill>
              <a:schemeClr val="tx1"/>
            </a:solidFill>
            <a:round/>
            <a:headEnd/>
            <a:tailEnd type="triangle" w="med" len="med"/>
          </a:ln>
        </p:spPr>
      </p:cxnSp>
      <p:cxnSp>
        <p:nvCxnSpPr>
          <p:cNvPr id="33" name="AutoShape 14"/>
          <p:cNvCxnSpPr>
            <a:cxnSpLocks noChangeShapeType="1"/>
            <a:stCxn id="23" idx="1"/>
            <a:endCxn id="21" idx="7"/>
          </p:cNvCxnSpPr>
          <p:nvPr/>
        </p:nvCxnSpPr>
        <p:spPr bwMode="auto">
          <a:xfrm rot="10800000" flipV="1">
            <a:off x="6864345" y="2573903"/>
            <a:ext cx="956513" cy="696394"/>
          </a:xfrm>
          <a:prstGeom prst="curvedConnector2">
            <a:avLst/>
          </a:prstGeom>
          <a:noFill/>
          <a:ln w="6350">
            <a:solidFill>
              <a:schemeClr val="tx1"/>
            </a:solidFill>
            <a:round/>
            <a:headEnd/>
            <a:tailEnd type="triangle" w="med" len="med"/>
          </a:ln>
        </p:spPr>
      </p:cxnSp>
      <p:cxnSp>
        <p:nvCxnSpPr>
          <p:cNvPr id="34" name="AutoShape 15"/>
          <p:cNvCxnSpPr>
            <a:cxnSpLocks noChangeShapeType="1"/>
            <a:stCxn id="27" idx="2"/>
            <a:endCxn id="21" idx="0"/>
          </p:cNvCxnSpPr>
          <p:nvPr/>
        </p:nvCxnSpPr>
        <p:spPr bwMode="auto">
          <a:xfrm>
            <a:off x="6088674" y="2155756"/>
            <a:ext cx="1" cy="965518"/>
          </a:xfrm>
          <a:prstGeom prst="straightConnector1">
            <a:avLst/>
          </a:prstGeom>
          <a:noFill/>
          <a:ln w="6350">
            <a:solidFill>
              <a:schemeClr val="tx1"/>
            </a:solidFill>
            <a:round/>
            <a:headEnd/>
            <a:tailEnd type="triangle" w="med" len="med"/>
          </a:ln>
        </p:spPr>
      </p:cxnSp>
      <p:cxnSp>
        <p:nvCxnSpPr>
          <p:cNvPr id="35" name="AutoShape 16"/>
          <p:cNvCxnSpPr>
            <a:cxnSpLocks noChangeShapeType="1"/>
            <a:stCxn id="22" idx="0"/>
            <a:endCxn id="21" idx="4"/>
          </p:cNvCxnSpPr>
          <p:nvPr/>
        </p:nvCxnSpPr>
        <p:spPr bwMode="auto">
          <a:xfrm flipV="1">
            <a:off x="6088674" y="4138862"/>
            <a:ext cx="1" cy="966787"/>
          </a:xfrm>
          <a:prstGeom prst="straightConnector1">
            <a:avLst/>
          </a:prstGeom>
          <a:noFill/>
          <a:ln w="6350">
            <a:solidFill>
              <a:schemeClr val="tx1"/>
            </a:solidFill>
            <a:round/>
            <a:headEnd/>
            <a:tailEnd type="triangle" w="med" len="med"/>
          </a:ln>
        </p:spPr>
      </p:cxnSp>
      <p:cxnSp>
        <p:nvCxnSpPr>
          <p:cNvPr id="36" name="AutoShape 17"/>
          <p:cNvCxnSpPr>
            <a:cxnSpLocks noChangeShapeType="1"/>
            <a:stCxn id="28" idx="3"/>
            <a:endCxn id="21" idx="2"/>
          </p:cNvCxnSpPr>
          <p:nvPr/>
        </p:nvCxnSpPr>
        <p:spPr bwMode="auto">
          <a:xfrm flipV="1">
            <a:off x="4373665" y="3630068"/>
            <a:ext cx="618046" cy="3016"/>
          </a:xfrm>
          <a:prstGeom prst="straightConnector1">
            <a:avLst/>
          </a:prstGeom>
          <a:noFill/>
          <a:ln w="6350">
            <a:solidFill>
              <a:schemeClr val="tx1"/>
            </a:solidFill>
            <a:round/>
            <a:headEnd/>
            <a:tailEnd type="triangle" w="med" len="med"/>
          </a:ln>
        </p:spPr>
      </p:cxnSp>
      <p:cxnSp>
        <p:nvCxnSpPr>
          <p:cNvPr id="37" name="AutoShape 18"/>
          <p:cNvCxnSpPr>
            <a:cxnSpLocks noChangeShapeType="1"/>
            <a:stCxn id="24" idx="1"/>
            <a:endCxn id="21" idx="6"/>
          </p:cNvCxnSpPr>
          <p:nvPr/>
        </p:nvCxnSpPr>
        <p:spPr bwMode="auto">
          <a:xfrm flipH="1" flipV="1">
            <a:off x="7185637" y="3630068"/>
            <a:ext cx="618299" cy="3016"/>
          </a:xfrm>
          <a:prstGeom prst="straightConnector1">
            <a:avLst/>
          </a:prstGeom>
          <a:noFill/>
          <a:ln w="6350">
            <a:solidFill>
              <a:schemeClr val="tx1"/>
            </a:solidFill>
            <a:round/>
            <a:headEnd/>
            <a:tailEnd type="triangle" w="med" len="med"/>
          </a:ln>
        </p:spPr>
      </p:cxnSp>
    </p:spTree>
    <p:extLst>
      <p:ext uri="{BB962C8B-B14F-4D97-AF65-F5344CB8AC3E}">
        <p14:creationId xmlns:p14="http://schemas.microsoft.com/office/powerpoint/2010/main" val="152878161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Three</a:t>
            </a:r>
            <a:endParaRPr lang="en-US" dirty="0"/>
          </a:p>
        </p:txBody>
      </p:sp>
      <p:sp>
        <p:nvSpPr>
          <p:cNvPr id="276484" name="Title 1"/>
          <p:cNvSpPr>
            <a:spLocks noGrp="1"/>
          </p:cNvSpPr>
          <p:nvPr>
            <p:ph type="title"/>
          </p:nvPr>
        </p:nvSpPr>
        <p:spPr/>
        <p:txBody>
          <a:bodyPr/>
          <a:lstStyle/>
          <a:p>
            <a:r>
              <a:rPr lang="en-US"/>
              <a:t>Steps</a:t>
            </a:r>
            <a:endParaRPr lang="en-US" dirty="0"/>
          </a:p>
        </p:txBody>
      </p:sp>
      <p:grpSp>
        <p:nvGrpSpPr>
          <p:cNvPr id="2" name="Group 1">
            <a:extLst>
              <a:ext uri="{FF2B5EF4-FFF2-40B4-BE49-F238E27FC236}">
                <a16:creationId xmlns:a16="http://schemas.microsoft.com/office/drawing/2014/main" id="{BC7DBD18-380C-4516-B921-1B01EE667F23}"/>
              </a:ext>
            </a:extLst>
          </p:cNvPr>
          <p:cNvGrpSpPr/>
          <p:nvPr/>
        </p:nvGrpSpPr>
        <p:grpSpPr>
          <a:xfrm>
            <a:off x="527999" y="2241550"/>
            <a:ext cx="11135999" cy="2792999"/>
            <a:chOff x="1900238" y="2241550"/>
            <a:chExt cx="8388350" cy="2792999"/>
          </a:xfrm>
        </p:grpSpPr>
        <p:sp>
          <p:nvSpPr>
            <p:cNvPr id="18" name="TextBox 17"/>
            <p:cNvSpPr txBox="1"/>
            <p:nvPr/>
          </p:nvSpPr>
          <p:spPr>
            <a:xfrm>
              <a:off x="2017776" y="4280496"/>
              <a:ext cx="265176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76488" name="Rectangle 3"/>
            <p:cNvSpPr>
              <a:spLocks noChangeArrowheads="1"/>
            </p:cNvSpPr>
            <p:nvPr/>
          </p:nvSpPr>
          <p:spPr bwMode="auto">
            <a:xfrm>
              <a:off x="2017776" y="3975101"/>
              <a:ext cx="265176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1</a:t>
              </a:r>
            </a:p>
          </p:txBody>
        </p:sp>
        <p:sp>
          <p:nvSpPr>
            <p:cNvPr id="276489" name="Rectangle 4"/>
            <p:cNvSpPr>
              <a:spLocks noChangeArrowheads="1"/>
            </p:cNvSpPr>
            <p:nvPr/>
          </p:nvSpPr>
          <p:spPr bwMode="auto">
            <a:xfrm>
              <a:off x="4813300" y="3167064"/>
              <a:ext cx="265176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2</a:t>
              </a:r>
            </a:p>
          </p:txBody>
        </p:sp>
        <p:sp>
          <p:nvSpPr>
            <p:cNvPr id="6" name="Freeform 5"/>
            <p:cNvSpPr>
              <a:spLocks/>
            </p:cNvSpPr>
            <p:nvPr/>
          </p:nvSpPr>
          <p:spPr bwMode="auto">
            <a:xfrm>
              <a:off x="1900238" y="2241550"/>
              <a:ext cx="8388350" cy="2433638"/>
            </a:xfrm>
            <a:custGeom>
              <a:avLst/>
              <a:gdLst>
                <a:gd name="T0" fmla="*/ 0 w 5281"/>
                <a:gd name="T1" fmla="*/ 2147483647 h 1635"/>
                <a:gd name="T2" fmla="*/ 0 w 5281"/>
                <a:gd name="T3" fmla="*/ 2147483647 h 1635"/>
                <a:gd name="T4" fmla="*/ 2147483647 w 5281"/>
                <a:gd name="T5" fmla="*/ 2147483647 h 1635"/>
                <a:gd name="T6" fmla="*/ 2147483647 w 5281"/>
                <a:gd name="T7" fmla="*/ 2147483647 h 1635"/>
                <a:gd name="T8" fmla="*/ 2147483647 w 5281"/>
                <a:gd name="T9" fmla="*/ 2147483647 h 1635"/>
                <a:gd name="T10" fmla="*/ 2147483647 w 5281"/>
                <a:gd name="T11" fmla="*/ 0 h 1635"/>
                <a:gd name="T12" fmla="*/ 2147483647 w 5281"/>
                <a:gd name="T13" fmla="*/ 0 h 1635"/>
                <a:gd name="T14" fmla="*/ 0 60000 65536"/>
                <a:gd name="T15" fmla="*/ 0 60000 65536"/>
                <a:gd name="T16" fmla="*/ 0 60000 65536"/>
                <a:gd name="T17" fmla="*/ 0 60000 65536"/>
                <a:gd name="T18" fmla="*/ 0 60000 65536"/>
                <a:gd name="T19" fmla="*/ 0 60000 65536"/>
                <a:gd name="T20" fmla="*/ 0 60000 65536"/>
                <a:gd name="T21" fmla="*/ 0 w 5281"/>
                <a:gd name="T22" fmla="*/ 0 h 1635"/>
                <a:gd name="T23" fmla="*/ 5281 w 5281"/>
                <a:gd name="T24" fmla="*/ 1635 h 16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81" h="1635">
                  <a:moveTo>
                    <a:pt x="0" y="1634"/>
                  </a:moveTo>
                  <a:lnTo>
                    <a:pt x="0" y="1089"/>
                  </a:lnTo>
                  <a:lnTo>
                    <a:pt x="1760" y="1089"/>
                  </a:lnTo>
                  <a:lnTo>
                    <a:pt x="1760" y="544"/>
                  </a:lnTo>
                  <a:lnTo>
                    <a:pt x="3520" y="544"/>
                  </a:lnTo>
                  <a:lnTo>
                    <a:pt x="3520" y="0"/>
                  </a:lnTo>
                  <a:lnTo>
                    <a:pt x="5280"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276491" name="Text Box 6"/>
            <p:cNvSpPr txBox="1">
              <a:spLocks noChangeArrowheads="1"/>
            </p:cNvSpPr>
            <p:nvPr/>
          </p:nvSpPr>
          <p:spPr bwMode="auto">
            <a:xfrm>
              <a:off x="7616190" y="2336801"/>
              <a:ext cx="265176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3</a:t>
              </a:r>
            </a:p>
          </p:txBody>
        </p:sp>
        <p:sp>
          <p:nvSpPr>
            <p:cNvPr id="21" name="TextBox 20"/>
            <p:cNvSpPr txBox="1"/>
            <p:nvPr/>
          </p:nvSpPr>
          <p:spPr>
            <a:xfrm>
              <a:off x="4813300" y="3465830"/>
              <a:ext cx="265176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2" name="TextBox 21"/>
            <p:cNvSpPr txBox="1"/>
            <p:nvPr/>
          </p:nvSpPr>
          <p:spPr>
            <a:xfrm>
              <a:off x="7616190" y="2631603"/>
              <a:ext cx="265176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13" name="TextBox 12"/>
          <p:cNvSpPr txBox="1"/>
          <p:nvPr/>
        </p:nvSpPr>
        <p:spPr bwMode="gray">
          <a:xfrm>
            <a:off x="528000" y="1710507"/>
            <a:ext cx="8348472" cy="200055"/>
          </a:xfrm>
          <a:prstGeom prst="rect">
            <a:avLst/>
          </a:prstGeom>
          <a:noFill/>
        </p:spPr>
        <p:txBody>
          <a:bodyPr wrap="square" lIns="0" tIns="0" rIns="0" bIns="0" rtlCol="0">
            <a:noAutofit/>
          </a:bodyPr>
          <a:lstStyle/>
          <a:p>
            <a:r>
              <a:rPr lang="en-US" sz="1300" dirty="0"/>
              <a:t>Title runs here</a:t>
            </a:r>
          </a:p>
        </p:txBody>
      </p:sp>
    </p:spTree>
    <p:extLst>
      <p:ext uri="{BB962C8B-B14F-4D97-AF65-F5344CB8AC3E}">
        <p14:creationId xmlns:p14="http://schemas.microsoft.com/office/powerpoint/2010/main" val="275743021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Four</a:t>
            </a:r>
          </a:p>
        </p:txBody>
      </p:sp>
      <p:sp>
        <p:nvSpPr>
          <p:cNvPr id="277507" name="Title 1"/>
          <p:cNvSpPr>
            <a:spLocks noGrp="1"/>
          </p:cNvSpPr>
          <p:nvPr>
            <p:ph type="title"/>
          </p:nvPr>
        </p:nvSpPr>
        <p:spPr/>
        <p:txBody>
          <a:bodyPr/>
          <a:lstStyle/>
          <a:p>
            <a:r>
              <a:rPr lang="en-US" dirty="0"/>
              <a:t>Steps </a:t>
            </a:r>
          </a:p>
        </p:txBody>
      </p:sp>
      <p:grpSp>
        <p:nvGrpSpPr>
          <p:cNvPr id="2" name="Group 1">
            <a:extLst>
              <a:ext uri="{FF2B5EF4-FFF2-40B4-BE49-F238E27FC236}">
                <a16:creationId xmlns:a16="http://schemas.microsoft.com/office/drawing/2014/main" id="{EB5A7843-ADAC-4C3D-8FEA-C7D1E4FBE6D6}"/>
              </a:ext>
            </a:extLst>
          </p:cNvPr>
          <p:cNvGrpSpPr/>
          <p:nvPr/>
        </p:nvGrpSpPr>
        <p:grpSpPr>
          <a:xfrm>
            <a:off x="501650" y="2241550"/>
            <a:ext cx="11248664" cy="3111926"/>
            <a:chOff x="1900238" y="2241550"/>
            <a:chExt cx="8434070" cy="3111926"/>
          </a:xfrm>
        </p:grpSpPr>
        <p:sp>
          <p:nvSpPr>
            <p:cNvPr id="277513" name="Rectangle 3"/>
            <p:cNvSpPr>
              <a:spLocks noChangeArrowheads="1"/>
            </p:cNvSpPr>
            <p:nvPr/>
          </p:nvSpPr>
          <p:spPr bwMode="auto">
            <a:xfrm>
              <a:off x="2017776" y="4103688"/>
              <a:ext cx="20116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1</a:t>
              </a:r>
            </a:p>
          </p:txBody>
        </p:sp>
        <p:sp>
          <p:nvSpPr>
            <p:cNvPr id="277514" name="Rectangle 4"/>
            <p:cNvSpPr>
              <a:spLocks noChangeArrowheads="1"/>
            </p:cNvSpPr>
            <p:nvPr/>
          </p:nvSpPr>
          <p:spPr bwMode="auto">
            <a:xfrm>
              <a:off x="4122420" y="3509963"/>
              <a:ext cx="20116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2</a:t>
              </a:r>
            </a:p>
          </p:txBody>
        </p:sp>
        <p:sp>
          <p:nvSpPr>
            <p:cNvPr id="277515" name="Rectangle 5"/>
            <p:cNvSpPr>
              <a:spLocks noChangeArrowheads="1"/>
            </p:cNvSpPr>
            <p:nvPr/>
          </p:nvSpPr>
          <p:spPr bwMode="auto">
            <a:xfrm>
              <a:off x="6228080" y="2919412"/>
              <a:ext cx="20116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3</a:t>
              </a:r>
            </a:p>
          </p:txBody>
        </p:sp>
        <p:sp>
          <p:nvSpPr>
            <p:cNvPr id="277516" name="Rectangle 6"/>
            <p:cNvSpPr>
              <a:spLocks noChangeArrowheads="1"/>
            </p:cNvSpPr>
            <p:nvPr/>
          </p:nvSpPr>
          <p:spPr bwMode="auto">
            <a:xfrm>
              <a:off x="8322628" y="2325688"/>
              <a:ext cx="20116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4</a:t>
              </a:r>
            </a:p>
          </p:txBody>
        </p:sp>
        <p:sp>
          <p:nvSpPr>
            <p:cNvPr id="45" name="Freeform 7"/>
            <p:cNvSpPr>
              <a:spLocks/>
            </p:cNvSpPr>
            <p:nvPr/>
          </p:nvSpPr>
          <p:spPr bwMode="auto">
            <a:xfrm>
              <a:off x="1900238" y="2241550"/>
              <a:ext cx="8388350" cy="2373312"/>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9525" cap="rnd">
              <a:solidFill>
                <a:schemeClr val="accent1"/>
              </a:solidFill>
              <a:round/>
              <a:headEnd type="none" w="sm" len="sm"/>
              <a:tailEnd type="none" w="sm" len="sm"/>
            </a:ln>
          </p:spPr>
          <p:txBody>
            <a:bodyPr/>
            <a:lstStyle/>
            <a:p>
              <a:pPr>
                <a:defRPr/>
              </a:pPr>
              <a:endParaRPr lang="en-US" sz="1300" dirty="0"/>
            </a:p>
          </p:txBody>
        </p:sp>
        <p:sp>
          <p:nvSpPr>
            <p:cNvPr id="25" name="TextBox 24"/>
            <p:cNvSpPr txBox="1"/>
            <p:nvPr/>
          </p:nvSpPr>
          <p:spPr>
            <a:xfrm>
              <a:off x="2017776" y="4399369"/>
              <a:ext cx="20116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6" name="TextBox 25"/>
            <p:cNvSpPr txBox="1"/>
            <p:nvPr/>
          </p:nvSpPr>
          <p:spPr>
            <a:xfrm>
              <a:off x="4122420" y="3796690"/>
              <a:ext cx="20116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7" name="TextBox 26"/>
            <p:cNvSpPr txBox="1"/>
            <p:nvPr/>
          </p:nvSpPr>
          <p:spPr>
            <a:xfrm>
              <a:off x="6228080" y="3210712"/>
              <a:ext cx="20116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28" name="TextBox 27"/>
            <p:cNvSpPr txBox="1"/>
            <p:nvPr/>
          </p:nvSpPr>
          <p:spPr>
            <a:xfrm>
              <a:off x="8322628" y="2627782"/>
              <a:ext cx="20116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15" name="TextBox 14"/>
          <p:cNvSpPr txBox="1"/>
          <p:nvPr/>
        </p:nvSpPr>
        <p:spPr bwMode="gray">
          <a:xfrm>
            <a:off x="50165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82202737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dirty="0"/>
              <a:t>Five</a:t>
            </a:r>
          </a:p>
        </p:txBody>
      </p:sp>
      <p:sp>
        <p:nvSpPr>
          <p:cNvPr id="801793" name="Title 1"/>
          <p:cNvSpPr>
            <a:spLocks noGrp="1"/>
          </p:cNvSpPr>
          <p:nvPr>
            <p:ph type="title"/>
          </p:nvPr>
        </p:nvSpPr>
        <p:spPr/>
        <p:txBody>
          <a:bodyPr/>
          <a:lstStyle/>
          <a:p>
            <a:r>
              <a:rPr lang="en-US" dirty="0"/>
              <a:t>Steps </a:t>
            </a:r>
          </a:p>
        </p:txBody>
      </p:sp>
      <p:grpSp>
        <p:nvGrpSpPr>
          <p:cNvPr id="2" name="Group 1">
            <a:extLst>
              <a:ext uri="{FF2B5EF4-FFF2-40B4-BE49-F238E27FC236}">
                <a16:creationId xmlns:a16="http://schemas.microsoft.com/office/drawing/2014/main" id="{3B837209-115C-44D4-A2E6-3A7324A940B7}"/>
              </a:ext>
            </a:extLst>
          </p:cNvPr>
          <p:cNvGrpSpPr/>
          <p:nvPr/>
        </p:nvGrpSpPr>
        <p:grpSpPr>
          <a:xfrm>
            <a:off x="501650" y="2241550"/>
            <a:ext cx="11188699" cy="3297409"/>
            <a:chOff x="1900239" y="2241550"/>
            <a:chExt cx="8394255" cy="3297409"/>
          </a:xfrm>
        </p:grpSpPr>
        <p:sp>
          <p:nvSpPr>
            <p:cNvPr id="801800" name="Rectangle 3"/>
            <p:cNvSpPr>
              <a:spLocks noChangeArrowheads="1"/>
            </p:cNvSpPr>
            <p:nvPr/>
          </p:nvSpPr>
          <p:spPr bwMode="auto">
            <a:xfrm>
              <a:off x="2014538" y="4323080"/>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1</a:t>
              </a:r>
            </a:p>
          </p:txBody>
        </p:sp>
        <p:sp>
          <p:nvSpPr>
            <p:cNvPr id="801801" name="Rectangle 4"/>
            <p:cNvSpPr>
              <a:spLocks noChangeArrowheads="1"/>
            </p:cNvSpPr>
            <p:nvPr/>
          </p:nvSpPr>
          <p:spPr bwMode="auto">
            <a:xfrm>
              <a:off x="3693986" y="3828098"/>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2</a:t>
              </a:r>
            </a:p>
          </p:txBody>
        </p:sp>
        <p:sp>
          <p:nvSpPr>
            <p:cNvPr id="27" name="Freeform 5"/>
            <p:cNvSpPr>
              <a:spLocks/>
            </p:cNvSpPr>
            <p:nvPr/>
          </p:nvSpPr>
          <p:spPr bwMode="auto">
            <a:xfrm>
              <a:off x="1900239" y="2241550"/>
              <a:ext cx="8388349" cy="2501900"/>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9525" cap="rnd">
              <a:solidFill>
                <a:schemeClr val="accent1"/>
              </a:solidFill>
              <a:round/>
              <a:headEnd type="none" w="sm" len="sm"/>
              <a:tailEnd type="none" w="sm" len="sm"/>
            </a:ln>
          </p:spPr>
          <p:txBody>
            <a:bodyPr/>
            <a:lstStyle/>
            <a:p>
              <a:pPr>
                <a:defRPr/>
              </a:pPr>
              <a:endParaRPr lang="en-US" sz="1300" dirty="0"/>
            </a:p>
          </p:txBody>
        </p:sp>
        <p:sp>
          <p:nvSpPr>
            <p:cNvPr id="801803" name="Rectangle 6"/>
            <p:cNvSpPr>
              <a:spLocks noChangeArrowheads="1"/>
            </p:cNvSpPr>
            <p:nvPr/>
          </p:nvSpPr>
          <p:spPr bwMode="auto">
            <a:xfrm>
              <a:off x="5398294" y="3323909"/>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3</a:t>
              </a:r>
            </a:p>
          </p:txBody>
        </p:sp>
        <p:sp>
          <p:nvSpPr>
            <p:cNvPr id="801804" name="Rectangle 7"/>
            <p:cNvSpPr>
              <a:spLocks noChangeArrowheads="1"/>
            </p:cNvSpPr>
            <p:nvPr/>
          </p:nvSpPr>
          <p:spPr bwMode="auto">
            <a:xfrm>
              <a:off x="7074218" y="2817814"/>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4</a:t>
              </a:r>
            </a:p>
          </p:txBody>
        </p:sp>
        <p:sp>
          <p:nvSpPr>
            <p:cNvPr id="801805" name="Rectangle 8"/>
            <p:cNvSpPr>
              <a:spLocks noChangeArrowheads="1"/>
            </p:cNvSpPr>
            <p:nvPr/>
          </p:nvSpPr>
          <p:spPr bwMode="auto">
            <a:xfrm>
              <a:off x="8740014" y="2302829"/>
              <a:ext cx="1554480"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5</a:t>
              </a:r>
            </a:p>
          </p:txBody>
        </p:sp>
        <p:sp>
          <p:nvSpPr>
            <p:cNvPr id="30" name="TextBox 29"/>
            <p:cNvSpPr txBox="1"/>
            <p:nvPr/>
          </p:nvSpPr>
          <p:spPr>
            <a:xfrm>
              <a:off x="2014538" y="4584852"/>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1" name="TextBox 30"/>
            <p:cNvSpPr txBox="1"/>
            <p:nvPr/>
          </p:nvSpPr>
          <p:spPr>
            <a:xfrm>
              <a:off x="3693986" y="4085742"/>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2" name="TextBox 31"/>
            <p:cNvSpPr txBox="1"/>
            <p:nvPr/>
          </p:nvSpPr>
          <p:spPr>
            <a:xfrm>
              <a:off x="5398294" y="3598062"/>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3" name="TextBox 32"/>
            <p:cNvSpPr txBox="1"/>
            <p:nvPr/>
          </p:nvSpPr>
          <p:spPr>
            <a:xfrm>
              <a:off x="7074218" y="3085998"/>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4" name="TextBox 33"/>
            <p:cNvSpPr txBox="1"/>
            <p:nvPr/>
          </p:nvSpPr>
          <p:spPr>
            <a:xfrm>
              <a:off x="8740014" y="2571648"/>
              <a:ext cx="155448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17" name="TextBox 16"/>
          <p:cNvSpPr txBox="1"/>
          <p:nvPr/>
        </p:nvSpPr>
        <p:spPr bwMode="gray">
          <a:xfrm>
            <a:off x="50165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134336191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ix</a:t>
            </a:r>
          </a:p>
        </p:txBody>
      </p:sp>
      <p:sp>
        <p:nvSpPr>
          <p:cNvPr id="802817" name="Title 1"/>
          <p:cNvSpPr>
            <a:spLocks noGrp="1"/>
          </p:cNvSpPr>
          <p:nvPr>
            <p:ph type="title"/>
          </p:nvPr>
        </p:nvSpPr>
        <p:spPr/>
        <p:txBody>
          <a:bodyPr/>
          <a:lstStyle/>
          <a:p>
            <a:r>
              <a:rPr lang="en-US" dirty="0"/>
              <a:t>Steps </a:t>
            </a:r>
          </a:p>
        </p:txBody>
      </p:sp>
      <p:sp>
        <p:nvSpPr>
          <p:cNvPr id="802825" name="Rectangle 3"/>
          <p:cNvSpPr>
            <a:spLocks noChangeArrowheads="1"/>
          </p:cNvSpPr>
          <p:nvPr/>
        </p:nvSpPr>
        <p:spPr bwMode="auto">
          <a:xfrm>
            <a:off x="666703" y="4638476"/>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1</a:t>
            </a:r>
          </a:p>
        </p:txBody>
      </p:sp>
      <p:sp>
        <p:nvSpPr>
          <p:cNvPr id="20" name="Freeform 4"/>
          <p:cNvSpPr>
            <a:spLocks/>
          </p:cNvSpPr>
          <p:nvPr/>
        </p:nvSpPr>
        <p:spPr bwMode="auto">
          <a:xfrm>
            <a:off x="518732" y="2056884"/>
            <a:ext cx="11171618" cy="3001962"/>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802827" name="Rectangle 5"/>
          <p:cNvSpPr>
            <a:spLocks noChangeArrowheads="1"/>
          </p:cNvSpPr>
          <p:nvPr/>
        </p:nvSpPr>
        <p:spPr bwMode="auto">
          <a:xfrm>
            <a:off x="2529654" y="4133335"/>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2</a:t>
            </a:r>
          </a:p>
        </p:txBody>
      </p:sp>
      <p:sp>
        <p:nvSpPr>
          <p:cNvPr id="802828" name="Rectangle 6"/>
          <p:cNvSpPr>
            <a:spLocks noChangeArrowheads="1"/>
          </p:cNvSpPr>
          <p:nvPr/>
        </p:nvSpPr>
        <p:spPr bwMode="auto">
          <a:xfrm>
            <a:off x="4372301" y="3618032"/>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3</a:t>
            </a:r>
          </a:p>
        </p:txBody>
      </p:sp>
      <p:sp>
        <p:nvSpPr>
          <p:cNvPr id="802829" name="Rectangle 7"/>
          <p:cNvSpPr>
            <a:spLocks noChangeArrowheads="1"/>
          </p:cNvSpPr>
          <p:nvPr/>
        </p:nvSpPr>
        <p:spPr bwMode="auto">
          <a:xfrm>
            <a:off x="6262917" y="3124320"/>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4</a:t>
            </a:r>
          </a:p>
        </p:txBody>
      </p:sp>
      <p:sp>
        <p:nvSpPr>
          <p:cNvPr id="802830" name="Rectangle 8"/>
          <p:cNvSpPr>
            <a:spLocks noChangeArrowheads="1"/>
          </p:cNvSpPr>
          <p:nvPr/>
        </p:nvSpPr>
        <p:spPr bwMode="auto">
          <a:xfrm>
            <a:off x="8118509" y="2631876"/>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5</a:t>
            </a:r>
          </a:p>
        </p:txBody>
      </p:sp>
      <p:sp>
        <p:nvSpPr>
          <p:cNvPr id="802831" name="Rectangle 9"/>
          <p:cNvSpPr>
            <a:spLocks noChangeArrowheads="1"/>
          </p:cNvSpPr>
          <p:nvPr/>
        </p:nvSpPr>
        <p:spPr bwMode="auto">
          <a:xfrm>
            <a:off x="9982476" y="2117210"/>
            <a:ext cx="1705591" cy="190052"/>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1300" b="1" dirty="0">
                <a:ea typeface="ＭＳ Ｐゴシック" charset="-128"/>
              </a:rPr>
              <a:t>Step 6</a:t>
            </a:r>
          </a:p>
        </p:txBody>
      </p:sp>
      <p:sp>
        <p:nvSpPr>
          <p:cNvPr id="37" name="TextBox 36"/>
          <p:cNvSpPr txBox="1"/>
          <p:nvPr/>
        </p:nvSpPr>
        <p:spPr>
          <a:xfrm>
            <a:off x="666703" y="4904376"/>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8" name="TextBox 37"/>
          <p:cNvSpPr txBox="1"/>
          <p:nvPr/>
        </p:nvSpPr>
        <p:spPr>
          <a:xfrm>
            <a:off x="2529654" y="4398408"/>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9" name="TextBox 38"/>
          <p:cNvSpPr txBox="1"/>
          <p:nvPr/>
        </p:nvSpPr>
        <p:spPr>
          <a:xfrm>
            <a:off x="4372301" y="3884058"/>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40" name="TextBox 39"/>
          <p:cNvSpPr txBox="1"/>
          <p:nvPr/>
        </p:nvSpPr>
        <p:spPr>
          <a:xfrm>
            <a:off x="6262917" y="3392568"/>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41" name="TextBox 40"/>
          <p:cNvSpPr txBox="1"/>
          <p:nvPr/>
        </p:nvSpPr>
        <p:spPr>
          <a:xfrm>
            <a:off x="8118509" y="2896506"/>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42" name="TextBox 41"/>
          <p:cNvSpPr txBox="1"/>
          <p:nvPr/>
        </p:nvSpPr>
        <p:spPr>
          <a:xfrm>
            <a:off x="9982476" y="2393586"/>
            <a:ext cx="1705591"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18" name="TextBox 17">
            <a:extLst>
              <a:ext uri="{FF2B5EF4-FFF2-40B4-BE49-F238E27FC236}">
                <a16:creationId xmlns:a16="http://schemas.microsoft.com/office/drawing/2014/main" id="{1CF7BD2A-6281-4E78-8761-D57A7A405237}"/>
              </a:ext>
            </a:extLst>
          </p:cNvPr>
          <p:cNvSpPr txBox="1"/>
          <p:nvPr/>
        </p:nvSpPr>
        <p:spPr bwMode="gray">
          <a:xfrm>
            <a:off x="501650" y="1710507"/>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294093691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dirty="0"/>
              <a:t>With more flights</a:t>
            </a:r>
          </a:p>
        </p:txBody>
      </p:sp>
      <p:sp>
        <p:nvSpPr>
          <p:cNvPr id="804865" name="Title 1"/>
          <p:cNvSpPr>
            <a:spLocks noGrp="1"/>
          </p:cNvSpPr>
          <p:nvPr>
            <p:ph type="title"/>
          </p:nvPr>
        </p:nvSpPr>
        <p:spPr/>
        <p:txBody>
          <a:bodyPr/>
          <a:lstStyle/>
          <a:p>
            <a:r>
              <a:rPr lang="en-US" dirty="0"/>
              <a:t>Steps</a:t>
            </a:r>
          </a:p>
        </p:txBody>
      </p:sp>
      <p:sp>
        <p:nvSpPr>
          <p:cNvPr id="4" name="Freeform 2"/>
          <p:cNvSpPr>
            <a:spLocks/>
          </p:cNvSpPr>
          <p:nvPr/>
        </p:nvSpPr>
        <p:spPr bwMode="auto">
          <a:xfrm>
            <a:off x="501650" y="1131888"/>
            <a:ext cx="11188700" cy="2373312"/>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5" name="Freeform 4"/>
          <p:cNvSpPr>
            <a:spLocks/>
          </p:cNvSpPr>
          <p:nvPr/>
        </p:nvSpPr>
        <p:spPr bwMode="auto">
          <a:xfrm>
            <a:off x="501650" y="1767665"/>
            <a:ext cx="11188700" cy="2501900"/>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6" name="Freeform 5"/>
          <p:cNvSpPr>
            <a:spLocks/>
          </p:cNvSpPr>
          <p:nvPr/>
        </p:nvSpPr>
        <p:spPr bwMode="auto">
          <a:xfrm>
            <a:off x="501650" y="2147143"/>
            <a:ext cx="11188700" cy="3001962"/>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9525" cap="rnd">
            <a:solidFill>
              <a:schemeClr val="accent1"/>
            </a:solidFill>
            <a:round/>
            <a:headEnd type="none" w="sm" len="sm"/>
            <a:tailEnd type="none" w="sm" len="sm"/>
          </a:ln>
        </p:spPr>
        <p:txBody>
          <a:bodyPr/>
          <a:lstStyle/>
          <a:p>
            <a:pPr>
              <a:defRPr/>
            </a:pPr>
            <a:endParaRPr lang="en-US" dirty="0"/>
          </a:p>
        </p:txBody>
      </p:sp>
      <p:sp>
        <p:nvSpPr>
          <p:cNvPr id="7" name="Freeform 6"/>
          <p:cNvSpPr>
            <a:spLocks/>
          </p:cNvSpPr>
          <p:nvPr/>
        </p:nvSpPr>
        <p:spPr bwMode="auto">
          <a:xfrm>
            <a:off x="501650" y="2782622"/>
            <a:ext cx="11188700" cy="3500438"/>
          </a:xfrm>
          <a:custGeom>
            <a:avLst/>
            <a:gdLst>
              <a:gd name="T0" fmla="*/ 0 w 5761"/>
              <a:gd name="T1" fmla="*/ 2147483647 h 2353"/>
              <a:gd name="T2" fmla="*/ 0 w 5761"/>
              <a:gd name="T3" fmla="*/ 2147483647 h 2353"/>
              <a:gd name="T4" fmla="*/ 2147483647 w 5761"/>
              <a:gd name="T5" fmla="*/ 2147483647 h 2353"/>
              <a:gd name="T6" fmla="*/ 2147483647 w 5761"/>
              <a:gd name="T7" fmla="*/ 2147483647 h 2353"/>
              <a:gd name="T8" fmla="*/ 2147483647 w 5761"/>
              <a:gd name="T9" fmla="*/ 2147483647 h 2353"/>
              <a:gd name="T10" fmla="*/ 2147483647 w 5761"/>
              <a:gd name="T11" fmla="*/ 2147483647 h 2353"/>
              <a:gd name="T12" fmla="*/ 2147483647 w 5761"/>
              <a:gd name="T13" fmla="*/ 2147483647 h 2353"/>
              <a:gd name="T14" fmla="*/ 2147483647 w 5761"/>
              <a:gd name="T15" fmla="*/ 2147483647 h 2353"/>
              <a:gd name="T16" fmla="*/ 2147483647 w 5761"/>
              <a:gd name="T17" fmla="*/ 2147483647 h 2353"/>
              <a:gd name="T18" fmla="*/ 2147483647 w 5761"/>
              <a:gd name="T19" fmla="*/ 2147483647 h 2353"/>
              <a:gd name="T20" fmla="*/ 2147483647 w 5761"/>
              <a:gd name="T21" fmla="*/ 2147483647 h 2353"/>
              <a:gd name="T22" fmla="*/ 2147483647 w 5761"/>
              <a:gd name="T23" fmla="*/ 2147483647 h 2353"/>
              <a:gd name="T24" fmla="*/ 2147483647 w 5761"/>
              <a:gd name="T25" fmla="*/ 2147483647 h 2353"/>
              <a:gd name="T26" fmla="*/ 2147483647 w 5761"/>
              <a:gd name="T27" fmla="*/ 0 h 2353"/>
              <a:gd name="T28" fmla="*/ 2147483647 w 5761"/>
              <a:gd name="T29" fmla="*/ 0 h 23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761"/>
              <a:gd name="T46" fmla="*/ 0 h 2353"/>
              <a:gd name="T47" fmla="*/ 5761 w 5761"/>
              <a:gd name="T48" fmla="*/ 2353 h 23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761" h="2353">
                <a:moveTo>
                  <a:pt x="0" y="2352"/>
                </a:moveTo>
                <a:lnTo>
                  <a:pt x="0" y="2016"/>
                </a:lnTo>
                <a:lnTo>
                  <a:pt x="822" y="2016"/>
                </a:lnTo>
                <a:lnTo>
                  <a:pt x="822" y="1680"/>
                </a:lnTo>
                <a:lnTo>
                  <a:pt x="1645" y="1680"/>
                </a:lnTo>
                <a:lnTo>
                  <a:pt x="1645" y="1344"/>
                </a:lnTo>
                <a:lnTo>
                  <a:pt x="2468" y="1344"/>
                </a:lnTo>
                <a:lnTo>
                  <a:pt x="2468" y="1008"/>
                </a:lnTo>
                <a:lnTo>
                  <a:pt x="3291" y="1008"/>
                </a:lnTo>
                <a:lnTo>
                  <a:pt x="3291" y="672"/>
                </a:lnTo>
                <a:lnTo>
                  <a:pt x="4114" y="672"/>
                </a:lnTo>
                <a:lnTo>
                  <a:pt x="4114" y="336"/>
                </a:lnTo>
                <a:lnTo>
                  <a:pt x="4937" y="336"/>
                </a:lnTo>
                <a:lnTo>
                  <a:pt x="4937" y="0"/>
                </a:lnTo>
                <a:lnTo>
                  <a:pt x="5760" y="0"/>
                </a:lnTo>
              </a:path>
            </a:pathLst>
          </a:custGeom>
          <a:noFill/>
          <a:ln w="9525" cap="rnd">
            <a:solidFill>
              <a:schemeClr val="accent1"/>
            </a:solidFill>
            <a:round/>
            <a:headEnd type="none" w="sm" len="sm"/>
            <a:tailEnd type="none" w="sm" len="sm"/>
          </a:ln>
        </p:spPr>
        <p:txBody>
          <a:bodyPr/>
          <a:lstStyle/>
          <a:p>
            <a:pPr>
              <a:defRPr/>
            </a:pPr>
            <a:endParaRPr lang="en-US" dirty="0"/>
          </a:p>
        </p:txBody>
      </p:sp>
    </p:spTree>
    <p:extLst>
      <p:ext uri="{BB962C8B-B14F-4D97-AF65-F5344CB8AC3E}">
        <p14:creationId xmlns:p14="http://schemas.microsoft.com/office/powerpoint/2010/main" val="15703120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Three steps</a:t>
            </a:r>
          </a:p>
        </p:txBody>
      </p:sp>
      <p:sp>
        <p:nvSpPr>
          <p:cNvPr id="278532" name="Title 1"/>
          <p:cNvSpPr>
            <a:spLocks noGrp="1"/>
          </p:cNvSpPr>
          <p:nvPr>
            <p:ph type="title"/>
          </p:nvPr>
        </p:nvSpPr>
        <p:spPr/>
        <p:txBody>
          <a:bodyPr/>
          <a:lstStyle/>
          <a:p>
            <a:r>
              <a:rPr lang="en-US" dirty="0"/>
              <a:t>Diagonal boxes </a:t>
            </a:r>
          </a:p>
        </p:txBody>
      </p:sp>
      <p:grpSp>
        <p:nvGrpSpPr>
          <p:cNvPr id="2" name="Group 1">
            <a:extLst>
              <a:ext uri="{FF2B5EF4-FFF2-40B4-BE49-F238E27FC236}">
                <a16:creationId xmlns:a16="http://schemas.microsoft.com/office/drawing/2014/main" id="{AF5B12EB-F37A-4D8C-AB9C-3B447118CED2}"/>
              </a:ext>
            </a:extLst>
          </p:cNvPr>
          <p:cNvGrpSpPr/>
          <p:nvPr/>
        </p:nvGrpSpPr>
        <p:grpSpPr>
          <a:xfrm>
            <a:off x="528000" y="1977382"/>
            <a:ext cx="11136000" cy="3256931"/>
            <a:chOff x="2340405" y="1977382"/>
            <a:chExt cx="7437008" cy="3256931"/>
          </a:xfrm>
        </p:grpSpPr>
        <p:sp>
          <p:nvSpPr>
            <p:cNvPr id="13" name="Rectangle 3"/>
            <p:cNvSpPr>
              <a:spLocks noChangeArrowheads="1"/>
            </p:cNvSpPr>
            <p:nvPr/>
          </p:nvSpPr>
          <p:spPr bwMode="auto">
            <a:xfrm>
              <a:off x="4915909" y="2833045"/>
              <a:ext cx="2286000" cy="755650"/>
            </a:xfrm>
            <a:prstGeom prst="rect">
              <a:avLst/>
            </a:prstGeom>
            <a:solidFill>
              <a:schemeClr val="accent2"/>
            </a:solidFill>
            <a:ln w="12700">
              <a:noFill/>
              <a:miter lim="800000"/>
              <a:headEnd/>
              <a:tailEnd/>
            </a:ln>
          </p:spPr>
          <p:txBody>
            <a:bodyPr lIns="91440" tIns="91440" rIns="91440" bIns="91440" anchor="ctr"/>
            <a:lstStyle/>
            <a:p>
              <a:pPr algn="ctr" defTabSz="865188">
                <a:defRPr/>
              </a:pPr>
              <a:r>
                <a:rPr lang="en-US" sz="1300" dirty="0">
                  <a:ea typeface="ＭＳ Ｐゴシック" pitchFamily="50" charset="-128"/>
                </a:rPr>
                <a:t>Text</a:t>
              </a:r>
            </a:p>
          </p:txBody>
        </p:sp>
        <p:sp>
          <p:nvSpPr>
            <p:cNvPr id="19" name="Rectangle 4"/>
            <p:cNvSpPr>
              <a:spLocks noChangeArrowheads="1"/>
            </p:cNvSpPr>
            <p:nvPr/>
          </p:nvSpPr>
          <p:spPr bwMode="auto">
            <a:xfrm>
              <a:off x="7491413" y="1977382"/>
              <a:ext cx="2286000" cy="755650"/>
            </a:xfrm>
            <a:prstGeom prst="rect">
              <a:avLst/>
            </a:prstGeom>
            <a:solidFill>
              <a:schemeClr val="accent5"/>
            </a:solidFill>
            <a:ln w="12700">
              <a:noFill/>
              <a:miter lim="800000"/>
              <a:headEnd/>
              <a:tailEnd/>
            </a:ln>
          </p:spPr>
          <p:txBody>
            <a:bodyPr lIns="91440" tIns="91440" rIns="91440" bIns="91440" anchor="ctr"/>
            <a:lstStyle/>
            <a:p>
              <a:pPr algn="ctr" defTabSz="865188">
                <a:defRPr/>
              </a:pPr>
              <a:r>
                <a:rPr lang="en-US" sz="1300" dirty="0">
                  <a:ea typeface="ＭＳ Ｐゴシック" pitchFamily="50" charset="-128"/>
                </a:rPr>
                <a:t>Text</a:t>
              </a:r>
            </a:p>
          </p:txBody>
        </p:sp>
        <p:sp>
          <p:nvSpPr>
            <p:cNvPr id="20" name="Rectangle 5"/>
            <p:cNvSpPr>
              <a:spLocks noChangeArrowheads="1"/>
            </p:cNvSpPr>
            <p:nvPr/>
          </p:nvSpPr>
          <p:spPr bwMode="auto">
            <a:xfrm>
              <a:off x="2340405" y="3688707"/>
              <a:ext cx="2286000" cy="755650"/>
            </a:xfrm>
            <a:prstGeom prst="rect">
              <a:avLst/>
            </a:prstGeom>
            <a:solidFill>
              <a:schemeClr val="accent1"/>
            </a:solidFill>
            <a:ln w="12700">
              <a:noFill/>
              <a:miter lim="800000"/>
              <a:headEnd/>
              <a:tailEnd/>
            </a:ln>
          </p:spPr>
          <p:txBody>
            <a:bodyPr lIns="91440" tIns="91440" rIns="91440" bIns="91440" anchor="ctr"/>
            <a:lstStyle/>
            <a:p>
              <a:pPr algn="ctr" defTabSz="865188">
                <a:defRPr/>
              </a:pPr>
              <a:r>
                <a:rPr lang="en-US" sz="1300" dirty="0">
                  <a:ea typeface="ＭＳ Ｐゴシック" pitchFamily="50" charset="-128"/>
                </a:rPr>
                <a:t>Text</a:t>
              </a:r>
            </a:p>
          </p:txBody>
        </p:sp>
        <p:cxnSp>
          <p:nvCxnSpPr>
            <p:cNvPr id="21" name="AutoShape 6"/>
            <p:cNvCxnSpPr>
              <a:cxnSpLocks noChangeShapeType="1"/>
              <a:stCxn id="20" idx="0"/>
              <a:endCxn id="13" idx="1"/>
            </p:cNvCxnSpPr>
            <p:nvPr/>
          </p:nvCxnSpPr>
          <p:spPr bwMode="auto">
            <a:xfrm rot="5400000" flipH="1" flipV="1">
              <a:off x="3960740" y="2733537"/>
              <a:ext cx="477837" cy="1432504"/>
            </a:xfrm>
            <a:prstGeom prst="bentConnector2">
              <a:avLst/>
            </a:prstGeom>
            <a:noFill/>
            <a:ln w="6350">
              <a:solidFill>
                <a:schemeClr val="tx1"/>
              </a:solidFill>
              <a:miter lim="800000"/>
              <a:headEnd/>
              <a:tailEnd type="triangle" w="med" len="med"/>
            </a:ln>
          </p:spPr>
        </p:cxnSp>
        <p:cxnSp>
          <p:nvCxnSpPr>
            <p:cNvPr id="22" name="AutoShape 7"/>
            <p:cNvCxnSpPr>
              <a:cxnSpLocks noChangeShapeType="1"/>
              <a:stCxn id="13" idx="0"/>
              <a:endCxn id="19" idx="1"/>
            </p:cNvCxnSpPr>
            <p:nvPr/>
          </p:nvCxnSpPr>
          <p:spPr bwMode="auto">
            <a:xfrm rot="5400000" flipH="1" flipV="1">
              <a:off x="6536242" y="1877874"/>
              <a:ext cx="477838" cy="1432504"/>
            </a:xfrm>
            <a:prstGeom prst="bentConnector2">
              <a:avLst/>
            </a:prstGeom>
            <a:noFill/>
            <a:ln w="6350">
              <a:solidFill>
                <a:schemeClr val="tx1"/>
              </a:solidFill>
              <a:miter lim="800000"/>
              <a:headEnd/>
              <a:tailEnd type="triangle" w="med" len="med"/>
            </a:ln>
          </p:spPr>
        </p:cxnSp>
        <p:sp>
          <p:nvSpPr>
            <p:cNvPr id="31" name="TextBox 30"/>
            <p:cNvSpPr txBox="1"/>
            <p:nvPr/>
          </p:nvSpPr>
          <p:spPr>
            <a:xfrm>
              <a:off x="2340405" y="4480260"/>
              <a:ext cx="228600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8" name="TextBox 37"/>
            <p:cNvSpPr txBox="1"/>
            <p:nvPr/>
          </p:nvSpPr>
          <p:spPr>
            <a:xfrm>
              <a:off x="4915909" y="3618350"/>
              <a:ext cx="228600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39" name="TextBox 38"/>
            <p:cNvSpPr txBox="1"/>
            <p:nvPr/>
          </p:nvSpPr>
          <p:spPr>
            <a:xfrm>
              <a:off x="7491413" y="2767284"/>
              <a:ext cx="2286000" cy="754053"/>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48" name="Rectangle 5"/>
          <p:cNvSpPr>
            <a:spLocks noChangeArrowheads="1"/>
          </p:cNvSpPr>
          <p:nvPr/>
        </p:nvSpPr>
        <p:spPr bwMode="auto">
          <a:xfrm>
            <a:off x="1154060" y="6080922"/>
            <a:ext cx="22860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49" name="AutoShape 11"/>
          <p:cNvSpPr>
            <a:spLocks noChangeArrowheads="1"/>
          </p:cNvSpPr>
          <p:nvPr/>
        </p:nvSpPr>
        <p:spPr bwMode="gray">
          <a:xfrm>
            <a:off x="2117060" y="5725977"/>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0" name="Rectangle 5"/>
          <p:cNvSpPr>
            <a:spLocks noChangeArrowheads="1"/>
          </p:cNvSpPr>
          <p:nvPr/>
        </p:nvSpPr>
        <p:spPr bwMode="auto">
          <a:xfrm>
            <a:off x="4915909" y="6080922"/>
            <a:ext cx="22860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51" name="AutoShape 11"/>
          <p:cNvSpPr>
            <a:spLocks noChangeArrowheads="1"/>
          </p:cNvSpPr>
          <p:nvPr/>
        </p:nvSpPr>
        <p:spPr bwMode="gray">
          <a:xfrm>
            <a:off x="5878909" y="5725977"/>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4" name="Rectangle 5"/>
          <p:cNvSpPr>
            <a:spLocks noChangeArrowheads="1"/>
          </p:cNvSpPr>
          <p:nvPr/>
        </p:nvSpPr>
        <p:spPr bwMode="auto">
          <a:xfrm>
            <a:off x="8857758" y="6080922"/>
            <a:ext cx="22860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55" name="AutoShape 11"/>
          <p:cNvSpPr>
            <a:spLocks noChangeArrowheads="1"/>
          </p:cNvSpPr>
          <p:nvPr/>
        </p:nvSpPr>
        <p:spPr bwMode="gray">
          <a:xfrm>
            <a:off x="9820758" y="5725977"/>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24" name="TextBox 23">
            <a:extLst>
              <a:ext uri="{FF2B5EF4-FFF2-40B4-BE49-F238E27FC236}">
                <a16:creationId xmlns:a16="http://schemas.microsoft.com/office/drawing/2014/main" id="{57B83207-8A9A-4BA8-88D9-C49B8A3CD27A}"/>
              </a:ext>
            </a:extLst>
          </p:cNvPr>
          <p:cNvSpPr txBox="1"/>
          <p:nvPr/>
        </p:nvSpPr>
        <p:spPr bwMode="gray">
          <a:xfrm>
            <a:off x="527169" y="1725656"/>
            <a:ext cx="8348472" cy="200055"/>
          </a:xfrm>
          <a:prstGeom prst="rect">
            <a:avLst/>
          </a:prstGeom>
          <a:noFill/>
        </p:spPr>
        <p:txBody>
          <a:bodyPr wrap="square" lIns="0" tIns="0" rIns="0" bIns="0" rtlCol="0">
            <a:noAutofit/>
          </a:bodyPr>
          <a:lstStyle/>
          <a:p>
            <a:r>
              <a:rPr lang="en-US" sz="1300" dirty="0"/>
              <a:t>Title runs here</a:t>
            </a:r>
          </a:p>
        </p:txBody>
      </p:sp>
    </p:spTree>
    <p:extLst>
      <p:ext uri="{BB962C8B-B14F-4D97-AF65-F5344CB8AC3E}">
        <p14:creationId xmlns:p14="http://schemas.microsoft.com/office/powerpoint/2010/main" val="186907194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Four steps</a:t>
            </a:r>
          </a:p>
        </p:txBody>
      </p:sp>
      <p:sp>
        <p:nvSpPr>
          <p:cNvPr id="279555" name="Title 1"/>
          <p:cNvSpPr>
            <a:spLocks noGrp="1"/>
          </p:cNvSpPr>
          <p:nvPr>
            <p:ph type="title"/>
          </p:nvPr>
        </p:nvSpPr>
        <p:spPr/>
        <p:txBody>
          <a:bodyPr/>
          <a:lstStyle/>
          <a:p>
            <a:r>
              <a:rPr lang="en-US" dirty="0"/>
              <a:t>Diagonal boxes</a:t>
            </a:r>
          </a:p>
        </p:txBody>
      </p:sp>
      <p:grpSp>
        <p:nvGrpSpPr>
          <p:cNvPr id="2" name="Group 1">
            <a:extLst>
              <a:ext uri="{FF2B5EF4-FFF2-40B4-BE49-F238E27FC236}">
                <a16:creationId xmlns:a16="http://schemas.microsoft.com/office/drawing/2014/main" id="{B2F963F3-55CC-4F5C-ACBE-4345449C4AA5}"/>
              </a:ext>
            </a:extLst>
          </p:cNvPr>
          <p:cNvGrpSpPr/>
          <p:nvPr/>
        </p:nvGrpSpPr>
        <p:grpSpPr>
          <a:xfrm>
            <a:off x="501650" y="1972147"/>
            <a:ext cx="11188700" cy="3781724"/>
            <a:chOff x="2115904" y="1972147"/>
            <a:chExt cx="7947320" cy="3781724"/>
          </a:xfrm>
        </p:grpSpPr>
        <p:sp>
          <p:nvSpPr>
            <p:cNvPr id="15" name="Rectangle 3"/>
            <p:cNvSpPr>
              <a:spLocks noChangeArrowheads="1"/>
            </p:cNvSpPr>
            <p:nvPr/>
          </p:nvSpPr>
          <p:spPr bwMode="auto">
            <a:xfrm>
              <a:off x="2115904" y="4250210"/>
              <a:ext cx="1828800" cy="520700"/>
            </a:xfrm>
            <a:prstGeom prst="rect">
              <a:avLst/>
            </a:prstGeom>
            <a:solidFill>
              <a:schemeClr val="accent1"/>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6" name="Rectangle 4"/>
            <p:cNvSpPr>
              <a:spLocks noChangeArrowheads="1"/>
            </p:cNvSpPr>
            <p:nvPr/>
          </p:nvSpPr>
          <p:spPr bwMode="auto">
            <a:xfrm>
              <a:off x="4155411" y="3490855"/>
              <a:ext cx="1828800" cy="520700"/>
            </a:xfrm>
            <a:prstGeom prst="rect">
              <a:avLst/>
            </a:prstGeom>
            <a:solidFill>
              <a:schemeClr val="accent2"/>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7" name="Rectangle 5"/>
            <p:cNvSpPr>
              <a:spLocks noChangeArrowheads="1"/>
            </p:cNvSpPr>
            <p:nvPr/>
          </p:nvSpPr>
          <p:spPr bwMode="auto">
            <a:xfrm>
              <a:off x="6194918" y="2731501"/>
              <a:ext cx="1828800" cy="520700"/>
            </a:xfrm>
            <a:prstGeom prst="rect">
              <a:avLst/>
            </a:prstGeom>
            <a:solidFill>
              <a:schemeClr val="accent5"/>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sp>
          <p:nvSpPr>
            <p:cNvPr id="18" name="Rectangle 6"/>
            <p:cNvSpPr>
              <a:spLocks noChangeArrowheads="1"/>
            </p:cNvSpPr>
            <p:nvPr/>
          </p:nvSpPr>
          <p:spPr bwMode="auto">
            <a:xfrm>
              <a:off x="8234424" y="1972147"/>
              <a:ext cx="1828800" cy="520700"/>
            </a:xfrm>
            <a:prstGeom prst="rect">
              <a:avLst/>
            </a:prstGeom>
            <a:solidFill>
              <a:schemeClr val="accent4"/>
            </a:solidFill>
            <a:ln w="12700" algn="ctr">
              <a:noFill/>
              <a:miter lim="800000"/>
              <a:headEnd/>
              <a:tailEnd/>
            </a:ln>
          </p:spPr>
          <p:txBody>
            <a:bodyPr lIns="91440" tIns="91440" rIns="91440" bIns="91440" anchor="ctr"/>
            <a:lstStyle/>
            <a:p>
              <a:pPr algn="ctr" defTabSz="865188">
                <a:lnSpc>
                  <a:spcPct val="95000"/>
                </a:lnSpc>
                <a:defRPr/>
              </a:pPr>
              <a:r>
                <a:rPr lang="en-US" sz="1200" dirty="0">
                  <a:solidFill>
                    <a:schemeClr val="bg1"/>
                  </a:solidFill>
                  <a:ea typeface="ＭＳ Ｐゴシック" pitchFamily="50" charset="-128"/>
                </a:rPr>
                <a:t>Text</a:t>
              </a:r>
            </a:p>
          </p:txBody>
        </p:sp>
        <p:cxnSp>
          <p:nvCxnSpPr>
            <p:cNvPr id="19" name="AutoShape 7"/>
            <p:cNvCxnSpPr>
              <a:cxnSpLocks noChangeShapeType="1"/>
              <a:stCxn id="15" idx="0"/>
              <a:endCxn id="16" idx="1"/>
            </p:cNvCxnSpPr>
            <p:nvPr/>
          </p:nvCxnSpPr>
          <p:spPr bwMode="auto">
            <a:xfrm rot="5400000" flipH="1" flipV="1">
              <a:off x="3343356" y="3438156"/>
              <a:ext cx="499005" cy="1125107"/>
            </a:xfrm>
            <a:prstGeom prst="bentConnector2">
              <a:avLst/>
            </a:prstGeom>
            <a:noFill/>
            <a:ln w="6350">
              <a:solidFill>
                <a:schemeClr val="tx1"/>
              </a:solidFill>
              <a:miter lim="800000"/>
              <a:headEnd/>
              <a:tailEnd type="triangle" w="med" len="med"/>
            </a:ln>
          </p:spPr>
        </p:cxnSp>
        <p:cxnSp>
          <p:nvCxnSpPr>
            <p:cNvPr id="20" name="AutoShape 8"/>
            <p:cNvCxnSpPr>
              <a:cxnSpLocks noChangeShapeType="1"/>
              <a:stCxn id="16" idx="0"/>
              <a:endCxn id="17" idx="1"/>
            </p:cNvCxnSpPr>
            <p:nvPr/>
          </p:nvCxnSpPr>
          <p:spPr bwMode="auto">
            <a:xfrm rot="5400000" flipH="1" flipV="1">
              <a:off x="5382862" y="2678801"/>
              <a:ext cx="499004" cy="1125107"/>
            </a:xfrm>
            <a:prstGeom prst="bentConnector2">
              <a:avLst/>
            </a:prstGeom>
            <a:noFill/>
            <a:ln w="6350">
              <a:solidFill>
                <a:schemeClr val="tx1"/>
              </a:solidFill>
              <a:miter lim="800000"/>
              <a:headEnd/>
              <a:tailEnd type="triangle" w="med" len="med"/>
            </a:ln>
          </p:spPr>
        </p:cxnSp>
        <p:cxnSp>
          <p:nvCxnSpPr>
            <p:cNvPr id="21" name="AutoShape 9"/>
            <p:cNvCxnSpPr>
              <a:cxnSpLocks noChangeShapeType="1"/>
              <a:stCxn id="17" idx="0"/>
              <a:endCxn id="18" idx="1"/>
            </p:cNvCxnSpPr>
            <p:nvPr/>
          </p:nvCxnSpPr>
          <p:spPr bwMode="auto">
            <a:xfrm rot="5400000" flipH="1" flipV="1">
              <a:off x="7422369" y="1919446"/>
              <a:ext cx="499004" cy="1125106"/>
            </a:xfrm>
            <a:prstGeom prst="bentConnector2">
              <a:avLst/>
            </a:prstGeom>
            <a:noFill/>
            <a:ln w="6350">
              <a:solidFill>
                <a:schemeClr val="tx1"/>
              </a:solidFill>
              <a:miter lim="800000"/>
              <a:headEnd/>
              <a:tailEnd type="triangle" w="med" len="med"/>
            </a:ln>
          </p:spPr>
        </p:cxnSp>
        <p:sp>
          <p:nvSpPr>
            <p:cNvPr id="44" name="TextBox 43"/>
            <p:cNvSpPr txBox="1"/>
            <p:nvPr/>
          </p:nvSpPr>
          <p:spPr>
            <a:xfrm>
              <a:off x="2115904" y="4799764"/>
              <a:ext cx="182880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45" name="TextBox 44"/>
            <p:cNvSpPr txBox="1"/>
            <p:nvPr/>
          </p:nvSpPr>
          <p:spPr>
            <a:xfrm>
              <a:off x="4155411" y="4038526"/>
              <a:ext cx="182880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46" name="TextBox 45"/>
            <p:cNvSpPr txBox="1"/>
            <p:nvPr/>
          </p:nvSpPr>
          <p:spPr>
            <a:xfrm>
              <a:off x="6194918" y="3285670"/>
              <a:ext cx="182880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sp>
          <p:nvSpPr>
            <p:cNvPr id="47" name="TextBox 46"/>
            <p:cNvSpPr txBox="1"/>
            <p:nvPr/>
          </p:nvSpPr>
          <p:spPr>
            <a:xfrm>
              <a:off x="8234424" y="2526718"/>
              <a:ext cx="1828800" cy="954107"/>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a:p>
              <a:pPr marL="254000" lvl="2" indent="-114300">
                <a:spcBef>
                  <a:spcPts val="600"/>
                </a:spcBef>
                <a:buSzPct val="100000"/>
                <a:buFont typeface="Arial"/>
                <a:buChar char="−"/>
              </a:pPr>
              <a:r>
                <a:rPr lang="en-US" sz="1300" dirty="0"/>
                <a:t>This is a level 2 bullet</a:t>
              </a:r>
            </a:p>
          </p:txBody>
        </p:sp>
      </p:grpSp>
      <p:sp>
        <p:nvSpPr>
          <p:cNvPr id="49" name="Rectangle 5"/>
          <p:cNvSpPr>
            <a:spLocks noChangeArrowheads="1"/>
          </p:cNvSpPr>
          <p:nvPr/>
        </p:nvSpPr>
        <p:spPr bwMode="auto">
          <a:xfrm>
            <a:off x="874597" y="6089975"/>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0" name="AutoShape 11"/>
          <p:cNvSpPr>
            <a:spLocks noChangeArrowheads="1"/>
          </p:cNvSpPr>
          <p:nvPr/>
        </p:nvSpPr>
        <p:spPr bwMode="gray">
          <a:xfrm>
            <a:off x="1608997" y="5735030"/>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2" name="Rectangle 5"/>
          <p:cNvSpPr>
            <a:spLocks noChangeArrowheads="1"/>
          </p:cNvSpPr>
          <p:nvPr/>
        </p:nvSpPr>
        <p:spPr bwMode="auto">
          <a:xfrm>
            <a:off x="3787005" y="6089975"/>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3" name="AutoShape 11"/>
          <p:cNvSpPr>
            <a:spLocks noChangeArrowheads="1"/>
          </p:cNvSpPr>
          <p:nvPr/>
        </p:nvSpPr>
        <p:spPr bwMode="gray">
          <a:xfrm>
            <a:off x="4521405" y="5735030"/>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5" name="Rectangle 5"/>
          <p:cNvSpPr>
            <a:spLocks noChangeArrowheads="1"/>
          </p:cNvSpPr>
          <p:nvPr/>
        </p:nvSpPr>
        <p:spPr bwMode="auto">
          <a:xfrm>
            <a:off x="6699414" y="6089975"/>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6" name="AutoShape 11"/>
          <p:cNvSpPr>
            <a:spLocks noChangeArrowheads="1"/>
          </p:cNvSpPr>
          <p:nvPr/>
        </p:nvSpPr>
        <p:spPr bwMode="gray">
          <a:xfrm>
            <a:off x="7433814" y="5735030"/>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8" name="Rectangle 5"/>
          <p:cNvSpPr>
            <a:spLocks noChangeArrowheads="1"/>
          </p:cNvSpPr>
          <p:nvPr/>
        </p:nvSpPr>
        <p:spPr bwMode="auto">
          <a:xfrm>
            <a:off x="9401072" y="6089975"/>
            <a:ext cx="1828800"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100" dirty="0">
                <a:ea typeface="ＭＳ Ｐゴシック" charset="-128"/>
              </a:rPr>
              <a:t>Text</a:t>
            </a:r>
          </a:p>
        </p:txBody>
      </p:sp>
      <p:sp>
        <p:nvSpPr>
          <p:cNvPr id="59" name="AutoShape 11"/>
          <p:cNvSpPr>
            <a:spLocks noChangeArrowheads="1"/>
          </p:cNvSpPr>
          <p:nvPr/>
        </p:nvSpPr>
        <p:spPr bwMode="gray">
          <a:xfrm>
            <a:off x="10135472" y="5735030"/>
            <a:ext cx="360000" cy="270000"/>
          </a:xfrm>
          <a:prstGeom prst="downArrow">
            <a:avLst>
              <a:gd name="adj1" fmla="val 49815"/>
              <a:gd name="adj2" fmla="val 54667"/>
            </a:avLst>
          </a:prstGeom>
          <a:solidFill>
            <a:schemeClr val="accent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25" name="TextBox 24"/>
          <p:cNvSpPr txBox="1"/>
          <p:nvPr/>
        </p:nvSpPr>
        <p:spPr bwMode="gray">
          <a:xfrm>
            <a:off x="527169" y="1725656"/>
            <a:ext cx="8348472" cy="200055"/>
          </a:xfrm>
          <a:prstGeom prst="rect">
            <a:avLst/>
          </a:prstGeom>
          <a:noFill/>
        </p:spPr>
        <p:txBody>
          <a:bodyPr wrap="square" lIns="0" tIns="0" rIns="0" bIns="0" rtlCol="0">
            <a:noAutofit/>
          </a:bodyPr>
          <a:lstStyle/>
          <a:p>
            <a:r>
              <a:rPr lang="en-US" sz="1300" dirty="0"/>
              <a:t>Title runs here</a:t>
            </a:r>
          </a:p>
        </p:txBody>
      </p:sp>
    </p:spTree>
    <p:extLst>
      <p:ext uri="{BB962C8B-B14F-4D97-AF65-F5344CB8AC3E}">
        <p14:creationId xmlns:p14="http://schemas.microsoft.com/office/powerpoint/2010/main" val="282358687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Five steps</a:t>
            </a:r>
            <a:endParaRPr lang="en-US" dirty="0"/>
          </a:p>
        </p:txBody>
      </p:sp>
      <p:sp>
        <p:nvSpPr>
          <p:cNvPr id="807937" name="Title 1"/>
          <p:cNvSpPr>
            <a:spLocks noGrp="1"/>
          </p:cNvSpPr>
          <p:nvPr>
            <p:ph type="title"/>
          </p:nvPr>
        </p:nvSpPr>
        <p:spPr/>
        <p:txBody>
          <a:bodyPr/>
          <a:lstStyle/>
          <a:p>
            <a:r>
              <a:rPr lang="en-US"/>
              <a:t>Diagonal boxes </a:t>
            </a:r>
            <a:endParaRPr lang="en-US" dirty="0"/>
          </a:p>
        </p:txBody>
      </p:sp>
      <p:grpSp>
        <p:nvGrpSpPr>
          <p:cNvPr id="2" name="Group 1">
            <a:extLst>
              <a:ext uri="{FF2B5EF4-FFF2-40B4-BE49-F238E27FC236}">
                <a16:creationId xmlns:a16="http://schemas.microsoft.com/office/drawing/2014/main" id="{C611B302-5B68-4529-A790-685CA390BD69}"/>
              </a:ext>
            </a:extLst>
          </p:cNvPr>
          <p:cNvGrpSpPr/>
          <p:nvPr/>
        </p:nvGrpSpPr>
        <p:grpSpPr>
          <a:xfrm>
            <a:off x="527169" y="1862138"/>
            <a:ext cx="11137662" cy="3634213"/>
            <a:chOff x="1889760" y="1862138"/>
            <a:chExt cx="8416290" cy="3634213"/>
          </a:xfrm>
        </p:grpSpPr>
        <p:sp>
          <p:nvSpPr>
            <p:cNvPr id="16" name="Rectangle 3"/>
            <p:cNvSpPr>
              <a:spLocks noChangeArrowheads="1"/>
            </p:cNvSpPr>
            <p:nvPr/>
          </p:nvSpPr>
          <p:spPr bwMode="auto">
            <a:xfrm>
              <a:off x="1889760" y="4270934"/>
              <a:ext cx="1389888" cy="522288"/>
            </a:xfrm>
            <a:prstGeom prst="rect">
              <a:avLst/>
            </a:prstGeom>
            <a:solidFill>
              <a:schemeClr val="accent1"/>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17" name="Rectangle 4"/>
            <p:cNvSpPr>
              <a:spLocks noChangeArrowheads="1"/>
            </p:cNvSpPr>
            <p:nvPr/>
          </p:nvSpPr>
          <p:spPr bwMode="auto">
            <a:xfrm>
              <a:off x="3645408" y="3668735"/>
              <a:ext cx="1389888" cy="522288"/>
            </a:xfrm>
            <a:prstGeom prst="rect">
              <a:avLst/>
            </a:prstGeom>
            <a:solidFill>
              <a:schemeClr val="accent2"/>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19" name="Rectangle 5"/>
            <p:cNvSpPr>
              <a:spLocks noChangeArrowheads="1"/>
            </p:cNvSpPr>
            <p:nvPr/>
          </p:nvSpPr>
          <p:spPr bwMode="auto">
            <a:xfrm>
              <a:off x="5401056" y="3066536"/>
              <a:ext cx="1389888" cy="522288"/>
            </a:xfrm>
            <a:prstGeom prst="rect">
              <a:avLst/>
            </a:prstGeom>
            <a:solidFill>
              <a:schemeClr val="accent5"/>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20" name="Rectangle 6"/>
            <p:cNvSpPr>
              <a:spLocks noChangeArrowheads="1"/>
            </p:cNvSpPr>
            <p:nvPr/>
          </p:nvSpPr>
          <p:spPr bwMode="auto">
            <a:xfrm>
              <a:off x="7156704" y="2464337"/>
              <a:ext cx="1389888" cy="522288"/>
            </a:xfrm>
            <a:prstGeom prst="rect">
              <a:avLst/>
            </a:prstGeom>
            <a:solidFill>
              <a:schemeClr val="accent4"/>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21" name="Rectangle 7"/>
            <p:cNvSpPr>
              <a:spLocks noChangeArrowheads="1"/>
            </p:cNvSpPr>
            <p:nvPr/>
          </p:nvSpPr>
          <p:spPr bwMode="auto">
            <a:xfrm>
              <a:off x="8916162" y="1862138"/>
              <a:ext cx="1389888" cy="522288"/>
            </a:xfrm>
            <a:prstGeom prst="rect">
              <a:avLst/>
            </a:prstGeom>
            <a:solidFill>
              <a:schemeClr val="accent3"/>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cxnSp>
          <p:nvCxnSpPr>
            <p:cNvPr id="22" name="AutoShape 8"/>
            <p:cNvCxnSpPr>
              <a:cxnSpLocks noChangeShapeType="1"/>
              <a:stCxn id="16" idx="0"/>
              <a:endCxn id="17" idx="1"/>
            </p:cNvCxnSpPr>
            <p:nvPr/>
          </p:nvCxnSpPr>
          <p:spPr bwMode="auto">
            <a:xfrm rot="5400000" flipH="1" flipV="1">
              <a:off x="2944530" y="3570055"/>
              <a:ext cx="341055" cy="1060704"/>
            </a:xfrm>
            <a:prstGeom prst="bentConnector2">
              <a:avLst/>
            </a:prstGeom>
            <a:noFill/>
            <a:ln w="6350">
              <a:solidFill>
                <a:schemeClr val="tx1"/>
              </a:solidFill>
              <a:miter lim="800000"/>
              <a:headEnd/>
              <a:tailEnd type="triangle" w="med" len="med"/>
            </a:ln>
          </p:spPr>
        </p:cxnSp>
        <p:cxnSp>
          <p:nvCxnSpPr>
            <p:cNvPr id="23" name="AutoShape 9"/>
            <p:cNvCxnSpPr>
              <a:cxnSpLocks noChangeShapeType="1"/>
              <a:stCxn id="17" idx="0"/>
              <a:endCxn id="19" idx="1"/>
            </p:cNvCxnSpPr>
            <p:nvPr/>
          </p:nvCxnSpPr>
          <p:spPr bwMode="auto">
            <a:xfrm rot="5400000" flipH="1" flipV="1">
              <a:off x="4700178" y="2967856"/>
              <a:ext cx="341055" cy="1060704"/>
            </a:xfrm>
            <a:prstGeom prst="bentConnector2">
              <a:avLst/>
            </a:prstGeom>
            <a:noFill/>
            <a:ln w="6350">
              <a:solidFill>
                <a:schemeClr val="tx1"/>
              </a:solidFill>
              <a:miter lim="800000"/>
              <a:headEnd/>
              <a:tailEnd type="triangle" w="med" len="med"/>
            </a:ln>
          </p:spPr>
        </p:cxnSp>
        <p:cxnSp>
          <p:nvCxnSpPr>
            <p:cNvPr id="24" name="AutoShape 10"/>
            <p:cNvCxnSpPr>
              <a:cxnSpLocks noChangeShapeType="1"/>
              <a:stCxn id="19" idx="0"/>
              <a:endCxn id="20" idx="1"/>
            </p:cNvCxnSpPr>
            <p:nvPr/>
          </p:nvCxnSpPr>
          <p:spPr bwMode="auto">
            <a:xfrm rot="5400000" flipH="1" flipV="1">
              <a:off x="6455826" y="2365657"/>
              <a:ext cx="341055" cy="1060704"/>
            </a:xfrm>
            <a:prstGeom prst="bentConnector2">
              <a:avLst/>
            </a:prstGeom>
            <a:noFill/>
            <a:ln w="6350">
              <a:solidFill>
                <a:schemeClr val="tx1"/>
              </a:solidFill>
              <a:miter lim="800000"/>
              <a:headEnd/>
              <a:tailEnd type="triangle" w="med" len="med"/>
            </a:ln>
          </p:spPr>
        </p:cxnSp>
        <p:cxnSp>
          <p:nvCxnSpPr>
            <p:cNvPr id="25" name="AutoShape 11"/>
            <p:cNvCxnSpPr>
              <a:cxnSpLocks noChangeShapeType="1"/>
              <a:stCxn id="20" idx="0"/>
              <a:endCxn id="21" idx="1"/>
            </p:cNvCxnSpPr>
            <p:nvPr/>
          </p:nvCxnSpPr>
          <p:spPr bwMode="auto">
            <a:xfrm rot="5400000" flipH="1" flipV="1">
              <a:off x="8213379" y="1761553"/>
              <a:ext cx="341055" cy="1064514"/>
            </a:xfrm>
            <a:prstGeom prst="bentConnector2">
              <a:avLst/>
            </a:prstGeom>
            <a:noFill/>
            <a:ln w="6350">
              <a:solidFill>
                <a:schemeClr val="tx1"/>
              </a:solidFill>
              <a:miter lim="800000"/>
              <a:headEnd/>
              <a:tailEnd type="triangle" w="med" len="med"/>
            </a:ln>
          </p:spPr>
        </p:cxnSp>
        <p:sp>
          <p:nvSpPr>
            <p:cNvPr id="31" name="TextBox 30"/>
            <p:cNvSpPr txBox="1"/>
            <p:nvPr/>
          </p:nvSpPr>
          <p:spPr>
            <a:xfrm>
              <a:off x="1889760" y="4819243"/>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2" name="TextBox 31"/>
            <p:cNvSpPr txBox="1"/>
            <p:nvPr/>
          </p:nvSpPr>
          <p:spPr>
            <a:xfrm>
              <a:off x="5401056" y="3617087"/>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3" name="TextBox 32"/>
            <p:cNvSpPr txBox="1"/>
            <p:nvPr/>
          </p:nvSpPr>
          <p:spPr>
            <a:xfrm>
              <a:off x="3645408" y="4218165"/>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34" name="TextBox 33"/>
            <p:cNvSpPr txBox="1"/>
            <p:nvPr/>
          </p:nvSpPr>
          <p:spPr>
            <a:xfrm>
              <a:off x="7156704" y="3016009"/>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sp>
          <p:nvSpPr>
            <p:cNvPr id="44" name="TextBox 43"/>
            <p:cNvSpPr txBox="1"/>
            <p:nvPr/>
          </p:nvSpPr>
          <p:spPr>
            <a:xfrm>
              <a:off x="8912352" y="2414931"/>
              <a:ext cx="1389888" cy="677108"/>
            </a:xfrm>
            <a:prstGeom prst="rect">
              <a:avLst/>
            </a:prstGeom>
            <a:noFill/>
          </p:spPr>
          <p:txBody>
            <a:bodyPr wrap="square" lIns="0" tIns="0" rIns="0" bIns="0" rtlCol="0">
              <a:spAutoFit/>
            </a:bodyPr>
            <a:lstStyle/>
            <a:p>
              <a:pPr>
                <a:spcBef>
                  <a:spcPts val="600"/>
                </a:spcBef>
                <a:buSzPct val="100000"/>
              </a:pPr>
              <a:r>
                <a:rPr lang="en-US" sz="1300" dirty="0"/>
                <a:t>This is dummy text it is not here to be read </a:t>
              </a:r>
            </a:p>
            <a:p>
              <a:pPr marL="114300" lvl="1" indent="-114300">
                <a:spcBef>
                  <a:spcPts val="600"/>
                </a:spcBef>
                <a:buSzPct val="100000"/>
                <a:buFont typeface="Arial"/>
                <a:buChar char="•"/>
              </a:pPr>
              <a:r>
                <a:rPr lang="en-US" sz="1300" dirty="0"/>
                <a:t>This is a level 1 bullet </a:t>
              </a:r>
            </a:p>
          </p:txBody>
        </p:sp>
      </p:grpSp>
      <p:sp>
        <p:nvSpPr>
          <p:cNvPr id="52" name="Rectangle 5"/>
          <p:cNvSpPr>
            <a:spLocks noChangeArrowheads="1"/>
          </p:cNvSpPr>
          <p:nvPr/>
        </p:nvSpPr>
        <p:spPr bwMode="auto">
          <a:xfrm>
            <a:off x="777716"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53" name="AutoShape 11"/>
          <p:cNvSpPr>
            <a:spLocks noChangeArrowheads="1"/>
          </p:cNvSpPr>
          <p:nvPr/>
        </p:nvSpPr>
        <p:spPr bwMode="gray">
          <a:xfrm>
            <a:off x="1292660" y="5744083"/>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1" name="Rectangle 5"/>
          <p:cNvSpPr>
            <a:spLocks noChangeArrowheads="1"/>
          </p:cNvSpPr>
          <p:nvPr/>
        </p:nvSpPr>
        <p:spPr bwMode="auto">
          <a:xfrm>
            <a:off x="3104051"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62" name="AutoShape 11"/>
          <p:cNvSpPr>
            <a:spLocks noChangeArrowheads="1"/>
          </p:cNvSpPr>
          <p:nvPr/>
        </p:nvSpPr>
        <p:spPr bwMode="gray">
          <a:xfrm>
            <a:off x="3618995" y="5744083"/>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4" name="Rectangle 5"/>
          <p:cNvSpPr>
            <a:spLocks noChangeArrowheads="1"/>
          </p:cNvSpPr>
          <p:nvPr/>
        </p:nvSpPr>
        <p:spPr bwMode="auto">
          <a:xfrm>
            <a:off x="5401913"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65" name="AutoShape 11"/>
          <p:cNvSpPr>
            <a:spLocks noChangeArrowheads="1"/>
          </p:cNvSpPr>
          <p:nvPr/>
        </p:nvSpPr>
        <p:spPr bwMode="gray">
          <a:xfrm>
            <a:off x="5916857" y="5744083"/>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7" name="Rectangle 5"/>
          <p:cNvSpPr>
            <a:spLocks noChangeArrowheads="1"/>
          </p:cNvSpPr>
          <p:nvPr/>
        </p:nvSpPr>
        <p:spPr bwMode="auto">
          <a:xfrm>
            <a:off x="7786046"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68" name="AutoShape 11"/>
          <p:cNvSpPr>
            <a:spLocks noChangeArrowheads="1"/>
          </p:cNvSpPr>
          <p:nvPr/>
        </p:nvSpPr>
        <p:spPr bwMode="gray">
          <a:xfrm>
            <a:off x="8300990" y="5744083"/>
            <a:ext cx="360000" cy="270000"/>
          </a:xfrm>
          <a:prstGeom prst="downArrow">
            <a:avLst>
              <a:gd name="adj1" fmla="val 49815"/>
              <a:gd name="adj2" fmla="val 54667"/>
            </a:avLst>
          </a:prstGeom>
          <a:solidFill>
            <a:schemeClr val="accent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70" name="Rectangle 5"/>
          <p:cNvSpPr>
            <a:spLocks noChangeArrowheads="1"/>
          </p:cNvSpPr>
          <p:nvPr/>
        </p:nvSpPr>
        <p:spPr bwMode="auto">
          <a:xfrm>
            <a:off x="10056210" y="6099028"/>
            <a:ext cx="1389888" cy="160813"/>
          </a:xfrm>
          <a:prstGeom prst="rect">
            <a:avLst/>
          </a:prstGeom>
          <a:noFill/>
          <a:ln w="12700" algn="ctr">
            <a:noFill/>
            <a:miter lim="800000"/>
            <a:headEnd/>
            <a:tailEnd/>
          </a:ln>
        </p:spPr>
        <p:txBody>
          <a:bodyPr wrap="none" lIns="0" tIns="0" rIns="0" bIns="0">
            <a:noAutofit/>
          </a:bodyPr>
          <a:lstStyle/>
          <a:p>
            <a:pPr algn="ctr" defTabSz="762000">
              <a:lnSpc>
                <a:spcPct val="95000"/>
              </a:lnSpc>
            </a:pPr>
            <a:r>
              <a:rPr lang="en-US" sz="1300" dirty="0">
                <a:ea typeface="ＭＳ Ｐゴシック" charset="-128"/>
              </a:rPr>
              <a:t>Text</a:t>
            </a:r>
          </a:p>
        </p:txBody>
      </p:sp>
      <p:sp>
        <p:nvSpPr>
          <p:cNvPr id="71" name="AutoShape 11"/>
          <p:cNvSpPr>
            <a:spLocks noChangeArrowheads="1"/>
          </p:cNvSpPr>
          <p:nvPr/>
        </p:nvSpPr>
        <p:spPr bwMode="gray">
          <a:xfrm>
            <a:off x="10571154" y="5744083"/>
            <a:ext cx="360000" cy="270000"/>
          </a:xfrm>
          <a:prstGeom prst="downArrow">
            <a:avLst>
              <a:gd name="adj1" fmla="val 49815"/>
              <a:gd name="adj2" fmla="val 54667"/>
            </a:avLst>
          </a:prstGeom>
          <a:solidFill>
            <a:schemeClr val="accent3"/>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solidFill>
                <a:schemeClr val="tx2"/>
              </a:solidFill>
            </a:endParaRPr>
          </a:p>
        </p:txBody>
      </p:sp>
      <p:sp>
        <p:nvSpPr>
          <p:cNvPr id="29" name="TextBox 28">
            <a:extLst>
              <a:ext uri="{FF2B5EF4-FFF2-40B4-BE49-F238E27FC236}">
                <a16:creationId xmlns:a16="http://schemas.microsoft.com/office/drawing/2014/main" id="{192C84FB-D3F6-43CE-A96D-4AE82CF72DEE}"/>
              </a:ext>
            </a:extLst>
          </p:cNvPr>
          <p:cNvSpPr txBox="1"/>
          <p:nvPr/>
        </p:nvSpPr>
        <p:spPr bwMode="gray">
          <a:xfrm>
            <a:off x="527169" y="1725656"/>
            <a:ext cx="8348472" cy="184666"/>
          </a:xfrm>
          <a:prstGeom prst="rect">
            <a:avLst/>
          </a:prstGeom>
          <a:noFill/>
        </p:spPr>
        <p:txBody>
          <a:bodyPr wrap="square" lIns="0" tIns="0" rIns="0" bIns="0" rtlCol="0">
            <a:noAutofit/>
          </a:bodyPr>
          <a:lstStyle/>
          <a:p>
            <a:r>
              <a:rPr lang="en-US" sz="1200" dirty="0"/>
              <a:t>Title runs here</a:t>
            </a:r>
          </a:p>
        </p:txBody>
      </p:sp>
    </p:spTree>
    <p:extLst>
      <p:ext uri="{BB962C8B-B14F-4D97-AF65-F5344CB8AC3E}">
        <p14:creationId xmlns:p14="http://schemas.microsoft.com/office/powerpoint/2010/main" val="176248446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t>Progressive</a:t>
            </a:r>
          </a:p>
        </p:txBody>
      </p:sp>
      <p:grpSp>
        <p:nvGrpSpPr>
          <p:cNvPr id="27" name="Group 26">
            <a:extLst>
              <a:ext uri="{FF2B5EF4-FFF2-40B4-BE49-F238E27FC236}">
                <a16:creationId xmlns:a16="http://schemas.microsoft.com/office/drawing/2014/main" id="{BA1032FA-D947-4213-ACB8-C2D7BE22E2DA}"/>
              </a:ext>
            </a:extLst>
          </p:cNvPr>
          <p:cNvGrpSpPr/>
          <p:nvPr/>
        </p:nvGrpSpPr>
        <p:grpSpPr>
          <a:xfrm>
            <a:off x="565185" y="1710617"/>
            <a:ext cx="11302929" cy="4058809"/>
            <a:chOff x="417000" y="1424552"/>
            <a:chExt cx="9081001" cy="4670490"/>
          </a:xfrm>
        </p:grpSpPr>
        <p:cxnSp>
          <p:nvCxnSpPr>
            <p:cNvPr id="16" name="直線矢印コネクタ 21">
              <a:extLst>
                <a:ext uri="{FF2B5EF4-FFF2-40B4-BE49-F238E27FC236}">
                  <a16:creationId xmlns:a16="http://schemas.microsoft.com/office/drawing/2014/main" id="{5FF4722E-0845-4B81-952D-053A1FE8C2C8}"/>
                </a:ext>
              </a:extLst>
            </p:cNvPr>
            <p:cNvCxnSpPr/>
            <p:nvPr/>
          </p:nvCxnSpPr>
          <p:spPr>
            <a:xfrm flipV="1">
              <a:off x="1151096" y="1918577"/>
              <a:ext cx="5410829" cy="2750758"/>
            </a:xfrm>
            <a:prstGeom prst="straightConnector1">
              <a:avLst/>
            </a:prstGeom>
            <a:ln w="76200">
              <a:solidFill>
                <a:srgbClr val="E3E48D"/>
              </a:solidFill>
              <a:tailEnd type="triangle"/>
            </a:ln>
          </p:spPr>
          <p:style>
            <a:lnRef idx="1">
              <a:schemeClr val="accent1"/>
            </a:lnRef>
            <a:fillRef idx="0">
              <a:schemeClr val="accent1"/>
            </a:fillRef>
            <a:effectRef idx="0">
              <a:schemeClr val="accent1"/>
            </a:effectRef>
            <a:fontRef idx="minor">
              <a:schemeClr val="tx1"/>
            </a:fontRef>
          </p:style>
        </p:cxnSp>
        <p:sp>
          <p:nvSpPr>
            <p:cNvPr id="18" name="正方形/長方形 11">
              <a:extLst>
                <a:ext uri="{FF2B5EF4-FFF2-40B4-BE49-F238E27FC236}">
                  <a16:creationId xmlns:a16="http://schemas.microsoft.com/office/drawing/2014/main" id="{7581DA97-348D-40AE-A011-9486E149D0CC}"/>
                </a:ext>
              </a:extLst>
            </p:cNvPr>
            <p:cNvSpPr/>
            <p:nvPr/>
          </p:nvSpPr>
          <p:spPr bwMode="gray">
            <a:xfrm>
              <a:off x="417000" y="4814316"/>
              <a:ext cx="2944800" cy="1280726"/>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sp>
          <p:nvSpPr>
            <p:cNvPr id="19" name="正方形/長方形 12">
              <a:extLst>
                <a:ext uri="{FF2B5EF4-FFF2-40B4-BE49-F238E27FC236}">
                  <a16:creationId xmlns:a16="http://schemas.microsoft.com/office/drawing/2014/main" id="{4AD78634-077D-4D42-ADDB-49CAAF69F5F3}"/>
                </a:ext>
              </a:extLst>
            </p:cNvPr>
            <p:cNvSpPr/>
            <p:nvPr/>
          </p:nvSpPr>
          <p:spPr bwMode="gray">
            <a:xfrm>
              <a:off x="3485101" y="3538968"/>
              <a:ext cx="2944800" cy="2235181"/>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sp>
          <p:nvSpPr>
            <p:cNvPr id="20" name="正方形/長方形 13">
              <a:extLst>
                <a:ext uri="{FF2B5EF4-FFF2-40B4-BE49-F238E27FC236}">
                  <a16:creationId xmlns:a16="http://schemas.microsoft.com/office/drawing/2014/main" id="{FC66A015-F116-4D6F-B6E2-B6CC5B9D5193}"/>
                </a:ext>
              </a:extLst>
            </p:cNvPr>
            <p:cNvSpPr/>
            <p:nvPr/>
          </p:nvSpPr>
          <p:spPr bwMode="gray">
            <a:xfrm>
              <a:off x="6553201" y="2047813"/>
              <a:ext cx="2944800" cy="2235181"/>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ea typeface="+mn-ea"/>
                  <a:cs typeface="+mn-cs"/>
                </a:rPr>
                <a:t>XXXXXX</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XXXXXXXXXXX</a:t>
              </a:r>
              <a:endParaRPr kumimoji="1" lang="ja-JP" altLang="en-US" sz="1100" b="0" i="0" u="none" strike="noStrike" kern="1200" cap="none" spc="0" normalizeH="0" baseline="0" noProof="0" dirty="0">
                <a:ln>
                  <a:noFill/>
                </a:ln>
                <a:solidFill>
                  <a:prstClr val="black"/>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ea typeface="+mn-ea"/>
                  <a:cs typeface="+mn-cs"/>
                </a:rPr>
                <a:t>XXXXXXXXXXX</a:t>
              </a:r>
            </a:p>
          </p:txBody>
        </p:sp>
        <p:sp>
          <p:nvSpPr>
            <p:cNvPr id="21" name="正方形/長方形 14">
              <a:extLst>
                <a:ext uri="{FF2B5EF4-FFF2-40B4-BE49-F238E27FC236}">
                  <a16:creationId xmlns:a16="http://schemas.microsoft.com/office/drawing/2014/main" id="{D0D47BF0-9317-4795-B337-C0F342CC5D14}"/>
                </a:ext>
              </a:extLst>
            </p:cNvPr>
            <p:cNvSpPr/>
            <p:nvPr/>
          </p:nvSpPr>
          <p:spPr bwMode="gray">
            <a:xfrm>
              <a:off x="417000" y="4254857"/>
              <a:ext cx="2944800" cy="469874"/>
            </a:xfrm>
            <a:prstGeom prst="rect">
              <a:avLst/>
            </a:prstGeom>
            <a:solidFill>
              <a:srgbClr val="86BC25"/>
            </a:solidFill>
            <a:ln w="12700" algn="ctr">
              <a:solidFill>
                <a:srgbClr val="86BC25"/>
              </a:solid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i="0" u="none" strike="noStrike" kern="1200" cap="none" spc="0" normalizeH="0" baseline="0" noProof="0" dirty="0">
                  <a:ln>
                    <a:noFill/>
                  </a:ln>
                  <a:solidFill>
                    <a:prstClr val="white"/>
                  </a:solidFill>
                  <a:effectLst/>
                  <a:uLnTx/>
                  <a:uFillTx/>
                  <a:ea typeface="+mn-ea"/>
                  <a:cs typeface="+mn-cs"/>
                </a:rPr>
                <a:t>XXXXXXXXXXX</a:t>
              </a:r>
              <a:endParaRPr kumimoji="1" lang="ja-JP" altLang="en-US" sz="1400" i="0" u="none" strike="noStrike" kern="1200" cap="none" spc="0" normalizeH="0" baseline="0" noProof="0" dirty="0">
                <a:ln>
                  <a:noFill/>
                </a:ln>
                <a:solidFill>
                  <a:prstClr val="white"/>
                </a:solidFill>
                <a:effectLst/>
                <a:uLnTx/>
                <a:uFillTx/>
                <a:ea typeface="+mn-ea"/>
                <a:cs typeface="+mn-cs"/>
              </a:endParaRPr>
            </a:p>
          </p:txBody>
        </p:sp>
        <p:sp>
          <p:nvSpPr>
            <p:cNvPr id="22" name="正方形/長方形 15">
              <a:extLst>
                <a:ext uri="{FF2B5EF4-FFF2-40B4-BE49-F238E27FC236}">
                  <a16:creationId xmlns:a16="http://schemas.microsoft.com/office/drawing/2014/main" id="{46420527-34B2-4D82-BF97-6959786D8E6B}"/>
                </a:ext>
              </a:extLst>
            </p:cNvPr>
            <p:cNvSpPr/>
            <p:nvPr/>
          </p:nvSpPr>
          <p:spPr bwMode="gray">
            <a:xfrm>
              <a:off x="3485100" y="3010266"/>
              <a:ext cx="2944800" cy="477523"/>
            </a:xfrm>
            <a:prstGeom prst="rect">
              <a:avLst/>
            </a:prstGeom>
            <a:solidFill>
              <a:srgbClr val="009A44"/>
            </a:solidFill>
            <a:ln w="12700" algn="ctr">
              <a:solidFill>
                <a:srgbClr val="009A44"/>
              </a:solidFill>
              <a:miter lim="800000"/>
              <a:headEnd/>
              <a:tailEnd/>
            </a:ln>
          </p:spPr>
          <p:txBody>
            <a:bodyPr wrap="square" lIns="21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600" i="0" u="none" strike="noStrike" kern="1200" cap="none" spc="0" normalizeH="0" baseline="0" noProof="0" dirty="0">
                  <a:ln>
                    <a:noFill/>
                  </a:ln>
                  <a:solidFill>
                    <a:prstClr val="white"/>
                  </a:solidFill>
                  <a:effectLst/>
                  <a:uLnTx/>
                  <a:uFillTx/>
                  <a:ea typeface="+mn-ea"/>
                  <a:cs typeface="+mn-cs"/>
                </a:rPr>
                <a:t>XXXXXXXXXXX</a:t>
              </a:r>
              <a:endParaRPr kumimoji="1" lang="ja-JP" altLang="en-US" sz="1600" i="0" u="none" strike="noStrike" kern="1200" cap="none" spc="0" normalizeH="0" baseline="0" noProof="0" dirty="0">
                <a:ln>
                  <a:noFill/>
                </a:ln>
                <a:solidFill>
                  <a:prstClr val="white"/>
                </a:solidFill>
                <a:effectLst/>
                <a:uLnTx/>
                <a:uFillTx/>
                <a:ea typeface="+mn-ea"/>
                <a:cs typeface="+mn-cs"/>
              </a:endParaRPr>
            </a:p>
          </p:txBody>
        </p:sp>
        <p:sp>
          <p:nvSpPr>
            <p:cNvPr id="23" name="正方形/長方形 16">
              <a:extLst>
                <a:ext uri="{FF2B5EF4-FFF2-40B4-BE49-F238E27FC236}">
                  <a16:creationId xmlns:a16="http://schemas.microsoft.com/office/drawing/2014/main" id="{F2E7DE98-4665-4AA6-A312-A8CB4F0F7404}"/>
                </a:ext>
              </a:extLst>
            </p:cNvPr>
            <p:cNvSpPr/>
            <p:nvPr/>
          </p:nvSpPr>
          <p:spPr bwMode="gray">
            <a:xfrm>
              <a:off x="6553200" y="1484313"/>
              <a:ext cx="2944800" cy="477523"/>
            </a:xfrm>
            <a:prstGeom prst="rect">
              <a:avLst/>
            </a:prstGeom>
            <a:solidFill>
              <a:srgbClr val="046A38"/>
            </a:solidFill>
            <a:ln w="12700" algn="ctr">
              <a:solidFill>
                <a:srgbClr val="046A38"/>
              </a:solid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600" i="0" u="none" strike="noStrike" kern="1200" cap="none" spc="0" normalizeH="0" baseline="0" noProof="0" dirty="0">
                  <a:ln>
                    <a:noFill/>
                  </a:ln>
                  <a:solidFill>
                    <a:prstClr val="white"/>
                  </a:solidFill>
                  <a:effectLst/>
                  <a:uLnTx/>
                  <a:uFillTx/>
                  <a:ea typeface="+mn-ea"/>
                  <a:cs typeface="+mn-cs"/>
                </a:rPr>
                <a:t>XXXXXXXXXXX</a:t>
              </a:r>
              <a:endParaRPr kumimoji="1" lang="ja-JP" altLang="en-US" sz="1600" i="0" u="none" strike="noStrike" kern="1200" cap="none" spc="0" normalizeH="0" baseline="0" noProof="0" dirty="0">
                <a:ln>
                  <a:noFill/>
                </a:ln>
                <a:solidFill>
                  <a:prstClr val="white"/>
                </a:solidFill>
                <a:effectLst/>
                <a:uLnTx/>
                <a:uFillTx/>
                <a:ea typeface="+mn-ea"/>
                <a:cs typeface="+mn-cs"/>
              </a:endParaRPr>
            </a:p>
          </p:txBody>
        </p:sp>
        <p:sp>
          <p:nvSpPr>
            <p:cNvPr id="24" name="正方形/長方形 17">
              <a:extLst>
                <a:ext uri="{FF2B5EF4-FFF2-40B4-BE49-F238E27FC236}">
                  <a16:creationId xmlns:a16="http://schemas.microsoft.com/office/drawing/2014/main" id="{8C480DB0-4296-43E1-BF48-3079F000873E}"/>
                </a:ext>
              </a:extLst>
            </p:cNvPr>
            <p:cNvSpPr/>
            <p:nvPr/>
          </p:nvSpPr>
          <p:spPr bwMode="gray">
            <a:xfrm>
              <a:off x="6653755" y="1424552"/>
              <a:ext cx="445221" cy="572347"/>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Calibri Light"/>
                  <a:ea typeface="+mn-ea"/>
                  <a:cs typeface="+mn-cs"/>
                </a:rPr>
                <a:t>3</a:t>
              </a:r>
              <a:endParaRPr kumimoji="1" lang="ja-JP" altLang="en-US" sz="14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5" name="正方形/長方形 18">
              <a:extLst>
                <a:ext uri="{FF2B5EF4-FFF2-40B4-BE49-F238E27FC236}">
                  <a16:creationId xmlns:a16="http://schemas.microsoft.com/office/drawing/2014/main" id="{39DE1ABF-0FC2-4294-BB8F-7E4707075D2E}"/>
                </a:ext>
              </a:extLst>
            </p:cNvPr>
            <p:cNvSpPr/>
            <p:nvPr/>
          </p:nvSpPr>
          <p:spPr bwMode="gray">
            <a:xfrm>
              <a:off x="3508151" y="2955305"/>
              <a:ext cx="445221" cy="578809"/>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Calibri Light"/>
                  <a:ea typeface="+mn-ea"/>
                  <a:cs typeface="+mn-cs"/>
                </a:rPr>
                <a:t>2</a:t>
              </a:r>
              <a:endParaRPr kumimoji="1" lang="ja-JP" altLang="en-US" sz="14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6" name="正方形/長方形 19">
              <a:extLst>
                <a:ext uri="{FF2B5EF4-FFF2-40B4-BE49-F238E27FC236}">
                  <a16:creationId xmlns:a16="http://schemas.microsoft.com/office/drawing/2014/main" id="{1D39E71B-6CE5-4472-930A-A6A5776DE1EB}"/>
                </a:ext>
              </a:extLst>
            </p:cNvPr>
            <p:cNvSpPr/>
            <p:nvPr/>
          </p:nvSpPr>
          <p:spPr bwMode="gray">
            <a:xfrm>
              <a:off x="417000" y="4197268"/>
              <a:ext cx="445221" cy="572347"/>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Calibri Light"/>
                  <a:ea typeface="+mn-ea"/>
                  <a:cs typeface="+mn-cs"/>
                </a:rPr>
                <a:t>1</a:t>
              </a:r>
              <a:endParaRPr kumimoji="1" lang="ja-JP" altLang="en-US" sz="14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14" name="Star: 5 Points 13">
            <a:extLst>
              <a:ext uri="{FF2B5EF4-FFF2-40B4-BE49-F238E27FC236}">
                <a16:creationId xmlns:a16="http://schemas.microsoft.com/office/drawing/2014/main" id="{D26F6AAB-F60D-498A-AACD-08C67D38E4EA}"/>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90366280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Six steps</a:t>
            </a:r>
            <a:endParaRPr lang="en-US" dirty="0"/>
          </a:p>
        </p:txBody>
      </p:sp>
      <p:sp>
        <p:nvSpPr>
          <p:cNvPr id="808961" name="Title 1"/>
          <p:cNvSpPr>
            <a:spLocks noGrp="1"/>
          </p:cNvSpPr>
          <p:nvPr>
            <p:ph type="title"/>
          </p:nvPr>
        </p:nvSpPr>
        <p:spPr/>
        <p:txBody>
          <a:bodyPr/>
          <a:lstStyle/>
          <a:p>
            <a:r>
              <a:rPr lang="en-US"/>
              <a:t>Diagonal boxes </a:t>
            </a:r>
            <a:endParaRPr lang="en-US" dirty="0"/>
          </a:p>
        </p:txBody>
      </p:sp>
      <p:grpSp>
        <p:nvGrpSpPr>
          <p:cNvPr id="2" name="Group 1">
            <a:extLst>
              <a:ext uri="{FF2B5EF4-FFF2-40B4-BE49-F238E27FC236}">
                <a16:creationId xmlns:a16="http://schemas.microsoft.com/office/drawing/2014/main" id="{F7E0DCBB-BDED-4760-A942-3CAA3D8D6448}"/>
              </a:ext>
            </a:extLst>
          </p:cNvPr>
          <p:cNvGrpSpPr/>
          <p:nvPr/>
        </p:nvGrpSpPr>
        <p:grpSpPr>
          <a:xfrm>
            <a:off x="501649" y="1862139"/>
            <a:ext cx="11188699" cy="3630549"/>
            <a:chOff x="1889760" y="1862139"/>
            <a:chExt cx="8412480" cy="3630549"/>
          </a:xfrm>
        </p:grpSpPr>
        <p:sp>
          <p:nvSpPr>
            <p:cNvPr id="76" name="Rectangle 3"/>
            <p:cNvSpPr>
              <a:spLocks noChangeArrowheads="1"/>
            </p:cNvSpPr>
            <p:nvPr/>
          </p:nvSpPr>
          <p:spPr bwMode="auto">
            <a:xfrm>
              <a:off x="1889760" y="4250469"/>
              <a:ext cx="1143000" cy="542925"/>
            </a:xfrm>
            <a:prstGeom prst="rect">
              <a:avLst/>
            </a:prstGeom>
            <a:solidFill>
              <a:schemeClr val="accent1"/>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0" name="Rectangle 17"/>
            <p:cNvSpPr>
              <a:spLocks noChangeArrowheads="1"/>
            </p:cNvSpPr>
            <p:nvPr/>
          </p:nvSpPr>
          <p:spPr bwMode="auto">
            <a:xfrm>
              <a:off x="3343656" y="3772803"/>
              <a:ext cx="1143000" cy="542925"/>
            </a:xfrm>
            <a:prstGeom prst="rect">
              <a:avLst/>
            </a:prstGeom>
            <a:solidFill>
              <a:schemeClr val="accent2"/>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1" name="Rectangle 18"/>
            <p:cNvSpPr>
              <a:spLocks noChangeArrowheads="1"/>
            </p:cNvSpPr>
            <p:nvPr/>
          </p:nvSpPr>
          <p:spPr bwMode="auto">
            <a:xfrm>
              <a:off x="4797552" y="3295137"/>
              <a:ext cx="1143000" cy="542925"/>
            </a:xfrm>
            <a:prstGeom prst="rect">
              <a:avLst/>
            </a:prstGeom>
            <a:solidFill>
              <a:schemeClr val="accent5"/>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2" name="Rectangle 19"/>
            <p:cNvSpPr>
              <a:spLocks noChangeArrowheads="1"/>
            </p:cNvSpPr>
            <p:nvPr/>
          </p:nvSpPr>
          <p:spPr bwMode="auto">
            <a:xfrm>
              <a:off x="6251448" y="2817471"/>
              <a:ext cx="1143000" cy="542925"/>
            </a:xfrm>
            <a:prstGeom prst="rect">
              <a:avLst/>
            </a:prstGeom>
            <a:solidFill>
              <a:schemeClr val="accent4"/>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3" name="Rectangle 20"/>
            <p:cNvSpPr>
              <a:spLocks noChangeArrowheads="1"/>
            </p:cNvSpPr>
            <p:nvPr/>
          </p:nvSpPr>
          <p:spPr bwMode="auto">
            <a:xfrm>
              <a:off x="7705344" y="2339805"/>
              <a:ext cx="1143000" cy="542925"/>
            </a:xfrm>
            <a:prstGeom prst="rect">
              <a:avLst/>
            </a:prstGeom>
            <a:solidFill>
              <a:schemeClr val="accent3"/>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sp>
          <p:nvSpPr>
            <p:cNvPr id="94" name="Rectangle 21"/>
            <p:cNvSpPr>
              <a:spLocks noChangeArrowheads="1"/>
            </p:cNvSpPr>
            <p:nvPr/>
          </p:nvSpPr>
          <p:spPr bwMode="auto">
            <a:xfrm>
              <a:off x="9159240" y="1862139"/>
              <a:ext cx="1143000" cy="542925"/>
            </a:xfrm>
            <a:prstGeom prst="rect">
              <a:avLst/>
            </a:prstGeom>
            <a:solidFill>
              <a:schemeClr val="tx2"/>
            </a:solidFill>
            <a:ln w="12700" algn="ctr">
              <a:noFill/>
              <a:miter lim="800000"/>
              <a:headEnd/>
              <a:tailEnd/>
            </a:ln>
          </p:spPr>
          <p:txBody>
            <a:bodyPr lIns="91440" tIns="91440" rIns="91440" bIns="91440" anchor="ctr"/>
            <a:lstStyle/>
            <a:p>
              <a:pPr algn="ctr" defTabSz="865188">
                <a:lnSpc>
                  <a:spcPct val="95000"/>
                </a:lnSpc>
                <a:defRPr/>
              </a:pPr>
              <a:r>
                <a:rPr lang="en-US" sz="1300" dirty="0">
                  <a:solidFill>
                    <a:schemeClr val="bg1"/>
                  </a:solidFill>
                  <a:ea typeface="ＭＳ Ｐゴシック" pitchFamily="50" charset="-128"/>
                </a:rPr>
                <a:t>Text</a:t>
              </a:r>
            </a:p>
          </p:txBody>
        </p:sp>
        <p:cxnSp>
          <p:nvCxnSpPr>
            <p:cNvPr id="95" name="AutoShape 22"/>
            <p:cNvCxnSpPr>
              <a:cxnSpLocks noChangeShapeType="1"/>
              <a:stCxn id="76" idx="0"/>
              <a:endCxn id="90" idx="1"/>
            </p:cNvCxnSpPr>
            <p:nvPr/>
          </p:nvCxnSpPr>
          <p:spPr bwMode="auto">
            <a:xfrm rot="5400000" flipH="1" flipV="1">
              <a:off x="2799358" y="3706169"/>
              <a:ext cx="206203" cy="882396"/>
            </a:xfrm>
            <a:prstGeom prst="bentConnector2">
              <a:avLst/>
            </a:prstGeom>
            <a:noFill/>
            <a:ln w="6350">
              <a:solidFill>
                <a:schemeClr val="tx1"/>
              </a:solidFill>
              <a:miter lim="800000"/>
              <a:headEnd/>
              <a:tailEnd type="triangle" w="med" len="med"/>
            </a:ln>
          </p:spPr>
        </p:cxnSp>
        <p:cxnSp>
          <p:nvCxnSpPr>
            <p:cNvPr id="96" name="AutoShape 23"/>
            <p:cNvCxnSpPr>
              <a:cxnSpLocks noChangeShapeType="1"/>
              <a:stCxn id="90" idx="0"/>
              <a:endCxn id="91" idx="1"/>
            </p:cNvCxnSpPr>
            <p:nvPr/>
          </p:nvCxnSpPr>
          <p:spPr bwMode="auto">
            <a:xfrm rot="5400000" flipH="1" flipV="1">
              <a:off x="4253254" y="3228503"/>
              <a:ext cx="206203" cy="882396"/>
            </a:xfrm>
            <a:prstGeom prst="bentConnector2">
              <a:avLst/>
            </a:prstGeom>
            <a:noFill/>
            <a:ln w="6350">
              <a:solidFill>
                <a:schemeClr val="tx1"/>
              </a:solidFill>
              <a:miter lim="800000"/>
              <a:headEnd/>
              <a:tailEnd type="triangle" w="med" len="med"/>
            </a:ln>
          </p:spPr>
        </p:cxnSp>
        <p:cxnSp>
          <p:nvCxnSpPr>
            <p:cNvPr id="97" name="AutoShape 24"/>
            <p:cNvCxnSpPr>
              <a:cxnSpLocks noChangeShapeType="1"/>
              <a:stCxn id="91" idx="0"/>
              <a:endCxn id="92" idx="1"/>
            </p:cNvCxnSpPr>
            <p:nvPr/>
          </p:nvCxnSpPr>
          <p:spPr bwMode="auto">
            <a:xfrm rot="5400000" flipH="1" flipV="1">
              <a:off x="5707150" y="2750837"/>
              <a:ext cx="206203" cy="882396"/>
            </a:xfrm>
            <a:prstGeom prst="bentConnector2">
              <a:avLst/>
            </a:prstGeom>
            <a:noFill/>
            <a:ln w="6350">
              <a:solidFill>
                <a:schemeClr val="tx1"/>
              </a:solidFill>
              <a:miter lim="800000"/>
              <a:headEnd/>
              <a:tailEnd type="triangle" w="med" len="med"/>
            </a:ln>
          </p:spPr>
        </p:cxnSp>
        <p:cxnSp>
          <p:nvCxnSpPr>
            <p:cNvPr id="98" name="AutoShape 25"/>
            <p:cNvCxnSpPr>
              <a:cxnSpLocks noChangeShapeType="1"/>
              <a:stCxn id="92" idx="0"/>
              <a:endCxn id="93" idx="1"/>
            </p:cNvCxnSpPr>
            <p:nvPr/>
          </p:nvCxnSpPr>
          <p:spPr bwMode="auto">
            <a:xfrm rot="5400000" flipH="1" flipV="1">
              <a:off x="7161046" y="2273171"/>
              <a:ext cx="206203" cy="882396"/>
            </a:xfrm>
            <a:prstGeom prst="bentConnector2">
              <a:avLst/>
            </a:prstGeom>
            <a:noFill/>
            <a:ln w="6350">
              <a:solidFill>
                <a:schemeClr val="tx1"/>
              </a:solidFill>
              <a:miter lim="800000"/>
              <a:headEnd/>
              <a:tailEnd type="triangle" w="med" len="med"/>
            </a:ln>
          </p:spPr>
        </p:cxnSp>
        <p:cxnSp>
          <p:nvCxnSpPr>
            <p:cNvPr id="99" name="AutoShape 26"/>
            <p:cNvCxnSpPr>
              <a:cxnSpLocks noChangeShapeType="1"/>
              <a:stCxn id="93" idx="0"/>
              <a:endCxn id="94" idx="1"/>
            </p:cNvCxnSpPr>
            <p:nvPr/>
          </p:nvCxnSpPr>
          <p:spPr bwMode="auto">
            <a:xfrm rot="5400000" flipH="1" flipV="1">
              <a:off x="8614942" y="1795505"/>
              <a:ext cx="206203" cy="882396"/>
            </a:xfrm>
            <a:prstGeom prst="bentConnector2">
              <a:avLst/>
            </a:prstGeom>
            <a:noFill/>
            <a:ln w="6350">
              <a:solidFill>
                <a:schemeClr val="tx1"/>
              </a:solidFill>
              <a:miter lim="800000"/>
              <a:headEnd/>
              <a:tailEnd type="triangle" w="med" len="med"/>
            </a:ln>
          </p:spPr>
        </p:cxnSp>
        <p:sp>
          <p:nvSpPr>
            <p:cNvPr id="38" name="TextBox 37"/>
            <p:cNvSpPr txBox="1"/>
            <p:nvPr/>
          </p:nvSpPr>
          <p:spPr>
            <a:xfrm>
              <a:off x="1889760" y="4815580"/>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39" name="TextBox 38"/>
            <p:cNvSpPr txBox="1"/>
            <p:nvPr/>
          </p:nvSpPr>
          <p:spPr>
            <a:xfrm>
              <a:off x="3343656" y="433799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40" name="TextBox 39"/>
            <p:cNvSpPr txBox="1"/>
            <p:nvPr/>
          </p:nvSpPr>
          <p:spPr>
            <a:xfrm>
              <a:off x="4797552" y="386040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41" name="TextBox 40"/>
            <p:cNvSpPr txBox="1"/>
            <p:nvPr/>
          </p:nvSpPr>
          <p:spPr>
            <a:xfrm>
              <a:off x="6251448" y="338281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48" name="TextBox 47"/>
            <p:cNvSpPr txBox="1"/>
            <p:nvPr/>
          </p:nvSpPr>
          <p:spPr>
            <a:xfrm>
              <a:off x="7705344" y="290522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sp>
          <p:nvSpPr>
            <p:cNvPr id="49" name="TextBox 48"/>
            <p:cNvSpPr txBox="1"/>
            <p:nvPr/>
          </p:nvSpPr>
          <p:spPr>
            <a:xfrm>
              <a:off x="9159240" y="2427631"/>
              <a:ext cx="1143000" cy="677108"/>
            </a:xfrm>
            <a:prstGeom prst="rect">
              <a:avLst/>
            </a:prstGeom>
            <a:noFill/>
          </p:spPr>
          <p:txBody>
            <a:bodyPr wrap="square" lIns="0" tIns="0" rIns="0" bIns="0" rtlCol="0">
              <a:spAutoFit/>
            </a:bodyPr>
            <a:lstStyle/>
            <a:p>
              <a:pPr>
                <a:spcBef>
                  <a:spcPts val="600"/>
                </a:spcBef>
                <a:buSzPct val="25000"/>
              </a:pPr>
              <a:r>
                <a:rPr lang="en-US" sz="1300" dirty="0"/>
                <a:t>This is dummy text </a:t>
              </a:r>
            </a:p>
            <a:p>
              <a:pPr marL="114300" lvl="1" indent="-114300">
                <a:spcBef>
                  <a:spcPts val="600"/>
                </a:spcBef>
                <a:buSzPct val="100000"/>
                <a:buFont typeface="Arial"/>
                <a:buChar char="•"/>
              </a:pPr>
              <a:r>
                <a:rPr lang="en-US" sz="1300" dirty="0"/>
                <a:t>This is a level 1 bullet</a:t>
              </a:r>
            </a:p>
          </p:txBody>
        </p:sp>
      </p:grpSp>
      <p:sp>
        <p:nvSpPr>
          <p:cNvPr id="51" name="Rectangle 5"/>
          <p:cNvSpPr>
            <a:spLocks noChangeArrowheads="1"/>
          </p:cNvSpPr>
          <p:nvPr/>
        </p:nvSpPr>
        <p:spPr bwMode="auto">
          <a:xfrm>
            <a:off x="1123477"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52" name="AutoShape 11"/>
          <p:cNvSpPr>
            <a:spLocks noChangeArrowheads="1"/>
          </p:cNvSpPr>
          <p:nvPr/>
        </p:nvSpPr>
        <p:spPr bwMode="gray">
          <a:xfrm>
            <a:off x="1081753" y="5744083"/>
            <a:ext cx="360000" cy="270000"/>
          </a:xfrm>
          <a:prstGeom prst="downArrow">
            <a:avLst>
              <a:gd name="adj1" fmla="val 49815"/>
              <a:gd name="adj2" fmla="val 54667"/>
            </a:avLst>
          </a:prstGeom>
          <a:solidFill>
            <a:schemeClr val="accent1"/>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solidFill>
                <a:schemeClr val="tx2"/>
              </a:solidFill>
            </a:endParaRPr>
          </a:p>
        </p:txBody>
      </p:sp>
      <p:sp>
        <p:nvSpPr>
          <p:cNvPr id="54" name="Rectangle 5"/>
          <p:cNvSpPr>
            <a:spLocks noChangeArrowheads="1"/>
          </p:cNvSpPr>
          <p:nvPr/>
        </p:nvSpPr>
        <p:spPr bwMode="auto">
          <a:xfrm>
            <a:off x="3060784"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55" name="AutoShape 11"/>
          <p:cNvSpPr>
            <a:spLocks noChangeArrowheads="1"/>
          </p:cNvSpPr>
          <p:nvPr/>
        </p:nvSpPr>
        <p:spPr bwMode="gray">
          <a:xfrm>
            <a:off x="3019060" y="5744083"/>
            <a:ext cx="360000" cy="270000"/>
          </a:xfrm>
          <a:prstGeom prst="downArrow">
            <a:avLst>
              <a:gd name="adj1" fmla="val 49815"/>
              <a:gd name="adj2" fmla="val 54667"/>
            </a:avLst>
          </a:prstGeom>
          <a:solidFill>
            <a:schemeClr val="accent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57" name="Rectangle 5"/>
          <p:cNvSpPr>
            <a:spLocks noChangeArrowheads="1"/>
          </p:cNvSpPr>
          <p:nvPr/>
        </p:nvSpPr>
        <p:spPr bwMode="auto">
          <a:xfrm>
            <a:off x="4990876"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58" name="AutoShape 11"/>
          <p:cNvSpPr>
            <a:spLocks noChangeArrowheads="1"/>
          </p:cNvSpPr>
          <p:nvPr/>
        </p:nvSpPr>
        <p:spPr bwMode="gray">
          <a:xfrm>
            <a:off x="4949152" y="5744083"/>
            <a:ext cx="360000" cy="270000"/>
          </a:xfrm>
          <a:prstGeom prst="downArrow">
            <a:avLst>
              <a:gd name="adj1" fmla="val 49815"/>
              <a:gd name="adj2" fmla="val 54667"/>
            </a:avLst>
          </a:prstGeom>
          <a:solidFill>
            <a:schemeClr val="accent5"/>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0" name="Rectangle 5"/>
          <p:cNvSpPr>
            <a:spLocks noChangeArrowheads="1"/>
          </p:cNvSpPr>
          <p:nvPr/>
        </p:nvSpPr>
        <p:spPr bwMode="auto">
          <a:xfrm>
            <a:off x="6946923"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61" name="AutoShape 11"/>
          <p:cNvSpPr>
            <a:spLocks noChangeArrowheads="1"/>
          </p:cNvSpPr>
          <p:nvPr/>
        </p:nvSpPr>
        <p:spPr bwMode="gray">
          <a:xfrm>
            <a:off x="6905199" y="5744083"/>
            <a:ext cx="360000" cy="270000"/>
          </a:xfrm>
          <a:prstGeom prst="downArrow">
            <a:avLst>
              <a:gd name="adj1" fmla="val 49815"/>
              <a:gd name="adj2" fmla="val 54667"/>
            </a:avLst>
          </a:prstGeom>
          <a:solidFill>
            <a:schemeClr val="accent4"/>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3" name="Rectangle 5"/>
          <p:cNvSpPr>
            <a:spLocks noChangeArrowheads="1"/>
          </p:cNvSpPr>
          <p:nvPr/>
        </p:nvSpPr>
        <p:spPr bwMode="auto">
          <a:xfrm>
            <a:off x="8858273"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64" name="AutoShape 11"/>
          <p:cNvSpPr>
            <a:spLocks noChangeArrowheads="1"/>
          </p:cNvSpPr>
          <p:nvPr/>
        </p:nvSpPr>
        <p:spPr bwMode="gray">
          <a:xfrm>
            <a:off x="8816549" y="5744083"/>
            <a:ext cx="360000" cy="270000"/>
          </a:xfrm>
          <a:prstGeom prst="downArrow">
            <a:avLst>
              <a:gd name="adj1" fmla="val 49815"/>
              <a:gd name="adj2" fmla="val 54667"/>
            </a:avLst>
          </a:prstGeom>
          <a:solidFill>
            <a:schemeClr val="accent3"/>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66" name="Rectangle 5"/>
          <p:cNvSpPr>
            <a:spLocks noChangeArrowheads="1"/>
          </p:cNvSpPr>
          <p:nvPr/>
        </p:nvSpPr>
        <p:spPr bwMode="auto">
          <a:xfrm>
            <a:off x="10769623" y="6099028"/>
            <a:ext cx="276551" cy="190052"/>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300" dirty="0">
                <a:ea typeface="ＭＳ Ｐゴシック" charset="-128"/>
              </a:rPr>
              <a:t>Text</a:t>
            </a:r>
          </a:p>
        </p:txBody>
      </p:sp>
      <p:sp>
        <p:nvSpPr>
          <p:cNvPr id="67" name="AutoShape 11"/>
          <p:cNvSpPr>
            <a:spLocks noChangeArrowheads="1"/>
          </p:cNvSpPr>
          <p:nvPr/>
        </p:nvSpPr>
        <p:spPr bwMode="gray">
          <a:xfrm>
            <a:off x="10727899" y="5744083"/>
            <a:ext cx="360000" cy="270000"/>
          </a:xfrm>
          <a:prstGeom prst="downArrow">
            <a:avLst>
              <a:gd name="adj1" fmla="val 49815"/>
              <a:gd name="adj2" fmla="val 54667"/>
            </a:avLst>
          </a:prstGeom>
          <a:solidFill>
            <a:schemeClr val="tx2"/>
          </a:solidFill>
          <a:ln w="6350" algn="ctr">
            <a:noFill/>
            <a:miter lim="800000"/>
            <a:headEnd/>
            <a:tailEnd/>
          </a:ln>
          <a:effectLst/>
        </p:spPr>
        <p:txBody>
          <a:bodyPr vert="horz" wrap="none" lIns="91440" tIns="45720" rIns="91440" bIns="45720" numCol="1" anchor="ctr" anchorCtr="0" compatLnSpc="1">
            <a:prstTxWarp prst="textNoShape">
              <a:avLst/>
            </a:prstTxWarp>
          </a:bodyPr>
          <a:lstStyle/>
          <a:p>
            <a:endParaRPr lang="en-US" dirty="0"/>
          </a:p>
        </p:txBody>
      </p:sp>
      <p:sp>
        <p:nvSpPr>
          <p:cNvPr id="34" name="TextBox 33">
            <a:extLst>
              <a:ext uri="{FF2B5EF4-FFF2-40B4-BE49-F238E27FC236}">
                <a16:creationId xmlns:a16="http://schemas.microsoft.com/office/drawing/2014/main" id="{D4EEB0FF-7322-4CD8-B2F5-B3B4D58AE621}"/>
              </a:ext>
            </a:extLst>
          </p:cNvPr>
          <p:cNvSpPr txBox="1"/>
          <p:nvPr/>
        </p:nvSpPr>
        <p:spPr bwMode="gray">
          <a:xfrm>
            <a:off x="527169" y="1725656"/>
            <a:ext cx="8348472" cy="200055"/>
          </a:xfrm>
          <a:prstGeom prst="rect">
            <a:avLst/>
          </a:prstGeom>
          <a:noFill/>
        </p:spPr>
        <p:txBody>
          <a:bodyPr wrap="square" lIns="0" tIns="0" rIns="0" bIns="0" rtlCol="0">
            <a:spAutoFit/>
          </a:bodyPr>
          <a:lstStyle/>
          <a:p>
            <a:r>
              <a:rPr lang="en-US" sz="1300" dirty="0"/>
              <a:t>Title runs here</a:t>
            </a:r>
          </a:p>
        </p:txBody>
      </p:sp>
    </p:spTree>
    <p:extLst>
      <p:ext uri="{BB962C8B-B14F-4D97-AF65-F5344CB8AC3E}">
        <p14:creationId xmlns:p14="http://schemas.microsoft.com/office/powerpoint/2010/main" val="326752352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1"/>
                </a:solidFill>
              </a:rPr>
              <a:t>Charts and graphs</a:t>
            </a:r>
          </a:p>
        </p:txBody>
      </p:sp>
    </p:spTree>
    <p:extLst>
      <p:ext uri="{BB962C8B-B14F-4D97-AF65-F5344CB8AC3E}">
        <p14:creationId xmlns:p14="http://schemas.microsoft.com/office/powerpoint/2010/main" val="202669580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05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0" name="Text Placeholder 9"/>
          <p:cNvSpPr>
            <a:spLocks noGrp="1"/>
          </p:cNvSpPr>
          <p:nvPr>
            <p:ph type="body" sz="quarter" idx="13"/>
          </p:nvPr>
        </p:nvSpPr>
        <p:spPr/>
        <p:txBody>
          <a:bodyPr/>
          <a:lstStyle/>
          <a:p>
            <a:pPr lvl="0"/>
            <a:r>
              <a:rPr lang="en-US" altLang="ja-JP"/>
              <a:t>Paired</a:t>
            </a:r>
            <a:endParaRPr lang="en-GB" dirty="0"/>
          </a:p>
        </p:txBody>
      </p:sp>
      <p:graphicFrame>
        <p:nvGraphicFramePr>
          <p:cNvPr id="15" name="Chart Placeholder 14"/>
          <p:cNvGraphicFramePr>
            <a:graphicFrameLocks noGrp="1"/>
          </p:cNvGraphicFramePr>
          <p:nvPr>
            <p:ph type="chart" sz="quarter" idx="15"/>
            <p:extLst>
              <p:ext uri="{D42A27DB-BD31-4B8C-83A1-F6EECF244321}">
                <p14:modId xmlns:p14="http://schemas.microsoft.com/office/powerpoint/2010/main" val="2033567964"/>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7" name="Text Placeholder 16"/>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Bar charts </a:t>
            </a:r>
            <a:endParaRPr lang="en-US" dirty="0"/>
          </a:p>
        </p:txBody>
      </p:sp>
    </p:spTree>
    <p:extLst>
      <p:ext uri="{BB962C8B-B14F-4D97-AF65-F5344CB8AC3E}">
        <p14:creationId xmlns:p14="http://schemas.microsoft.com/office/powerpoint/2010/main" val="259670308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GB"/>
              <a:t>Multi </a:t>
            </a:r>
            <a:r>
              <a:rPr lang="en-US"/>
              <a:t>colors</a:t>
            </a:r>
            <a:endParaRPr lang="en-US" dirty="0"/>
          </a:p>
        </p:txBody>
      </p:sp>
      <p:graphicFrame>
        <p:nvGraphicFramePr>
          <p:cNvPr id="10" name="Chart Placeholder 13">
            <a:extLst>
              <a:ext uri="{FF2B5EF4-FFF2-40B4-BE49-F238E27FC236}">
                <a16:creationId xmlns:a16="http://schemas.microsoft.com/office/drawing/2014/main" id="{E459724D-7670-483F-AF24-7749DD932DE4}"/>
              </a:ext>
            </a:extLst>
          </p:cNvPr>
          <p:cNvGraphicFramePr>
            <a:graphicFrameLocks noGrp="1"/>
          </p:cNvGraphicFramePr>
          <p:nvPr>
            <p:ph type="chart" sz="quarter" idx="15"/>
            <p:extLst>
              <p:ext uri="{D42A27DB-BD31-4B8C-83A1-F6EECF244321}">
                <p14:modId xmlns:p14="http://schemas.microsoft.com/office/powerpoint/2010/main" val="1670234068"/>
              </p:ext>
            </p:extLst>
          </p:nvPr>
        </p:nvGraphicFramePr>
        <p:xfrm>
          <a:off x="468313" y="2036763"/>
          <a:ext cx="11252200" cy="3946525"/>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4">
            <a:extLst>
              <a:ext uri="{FF2B5EF4-FFF2-40B4-BE49-F238E27FC236}">
                <a16:creationId xmlns:a16="http://schemas.microsoft.com/office/drawing/2014/main" id="{40B5AE07-DC71-4DB2-9732-2BB384A9AB6F}"/>
              </a:ext>
            </a:extLst>
          </p:cNvPr>
          <p:cNvSpPr>
            <a:spLocks noGrp="1"/>
          </p:cNvSpPr>
          <p:nvPr>
            <p:ph type="body" sz="quarter" idx="18"/>
          </p:nvPr>
        </p:nvSpPr>
        <p:spPr/>
        <p:txBody>
          <a:bodyPr/>
          <a:lstStyle/>
          <a:p>
            <a:r>
              <a:rPr lang="en-US" noProof="0" dirty="0">
                <a:latin typeface="+mj-lt"/>
              </a:rPr>
              <a:t>Chart title runs here (units)</a:t>
            </a:r>
          </a:p>
          <a:p>
            <a:endParaRPr lang="en-US" noProof="0" dirty="0">
              <a:latin typeface="+mj-lt"/>
            </a:endParaRPr>
          </a:p>
        </p:txBody>
      </p:sp>
      <p:sp>
        <p:nvSpPr>
          <p:cNvPr id="3" name="Text Placeholder 2"/>
          <p:cNvSpPr>
            <a:spLocks noGrp="1"/>
          </p:cNvSpPr>
          <p:nvPr>
            <p:ph type="body" sz="quarter" idx="23"/>
          </p:nvPr>
        </p:nvSpPr>
        <p:spPr/>
        <p:txBody>
          <a:bodyPr>
            <a:noAutofit/>
          </a:bodyPr>
          <a:lstStyle/>
          <a:p>
            <a:r>
              <a:rPr lang="en-US"/>
              <a:t>Source:</a:t>
            </a:r>
          </a:p>
          <a:p>
            <a:r>
              <a:rPr lang="en-US"/>
              <a:t>Note:</a:t>
            </a:r>
          </a:p>
          <a:p>
            <a:endParaRPr lang="en-US" dirty="0"/>
          </a:p>
        </p:txBody>
      </p:sp>
      <p:sp>
        <p:nvSpPr>
          <p:cNvPr id="2" name="Title 1"/>
          <p:cNvSpPr>
            <a:spLocks noGrp="1"/>
          </p:cNvSpPr>
          <p:nvPr>
            <p:ph type="title"/>
          </p:nvPr>
        </p:nvSpPr>
        <p:spPr/>
        <p:txBody>
          <a:bodyPr/>
          <a:lstStyle/>
          <a:p>
            <a:r>
              <a:rPr lang="en-US"/>
              <a:t>Horizontal stacked bar chart</a:t>
            </a:r>
            <a:endParaRPr lang="en-US" dirty="0"/>
          </a:p>
        </p:txBody>
      </p:sp>
    </p:spTree>
    <p:extLst>
      <p:ext uri="{BB962C8B-B14F-4D97-AF65-F5344CB8AC3E}">
        <p14:creationId xmlns:p14="http://schemas.microsoft.com/office/powerpoint/2010/main" val="93274361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Placeholder 7"/>
          <p:cNvGraphicFramePr>
            <a:graphicFrameLocks noGrp="1"/>
          </p:cNvGraphicFramePr>
          <p:nvPr>
            <p:ph type="chart" sz="quarter" idx="21"/>
            <p:extLst>
              <p:ext uri="{D42A27DB-BD31-4B8C-83A1-F6EECF244321}">
                <p14:modId xmlns:p14="http://schemas.microsoft.com/office/powerpoint/2010/main" val="3677546116"/>
              </p:ext>
            </p:extLst>
          </p:nvPr>
        </p:nvGraphicFramePr>
        <p:xfrm>
          <a:off x="6280150" y="2125664"/>
          <a:ext cx="5605272"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p:txBody>
          <a:bodyPr/>
          <a:lstStyle/>
          <a:p>
            <a:r>
              <a:rPr lang="en-US"/>
              <a:t>Highlight one segment color format (units)</a:t>
            </a:r>
            <a:endParaRPr lang="en-US" dirty="0"/>
          </a:p>
        </p:txBody>
      </p:sp>
      <p:sp>
        <p:nvSpPr>
          <p:cNvPr id="16" name="Text Placeholder 15"/>
          <p:cNvSpPr>
            <a:spLocks noGrp="1"/>
          </p:cNvSpPr>
          <p:nvPr>
            <p:ph type="body" sz="quarter" idx="23"/>
          </p:nvPr>
        </p:nvSpPr>
        <p:spPr/>
        <p:txBody>
          <a:bodyPr>
            <a:noAutofit/>
          </a:bodyPr>
          <a:lstStyle/>
          <a:p>
            <a:r>
              <a:rPr lang="en-US"/>
              <a:t>Source:</a:t>
            </a:r>
          </a:p>
          <a:p>
            <a:r>
              <a:rPr lang="en-US"/>
              <a:t>Note: </a:t>
            </a:r>
            <a:endParaRPr lang="en-US" dirty="0"/>
          </a:p>
        </p:txBody>
      </p:sp>
      <p:graphicFrame>
        <p:nvGraphicFramePr>
          <p:cNvPr id="17" name="Chart Placeholder 7"/>
          <p:cNvGraphicFramePr>
            <a:graphicFrameLocks noGrp="1"/>
          </p:cNvGraphicFramePr>
          <p:nvPr>
            <p:ph type="chart" sz="quarter" idx="24"/>
            <p:extLst>
              <p:ext uri="{D42A27DB-BD31-4B8C-83A1-F6EECF244321}">
                <p14:modId xmlns:p14="http://schemas.microsoft.com/office/powerpoint/2010/main" val="595056272"/>
              </p:ext>
            </p:extLst>
          </p:nvPr>
        </p:nvGraphicFramePr>
        <p:xfrm>
          <a:off x="297951" y="2125664"/>
          <a:ext cx="5605963"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 Placeholder 7"/>
          <p:cNvSpPr>
            <a:spLocks noGrp="1"/>
          </p:cNvSpPr>
          <p:nvPr>
            <p:ph type="body" sz="quarter" idx="25"/>
          </p:nvPr>
        </p:nvSpPr>
        <p:spPr/>
        <p:txBody>
          <a:bodyPr/>
          <a:lstStyle/>
          <a:p>
            <a:r>
              <a:rPr lang="en-US" dirty="0"/>
              <a:t>Standard color format (units)</a:t>
            </a:r>
          </a:p>
        </p:txBody>
      </p:sp>
      <p:sp>
        <p:nvSpPr>
          <p:cNvPr id="3" name="Text Placeholder 2"/>
          <p:cNvSpPr>
            <a:spLocks noGrp="1"/>
          </p:cNvSpPr>
          <p:nvPr>
            <p:ph type="body" sz="quarter" idx="13"/>
          </p:nvPr>
        </p:nvSpPr>
        <p:spPr/>
        <p:txBody>
          <a:bodyPr/>
          <a:lstStyle/>
          <a:p>
            <a:pPr lvl="0"/>
            <a:r>
              <a:rPr lang="en-US" altLang="ja-JP"/>
              <a:t>Two stacked</a:t>
            </a:r>
            <a:endParaRPr lang="en-GB" dirty="0"/>
          </a:p>
        </p:txBody>
      </p:sp>
      <p:sp>
        <p:nvSpPr>
          <p:cNvPr id="2" name="Title 1"/>
          <p:cNvSpPr>
            <a:spLocks noGrp="1"/>
          </p:cNvSpPr>
          <p:nvPr>
            <p:ph type="title"/>
          </p:nvPr>
        </p:nvSpPr>
        <p:spPr/>
        <p:txBody>
          <a:bodyPr/>
          <a:lstStyle/>
          <a:p>
            <a:r>
              <a:rPr lang="en-US" altLang="ja-JP"/>
              <a:t>Bar charts</a:t>
            </a:r>
            <a:endParaRPr lang="en-US" dirty="0"/>
          </a:p>
        </p:txBody>
      </p:sp>
    </p:spTree>
    <p:extLst>
      <p:ext uri="{BB962C8B-B14F-4D97-AF65-F5344CB8AC3E}">
        <p14:creationId xmlns:p14="http://schemas.microsoft.com/office/powerpoint/2010/main" val="48544153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a:t>Varying </a:t>
            </a:r>
            <a:r>
              <a:rPr lang="en-US"/>
              <a:t>colors</a:t>
            </a:r>
            <a:endParaRPr lang="en-US" dirty="0"/>
          </a:p>
        </p:txBody>
      </p:sp>
      <p:graphicFrame>
        <p:nvGraphicFramePr>
          <p:cNvPr id="9" name="Content Placeholder 8"/>
          <p:cNvGraphicFramePr>
            <a:graphicFrameLocks noGrp="1"/>
          </p:cNvGraphicFramePr>
          <p:nvPr>
            <p:ph type="chart" sz="quarter" idx="15"/>
            <p:extLst>
              <p:ext uri="{D42A27DB-BD31-4B8C-83A1-F6EECF244321}">
                <p14:modId xmlns:p14="http://schemas.microsoft.com/office/powerpoint/2010/main" val="675248513"/>
              </p:ext>
            </p:extLst>
          </p:nvPr>
        </p:nvGraphicFramePr>
        <p:xfrm>
          <a:off x="400692" y="2052638"/>
          <a:ext cx="11363218"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18"/>
          </p:nvPr>
        </p:nvSpPr>
        <p:spPr/>
        <p:txBody>
          <a:bodyPr/>
          <a:lstStyle/>
          <a:p>
            <a:r>
              <a:rPr lang="en-GB" dirty="0"/>
              <a:t>Chart title runs here</a:t>
            </a:r>
          </a:p>
        </p:txBody>
      </p:sp>
      <p:sp>
        <p:nvSpPr>
          <p:cNvPr id="5" name="Text Placeholder 4"/>
          <p:cNvSpPr>
            <a:spLocks noGrp="1"/>
          </p:cNvSpPr>
          <p:nvPr>
            <p:ph type="body" sz="quarter" idx="23"/>
          </p:nvPr>
        </p:nvSpPr>
        <p:spPr/>
        <p:txBody>
          <a:bodyPr>
            <a:noAutofit/>
          </a:bodyPr>
          <a:lstStyle/>
          <a:p>
            <a:r>
              <a:rPr lang="en-US"/>
              <a:t>Source:</a:t>
            </a:r>
          </a:p>
          <a:p>
            <a:r>
              <a:rPr lang="en-US"/>
              <a:t>Note:</a:t>
            </a:r>
          </a:p>
          <a:p>
            <a:endParaRPr lang="en-US" dirty="0"/>
          </a:p>
        </p:txBody>
      </p:sp>
      <p:sp>
        <p:nvSpPr>
          <p:cNvPr id="2" name="Title 1"/>
          <p:cNvSpPr>
            <a:spLocks noGrp="1"/>
          </p:cNvSpPr>
          <p:nvPr>
            <p:ph type="title"/>
          </p:nvPr>
        </p:nvSpPr>
        <p:spPr/>
        <p:txBody>
          <a:bodyPr/>
          <a:lstStyle/>
          <a:p>
            <a:r>
              <a:rPr lang="en-GB"/>
              <a:t>100% </a:t>
            </a:r>
            <a:r>
              <a:rPr lang="en-US"/>
              <a:t>Stacked</a:t>
            </a:r>
            <a:r>
              <a:rPr lang="en-GB"/>
              <a:t> bar chart</a:t>
            </a:r>
            <a:endParaRPr lang="en-GB" dirty="0"/>
          </a:p>
        </p:txBody>
      </p:sp>
    </p:spTree>
    <p:extLst>
      <p:ext uri="{BB962C8B-B14F-4D97-AF65-F5344CB8AC3E}">
        <p14:creationId xmlns:p14="http://schemas.microsoft.com/office/powerpoint/2010/main" val="30630591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Four parallel</a:t>
            </a:r>
            <a:endParaRPr lang="en-GB" dirty="0"/>
          </a:p>
        </p:txBody>
      </p:sp>
      <p:sp>
        <p:nvSpPr>
          <p:cNvPr id="2" name="Title 1"/>
          <p:cNvSpPr>
            <a:spLocks noGrp="1"/>
          </p:cNvSpPr>
          <p:nvPr>
            <p:ph type="title"/>
          </p:nvPr>
        </p:nvSpPr>
        <p:spPr/>
        <p:txBody>
          <a:bodyPr/>
          <a:lstStyle/>
          <a:p>
            <a:r>
              <a:rPr lang="en-US" altLang="ja-JP"/>
              <a:t>Bar charts</a:t>
            </a:r>
            <a:endParaRPr lang="en-US" dirty="0"/>
          </a:p>
        </p:txBody>
      </p:sp>
      <p:graphicFrame>
        <p:nvGraphicFramePr>
          <p:cNvPr id="24" name="Chart 23"/>
          <p:cNvGraphicFramePr/>
          <p:nvPr>
            <p:extLst>
              <p:ext uri="{D42A27DB-BD31-4B8C-83A1-F6EECF244321}">
                <p14:modId xmlns:p14="http://schemas.microsoft.com/office/powerpoint/2010/main" val="75334331"/>
              </p:ext>
            </p:extLst>
          </p:nvPr>
        </p:nvGraphicFramePr>
        <p:xfrm>
          <a:off x="501650" y="1918951"/>
          <a:ext cx="2514600" cy="41685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5" name="Chart 44"/>
          <p:cNvGraphicFramePr/>
          <p:nvPr>
            <p:extLst>
              <p:ext uri="{D42A27DB-BD31-4B8C-83A1-F6EECF244321}">
                <p14:modId xmlns:p14="http://schemas.microsoft.com/office/powerpoint/2010/main" val="1739009884"/>
              </p:ext>
            </p:extLst>
          </p:nvPr>
        </p:nvGraphicFramePr>
        <p:xfrm>
          <a:off x="3445303" y="1956391"/>
          <a:ext cx="2514600" cy="416856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6" name="Chart 45"/>
          <p:cNvGraphicFramePr/>
          <p:nvPr>
            <p:extLst>
              <p:ext uri="{D42A27DB-BD31-4B8C-83A1-F6EECF244321}">
                <p14:modId xmlns:p14="http://schemas.microsoft.com/office/powerpoint/2010/main" val="1718855439"/>
              </p:ext>
            </p:extLst>
          </p:nvPr>
        </p:nvGraphicFramePr>
        <p:xfrm>
          <a:off x="6388956" y="1956391"/>
          <a:ext cx="2514600" cy="416856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7" name="Chart 46"/>
          <p:cNvGraphicFramePr/>
          <p:nvPr>
            <p:extLst>
              <p:ext uri="{D42A27DB-BD31-4B8C-83A1-F6EECF244321}">
                <p14:modId xmlns:p14="http://schemas.microsoft.com/office/powerpoint/2010/main" val="3252827850"/>
              </p:ext>
            </p:extLst>
          </p:nvPr>
        </p:nvGraphicFramePr>
        <p:xfrm>
          <a:off x="9332609" y="1956391"/>
          <a:ext cx="2514600" cy="4168562"/>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 Placeholder 27"/>
          <p:cNvSpPr txBox="1">
            <a:spLocks/>
          </p:cNvSpPr>
          <p:nvPr/>
        </p:nvSpPr>
        <p:spPr>
          <a:xfrm>
            <a:off x="501650" y="6121014"/>
            <a:ext cx="9772651" cy="300334"/>
          </a:xfrm>
          <a:prstGeom prst="rect">
            <a:avLst/>
          </a:prstGeom>
        </p:spPr>
        <p:txBody>
          <a:bodyPr lIns="0" tIns="0" rIns="0" bIns="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spcAft>
                <a:spcPts val="0"/>
              </a:spcAft>
            </a:pPr>
            <a:r>
              <a:rPr lang="en-US" sz="900" dirty="0"/>
              <a:t>Source: </a:t>
            </a:r>
          </a:p>
          <a:p>
            <a:pPr>
              <a:lnSpc>
                <a:spcPct val="90000"/>
              </a:lnSpc>
              <a:spcAft>
                <a:spcPts val="0"/>
              </a:spcAft>
            </a:pPr>
            <a:r>
              <a:rPr lang="en-US" sz="900" dirty="0"/>
              <a:t>Note: </a:t>
            </a:r>
          </a:p>
        </p:txBody>
      </p:sp>
      <p:sp>
        <p:nvSpPr>
          <p:cNvPr id="21" name="TextBox 20"/>
          <p:cNvSpPr txBox="1"/>
          <p:nvPr/>
        </p:nvSpPr>
        <p:spPr bwMode="gray">
          <a:xfrm>
            <a:off x="3445303" y="1700784"/>
            <a:ext cx="2011680" cy="200055"/>
          </a:xfrm>
          <a:prstGeom prst="rect">
            <a:avLst/>
          </a:prstGeom>
          <a:noFill/>
        </p:spPr>
        <p:txBody>
          <a:bodyPr wrap="square" lIns="0" tIns="0" rIns="0" bIns="0" rtlCol="0">
            <a:spAutoFit/>
          </a:bodyPr>
          <a:lstStyle/>
          <a:p>
            <a:r>
              <a:rPr lang="en-US" sz="1300" dirty="0"/>
              <a:t>Chart title here (units)</a:t>
            </a:r>
          </a:p>
        </p:txBody>
      </p:sp>
      <p:sp>
        <p:nvSpPr>
          <p:cNvPr id="22" name="TextBox 21"/>
          <p:cNvSpPr txBox="1"/>
          <p:nvPr/>
        </p:nvSpPr>
        <p:spPr bwMode="gray">
          <a:xfrm>
            <a:off x="501650" y="1700784"/>
            <a:ext cx="2011680" cy="200055"/>
          </a:xfrm>
          <a:prstGeom prst="rect">
            <a:avLst/>
          </a:prstGeom>
          <a:noFill/>
        </p:spPr>
        <p:txBody>
          <a:bodyPr wrap="square" lIns="0" tIns="0" rIns="0" bIns="0" rtlCol="0">
            <a:spAutoFit/>
          </a:bodyPr>
          <a:lstStyle/>
          <a:p>
            <a:r>
              <a:rPr lang="en-US" sz="1300" dirty="0"/>
              <a:t>Chart title here (units)</a:t>
            </a:r>
          </a:p>
        </p:txBody>
      </p:sp>
      <p:sp>
        <p:nvSpPr>
          <p:cNvPr id="23" name="TextBox 22"/>
          <p:cNvSpPr txBox="1"/>
          <p:nvPr/>
        </p:nvSpPr>
        <p:spPr bwMode="gray">
          <a:xfrm>
            <a:off x="9451882" y="1700784"/>
            <a:ext cx="2011680" cy="200055"/>
          </a:xfrm>
          <a:prstGeom prst="rect">
            <a:avLst/>
          </a:prstGeom>
          <a:noFill/>
        </p:spPr>
        <p:txBody>
          <a:bodyPr wrap="square" lIns="0" tIns="0" rIns="0" bIns="0" rtlCol="0">
            <a:spAutoFit/>
          </a:bodyPr>
          <a:lstStyle/>
          <a:p>
            <a:r>
              <a:rPr lang="en-US" sz="1300" dirty="0"/>
              <a:t>Chart title here (units)</a:t>
            </a:r>
          </a:p>
        </p:txBody>
      </p:sp>
      <p:sp>
        <p:nvSpPr>
          <p:cNvPr id="26" name="TextBox 25"/>
          <p:cNvSpPr txBox="1"/>
          <p:nvPr/>
        </p:nvSpPr>
        <p:spPr bwMode="gray">
          <a:xfrm>
            <a:off x="6225936" y="1700784"/>
            <a:ext cx="2011680" cy="200055"/>
          </a:xfrm>
          <a:prstGeom prst="rect">
            <a:avLst/>
          </a:prstGeom>
          <a:noFill/>
        </p:spPr>
        <p:txBody>
          <a:bodyPr wrap="square" lIns="0" tIns="0" rIns="0" bIns="0" rtlCol="0">
            <a:spAutoFit/>
          </a:bodyPr>
          <a:lstStyle/>
          <a:p>
            <a:r>
              <a:rPr lang="en-US" sz="1300" dirty="0"/>
              <a:t>Chart title here (units)</a:t>
            </a:r>
          </a:p>
        </p:txBody>
      </p:sp>
    </p:spTree>
    <p:extLst>
      <p:ext uri="{BB962C8B-B14F-4D97-AF65-F5344CB8AC3E}">
        <p14:creationId xmlns:p14="http://schemas.microsoft.com/office/powerpoint/2010/main" val="331960782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pPr lvl="0"/>
            <a:r>
              <a:rPr lang="en-US" altLang="ja-JP"/>
              <a:t>Paired (14 colors)</a:t>
            </a:r>
            <a:endParaRPr lang="en-GB" dirty="0"/>
          </a:p>
        </p:txBody>
      </p:sp>
      <p:graphicFrame>
        <p:nvGraphicFramePr>
          <p:cNvPr id="12" name="Chart Placeholder 11"/>
          <p:cNvGraphicFramePr>
            <a:graphicFrameLocks noGrp="1"/>
          </p:cNvGraphicFramePr>
          <p:nvPr>
            <p:ph type="chart" sz="quarter" idx="15"/>
            <p:extLst>
              <p:ext uri="{D42A27DB-BD31-4B8C-83A1-F6EECF244321}">
                <p14:modId xmlns:p14="http://schemas.microsoft.com/office/powerpoint/2010/main" val="2378856559"/>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14" name="Text Placeholder 13"/>
          <p:cNvSpPr>
            <a:spLocks noGrp="1"/>
          </p:cNvSpPr>
          <p:nvPr>
            <p:ph type="body" sz="quarter" idx="23"/>
          </p:nvPr>
        </p:nvSpPr>
        <p:spPr/>
        <p:txBody>
          <a:bodyPr>
            <a:noAutofit/>
          </a:bodyPr>
          <a:lstStyle/>
          <a:p>
            <a:r>
              <a:rPr lang="en-US"/>
              <a:t>Source:</a:t>
            </a:r>
          </a:p>
          <a:p>
            <a:r>
              <a:rPr lang="en-US"/>
              <a:t>Note: </a:t>
            </a:r>
            <a:endParaRPr lang="en-US" dirty="0"/>
          </a:p>
        </p:txBody>
      </p:sp>
      <p:sp>
        <p:nvSpPr>
          <p:cNvPr id="2" name="Title 1"/>
          <p:cNvSpPr>
            <a:spLocks noGrp="1"/>
          </p:cNvSpPr>
          <p:nvPr>
            <p:ph type="title"/>
          </p:nvPr>
        </p:nvSpPr>
        <p:spPr/>
        <p:txBody>
          <a:bodyPr/>
          <a:lstStyle/>
          <a:p>
            <a:r>
              <a:rPr lang="en-US" altLang="ja-JP"/>
              <a:t>Bar charts</a:t>
            </a:r>
            <a:endParaRPr lang="en-US" dirty="0"/>
          </a:p>
        </p:txBody>
      </p:sp>
    </p:spTree>
    <p:extLst>
      <p:ext uri="{BB962C8B-B14F-4D97-AF65-F5344CB8AC3E}">
        <p14:creationId xmlns:p14="http://schemas.microsoft.com/office/powerpoint/2010/main" val="341914068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GB"/>
              <a:t>Two </a:t>
            </a:r>
            <a:r>
              <a:rPr lang="en-US"/>
              <a:t>color</a:t>
            </a:r>
            <a:r>
              <a:rPr lang="en-GB"/>
              <a:t> only</a:t>
            </a:r>
            <a:endParaRPr lang="en-GB" dirty="0"/>
          </a:p>
        </p:txBody>
      </p:sp>
      <p:graphicFrame>
        <p:nvGraphicFramePr>
          <p:cNvPr id="18" name="Chart Placeholder 38">
            <a:extLst>
              <a:ext uri="{FF2B5EF4-FFF2-40B4-BE49-F238E27FC236}">
                <a16:creationId xmlns:a16="http://schemas.microsoft.com/office/drawing/2014/main" id="{B268A0B0-C38C-4927-9199-506438BC389E}"/>
              </a:ext>
            </a:extLst>
          </p:cNvPr>
          <p:cNvGraphicFramePr>
            <a:graphicFrameLocks noGrp="1"/>
          </p:cNvGraphicFramePr>
          <p:nvPr>
            <p:ph type="chart" sz="quarter" idx="15"/>
            <p:extLst>
              <p:ext uri="{D42A27DB-BD31-4B8C-83A1-F6EECF244321}">
                <p14:modId xmlns:p14="http://schemas.microsoft.com/office/powerpoint/2010/main" val="611204141"/>
              </p:ext>
            </p:extLst>
          </p:nvPr>
        </p:nvGraphicFramePr>
        <p:xfrm>
          <a:off x="468313" y="2036763"/>
          <a:ext cx="11252200" cy="394652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GB" dirty="0">
                <a:latin typeface="+mj-lt"/>
              </a:rPr>
              <a:t>Chart title runs here (units)</a:t>
            </a:r>
          </a:p>
          <a:p>
            <a:endParaRPr lang="en-US" dirty="0">
              <a:latin typeface="+mj-lt"/>
            </a:endParaRPr>
          </a:p>
        </p:txBody>
      </p:sp>
      <p:sp>
        <p:nvSpPr>
          <p:cNvPr id="2" name="Title 1"/>
          <p:cNvSpPr>
            <a:spLocks noGrp="1"/>
          </p:cNvSpPr>
          <p:nvPr>
            <p:ph type="title"/>
          </p:nvPr>
        </p:nvSpPr>
        <p:spPr/>
        <p:txBody>
          <a:bodyPr/>
          <a:lstStyle/>
          <a:p>
            <a:r>
              <a:rPr lang="en-US"/>
              <a:t>Tornado chart</a:t>
            </a:r>
            <a:endParaRPr lang="en-US" dirty="0"/>
          </a:p>
        </p:txBody>
      </p:sp>
      <p:sp>
        <p:nvSpPr>
          <p:cNvPr id="20" name="Text Placeholder 3">
            <a:extLst>
              <a:ext uri="{FF2B5EF4-FFF2-40B4-BE49-F238E27FC236}">
                <a16:creationId xmlns:a16="http://schemas.microsoft.com/office/drawing/2014/main" id="{D569A2B3-E126-4DCA-9BFA-B71CFD799C7D}"/>
              </a:ext>
            </a:extLst>
          </p:cNvPr>
          <p:cNvSpPr txBox="1">
            <a:spLocks/>
          </p:cNvSpPr>
          <p:nvPr/>
        </p:nvSpPr>
        <p:spPr>
          <a:xfrm>
            <a:off x="501651" y="6121014"/>
            <a:ext cx="10963939" cy="260737"/>
          </a:xfrm>
          <a:prstGeom prst="rect">
            <a:avLst/>
          </a:prstGeom>
        </p:spPr>
        <p:txBody>
          <a:bodyPr vert="horz" lIns="0" tIns="0" rIns="0" bIns="0" rtlCol="0">
            <a:noAutofit/>
          </a:bodyPr>
          <a:lstStyle>
            <a:lvl1pPr marL="0" indent="0" algn="l" defTabSz="914400" rtl="0" eaLnBrk="1" latinLnBrk="0" hangingPunct="1">
              <a:spcBef>
                <a:spcPts val="0"/>
              </a:spcBef>
              <a:spcAft>
                <a:spcPts val="0"/>
              </a:spcAft>
              <a:buSzPct val="100000"/>
              <a:buFont typeface="Arial" panose="020B0604020202020204" pitchFamily="34" charset="0"/>
              <a:buNone/>
              <a:defRPr sz="9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ource:</a:t>
            </a:r>
          </a:p>
          <a:p>
            <a:r>
              <a:rPr lang="en-US"/>
              <a:t>Note:</a:t>
            </a:r>
          </a:p>
          <a:p>
            <a:endParaRPr lang="en-US" dirty="0"/>
          </a:p>
        </p:txBody>
      </p:sp>
      <p:sp>
        <p:nvSpPr>
          <p:cNvPr id="21" name="Rectangle 20">
            <a:extLst>
              <a:ext uri="{FF2B5EF4-FFF2-40B4-BE49-F238E27FC236}">
                <a16:creationId xmlns:a16="http://schemas.microsoft.com/office/drawing/2014/main" id="{EC93B286-942F-4AF8-8835-3412D434ED1F}"/>
              </a:ext>
            </a:extLst>
          </p:cNvPr>
          <p:cNvSpPr>
            <a:spLocks noChangeArrowheads="1"/>
          </p:cNvSpPr>
          <p:nvPr/>
        </p:nvSpPr>
        <p:spPr bwMode="gray">
          <a:xfrm>
            <a:off x="502920" y="2121156"/>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2" name="Rectangle 21">
            <a:extLst>
              <a:ext uri="{FF2B5EF4-FFF2-40B4-BE49-F238E27FC236}">
                <a16:creationId xmlns:a16="http://schemas.microsoft.com/office/drawing/2014/main" id="{1A000695-DE6D-400C-866C-AC653215281F}"/>
              </a:ext>
            </a:extLst>
          </p:cNvPr>
          <p:cNvSpPr>
            <a:spLocks noChangeArrowheads="1"/>
          </p:cNvSpPr>
          <p:nvPr/>
        </p:nvSpPr>
        <p:spPr bwMode="gray">
          <a:xfrm>
            <a:off x="502920" y="4956340"/>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3" name="Rectangle 22">
            <a:extLst>
              <a:ext uri="{FF2B5EF4-FFF2-40B4-BE49-F238E27FC236}">
                <a16:creationId xmlns:a16="http://schemas.microsoft.com/office/drawing/2014/main" id="{B52FD008-90C3-4DCA-A88E-DA0312A0D7D7}"/>
              </a:ext>
            </a:extLst>
          </p:cNvPr>
          <p:cNvSpPr>
            <a:spLocks noChangeArrowheads="1"/>
          </p:cNvSpPr>
          <p:nvPr/>
        </p:nvSpPr>
        <p:spPr bwMode="gray">
          <a:xfrm>
            <a:off x="502920" y="4551312"/>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4" name="Rectangle 23">
            <a:extLst>
              <a:ext uri="{FF2B5EF4-FFF2-40B4-BE49-F238E27FC236}">
                <a16:creationId xmlns:a16="http://schemas.microsoft.com/office/drawing/2014/main" id="{B2CA973E-39AB-45F0-A82E-32C397EC1464}"/>
              </a:ext>
            </a:extLst>
          </p:cNvPr>
          <p:cNvSpPr>
            <a:spLocks noChangeArrowheads="1"/>
          </p:cNvSpPr>
          <p:nvPr/>
        </p:nvSpPr>
        <p:spPr bwMode="gray">
          <a:xfrm>
            <a:off x="502920" y="4146286"/>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5" name="Rectangle 24">
            <a:extLst>
              <a:ext uri="{FF2B5EF4-FFF2-40B4-BE49-F238E27FC236}">
                <a16:creationId xmlns:a16="http://schemas.microsoft.com/office/drawing/2014/main" id="{A08F6114-A165-4DD3-950E-FEDD585F9DCD}"/>
              </a:ext>
            </a:extLst>
          </p:cNvPr>
          <p:cNvSpPr>
            <a:spLocks noChangeArrowheads="1"/>
          </p:cNvSpPr>
          <p:nvPr/>
        </p:nvSpPr>
        <p:spPr bwMode="gray">
          <a:xfrm>
            <a:off x="502920" y="3741260"/>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6" name="Rectangle 25">
            <a:extLst>
              <a:ext uri="{FF2B5EF4-FFF2-40B4-BE49-F238E27FC236}">
                <a16:creationId xmlns:a16="http://schemas.microsoft.com/office/drawing/2014/main" id="{05AA4D8E-1FCF-468E-BA8A-F347E1A1F574}"/>
              </a:ext>
            </a:extLst>
          </p:cNvPr>
          <p:cNvSpPr>
            <a:spLocks noChangeArrowheads="1"/>
          </p:cNvSpPr>
          <p:nvPr/>
        </p:nvSpPr>
        <p:spPr bwMode="gray">
          <a:xfrm>
            <a:off x="502920" y="3336234"/>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7" name="Rectangle 26">
            <a:extLst>
              <a:ext uri="{FF2B5EF4-FFF2-40B4-BE49-F238E27FC236}">
                <a16:creationId xmlns:a16="http://schemas.microsoft.com/office/drawing/2014/main" id="{92223FDB-6AF7-4DDA-A0CA-57E041EC756B}"/>
              </a:ext>
            </a:extLst>
          </p:cNvPr>
          <p:cNvSpPr>
            <a:spLocks noChangeArrowheads="1"/>
          </p:cNvSpPr>
          <p:nvPr/>
        </p:nvSpPr>
        <p:spPr bwMode="gray">
          <a:xfrm>
            <a:off x="502920" y="2931208"/>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
        <p:nvSpPr>
          <p:cNvPr id="28" name="Rectangle 27">
            <a:extLst>
              <a:ext uri="{FF2B5EF4-FFF2-40B4-BE49-F238E27FC236}">
                <a16:creationId xmlns:a16="http://schemas.microsoft.com/office/drawing/2014/main" id="{5C83B64B-0F56-4582-A2E6-C1B521874929}"/>
              </a:ext>
            </a:extLst>
          </p:cNvPr>
          <p:cNvSpPr>
            <a:spLocks noChangeArrowheads="1"/>
          </p:cNvSpPr>
          <p:nvPr/>
        </p:nvSpPr>
        <p:spPr bwMode="gray">
          <a:xfrm>
            <a:off x="502920" y="2526182"/>
            <a:ext cx="1828800" cy="205184"/>
          </a:xfrm>
          <a:prstGeom prst="rect">
            <a:avLst/>
          </a:prstGeom>
          <a:noFill/>
          <a:ln w="25400">
            <a:noFill/>
            <a:miter lim="800000"/>
            <a:headEnd/>
            <a:tailEnd/>
          </a:ln>
        </p:spPr>
        <p:txBody>
          <a:bodyPr lIns="0" tIns="0" rIns="0" bIns="0" anchor="ctr">
            <a:noAutofit/>
          </a:bodyPr>
          <a:lstStyle/>
          <a:p>
            <a:pPr eaLnBrk="0" fontAlgn="base" hangingPunct="0">
              <a:spcBef>
                <a:spcPct val="50000"/>
              </a:spcBef>
              <a:spcAft>
                <a:spcPct val="0"/>
              </a:spcAft>
            </a:pPr>
            <a:r>
              <a:rPr lang="en-US" sz="1300" dirty="0">
                <a:cs typeface="Arial" pitchFamily="34" charset="0"/>
              </a:rPr>
              <a:t>Label on the outside</a:t>
            </a:r>
          </a:p>
        </p:txBody>
      </p:sp>
    </p:spTree>
    <p:extLst>
      <p:ext uri="{BB962C8B-B14F-4D97-AF65-F5344CB8AC3E}">
        <p14:creationId xmlns:p14="http://schemas.microsoft.com/office/powerpoint/2010/main" val="3196185289"/>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Single highlight </a:t>
            </a:r>
            <a:r>
              <a:rPr lang="en-US" dirty="0"/>
              <a:t>color</a:t>
            </a:r>
          </a:p>
        </p:txBody>
      </p:sp>
      <p:graphicFrame>
        <p:nvGraphicFramePr>
          <p:cNvPr id="23" name="Chart Placeholder 9"/>
          <p:cNvGraphicFramePr>
            <a:graphicFrameLocks noGrp="1"/>
          </p:cNvGraphicFramePr>
          <p:nvPr>
            <p:ph type="chart" sz="quarter" idx="15"/>
            <p:extLst>
              <p:ext uri="{D42A27DB-BD31-4B8C-83A1-F6EECF244321}">
                <p14:modId xmlns:p14="http://schemas.microsoft.com/office/powerpoint/2010/main" val="1105890967"/>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4"/>
          <p:cNvSpPr>
            <a:spLocks noGrp="1"/>
          </p:cNvSpPr>
          <p:nvPr>
            <p:ph type="body" sz="quarter" idx="18"/>
          </p:nvPr>
        </p:nvSpPr>
        <p:spPr/>
        <p:txBody>
          <a:bodyPr/>
          <a:lstStyle/>
          <a:p>
            <a:r>
              <a:rPr lang="en-GB" dirty="0"/>
              <a:t>Title of the graph goes here</a:t>
            </a:r>
          </a:p>
        </p:txBody>
      </p:sp>
      <p:sp>
        <p:nvSpPr>
          <p:cNvPr id="6" name="Text Placeholder 5"/>
          <p:cNvSpPr>
            <a:spLocks noGrp="1"/>
          </p:cNvSpPr>
          <p:nvPr>
            <p:ph type="body" sz="quarter" idx="23"/>
          </p:nvPr>
        </p:nvSpPr>
        <p:spPr/>
        <p:txBody>
          <a:bodyPr>
            <a:noAutofit/>
          </a:bodyPr>
          <a:lstStyle/>
          <a:p>
            <a:r>
              <a:rPr lang="en-GB"/>
              <a:t>Source:</a:t>
            </a:r>
          </a:p>
          <a:p>
            <a:r>
              <a:rPr lang="en-GB"/>
              <a:t>Note:</a:t>
            </a:r>
            <a:endParaRPr lang="en-GB" dirty="0"/>
          </a:p>
        </p:txBody>
      </p:sp>
      <p:sp>
        <p:nvSpPr>
          <p:cNvPr id="3" name="Title 2"/>
          <p:cNvSpPr>
            <a:spLocks noGrp="1"/>
          </p:cNvSpPr>
          <p:nvPr>
            <p:ph type="title"/>
          </p:nvPr>
        </p:nvSpPr>
        <p:spPr/>
        <p:txBody>
          <a:bodyPr/>
          <a:lstStyle/>
          <a:p>
            <a:r>
              <a:rPr lang="en-GB" dirty="0"/>
              <a:t>Column chart</a:t>
            </a:r>
          </a:p>
        </p:txBody>
      </p:sp>
    </p:spTree>
    <p:extLst>
      <p:ext uri="{BB962C8B-B14F-4D97-AF65-F5344CB8AC3E}">
        <p14:creationId xmlns:p14="http://schemas.microsoft.com/office/powerpoint/2010/main" val="20020495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t>Bars</a:t>
            </a:r>
          </a:p>
        </p:txBody>
      </p:sp>
      <p:grpSp>
        <p:nvGrpSpPr>
          <p:cNvPr id="4" name="Group 3">
            <a:extLst>
              <a:ext uri="{FF2B5EF4-FFF2-40B4-BE49-F238E27FC236}">
                <a16:creationId xmlns:a16="http://schemas.microsoft.com/office/drawing/2014/main" id="{A3FFE1B2-02A7-4CD7-8F86-48AB8C8B044A}"/>
              </a:ext>
            </a:extLst>
          </p:cNvPr>
          <p:cNvGrpSpPr/>
          <p:nvPr/>
        </p:nvGrpSpPr>
        <p:grpSpPr>
          <a:xfrm>
            <a:off x="578999" y="1764000"/>
            <a:ext cx="10468563" cy="4442400"/>
            <a:chOff x="579000" y="1764000"/>
            <a:chExt cx="8748600" cy="3712523"/>
          </a:xfrm>
        </p:grpSpPr>
        <p:grpSp>
          <p:nvGrpSpPr>
            <p:cNvPr id="15" name="グループ化 34">
              <a:extLst>
                <a:ext uri="{FF2B5EF4-FFF2-40B4-BE49-F238E27FC236}">
                  <a16:creationId xmlns:a16="http://schemas.microsoft.com/office/drawing/2014/main" id="{566B2781-9813-4097-81CB-AF4E9E0FB761}"/>
                </a:ext>
              </a:extLst>
            </p:cNvPr>
            <p:cNvGrpSpPr/>
            <p:nvPr/>
          </p:nvGrpSpPr>
          <p:grpSpPr>
            <a:xfrm>
              <a:off x="579600" y="1764000"/>
              <a:ext cx="8748000" cy="1008000"/>
              <a:chOff x="579600" y="1764000"/>
              <a:chExt cx="8748000" cy="1008000"/>
            </a:xfrm>
          </p:grpSpPr>
          <p:sp>
            <p:nvSpPr>
              <p:cNvPr id="17" name="フリーフォーム 17">
                <a:extLst>
                  <a:ext uri="{FF2B5EF4-FFF2-40B4-BE49-F238E27FC236}">
                    <a16:creationId xmlns:a16="http://schemas.microsoft.com/office/drawing/2014/main" id="{E8687110-9F68-4F94-9FCA-5E4B7C5AC2E6}"/>
                  </a:ext>
                </a:extLst>
              </p:cNvPr>
              <p:cNvSpPr/>
              <p:nvPr/>
            </p:nvSpPr>
            <p:spPr bwMode="gray">
              <a:xfrm>
                <a:off x="579600" y="1764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1"/>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prstClr val="white"/>
                    </a:solidFill>
                    <a:effectLst/>
                    <a:uLnTx/>
                    <a:uFillTx/>
                    <a:ea typeface="+mn-ea"/>
                    <a:cs typeface="+mn-cs"/>
                  </a:rPr>
                  <a:t>  1</a:t>
                </a:r>
                <a:r>
                  <a:rPr kumimoji="1" lang="en-US" altLang="ja-JP" sz="1800" b="1" i="0" u="none" strike="noStrike" kern="1200" cap="none" spc="0" normalizeH="0" baseline="0" noProof="0" dirty="0">
                    <a:ln>
                      <a:noFill/>
                    </a:ln>
                    <a:solidFill>
                      <a:srgbClr val="FFFFFF"/>
                    </a:solidFill>
                    <a:effectLst/>
                    <a:uLnTx/>
                    <a:uFillTx/>
                    <a:ea typeface="+mn-ea"/>
                    <a:cs typeface="+mn-cs"/>
                  </a:rPr>
                  <a:t> Text</a:t>
                </a:r>
                <a:endParaRPr kumimoji="1" lang="ja-JP" altLang="en-US" sz="1800" b="1" i="0" u="none" strike="noStrike" kern="1200" cap="none" spc="0" normalizeH="0" baseline="0" noProof="0" dirty="0">
                  <a:ln>
                    <a:noFill/>
                  </a:ln>
                  <a:solidFill>
                    <a:prstClr val="white"/>
                  </a:solidFill>
                  <a:effectLst/>
                  <a:uLnTx/>
                  <a:uFillTx/>
                  <a:ea typeface="+mn-ea"/>
                  <a:cs typeface="+mn-cs"/>
                </a:endParaRPr>
              </a:p>
            </p:txBody>
          </p:sp>
          <p:grpSp>
            <p:nvGrpSpPr>
              <p:cNvPr id="28" name="Group 897">
                <a:extLst>
                  <a:ext uri="{FF2B5EF4-FFF2-40B4-BE49-F238E27FC236}">
                    <a16:creationId xmlns:a16="http://schemas.microsoft.com/office/drawing/2014/main" id="{F9C01E21-7BA7-46AF-9C59-4F4E9B9EE8FC}"/>
                  </a:ext>
                </a:extLst>
              </p:cNvPr>
              <p:cNvGrpSpPr>
                <a:grpSpLocks noChangeAspect="1"/>
              </p:cNvGrpSpPr>
              <p:nvPr/>
            </p:nvGrpSpPr>
            <p:grpSpPr bwMode="gray">
              <a:xfrm>
                <a:off x="651600" y="1836000"/>
                <a:ext cx="864000" cy="864000"/>
                <a:chOff x="3891" y="3455"/>
                <a:chExt cx="340" cy="340"/>
              </a:xfrm>
              <a:solidFill>
                <a:schemeClr val="bg1"/>
              </a:solidFill>
            </p:grpSpPr>
            <p:sp>
              <p:nvSpPr>
                <p:cNvPr id="30" name="Freeform 898">
                  <a:extLst>
                    <a:ext uri="{FF2B5EF4-FFF2-40B4-BE49-F238E27FC236}">
                      <a16:creationId xmlns:a16="http://schemas.microsoft.com/office/drawing/2014/main" id="{CB41DF92-F94D-4BC7-8245-B5570A894C20}"/>
                    </a:ext>
                  </a:extLst>
                </p:cNvPr>
                <p:cNvSpPr>
                  <a:spLocks noEditPoints="1"/>
                </p:cNvSpPr>
                <p:nvPr/>
              </p:nvSpPr>
              <p:spPr bwMode="gray">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sp>
              <p:nvSpPr>
                <p:cNvPr id="31" name="Oval 899">
                  <a:extLst>
                    <a:ext uri="{FF2B5EF4-FFF2-40B4-BE49-F238E27FC236}">
                      <a16:creationId xmlns:a16="http://schemas.microsoft.com/office/drawing/2014/main" id="{261E6A4F-A9F1-4904-8054-DF7355C0B198}"/>
                    </a:ext>
                  </a:extLst>
                </p:cNvPr>
                <p:cNvSpPr>
                  <a:spLocks noChangeArrowheads="1"/>
                </p:cNvSpPr>
                <p:nvPr/>
              </p:nvSpPr>
              <p:spPr bwMode="gray">
                <a:xfrm>
                  <a:off x="3969" y="3533"/>
                  <a:ext cx="113" cy="11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sp>
            <p:nvSpPr>
              <p:cNvPr id="29" name="正方形/長方形 23">
                <a:extLst>
                  <a:ext uri="{FF2B5EF4-FFF2-40B4-BE49-F238E27FC236}">
                    <a16:creationId xmlns:a16="http://schemas.microsoft.com/office/drawing/2014/main" id="{07F5D8AC-4449-4BB8-BFF0-9C9F859C1170}"/>
                  </a:ext>
                </a:extLst>
              </p:cNvPr>
              <p:cNvSpPr/>
              <p:nvPr/>
            </p:nvSpPr>
            <p:spPr bwMode="gray">
              <a:xfrm>
                <a:off x="1767600" y="2196000"/>
                <a:ext cx="7560000" cy="57600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grpSp>
        <p:grpSp>
          <p:nvGrpSpPr>
            <p:cNvPr id="32" name="グループ化 28">
              <a:extLst>
                <a:ext uri="{FF2B5EF4-FFF2-40B4-BE49-F238E27FC236}">
                  <a16:creationId xmlns:a16="http://schemas.microsoft.com/office/drawing/2014/main" id="{2A03FCB1-F81A-48F2-AEDA-B20203F2EEC6}"/>
                </a:ext>
              </a:extLst>
            </p:cNvPr>
            <p:cNvGrpSpPr/>
            <p:nvPr/>
          </p:nvGrpSpPr>
          <p:grpSpPr>
            <a:xfrm>
              <a:off x="579000" y="3116261"/>
              <a:ext cx="8748000" cy="1008000"/>
              <a:chOff x="579600" y="2916000"/>
              <a:chExt cx="8748000" cy="1008000"/>
            </a:xfrm>
          </p:grpSpPr>
          <p:sp>
            <p:nvSpPr>
              <p:cNvPr id="33" name="フリーフォーム 15">
                <a:extLst>
                  <a:ext uri="{FF2B5EF4-FFF2-40B4-BE49-F238E27FC236}">
                    <a16:creationId xmlns:a16="http://schemas.microsoft.com/office/drawing/2014/main" id="{0A7EE1CD-19E7-449D-BFAB-05DDF9EE5831}"/>
                  </a:ext>
                </a:extLst>
              </p:cNvPr>
              <p:cNvSpPr/>
              <p:nvPr/>
            </p:nvSpPr>
            <p:spPr bwMode="gray">
              <a:xfrm>
                <a:off x="579600" y="2916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2"/>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srgbClr val="FFFFFF"/>
                    </a:solidFill>
                    <a:effectLst/>
                    <a:uLnTx/>
                    <a:uFillTx/>
                    <a:ea typeface="+mn-ea"/>
                    <a:cs typeface="+mn-cs"/>
                  </a:rPr>
                  <a:t>   2 Text</a:t>
                </a:r>
                <a:endParaRPr kumimoji="1" lang="ja-JP" altLang="en-US" sz="1800" b="1" i="0" u="none" strike="noStrike" kern="1200" cap="none" spc="0" normalizeH="0" baseline="0" noProof="0" dirty="0">
                  <a:ln>
                    <a:noFill/>
                  </a:ln>
                  <a:solidFill>
                    <a:prstClr val="white"/>
                  </a:solidFill>
                  <a:effectLst/>
                  <a:uLnTx/>
                  <a:uFillTx/>
                  <a:ea typeface="+mn-ea"/>
                  <a:cs typeface="+mn-cs"/>
                </a:endParaRPr>
              </a:p>
            </p:txBody>
          </p:sp>
          <p:sp>
            <p:nvSpPr>
              <p:cNvPr id="34" name="Freeform 242">
                <a:extLst>
                  <a:ext uri="{FF2B5EF4-FFF2-40B4-BE49-F238E27FC236}">
                    <a16:creationId xmlns:a16="http://schemas.microsoft.com/office/drawing/2014/main" id="{1642AC1E-9B7D-4971-89BF-313E019C1AAF}"/>
                  </a:ext>
                </a:extLst>
              </p:cNvPr>
              <p:cNvSpPr>
                <a:spLocks noChangeAspect="1" noEditPoints="1"/>
              </p:cNvSpPr>
              <p:nvPr/>
            </p:nvSpPr>
            <p:spPr bwMode="gray">
              <a:xfrm>
                <a:off x="651600" y="2988000"/>
                <a:ext cx="864000" cy="8640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grpSp>
          <p:nvGrpSpPr>
            <p:cNvPr id="36" name="グループ化 27">
              <a:extLst>
                <a:ext uri="{FF2B5EF4-FFF2-40B4-BE49-F238E27FC236}">
                  <a16:creationId xmlns:a16="http://schemas.microsoft.com/office/drawing/2014/main" id="{E6F8C9A5-7120-4ACF-ADD8-C37B9434210B}"/>
                </a:ext>
              </a:extLst>
            </p:cNvPr>
            <p:cNvGrpSpPr/>
            <p:nvPr/>
          </p:nvGrpSpPr>
          <p:grpSpPr>
            <a:xfrm>
              <a:off x="579000" y="4468523"/>
              <a:ext cx="8748000" cy="1008000"/>
              <a:chOff x="579600" y="4068000"/>
              <a:chExt cx="8748000" cy="1008000"/>
            </a:xfrm>
          </p:grpSpPr>
          <p:sp>
            <p:nvSpPr>
              <p:cNvPr id="37" name="フリーフォーム 16">
                <a:extLst>
                  <a:ext uri="{FF2B5EF4-FFF2-40B4-BE49-F238E27FC236}">
                    <a16:creationId xmlns:a16="http://schemas.microsoft.com/office/drawing/2014/main" id="{87774C8B-E0A8-48D8-9793-AA762ACDF4CB}"/>
                  </a:ext>
                </a:extLst>
              </p:cNvPr>
              <p:cNvSpPr/>
              <p:nvPr/>
            </p:nvSpPr>
            <p:spPr bwMode="gray">
              <a:xfrm>
                <a:off x="579600" y="4068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3"/>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srgbClr val="FFFFFF"/>
                    </a:solidFill>
                    <a:effectLst/>
                    <a:uLnTx/>
                    <a:uFillTx/>
                    <a:ea typeface="+mn-ea"/>
                    <a:cs typeface="+mn-cs"/>
                  </a:rPr>
                  <a:t>  3 Text</a:t>
                </a:r>
                <a:endParaRPr kumimoji="1" lang="ja-JP" altLang="en-US" sz="1800" b="1" i="0" u="none" strike="noStrike" kern="1200" cap="none" spc="0" normalizeH="0" baseline="0" noProof="0" dirty="0">
                  <a:ln>
                    <a:noFill/>
                  </a:ln>
                  <a:solidFill>
                    <a:prstClr val="white"/>
                  </a:solidFill>
                  <a:effectLst/>
                  <a:uLnTx/>
                  <a:uFillTx/>
                  <a:ea typeface="+mn-ea"/>
                  <a:cs typeface="+mn-cs"/>
                </a:endParaRPr>
              </a:p>
            </p:txBody>
          </p:sp>
          <p:sp>
            <p:nvSpPr>
              <p:cNvPr id="38" name="Freeform 59">
                <a:extLst>
                  <a:ext uri="{FF2B5EF4-FFF2-40B4-BE49-F238E27FC236}">
                    <a16:creationId xmlns:a16="http://schemas.microsoft.com/office/drawing/2014/main" id="{F61D657E-D306-4757-9518-9F45CEFB31A2}"/>
                  </a:ext>
                </a:extLst>
              </p:cNvPr>
              <p:cNvSpPr>
                <a:spLocks noChangeAspect="1" noEditPoints="1"/>
              </p:cNvSpPr>
              <p:nvPr/>
            </p:nvSpPr>
            <p:spPr bwMode="gray">
              <a:xfrm>
                <a:off x="651600" y="4140000"/>
                <a:ext cx="864000" cy="864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grpSp>
      <p:sp>
        <p:nvSpPr>
          <p:cNvPr id="40" name="正方形/長方形 23">
            <a:extLst>
              <a:ext uri="{FF2B5EF4-FFF2-40B4-BE49-F238E27FC236}">
                <a16:creationId xmlns:a16="http://schemas.microsoft.com/office/drawing/2014/main" id="{F7881073-00C2-4475-8CCC-484C80765EE6}"/>
              </a:ext>
            </a:extLst>
          </p:cNvPr>
          <p:cNvSpPr/>
          <p:nvPr/>
        </p:nvSpPr>
        <p:spPr bwMode="gray">
          <a:xfrm>
            <a:off x="2000558" y="3899044"/>
            <a:ext cx="9046286"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sp>
        <p:nvSpPr>
          <p:cNvPr id="41" name="正方形/長方形 23">
            <a:extLst>
              <a:ext uri="{FF2B5EF4-FFF2-40B4-BE49-F238E27FC236}">
                <a16:creationId xmlns:a16="http://schemas.microsoft.com/office/drawing/2014/main" id="{E406B972-B89E-4571-91BA-7E0ED2EB5D48}"/>
              </a:ext>
            </a:extLst>
          </p:cNvPr>
          <p:cNvSpPr/>
          <p:nvPr/>
        </p:nvSpPr>
        <p:spPr bwMode="gray">
          <a:xfrm>
            <a:off x="2000558" y="5517159"/>
            <a:ext cx="9046286"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ea typeface="+mn-ea"/>
                <a:cs typeface="+mn-cs"/>
              </a:rPr>
              <a:t>Text</a:t>
            </a:r>
            <a:endParaRPr kumimoji="1" lang="ja-JP" altLang="en-US" sz="1100" b="0" i="0" u="none" strike="noStrike" kern="1200" cap="none" spc="0" normalizeH="0" baseline="0" noProof="0" dirty="0">
              <a:ln>
                <a:noFill/>
              </a:ln>
              <a:solidFill>
                <a:prstClr val="black"/>
              </a:solidFill>
              <a:effectLst/>
              <a:uLnTx/>
              <a:uFillTx/>
              <a:ea typeface="+mn-ea"/>
              <a:cs typeface="+mn-cs"/>
            </a:endParaRPr>
          </a:p>
        </p:txBody>
      </p:sp>
      <p:sp>
        <p:nvSpPr>
          <p:cNvPr id="18" name="Star: 5 Points 17">
            <a:extLst>
              <a:ext uri="{FF2B5EF4-FFF2-40B4-BE49-F238E27FC236}">
                <a16:creationId xmlns:a16="http://schemas.microsoft.com/office/drawing/2014/main" id="{4A9C4F28-5C10-4BD9-8269-4E3C81F96979}"/>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75895670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Stacked (14 colors)</a:t>
            </a:r>
            <a:endParaRPr lang="en-GB" dirty="0"/>
          </a:p>
        </p:txBody>
      </p:sp>
      <p:graphicFrame>
        <p:nvGraphicFramePr>
          <p:cNvPr id="18" name="Chart Placeholder 17"/>
          <p:cNvGraphicFramePr>
            <a:graphicFrameLocks noGrp="1"/>
          </p:cNvGraphicFramePr>
          <p:nvPr>
            <p:ph type="chart" sz="quarter" idx="15"/>
            <p:extLst>
              <p:ext uri="{D42A27DB-BD31-4B8C-83A1-F6EECF244321}">
                <p14:modId xmlns:p14="http://schemas.microsoft.com/office/powerpoint/2010/main" val="4195510720"/>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28" name="Text Placeholder 27"/>
          <p:cNvSpPr>
            <a:spLocks noGrp="1"/>
          </p:cNvSpPr>
          <p:nvPr>
            <p:ph type="body" sz="quarter" idx="23"/>
          </p:nvPr>
        </p:nvSpPr>
        <p:spPr/>
        <p:txBody>
          <a:bodyPr>
            <a:noAutofit/>
          </a:bodyPr>
          <a:lstStyle/>
          <a:p>
            <a:r>
              <a:rPr lang="en-US"/>
              <a:t>Source: </a:t>
            </a:r>
          </a:p>
          <a:p>
            <a:r>
              <a:rPr lang="en-US"/>
              <a:t>Note: </a:t>
            </a:r>
            <a:endParaRPr lang="en-US" dirty="0"/>
          </a:p>
        </p:txBody>
      </p:sp>
      <p:sp>
        <p:nvSpPr>
          <p:cNvPr id="12" name="Title 11"/>
          <p:cNvSpPr>
            <a:spLocks noGrp="1"/>
          </p:cNvSpPr>
          <p:nvPr>
            <p:ph type="title"/>
          </p:nvPr>
        </p:nvSpPr>
        <p:spPr/>
        <p:txBody>
          <a:bodyPr/>
          <a:lstStyle/>
          <a:p>
            <a:r>
              <a:rPr lang="en-US" altLang="ja-JP"/>
              <a:t>Column chart</a:t>
            </a:r>
            <a:endParaRPr lang="en-US" dirty="0"/>
          </a:p>
        </p:txBody>
      </p:sp>
    </p:spTree>
    <p:extLst>
      <p:ext uri="{BB962C8B-B14F-4D97-AF65-F5344CB8AC3E}">
        <p14:creationId xmlns:p14="http://schemas.microsoft.com/office/powerpoint/2010/main" val="95717434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F</a:t>
            </a:r>
            <a:r>
              <a:rPr lang="en-US" altLang="de-DE"/>
              <a:t>our on a page</a:t>
            </a:r>
            <a:endParaRPr lang="en-GB" dirty="0"/>
          </a:p>
        </p:txBody>
      </p:sp>
      <p:sp>
        <p:nvSpPr>
          <p:cNvPr id="12" name="Title 11"/>
          <p:cNvSpPr>
            <a:spLocks noGrp="1"/>
          </p:cNvSpPr>
          <p:nvPr>
            <p:ph type="title"/>
          </p:nvPr>
        </p:nvSpPr>
        <p:spPr/>
        <p:txBody>
          <a:bodyPr/>
          <a:lstStyle/>
          <a:p>
            <a:r>
              <a:rPr lang="en-US" altLang="ja-JP"/>
              <a:t>Column charts </a:t>
            </a:r>
            <a:endParaRPr lang="en-US" dirty="0"/>
          </a:p>
        </p:txBody>
      </p:sp>
      <p:sp>
        <p:nvSpPr>
          <p:cNvPr id="29" name="TextBox 28"/>
          <p:cNvSpPr txBox="1"/>
          <p:nvPr/>
        </p:nvSpPr>
        <p:spPr bwMode="gray">
          <a:xfrm>
            <a:off x="6340080" y="1700784"/>
            <a:ext cx="3931920" cy="200055"/>
          </a:xfrm>
          <a:prstGeom prst="rect">
            <a:avLst/>
          </a:prstGeom>
          <a:noFill/>
        </p:spPr>
        <p:txBody>
          <a:bodyPr wrap="square" lIns="0" tIns="0" rIns="0" bIns="0" rtlCol="0">
            <a:spAutoFit/>
          </a:bodyPr>
          <a:lstStyle/>
          <a:p>
            <a:r>
              <a:rPr lang="en-US" sz="1300" dirty="0"/>
              <a:t>Chart title runs here (units)</a:t>
            </a:r>
          </a:p>
        </p:txBody>
      </p:sp>
      <p:sp>
        <p:nvSpPr>
          <p:cNvPr id="30" name="TextBox 29"/>
          <p:cNvSpPr txBox="1"/>
          <p:nvPr/>
        </p:nvSpPr>
        <p:spPr bwMode="gray">
          <a:xfrm>
            <a:off x="499362" y="1700784"/>
            <a:ext cx="3931920" cy="200055"/>
          </a:xfrm>
          <a:prstGeom prst="rect">
            <a:avLst/>
          </a:prstGeom>
          <a:noFill/>
        </p:spPr>
        <p:txBody>
          <a:bodyPr wrap="square" lIns="0" tIns="0" rIns="0" bIns="0" rtlCol="0">
            <a:spAutoFit/>
          </a:bodyPr>
          <a:lstStyle/>
          <a:p>
            <a:r>
              <a:rPr lang="en-US" sz="1300" dirty="0"/>
              <a:t>Chart title runs here (units)</a:t>
            </a:r>
          </a:p>
        </p:txBody>
      </p:sp>
      <p:graphicFrame>
        <p:nvGraphicFramePr>
          <p:cNvPr id="32" name="Chart Placeholder 9"/>
          <p:cNvGraphicFramePr>
            <a:graphicFrameLocks/>
          </p:cNvGraphicFramePr>
          <p:nvPr>
            <p:extLst>
              <p:ext uri="{D42A27DB-BD31-4B8C-83A1-F6EECF244321}">
                <p14:modId xmlns:p14="http://schemas.microsoft.com/office/powerpoint/2010/main" val="3019205814"/>
              </p:ext>
            </p:extLst>
          </p:nvPr>
        </p:nvGraphicFramePr>
        <p:xfrm>
          <a:off x="471930" y="4279457"/>
          <a:ext cx="4572000" cy="1847271"/>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p:cNvSpPr txBox="1"/>
          <p:nvPr/>
        </p:nvSpPr>
        <p:spPr bwMode="gray">
          <a:xfrm>
            <a:off x="471930" y="3987631"/>
            <a:ext cx="3931920" cy="200055"/>
          </a:xfrm>
          <a:prstGeom prst="rect">
            <a:avLst/>
          </a:prstGeom>
          <a:noFill/>
        </p:spPr>
        <p:txBody>
          <a:bodyPr wrap="square" lIns="0" tIns="0" rIns="0" bIns="0" rtlCol="0">
            <a:spAutoFit/>
          </a:bodyPr>
          <a:lstStyle/>
          <a:p>
            <a:r>
              <a:rPr lang="en-US" sz="1300" dirty="0"/>
              <a:t>Chart title runs here (units)</a:t>
            </a:r>
          </a:p>
        </p:txBody>
      </p:sp>
      <p:graphicFrame>
        <p:nvGraphicFramePr>
          <p:cNvPr id="22" name="Chart Placeholder 9"/>
          <p:cNvGraphicFramePr>
            <a:graphicFrameLocks/>
          </p:cNvGraphicFramePr>
          <p:nvPr>
            <p:extLst>
              <p:ext uri="{D42A27DB-BD31-4B8C-83A1-F6EECF244321}">
                <p14:modId xmlns:p14="http://schemas.microsoft.com/office/powerpoint/2010/main" val="1506732033"/>
              </p:ext>
            </p:extLst>
          </p:nvPr>
        </p:nvGraphicFramePr>
        <p:xfrm>
          <a:off x="471930" y="1962462"/>
          <a:ext cx="4572000" cy="184727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Chart Placeholder 9"/>
          <p:cNvGraphicFramePr>
            <a:graphicFrameLocks/>
          </p:cNvGraphicFramePr>
          <p:nvPr>
            <p:extLst>
              <p:ext uri="{D42A27DB-BD31-4B8C-83A1-F6EECF244321}">
                <p14:modId xmlns:p14="http://schemas.microsoft.com/office/powerpoint/2010/main" val="3195894994"/>
              </p:ext>
            </p:extLst>
          </p:nvPr>
        </p:nvGraphicFramePr>
        <p:xfrm>
          <a:off x="6350977" y="4279457"/>
          <a:ext cx="4572000" cy="1847271"/>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Box 26"/>
          <p:cNvSpPr txBox="1"/>
          <p:nvPr/>
        </p:nvSpPr>
        <p:spPr bwMode="gray">
          <a:xfrm>
            <a:off x="6340080" y="3987631"/>
            <a:ext cx="3931920" cy="200055"/>
          </a:xfrm>
          <a:prstGeom prst="rect">
            <a:avLst/>
          </a:prstGeom>
          <a:noFill/>
        </p:spPr>
        <p:txBody>
          <a:bodyPr wrap="square" lIns="0" tIns="0" rIns="0" bIns="0" rtlCol="0">
            <a:spAutoFit/>
          </a:bodyPr>
          <a:lstStyle/>
          <a:p>
            <a:r>
              <a:rPr lang="en-US" sz="1300" dirty="0"/>
              <a:t>Chart title runs here (units)</a:t>
            </a:r>
          </a:p>
        </p:txBody>
      </p:sp>
      <p:graphicFrame>
        <p:nvGraphicFramePr>
          <p:cNvPr id="34" name="Chart Placeholder 9"/>
          <p:cNvGraphicFramePr>
            <a:graphicFrameLocks/>
          </p:cNvGraphicFramePr>
          <p:nvPr>
            <p:extLst>
              <p:ext uri="{D42A27DB-BD31-4B8C-83A1-F6EECF244321}">
                <p14:modId xmlns:p14="http://schemas.microsoft.com/office/powerpoint/2010/main" val="198030038"/>
              </p:ext>
            </p:extLst>
          </p:nvPr>
        </p:nvGraphicFramePr>
        <p:xfrm>
          <a:off x="6350977" y="1962462"/>
          <a:ext cx="4572000" cy="1847271"/>
        </p:xfrm>
        <a:graphic>
          <a:graphicData uri="http://schemas.openxmlformats.org/drawingml/2006/chart">
            <c:chart xmlns:c="http://schemas.openxmlformats.org/drawingml/2006/chart" xmlns:r="http://schemas.openxmlformats.org/officeDocument/2006/relationships" r:id="rId6"/>
          </a:graphicData>
        </a:graphic>
      </p:graphicFrame>
      <p:sp>
        <p:nvSpPr>
          <p:cNvPr id="31" name="Text Placeholder 27"/>
          <p:cNvSpPr txBox="1">
            <a:spLocks/>
          </p:cNvSpPr>
          <p:nvPr/>
        </p:nvSpPr>
        <p:spPr>
          <a:xfrm>
            <a:off x="499362" y="6121014"/>
            <a:ext cx="9774939" cy="341431"/>
          </a:xfrm>
          <a:prstGeom prst="rect">
            <a:avLst/>
          </a:prstGeom>
        </p:spPr>
        <p:txBody>
          <a:bodyPr lIns="0" tIns="0" rIns="0" bIns="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spcAft>
                <a:spcPts val="0"/>
              </a:spcAft>
            </a:pPr>
            <a:r>
              <a:rPr lang="en-US" sz="900" dirty="0"/>
              <a:t>Source: </a:t>
            </a:r>
          </a:p>
          <a:p>
            <a:pPr>
              <a:lnSpc>
                <a:spcPct val="90000"/>
              </a:lnSpc>
              <a:spcAft>
                <a:spcPts val="0"/>
              </a:spcAft>
            </a:pPr>
            <a:r>
              <a:rPr lang="en-US" sz="900" dirty="0"/>
              <a:t>Note: </a:t>
            </a:r>
          </a:p>
        </p:txBody>
      </p:sp>
    </p:spTree>
    <p:extLst>
      <p:ext uri="{BB962C8B-B14F-4D97-AF65-F5344CB8AC3E}">
        <p14:creationId xmlns:p14="http://schemas.microsoft.com/office/powerpoint/2010/main" val="2261351762"/>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Paired (14 colors)</a:t>
            </a:r>
            <a:endParaRPr lang="en-GB" dirty="0"/>
          </a:p>
        </p:txBody>
      </p:sp>
      <p:graphicFrame>
        <p:nvGraphicFramePr>
          <p:cNvPr id="20" name="Chart Placeholder 19"/>
          <p:cNvGraphicFramePr>
            <a:graphicFrameLocks noGrp="1"/>
          </p:cNvGraphicFramePr>
          <p:nvPr>
            <p:ph type="chart" sz="quarter" idx="15"/>
            <p:extLst>
              <p:ext uri="{D42A27DB-BD31-4B8C-83A1-F6EECF244321}">
                <p14:modId xmlns:p14="http://schemas.microsoft.com/office/powerpoint/2010/main" val="108473237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9" name="Text Placeholder 18"/>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Column chart </a:t>
            </a:r>
            <a:endParaRPr lang="en-US" dirty="0"/>
          </a:p>
        </p:txBody>
      </p:sp>
    </p:spTree>
    <p:extLst>
      <p:ext uri="{BB962C8B-B14F-4D97-AF65-F5344CB8AC3E}">
        <p14:creationId xmlns:p14="http://schemas.microsoft.com/office/powerpoint/2010/main" val="268845660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Paired</a:t>
            </a:r>
            <a:endParaRPr lang="en-GB" dirty="0"/>
          </a:p>
        </p:txBody>
      </p:sp>
      <p:graphicFrame>
        <p:nvGraphicFramePr>
          <p:cNvPr id="19" name="Chart Placeholder 18"/>
          <p:cNvGraphicFramePr>
            <a:graphicFrameLocks noGrp="1"/>
          </p:cNvGraphicFramePr>
          <p:nvPr>
            <p:ph type="chart" sz="quarter" idx="15"/>
            <p:extLst>
              <p:ext uri="{D42A27DB-BD31-4B8C-83A1-F6EECF244321}">
                <p14:modId xmlns:p14="http://schemas.microsoft.com/office/powerpoint/2010/main" val="2720322885"/>
              </p:ext>
            </p:extLst>
          </p:nvPr>
        </p:nvGraphicFramePr>
        <p:xfrm>
          <a:off x="501649" y="2052638"/>
          <a:ext cx="11108149"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7" name="Text Placeholder 16"/>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Column chart </a:t>
            </a:r>
            <a:endParaRPr lang="en-US" dirty="0"/>
          </a:p>
        </p:txBody>
      </p:sp>
    </p:spTree>
    <p:extLst>
      <p:ext uri="{BB962C8B-B14F-4D97-AF65-F5344CB8AC3E}">
        <p14:creationId xmlns:p14="http://schemas.microsoft.com/office/powerpoint/2010/main" val="220769591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Four paired</a:t>
            </a:r>
            <a:endParaRPr lang="en-GB" dirty="0"/>
          </a:p>
        </p:txBody>
      </p:sp>
      <p:sp>
        <p:nvSpPr>
          <p:cNvPr id="2" name="Title 1"/>
          <p:cNvSpPr>
            <a:spLocks noGrp="1"/>
          </p:cNvSpPr>
          <p:nvPr>
            <p:ph type="title"/>
          </p:nvPr>
        </p:nvSpPr>
        <p:spPr/>
        <p:txBody>
          <a:bodyPr/>
          <a:lstStyle/>
          <a:p>
            <a:r>
              <a:rPr lang="en-US" altLang="ja-JP"/>
              <a:t>Column charts </a:t>
            </a:r>
            <a:endParaRPr lang="en-US" dirty="0"/>
          </a:p>
        </p:txBody>
      </p:sp>
      <p:graphicFrame>
        <p:nvGraphicFramePr>
          <p:cNvPr id="20" name="Chart 19"/>
          <p:cNvGraphicFramePr/>
          <p:nvPr>
            <p:extLst>
              <p:ext uri="{D42A27DB-BD31-4B8C-83A1-F6EECF244321}">
                <p14:modId xmlns:p14="http://schemas.microsoft.com/office/powerpoint/2010/main" val="449381903"/>
              </p:ext>
            </p:extLst>
          </p:nvPr>
        </p:nvGraphicFramePr>
        <p:xfrm>
          <a:off x="501650" y="2066192"/>
          <a:ext cx="2286000" cy="42980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Chart 32"/>
          <p:cNvGraphicFramePr/>
          <p:nvPr>
            <p:extLst>
              <p:ext uri="{D42A27DB-BD31-4B8C-83A1-F6EECF244321}">
                <p14:modId xmlns:p14="http://schemas.microsoft.com/office/powerpoint/2010/main" val="1391261447"/>
              </p:ext>
            </p:extLst>
          </p:nvPr>
        </p:nvGraphicFramePr>
        <p:xfrm>
          <a:off x="3474854" y="2066192"/>
          <a:ext cx="2286000" cy="429803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6" name="Chart 35"/>
          <p:cNvGraphicFramePr/>
          <p:nvPr>
            <p:extLst>
              <p:ext uri="{D42A27DB-BD31-4B8C-83A1-F6EECF244321}">
                <p14:modId xmlns:p14="http://schemas.microsoft.com/office/powerpoint/2010/main" val="1701924056"/>
              </p:ext>
            </p:extLst>
          </p:nvPr>
        </p:nvGraphicFramePr>
        <p:xfrm>
          <a:off x="9421261" y="2066192"/>
          <a:ext cx="2286000" cy="429803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9" name="Chart 38"/>
          <p:cNvGraphicFramePr/>
          <p:nvPr>
            <p:extLst>
              <p:ext uri="{D42A27DB-BD31-4B8C-83A1-F6EECF244321}">
                <p14:modId xmlns:p14="http://schemas.microsoft.com/office/powerpoint/2010/main" val="675069895"/>
              </p:ext>
            </p:extLst>
          </p:nvPr>
        </p:nvGraphicFramePr>
        <p:xfrm>
          <a:off x="6448058" y="2066192"/>
          <a:ext cx="2286000" cy="4298032"/>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p:cNvSpPr txBox="1"/>
          <p:nvPr/>
        </p:nvSpPr>
        <p:spPr bwMode="gray">
          <a:xfrm>
            <a:off x="3474854" y="1700784"/>
            <a:ext cx="2011680" cy="200055"/>
          </a:xfrm>
          <a:prstGeom prst="rect">
            <a:avLst/>
          </a:prstGeom>
          <a:noFill/>
        </p:spPr>
        <p:txBody>
          <a:bodyPr wrap="square" lIns="0" tIns="0" rIns="0" bIns="0" rtlCol="0">
            <a:spAutoFit/>
          </a:bodyPr>
          <a:lstStyle/>
          <a:p>
            <a:r>
              <a:rPr lang="en-US" sz="1300" dirty="0"/>
              <a:t>Chart title here (units)</a:t>
            </a:r>
          </a:p>
        </p:txBody>
      </p:sp>
      <p:sp>
        <p:nvSpPr>
          <p:cNvPr id="28" name="TextBox 27"/>
          <p:cNvSpPr txBox="1"/>
          <p:nvPr/>
        </p:nvSpPr>
        <p:spPr bwMode="gray">
          <a:xfrm>
            <a:off x="501650" y="1700784"/>
            <a:ext cx="2011680" cy="200055"/>
          </a:xfrm>
          <a:prstGeom prst="rect">
            <a:avLst/>
          </a:prstGeom>
          <a:noFill/>
        </p:spPr>
        <p:txBody>
          <a:bodyPr wrap="square" lIns="0" tIns="0" rIns="0" bIns="0" rtlCol="0">
            <a:spAutoFit/>
          </a:bodyPr>
          <a:lstStyle/>
          <a:p>
            <a:r>
              <a:rPr lang="en-US" sz="1300" dirty="0"/>
              <a:t>Chart title here (units)</a:t>
            </a:r>
          </a:p>
        </p:txBody>
      </p:sp>
      <p:sp>
        <p:nvSpPr>
          <p:cNvPr id="29" name="TextBox 28"/>
          <p:cNvSpPr txBox="1"/>
          <p:nvPr/>
        </p:nvSpPr>
        <p:spPr bwMode="gray">
          <a:xfrm>
            <a:off x="9421261" y="1700784"/>
            <a:ext cx="2011680" cy="200055"/>
          </a:xfrm>
          <a:prstGeom prst="rect">
            <a:avLst/>
          </a:prstGeom>
          <a:noFill/>
        </p:spPr>
        <p:txBody>
          <a:bodyPr wrap="square" lIns="0" tIns="0" rIns="0" bIns="0" rtlCol="0">
            <a:spAutoFit/>
          </a:bodyPr>
          <a:lstStyle/>
          <a:p>
            <a:r>
              <a:rPr lang="en-US" sz="1300" dirty="0"/>
              <a:t>Chart title here (units)</a:t>
            </a:r>
          </a:p>
        </p:txBody>
      </p:sp>
      <p:sp>
        <p:nvSpPr>
          <p:cNvPr id="30" name="TextBox 29"/>
          <p:cNvSpPr txBox="1"/>
          <p:nvPr/>
        </p:nvSpPr>
        <p:spPr bwMode="gray">
          <a:xfrm>
            <a:off x="6448058" y="1700784"/>
            <a:ext cx="2011680" cy="200055"/>
          </a:xfrm>
          <a:prstGeom prst="rect">
            <a:avLst/>
          </a:prstGeom>
          <a:noFill/>
        </p:spPr>
        <p:txBody>
          <a:bodyPr wrap="square" lIns="0" tIns="0" rIns="0" bIns="0" rtlCol="0">
            <a:spAutoFit/>
          </a:bodyPr>
          <a:lstStyle/>
          <a:p>
            <a:r>
              <a:rPr lang="en-US" sz="1300" dirty="0"/>
              <a:t>Chart title here (units)</a:t>
            </a:r>
          </a:p>
        </p:txBody>
      </p:sp>
    </p:spTree>
    <p:extLst>
      <p:ext uri="{BB962C8B-B14F-4D97-AF65-F5344CB8AC3E}">
        <p14:creationId xmlns:p14="http://schemas.microsoft.com/office/powerpoint/2010/main" val="89302106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dirty="0"/>
              <a:t>Multiple</a:t>
            </a:r>
            <a:endParaRPr lang="en-GB" dirty="0"/>
          </a:p>
        </p:txBody>
      </p:sp>
      <p:graphicFrame>
        <p:nvGraphicFramePr>
          <p:cNvPr id="33" name="Chart Placeholder 32"/>
          <p:cNvGraphicFramePr>
            <a:graphicFrameLocks noGrp="1"/>
          </p:cNvGraphicFramePr>
          <p:nvPr>
            <p:ph type="chart" sz="quarter" idx="15"/>
            <p:extLst>
              <p:ext uri="{D42A27DB-BD31-4B8C-83A1-F6EECF244321}">
                <p14:modId xmlns:p14="http://schemas.microsoft.com/office/powerpoint/2010/main" val="1541094135"/>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US" dirty="0"/>
              <a:t>Chart title runs here (units)</a:t>
            </a:r>
          </a:p>
        </p:txBody>
      </p:sp>
      <p:sp>
        <p:nvSpPr>
          <p:cNvPr id="12" name="Text Placeholder 11"/>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Column charts </a:t>
            </a:r>
            <a:endParaRPr lang="en-US" dirty="0"/>
          </a:p>
        </p:txBody>
      </p:sp>
      <p:sp>
        <p:nvSpPr>
          <p:cNvPr id="16" name="Text Placeholder 8"/>
          <p:cNvSpPr txBox="1">
            <a:spLocks/>
          </p:cNvSpPr>
          <p:nvPr/>
        </p:nvSpPr>
        <p:spPr>
          <a:xfrm>
            <a:off x="1900239" y="765175"/>
            <a:ext cx="8396286" cy="96928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lang="en-GB" dirty="0">
              <a:solidFill>
                <a:srgbClr val="81BC00"/>
              </a:solidFill>
              <a:latin typeface="Arial"/>
            </a:endParaRPr>
          </a:p>
        </p:txBody>
      </p:sp>
      <p:grpSp>
        <p:nvGrpSpPr>
          <p:cNvPr id="5" name="Group 4"/>
          <p:cNvGrpSpPr/>
          <p:nvPr/>
        </p:nvGrpSpPr>
        <p:grpSpPr>
          <a:xfrm>
            <a:off x="9477414" y="5252705"/>
            <a:ext cx="1691640" cy="365424"/>
            <a:chOff x="7300019" y="5248709"/>
            <a:chExt cx="1174425" cy="365424"/>
          </a:xfrm>
        </p:grpSpPr>
        <p:sp>
          <p:nvSpPr>
            <p:cNvPr id="39" name="Text Box 6"/>
            <p:cNvSpPr txBox="1">
              <a:spLocks noChangeArrowheads="1"/>
            </p:cNvSpPr>
            <p:nvPr/>
          </p:nvSpPr>
          <p:spPr bwMode="gray">
            <a:xfrm>
              <a:off x="7437969" y="546024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40"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41"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grpSp>
        <p:nvGrpSpPr>
          <p:cNvPr id="61" name="Group 60"/>
          <p:cNvGrpSpPr/>
          <p:nvPr/>
        </p:nvGrpSpPr>
        <p:grpSpPr>
          <a:xfrm>
            <a:off x="1359402" y="5252703"/>
            <a:ext cx="1693113" cy="395776"/>
            <a:chOff x="7300019" y="5248709"/>
            <a:chExt cx="1174425" cy="308710"/>
          </a:xfrm>
        </p:grpSpPr>
        <p:sp>
          <p:nvSpPr>
            <p:cNvPr id="62" name="Text Box 6"/>
            <p:cNvSpPr txBox="1">
              <a:spLocks noChangeArrowheads="1"/>
            </p:cNvSpPr>
            <p:nvPr/>
          </p:nvSpPr>
          <p:spPr bwMode="gray">
            <a:xfrm>
              <a:off x="7437969" y="5437385"/>
              <a:ext cx="898525" cy="12003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63"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64"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grpSp>
        <p:nvGrpSpPr>
          <p:cNvPr id="65" name="Group 64"/>
          <p:cNvGrpSpPr/>
          <p:nvPr/>
        </p:nvGrpSpPr>
        <p:grpSpPr>
          <a:xfrm>
            <a:off x="3370922" y="5252705"/>
            <a:ext cx="1691640" cy="376854"/>
            <a:chOff x="7300019" y="5248709"/>
            <a:chExt cx="1174425" cy="376854"/>
          </a:xfrm>
        </p:grpSpPr>
        <p:sp>
          <p:nvSpPr>
            <p:cNvPr id="66" name="Text Box 6"/>
            <p:cNvSpPr txBox="1">
              <a:spLocks noChangeArrowheads="1"/>
            </p:cNvSpPr>
            <p:nvPr/>
          </p:nvSpPr>
          <p:spPr bwMode="gray">
            <a:xfrm>
              <a:off x="7437969" y="547167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67"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68"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grpSp>
        <p:nvGrpSpPr>
          <p:cNvPr id="69" name="Group 68"/>
          <p:cNvGrpSpPr/>
          <p:nvPr/>
        </p:nvGrpSpPr>
        <p:grpSpPr>
          <a:xfrm>
            <a:off x="5413272" y="5252705"/>
            <a:ext cx="1691640" cy="376854"/>
            <a:chOff x="7300019" y="5248709"/>
            <a:chExt cx="1174425" cy="376854"/>
          </a:xfrm>
        </p:grpSpPr>
        <p:sp>
          <p:nvSpPr>
            <p:cNvPr id="70" name="Text Box 6"/>
            <p:cNvSpPr txBox="1">
              <a:spLocks noChangeArrowheads="1"/>
            </p:cNvSpPr>
            <p:nvPr/>
          </p:nvSpPr>
          <p:spPr bwMode="gray">
            <a:xfrm>
              <a:off x="7437969" y="547167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71"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72"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grpSp>
        <p:nvGrpSpPr>
          <p:cNvPr id="73" name="Group 72"/>
          <p:cNvGrpSpPr/>
          <p:nvPr/>
        </p:nvGrpSpPr>
        <p:grpSpPr>
          <a:xfrm>
            <a:off x="7445339" y="5252705"/>
            <a:ext cx="1691640" cy="365424"/>
            <a:chOff x="7300019" y="5248709"/>
            <a:chExt cx="1174425" cy="365424"/>
          </a:xfrm>
        </p:grpSpPr>
        <p:sp>
          <p:nvSpPr>
            <p:cNvPr id="74" name="Text Box 6"/>
            <p:cNvSpPr txBox="1">
              <a:spLocks noChangeArrowheads="1"/>
            </p:cNvSpPr>
            <p:nvPr/>
          </p:nvSpPr>
          <p:spPr bwMode="gray">
            <a:xfrm>
              <a:off x="7437969" y="5460245"/>
              <a:ext cx="898525"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000" dirty="0">
                  <a:solidFill>
                    <a:srgbClr val="53565A"/>
                  </a:solidFill>
                  <a:latin typeface="+mj-lt"/>
                  <a:cs typeface="Arial" pitchFamily="34" charset="0"/>
                </a:rPr>
                <a:t>Label Outside</a:t>
              </a:r>
            </a:p>
          </p:txBody>
        </p:sp>
        <p:sp>
          <p:nvSpPr>
            <p:cNvPr id="75" name="Text Box 15"/>
            <p:cNvSpPr txBox="1">
              <a:spLocks noChangeArrowheads="1"/>
            </p:cNvSpPr>
            <p:nvPr/>
          </p:nvSpPr>
          <p:spPr bwMode="gray">
            <a:xfrm>
              <a:off x="7300019"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sp>
          <p:nvSpPr>
            <p:cNvPr id="76" name="Text Box 16"/>
            <p:cNvSpPr txBox="1">
              <a:spLocks noChangeArrowheads="1"/>
            </p:cNvSpPr>
            <p:nvPr/>
          </p:nvSpPr>
          <p:spPr bwMode="gray">
            <a:xfrm>
              <a:off x="7742924" y="5248709"/>
              <a:ext cx="73152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53565A"/>
                  </a:solidFill>
                  <a:latin typeface="Arial" pitchFamily="34" charset="0"/>
                  <a:cs typeface="Arial" pitchFamily="34" charset="0"/>
                </a:rPr>
                <a:t>Label</a:t>
              </a:r>
            </a:p>
          </p:txBody>
        </p:sp>
      </p:grpSp>
    </p:spTree>
    <p:extLst>
      <p:ext uri="{BB962C8B-B14F-4D97-AF65-F5344CB8AC3E}">
        <p14:creationId xmlns:p14="http://schemas.microsoft.com/office/powerpoint/2010/main" val="3289730894"/>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55"/>
          <p:cNvSpPr>
            <a:spLocks noGrp="1"/>
          </p:cNvSpPr>
          <p:nvPr>
            <p:ph type="body" sz="quarter" idx="13"/>
          </p:nvPr>
        </p:nvSpPr>
        <p:spPr/>
        <p:txBody>
          <a:bodyPr/>
          <a:lstStyle/>
          <a:p>
            <a:r>
              <a:rPr lang="en-GB"/>
              <a:t>Multi </a:t>
            </a:r>
            <a:r>
              <a:rPr lang="en-US"/>
              <a:t>colors</a:t>
            </a:r>
            <a:endParaRPr lang="en-US" dirty="0"/>
          </a:p>
        </p:txBody>
      </p:sp>
      <p:graphicFrame>
        <p:nvGraphicFramePr>
          <p:cNvPr id="59" name="Chart Placeholder 58"/>
          <p:cNvGraphicFramePr>
            <a:graphicFrameLocks noGrp="1"/>
          </p:cNvGraphicFramePr>
          <p:nvPr>
            <p:ph type="chart" sz="quarter" idx="15"/>
            <p:extLst>
              <p:ext uri="{D42A27DB-BD31-4B8C-83A1-F6EECF244321}">
                <p14:modId xmlns:p14="http://schemas.microsoft.com/office/powerpoint/2010/main" val="3427815248"/>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13"/>
          <p:cNvSpPr>
            <a:spLocks noGrp="1"/>
          </p:cNvSpPr>
          <p:nvPr>
            <p:ph type="body" sz="quarter" idx="18"/>
          </p:nvPr>
        </p:nvSpPr>
        <p:spPr/>
        <p:txBody>
          <a:bodyPr/>
          <a:lstStyle/>
          <a:p>
            <a:r>
              <a:rPr lang="en-GB" dirty="0"/>
              <a:t>Chart title runs here (units)</a:t>
            </a:r>
            <a:endParaRPr lang="en-US" dirty="0"/>
          </a:p>
        </p:txBody>
      </p:sp>
      <p:sp>
        <p:nvSpPr>
          <p:cNvPr id="7" name="Text Placeholder 6"/>
          <p:cNvSpPr>
            <a:spLocks noGrp="1"/>
          </p:cNvSpPr>
          <p:nvPr>
            <p:ph type="body" sz="quarter" idx="23"/>
          </p:nvPr>
        </p:nvSpPr>
        <p:spPr/>
        <p:txBody>
          <a:bodyPr>
            <a:noAutofit/>
          </a:bodyPr>
          <a:lstStyle/>
          <a:p>
            <a:r>
              <a:rPr lang="en-GB"/>
              <a:t>Source:</a:t>
            </a:r>
          </a:p>
          <a:p>
            <a:r>
              <a:rPr lang="en-GB"/>
              <a:t>Note:</a:t>
            </a:r>
          </a:p>
          <a:p>
            <a:endParaRPr lang="en-GB" dirty="0"/>
          </a:p>
        </p:txBody>
      </p:sp>
      <p:sp>
        <p:nvSpPr>
          <p:cNvPr id="2" name="Title 1"/>
          <p:cNvSpPr>
            <a:spLocks noGrp="1"/>
          </p:cNvSpPr>
          <p:nvPr>
            <p:ph type="title"/>
          </p:nvPr>
        </p:nvSpPr>
        <p:spPr/>
        <p:txBody>
          <a:bodyPr/>
          <a:lstStyle/>
          <a:p>
            <a:r>
              <a:rPr lang="en-US"/>
              <a:t>Column chart</a:t>
            </a:r>
            <a:br>
              <a:rPr lang="en-US"/>
            </a:br>
            <a:endParaRPr lang="en-US" dirty="0"/>
          </a:p>
        </p:txBody>
      </p:sp>
    </p:spTree>
    <p:extLst>
      <p:ext uri="{BB962C8B-B14F-4D97-AF65-F5344CB8AC3E}">
        <p14:creationId xmlns:p14="http://schemas.microsoft.com/office/powerpoint/2010/main" val="395640754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0"/>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graphicFrame>
        <p:nvGraphicFramePr>
          <p:cNvPr id="57" name="Chart Placeholder 42"/>
          <p:cNvGraphicFramePr>
            <a:graphicFrameLocks noGrp="1"/>
          </p:cNvGraphicFramePr>
          <p:nvPr>
            <p:ph type="chart" sz="quarter" idx="21"/>
            <p:extLst>
              <p:ext uri="{D42A27DB-BD31-4B8C-83A1-F6EECF244321}">
                <p14:modId xmlns:p14="http://schemas.microsoft.com/office/powerpoint/2010/main" val="2964556590"/>
              </p:ext>
            </p:extLst>
          </p:nvPr>
        </p:nvGraphicFramePr>
        <p:xfrm>
          <a:off x="6280151" y="2125664"/>
          <a:ext cx="4970051"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22"/>
          </p:nvPr>
        </p:nvSpPr>
        <p:spPr/>
        <p:txBody>
          <a:bodyPr/>
          <a:lstStyle/>
          <a:p>
            <a:r>
              <a:rPr lang="en-US" dirty="0"/>
              <a:t>Highlight one segment color format (units)</a:t>
            </a:r>
          </a:p>
        </p:txBody>
      </p:sp>
      <p:sp>
        <p:nvSpPr>
          <p:cNvPr id="54" name="Text Placeholder 53"/>
          <p:cNvSpPr>
            <a:spLocks noGrp="1"/>
          </p:cNvSpPr>
          <p:nvPr>
            <p:ph type="body" sz="quarter" idx="23"/>
          </p:nvPr>
        </p:nvSpPr>
        <p:spPr/>
        <p:txBody>
          <a:bodyPr>
            <a:noAutofit/>
          </a:bodyPr>
          <a:lstStyle/>
          <a:p>
            <a:r>
              <a:rPr lang="en-US"/>
              <a:t>Source: </a:t>
            </a:r>
          </a:p>
          <a:p>
            <a:r>
              <a:rPr lang="en-US"/>
              <a:t>Note: </a:t>
            </a:r>
            <a:endParaRPr lang="en-US" dirty="0"/>
          </a:p>
        </p:txBody>
      </p:sp>
      <p:sp>
        <p:nvSpPr>
          <p:cNvPr id="2" name="Text Placeholder 1"/>
          <p:cNvSpPr>
            <a:spLocks noGrp="1"/>
          </p:cNvSpPr>
          <p:nvPr>
            <p:ph type="body" sz="quarter" idx="13"/>
          </p:nvPr>
        </p:nvSpPr>
        <p:spPr/>
        <p:txBody>
          <a:bodyPr/>
          <a:lstStyle/>
          <a:p>
            <a:pPr lvl="0"/>
            <a:r>
              <a:rPr lang="en-US" altLang="ja-JP"/>
              <a:t>Stacked bar chart and text</a:t>
            </a:r>
            <a:endParaRPr lang="en-GB" dirty="0"/>
          </a:p>
        </p:txBody>
      </p:sp>
      <p:sp>
        <p:nvSpPr>
          <p:cNvPr id="12" name="Title 11"/>
          <p:cNvSpPr>
            <a:spLocks noGrp="1"/>
          </p:cNvSpPr>
          <p:nvPr>
            <p:ph type="title"/>
          </p:nvPr>
        </p:nvSpPr>
        <p:spPr/>
        <p:txBody>
          <a:bodyPr/>
          <a:lstStyle/>
          <a:p>
            <a:r>
              <a:rPr lang="en-US" altLang="ja-JP"/>
              <a:t>Column charts</a:t>
            </a:r>
            <a:endParaRPr lang="en-US" dirty="0"/>
          </a:p>
        </p:txBody>
      </p:sp>
      <p:sp>
        <p:nvSpPr>
          <p:cNvPr id="10" name="Text Placeholder 3"/>
          <p:cNvSpPr txBox="1">
            <a:spLocks/>
          </p:cNvSpPr>
          <p:nvPr/>
        </p:nvSpPr>
        <p:spPr>
          <a:xfrm>
            <a:off x="1894800" y="1810800"/>
            <a:ext cx="4140000" cy="4536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en-GB" dirty="0">
              <a:solidFill>
                <a:srgbClr val="313131"/>
              </a:solidFill>
              <a:latin typeface="Arial"/>
            </a:endParaRPr>
          </a:p>
        </p:txBody>
      </p:sp>
    </p:spTree>
    <p:extLst>
      <p:ext uri="{BB962C8B-B14F-4D97-AF65-F5344CB8AC3E}">
        <p14:creationId xmlns:p14="http://schemas.microsoft.com/office/powerpoint/2010/main" val="2382151021"/>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Placeholder 42"/>
          <p:cNvGraphicFramePr>
            <a:graphicFrameLocks noGrp="1"/>
          </p:cNvGraphicFramePr>
          <p:nvPr>
            <p:ph type="chart" sz="quarter" idx="21"/>
            <p:extLst>
              <p:ext uri="{D42A27DB-BD31-4B8C-83A1-F6EECF244321}">
                <p14:modId xmlns:p14="http://schemas.microsoft.com/office/powerpoint/2010/main" val="4274452321"/>
              </p:ext>
            </p:extLst>
          </p:nvPr>
        </p:nvGraphicFramePr>
        <p:xfrm>
          <a:off x="6280150" y="2125664"/>
          <a:ext cx="457200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22"/>
          </p:nvPr>
        </p:nvSpPr>
        <p:spPr/>
        <p:txBody>
          <a:bodyPr/>
          <a:lstStyle/>
          <a:p>
            <a:r>
              <a:rPr lang="en-GB" dirty="0"/>
              <a:t>Highlight one segment </a:t>
            </a:r>
            <a:r>
              <a:rPr lang="en-GB" dirty="0" err="1"/>
              <a:t>color</a:t>
            </a:r>
            <a:r>
              <a:rPr lang="en-GB" dirty="0"/>
              <a:t> format (units)</a:t>
            </a:r>
          </a:p>
        </p:txBody>
      </p:sp>
      <p:sp>
        <p:nvSpPr>
          <p:cNvPr id="22" name="Text Placeholder 21"/>
          <p:cNvSpPr>
            <a:spLocks noGrp="1"/>
          </p:cNvSpPr>
          <p:nvPr>
            <p:ph type="body" sz="quarter" idx="23"/>
          </p:nvPr>
        </p:nvSpPr>
        <p:spPr/>
        <p:txBody>
          <a:bodyPr>
            <a:noAutofit/>
          </a:bodyPr>
          <a:lstStyle/>
          <a:p>
            <a:r>
              <a:rPr lang="en-GB"/>
              <a:t>Source:</a:t>
            </a:r>
          </a:p>
          <a:p>
            <a:r>
              <a:rPr lang="en-GB"/>
              <a:t>Note:</a:t>
            </a:r>
            <a:endParaRPr lang="en-GB" dirty="0"/>
          </a:p>
        </p:txBody>
      </p:sp>
      <p:graphicFrame>
        <p:nvGraphicFramePr>
          <p:cNvPr id="37" name="Chart Placeholder 36"/>
          <p:cNvGraphicFramePr>
            <a:graphicFrameLocks noGrp="1"/>
          </p:cNvGraphicFramePr>
          <p:nvPr>
            <p:ph type="chart" sz="quarter" idx="24"/>
            <p:extLst>
              <p:ext uri="{D42A27DB-BD31-4B8C-83A1-F6EECF244321}">
                <p14:modId xmlns:p14="http://schemas.microsoft.com/office/powerpoint/2010/main" val="585506327"/>
              </p:ext>
            </p:extLst>
          </p:nvPr>
        </p:nvGraphicFramePr>
        <p:xfrm>
          <a:off x="501649" y="2125664"/>
          <a:ext cx="45720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 Placeholder 3"/>
          <p:cNvSpPr>
            <a:spLocks noGrp="1"/>
          </p:cNvSpPr>
          <p:nvPr>
            <p:ph type="body" sz="quarter" idx="25"/>
          </p:nvPr>
        </p:nvSpPr>
        <p:spPr/>
        <p:txBody>
          <a:bodyPr/>
          <a:lstStyle/>
          <a:p>
            <a:r>
              <a:rPr lang="en-US" dirty="0"/>
              <a:t>Standard color format (units)</a:t>
            </a:r>
          </a:p>
          <a:p>
            <a:endParaRPr lang="en-US" dirty="0"/>
          </a:p>
        </p:txBody>
      </p:sp>
      <p:sp>
        <p:nvSpPr>
          <p:cNvPr id="33" name="Text Placeholder 32"/>
          <p:cNvSpPr>
            <a:spLocks noGrp="1"/>
          </p:cNvSpPr>
          <p:nvPr>
            <p:ph type="body" sz="quarter" idx="13"/>
          </p:nvPr>
        </p:nvSpPr>
        <p:spPr/>
        <p:txBody>
          <a:bodyPr/>
          <a:lstStyle/>
          <a:p>
            <a:r>
              <a:rPr lang="en-GB"/>
              <a:t>Multi </a:t>
            </a:r>
            <a:r>
              <a:rPr lang="en-US"/>
              <a:t>color</a:t>
            </a:r>
            <a:r>
              <a:rPr lang="en-GB"/>
              <a:t> and single highlight </a:t>
            </a:r>
            <a:r>
              <a:rPr lang="en-US"/>
              <a:t>color</a:t>
            </a:r>
            <a:endParaRPr lang="en-US" dirty="0"/>
          </a:p>
        </p:txBody>
      </p:sp>
      <p:sp>
        <p:nvSpPr>
          <p:cNvPr id="2" name="Title 1"/>
          <p:cNvSpPr>
            <a:spLocks noGrp="1"/>
          </p:cNvSpPr>
          <p:nvPr>
            <p:ph type="title"/>
          </p:nvPr>
        </p:nvSpPr>
        <p:spPr/>
        <p:txBody>
          <a:bodyPr/>
          <a:lstStyle/>
          <a:p>
            <a:r>
              <a:rPr lang="en-US"/>
              <a:t>Stacked column charts</a:t>
            </a:r>
            <a:endParaRPr lang="en-US" dirty="0"/>
          </a:p>
        </p:txBody>
      </p:sp>
    </p:spTree>
    <p:extLst>
      <p:ext uri="{BB962C8B-B14F-4D97-AF65-F5344CB8AC3E}">
        <p14:creationId xmlns:p14="http://schemas.microsoft.com/office/powerpoint/2010/main" val="31598999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1917700" y="1700213"/>
            <a:ext cx="8354300" cy="442080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 name="Text Placeholder 2"/>
          <p:cNvSpPr>
            <a:spLocks noGrp="1"/>
          </p:cNvSpPr>
          <p:nvPr>
            <p:ph type="body" sz="quarter" idx="13"/>
          </p:nvPr>
        </p:nvSpPr>
        <p:spPr/>
        <p:txBody>
          <a:bodyPr/>
          <a:lstStyle/>
          <a:p>
            <a:r>
              <a:rPr lang="en-GB"/>
              <a:t>Multi </a:t>
            </a:r>
            <a:r>
              <a:rPr lang="en-US"/>
              <a:t>colors</a:t>
            </a:r>
            <a:endParaRPr lang="en-US" dirty="0"/>
          </a:p>
        </p:txBody>
      </p:sp>
      <p:sp>
        <p:nvSpPr>
          <p:cNvPr id="5" name="Title 4"/>
          <p:cNvSpPr>
            <a:spLocks noGrp="1"/>
          </p:cNvSpPr>
          <p:nvPr>
            <p:ph type="title"/>
          </p:nvPr>
        </p:nvSpPr>
        <p:spPr/>
        <p:txBody>
          <a:bodyPr/>
          <a:lstStyle/>
          <a:p>
            <a:r>
              <a:rPr lang="en-GB"/>
              <a:t>Area chart and stacked column charts on solid background</a:t>
            </a:r>
            <a:endParaRPr lang="en-GB" dirty="0"/>
          </a:p>
        </p:txBody>
      </p:sp>
      <p:graphicFrame>
        <p:nvGraphicFramePr>
          <p:cNvPr id="80" name="Chart Placeholder 42"/>
          <p:cNvGraphicFramePr>
            <a:graphicFrameLocks noGrp="1"/>
          </p:cNvGraphicFramePr>
          <p:nvPr>
            <p:ph type="chart" sz="quarter" idx="21"/>
            <p:extLst>
              <p:ext uri="{D42A27DB-BD31-4B8C-83A1-F6EECF244321}">
                <p14:modId xmlns:p14="http://schemas.microsoft.com/office/powerpoint/2010/main" val="2994452841"/>
              </p:ext>
            </p:extLst>
          </p:nvPr>
        </p:nvGraphicFramePr>
        <p:xfrm>
          <a:off x="6276975" y="2125664"/>
          <a:ext cx="4572000" cy="3995737"/>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Placeholder 7"/>
          <p:cNvSpPr>
            <a:spLocks noGrp="1"/>
          </p:cNvSpPr>
          <p:nvPr>
            <p:ph type="body" sz="quarter" idx="22"/>
          </p:nvPr>
        </p:nvSpPr>
        <p:spPr/>
        <p:txBody>
          <a:bodyPr/>
          <a:lstStyle/>
          <a:p>
            <a:r>
              <a:rPr lang="en-GB"/>
              <a:t>Highlight one segment </a:t>
            </a:r>
            <a:r>
              <a:rPr lang="en-US"/>
              <a:t>color</a:t>
            </a:r>
            <a:r>
              <a:rPr lang="en-GB"/>
              <a:t> format (units)</a:t>
            </a:r>
            <a:endParaRPr lang="en-GB" dirty="0"/>
          </a:p>
        </p:txBody>
      </p:sp>
      <p:sp>
        <p:nvSpPr>
          <p:cNvPr id="18" name="Text Placeholder 17"/>
          <p:cNvSpPr>
            <a:spLocks noGrp="1"/>
          </p:cNvSpPr>
          <p:nvPr>
            <p:ph type="body" sz="quarter" idx="23"/>
          </p:nvPr>
        </p:nvSpPr>
        <p:spPr/>
        <p:txBody>
          <a:bodyPr>
            <a:noAutofit/>
          </a:bodyPr>
          <a:lstStyle/>
          <a:p>
            <a:r>
              <a:rPr lang="en-GB"/>
              <a:t>Source:</a:t>
            </a:r>
          </a:p>
          <a:p>
            <a:r>
              <a:rPr lang="en-GB"/>
              <a:t>Note:</a:t>
            </a:r>
            <a:endParaRPr lang="en-GB" dirty="0"/>
          </a:p>
        </p:txBody>
      </p:sp>
      <p:graphicFrame>
        <p:nvGraphicFramePr>
          <p:cNvPr id="59" name="Content Placeholder 8"/>
          <p:cNvGraphicFramePr>
            <a:graphicFrameLocks noGrp="1"/>
          </p:cNvGraphicFramePr>
          <p:nvPr>
            <p:ph type="chart" sz="quarter" idx="24"/>
            <p:extLst>
              <p:ext uri="{D42A27DB-BD31-4B8C-83A1-F6EECF244321}">
                <p14:modId xmlns:p14="http://schemas.microsoft.com/office/powerpoint/2010/main" val="3180042189"/>
              </p:ext>
            </p:extLst>
          </p:nvPr>
        </p:nvGraphicFramePr>
        <p:xfrm>
          <a:off x="502920" y="2125664"/>
          <a:ext cx="457200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 Placeholder 46"/>
          <p:cNvSpPr>
            <a:spLocks noGrp="1"/>
          </p:cNvSpPr>
          <p:nvPr>
            <p:ph type="body" sz="quarter" idx="25"/>
          </p:nvPr>
        </p:nvSpPr>
        <p:spPr/>
        <p:txBody>
          <a:bodyPr/>
          <a:lstStyle/>
          <a:p>
            <a:r>
              <a:rPr lang="en-US" dirty="0"/>
              <a:t>Standard color format (units)</a:t>
            </a:r>
          </a:p>
        </p:txBody>
      </p:sp>
    </p:spTree>
    <p:extLst>
      <p:ext uri="{BB962C8B-B14F-4D97-AF65-F5344CB8AC3E}">
        <p14:creationId xmlns:p14="http://schemas.microsoft.com/office/powerpoint/2010/main" val="242710360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BA5F4429-E7F3-4B8D-9AB9-80DE6A2EBABC}"/>
              </a:ext>
            </a:extLst>
          </p:cNvPr>
          <p:cNvSpPr/>
          <p:nvPr/>
        </p:nvSpPr>
        <p:spPr bwMode="gray">
          <a:xfrm>
            <a:off x="8061439" y="1492470"/>
            <a:ext cx="3794234" cy="422516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Speech Bubble: Rectangle 25">
            <a:extLst>
              <a:ext uri="{FF2B5EF4-FFF2-40B4-BE49-F238E27FC236}">
                <a16:creationId xmlns:a16="http://schemas.microsoft.com/office/drawing/2014/main" id="{3FE8C9A6-650B-446D-96C8-937FF8BE61C7}"/>
              </a:ext>
            </a:extLst>
          </p:cNvPr>
          <p:cNvSpPr/>
          <p:nvPr/>
        </p:nvSpPr>
        <p:spPr bwMode="gray">
          <a:xfrm>
            <a:off x="304800" y="1597573"/>
            <a:ext cx="3794234" cy="4120056"/>
          </a:xfrm>
          <a:prstGeom prst="wedgeRectCallout">
            <a:avLst>
              <a:gd name="adj1" fmla="val 32353"/>
              <a:gd name="adj2" fmla="val 60714"/>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Title 2"/>
          <p:cNvSpPr>
            <a:spLocks noGrp="1"/>
          </p:cNvSpPr>
          <p:nvPr>
            <p:ph type="title"/>
          </p:nvPr>
        </p:nvSpPr>
        <p:spPr/>
        <p:txBody>
          <a:bodyPr/>
          <a:lstStyle/>
          <a:p>
            <a:r>
              <a:rPr lang="en-US" dirty="0"/>
              <a:t>Quotes and callouts</a:t>
            </a:r>
          </a:p>
        </p:txBody>
      </p:sp>
      <p:sp>
        <p:nvSpPr>
          <p:cNvPr id="10" name="TextBox 9">
            <a:extLst>
              <a:ext uri="{FF2B5EF4-FFF2-40B4-BE49-F238E27FC236}">
                <a16:creationId xmlns:a16="http://schemas.microsoft.com/office/drawing/2014/main" id="{3C591DA0-2B87-43D7-90B7-CC2F1C3AA1B1}"/>
              </a:ext>
            </a:extLst>
          </p:cNvPr>
          <p:cNvSpPr txBox="1"/>
          <p:nvPr/>
        </p:nvSpPr>
        <p:spPr>
          <a:xfrm>
            <a:off x="522670" y="1671144"/>
            <a:ext cx="3334626" cy="3954929"/>
          </a:xfrm>
          <a:prstGeom prst="rect">
            <a:avLst/>
          </a:prstGeom>
          <a:noFill/>
        </p:spPr>
        <p:txBody>
          <a:bodyPr wrap="square" lIns="0" tIns="0" rIns="0" bIns="0" rtlCol="0">
            <a:spAutoFit/>
          </a:bodyPr>
          <a:lstStyle/>
          <a:p>
            <a:pPr>
              <a:spcBef>
                <a:spcPts val="600"/>
              </a:spcBef>
              <a:buSzPct val="100000"/>
            </a:pPr>
            <a:r>
              <a:rPr lang="en-US" sz="3600" b="1" dirty="0">
                <a:solidFill>
                  <a:schemeClr val="accent2"/>
                </a:solidFill>
                <a:latin typeface="+mj-lt"/>
              </a:rPr>
              <a:t>“This is dummy text that would be filled with a quote or callout from somewhere else in the text.”</a:t>
            </a:r>
          </a:p>
          <a:p>
            <a:pPr>
              <a:spcBef>
                <a:spcPts val="600"/>
              </a:spcBef>
              <a:buSzPct val="100000"/>
            </a:pPr>
            <a:r>
              <a:rPr lang="en-US" dirty="0">
                <a:solidFill>
                  <a:schemeClr val="accent2"/>
                </a:solidFill>
              </a:rPr>
              <a:t>— Name of quoted person, </a:t>
            </a:r>
            <a:br>
              <a:rPr lang="en-US" dirty="0">
                <a:solidFill>
                  <a:schemeClr val="accent2"/>
                </a:solidFill>
              </a:rPr>
            </a:br>
            <a:r>
              <a:rPr lang="en-US" dirty="0">
                <a:solidFill>
                  <a:schemeClr val="accent2"/>
                </a:solidFill>
              </a:rPr>
              <a:t>Title of quoted person</a:t>
            </a:r>
            <a:endParaRPr lang="en-US" sz="3600" b="1" dirty="0">
              <a:solidFill>
                <a:schemeClr val="accent2"/>
              </a:solidFill>
              <a:latin typeface="+mj-lt"/>
            </a:endParaRPr>
          </a:p>
        </p:txBody>
      </p:sp>
      <p:sp>
        <p:nvSpPr>
          <p:cNvPr id="24" name="TextBox 23">
            <a:extLst>
              <a:ext uri="{FF2B5EF4-FFF2-40B4-BE49-F238E27FC236}">
                <a16:creationId xmlns:a16="http://schemas.microsoft.com/office/drawing/2014/main" id="{AAFAA371-C410-4FAF-B00F-B79941E45C09}"/>
              </a:ext>
            </a:extLst>
          </p:cNvPr>
          <p:cNvSpPr txBox="1"/>
          <p:nvPr/>
        </p:nvSpPr>
        <p:spPr>
          <a:xfrm>
            <a:off x="4553391" y="1650123"/>
            <a:ext cx="3334626" cy="4585871"/>
          </a:xfrm>
          <a:prstGeom prst="rect">
            <a:avLst/>
          </a:prstGeom>
          <a:noFill/>
        </p:spPr>
        <p:txBody>
          <a:bodyPr wrap="square" lIns="0" tIns="0" rIns="0" bIns="0" rtlCol="0">
            <a:spAutoFit/>
          </a:bodyPr>
          <a:lstStyle/>
          <a:p>
            <a:pPr>
              <a:spcBef>
                <a:spcPts val="600"/>
              </a:spcBef>
              <a:buSzPct val="100000"/>
            </a:pPr>
            <a:r>
              <a:rPr lang="en-US" sz="3600" dirty="0">
                <a:solidFill>
                  <a:schemeClr val="accent1"/>
                </a:solidFill>
              </a:rPr>
              <a:t>“This is dummy text that would be filled with a quote or callout from somewhere else in the text.”</a:t>
            </a:r>
          </a:p>
          <a:p>
            <a:pPr>
              <a:spcBef>
                <a:spcPts val="600"/>
              </a:spcBef>
              <a:buSzPct val="100000"/>
            </a:pPr>
            <a:r>
              <a:rPr lang="en-US" dirty="0"/>
              <a:t>— Name of quoted person, </a:t>
            </a:r>
            <a:br>
              <a:rPr lang="en-US" dirty="0"/>
            </a:br>
            <a:r>
              <a:rPr lang="en-US" dirty="0"/>
              <a:t>Title of quoted person</a:t>
            </a:r>
            <a:endParaRPr lang="en-US" b="1" dirty="0">
              <a:solidFill>
                <a:srgbClr val="313131"/>
              </a:solidFill>
            </a:endParaRPr>
          </a:p>
          <a:p>
            <a:pPr>
              <a:spcBef>
                <a:spcPts val="600"/>
              </a:spcBef>
              <a:buSzPct val="100000"/>
            </a:pPr>
            <a:endParaRPr lang="en-US" sz="3600" dirty="0">
              <a:solidFill>
                <a:schemeClr val="accent1"/>
              </a:solidFill>
            </a:endParaRPr>
          </a:p>
        </p:txBody>
      </p:sp>
      <p:sp>
        <p:nvSpPr>
          <p:cNvPr id="25" name="TextBox 24">
            <a:extLst>
              <a:ext uri="{FF2B5EF4-FFF2-40B4-BE49-F238E27FC236}">
                <a16:creationId xmlns:a16="http://schemas.microsoft.com/office/drawing/2014/main" id="{C123FE87-E1B4-4678-A6B6-9D8ED8B3C64D}"/>
              </a:ext>
            </a:extLst>
          </p:cNvPr>
          <p:cNvSpPr txBox="1"/>
          <p:nvPr/>
        </p:nvSpPr>
        <p:spPr>
          <a:xfrm>
            <a:off x="8289823" y="1650123"/>
            <a:ext cx="3334626" cy="4585871"/>
          </a:xfrm>
          <a:prstGeom prst="rect">
            <a:avLst/>
          </a:prstGeom>
          <a:noFill/>
        </p:spPr>
        <p:txBody>
          <a:bodyPr wrap="square" lIns="0" tIns="0" rIns="0" bIns="0" rtlCol="0">
            <a:spAutoFit/>
          </a:bodyPr>
          <a:lstStyle/>
          <a:p>
            <a:pPr>
              <a:spcBef>
                <a:spcPts val="600"/>
              </a:spcBef>
              <a:buSzPct val="100000"/>
            </a:pPr>
            <a:r>
              <a:rPr lang="en-US" sz="3600" dirty="0">
                <a:solidFill>
                  <a:schemeClr val="bg1"/>
                </a:solidFill>
              </a:rPr>
              <a:t>“This is dummy text that would be filled with a quote or callout from somewhere else in the text.”</a:t>
            </a:r>
          </a:p>
          <a:p>
            <a:pPr>
              <a:spcBef>
                <a:spcPts val="600"/>
              </a:spcBef>
              <a:buSzPct val="100000"/>
            </a:pPr>
            <a:r>
              <a:rPr lang="en-US" dirty="0">
                <a:solidFill>
                  <a:schemeClr val="bg1"/>
                </a:solidFill>
              </a:rPr>
              <a:t>— Name of quoted person, </a:t>
            </a:r>
            <a:br>
              <a:rPr lang="en-US" dirty="0">
                <a:solidFill>
                  <a:schemeClr val="bg1"/>
                </a:solidFill>
              </a:rPr>
            </a:br>
            <a:r>
              <a:rPr lang="en-US" dirty="0">
                <a:solidFill>
                  <a:schemeClr val="bg1"/>
                </a:solidFill>
              </a:rPr>
              <a:t>Title of quoted person</a:t>
            </a:r>
            <a:endParaRPr lang="en-US" b="1" dirty="0">
              <a:solidFill>
                <a:schemeClr val="bg1"/>
              </a:solidFill>
            </a:endParaRPr>
          </a:p>
          <a:p>
            <a:pPr>
              <a:spcBef>
                <a:spcPts val="600"/>
              </a:spcBef>
              <a:buSzPct val="100000"/>
            </a:pPr>
            <a:endParaRPr lang="en-US" sz="3600" dirty="0">
              <a:solidFill>
                <a:schemeClr val="bg1"/>
              </a:solidFill>
            </a:endParaRPr>
          </a:p>
        </p:txBody>
      </p:sp>
      <p:sp>
        <p:nvSpPr>
          <p:cNvPr id="8" name="Star: 5 Points 7">
            <a:extLst>
              <a:ext uri="{FF2B5EF4-FFF2-40B4-BE49-F238E27FC236}">
                <a16:creationId xmlns:a16="http://schemas.microsoft.com/office/drawing/2014/main" id="{2B9416DF-FEB8-4969-937F-0D07D001404C}"/>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445735032"/>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dirty="0"/>
              <a:t>Multi </a:t>
            </a:r>
            <a:r>
              <a:rPr lang="en-US" dirty="0"/>
              <a:t>color</a:t>
            </a:r>
          </a:p>
        </p:txBody>
      </p:sp>
      <p:graphicFrame>
        <p:nvGraphicFramePr>
          <p:cNvPr id="9" name="Content Placeholder 8"/>
          <p:cNvGraphicFramePr>
            <a:graphicFrameLocks noGrp="1"/>
          </p:cNvGraphicFramePr>
          <p:nvPr>
            <p:ph type="chart" sz="quarter" idx="15"/>
            <p:extLst>
              <p:ext uri="{D42A27DB-BD31-4B8C-83A1-F6EECF244321}">
                <p14:modId xmlns:p14="http://schemas.microsoft.com/office/powerpoint/2010/main" val="3654292683"/>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18"/>
          </p:nvPr>
        </p:nvSpPr>
        <p:spPr/>
        <p:txBody>
          <a:bodyPr/>
          <a:lstStyle/>
          <a:p>
            <a:r>
              <a:rPr lang="en-GB" dirty="0"/>
              <a:t>Chart title runs here</a:t>
            </a:r>
          </a:p>
        </p:txBody>
      </p:sp>
      <p:sp>
        <p:nvSpPr>
          <p:cNvPr id="5" name="Text Placeholder 4"/>
          <p:cNvSpPr>
            <a:spLocks noGrp="1"/>
          </p:cNvSpPr>
          <p:nvPr>
            <p:ph type="body" sz="quarter" idx="23"/>
          </p:nvPr>
        </p:nvSpPr>
        <p:spPr/>
        <p:txBody>
          <a:bodyPr>
            <a:noAutofit/>
          </a:bodyPr>
          <a:lstStyle/>
          <a:p>
            <a:r>
              <a:rPr lang="en-US"/>
              <a:t>Source:</a:t>
            </a:r>
          </a:p>
          <a:p>
            <a:r>
              <a:rPr lang="en-US"/>
              <a:t>Note:</a:t>
            </a:r>
          </a:p>
          <a:p>
            <a:endParaRPr lang="en-US" dirty="0"/>
          </a:p>
        </p:txBody>
      </p:sp>
      <p:sp>
        <p:nvSpPr>
          <p:cNvPr id="2" name="Title 1"/>
          <p:cNvSpPr>
            <a:spLocks noGrp="1"/>
          </p:cNvSpPr>
          <p:nvPr>
            <p:ph type="title"/>
          </p:nvPr>
        </p:nvSpPr>
        <p:spPr/>
        <p:txBody>
          <a:bodyPr/>
          <a:lstStyle/>
          <a:p>
            <a:r>
              <a:rPr lang="en-GB"/>
              <a:t>Area chart</a:t>
            </a:r>
            <a:endParaRPr lang="en-GB" dirty="0"/>
          </a:p>
        </p:txBody>
      </p:sp>
    </p:spTree>
    <p:extLst>
      <p:ext uri="{BB962C8B-B14F-4D97-AF65-F5344CB8AC3E}">
        <p14:creationId xmlns:p14="http://schemas.microsoft.com/office/powerpoint/2010/main" val="393031571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5"/>
          <p:cNvSpPr>
            <a:spLocks noGrp="1"/>
          </p:cNvSpPr>
          <p:nvPr>
            <p:ph sz="quarter" idx="10"/>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p:txBody>
      </p:sp>
      <p:graphicFrame>
        <p:nvGraphicFramePr>
          <p:cNvPr id="38" name="Chart Placeholder 37"/>
          <p:cNvGraphicFramePr>
            <a:graphicFrameLocks noGrp="1"/>
          </p:cNvGraphicFramePr>
          <p:nvPr>
            <p:ph type="chart" sz="quarter" idx="21"/>
            <p:extLst>
              <p:ext uri="{D42A27DB-BD31-4B8C-83A1-F6EECF244321}">
                <p14:modId xmlns:p14="http://schemas.microsoft.com/office/powerpoint/2010/main" val="1882877823"/>
              </p:ext>
            </p:extLst>
          </p:nvPr>
        </p:nvGraphicFramePr>
        <p:xfrm>
          <a:off x="6280151" y="2125664"/>
          <a:ext cx="4140000" cy="412361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p:cNvSpPr>
            <a:spLocks noGrp="1"/>
          </p:cNvSpPr>
          <p:nvPr>
            <p:ph type="body" sz="quarter" idx="22"/>
          </p:nvPr>
        </p:nvSpPr>
        <p:spPr/>
        <p:txBody>
          <a:bodyPr/>
          <a:lstStyle/>
          <a:p>
            <a:r>
              <a:rPr lang="en-US" dirty="0"/>
              <a:t>Chart title runs here (units)</a:t>
            </a:r>
          </a:p>
        </p:txBody>
      </p:sp>
      <p:sp>
        <p:nvSpPr>
          <p:cNvPr id="31" name="Text Placeholder 30"/>
          <p:cNvSpPr>
            <a:spLocks noGrp="1"/>
          </p:cNvSpPr>
          <p:nvPr>
            <p:ph type="body" sz="quarter" idx="23"/>
          </p:nvPr>
        </p:nvSpPr>
        <p:spPr/>
        <p:txBody>
          <a:bodyPr>
            <a:noAutofit/>
          </a:bodyPr>
          <a:lstStyle/>
          <a:p>
            <a:r>
              <a:rPr lang="en-US" dirty="0"/>
              <a:t>Source: </a:t>
            </a:r>
          </a:p>
          <a:p>
            <a:r>
              <a:rPr lang="en-US" dirty="0"/>
              <a:t>Note: </a:t>
            </a:r>
          </a:p>
        </p:txBody>
      </p:sp>
      <p:sp>
        <p:nvSpPr>
          <p:cNvPr id="44" name="Text Placeholder 43"/>
          <p:cNvSpPr>
            <a:spLocks noGrp="1"/>
          </p:cNvSpPr>
          <p:nvPr>
            <p:ph type="body" sz="quarter" idx="13"/>
          </p:nvPr>
        </p:nvSpPr>
        <p:spPr/>
        <p:txBody>
          <a:bodyPr/>
          <a:lstStyle/>
          <a:p>
            <a:pPr lvl="0"/>
            <a:r>
              <a:rPr lang="en-US" altLang="ja-JP" dirty="0"/>
              <a:t>Multiple colors</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sp>
        <p:nvSpPr>
          <p:cNvPr id="11" name="Text Placeholder 3"/>
          <p:cNvSpPr txBox="1">
            <a:spLocks/>
          </p:cNvSpPr>
          <p:nvPr/>
        </p:nvSpPr>
        <p:spPr>
          <a:xfrm>
            <a:off x="1894800" y="1828800"/>
            <a:ext cx="4140000" cy="39296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en-GB" dirty="0">
              <a:solidFill>
                <a:srgbClr val="313131"/>
              </a:solidFill>
              <a:latin typeface="Arial"/>
            </a:endParaRPr>
          </a:p>
        </p:txBody>
      </p:sp>
    </p:spTree>
    <p:extLst>
      <p:ext uri="{BB962C8B-B14F-4D97-AF65-F5344CB8AC3E}">
        <p14:creationId xmlns:p14="http://schemas.microsoft.com/office/powerpoint/2010/main" val="263467750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Placeholder 20"/>
          <p:cNvGraphicFramePr>
            <a:graphicFrameLocks noGrp="1"/>
          </p:cNvGraphicFramePr>
          <p:nvPr>
            <p:ph type="chart" sz="quarter" idx="21"/>
            <p:extLst>
              <p:ext uri="{D42A27DB-BD31-4B8C-83A1-F6EECF244321}">
                <p14:modId xmlns:p14="http://schemas.microsoft.com/office/powerpoint/2010/main" val="1025702256"/>
              </p:ext>
            </p:extLst>
          </p:nvPr>
        </p:nvGraphicFramePr>
        <p:xfrm>
          <a:off x="6280151" y="2125664"/>
          <a:ext cx="4011613"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p:cNvSpPr>
            <a:spLocks noGrp="1"/>
          </p:cNvSpPr>
          <p:nvPr>
            <p:ph type="body" sz="quarter" idx="22"/>
          </p:nvPr>
        </p:nvSpPr>
        <p:spPr/>
        <p:txBody>
          <a:bodyPr/>
          <a:lstStyle/>
          <a:p>
            <a:r>
              <a:rPr lang="en-US"/>
              <a:t>Highlight one segment color format (units)</a:t>
            </a:r>
            <a:endParaRPr lang="en-US" dirty="0"/>
          </a:p>
        </p:txBody>
      </p:sp>
      <p:sp>
        <p:nvSpPr>
          <p:cNvPr id="27" name="Text Placeholder 26"/>
          <p:cNvSpPr>
            <a:spLocks noGrp="1"/>
          </p:cNvSpPr>
          <p:nvPr>
            <p:ph type="body" sz="quarter" idx="23"/>
          </p:nvPr>
        </p:nvSpPr>
        <p:spPr/>
        <p:txBody>
          <a:bodyPr>
            <a:noAutofit/>
          </a:bodyPr>
          <a:lstStyle/>
          <a:p>
            <a:r>
              <a:rPr lang="en-US" dirty="0"/>
              <a:t>Source: </a:t>
            </a:r>
          </a:p>
          <a:p>
            <a:r>
              <a:rPr lang="en-US" dirty="0"/>
              <a:t>Note: </a:t>
            </a:r>
          </a:p>
        </p:txBody>
      </p:sp>
      <p:graphicFrame>
        <p:nvGraphicFramePr>
          <p:cNvPr id="20" name="Chart Placeholder 19"/>
          <p:cNvGraphicFramePr>
            <a:graphicFrameLocks noGrp="1"/>
          </p:cNvGraphicFramePr>
          <p:nvPr>
            <p:ph type="chart" sz="quarter" idx="24"/>
            <p:extLst>
              <p:ext uri="{D42A27DB-BD31-4B8C-83A1-F6EECF244321}">
                <p14:modId xmlns:p14="http://schemas.microsoft.com/office/powerpoint/2010/main" val="1462089682"/>
              </p:ext>
            </p:extLst>
          </p:nvPr>
        </p:nvGraphicFramePr>
        <p:xfrm>
          <a:off x="501649" y="2125664"/>
          <a:ext cx="4003675"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Placeholder 15"/>
          <p:cNvSpPr>
            <a:spLocks noGrp="1"/>
          </p:cNvSpPr>
          <p:nvPr>
            <p:ph type="body" sz="quarter" idx="25"/>
          </p:nvPr>
        </p:nvSpPr>
        <p:spPr/>
        <p:txBody>
          <a:bodyPr/>
          <a:lstStyle/>
          <a:p>
            <a:r>
              <a:rPr lang="en-US" dirty="0"/>
              <a:t>Standard color format (units)</a:t>
            </a:r>
          </a:p>
        </p:txBody>
      </p:sp>
      <p:sp>
        <p:nvSpPr>
          <p:cNvPr id="2" name="Text Placeholder 1"/>
          <p:cNvSpPr>
            <a:spLocks noGrp="1"/>
          </p:cNvSpPr>
          <p:nvPr>
            <p:ph type="body" sz="quarter" idx="13"/>
          </p:nvPr>
        </p:nvSpPr>
        <p:spPr/>
        <p:txBody>
          <a:bodyPr/>
          <a:lstStyle/>
          <a:p>
            <a:pPr lvl="0"/>
            <a:r>
              <a:rPr lang="en-US" altLang="ja-JP"/>
              <a:t>L</a:t>
            </a:r>
            <a:r>
              <a:rPr lang="en-US"/>
              <a:t>abels on outside</a:t>
            </a:r>
            <a:endParaRPr lang="en-GB" dirty="0"/>
          </a:p>
        </p:txBody>
      </p:sp>
      <p:sp>
        <p:nvSpPr>
          <p:cNvPr id="12" name="Title 11"/>
          <p:cNvSpPr>
            <a:spLocks noGrp="1"/>
          </p:cNvSpPr>
          <p:nvPr>
            <p:ph type="title"/>
          </p:nvPr>
        </p:nvSpPr>
        <p:spPr/>
        <p:txBody>
          <a:bodyPr/>
          <a:lstStyle/>
          <a:p>
            <a:r>
              <a:rPr lang="en-US" altLang="ja-JP"/>
              <a:t>Pie charts </a:t>
            </a:r>
            <a:endParaRPr lang="en-US" dirty="0"/>
          </a:p>
        </p:txBody>
      </p:sp>
    </p:spTree>
    <p:extLst>
      <p:ext uri="{BB962C8B-B14F-4D97-AF65-F5344CB8AC3E}">
        <p14:creationId xmlns:p14="http://schemas.microsoft.com/office/powerpoint/2010/main" val="64472629"/>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Placeholder 15">
            <a:extLst>
              <a:ext uri="{FF2B5EF4-FFF2-40B4-BE49-F238E27FC236}">
                <a16:creationId xmlns:a16="http://schemas.microsoft.com/office/drawing/2014/main" id="{A04848C4-26DD-483A-B37C-BCCCD3A0A88C}"/>
              </a:ext>
            </a:extLst>
          </p:cNvPr>
          <p:cNvGraphicFramePr>
            <a:graphicFrameLocks noGrp="1"/>
          </p:cNvGraphicFramePr>
          <p:nvPr>
            <p:ph type="chart" sz="quarter" idx="21"/>
            <p:extLst>
              <p:ext uri="{D42A27DB-BD31-4B8C-83A1-F6EECF244321}">
                <p14:modId xmlns:p14="http://schemas.microsoft.com/office/powerpoint/2010/main" val="3929213444"/>
              </p:ext>
            </p:extLst>
          </p:nvPr>
        </p:nvGraphicFramePr>
        <p:xfrm>
          <a:off x="6276975" y="2125664"/>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20">
            <a:extLst>
              <a:ext uri="{FF2B5EF4-FFF2-40B4-BE49-F238E27FC236}">
                <a16:creationId xmlns:a16="http://schemas.microsoft.com/office/drawing/2014/main" id="{EF136403-0F19-4AD5-9CDE-ACF1C1272D22}"/>
              </a:ext>
            </a:extLst>
          </p:cNvPr>
          <p:cNvSpPr>
            <a:spLocks noGrp="1"/>
          </p:cNvSpPr>
          <p:nvPr>
            <p:ph type="body" sz="quarter" idx="22"/>
          </p:nvPr>
        </p:nvSpPr>
        <p:spPr>
          <a:xfrm>
            <a:off x="7017249" y="1700213"/>
            <a:ext cx="4646752" cy="385762"/>
          </a:xfrm>
        </p:spPr>
        <p:txBody>
          <a:bodyPr/>
          <a:lstStyle/>
          <a:p>
            <a:r>
              <a:rPr lang="en-US" dirty="0"/>
              <a:t>Chart title runs here (units)</a:t>
            </a:r>
          </a:p>
        </p:txBody>
      </p:sp>
      <p:sp>
        <p:nvSpPr>
          <p:cNvPr id="41" name="Text Placeholder 40"/>
          <p:cNvSpPr>
            <a:spLocks noGrp="1"/>
          </p:cNvSpPr>
          <p:nvPr>
            <p:ph type="body" sz="quarter" idx="23"/>
          </p:nvPr>
        </p:nvSpPr>
        <p:spPr/>
        <p:txBody>
          <a:bodyPr>
            <a:noAutofit/>
          </a:bodyPr>
          <a:lstStyle/>
          <a:p>
            <a:r>
              <a:rPr lang="en-US" dirty="0"/>
              <a:t>Source: </a:t>
            </a:r>
          </a:p>
          <a:p>
            <a:r>
              <a:rPr lang="en-US" dirty="0"/>
              <a:t>Note: </a:t>
            </a:r>
          </a:p>
        </p:txBody>
      </p:sp>
      <p:graphicFrame>
        <p:nvGraphicFramePr>
          <p:cNvPr id="22" name="Chart Placeholder 14">
            <a:extLst>
              <a:ext uri="{FF2B5EF4-FFF2-40B4-BE49-F238E27FC236}">
                <a16:creationId xmlns:a16="http://schemas.microsoft.com/office/drawing/2014/main" id="{83F94444-EF7F-4170-AD12-C788EAAF09CB}"/>
              </a:ext>
            </a:extLst>
          </p:cNvPr>
          <p:cNvGraphicFramePr>
            <a:graphicFrameLocks noGrp="1"/>
          </p:cNvGraphicFramePr>
          <p:nvPr>
            <p:ph type="chart" sz="quarter" idx="24"/>
            <p:extLst>
              <p:ext uri="{D42A27DB-BD31-4B8C-83A1-F6EECF244321}">
                <p14:modId xmlns:p14="http://schemas.microsoft.com/office/powerpoint/2010/main" val="1739770701"/>
              </p:ext>
            </p:extLst>
          </p:nvPr>
        </p:nvGraphicFramePr>
        <p:xfrm>
          <a:off x="1919288" y="2125664"/>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0">
            <a:extLst>
              <a:ext uri="{FF2B5EF4-FFF2-40B4-BE49-F238E27FC236}">
                <a16:creationId xmlns:a16="http://schemas.microsoft.com/office/drawing/2014/main" id="{343FCDFE-7FF6-4649-8F2E-DB54FAC5EB09}"/>
              </a:ext>
            </a:extLst>
          </p:cNvPr>
          <p:cNvSpPr>
            <a:spLocks noGrp="1"/>
          </p:cNvSpPr>
          <p:nvPr>
            <p:ph type="body" sz="quarter" idx="25"/>
          </p:nvPr>
        </p:nvSpPr>
        <p:spPr>
          <a:xfrm>
            <a:off x="2578812" y="1700213"/>
            <a:ext cx="3243379" cy="385762"/>
          </a:xfrm>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a:t>S</a:t>
            </a:r>
            <a:r>
              <a:rPr lang="en-US"/>
              <a:t>lice exploded</a:t>
            </a:r>
            <a:endParaRPr lang="en-GB" dirty="0"/>
          </a:p>
        </p:txBody>
      </p:sp>
      <p:sp>
        <p:nvSpPr>
          <p:cNvPr id="12" name="Title 11"/>
          <p:cNvSpPr>
            <a:spLocks noGrp="1"/>
          </p:cNvSpPr>
          <p:nvPr>
            <p:ph type="title"/>
          </p:nvPr>
        </p:nvSpPr>
        <p:spPr/>
        <p:txBody>
          <a:bodyPr/>
          <a:lstStyle/>
          <a:p>
            <a:r>
              <a:rPr lang="en-US" altLang="ja-JP"/>
              <a:t>Pie charts </a:t>
            </a:r>
            <a:endParaRPr lang="en-US" dirty="0"/>
          </a:p>
        </p:txBody>
      </p:sp>
      <p:grpSp>
        <p:nvGrpSpPr>
          <p:cNvPr id="24" name="Group 23">
            <a:extLst>
              <a:ext uri="{FF2B5EF4-FFF2-40B4-BE49-F238E27FC236}">
                <a16:creationId xmlns:a16="http://schemas.microsoft.com/office/drawing/2014/main" id="{AEF7BA49-E3F2-429B-AB54-7BD6C9BA402B}"/>
              </a:ext>
            </a:extLst>
          </p:cNvPr>
          <p:cNvGrpSpPr/>
          <p:nvPr/>
        </p:nvGrpSpPr>
        <p:grpSpPr>
          <a:xfrm>
            <a:off x="5237018" y="2564069"/>
            <a:ext cx="2780146" cy="2789380"/>
            <a:chOff x="3713018" y="2309092"/>
            <a:chExt cx="2780146" cy="2789380"/>
          </a:xfrm>
        </p:grpSpPr>
        <p:cxnSp>
          <p:nvCxnSpPr>
            <p:cNvPr id="26" name="Straight Connector 25">
              <a:extLst>
                <a:ext uri="{FF2B5EF4-FFF2-40B4-BE49-F238E27FC236}">
                  <a16:creationId xmlns:a16="http://schemas.microsoft.com/office/drawing/2014/main" id="{ADD82CC8-8B49-4E27-8B48-F04161DAB23A}"/>
                </a:ext>
              </a:extLst>
            </p:cNvPr>
            <p:cNvCxnSpPr/>
            <p:nvPr/>
          </p:nvCxnSpPr>
          <p:spPr>
            <a:xfrm flipV="1">
              <a:off x="3713018" y="2309092"/>
              <a:ext cx="2780146" cy="794326"/>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349E4DC-3756-4A25-9B61-6945BFACBE43}"/>
                </a:ext>
              </a:extLst>
            </p:cNvPr>
            <p:cNvCxnSpPr/>
            <p:nvPr/>
          </p:nvCxnSpPr>
          <p:spPr>
            <a:xfrm>
              <a:off x="3722255" y="4257964"/>
              <a:ext cx="2761672" cy="840508"/>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5495002"/>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S</a:t>
            </a:r>
            <a:r>
              <a:rPr lang="en-US"/>
              <a:t>lice exploded on solid background</a:t>
            </a:r>
            <a:endParaRPr lang="en-GB" dirty="0"/>
          </a:p>
        </p:txBody>
      </p:sp>
      <p:sp>
        <p:nvSpPr>
          <p:cNvPr id="12" name="Title 11"/>
          <p:cNvSpPr>
            <a:spLocks noGrp="1"/>
          </p:cNvSpPr>
          <p:nvPr>
            <p:ph type="title"/>
          </p:nvPr>
        </p:nvSpPr>
        <p:spPr/>
        <p:txBody>
          <a:bodyPr/>
          <a:lstStyle/>
          <a:p>
            <a:r>
              <a:rPr lang="en-US" altLang="ja-JP" dirty="0"/>
              <a:t>Pie charts </a:t>
            </a:r>
            <a:endParaRPr lang="en-US" dirty="0"/>
          </a:p>
        </p:txBody>
      </p:sp>
      <p:graphicFrame>
        <p:nvGraphicFramePr>
          <p:cNvPr id="16" name="Chart Placeholder 15"/>
          <p:cNvGraphicFramePr>
            <a:graphicFrameLocks noGrp="1"/>
          </p:cNvGraphicFramePr>
          <p:nvPr>
            <p:ph type="chart" sz="quarter" idx="21"/>
            <p:extLst>
              <p:ext uri="{D42A27DB-BD31-4B8C-83A1-F6EECF244321}">
                <p14:modId xmlns:p14="http://schemas.microsoft.com/office/powerpoint/2010/main" val="429202560"/>
              </p:ext>
            </p:extLst>
          </p:nvPr>
        </p:nvGraphicFramePr>
        <p:xfrm>
          <a:off x="6276975" y="2125664"/>
          <a:ext cx="3995738"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 Placeholder 20"/>
          <p:cNvSpPr>
            <a:spLocks noGrp="1"/>
          </p:cNvSpPr>
          <p:nvPr>
            <p:ph type="body" sz="quarter" idx="22"/>
          </p:nvPr>
        </p:nvSpPr>
        <p:spPr>
          <a:xfrm>
            <a:off x="7017249" y="1700213"/>
            <a:ext cx="4646752" cy="385762"/>
          </a:xfrm>
        </p:spPr>
        <p:txBody>
          <a:bodyPr/>
          <a:lstStyle/>
          <a:p>
            <a:r>
              <a:rPr lang="en-US" dirty="0"/>
              <a:t>Chart title runs here (units)</a:t>
            </a:r>
          </a:p>
        </p:txBody>
      </p:sp>
      <p:sp>
        <p:nvSpPr>
          <p:cNvPr id="41" name="Text Placeholder 40"/>
          <p:cNvSpPr>
            <a:spLocks noGrp="1"/>
          </p:cNvSpPr>
          <p:nvPr>
            <p:ph type="body" sz="quarter" idx="23"/>
          </p:nvPr>
        </p:nvSpPr>
        <p:spPr/>
        <p:txBody>
          <a:bodyPr>
            <a:noAutofit/>
          </a:bodyPr>
          <a:lstStyle/>
          <a:p>
            <a:r>
              <a:rPr lang="en-US"/>
              <a:t>Source: </a:t>
            </a:r>
          </a:p>
          <a:p>
            <a:r>
              <a:rPr lang="en-US"/>
              <a:t>Note: </a:t>
            </a:r>
            <a:endParaRPr lang="en-US" dirty="0"/>
          </a:p>
        </p:txBody>
      </p:sp>
      <p:graphicFrame>
        <p:nvGraphicFramePr>
          <p:cNvPr id="15" name="Chart Placeholder 14"/>
          <p:cNvGraphicFramePr>
            <a:graphicFrameLocks noGrp="1"/>
          </p:cNvGraphicFramePr>
          <p:nvPr>
            <p:ph type="chart" sz="quarter" idx="24"/>
            <p:extLst>
              <p:ext uri="{D42A27DB-BD31-4B8C-83A1-F6EECF244321}">
                <p14:modId xmlns:p14="http://schemas.microsoft.com/office/powerpoint/2010/main" val="2273732916"/>
              </p:ext>
            </p:extLst>
          </p:nvPr>
        </p:nvGraphicFramePr>
        <p:xfrm>
          <a:off x="1919288" y="2125664"/>
          <a:ext cx="39878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 Placeholder 30"/>
          <p:cNvSpPr>
            <a:spLocks noGrp="1"/>
          </p:cNvSpPr>
          <p:nvPr>
            <p:ph type="body" sz="quarter" idx="25"/>
          </p:nvPr>
        </p:nvSpPr>
        <p:spPr>
          <a:xfrm>
            <a:off x="2578812" y="1700213"/>
            <a:ext cx="3243379" cy="385762"/>
          </a:xfrm>
        </p:spPr>
        <p:txBody>
          <a:bodyPr/>
          <a:lstStyle/>
          <a:p>
            <a:r>
              <a:rPr lang="en-US" dirty="0"/>
              <a:t>Chart title runs here (units)</a:t>
            </a:r>
          </a:p>
        </p:txBody>
      </p:sp>
      <p:grpSp>
        <p:nvGrpSpPr>
          <p:cNvPr id="20" name="Group 19"/>
          <p:cNvGrpSpPr/>
          <p:nvPr/>
        </p:nvGrpSpPr>
        <p:grpSpPr>
          <a:xfrm>
            <a:off x="5237018" y="2564069"/>
            <a:ext cx="2780146" cy="2789380"/>
            <a:chOff x="3713018" y="2309092"/>
            <a:chExt cx="2780146" cy="2789380"/>
          </a:xfrm>
        </p:grpSpPr>
        <p:cxnSp>
          <p:nvCxnSpPr>
            <p:cNvPr id="17" name="Straight Connector 16"/>
            <p:cNvCxnSpPr/>
            <p:nvPr/>
          </p:nvCxnSpPr>
          <p:spPr>
            <a:xfrm flipV="1">
              <a:off x="3713018" y="2309092"/>
              <a:ext cx="2780146" cy="794326"/>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722255" y="4257964"/>
              <a:ext cx="2761672" cy="840508"/>
            </a:xfrm>
            <a:prstGeom prst="line">
              <a:avLst/>
            </a:prstGeom>
            <a:ln w="9525">
              <a:solidFill>
                <a:srgbClr val="53565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2320153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Chart Placeholder 26"/>
          <p:cNvGraphicFramePr>
            <a:graphicFrameLocks noGrp="1"/>
          </p:cNvGraphicFramePr>
          <p:nvPr>
            <p:ph type="chart" sz="quarter" idx="21"/>
            <p:extLst>
              <p:ext uri="{D42A27DB-BD31-4B8C-83A1-F6EECF244321}">
                <p14:modId xmlns:p14="http://schemas.microsoft.com/office/powerpoint/2010/main" val="371111426"/>
              </p:ext>
            </p:extLst>
          </p:nvPr>
        </p:nvGraphicFramePr>
        <p:xfrm>
          <a:off x="6280151" y="2125664"/>
          <a:ext cx="4011613" cy="3995737"/>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 Placeholder 4"/>
          <p:cNvSpPr>
            <a:spLocks noGrp="1"/>
          </p:cNvSpPr>
          <p:nvPr>
            <p:ph type="body" sz="quarter" idx="22"/>
          </p:nvPr>
        </p:nvSpPr>
        <p:spPr/>
        <p:txBody>
          <a:bodyPr/>
          <a:lstStyle/>
          <a:p>
            <a:r>
              <a:rPr lang="en-US"/>
              <a:t>Chart title runs here (units)</a:t>
            </a:r>
            <a:endParaRPr lang="en-US" dirty="0"/>
          </a:p>
        </p:txBody>
      </p:sp>
      <p:sp>
        <p:nvSpPr>
          <p:cNvPr id="28" name="Text Placeholder 27"/>
          <p:cNvSpPr>
            <a:spLocks noGrp="1"/>
          </p:cNvSpPr>
          <p:nvPr>
            <p:ph type="body" sz="quarter" idx="23"/>
          </p:nvPr>
        </p:nvSpPr>
        <p:spPr/>
        <p:txBody>
          <a:bodyPr>
            <a:noAutofit/>
          </a:bodyPr>
          <a:lstStyle/>
          <a:p>
            <a:r>
              <a:rPr lang="en-US"/>
              <a:t>Source: </a:t>
            </a:r>
          </a:p>
          <a:p>
            <a:r>
              <a:rPr lang="en-US"/>
              <a:t>Note: </a:t>
            </a:r>
            <a:endParaRPr lang="en-US" dirty="0"/>
          </a:p>
        </p:txBody>
      </p:sp>
      <p:graphicFrame>
        <p:nvGraphicFramePr>
          <p:cNvPr id="24" name="Chart Placeholder 23"/>
          <p:cNvGraphicFramePr>
            <a:graphicFrameLocks noGrp="1"/>
          </p:cNvGraphicFramePr>
          <p:nvPr>
            <p:ph type="chart" sz="quarter" idx="24"/>
            <p:extLst>
              <p:ext uri="{D42A27DB-BD31-4B8C-83A1-F6EECF244321}">
                <p14:modId xmlns:p14="http://schemas.microsoft.com/office/powerpoint/2010/main" val="3758221787"/>
              </p:ext>
            </p:extLst>
          </p:nvPr>
        </p:nvGraphicFramePr>
        <p:xfrm>
          <a:off x="1900239" y="2125664"/>
          <a:ext cx="4003675" cy="3995737"/>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 Placeholder 8"/>
          <p:cNvSpPr>
            <a:spLocks noGrp="1"/>
          </p:cNvSpPr>
          <p:nvPr>
            <p:ph type="body" sz="quarter" idx="25"/>
          </p:nvPr>
        </p:nvSpPr>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a:t>Explosion</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sp>
        <p:nvSpPr>
          <p:cNvPr id="23" name="Text Placeholder 12"/>
          <p:cNvSpPr>
            <a:spLocks/>
          </p:cNvSpPr>
          <p:nvPr>
            <p:custDataLst>
              <p:tags r:id="rId1"/>
            </p:custDataLst>
          </p:nvPr>
        </p:nvSpPr>
        <p:spPr bwMode="auto">
          <a:xfrm>
            <a:off x="8741831" y="2614524"/>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sp>
        <p:nvSpPr>
          <p:cNvPr id="29" name="Text Placeholder 12"/>
          <p:cNvSpPr>
            <a:spLocks/>
          </p:cNvSpPr>
          <p:nvPr>
            <p:custDataLst>
              <p:tags r:id="rId2"/>
            </p:custDataLst>
          </p:nvPr>
        </p:nvSpPr>
        <p:spPr bwMode="auto">
          <a:xfrm>
            <a:off x="8741831" y="3358525"/>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sp>
        <p:nvSpPr>
          <p:cNvPr id="30" name="Text Placeholder 12"/>
          <p:cNvSpPr>
            <a:spLocks/>
          </p:cNvSpPr>
          <p:nvPr>
            <p:custDataLst>
              <p:tags r:id="rId3"/>
            </p:custDataLst>
          </p:nvPr>
        </p:nvSpPr>
        <p:spPr bwMode="auto">
          <a:xfrm>
            <a:off x="8741831" y="4102526"/>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sp>
        <p:nvSpPr>
          <p:cNvPr id="31" name="Text Placeholder 12"/>
          <p:cNvSpPr>
            <a:spLocks/>
          </p:cNvSpPr>
          <p:nvPr>
            <p:custDataLst>
              <p:tags r:id="rId4"/>
            </p:custDataLst>
          </p:nvPr>
        </p:nvSpPr>
        <p:spPr bwMode="auto">
          <a:xfrm>
            <a:off x="8741831" y="4846527"/>
            <a:ext cx="1554480" cy="153888"/>
          </a:xfrm>
          <a:prstGeom prst="rect">
            <a:avLst/>
          </a:prstGeom>
          <a:noFill/>
          <a:ln w="9525">
            <a:noFill/>
            <a:miter lim="800000"/>
            <a:headEnd/>
            <a:tailEnd/>
          </a:ln>
        </p:spPr>
        <p:txBody>
          <a:bodyPr wrap="square" lIns="0" tIns="0" rIns="0" bIns="0" anchor="ctr" anchorCtr="0">
            <a:spAutoFit/>
          </a:bodyPr>
          <a:lstStyle/>
          <a:p>
            <a:pPr defTabSz="1019175">
              <a:spcAft>
                <a:spcPts val="300"/>
              </a:spcAft>
            </a:pPr>
            <a:r>
              <a:rPr lang="en-US" sz="1000" dirty="0">
                <a:solidFill>
                  <a:srgbClr val="53565A"/>
                </a:solidFill>
              </a:rPr>
              <a:t>Text</a:t>
            </a:r>
          </a:p>
        </p:txBody>
      </p:sp>
      <p:grpSp>
        <p:nvGrpSpPr>
          <p:cNvPr id="3" name="Group 2"/>
          <p:cNvGrpSpPr/>
          <p:nvPr/>
        </p:nvGrpSpPr>
        <p:grpSpPr>
          <a:xfrm>
            <a:off x="5178795" y="2576148"/>
            <a:ext cx="2359142" cy="2690445"/>
            <a:chOff x="3716709" y="2382716"/>
            <a:chExt cx="2620001" cy="2593730"/>
          </a:xfrm>
        </p:grpSpPr>
        <p:cxnSp>
          <p:nvCxnSpPr>
            <p:cNvPr id="21" name="Straight Connector 20"/>
            <p:cNvCxnSpPr/>
            <p:nvPr/>
          </p:nvCxnSpPr>
          <p:spPr>
            <a:xfrm flipV="1">
              <a:off x="3716709" y="2382716"/>
              <a:ext cx="2620001" cy="67752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719824" y="4154250"/>
              <a:ext cx="2616885" cy="82219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9182072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hart Placeholder 9"/>
          <p:cNvGraphicFramePr>
            <a:graphicFrameLocks noGrp="1"/>
          </p:cNvGraphicFramePr>
          <p:nvPr>
            <p:ph type="chart" sz="quarter" idx="21"/>
            <p:extLst>
              <p:ext uri="{D42A27DB-BD31-4B8C-83A1-F6EECF244321}">
                <p14:modId xmlns:p14="http://schemas.microsoft.com/office/powerpoint/2010/main" val="4138061827"/>
              </p:ext>
            </p:extLst>
          </p:nvPr>
        </p:nvGraphicFramePr>
        <p:xfrm>
          <a:off x="6280151" y="2125664"/>
          <a:ext cx="4011613"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p:txBody>
          <a:bodyPr/>
          <a:lstStyle/>
          <a:p>
            <a:r>
              <a:rPr lang="en-US" dirty="0"/>
              <a:t>Chart title runs here (units)</a:t>
            </a:r>
          </a:p>
        </p:txBody>
      </p:sp>
      <p:sp>
        <p:nvSpPr>
          <p:cNvPr id="17" name="Text Placeholder 16"/>
          <p:cNvSpPr>
            <a:spLocks noGrp="1"/>
          </p:cNvSpPr>
          <p:nvPr>
            <p:ph type="body" sz="quarter" idx="23"/>
          </p:nvPr>
        </p:nvSpPr>
        <p:spPr/>
        <p:txBody>
          <a:bodyPr>
            <a:noAutofit/>
          </a:bodyPr>
          <a:lstStyle/>
          <a:p>
            <a:r>
              <a:rPr lang="en-US"/>
              <a:t>Source: </a:t>
            </a:r>
          </a:p>
          <a:p>
            <a:r>
              <a:rPr lang="en-US"/>
              <a:t>Note: </a:t>
            </a:r>
            <a:endParaRPr lang="en-US" dirty="0"/>
          </a:p>
        </p:txBody>
      </p:sp>
      <p:graphicFrame>
        <p:nvGraphicFramePr>
          <p:cNvPr id="63" name="Chart Placeholder 23"/>
          <p:cNvGraphicFramePr>
            <a:graphicFrameLocks noGrp="1"/>
          </p:cNvGraphicFramePr>
          <p:nvPr>
            <p:ph type="chart" sz="quarter" idx="24"/>
            <p:extLst>
              <p:ext uri="{D42A27DB-BD31-4B8C-83A1-F6EECF244321}">
                <p14:modId xmlns:p14="http://schemas.microsoft.com/office/powerpoint/2010/main" val="1757035244"/>
              </p:ext>
            </p:extLst>
          </p:nvPr>
        </p:nvGraphicFramePr>
        <p:xfrm>
          <a:off x="1900239" y="2125664"/>
          <a:ext cx="4003675"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 Placeholder 7"/>
          <p:cNvSpPr>
            <a:spLocks noGrp="1"/>
          </p:cNvSpPr>
          <p:nvPr>
            <p:ph type="body" sz="quarter" idx="25"/>
          </p:nvPr>
        </p:nvSpPr>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dirty="0"/>
              <a:t>S</a:t>
            </a:r>
            <a:r>
              <a:rPr lang="en-US" dirty="0"/>
              <a:t>tacked </a:t>
            </a:r>
            <a:r>
              <a:rPr lang="en-US" altLang="ja-JP" dirty="0"/>
              <a:t>co</a:t>
            </a:r>
            <a:r>
              <a:rPr lang="en-US" dirty="0"/>
              <a:t>lumn 100%</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grpSp>
        <p:nvGrpSpPr>
          <p:cNvPr id="19" name="Group 18"/>
          <p:cNvGrpSpPr/>
          <p:nvPr/>
        </p:nvGrpSpPr>
        <p:grpSpPr>
          <a:xfrm>
            <a:off x="5172808" y="2268416"/>
            <a:ext cx="1661746" cy="2989384"/>
            <a:chOff x="3410662" y="2154116"/>
            <a:chExt cx="2065433" cy="2989384"/>
          </a:xfrm>
        </p:grpSpPr>
        <p:cxnSp>
          <p:nvCxnSpPr>
            <p:cNvPr id="27" name="Straight Connector 26"/>
            <p:cNvCxnSpPr/>
            <p:nvPr/>
          </p:nvCxnSpPr>
          <p:spPr>
            <a:xfrm flipV="1">
              <a:off x="3421590" y="2154116"/>
              <a:ext cx="2054505" cy="1011115"/>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410662" y="4281854"/>
              <a:ext cx="2043576" cy="861646"/>
            </a:xfrm>
            <a:prstGeom prst="line">
              <a:avLst/>
            </a:prstGeom>
            <a:ln w="9525">
              <a:solidFill>
                <a:srgbClr val="BBBCBC"/>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5103335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Chart Placeholder 32"/>
          <p:cNvGraphicFramePr>
            <a:graphicFrameLocks noGrp="1"/>
          </p:cNvGraphicFramePr>
          <p:nvPr>
            <p:ph type="chart" sz="quarter" idx="21"/>
            <p:extLst>
              <p:ext uri="{D42A27DB-BD31-4B8C-83A1-F6EECF244321}">
                <p14:modId xmlns:p14="http://schemas.microsoft.com/office/powerpoint/2010/main" val="2030938842"/>
              </p:ext>
            </p:extLst>
          </p:nvPr>
        </p:nvGraphicFramePr>
        <p:xfrm>
          <a:off x="6280151" y="2125664"/>
          <a:ext cx="4011613"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22"/>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Autofit/>
          </a:bodyPr>
          <a:lstStyle/>
          <a:p>
            <a:r>
              <a:rPr lang="en-US"/>
              <a:t>Source: </a:t>
            </a:r>
          </a:p>
          <a:p>
            <a:r>
              <a:rPr lang="en-US"/>
              <a:t>Note: </a:t>
            </a:r>
            <a:endParaRPr lang="en-US" dirty="0"/>
          </a:p>
        </p:txBody>
      </p:sp>
      <p:graphicFrame>
        <p:nvGraphicFramePr>
          <p:cNvPr id="32" name="Chart Placeholder 31"/>
          <p:cNvGraphicFramePr>
            <a:graphicFrameLocks noGrp="1"/>
          </p:cNvGraphicFramePr>
          <p:nvPr>
            <p:ph type="chart" sz="quarter" idx="24"/>
            <p:extLst>
              <p:ext uri="{D42A27DB-BD31-4B8C-83A1-F6EECF244321}">
                <p14:modId xmlns:p14="http://schemas.microsoft.com/office/powerpoint/2010/main" val="2426411339"/>
              </p:ext>
            </p:extLst>
          </p:nvPr>
        </p:nvGraphicFramePr>
        <p:xfrm>
          <a:off x="1900239" y="2125664"/>
          <a:ext cx="4003675"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6"/>
          <p:cNvSpPr>
            <a:spLocks noGrp="1"/>
          </p:cNvSpPr>
          <p:nvPr>
            <p:ph type="body" sz="quarter" idx="25"/>
          </p:nvPr>
        </p:nvSpPr>
        <p:spPr/>
        <p:txBody>
          <a:bodyPr/>
          <a:lstStyle/>
          <a:p>
            <a:r>
              <a:rPr lang="en-US" dirty="0"/>
              <a:t>Chart title runs here (units)</a:t>
            </a:r>
          </a:p>
        </p:txBody>
      </p:sp>
      <p:sp>
        <p:nvSpPr>
          <p:cNvPr id="2" name="Text Placeholder 1"/>
          <p:cNvSpPr>
            <a:spLocks noGrp="1"/>
          </p:cNvSpPr>
          <p:nvPr>
            <p:ph type="body" sz="quarter" idx="13"/>
          </p:nvPr>
        </p:nvSpPr>
        <p:spPr/>
        <p:txBody>
          <a:bodyPr/>
          <a:lstStyle/>
          <a:p>
            <a:pPr lvl="0"/>
            <a:r>
              <a:rPr lang="en-US" altLang="ja-JP"/>
              <a:t>L</a:t>
            </a:r>
            <a:r>
              <a:rPr lang="en-US"/>
              <a:t>abels on outside</a:t>
            </a:r>
            <a:endParaRPr lang="en-GB" dirty="0"/>
          </a:p>
        </p:txBody>
      </p:sp>
      <p:sp>
        <p:nvSpPr>
          <p:cNvPr id="12" name="Title 11"/>
          <p:cNvSpPr>
            <a:spLocks noGrp="1"/>
          </p:cNvSpPr>
          <p:nvPr>
            <p:ph type="title"/>
          </p:nvPr>
        </p:nvSpPr>
        <p:spPr/>
        <p:txBody>
          <a:bodyPr/>
          <a:lstStyle/>
          <a:p>
            <a:r>
              <a:rPr lang="en-US" altLang="ja-JP"/>
              <a:t>Pie chart </a:t>
            </a:r>
            <a:endParaRPr lang="en-US" dirty="0"/>
          </a:p>
        </p:txBody>
      </p:sp>
      <p:sp>
        <p:nvSpPr>
          <p:cNvPr id="10" name="Text Placeholder 8"/>
          <p:cNvSpPr txBox="1">
            <a:spLocks/>
          </p:cNvSpPr>
          <p:nvPr/>
        </p:nvSpPr>
        <p:spPr>
          <a:xfrm>
            <a:off x="1900239" y="765175"/>
            <a:ext cx="8396286" cy="96928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lang="en-GB" dirty="0">
              <a:solidFill>
                <a:srgbClr val="81BC00"/>
              </a:solidFill>
              <a:latin typeface="Arial"/>
            </a:endParaRPr>
          </a:p>
        </p:txBody>
      </p:sp>
      <p:grpSp>
        <p:nvGrpSpPr>
          <p:cNvPr id="43" name="Group 42"/>
          <p:cNvGrpSpPr/>
          <p:nvPr/>
        </p:nvGrpSpPr>
        <p:grpSpPr>
          <a:xfrm>
            <a:off x="4020041" y="2303585"/>
            <a:ext cx="3078283" cy="2971800"/>
            <a:chOff x="2540000" y="2057399"/>
            <a:chExt cx="3190874" cy="2971800"/>
          </a:xfrm>
        </p:grpSpPr>
        <p:cxnSp>
          <p:nvCxnSpPr>
            <p:cNvPr id="27" name="Straight Connector 26"/>
            <p:cNvCxnSpPr/>
            <p:nvPr/>
          </p:nvCxnSpPr>
          <p:spPr>
            <a:xfrm flipV="1">
              <a:off x="2540000" y="2057399"/>
              <a:ext cx="3190874" cy="196275"/>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2974109" y="4892253"/>
              <a:ext cx="2747652" cy="136946"/>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3" name="TextBox 12"/>
          <p:cNvSpPr txBox="1"/>
          <p:nvPr/>
        </p:nvSpPr>
        <p:spPr>
          <a:xfrm>
            <a:off x="7059148" y="5631010"/>
            <a:ext cx="3017520" cy="153888"/>
          </a:xfrm>
          <a:prstGeom prst="rect">
            <a:avLst/>
          </a:prstGeom>
          <a:noFill/>
        </p:spPr>
        <p:txBody>
          <a:bodyPr wrap="square" lIns="0" tIns="0" rIns="0" bIns="0" rtlCol="0" anchor="ctr">
            <a:spAutoFit/>
          </a:bodyPr>
          <a:lstStyle/>
          <a:p>
            <a:pPr algn="ctr">
              <a:spcBef>
                <a:spcPts val="1200"/>
              </a:spcBef>
              <a:buSzPct val="100000"/>
            </a:pPr>
            <a:r>
              <a:rPr lang="en-US" sz="1000" dirty="0">
                <a:solidFill>
                  <a:srgbClr val="53565A"/>
                </a:solidFill>
              </a:rPr>
              <a:t>Axis label</a:t>
            </a:r>
          </a:p>
        </p:txBody>
      </p:sp>
    </p:spTree>
    <p:extLst>
      <p:ext uri="{BB962C8B-B14F-4D97-AF65-F5344CB8AC3E}">
        <p14:creationId xmlns:p14="http://schemas.microsoft.com/office/powerpoint/2010/main" val="230052633"/>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US" dirty="0"/>
              <a:t>Multiple colors</a:t>
            </a:r>
          </a:p>
        </p:txBody>
      </p:sp>
      <p:graphicFrame>
        <p:nvGraphicFramePr>
          <p:cNvPr id="37" name="Chart Placeholder 36"/>
          <p:cNvGraphicFramePr>
            <a:graphicFrameLocks noGrp="1"/>
          </p:cNvGraphicFramePr>
          <p:nvPr>
            <p:ph type="chart" sz="quarter" idx="15"/>
            <p:extLst>
              <p:ext uri="{D42A27DB-BD31-4B8C-83A1-F6EECF244321}">
                <p14:modId xmlns:p14="http://schemas.microsoft.com/office/powerpoint/2010/main" val="596186236"/>
              </p:ext>
            </p:extLst>
          </p:nvPr>
        </p:nvGraphicFramePr>
        <p:xfrm>
          <a:off x="1019128" y="1625418"/>
          <a:ext cx="10153746" cy="492320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GB" dirty="0"/>
              <a:t>Chart title runs here (units)</a:t>
            </a:r>
          </a:p>
        </p:txBody>
      </p:sp>
      <p:sp>
        <p:nvSpPr>
          <p:cNvPr id="5" name="Text Placeholder 4"/>
          <p:cNvSpPr>
            <a:spLocks noGrp="1"/>
          </p:cNvSpPr>
          <p:nvPr>
            <p:ph type="body" sz="quarter" idx="23"/>
          </p:nvPr>
        </p:nvSpPr>
        <p:spPr/>
        <p:txBody>
          <a:bodyPr>
            <a:noAutofit/>
          </a:bodyPr>
          <a:lstStyle/>
          <a:p>
            <a:r>
              <a:rPr lang="en-US" dirty="0"/>
              <a:t>Source:</a:t>
            </a:r>
          </a:p>
          <a:p>
            <a:r>
              <a:rPr lang="en-US" dirty="0"/>
              <a:t>Note:</a:t>
            </a:r>
          </a:p>
        </p:txBody>
      </p:sp>
      <p:sp>
        <p:nvSpPr>
          <p:cNvPr id="10" name="Title 9"/>
          <p:cNvSpPr>
            <a:spLocks noGrp="1"/>
          </p:cNvSpPr>
          <p:nvPr>
            <p:ph type="title"/>
          </p:nvPr>
        </p:nvSpPr>
        <p:spPr/>
        <p:txBody>
          <a:bodyPr/>
          <a:lstStyle/>
          <a:p>
            <a:r>
              <a:rPr lang="en-US"/>
              <a:t>Donut chart</a:t>
            </a:r>
            <a:endParaRPr lang="en-US" dirty="0"/>
          </a:p>
        </p:txBody>
      </p:sp>
    </p:spTree>
    <p:extLst>
      <p:ext uri="{BB962C8B-B14F-4D97-AF65-F5344CB8AC3E}">
        <p14:creationId xmlns:p14="http://schemas.microsoft.com/office/powerpoint/2010/main" val="188498385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GB" dirty="0"/>
              <a:t>Highlight percentage</a:t>
            </a:r>
          </a:p>
        </p:txBody>
      </p:sp>
      <p:sp>
        <p:nvSpPr>
          <p:cNvPr id="10" name="Title 9"/>
          <p:cNvSpPr>
            <a:spLocks noGrp="1"/>
          </p:cNvSpPr>
          <p:nvPr>
            <p:ph type="title"/>
          </p:nvPr>
        </p:nvSpPr>
        <p:spPr/>
        <p:txBody>
          <a:bodyPr/>
          <a:lstStyle/>
          <a:p>
            <a:r>
              <a:rPr lang="en-US"/>
              <a:t>Radial donut chart on solid background</a:t>
            </a:r>
            <a:endParaRPr lang="en-US" dirty="0"/>
          </a:p>
        </p:txBody>
      </p:sp>
      <p:graphicFrame>
        <p:nvGraphicFramePr>
          <p:cNvPr id="72" name="Chart Placeholder 36"/>
          <p:cNvGraphicFramePr>
            <a:graphicFrameLocks noGrp="1"/>
          </p:cNvGraphicFramePr>
          <p:nvPr>
            <p:ph type="chart" sz="quarter" idx="15"/>
            <p:extLst>
              <p:ext uri="{D42A27DB-BD31-4B8C-83A1-F6EECF244321}">
                <p14:modId xmlns:p14="http://schemas.microsoft.com/office/powerpoint/2010/main" val="1732512538"/>
              </p:ext>
            </p:extLst>
          </p:nvPr>
        </p:nvGraphicFramePr>
        <p:xfrm>
          <a:off x="1914526" y="2052638"/>
          <a:ext cx="835977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70" name="Text Placeholder 69"/>
          <p:cNvSpPr>
            <a:spLocks noGrp="1"/>
          </p:cNvSpPr>
          <p:nvPr>
            <p:ph type="body" sz="quarter" idx="18"/>
          </p:nvPr>
        </p:nvSpPr>
        <p:spPr/>
        <p:txBody>
          <a:bodyPr/>
          <a:lstStyle/>
          <a:p>
            <a:r>
              <a:rPr lang="en-GB" dirty="0"/>
              <a:t>Chart title runs here (units)</a:t>
            </a:r>
          </a:p>
        </p:txBody>
      </p:sp>
      <p:sp>
        <p:nvSpPr>
          <p:cNvPr id="77" name="Text Placeholder 76"/>
          <p:cNvSpPr>
            <a:spLocks noGrp="1"/>
          </p:cNvSpPr>
          <p:nvPr>
            <p:ph type="body" sz="quarter" idx="23"/>
          </p:nvPr>
        </p:nvSpPr>
        <p:spPr/>
        <p:txBody>
          <a:bodyPr>
            <a:noAutofit/>
          </a:bodyPr>
          <a:lstStyle/>
          <a:p>
            <a:r>
              <a:rPr lang="en-US" dirty="0"/>
              <a:t>Source:</a:t>
            </a:r>
          </a:p>
          <a:p>
            <a:r>
              <a:rPr lang="en-US" dirty="0"/>
              <a:t>Note:</a:t>
            </a:r>
          </a:p>
        </p:txBody>
      </p:sp>
      <p:sp>
        <p:nvSpPr>
          <p:cNvPr id="9" name="Rectangle 8"/>
          <p:cNvSpPr/>
          <p:nvPr/>
        </p:nvSpPr>
        <p:spPr bwMode="gray">
          <a:xfrm>
            <a:off x="1914524" y="1404766"/>
            <a:ext cx="8354300" cy="497289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 name="Half Frame 2"/>
          <p:cNvSpPr/>
          <p:nvPr/>
        </p:nvSpPr>
        <p:spPr bwMode="gray">
          <a:xfrm rot="18764693">
            <a:off x="6307294" y="2637581"/>
            <a:ext cx="168177" cy="160415"/>
          </a:xfrm>
          <a:prstGeom prst="halfFram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 name="TextBox 10"/>
          <p:cNvSpPr txBox="1"/>
          <p:nvPr/>
        </p:nvSpPr>
        <p:spPr>
          <a:xfrm>
            <a:off x="6441284" y="2555858"/>
            <a:ext cx="750583" cy="316485"/>
          </a:xfrm>
          <a:prstGeom prst="rect">
            <a:avLst/>
          </a:prstGeom>
          <a:noFill/>
        </p:spPr>
        <p:txBody>
          <a:bodyPr wrap="square" lIns="0" tIns="0" rIns="0" bIns="0" rtlCol="0">
            <a:noAutofit/>
          </a:bodyPr>
          <a:lstStyle/>
          <a:p>
            <a:r>
              <a:rPr lang="en-GB" sz="1900" b="1" dirty="0">
                <a:solidFill>
                  <a:schemeClr val="accent1"/>
                </a:solidFill>
                <a:latin typeface="Calibri Light" panose="020F0302020204030204" pitchFamily="34" charset="0"/>
                <a:cs typeface="Calibri Light" panose="020F0302020204030204" pitchFamily="34" charset="0"/>
              </a:rPr>
              <a:t>84%</a:t>
            </a:r>
            <a:endParaRPr lang="en-GB" sz="1900" dirty="0">
              <a:solidFill>
                <a:schemeClr val="accent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92874735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BA5F4429-E7F3-4B8D-9AB9-80DE6A2EBABC}"/>
              </a:ext>
            </a:extLst>
          </p:cNvPr>
          <p:cNvSpPr/>
          <p:nvPr/>
        </p:nvSpPr>
        <p:spPr bwMode="gray">
          <a:xfrm>
            <a:off x="8061439" y="1492470"/>
            <a:ext cx="3794234" cy="422516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Speech Bubble: Rectangle 25">
            <a:extLst>
              <a:ext uri="{FF2B5EF4-FFF2-40B4-BE49-F238E27FC236}">
                <a16:creationId xmlns:a16="http://schemas.microsoft.com/office/drawing/2014/main" id="{3FE8C9A6-650B-446D-96C8-937FF8BE61C7}"/>
              </a:ext>
            </a:extLst>
          </p:cNvPr>
          <p:cNvSpPr/>
          <p:nvPr/>
        </p:nvSpPr>
        <p:spPr bwMode="gray">
          <a:xfrm>
            <a:off x="304800" y="1597573"/>
            <a:ext cx="3794234" cy="4120056"/>
          </a:xfrm>
          <a:prstGeom prst="wedgeRectCallout">
            <a:avLst>
              <a:gd name="adj1" fmla="val 32353"/>
              <a:gd name="adj2" fmla="val 60714"/>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Title 2"/>
          <p:cNvSpPr>
            <a:spLocks noGrp="1"/>
          </p:cNvSpPr>
          <p:nvPr>
            <p:ph type="title"/>
          </p:nvPr>
        </p:nvSpPr>
        <p:spPr/>
        <p:txBody>
          <a:bodyPr/>
          <a:lstStyle/>
          <a:p>
            <a:r>
              <a:rPr lang="en-US" dirty="0"/>
              <a:t>Quotes and callouts</a:t>
            </a:r>
          </a:p>
        </p:txBody>
      </p:sp>
      <p:sp>
        <p:nvSpPr>
          <p:cNvPr id="10" name="TextBox 9">
            <a:extLst>
              <a:ext uri="{FF2B5EF4-FFF2-40B4-BE49-F238E27FC236}">
                <a16:creationId xmlns:a16="http://schemas.microsoft.com/office/drawing/2014/main" id="{3C591DA0-2B87-43D7-90B7-CC2F1C3AA1B1}"/>
              </a:ext>
            </a:extLst>
          </p:cNvPr>
          <p:cNvSpPr txBox="1"/>
          <p:nvPr/>
        </p:nvSpPr>
        <p:spPr>
          <a:xfrm>
            <a:off x="522670" y="1671144"/>
            <a:ext cx="3334626" cy="3954929"/>
          </a:xfrm>
          <a:prstGeom prst="rect">
            <a:avLst/>
          </a:prstGeom>
          <a:noFill/>
        </p:spPr>
        <p:txBody>
          <a:bodyPr wrap="square" lIns="0" tIns="0" rIns="0" bIns="0" rtlCol="0">
            <a:spAutoFit/>
          </a:bodyPr>
          <a:lstStyle/>
          <a:p>
            <a:pPr>
              <a:spcBef>
                <a:spcPts val="600"/>
              </a:spcBef>
              <a:buSzPct val="100000"/>
            </a:pPr>
            <a:r>
              <a:rPr lang="en-US" sz="3600" b="1" dirty="0">
                <a:solidFill>
                  <a:schemeClr val="accent2"/>
                </a:solidFill>
                <a:latin typeface="+mj-lt"/>
              </a:rPr>
              <a:t>“This is dummy text that would be filled with a quote or callout from somewhere else in the text.”</a:t>
            </a:r>
          </a:p>
          <a:p>
            <a:pPr>
              <a:spcBef>
                <a:spcPts val="600"/>
              </a:spcBef>
              <a:buSzPct val="100000"/>
            </a:pPr>
            <a:r>
              <a:rPr lang="en-US" dirty="0">
                <a:solidFill>
                  <a:schemeClr val="accent2"/>
                </a:solidFill>
              </a:rPr>
              <a:t>— Name of quoted person, </a:t>
            </a:r>
            <a:br>
              <a:rPr lang="en-US" dirty="0">
                <a:solidFill>
                  <a:schemeClr val="accent2"/>
                </a:solidFill>
              </a:rPr>
            </a:br>
            <a:r>
              <a:rPr lang="en-US" dirty="0">
                <a:solidFill>
                  <a:schemeClr val="accent2"/>
                </a:solidFill>
              </a:rPr>
              <a:t>Title of quoted person</a:t>
            </a:r>
            <a:endParaRPr lang="en-US" sz="3600" b="1" dirty="0">
              <a:solidFill>
                <a:schemeClr val="accent2"/>
              </a:solidFill>
              <a:latin typeface="+mj-lt"/>
            </a:endParaRPr>
          </a:p>
        </p:txBody>
      </p:sp>
      <p:sp>
        <p:nvSpPr>
          <p:cNvPr id="24" name="TextBox 23">
            <a:extLst>
              <a:ext uri="{FF2B5EF4-FFF2-40B4-BE49-F238E27FC236}">
                <a16:creationId xmlns:a16="http://schemas.microsoft.com/office/drawing/2014/main" id="{AAFAA371-C410-4FAF-B00F-B79941E45C09}"/>
              </a:ext>
            </a:extLst>
          </p:cNvPr>
          <p:cNvSpPr txBox="1"/>
          <p:nvPr/>
        </p:nvSpPr>
        <p:spPr>
          <a:xfrm>
            <a:off x="4553391" y="1650123"/>
            <a:ext cx="3334626" cy="4585871"/>
          </a:xfrm>
          <a:prstGeom prst="rect">
            <a:avLst/>
          </a:prstGeom>
          <a:noFill/>
        </p:spPr>
        <p:txBody>
          <a:bodyPr wrap="square" lIns="0" tIns="0" rIns="0" bIns="0" rtlCol="0">
            <a:spAutoFit/>
          </a:bodyPr>
          <a:lstStyle/>
          <a:p>
            <a:pPr>
              <a:spcBef>
                <a:spcPts val="600"/>
              </a:spcBef>
              <a:buSzPct val="100000"/>
            </a:pPr>
            <a:r>
              <a:rPr lang="en-US" sz="3600" dirty="0">
                <a:solidFill>
                  <a:schemeClr val="accent1"/>
                </a:solidFill>
              </a:rPr>
              <a:t>“This is dummy text that would be filled with a quote or callout from somewhere else in the text.”</a:t>
            </a:r>
          </a:p>
          <a:p>
            <a:pPr>
              <a:spcBef>
                <a:spcPts val="600"/>
              </a:spcBef>
              <a:buSzPct val="100000"/>
            </a:pPr>
            <a:r>
              <a:rPr lang="en-US" dirty="0"/>
              <a:t>— Name of quoted person, </a:t>
            </a:r>
            <a:br>
              <a:rPr lang="en-US" dirty="0"/>
            </a:br>
            <a:r>
              <a:rPr lang="en-US" dirty="0"/>
              <a:t>Title of quoted person</a:t>
            </a:r>
            <a:endParaRPr lang="en-US" b="1" dirty="0">
              <a:solidFill>
                <a:srgbClr val="313131"/>
              </a:solidFill>
            </a:endParaRPr>
          </a:p>
          <a:p>
            <a:pPr>
              <a:spcBef>
                <a:spcPts val="600"/>
              </a:spcBef>
              <a:buSzPct val="100000"/>
            </a:pPr>
            <a:endParaRPr lang="en-US" sz="3600" dirty="0">
              <a:solidFill>
                <a:schemeClr val="accent1"/>
              </a:solidFill>
            </a:endParaRPr>
          </a:p>
        </p:txBody>
      </p:sp>
      <p:sp>
        <p:nvSpPr>
          <p:cNvPr id="25" name="TextBox 24">
            <a:extLst>
              <a:ext uri="{FF2B5EF4-FFF2-40B4-BE49-F238E27FC236}">
                <a16:creationId xmlns:a16="http://schemas.microsoft.com/office/drawing/2014/main" id="{C123FE87-E1B4-4678-A6B6-9D8ED8B3C64D}"/>
              </a:ext>
            </a:extLst>
          </p:cNvPr>
          <p:cNvSpPr txBox="1"/>
          <p:nvPr/>
        </p:nvSpPr>
        <p:spPr>
          <a:xfrm>
            <a:off x="8289823" y="1650123"/>
            <a:ext cx="3334626" cy="4585871"/>
          </a:xfrm>
          <a:prstGeom prst="rect">
            <a:avLst/>
          </a:prstGeom>
          <a:noFill/>
        </p:spPr>
        <p:txBody>
          <a:bodyPr wrap="square" lIns="0" tIns="0" rIns="0" bIns="0" rtlCol="0">
            <a:spAutoFit/>
          </a:bodyPr>
          <a:lstStyle/>
          <a:p>
            <a:pPr>
              <a:spcBef>
                <a:spcPts val="600"/>
              </a:spcBef>
              <a:buSzPct val="100000"/>
            </a:pPr>
            <a:r>
              <a:rPr lang="en-US" sz="3600" dirty="0">
                <a:solidFill>
                  <a:schemeClr val="bg1"/>
                </a:solidFill>
              </a:rPr>
              <a:t>“This is dummy text that would be filled with a quote or callout from somewhere else in the text.”</a:t>
            </a:r>
          </a:p>
          <a:p>
            <a:pPr>
              <a:spcBef>
                <a:spcPts val="600"/>
              </a:spcBef>
              <a:buSzPct val="100000"/>
            </a:pPr>
            <a:r>
              <a:rPr lang="en-US" dirty="0">
                <a:solidFill>
                  <a:schemeClr val="bg1"/>
                </a:solidFill>
              </a:rPr>
              <a:t>— Name of quoted person, </a:t>
            </a:r>
            <a:br>
              <a:rPr lang="en-US" dirty="0">
                <a:solidFill>
                  <a:schemeClr val="bg1"/>
                </a:solidFill>
              </a:rPr>
            </a:br>
            <a:r>
              <a:rPr lang="en-US" dirty="0">
                <a:solidFill>
                  <a:schemeClr val="bg1"/>
                </a:solidFill>
              </a:rPr>
              <a:t>Title of quoted person</a:t>
            </a:r>
            <a:endParaRPr lang="en-US" b="1" dirty="0">
              <a:solidFill>
                <a:schemeClr val="bg1"/>
              </a:solidFill>
            </a:endParaRPr>
          </a:p>
          <a:p>
            <a:pPr>
              <a:spcBef>
                <a:spcPts val="600"/>
              </a:spcBef>
              <a:buSzPct val="100000"/>
            </a:pPr>
            <a:endParaRPr lang="en-US" sz="3600" dirty="0">
              <a:solidFill>
                <a:schemeClr val="bg1"/>
              </a:solidFill>
            </a:endParaRPr>
          </a:p>
        </p:txBody>
      </p:sp>
      <p:sp>
        <p:nvSpPr>
          <p:cNvPr id="8" name="Star: 5 Points 7">
            <a:extLst>
              <a:ext uri="{FF2B5EF4-FFF2-40B4-BE49-F238E27FC236}">
                <a16:creationId xmlns:a16="http://schemas.microsoft.com/office/drawing/2014/main" id="{78AEC2E7-957E-4F24-8461-78A4552592E6}"/>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NEW</a:t>
            </a:r>
          </a:p>
        </p:txBody>
      </p:sp>
    </p:spTree>
    <p:extLst>
      <p:ext uri="{BB962C8B-B14F-4D97-AF65-F5344CB8AC3E}">
        <p14:creationId xmlns:p14="http://schemas.microsoft.com/office/powerpoint/2010/main" val="3170686621"/>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984011854"/>
              </p:ext>
            </p:extLst>
          </p:nvPr>
        </p:nvGraphicFramePr>
        <p:xfrm>
          <a:off x="1901825" y="2052638"/>
          <a:ext cx="2662238" cy="406876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4"/>
          <p:cNvSpPr>
            <a:spLocks noGrp="1"/>
          </p:cNvSpPr>
          <p:nvPr>
            <p:ph type="body" sz="quarter" idx="18"/>
          </p:nvPr>
        </p:nvSpPr>
        <p:spPr>
          <a:xfrm>
            <a:off x="2904597" y="1665288"/>
            <a:ext cx="913137" cy="553997"/>
          </a:xfrm>
        </p:spPr>
        <p:txBody>
          <a:bodyPr/>
          <a:lstStyle/>
          <a:p>
            <a:pPr algn="ctr"/>
            <a:r>
              <a:rPr lang="en-GB" dirty="0"/>
              <a:t>Americas</a:t>
            </a:r>
          </a:p>
        </p:txBody>
      </p:sp>
      <p:graphicFrame>
        <p:nvGraphicFramePr>
          <p:cNvPr id="24" name="Chart Placeholder 15"/>
          <p:cNvGraphicFramePr>
            <a:graphicFrameLocks noGrp="1"/>
          </p:cNvGraphicFramePr>
          <p:nvPr>
            <p:ph type="chart" sz="quarter" idx="19"/>
            <p:extLst>
              <p:ext uri="{D42A27DB-BD31-4B8C-83A1-F6EECF244321}">
                <p14:modId xmlns:p14="http://schemas.microsoft.com/office/powerpoint/2010/main" val="2437444311"/>
              </p:ext>
            </p:extLst>
          </p:nvPr>
        </p:nvGraphicFramePr>
        <p:xfrm>
          <a:off x="4751388" y="2052638"/>
          <a:ext cx="2671762"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p:cNvSpPr>
            <a:spLocks noGrp="1"/>
          </p:cNvSpPr>
          <p:nvPr>
            <p:ph type="body" sz="quarter" idx="20"/>
          </p:nvPr>
        </p:nvSpPr>
        <p:spPr>
          <a:xfrm>
            <a:off x="5193039" y="1665289"/>
            <a:ext cx="1837682" cy="553996"/>
          </a:xfrm>
        </p:spPr>
        <p:txBody>
          <a:bodyPr/>
          <a:lstStyle/>
          <a:p>
            <a:pPr algn="ctr"/>
            <a:r>
              <a:rPr lang="en-GB" dirty="0"/>
              <a:t>Asia</a:t>
            </a:r>
          </a:p>
        </p:txBody>
      </p:sp>
      <p:graphicFrame>
        <p:nvGraphicFramePr>
          <p:cNvPr id="23" name="Chart Placeholder 15"/>
          <p:cNvGraphicFramePr>
            <a:graphicFrameLocks noGrp="1"/>
          </p:cNvGraphicFramePr>
          <p:nvPr>
            <p:ph type="chart" sz="quarter" idx="21"/>
            <p:extLst>
              <p:ext uri="{D42A27DB-BD31-4B8C-83A1-F6EECF244321}">
                <p14:modId xmlns:p14="http://schemas.microsoft.com/office/powerpoint/2010/main" val="3472285062"/>
              </p:ext>
            </p:extLst>
          </p:nvPr>
        </p:nvGraphicFramePr>
        <p:xfrm>
          <a:off x="7618413" y="2052638"/>
          <a:ext cx="2673350" cy="406876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 Placeholder 8"/>
          <p:cNvSpPr>
            <a:spLocks noGrp="1"/>
          </p:cNvSpPr>
          <p:nvPr>
            <p:ph type="body" sz="quarter" idx="22"/>
          </p:nvPr>
        </p:nvSpPr>
        <p:spPr>
          <a:xfrm>
            <a:off x="8126397" y="1659145"/>
            <a:ext cx="1678004" cy="757254"/>
          </a:xfrm>
        </p:spPr>
        <p:txBody>
          <a:bodyPr/>
          <a:lstStyle/>
          <a:p>
            <a:pPr algn="ctr"/>
            <a:r>
              <a:rPr lang="en-GB" dirty="0"/>
              <a:t>Europe</a:t>
            </a:r>
          </a:p>
        </p:txBody>
      </p:sp>
      <p:sp>
        <p:nvSpPr>
          <p:cNvPr id="4" name="Text Placeholder 3"/>
          <p:cNvSpPr>
            <a:spLocks noGrp="1"/>
          </p:cNvSpPr>
          <p:nvPr>
            <p:ph type="body" sz="quarter" idx="23"/>
          </p:nvPr>
        </p:nvSpPr>
        <p:spPr/>
        <p:txBody>
          <a:bodyPr>
            <a:noAutofit/>
          </a:bodyPr>
          <a:lstStyle/>
          <a:p>
            <a:r>
              <a:rPr lang="en-US"/>
              <a:t>Source:</a:t>
            </a:r>
          </a:p>
          <a:p>
            <a:r>
              <a:rPr lang="en-US"/>
              <a:t>Note:</a:t>
            </a:r>
            <a:endParaRPr lang="en-US" dirty="0"/>
          </a:p>
        </p:txBody>
      </p:sp>
      <p:sp>
        <p:nvSpPr>
          <p:cNvPr id="2" name="Text Placeholder 1"/>
          <p:cNvSpPr>
            <a:spLocks noGrp="1"/>
          </p:cNvSpPr>
          <p:nvPr>
            <p:ph type="body" sz="quarter" idx="13"/>
          </p:nvPr>
        </p:nvSpPr>
        <p:spPr/>
        <p:txBody>
          <a:bodyPr/>
          <a:lstStyle/>
          <a:p>
            <a:r>
              <a:rPr lang="en-US"/>
              <a:t>Single color highlight section</a:t>
            </a:r>
            <a:endParaRPr lang="en-US" dirty="0"/>
          </a:p>
        </p:txBody>
      </p:sp>
      <p:sp>
        <p:nvSpPr>
          <p:cNvPr id="3" name="Title 2"/>
          <p:cNvSpPr>
            <a:spLocks noGrp="1"/>
          </p:cNvSpPr>
          <p:nvPr>
            <p:ph type="title"/>
          </p:nvPr>
        </p:nvSpPr>
        <p:spPr/>
        <p:txBody>
          <a:bodyPr/>
          <a:lstStyle/>
          <a:p>
            <a:r>
              <a:rPr lang="en-GB" dirty="0"/>
              <a:t>Multiple donut charts</a:t>
            </a:r>
          </a:p>
        </p:txBody>
      </p:sp>
      <p:sp>
        <p:nvSpPr>
          <p:cNvPr id="19" name="TextBox 18"/>
          <p:cNvSpPr txBox="1"/>
          <p:nvPr/>
        </p:nvSpPr>
        <p:spPr bwMode="gray">
          <a:xfrm>
            <a:off x="2543388" y="3344863"/>
            <a:ext cx="1428760" cy="553998"/>
          </a:xfrm>
          <a:prstGeom prst="rect">
            <a:avLst/>
          </a:prstGeom>
          <a:noFill/>
        </p:spPr>
        <p:txBody>
          <a:bodyPr wrap="square" lIns="0" tIns="0" rIns="0" bIns="0" rtlCol="0" anchor="ctr">
            <a:spAutoFit/>
          </a:bodyPr>
          <a:lstStyle/>
          <a:p>
            <a:pPr algn="ctr"/>
            <a:r>
              <a:rPr lang="en-US" sz="3600" dirty="0">
                <a:solidFill>
                  <a:schemeClr val="accent1"/>
                </a:solidFill>
              </a:rPr>
              <a:t>21%</a:t>
            </a:r>
          </a:p>
        </p:txBody>
      </p:sp>
      <p:sp>
        <p:nvSpPr>
          <p:cNvPr id="20" name="TextBox 19"/>
          <p:cNvSpPr txBox="1"/>
          <p:nvPr/>
        </p:nvSpPr>
        <p:spPr bwMode="gray">
          <a:xfrm>
            <a:off x="5389233" y="3344863"/>
            <a:ext cx="1428760" cy="553998"/>
          </a:xfrm>
          <a:prstGeom prst="rect">
            <a:avLst/>
          </a:prstGeom>
          <a:noFill/>
        </p:spPr>
        <p:txBody>
          <a:bodyPr wrap="square" lIns="0" tIns="0" rIns="0" bIns="0" rtlCol="0" anchor="ctr">
            <a:spAutoFit/>
          </a:bodyPr>
          <a:lstStyle/>
          <a:p>
            <a:pPr algn="ctr"/>
            <a:r>
              <a:rPr lang="en-US" sz="3600" dirty="0">
                <a:solidFill>
                  <a:schemeClr val="accent2"/>
                </a:solidFill>
              </a:rPr>
              <a:t>27%</a:t>
            </a:r>
          </a:p>
        </p:txBody>
      </p:sp>
      <p:sp>
        <p:nvSpPr>
          <p:cNvPr id="21" name="TextBox 20"/>
          <p:cNvSpPr txBox="1"/>
          <p:nvPr/>
        </p:nvSpPr>
        <p:spPr bwMode="gray">
          <a:xfrm>
            <a:off x="8232168" y="3344863"/>
            <a:ext cx="1428760" cy="553998"/>
          </a:xfrm>
          <a:prstGeom prst="rect">
            <a:avLst/>
          </a:prstGeom>
          <a:noFill/>
        </p:spPr>
        <p:txBody>
          <a:bodyPr wrap="square" lIns="0" tIns="0" rIns="0" bIns="0" rtlCol="0" anchor="ctr">
            <a:spAutoFit/>
          </a:bodyPr>
          <a:lstStyle/>
          <a:p>
            <a:pPr algn="ctr"/>
            <a:r>
              <a:rPr lang="en-US" sz="3600" dirty="0">
                <a:solidFill>
                  <a:schemeClr val="accent3"/>
                </a:solidFill>
              </a:rPr>
              <a:t>15%</a:t>
            </a:r>
          </a:p>
        </p:txBody>
      </p:sp>
    </p:spTree>
    <p:extLst>
      <p:ext uri="{BB962C8B-B14F-4D97-AF65-F5344CB8AC3E}">
        <p14:creationId xmlns:p14="http://schemas.microsoft.com/office/powerpoint/2010/main" val="97598014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Single </a:t>
            </a:r>
            <a:r>
              <a:rPr lang="en-US"/>
              <a:t>color highlight section</a:t>
            </a:r>
            <a:endParaRPr lang="en-US" dirty="0"/>
          </a:p>
        </p:txBody>
      </p:sp>
      <p:sp>
        <p:nvSpPr>
          <p:cNvPr id="3" name="Title 2"/>
          <p:cNvSpPr>
            <a:spLocks noGrp="1"/>
          </p:cNvSpPr>
          <p:nvPr>
            <p:ph type="title"/>
          </p:nvPr>
        </p:nvSpPr>
        <p:spPr/>
        <p:txBody>
          <a:bodyPr/>
          <a:lstStyle/>
          <a:p>
            <a:r>
              <a:rPr lang="en-GB" dirty="0"/>
              <a:t>Multiple donut charts</a:t>
            </a:r>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1661931235"/>
              </p:ext>
            </p:extLst>
          </p:nvPr>
        </p:nvGraphicFramePr>
        <p:xfrm>
          <a:off x="1917700" y="2052638"/>
          <a:ext cx="2641600" cy="40687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Placeholder 15"/>
          <p:cNvGraphicFramePr>
            <a:graphicFrameLocks noGrp="1"/>
          </p:cNvGraphicFramePr>
          <p:nvPr>
            <p:ph type="chart" sz="quarter" idx="19"/>
            <p:extLst>
              <p:ext uri="{D42A27DB-BD31-4B8C-83A1-F6EECF244321}">
                <p14:modId xmlns:p14="http://schemas.microsoft.com/office/powerpoint/2010/main" val="1878277177"/>
              </p:ext>
            </p:extLst>
          </p:nvPr>
        </p:nvGraphicFramePr>
        <p:xfrm>
          <a:off x="4768850" y="2052638"/>
          <a:ext cx="2654300" cy="40687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hart Placeholder 15"/>
          <p:cNvGraphicFramePr>
            <a:graphicFrameLocks noGrp="1"/>
          </p:cNvGraphicFramePr>
          <p:nvPr>
            <p:ph type="chart" sz="quarter" idx="21"/>
            <p:extLst>
              <p:ext uri="{D42A27DB-BD31-4B8C-83A1-F6EECF244321}">
                <p14:modId xmlns:p14="http://schemas.microsoft.com/office/powerpoint/2010/main" val="1415356514"/>
              </p:ext>
            </p:extLst>
          </p:nvPr>
        </p:nvGraphicFramePr>
        <p:xfrm>
          <a:off x="7632700" y="2052638"/>
          <a:ext cx="2641600" cy="4068762"/>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p:cNvSpPr txBox="1"/>
          <p:nvPr/>
        </p:nvSpPr>
        <p:spPr bwMode="gray">
          <a:xfrm>
            <a:off x="2543388" y="3344863"/>
            <a:ext cx="1428760" cy="553998"/>
          </a:xfrm>
          <a:prstGeom prst="rect">
            <a:avLst/>
          </a:prstGeom>
          <a:noFill/>
        </p:spPr>
        <p:txBody>
          <a:bodyPr wrap="square" lIns="0" tIns="0" rIns="0" bIns="0" rtlCol="0" anchor="ctr">
            <a:spAutoFit/>
          </a:bodyPr>
          <a:lstStyle/>
          <a:p>
            <a:pPr algn="ctr"/>
            <a:r>
              <a:rPr lang="en-US" sz="3600" dirty="0">
                <a:solidFill>
                  <a:schemeClr val="accent3"/>
                </a:solidFill>
              </a:rPr>
              <a:t>68%</a:t>
            </a:r>
          </a:p>
        </p:txBody>
      </p:sp>
      <p:sp>
        <p:nvSpPr>
          <p:cNvPr id="20" name="TextBox 19"/>
          <p:cNvSpPr txBox="1"/>
          <p:nvPr/>
        </p:nvSpPr>
        <p:spPr bwMode="gray">
          <a:xfrm>
            <a:off x="5389233" y="3344863"/>
            <a:ext cx="1428760" cy="553998"/>
          </a:xfrm>
          <a:prstGeom prst="rect">
            <a:avLst/>
          </a:prstGeom>
          <a:noFill/>
        </p:spPr>
        <p:txBody>
          <a:bodyPr wrap="square" lIns="0" tIns="0" rIns="0" bIns="0" rtlCol="0" anchor="ctr">
            <a:spAutoFit/>
          </a:bodyPr>
          <a:lstStyle/>
          <a:p>
            <a:pPr algn="ctr"/>
            <a:r>
              <a:rPr lang="en-US" sz="3600" dirty="0">
                <a:solidFill>
                  <a:schemeClr val="accent1"/>
                </a:solidFill>
              </a:rPr>
              <a:t>32%</a:t>
            </a:r>
          </a:p>
        </p:txBody>
      </p:sp>
      <p:sp>
        <p:nvSpPr>
          <p:cNvPr id="21" name="TextBox 20"/>
          <p:cNvSpPr txBox="1"/>
          <p:nvPr/>
        </p:nvSpPr>
        <p:spPr bwMode="gray">
          <a:xfrm>
            <a:off x="8232168" y="3344863"/>
            <a:ext cx="1428760" cy="553998"/>
          </a:xfrm>
          <a:prstGeom prst="rect">
            <a:avLst/>
          </a:prstGeom>
          <a:noFill/>
        </p:spPr>
        <p:txBody>
          <a:bodyPr wrap="square" lIns="0" tIns="0" rIns="0" bIns="0" rtlCol="0" anchor="ctr">
            <a:spAutoFit/>
          </a:bodyPr>
          <a:lstStyle/>
          <a:p>
            <a:pPr algn="ctr"/>
            <a:r>
              <a:rPr lang="en-US" sz="3600" dirty="0">
                <a:solidFill>
                  <a:schemeClr val="accent2"/>
                </a:solidFill>
              </a:rPr>
              <a:t>18%</a:t>
            </a:r>
          </a:p>
        </p:txBody>
      </p:sp>
      <p:sp>
        <p:nvSpPr>
          <p:cNvPr id="13" name="Text Placeholder 4">
            <a:extLst>
              <a:ext uri="{FF2B5EF4-FFF2-40B4-BE49-F238E27FC236}">
                <a16:creationId xmlns:a16="http://schemas.microsoft.com/office/drawing/2014/main" id="{61C060E4-B48F-4C2B-A688-60F008A222D0}"/>
              </a:ext>
            </a:extLst>
          </p:cNvPr>
          <p:cNvSpPr>
            <a:spLocks noGrp="1"/>
          </p:cNvSpPr>
          <p:nvPr>
            <p:ph type="body" sz="quarter" idx="18"/>
          </p:nvPr>
        </p:nvSpPr>
        <p:spPr>
          <a:xfrm>
            <a:off x="2904597" y="1665288"/>
            <a:ext cx="913137" cy="553997"/>
          </a:xfrm>
        </p:spPr>
        <p:txBody>
          <a:bodyPr/>
          <a:lstStyle/>
          <a:p>
            <a:pPr algn="ctr"/>
            <a:r>
              <a:rPr lang="en-GB" dirty="0"/>
              <a:t>Americas</a:t>
            </a:r>
          </a:p>
        </p:txBody>
      </p:sp>
      <p:sp>
        <p:nvSpPr>
          <p:cNvPr id="14" name="Text Placeholder 6">
            <a:extLst>
              <a:ext uri="{FF2B5EF4-FFF2-40B4-BE49-F238E27FC236}">
                <a16:creationId xmlns:a16="http://schemas.microsoft.com/office/drawing/2014/main" id="{EADF915C-BA30-4A06-8BC2-EE48C37537B3}"/>
              </a:ext>
            </a:extLst>
          </p:cNvPr>
          <p:cNvSpPr>
            <a:spLocks noGrp="1"/>
          </p:cNvSpPr>
          <p:nvPr>
            <p:ph type="body" sz="quarter" idx="20"/>
          </p:nvPr>
        </p:nvSpPr>
        <p:spPr>
          <a:xfrm>
            <a:off x="5193039" y="1665289"/>
            <a:ext cx="1837682" cy="553996"/>
          </a:xfrm>
        </p:spPr>
        <p:txBody>
          <a:bodyPr/>
          <a:lstStyle/>
          <a:p>
            <a:pPr algn="ctr"/>
            <a:r>
              <a:rPr lang="en-GB" dirty="0"/>
              <a:t>Asia</a:t>
            </a:r>
          </a:p>
        </p:txBody>
      </p:sp>
      <p:sp>
        <p:nvSpPr>
          <p:cNvPr id="15" name="Text Placeholder 8">
            <a:extLst>
              <a:ext uri="{FF2B5EF4-FFF2-40B4-BE49-F238E27FC236}">
                <a16:creationId xmlns:a16="http://schemas.microsoft.com/office/drawing/2014/main" id="{DBCB9DF3-6F9F-41EE-BB71-560C0A298E91}"/>
              </a:ext>
            </a:extLst>
          </p:cNvPr>
          <p:cNvSpPr>
            <a:spLocks noGrp="1"/>
          </p:cNvSpPr>
          <p:nvPr>
            <p:ph type="body" sz="quarter" idx="22"/>
          </p:nvPr>
        </p:nvSpPr>
        <p:spPr>
          <a:xfrm>
            <a:off x="8126397" y="1659145"/>
            <a:ext cx="1678004" cy="757254"/>
          </a:xfrm>
        </p:spPr>
        <p:txBody>
          <a:bodyPr/>
          <a:lstStyle/>
          <a:p>
            <a:pPr algn="ctr"/>
            <a:r>
              <a:rPr lang="en-GB" dirty="0"/>
              <a:t>Europe</a:t>
            </a:r>
          </a:p>
        </p:txBody>
      </p:sp>
      <p:sp>
        <p:nvSpPr>
          <p:cNvPr id="17" name="Text Placeholder 3">
            <a:extLst>
              <a:ext uri="{FF2B5EF4-FFF2-40B4-BE49-F238E27FC236}">
                <a16:creationId xmlns:a16="http://schemas.microsoft.com/office/drawing/2014/main" id="{5D445E40-631E-4435-BCA1-5E05B958A59F}"/>
              </a:ext>
            </a:extLst>
          </p:cNvPr>
          <p:cNvSpPr>
            <a:spLocks noGrp="1"/>
          </p:cNvSpPr>
          <p:nvPr>
            <p:ph type="body" sz="quarter" idx="23"/>
          </p:nvPr>
        </p:nvSpPr>
        <p:spPr>
          <a:xfrm>
            <a:off x="501649" y="6121014"/>
            <a:ext cx="11165419" cy="260737"/>
          </a:xfrm>
        </p:spPr>
        <p:txBody>
          <a:bodyPr>
            <a:noAutofit/>
          </a:bodyPr>
          <a:lstStyle/>
          <a:p>
            <a:r>
              <a:rPr lang="en-US"/>
              <a:t>Source:</a:t>
            </a:r>
          </a:p>
          <a:p>
            <a:r>
              <a:rPr lang="en-US"/>
              <a:t>Note:</a:t>
            </a:r>
            <a:endParaRPr lang="en-US" dirty="0"/>
          </a:p>
        </p:txBody>
      </p:sp>
    </p:spTree>
    <p:extLst>
      <p:ext uri="{BB962C8B-B14F-4D97-AF65-F5344CB8AC3E}">
        <p14:creationId xmlns:p14="http://schemas.microsoft.com/office/powerpoint/2010/main" val="119040444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286436978"/>
              </p:ext>
            </p:extLst>
          </p:nvPr>
        </p:nvGraphicFramePr>
        <p:xfrm>
          <a:off x="1901825" y="2052638"/>
          <a:ext cx="2662238" cy="40687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8" name="Chart Placeholder 15"/>
          <p:cNvGraphicFramePr>
            <a:graphicFrameLocks noGrp="1"/>
          </p:cNvGraphicFramePr>
          <p:nvPr>
            <p:ph type="chart" sz="quarter" idx="19"/>
            <p:extLst>
              <p:ext uri="{D42A27DB-BD31-4B8C-83A1-F6EECF244321}">
                <p14:modId xmlns:p14="http://schemas.microsoft.com/office/powerpoint/2010/main" val="438501740"/>
              </p:ext>
            </p:extLst>
          </p:nvPr>
        </p:nvGraphicFramePr>
        <p:xfrm>
          <a:off x="4751388" y="2052638"/>
          <a:ext cx="2671762" cy="40687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Chart Placeholder 15"/>
          <p:cNvGraphicFramePr>
            <a:graphicFrameLocks noGrp="1"/>
          </p:cNvGraphicFramePr>
          <p:nvPr>
            <p:ph type="chart" sz="quarter" idx="21"/>
            <p:extLst>
              <p:ext uri="{D42A27DB-BD31-4B8C-83A1-F6EECF244321}">
                <p14:modId xmlns:p14="http://schemas.microsoft.com/office/powerpoint/2010/main" val="2677369690"/>
              </p:ext>
            </p:extLst>
          </p:nvPr>
        </p:nvGraphicFramePr>
        <p:xfrm>
          <a:off x="7618413" y="2052638"/>
          <a:ext cx="2673350" cy="4068762"/>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 Placeholder 1"/>
          <p:cNvSpPr>
            <a:spLocks noGrp="1"/>
          </p:cNvSpPr>
          <p:nvPr>
            <p:ph type="body" sz="quarter" idx="13"/>
          </p:nvPr>
        </p:nvSpPr>
        <p:spPr/>
        <p:txBody>
          <a:bodyPr/>
          <a:lstStyle/>
          <a:p>
            <a:r>
              <a:rPr lang="en-GB" dirty="0"/>
              <a:t>Icons in highlight </a:t>
            </a:r>
            <a:r>
              <a:rPr lang="en-US" dirty="0"/>
              <a:t>color</a:t>
            </a:r>
          </a:p>
        </p:txBody>
      </p:sp>
      <p:sp>
        <p:nvSpPr>
          <p:cNvPr id="3" name="Title 2"/>
          <p:cNvSpPr>
            <a:spLocks noGrp="1"/>
          </p:cNvSpPr>
          <p:nvPr>
            <p:ph type="title"/>
          </p:nvPr>
        </p:nvSpPr>
        <p:spPr/>
        <p:txBody>
          <a:bodyPr/>
          <a:lstStyle/>
          <a:p>
            <a:r>
              <a:rPr lang="en-GB" dirty="0"/>
              <a:t>Multiple donut chart &amp; icons</a:t>
            </a:r>
          </a:p>
        </p:txBody>
      </p:sp>
      <p:grpSp>
        <p:nvGrpSpPr>
          <p:cNvPr id="13" name="Group 12"/>
          <p:cNvGrpSpPr/>
          <p:nvPr/>
        </p:nvGrpSpPr>
        <p:grpSpPr>
          <a:xfrm>
            <a:off x="5726119" y="3136149"/>
            <a:ext cx="754989" cy="1026011"/>
            <a:chOff x="6005693" y="636736"/>
            <a:chExt cx="754989" cy="1026011"/>
          </a:xfrm>
        </p:grpSpPr>
        <p:sp>
          <p:nvSpPr>
            <p:cNvPr id="34" name="Freeform 978"/>
            <p:cNvSpPr>
              <a:spLocks noEditPoints="1"/>
            </p:cNvSpPr>
            <p:nvPr/>
          </p:nvSpPr>
          <p:spPr bwMode="auto">
            <a:xfrm>
              <a:off x="6005693" y="636736"/>
              <a:ext cx="754989" cy="1026011"/>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979"/>
            <p:cNvSpPr>
              <a:spLocks noEditPoints="1"/>
            </p:cNvSpPr>
            <p:nvPr/>
          </p:nvSpPr>
          <p:spPr bwMode="auto">
            <a:xfrm>
              <a:off x="6208959" y="840002"/>
              <a:ext cx="343617" cy="343617"/>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 name="Freeform 621"/>
          <p:cNvSpPr>
            <a:spLocks noEditPoints="1"/>
          </p:cNvSpPr>
          <p:nvPr/>
        </p:nvSpPr>
        <p:spPr bwMode="auto">
          <a:xfrm>
            <a:off x="2753617" y="3165185"/>
            <a:ext cx="969767" cy="1033118"/>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9" name="Group 18"/>
          <p:cNvGrpSpPr/>
          <p:nvPr/>
        </p:nvGrpSpPr>
        <p:grpSpPr>
          <a:xfrm>
            <a:off x="8139638" y="2848659"/>
            <a:ext cx="1596291" cy="1600988"/>
            <a:chOff x="4302308" y="267349"/>
            <a:chExt cx="1077019" cy="1080188"/>
          </a:xfrm>
        </p:grpSpPr>
        <p:sp>
          <p:nvSpPr>
            <p:cNvPr id="15" name="Oval 14"/>
            <p:cNvSpPr/>
            <p:nvPr/>
          </p:nvSpPr>
          <p:spPr bwMode="gray">
            <a:xfrm>
              <a:off x="4313446" y="287784"/>
              <a:ext cx="1011295" cy="101129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9" name="Freeform 852"/>
            <p:cNvSpPr>
              <a:spLocks noChangeAspect="1" noEditPoints="1"/>
            </p:cNvSpPr>
            <p:nvPr/>
          </p:nvSpPr>
          <p:spPr bwMode="auto">
            <a:xfrm>
              <a:off x="4302308" y="267349"/>
              <a:ext cx="1077019" cy="1080188"/>
            </a:xfrm>
            <a:custGeom>
              <a:avLst/>
              <a:gdLst>
                <a:gd name="T0" fmla="*/ 256 w 512"/>
                <a:gd name="T1" fmla="*/ 309 h 512"/>
                <a:gd name="T2" fmla="*/ 202 w 512"/>
                <a:gd name="T3" fmla="*/ 256 h 512"/>
                <a:gd name="T4" fmla="*/ 202 w 512"/>
                <a:gd name="T5" fmla="*/ 149 h 512"/>
                <a:gd name="T6" fmla="*/ 256 w 512"/>
                <a:gd name="T7" fmla="*/ 96 h 512"/>
                <a:gd name="T8" fmla="*/ 309 w 512"/>
                <a:gd name="T9" fmla="*/ 149 h 512"/>
                <a:gd name="T10" fmla="*/ 309 w 512"/>
                <a:gd name="T11" fmla="*/ 256 h 512"/>
                <a:gd name="T12" fmla="*/ 256 w 512"/>
                <a:gd name="T13" fmla="*/ 309 h 512"/>
                <a:gd name="T14" fmla="*/ 256 w 512"/>
                <a:gd name="T15" fmla="*/ 117 h 512"/>
                <a:gd name="T16" fmla="*/ 224 w 512"/>
                <a:gd name="T17" fmla="*/ 149 h 512"/>
                <a:gd name="T18" fmla="*/ 224 w 512"/>
                <a:gd name="T19" fmla="*/ 256 h 512"/>
                <a:gd name="T20" fmla="*/ 256 w 512"/>
                <a:gd name="T21" fmla="*/ 288 h 512"/>
                <a:gd name="T22" fmla="*/ 288 w 512"/>
                <a:gd name="T23" fmla="*/ 256 h 512"/>
                <a:gd name="T24" fmla="*/ 288 w 512"/>
                <a:gd name="T25" fmla="*/ 149 h 512"/>
                <a:gd name="T26" fmla="*/ 256 w 512"/>
                <a:gd name="T27" fmla="*/ 117 h 512"/>
                <a:gd name="T28" fmla="*/ 256 w 512"/>
                <a:gd name="T29" fmla="*/ 0 h 512"/>
                <a:gd name="T30" fmla="*/ 0 w 512"/>
                <a:gd name="T31" fmla="*/ 256 h 512"/>
                <a:gd name="T32" fmla="*/ 256 w 512"/>
                <a:gd name="T33" fmla="*/ 512 h 512"/>
                <a:gd name="T34" fmla="*/ 512 w 512"/>
                <a:gd name="T35" fmla="*/ 256 h 512"/>
                <a:gd name="T36" fmla="*/ 256 w 512"/>
                <a:gd name="T37" fmla="*/ 0 h 512"/>
                <a:gd name="T38" fmla="*/ 266 w 512"/>
                <a:gd name="T39" fmla="*/ 351 h 512"/>
                <a:gd name="T40" fmla="*/ 266 w 512"/>
                <a:gd name="T41" fmla="*/ 394 h 512"/>
                <a:gd name="T42" fmla="*/ 309 w 512"/>
                <a:gd name="T43" fmla="*/ 394 h 512"/>
                <a:gd name="T44" fmla="*/ 320 w 512"/>
                <a:gd name="T45" fmla="*/ 405 h 512"/>
                <a:gd name="T46" fmla="*/ 309 w 512"/>
                <a:gd name="T47" fmla="*/ 416 h 512"/>
                <a:gd name="T48" fmla="*/ 202 w 512"/>
                <a:gd name="T49" fmla="*/ 416 h 512"/>
                <a:gd name="T50" fmla="*/ 192 w 512"/>
                <a:gd name="T51" fmla="*/ 405 h 512"/>
                <a:gd name="T52" fmla="*/ 202 w 512"/>
                <a:gd name="T53" fmla="*/ 394 h 512"/>
                <a:gd name="T54" fmla="*/ 245 w 512"/>
                <a:gd name="T55" fmla="*/ 394 h 512"/>
                <a:gd name="T56" fmla="*/ 245 w 512"/>
                <a:gd name="T57" fmla="*/ 351 h 512"/>
                <a:gd name="T58" fmla="*/ 160 w 512"/>
                <a:gd name="T59" fmla="*/ 256 h 512"/>
                <a:gd name="T60" fmla="*/ 170 w 512"/>
                <a:gd name="T61" fmla="*/ 245 h 512"/>
                <a:gd name="T62" fmla="*/ 181 w 512"/>
                <a:gd name="T63" fmla="*/ 256 h 512"/>
                <a:gd name="T64" fmla="*/ 256 w 512"/>
                <a:gd name="T65" fmla="*/ 330 h 512"/>
                <a:gd name="T66" fmla="*/ 330 w 512"/>
                <a:gd name="T67" fmla="*/ 256 h 512"/>
                <a:gd name="T68" fmla="*/ 341 w 512"/>
                <a:gd name="T69" fmla="*/ 245 h 512"/>
                <a:gd name="T70" fmla="*/ 352 w 512"/>
                <a:gd name="T71" fmla="*/ 256 h 512"/>
                <a:gd name="T72" fmla="*/ 266 w 512"/>
                <a:gd name="T7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51"/>
                  </a:moveTo>
                  <a:cubicBezTo>
                    <a:pt x="266" y="394"/>
                    <a:pt x="266" y="394"/>
                    <a:pt x="266" y="394"/>
                  </a:cubicBezTo>
                  <a:cubicBezTo>
                    <a:pt x="309" y="394"/>
                    <a:pt x="309" y="394"/>
                    <a:pt x="309" y="394"/>
                  </a:cubicBezTo>
                  <a:cubicBezTo>
                    <a:pt x="315" y="394"/>
                    <a:pt x="320" y="399"/>
                    <a:pt x="320" y="405"/>
                  </a:cubicBezTo>
                  <a:cubicBezTo>
                    <a:pt x="320" y="411"/>
                    <a:pt x="315" y="416"/>
                    <a:pt x="309" y="416"/>
                  </a:cubicBezTo>
                  <a:cubicBezTo>
                    <a:pt x="202" y="416"/>
                    <a:pt x="202" y="416"/>
                    <a:pt x="202" y="416"/>
                  </a:cubicBezTo>
                  <a:cubicBezTo>
                    <a:pt x="196" y="416"/>
                    <a:pt x="192" y="411"/>
                    <a:pt x="192" y="405"/>
                  </a:cubicBezTo>
                  <a:cubicBezTo>
                    <a:pt x="192" y="399"/>
                    <a:pt x="196" y="394"/>
                    <a:pt x="202" y="394"/>
                  </a:cubicBezTo>
                  <a:cubicBezTo>
                    <a:pt x="245" y="394"/>
                    <a:pt x="245" y="394"/>
                    <a:pt x="245" y="394"/>
                  </a:cubicBezTo>
                  <a:cubicBezTo>
                    <a:pt x="245" y="351"/>
                    <a:pt x="245" y="351"/>
                    <a:pt x="245" y="351"/>
                  </a:cubicBezTo>
                  <a:cubicBezTo>
                    <a:pt x="197" y="346"/>
                    <a:pt x="160" y="305"/>
                    <a:pt x="160" y="256"/>
                  </a:cubicBezTo>
                  <a:cubicBezTo>
                    <a:pt x="160" y="250"/>
                    <a:pt x="164" y="245"/>
                    <a:pt x="170" y="245"/>
                  </a:cubicBezTo>
                  <a:cubicBezTo>
                    <a:pt x="176" y="245"/>
                    <a:pt x="181" y="250"/>
                    <a:pt x="181" y="256"/>
                  </a:cubicBezTo>
                  <a:cubicBezTo>
                    <a:pt x="181" y="297"/>
                    <a:pt x="214" y="330"/>
                    <a:pt x="256" y="330"/>
                  </a:cubicBezTo>
                  <a:cubicBezTo>
                    <a:pt x="297" y="330"/>
                    <a:pt x="330" y="297"/>
                    <a:pt x="330" y="256"/>
                  </a:cubicBezTo>
                  <a:cubicBezTo>
                    <a:pt x="330" y="250"/>
                    <a:pt x="335" y="245"/>
                    <a:pt x="341" y="245"/>
                  </a:cubicBezTo>
                  <a:cubicBezTo>
                    <a:pt x="347" y="245"/>
                    <a:pt x="352" y="250"/>
                    <a:pt x="352" y="256"/>
                  </a:cubicBezTo>
                  <a:cubicBezTo>
                    <a:pt x="352" y="305"/>
                    <a:pt x="314" y="346"/>
                    <a:pt x="266" y="3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7" name="Text Placeholder 3">
            <a:extLst>
              <a:ext uri="{FF2B5EF4-FFF2-40B4-BE49-F238E27FC236}">
                <a16:creationId xmlns:a16="http://schemas.microsoft.com/office/drawing/2014/main" id="{CD74B786-A687-4B0F-951F-C31FE85DD081}"/>
              </a:ext>
            </a:extLst>
          </p:cNvPr>
          <p:cNvSpPr txBox="1">
            <a:spLocks/>
          </p:cNvSpPr>
          <p:nvPr/>
        </p:nvSpPr>
        <p:spPr>
          <a:xfrm>
            <a:off x="501649" y="6121014"/>
            <a:ext cx="11165419" cy="260737"/>
          </a:xfrm>
          <a:prstGeom prst="rect">
            <a:avLst/>
          </a:prstGeom>
        </p:spPr>
        <p:txBody>
          <a:bodyPr vert="horz" lIns="0" tIns="0" rIns="0" bIns="0" rtlCol="0">
            <a:noAutofit/>
          </a:bodyPr>
          <a:lstStyle>
            <a:lvl1pPr marL="0" indent="0" algn="l" defTabSz="914400" rtl="0" eaLnBrk="1" latinLnBrk="0" hangingPunct="1">
              <a:spcBef>
                <a:spcPts val="0"/>
              </a:spcBef>
              <a:spcAft>
                <a:spcPts val="0"/>
              </a:spcAft>
              <a:buSzPct val="100000"/>
              <a:buFontTx/>
              <a:buNone/>
              <a:defRPr sz="9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ource:</a:t>
            </a:r>
          </a:p>
          <a:p>
            <a:r>
              <a:rPr lang="en-US"/>
              <a:t>Note:</a:t>
            </a:r>
            <a:endParaRPr lang="en-US" dirty="0"/>
          </a:p>
        </p:txBody>
      </p:sp>
    </p:spTree>
    <p:extLst>
      <p:ext uri="{BB962C8B-B14F-4D97-AF65-F5344CB8AC3E}">
        <p14:creationId xmlns:p14="http://schemas.microsoft.com/office/powerpoint/2010/main" val="168754013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3"/>
          </p:nvPr>
        </p:nvSpPr>
        <p:spPr/>
        <p:txBody>
          <a:bodyPr/>
          <a:lstStyle/>
          <a:p>
            <a:r>
              <a:rPr lang="en-GB"/>
              <a:t>Dual line option</a:t>
            </a:r>
            <a:endParaRPr lang="en-GB" dirty="0"/>
          </a:p>
        </p:txBody>
      </p:sp>
      <p:graphicFrame>
        <p:nvGraphicFramePr>
          <p:cNvPr id="14" name="Chart Placeholder 36"/>
          <p:cNvGraphicFramePr>
            <a:graphicFrameLocks noGrp="1"/>
          </p:cNvGraphicFramePr>
          <p:nvPr>
            <p:ph type="chart" sz="quarter" idx="15"/>
            <p:extLst>
              <p:ext uri="{D42A27DB-BD31-4B8C-83A1-F6EECF244321}">
                <p14:modId xmlns:p14="http://schemas.microsoft.com/office/powerpoint/2010/main" val="3536569002"/>
              </p:ext>
            </p:extLst>
          </p:nvPr>
        </p:nvGraphicFramePr>
        <p:xfrm>
          <a:off x="642852" y="919318"/>
          <a:ext cx="11169121" cy="5415522"/>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p:cNvSpPr>
            <a:spLocks noGrp="1"/>
          </p:cNvSpPr>
          <p:nvPr>
            <p:ph type="body" sz="quarter" idx="18"/>
          </p:nvPr>
        </p:nvSpPr>
        <p:spPr>
          <a:xfrm>
            <a:off x="501653" y="1700214"/>
            <a:ext cx="2139948" cy="310459"/>
          </a:xfrm>
        </p:spPr>
        <p:txBody>
          <a:bodyPr/>
          <a:lstStyle/>
          <a:p>
            <a:r>
              <a:rPr lang="en-GB" dirty="0"/>
              <a:t>Chart title runs here (units)</a:t>
            </a:r>
          </a:p>
        </p:txBody>
      </p:sp>
      <p:sp>
        <p:nvSpPr>
          <p:cNvPr id="4" name="Text Placeholder 3"/>
          <p:cNvSpPr>
            <a:spLocks noGrp="1"/>
          </p:cNvSpPr>
          <p:nvPr>
            <p:ph type="body" sz="quarter" idx="23"/>
          </p:nvPr>
        </p:nvSpPr>
        <p:spPr/>
        <p:txBody>
          <a:bodyPr>
            <a:noAutofit/>
          </a:bodyPr>
          <a:lstStyle/>
          <a:p>
            <a:r>
              <a:rPr lang="en-US" dirty="0"/>
              <a:t>Source:</a:t>
            </a:r>
          </a:p>
          <a:p>
            <a:r>
              <a:rPr lang="en-US" dirty="0"/>
              <a:t>Note:</a:t>
            </a:r>
          </a:p>
        </p:txBody>
      </p:sp>
      <p:sp>
        <p:nvSpPr>
          <p:cNvPr id="16" name="Title 15"/>
          <p:cNvSpPr>
            <a:spLocks noGrp="1"/>
          </p:cNvSpPr>
          <p:nvPr>
            <p:ph type="title"/>
          </p:nvPr>
        </p:nvSpPr>
        <p:spPr/>
        <p:txBody>
          <a:bodyPr/>
          <a:lstStyle/>
          <a:p>
            <a:r>
              <a:rPr lang="en-US"/>
              <a:t>Radar chart</a:t>
            </a:r>
            <a:endParaRPr lang="en-GB" dirty="0"/>
          </a:p>
        </p:txBody>
      </p:sp>
    </p:spTree>
    <p:extLst>
      <p:ext uri="{BB962C8B-B14F-4D97-AF65-F5344CB8AC3E}">
        <p14:creationId xmlns:p14="http://schemas.microsoft.com/office/powerpoint/2010/main" val="178046394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p:txBody>
          <a:bodyPr/>
          <a:lstStyle/>
          <a:p>
            <a:r>
              <a:rPr lang="en-GB"/>
              <a:t>Highlight percentage</a:t>
            </a:r>
            <a:endParaRPr lang="en-GB" dirty="0"/>
          </a:p>
        </p:txBody>
      </p:sp>
      <p:graphicFrame>
        <p:nvGraphicFramePr>
          <p:cNvPr id="21" name="Chart Placeholder 36"/>
          <p:cNvGraphicFramePr>
            <a:graphicFrameLocks noGrp="1"/>
          </p:cNvGraphicFramePr>
          <p:nvPr>
            <p:ph type="chart" sz="quarter" idx="15"/>
            <p:extLst>
              <p:ext uri="{D42A27DB-BD31-4B8C-83A1-F6EECF244321}">
                <p14:modId xmlns:p14="http://schemas.microsoft.com/office/powerpoint/2010/main" val="3752435852"/>
              </p:ext>
            </p:extLst>
          </p:nvPr>
        </p:nvGraphicFramePr>
        <p:xfrm>
          <a:off x="1900239" y="2052638"/>
          <a:ext cx="8391525"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p:cNvSpPr>
            <a:spLocks noGrp="1"/>
          </p:cNvSpPr>
          <p:nvPr>
            <p:ph type="body" sz="quarter" idx="18"/>
          </p:nvPr>
        </p:nvSpPr>
        <p:spPr>
          <a:xfrm>
            <a:off x="501653" y="1700215"/>
            <a:ext cx="1977388" cy="352424"/>
          </a:xfrm>
        </p:spPr>
        <p:txBody>
          <a:bodyPr/>
          <a:lstStyle/>
          <a:p>
            <a:r>
              <a:rPr lang="en-GB" dirty="0"/>
              <a:t>Chart title runs here (units)</a:t>
            </a:r>
          </a:p>
        </p:txBody>
      </p:sp>
      <p:sp>
        <p:nvSpPr>
          <p:cNvPr id="8" name="Text Placeholder 7"/>
          <p:cNvSpPr>
            <a:spLocks noGrp="1"/>
          </p:cNvSpPr>
          <p:nvPr>
            <p:ph type="body" sz="quarter" idx="23"/>
          </p:nvPr>
        </p:nvSpPr>
        <p:spPr/>
        <p:txBody>
          <a:bodyPr>
            <a:noAutofit/>
          </a:bodyPr>
          <a:lstStyle/>
          <a:p>
            <a:r>
              <a:rPr lang="en-US" dirty="0"/>
              <a:t>Source:</a:t>
            </a:r>
          </a:p>
          <a:p>
            <a:r>
              <a:rPr lang="en-US" dirty="0"/>
              <a:t>Note:</a:t>
            </a:r>
          </a:p>
        </p:txBody>
      </p:sp>
      <p:sp>
        <p:nvSpPr>
          <p:cNvPr id="10" name="Title 9"/>
          <p:cNvSpPr>
            <a:spLocks noGrp="1"/>
          </p:cNvSpPr>
          <p:nvPr>
            <p:ph type="title"/>
          </p:nvPr>
        </p:nvSpPr>
        <p:spPr/>
        <p:txBody>
          <a:bodyPr/>
          <a:lstStyle/>
          <a:p>
            <a:r>
              <a:rPr lang="en-US"/>
              <a:t>Radial donut chart</a:t>
            </a:r>
            <a:endParaRPr lang="en-US" dirty="0"/>
          </a:p>
        </p:txBody>
      </p:sp>
      <p:grpSp>
        <p:nvGrpSpPr>
          <p:cNvPr id="15" name="Group 14"/>
          <p:cNvGrpSpPr/>
          <p:nvPr/>
        </p:nvGrpSpPr>
        <p:grpSpPr>
          <a:xfrm>
            <a:off x="6311174" y="2871048"/>
            <a:ext cx="880692" cy="316485"/>
            <a:chOff x="4787174" y="2783124"/>
            <a:chExt cx="880692" cy="316485"/>
          </a:xfrm>
        </p:grpSpPr>
        <p:sp>
          <p:nvSpPr>
            <p:cNvPr id="22" name="Half Frame 21"/>
            <p:cNvSpPr/>
            <p:nvPr/>
          </p:nvSpPr>
          <p:spPr bwMode="gray">
            <a:xfrm rot="18764693">
              <a:off x="4783293" y="2864847"/>
              <a:ext cx="168177" cy="160415"/>
            </a:xfrm>
            <a:prstGeom prst="halfFram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accent3"/>
                </a:solidFill>
              </a:endParaRPr>
            </a:p>
          </p:txBody>
        </p:sp>
        <p:sp>
          <p:nvSpPr>
            <p:cNvPr id="23" name="TextBox 22"/>
            <p:cNvSpPr txBox="1"/>
            <p:nvPr/>
          </p:nvSpPr>
          <p:spPr>
            <a:xfrm>
              <a:off x="4917283" y="2783124"/>
              <a:ext cx="750583" cy="316485"/>
            </a:xfrm>
            <a:prstGeom prst="rect">
              <a:avLst/>
            </a:prstGeom>
            <a:noFill/>
          </p:spPr>
          <p:txBody>
            <a:bodyPr wrap="square" lIns="0" tIns="0" rIns="0" bIns="0" rtlCol="0">
              <a:noAutofit/>
            </a:bodyPr>
            <a:lstStyle/>
            <a:p>
              <a:r>
                <a:rPr lang="en-GB" sz="1900" b="1" dirty="0">
                  <a:solidFill>
                    <a:schemeClr val="accent3"/>
                  </a:solidFill>
                </a:rPr>
                <a:t>58%</a:t>
              </a:r>
              <a:endParaRPr lang="en-GB" sz="1900" dirty="0">
                <a:solidFill>
                  <a:schemeClr val="accent3"/>
                </a:solidFill>
              </a:endParaRPr>
            </a:p>
          </p:txBody>
        </p:sp>
      </p:grpSp>
    </p:spTree>
    <p:extLst>
      <p:ext uri="{BB962C8B-B14F-4D97-AF65-F5344CB8AC3E}">
        <p14:creationId xmlns:p14="http://schemas.microsoft.com/office/powerpoint/2010/main" val="2873532432"/>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GB"/>
              <a:t>Full page multi </a:t>
            </a:r>
            <a:r>
              <a:rPr lang="en-US"/>
              <a:t>colors</a:t>
            </a:r>
            <a:endParaRPr lang="en-US" dirty="0"/>
          </a:p>
        </p:txBody>
      </p:sp>
      <p:graphicFrame>
        <p:nvGraphicFramePr>
          <p:cNvPr id="15" name="Content Placeholder 8">
            <a:extLst>
              <a:ext uri="{FF2B5EF4-FFF2-40B4-BE49-F238E27FC236}">
                <a16:creationId xmlns:a16="http://schemas.microsoft.com/office/drawing/2014/main" id="{44172101-556A-47F3-A0DD-A3C1A9550A3D}"/>
              </a:ext>
            </a:extLst>
          </p:cNvPr>
          <p:cNvGraphicFramePr>
            <a:graphicFrameLocks noGrp="1"/>
          </p:cNvGraphicFramePr>
          <p:nvPr>
            <p:ph type="chart" sz="quarter" idx="15"/>
            <p:extLst>
              <p:ext uri="{D42A27DB-BD31-4B8C-83A1-F6EECF244321}">
                <p14:modId xmlns:p14="http://schemas.microsoft.com/office/powerpoint/2010/main" val="2866895644"/>
              </p:ext>
            </p:extLst>
          </p:nvPr>
        </p:nvGraphicFramePr>
        <p:xfrm>
          <a:off x="468313" y="2036763"/>
          <a:ext cx="11252200" cy="394652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GB"/>
              <a:t>Line chart</a:t>
            </a:r>
            <a:endParaRPr lang="en-GB" dirty="0"/>
          </a:p>
        </p:txBody>
      </p:sp>
      <p:sp>
        <p:nvSpPr>
          <p:cNvPr id="4" name="Text Placeholder 3">
            <a:extLst>
              <a:ext uri="{FF2B5EF4-FFF2-40B4-BE49-F238E27FC236}">
                <a16:creationId xmlns:a16="http://schemas.microsoft.com/office/drawing/2014/main" id="{1CC2D9F9-17FA-4DAD-87B1-9D96C4B143CA}"/>
              </a:ext>
            </a:extLst>
          </p:cNvPr>
          <p:cNvSpPr>
            <a:spLocks noGrp="1"/>
          </p:cNvSpPr>
          <p:nvPr>
            <p:ph type="body" sz="quarter" idx="18"/>
          </p:nvPr>
        </p:nvSpPr>
        <p:spPr/>
        <p:txBody>
          <a:bodyPr/>
          <a:lstStyle/>
          <a:p>
            <a:r>
              <a:rPr lang="en-US" dirty="0"/>
              <a:t>Chart title runs here</a:t>
            </a:r>
          </a:p>
        </p:txBody>
      </p:sp>
      <p:sp>
        <p:nvSpPr>
          <p:cNvPr id="10" name="Text Placeholder 7">
            <a:extLst>
              <a:ext uri="{FF2B5EF4-FFF2-40B4-BE49-F238E27FC236}">
                <a16:creationId xmlns:a16="http://schemas.microsoft.com/office/drawing/2014/main" id="{CCF4B4C6-3E48-49C5-9E6F-1C31D29559E2}"/>
              </a:ext>
            </a:extLst>
          </p:cNvPr>
          <p:cNvSpPr>
            <a:spLocks noGrp="1"/>
          </p:cNvSpPr>
          <p:nvPr>
            <p:ph type="body" sz="quarter" idx="23"/>
          </p:nvPr>
        </p:nvSpPr>
        <p:spPr>
          <a:xfrm>
            <a:off x="501651" y="6121014"/>
            <a:ext cx="11188700" cy="260737"/>
          </a:xfrm>
        </p:spPr>
        <p:txBody>
          <a:bodyPr>
            <a:noAutofit/>
          </a:bodyPr>
          <a:lstStyle/>
          <a:p>
            <a:r>
              <a:rPr lang="en-US" dirty="0"/>
              <a:t>Source:</a:t>
            </a:r>
          </a:p>
          <a:p>
            <a:r>
              <a:rPr lang="en-US" dirty="0"/>
              <a:t>Note:</a:t>
            </a:r>
          </a:p>
        </p:txBody>
      </p:sp>
    </p:spTree>
    <p:extLst>
      <p:ext uri="{BB962C8B-B14F-4D97-AF65-F5344CB8AC3E}">
        <p14:creationId xmlns:p14="http://schemas.microsoft.com/office/powerpoint/2010/main" val="3224955983"/>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Placeholder 19"/>
          <p:cNvGraphicFramePr>
            <a:graphicFrameLocks noGrp="1"/>
          </p:cNvGraphicFramePr>
          <p:nvPr>
            <p:ph type="chart" sz="quarter" idx="21"/>
            <p:extLst>
              <p:ext uri="{D42A27DB-BD31-4B8C-83A1-F6EECF244321}">
                <p14:modId xmlns:p14="http://schemas.microsoft.com/office/powerpoint/2010/main" val="3532954128"/>
              </p:ext>
            </p:extLst>
          </p:nvPr>
        </p:nvGraphicFramePr>
        <p:xfrm>
          <a:off x="6280150" y="2125664"/>
          <a:ext cx="457200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Placeholder 25"/>
          <p:cNvSpPr>
            <a:spLocks noGrp="1"/>
          </p:cNvSpPr>
          <p:nvPr>
            <p:ph type="body" sz="quarter" idx="22"/>
          </p:nvPr>
        </p:nvSpPr>
        <p:spPr/>
        <p:txBody>
          <a:bodyPr/>
          <a:lstStyle/>
          <a:p>
            <a:r>
              <a:rPr lang="en-US"/>
              <a:t>Highlight one segment color format (units)</a:t>
            </a:r>
            <a:endParaRPr lang="en-US" dirty="0"/>
          </a:p>
        </p:txBody>
      </p:sp>
      <p:graphicFrame>
        <p:nvGraphicFramePr>
          <p:cNvPr id="23" name="Chart Placeholder 19"/>
          <p:cNvGraphicFramePr>
            <a:graphicFrameLocks noGrp="1"/>
          </p:cNvGraphicFramePr>
          <p:nvPr>
            <p:ph type="chart" sz="quarter" idx="24"/>
            <p:extLst>
              <p:ext uri="{D42A27DB-BD31-4B8C-83A1-F6EECF244321}">
                <p14:modId xmlns:p14="http://schemas.microsoft.com/office/powerpoint/2010/main" val="2745165648"/>
              </p:ext>
            </p:extLst>
          </p:nvPr>
        </p:nvGraphicFramePr>
        <p:xfrm>
          <a:off x="501649" y="2125664"/>
          <a:ext cx="45720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 Placeholder 26"/>
          <p:cNvSpPr>
            <a:spLocks noGrp="1"/>
          </p:cNvSpPr>
          <p:nvPr>
            <p:ph type="body" sz="quarter" idx="25"/>
          </p:nvPr>
        </p:nvSpPr>
        <p:spPr/>
        <p:txBody>
          <a:bodyPr/>
          <a:lstStyle/>
          <a:p>
            <a:r>
              <a:rPr lang="en-US" dirty="0"/>
              <a:t>Standard color format (units)</a:t>
            </a:r>
          </a:p>
        </p:txBody>
      </p:sp>
      <p:sp>
        <p:nvSpPr>
          <p:cNvPr id="3" name="Text Placeholder 2"/>
          <p:cNvSpPr>
            <a:spLocks noGrp="1"/>
          </p:cNvSpPr>
          <p:nvPr>
            <p:ph type="body" sz="quarter" idx="13"/>
          </p:nvPr>
        </p:nvSpPr>
        <p:spPr/>
        <p:txBody>
          <a:bodyPr/>
          <a:lstStyle/>
          <a:p>
            <a:pPr lvl="0"/>
            <a:r>
              <a:rPr lang="en-US" altLang="ja-JP"/>
              <a:t>Two charts</a:t>
            </a:r>
            <a:endParaRPr lang="en-GB" dirty="0"/>
          </a:p>
        </p:txBody>
      </p:sp>
      <p:sp>
        <p:nvSpPr>
          <p:cNvPr id="2" name="Title 1"/>
          <p:cNvSpPr>
            <a:spLocks noGrp="1"/>
          </p:cNvSpPr>
          <p:nvPr>
            <p:ph type="title"/>
          </p:nvPr>
        </p:nvSpPr>
        <p:spPr/>
        <p:txBody>
          <a:bodyPr/>
          <a:lstStyle/>
          <a:p>
            <a:r>
              <a:rPr lang="en-US" altLang="ja-JP"/>
              <a:t>Line charts </a:t>
            </a:r>
            <a:endParaRPr lang="en-US" dirty="0"/>
          </a:p>
        </p:txBody>
      </p:sp>
      <p:sp>
        <p:nvSpPr>
          <p:cNvPr id="11" name="Text Placeholder 7">
            <a:extLst>
              <a:ext uri="{FF2B5EF4-FFF2-40B4-BE49-F238E27FC236}">
                <a16:creationId xmlns:a16="http://schemas.microsoft.com/office/drawing/2014/main" id="{149BC7DA-8FFD-4C41-A440-C00B4480D44C}"/>
              </a:ext>
            </a:extLst>
          </p:cNvPr>
          <p:cNvSpPr>
            <a:spLocks noGrp="1"/>
          </p:cNvSpPr>
          <p:nvPr>
            <p:ph type="body" sz="quarter" idx="23"/>
          </p:nvPr>
        </p:nvSpPr>
        <p:spPr>
          <a:xfrm>
            <a:off x="501651" y="6121014"/>
            <a:ext cx="11188700" cy="260737"/>
          </a:xfrm>
        </p:spPr>
        <p:txBody>
          <a:bodyPr>
            <a:noAutofit/>
          </a:bodyPr>
          <a:lstStyle/>
          <a:p>
            <a:r>
              <a:rPr lang="en-US" dirty="0"/>
              <a:t>Source:</a:t>
            </a:r>
          </a:p>
          <a:p>
            <a:r>
              <a:rPr lang="en-US" dirty="0"/>
              <a:t>Note:</a:t>
            </a:r>
          </a:p>
        </p:txBody>
      </p:sp>
    </p:spTree>
    <p:extLst>
      <p:ext uri="{BB962C8B-B14F-4D97-AF65-F5344CB8AC3E}">
        <p14:creationId xmlns:p14="http://schemas.microsoft.com/office/powerpoint/2010/main" val="3248841557"/>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4">
            <a:extLst>
              <a:ext uri="{FF2B5EF4-FFF2-40B4-BE49-F238E27FC236}">
                <a16:creationId xmlns:a16="http://schemas.microsoft.com/office/drawing/2014/main" id="{F4F49C71-5A69-4E6C-AD7B-B522DDE7A38C}"/>
              </a:ext>
            </a:extLst>
          </p:cNvPr>
          <p:cNvSpPr>
            <a:spLocks noGrp="1"/>
          </p:cNvSpPr>
          <p:nvPr>
            <p:ph sz="quarter" idx="10"/>
          </p:nvPr>
        </p:nvSpPr>
        <p:spPr/>
        <p:txBody>
          <a:bodyPr/>
          <a:lstStyle/>
          <a:p>
            <a:pPr lvl="2"/>
            <a:r>
              <a:rPr lang="en-US" noProof="0" dirty="0"/>
              <a:t>This is a level 1 bullet. This is dummy text it is not here to be read</a:t>
            </a:r>
          </a:p>
          <a:p>
            <a:pPr lvl="2"/>
            <a:r>
              <a:rPr lang="en-US" noProof="0" dirty="0"/>
              <a:t>This is a level 1 bullet. This is dummy text it is not here to be read</a:t>
            </a:r>
          </a:p>
          <a:p>
            <a:pPr lvl="2"/>
            <a:r>
              <a:rPr lang="en-US" noProof="0" dirty="0"/>
              <a:t>This is a level 1 bullet. This is dummy text it is not here to be read</a:t>
            </a:r>
          </a:p>
          <a:p>
            <a:pPr lvl="3"/>
            <a:r>
              <a:rPr lang="en-US" noProof="0" dirty="0"/>
              <a:t>This is a level 2 bullet</a:t>
            </a:r>
          </a:p>
          <a:p>
            <a:pPr lvl="3"/>
            <a:r>
              <a:rPr lang="en-US" noProof="0" dirty="0"/>
              <a:t>This is a level 2 bullet</a:t>
            </a:r>
          </a:p>
          <a:p>
            <a:pPr lvl="3"/>
            <a:r>
              <a:rPr lang="en-US" noProof="0" dirty="0"/>
              <a:t>This is a level 2 bullet</a:t>
            </a:r>
          </a:p>
          <a:p>
            <a:endParaRPr lang="en-US" noProof="0" dirty="0"/>
          </a:p>
        </p:txBody>
      </p:sp>
      <p:graphicFrame>
        <p:nvGraphicFramePr>
          <p:cNvPr id="13" name="Chart Placeholder 19">
            <a:extLst>
              <a:ext uri="{FF2B5EF4-FFF2-40B4-BE49-F238E27FC236}">
                <a16:creationId xmlns:a16="http://schemas.microsoft.com/office/drawing/2014/main" id="{8E437AA8-2C0A-4C7F-A946-4599B683C157}"/>
              </a:ext>
            </a:extLst>
          </p:cNvPr>
          <p:cNvGraphicFramePr>
            <a:graphicFrameLocks noGrp="1"/>
          </p:cNvGraphicFramePr>
          <p:nvPr>
            <p:ph type="chart" sz="quarter" idx="21"/>
            <p:extLst>
              <p:ext uri="{D42A27DB-BD31-4B8C-83A1-F6EECF244321}">
                <p14:modId xmlns:p14="http://schemas.microsoft.com/office/powerpoint/2010/main" val="1759835572"/>
              </p:ext>
            </p:extLst>
          </p:nvPr>
        </p:nvGraphicFramePr>
        <p:xfrm>
          <a:off x="6340475" y="2125663"/>
          <a:ext cx="5349875"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15">
            <a:extLst>
              <a:ext uri="{FF2B5EF4-FFF2-40B4-BE49-F238E27FC236}">
                <a16:creationId xmlns:a16="http://schemas.microsoft.com/office/drawing/2014/main" id="{8A65B7C0-B746-417C-8989-EC61B9E0433E}"/>
              </a:ext>
            </a:extLst>
          </p:cNvPr>
          <p:cNvSpPr>
            <a:spLocks noGrp="1"/>
          </p:cNvSpPr>
          <p:nvPr>
            <p:ph type="body" sz="quarter" idx="22"/>
          </p:nvPr>
        </p:nvSpPr>
        <p:spPr/>
        <p:txBody>
          <a:bodyPr/>
          <a:lstStyle/>
          <a:p>
            <a:r>
              <a:rPr lang="en-US" noProof="0" dirty="0">
                <a:latin typeface="+mj-lt"/>
              </a:rPr>
              <a:t>Chart title runs here</a:t>
            </a:r>
          </a:p>
          <a:p>
            <a:endParaRPr lang="en-US" noProof="0" dirty="0">
              <a:latin typeface="+mj-lt"/>
            </a:endParaRPr>
          </a:p>
        </p:txBody>
      </p:sp>
      <p:sp>
        <p:nvSpPr>
          <p:cNvPr id="3" name="Text Placeholder 2"/>
          <p:cNvSpPr>
            <a:spLocks noGrp="1"/>
          </p:cNvSpPr>
          <p:nvPr>
            <p:ph type="body" sz="quarter" idx="13"/>
          </p:nvPr>
        </p:nvSpPr>
        <p:spPr/>
        <p:txBody>
          <a:bodyPr/>
          <a:lstStyle/>
          <a:p>
            <a:pPr lvl="0"/>
            <a:r>
              <a:rPr lang="en-US" altLang="ja-JP"/>
              <a:t>Chart with text</a:t>
            </a:r>
            <a:endParaRPr lang="en-GB" dirty="0"/>
          </a:p>
        </p:txBody>
      </p:sp>
      <p:sp>
        <p:nvSpPr>
          <p:cNvPr id="2" name="Title 1"/>
          <p:cNvSpPr>
            <a:spLocks noGrp="1"/>
          </p:cNvSpPr>
          <p:nvPr>
            <p:ph type="title"/>
          </p:nvPr>
        </p:nvSpPr>
        <p:spPr/>
        <p:txBody>
          <a:bodyPr/>
          <a:lstStyle/>
          <a:p>
            <a:r>
              <a:rPr lang="en-US" altLang="ja-JP"/>
              <a:t>Line charts </a:t>
            </a:r>
            <a:endParaRPr lang="en-US" dirty="0"/>
          </a:p>
        </p:txBody>
      </p:sp>
      <p:sp>
        <p:nvSpPr>
          <p:cNvPr id="11" name="Text Placeholder 7">
            <a:extLst>
              <a:ext uri="{FF2B5EF4-FFF2-40B4-BE49-F238E27FC236}">
                <a16:creationId xmlns:a16="http://schemas.microsoft.com/office/drawing/2014/main" id="{578E6D40-3B4C-47A1-921A-D050B364251E}"/>
              </a:ext>
            </a:extLst>
          </p:cNvPr>
          <p:cNvSpPr>
            <a:spLocks noGrp="1"/>
          </p:cNvSpPr>
          <p:nvPr>
            <p:ph type="body" sz="quarter" idx="23"/>
          </p:nvPr>
        </p:nvSpPr>
        <p:spPr>
          <a:xfrm>
            <a:off x="501651" y="6121014"/>
            <a:ext cx="11188700" cy="260737"/>
          </a:xfrm>
        </p:spPr>
        <p:txBody>
          <a:bodyPr>
            <a:noAutofit/>
          </a:bodyPr>
          <a:lstStyle/>
          <a:p>
            <a:r>
              <a:rPr lang="en-US" dirty="0"/>
              <a:t>Source:</a:t>
            </a:r>
          </a:p>
          <a:p>
            <a:r>
              <a:rPr lang="en-US" dirty="0"/>
              <a:t>Note:</a:t>
            </a:r>
          </a:p>
        </p:txBody>
      </p:sp>
    </p:spTree>
    <p:extLst>
      <p:ext uri="{BB962C8B-B14F-4D97-AF65-F5344CB8AC3E}">
        <p14:creationId xmlns:p14="http://schemas.microsoft.com/office/powerpoint/2010/main" val="1683481920"/>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lvl="0"/>
            <a:r>
              <a:rPr lang="en-US" altLang="ja-JP"/>
              <a:t>Two with text</a:t>
            </a:r>
            <a:endParaRPr lang="en-GB" dirty="0"/>
          </a:p>
        </p:txBody>
      </p:sp>
      <p:graphicFrame>
        <p:nvGraphicFramePr>
          <p:cNvPr id="14" name="Chart Placeholder 13"/>
          <p:cNvGraphicFramePr>
            <a:graphicFrameLocks noGrp="1"/>
          </p:cNvGraphicFramePr>
          <p:nvPr>
            <p:ph type="chart" sz="quarter" idx="15"/>
            <p:extLst>
              <p:ext uri="{D42A27DB-BD31-4B8C-83A1-F6EECF244321}">
                <p14:modId xmlns:p14="http://schemas.microsoft.com/office/powerpoint/2010/main" val="2938156853"/>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9" name="Text Placeholder 18"/>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ltLang="ja-JP"/>
              <a:t>Smoothed line chart </a:t>
            </a:r>
            <a:br>
              <a:rPr lang="en-US" altLang="ja-JP"/>
            </a:br>
            <a:endParaRPr lang="en-US" dirty="0"/>
          </a:p>
        </p:txBody>
      </p:sp>
      <p:sp>
        <p:nvSpPr>
          <p:cNvPr id="6" name="Text Placeholder 8"/>
          <p:cNvSpPr txBox="1">
            <a:spLocks/>
          </p:cNvSpPr>
          <p:nvPr/>
        </p:nvSpPr>
        <p:spPr>
          <a:xfrm>
            <a:off x="1900239" y="765175"/>
            <a:ext cx="8396286" cy="969282"/>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1200"/>
              </a:spcBef>
              <a:spcAft>
                <a:spcPts val="0"/>
              </a:spcAft>
              <a:buClrTx/>
              <a:buSzTx/>
              <a:buFont typeface="Arial" pitchFamily="34" charset="0"/>
              <a:buNone/>
              <a:tabLst/>
              <a:defRPr sz="3000" b="0" kern="1200">
                <a:solidFill>
                  <a:schemeClr val="accent2"/>
                </a:solidFill>
                <a:latin typeface="+mn-lt"/>
                <a:ea typeface="+mn-ea"/>
                <a:cs typeface="+mn-cs"/>
              </a:defRPr>
            </a:lvl1pPr>
            <a:lvl2pPr marL="166688" marR="0" indent="-166688"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344488" marR="0" indent="-177800" algn="l" defTabSz="914400" rtl="0" eaLnBrk="1" fontAlgn="auto" latinLnBrk="0" hangingPunct="1">
              <a:lnSpc>
                <a:spcPct val="100000"/>
              </a:lnSpc>
              <a:spcBef>
                <a:spcPts val="1200"/>
              </a:spcBef>
              <a:spcAft>
                <a:spcPts val="0"/>
              </a:spcAft>
              <a:buClrTx/>
              <a:buSzTx/>
              <a:buFont typeface="Arial" pitchFamily="34" charset="0"/>
              <a:buChar char="−"/>
              <a:tabLst/>
              <a:defRPr sz="1200" kern="1200">
                <a:solidFill>
                  <a:schemeClr val="tx2"/>
                </a:solidFill>
                <a:latin typeface="+mn-lt"/>
                <a:ea typeface="+mn-ea"/>
                <a:cs typeface="+mn-cs"/>
              </a:defRPr>
            </a:lvl4pPr>
            <a:lvl5pPr marL="511175" marR="0" indent="-166688" algn="l" defTabSz="914400" rtl="0" eaLnBrk="1" fontAlgn="auto" latinLnBrk="0" hangingPunct="1">
              <a:lnSpc>
                <a:spcPct val="100000"/>
              </a:lnSpc>
              <a:spcBef>
                <a:spcPts val="1200"/>
              </a:spcBef>
              <a:spcAft>
                <a:spcPts val="0"/>
              </a:spcAft>
              <a:buClrTx/>
              <a:buSzPct val="60000"/>
              <a:buFont typeface="Courier New" panose="02070309020205020404" pitchFamily="49" charset="0"/>
              <a:buChar char="o"/>
              <a:tabLst/>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endParaRPr lang="en-GB" dirty="0">
              <a:solidFill>
                <a:srgbClr val="81BC00"/>
              </a:solidFill>
              <a:latin typeface="Arial"/>
            </a:endParaRPr>
          </a:p>
        </p:txBody>
      </p:sp>
    </p:spTree>
    <p:extLst>
      <p:ext uri="{BB962C8B-B14F-4D97-AF65-F5344CB8AC3E}">
        <p14:creationId xmlns:p14="http://schemas.microsoft.com/office/powerpoint/2010/main" val="327641747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Placeholder 22"/>
          <p:cNvGraphicFramePr>
            <a:graphicFrameLocks noGrp="1"/>
          </p:cNvGraphicFramePr>
          <p:nvPr>
            <p:ph type="chart" sz="quarter" idx="21"/>
            <p:extLst>
              <p:ext uri="{D42A27DB-BD31-4B8C-83A1-F6EECF244321}">
                <p14:modId xmlns:p14="http://schemas.microsoft.com/office/powerpoint/2010/main" val="1201501564"/>
              </p:ext>
            </p:extLst>
          </p:nvPr>
        </p:nvGraphicFramePr>
        <p:xfrm>
          <a:off x="6280150" y="2125664"/>
          <a:ext cx="457200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Placeholder 25"/>
          <p:cNvSpPr>
            <a:spLocks noGrp="1"/>
          </p:cNvSpPr>
          <p:nvPr>
            <p:ph type="body" sz="quarter" idx="22"/>
          </p:nvPr>
        </p:nvSpPr>
        <p:spPr/>
        <p:txBody>
          <a:bodyPr/>
          <a:lstStyle/>
          <a:p>
            <a:r>
              <a:rPr lang="en-US"/>
              <a:t>Chart title runs here (units)</a:t>
            </a:r>
            <a:endParaRPr lang="en-US" dirty="0"/>
          </a:p>
        </p:txBody>
      </p:sp>
      <p:sp>
        <p:nvSpPr>
          <p:cNvPr id="6" name="Text Placeholder 5"/>
          <p:cNvSpPr>
            <a:spLocks noGrp="1"/>
          </p:cNvSpPr>
          <p:nvPr>
            <p:ph type="body" sz="quarter" idx="23"/>
          </p:nvPr>
        </p:nvSpPr>
        <p:spPr/>
        <p:txBody>
          <a:bodyPr>
            <a:noAutofit/>
          </a:bodyPr>
          <a:lstStyle/>
          <a:p>
            <a:r>
              <a:rPr lang="en-US" dirty="0"/>
              <a:t>Source: </a:t>
            </a:r>
          </a:p>
          <a:p>
            <a:r>
              <a:rPr lang="en-US" dirty="0"/>
              <a:t>Note: </a:t>
            </a:r>
          </a:p>
        </p:txBody>
      </p:sp>
      <p:graphicFrame>
        <p:nvGraphicFramePr>
          <p:cNvPr id="22" name="Chart Placeholder 21"/>
          <p:cNvGraphicFramePr>
            <a:graphicFrameLocks noGrp="1"/>
          </p:cNvGraphicFramePr>
          <p:nvPr>
            <p:ph type="chart" sz="quarter" idx="24"/>
            <p:extLst>
              <p:ext uri="{D42A27DB-BD31-4B8C-83A1-F6EECF244321}">
                <p14:modId xmlns:p14="http://schemas.microsoft.com/office/powerpoint/2010/main" val="1508595496"/>
              </p:ext>
            </p:extLst>
          </p:nvPr>
        </p:nvGraphicFramePr>
        <p:xfrm>
          <a:off x="501649" y="2125664"/>
          <a:ext cx="4572000"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 Placeholder 26"/>
          <p:cNvSpPr>
            <a:spLocks noGrp="1"/>
          </p:cNvSpPr>
          <p:nvPr>
            <p:ph type="body" sz="quarter" idx="25"/>
          </p:nvPr>
        </p:nvSpPr>
        <p:spPr/>
        <p:txBody>
          <a:bodyPr/>
          <a:lstStyle/>
          <a:p>
            <a:r>
              <a:rPr lang="en-US" dirty="0"/>
              <a:t>Chart title runs here (units)</a:t>
            </a:r>
          </a:p>
        </p:txBody>
      </p:sp>
      <p:sp>
        <p:nvSpPr>
          <p:cNvPr id="3" name="Text Placeholder 2"/>
          <p:cNvSpPr>
            <a:spLocks noGrp="1"/>
          </p:cNvSpPr>
          <p:nvPr>
            <p:ph type="body" sz="quarter" idx="13"/>
          </p:nvPr>
        </p:nvSpPr>
        <p:spPr/>
        <p:txBody>
          <a:bodyPr/>
          <a:lstStyle/>
          <a:p>
            <a:pPr lvl="0"/>
            <a:r>
              <a:rPr lang="en-US" altLang="ja-JP"/>
              <a:t>Two</a:t>
            </a:r>
            <a:endParaRPr lang="en-GB" dirty="0"/>
          </a:p>
        </p:txBody>
      </p:sp>
      <p:sp>
        <p:nvSpPr>
          <p:cNvPr id="2" name="Title 1"/>
          <p:cNvSpPr>
            <a:spLocks noGrp="1"/>
          </p:cNvSpPr>
          <p:nvPr>
            <p:ph type="title"/>
          </p:nvPr>
        </p:nvSpPr>
        <p:spPr/>
        <p:txBody>
          <a:bodyPr/>
          <a:lstStyle/>
          <a:p>
            <a:r>
              <a:rPr lang="en-US" altLang="ja-JP"/>
              <a:t>Smoothed line charts </a:t>
            </a:r>
            <a:endParaRPr lang="en-US" dirty="0"/>
          </a:p>
        </p:txBody>
      </p:sp>
    </p:spTree>
    <p:extLst>
      <p:ext uri="{BB962C8B-B14F-4D97-AF65-F5344CB8AC3E}">
        <p14:creationId xmlns:p14="http://schemas.microsoft.com/office/powerpoint/2010/main" val="135053172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t>Descriptive text</a:t>
            </a:r>
          </a:p>
        </p:txBody>
      </p:sp>
      <p:sp>
        <p:nvSpPr>
          <p:cNvPr id="3" name="Title 2"/>
          <p:cNvSpPr>
            <a:spLocks noGrp="1"/>
          </p:cNvSpPr>
          <p:nvPr>
            <p:ph type="title"/>
          </p:nvPr>
        </p:nvSpPr>
        <p:spPr/>
        <p:txBody>
          <a:bodyPr/>
          <a:lstStyle/>
          <a:p>
            <a:r>
              <a:rPr lang="en-GB" dirty="0"/>
              <a:t>Highlight numbers</a:t>
            </a:r>
          </a:p>
        </p:txBody>
      </p:sp>
      <p:sp>
        <p:nvSpPr>
          <p:cNvPr id="50" name="TextBox 49"/>
          <p:cNvSpPr txBox="1"/>
          <p:nvPr/>
        </p:nvSpPr>
        <p:spPr>
          <a:xfrm>
            <a:off x="3440903" y="1854938"/>
            <a:ext cx="2051428" cy="1077218"/>
          </a:xfrm>
          <a:prstGeom prst="rect">
            <a:avLst/>
          </a:prstGeom>
          <a:noFill/>
        </p:spPr>
        <p:txBody>
          <a:bodyPr wrap="square" lIns="0" tIns="0" rIns="0" bIns="0" rtlCol="0">
            <a:noAutofit/>
          </a:bodyPr>
          <a:lstStyle/>
          <a:p>
            <a:r>
              <a:rPr lang="en-GB" sz="1100" b="1" dirty="0">
                <a:solidFill>
                  <a:schemeClr val="accent3"/>
                </a:solidFill>
              </a:rPr>
              <a:t>Maecenas </a:t>
            </a:r>
            <a:r>
              <a:rPr lang="en-GB" sz="1100" b="1" dirty="0" err="1">
                <a:solidFill>
                  <a:schemeClr val="accent3"/>
                </a:solidFill>
              </a:rPr>
              <a:t>tincidunt</a:t>
            </a:r>
            <a:endParaRPr lang="en-GB" sz="1100" b="1" dirty="0">
              <a:solidFill>
                <a:schemeClr val="accent3"/>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52" name="TextBox 51"/>
          <p:cNvSpPr txBox="1"/>
          <p:nvPr/>
        </p:nvSpPr>
        <p:spPr>
          <a:xfrm>
            <a:off x="1506096" y="2896809"/>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2"/>
                </a:solidFill>
              </a:rPr>
              <a:t>02</a:t>
            </a:r>
          </a:p>
        </p:txBody>
      </p:sp>
      <p:sp>
        <p:nvSpPr>
          <p:cNvPr id="53" name="TextBox 52"/>
          <p:cNvSpPr txBox="1"/>
          <p:nvPr/>
        </p:nvSpPr>
        <p:spPr>
          <a:xfrm>
            <a:off x="1506096" y="1629304"/>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1</a:t>
            </a:r>
          </a:p>
        </p:txBody>
      </p:sp>
      <p:sp>
        <p:nvSpPr>
          <p:cNvPr id="55" name="TextBox 54"/>
          <p:cNvSpPr txBox="1"/>
          <p:nvPr/>
        </p:nvSpPr>
        <p:spPr>
          <a:xfrm>
            <a:off x="7657077" y="1854938"/>
            <a:ext cx="2256571" cy="1077218"/>
          </a:xfrm>
          <a:prstGeom prst="rect">
            <a:avLst/>
          </a:prstGeom>
          <a:noFill/>
        </p:spPr>
        <p:txBody>
          <a:bodyPr wrap="square" lIns="0" tIns="0" rIns="0" bIns="0" rtlCol="0">
            <a:noAutofit/>
          </a:bodyPr>
          <a:lstStyle/>
          <a:p>
            <a:r>
              <a:rPr lang="en-GB" sz="1100" b="1" dirty="0">
                <a:solidFill>
                  <a:schemeClr val="tx2">
                    <a:lumMod val="75000"/>
                  </a:schemeClr>
                </a:solidFill>
              </a:rPr>
              <a:t>Maecenas </a:t>
            </a:r>
            <a:r>
              <a:rPr lang="en-GB" sz="1100" b="1" dirty="0" err="1">
                <a:solidFill>
                  <a:schemeClr val="tx2">
                    <a:lumMod val="75000"/>
                  </a:schemeClr>
                </a:solidFill>
              </a:rPr>
              <a:t>tincidunt</a:t>
            </a:r>
            <a:endParaRPr lang="en-GB" sz="1100" b="1" dirty="0">
              <a:solidFill>
                <a:schemeClr val="tx2">
                  <a:lumMod val="75000"/>
                </a:schemeClr>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56" name="TextBox 55"/>
          <p:cNvSpPr txBox="1"/>
          <p:nvPr/>
        </p:nvSpPr>
        <p:spPr>
          <a:xfrm>
            <a:off x="5713627" y="1629304"/>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tx2">
                    <a:lumMod val="75000"/>
                  </a:schemeClr>
                </a:solidFill>
              </a:rPr>
              <a:t>04</a:t>
            </a:r>
          </a:p>
        </p:txBody>
      </p:sp>
      <p:sp>
        <p:nvSpPr>
          <p:cNvPr id="58" name="TextBox 57"/>
          <p:cNvSpPr txBox="1"/>
          <p:nvPr/>
        </p:nvSpPr>
        <p:spPr>
          <a:xfrm>
            <a:off x="1506096" y="4294539"/>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1"/>
                </a:solidFill>
              </a:rPr>
              <a:t>03</a:t>
            </a:r>
          </a:p>
        </p:txBody>
      </p:sp>
      <p:sp>
        <p:nvSpPr>
          <p:cNvPr id="59" name="TextBox 58"/>
          <p:cNvSpPr txBox="1"/>
          <p:nvPr/>
        </p:nvSpPr>
        <p:spPr>
          <a:xfrm>
            <a:off x="5713627" y="2896809"/>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5"/>
                </a:solidFill>
              </a:rPr>
              <a:t>05</a:t>
            </a:r>
          </a:p>
        </p:txBody>
      </p:sp>
      <p:sp>
        <p:nvSpPr>
          <p:cNvPr id="61" name="TextBox 60"/>
          <p:cNvSpPr txBox="1"/>
          <p:nvPr/>
        </p:nvSpPr>
        <p:spPr>
          <a:xfrm>
            <a:off x="5713627" y="4294539"/>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6</a:t>
            </a:r>
          </a:p>
        </p:txBody>
      </p:sp>
      <p:sp>
        <p:nvSpPr>
          <p:cNvPr id="65" name="TextBox 64"/>
          <p:cNvSpPr txBox="1"/>
          <p:nvPr/>
        </p:nvSpPr>
        <p:spPr>
          <a:xfrm>
            <a:off x="3440903" y="3164024"/>
            <a:ext cx="2051428" cy="1077218"/>
          </a:xfrm>
          <a:prstGeom prst="rect">
            <a:avLst/>
          </a:prstGeom>
          <a:noFill/>
        </p:spPr>
        <p:txBody>
          <a:bodyPr wrap="square" lIns="0" tIns="0" rIns="0" bIns="0" rtlCol="0">
            <a:noAutofit/>
          </a:bodyPr>
          <a:lstStyle/>
          <a:p>
            <a:r>
              <a:rPr lang="en-GB" sz="1100" b="1" dirty="0">
                <a:solidFill>
                  <a:schemeClr val="accent2"/>
                </a:solidFill>
              </a:rPr>
              <a:t>Maecenas </a:t>
            </a:r>
            <a:r>
              <a:rPr lang="en-GB" sz="1100" b="1" dirty="0" err="1">
                <a:solidFill>
                  <a:schemeClr val="accent2"/>
                </a:solidFill>
              </a:rPr>
              <a:t>tincidunt</a:t>
            </a:r>
            <a:endParaRPr lang="en-GB" sz="1100" b="1" dirty="0">
              <a:solidFill>
                <a:schemeClr val="accent2"/>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67" name="TextBox 66"/>
          <p:cNvSpPr txBox="1"/>
          <p:nvPr/>
        </p:nvSpPr>
        <p:spPr>
          <a:xfrm>
            <a:off x="7657077" y="3164024"/>
            <a:ext cx="2256571" cy="1077218"/>
          </a:xfrm>
          <a:prstGeom prst="rect">
            <a:avLst/>
          </a:prstGeom>
          <a:noFill/>
        </p:spPr>
        <p:txBody>
          <a:bodyPr wrap="square" lIns="0" tIns="0" rIns="0" bIns="0" rtlCol="0">
            <a:noAutofit/>
          </a:bodyPr>
          <a:lstStyle/>
          <a:p>
            <a:r>
              <a:rPr lang="en-GB" sz="1100" b="1" dirty="0">
                <a:solidFill>
                  <a:schemeClr val="accent5"/>
                </a:solidFill>
              </a:rPr>
              <a:t>Maecenas </a:t>
            </a:r>
            <a:r>
              <a:rPr lang="en-GB" sz="1100" b="1" dirty="0" err="1">
                <a:solidFill>
                  <a:schemeClr val="accent5"/>
                </a:solidFill>
              </a:rPr>
              <a:t>tincidunt</a:t>
            </a:r>
            <a:endParaRPr lang="en-GB" sz="1100" b="1" dirty="0">
              <a:solidFill>
                <a:schemeClr val="accent5"/>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69" name="TextBox 68"/>
          <p:cNvSpPr txBox="1"/>
          <p:nvPr/>
        </p:nvSpPr>
        <p:spPr>
          <a:xfrm>
            <a:off x="3440903" y="4568595"/>
            <a:ext cx="2051428" cy="1077218"/>
          </a:xfrm>
          <a:prstGeom prst="rect">
            <a:avLst/>
          </a:prstGeom>
          <a:noFill/>
        </p:spPr>
        <p:txBody>
          <a:bodyPr wrap="square" lIns="0" tIns="0" rIns="0" bIns="0" rtlCol="0">
            <a:noAutofit/>
          </a:bodyPr>
          <a:lstStyle/>
          <a:p>
            <a:r>
              <a:rPr lang="en-GB" sz="1100" b="1" dirty="0">
                <a:solidFill>
                  <a:schemeClr val="accent1"/>
                </a:solidFill>
              </a:rPr>
              <a:t>Maecenas </a:t>
            </a:r>
            <a:r>
              <a:rPr lang="en-GB" sz="1100" b="1" dirty="0" err="1">
                <a:solidFill>
                  <a:schemeClr val="accent1"/>
                </a:solidFill>
              </a:rPr>
              <a:t>tincidunt</a:t>
            </a:r>
            <a:endParaRPr lang="en-GB" sz="1100" b="1" dirty="0">
              <a:solidFill>
                <a:schemeClr val="accent1"/>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
        <p:nvSpPr>
          <p:cNvPr id="71" name="TextBox 70"/>
          <p:cNvSpPr txBox="1"/>
          <p:nvPr/>
        </p:nvSpPr>
        <p:spPr>
          <a:xfrm>
            <a:off x="7657077" y="4568595"/>
            <a:ext cx="2256571" cy="1077218"/>
          </a:xfrm>
          <a:prstGeom prst="rect">
            <a:avLst/>
          </a:prstGeom>
          <a:noFill/>
        </p:spPr>
        <p:txBody>
          <a:bodyPr wrap="square" lIns="0" tIns="0" rIns="0" bIns="0" rtlCol="0">
            <a:noAutofit/>
          </a:bodyPr>
          <a:lstStyle/>
          <a:p>
            <a:r>
              <a:rPr lang="en-GB" sz="1100" b="1" dirty="0">
                <a:solidFill>
                  <a:schemeClr val="accent3"/>
                </a:solidFill>
              </a:rPr>
              <a:t>Maecenas </a:t>
            </a:r>
            <a:r>
              <a:rPr lang="en-GB" sz="1100" b="1" dirty="0" err="1">
                <a:solidFill>
                  <a:schemeClr val="accent3"/>
                </a:solidFill>
              </a:rPr>
              <a:t>tincidunt</a:t>
            </a:r>
            <a:endParaRPr lang="en-GB" sz="1100" b="1" dirty="0">
              <a:solidFill>
                <a:schemeClr val="accent3"/>
              </a:solidFill>
            </a:endParaRPr>
          </a:p>
          <a:p>
            <a:r>
              <a:rPr lang="en-GB" sz="1100" dirty="0" err="1">
                <a:solidFill>
                  <a:srgbClr val="53565A"/>
                </a:solidFill>
              </a:rPr>
              <a:t>fringilla</a:t>
            </a:r>
            <a:r>
              <a:rPr lang="en-GB" sz="1100" dirty="0">
                <a:solidFill>
                  <a:srgbClr val="53565A"/>
                </a:solidFill>
              </a:rPr>
              <a:t> </a:t>
            </a:r>
            <a:r>
              <a:rPr lang="en-GB" sz="1100" dirty="0" err="1">
                <a:solidFill>
                  <a:srgbClr val="53565A"/>
                </a:solidFill>
              </a:rPr>
              <a:t>felis</a:t>
            </a:r>
            <a:r>
              <a:rPr lang="en-GB" sz="1100" dirty="0">
                <a:solidFill>
                  <a:srgbClr val="53565A"/>
                </a:solidFill>
              </a:rPr>
              <a:t> </a:t>
            </a:r>
            <a:r>
              <a:rPr lang="en-GB" sz="1100" dirty="0" err="1">
                <a:solidFill>
                  <a:srgbClr val="53565A"/>
                </a:solidFill>
              </a:rPr>
              <a:t>vel</a:t>
            </a:r>
            <a:endParaRPr lang="en-GB" sz="1100" dirty="0">
              <a:solidFill>
                <a:srgbClr val="53565A"/>
              </a:solidFill>
            </a:endParaRPr>
          </a:p>
          <a:p>
            <a:r>
              <a:rPr lang="en-GB" sz="1100" dirty="0" err="1">
                <a:solidFill>
                  <a:srgbClr val="53565A"/>
                </a:solidFill>
              </a:rPr>
              <a:t>bibendum</a:t>
            </a:r>
            <a:r>
              <a:rPr lang="en-GB" sz="1100" dirty="0">
                <a:solidFill>
                  <a:srgbClr val="53565A"/>
                </a:solidFill>
              </a:rPr>
              <a:t>. Maecenas</a:t>
            </a:r>
          </a:p>
          <a:p>
            <a:r>
              <a:rPr lang="en-GB" sz="1100" dirty="0" err="1">
                <a:solidFill>
                  <a:srgbClr val="53565A"/>
                </a:solidFill>
              </a:rPr>
              <a:t>porttitor</a:t>
            </a:r>
            <a:r>
              <a:rPr lang="en-GB" sz="1100" dirty="0">
                <a:solidFill>
                  <a:srgbClr val="53565A"/>
                </a:solidFill>
              </a:rPr>
              <a:t> </a:t>
            </a:r>
            <a:r>
              <a:rPr lang="en-GB" sz="1100" dirty="0" err="1">
                <a:solidFill>
                  <a:srgbClr val="53565A"/>
                </a:solidFill>
              </a:rPr>
              <a:t>tortor</a:t>
            </a:r>
            <a:r>
              <a:rPr lang="en-GB" sz="1100" dirty="0">
                <a:solidFill>
                  <a:srgbClr val="53565A"/>
                </a:solidFill>
              </a:rPr>
              <a:t> convallis</a:t>
            </a:r>
          </a:p>
          <a:p>
            <a:r>
              <a:rPr lang="en-GB" sz="1100" dirty="0">
                <a:solidFill>
                  <a:srgbClr val="53565A"/>
                </a:solidFill>
              </a:rPr>
              <a:t>quam </a:t>
            </a:r>
            <a:r>
              <a:rPr lang="en-GB" sz="1100" dirty="0" err="1">
                <a:solidFill>
                  <a:srgbClr val="53565A"/>
                </a:solidFill>
              </a:rPr>
              <a:t>aliquet</a:t>
            </a:r>
            <a:r>
              <a:rPr lang="en-GB" sz="1100" dirty="0">
                <a:solidFill>
                  <a:srgbClr val="53565A"/>
                </a:solidFill>
              </a:rPr>
              <a:t> </a:t>
            </a:r>
            <a:r>
              <a:rPr lang="en-GB" sz="1100" dirty="0" err="1">
                <a:solidFill>
                  <a:srgbClr val="53565A"/>
                </a:solidFill>
              </a:rPr>
              <a:t>viverra</a:t>
            </a:r>
            <a:r>
              <a:rPr lang="en-GB" sz="1100" dirty="0">
                <a:solidFill>
                  <a:srgbClr val="53565A"/>
                </a:solidFill>
              </a:rPr>
              <a:t>.</a:t>
            </a:r>
          </a:p>
        </p:txBody>
      </p:sp>
    </p:spTree>
    <p:extLst>
      <p:ext uri="{BB962C8B-B14F-4D97-AF65-F5344CB8AC3E}">
        <p14:creationId xmlns:p14="http://schemas.microsoft.com/office/powerpoint/2010/main" val="3767364715"/>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pPr lvl="2"/>
            <a:r>
              <a:rPr lang="en-GB" dirty="0"/>
              <a:t>This is a level 1 bullet. This is dummy text it is not here to be read</a:t>
            </a:r>
          </a:p>
          <a:p>
            <a:pPr lvl="2"/>
            <a:r>
              <a:rPr lang="en-GB" dirty="0"/>
              <a:t>This is a level 1 bullet. This is dummy text it is not here to be read</a:t>
            </a:r>
          </a:p>
          <a:p>
            <a:pPr lvl="2"/>
            <a:r>
              <a:rPr lang="en-GB" dirty="0"/>
              <a:t>This is a level 1 bullet. This is dummy text it is not here to be read</a:t>
            </a:r>
          </a:p>
          <a:p>
            <a:pPr lvl="3"/>
            <a:r>
              <a:rPr lang="en-GB" dirty="0"/>
              <a:t>This is a level 2 bullet</a:t>
            </a:r>
          </a:p>
          <a:p>
            <a:pPr lvl="3"/>
            <a:r>
              <a:rPr lang="en-GB" dirty="0"/>
              <a:t>This is a level 2 bullet</a:t>
            </a:r>
          </a:p>
          <a:p>
            <a:pPr lvl="3"/>
            <a:r>
              <a:rPr lang="en-GB" dirty="0"/>
              <a:t>This is a level 2 bullet</a:t>
            </a:r>
          </a:p>
          <a:p>
            <a:endParaRPr lang="en-US" dirty="0"/>
          </a:p>
        </p:txBody>
      </p:sp>
      <p:graphicFrame>
        <p:nvGraphicFramePr>
          <p:cNvPr id="24" name="Chart Placeholder 22"/>
          <p:cNvGraphicFramePr>
            <a:graphicFrameLocks noGrp="1"/>
          </p:cNvGraphicFramePr>
          <p:nvPr>
            <p:ph type="chart" sz="quarter" idx="21"/>
            <p:extLst>
              <p:ext uri="{D42A27DB-BD31-4B8C-83A1-F6EECF244321}">
                <p14:modId xmlns:p14="http://schemas.microsoft.com/office/powerpoint/2010/main" val="949198714"/>
              </p:ext>
            </p:extLst>
          </p:nvPr>
        </p:nvGraphicFramePr>
        <p:xfrm>
          <a:off x="6280150" y="2125664"/>
          <a:ext cx="5349240"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p:txBody>
          <a:bodyPr/>
          <a:lstStyle/>
          <a:p>
            <a:r>
              <a:rPr lang="en-US" dirty="0"/>
              <a:t>Chart title runs here (units)</a:t>
            </a:r>
          </a:p>
        </p:txBody>
      </p:sp>
      <p:sp>
        <p:nvSpPr>
          <p:cNvPr id="14" name="Text Placeholder 13"/>
          <p:cNvSpPr>
            <a:spLocks noGrp="1"/>
          </p:cNvSpPr>
          <p:nvPr>
            <p:ph type="body" sz="quarter" idx="23"/>
          </p:nvPr>
        </p:nvSpPr>
        <p:spPr/>
        <p:txBody>
          <a:bodyPr>
            <a:noAutofit/>
          </a:bodyPr>
          <a:lstStyle/>
          <a:p>
            <a:r>
              <a:rPr lang="en-US"/>
              <a:t>Source: </a:t>
            </a:r>
          </a:p>
          <a:p>
            <a:r>
              <a:rPr lang="en-US"/>
              <a:t>Note: </a:t>
            </a:r>
            <a:endParaRPr lang="en-US" dirty="0"/>
          </a:p>
        </p:txBody>
      </p:sp>
      <p:sp>
        <p:nvSpPr>
          <p:cNvPr id="13" name="Text Placeholder 12"/>
          <p:cNvSpPr>
            <a:spLocks noGrp="1"/>
          </p:cNvSpPr>
          <p:nvPr>
            <p:ph type="body" sz="quarter" idx="13"/>
          </p:nvPr>
        </p:nvSpPr>
        <p:spPr/>
        <p:txBody>
          <a:bodyPr/>
          <a:lstStyle/>
          <a:p>
            <a:pPr lvl="0"/>
            <a:r>
              <a:rPr lang="en-US" altLang="ja-JP"/>
              <a:t>Chart with text</a:t>
            </a:r>
            <a:endParaRPr lang="en-GB" dirty="0"/>
          </a:p>
        </p:txBody>
      </p:sp>
      <p:sp>
        <p:nvSpPr>
          <p:cNvPr id="2" name="Title 1"/>
          <p:cNvSpPr>
            <a:spLocks noGrp="1"/>
          </p:cNvSpPr>
          <p:nvPr>
            <p:ph type="title"/>
          </p:nvPr>
        </p:nvSpPr>
        <p:spPr/>
        <p:txBody>
          <a:bodyPr/>
          <a:lstStyle/>
          <a:p>
            <a:r>
              <a:rPr lang="en-US" altLang="ja-JP"/>
              <a:t>Smoothed line charts </a:t>
            </a:r>
            <a:endParaRPr lang="en-US" dirty="0"/>
          </a:p>
        </p:txBody>
      </p:sp>
    </p:spTree>
    <p:extLst>
      <p:ext uri="{BB962C8B-B14F-4D97-AF65-F5344CB8AC3E}">
        <p14:creationId xmlns:p14="http://schemas.microsoft.com/office/powerpoint/2010/main" val="3748179659"/>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Columns</a:t>
            </a:r>
            <a:endParaRPr lang="en-GB" dirty="0"/>
          </a:p>
        </p:txBody>
      </p:sp>
      <p:graphicFrame>
        <p:nvGraphicFramePr>
          <p:cNvPr id="15" name="Chart Placeholder 14"/>
          <p:cNvGraphicFramePr>
            <a:graphicFrameLocks noGrp="1"/>
          </p:cNvGraphicFramePr>
          <p:nvPr>
            <p:ph type="chart" sz="quarter" idx="15"/>
            <p:extLst>
              <p:ext uri="{D42A27DB-BD31-4B8C-83A1-F6EECF244321}">
                <p14:modId xmlns:p14="http://schemas.microsoft.com/office/powerpoint/2010/main" val="376636717"/>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16" name="Text Placeholder 15"/>
          <p:cNvSpPr>
            <a:spLocks noGrp="1"/>
          </p:cNvSpPr>
          <p:nvPr>
            <p:ph type="body" sz="quarter" idx="23"/>
          </p:nvPr>
        </p:nvSpPr>
        <p:spPr/>
        <p:txBody>
          <a:bodyPr>
            <a:noAutofit/>
          </a:bodyPr>
          <a:lstStyle/>
          <a:p>
            <a:r>
              <a:rPr lang="en-US"/>
              <a:t>Source: </a:t>
            </a:r>
          </a:p>
          <a:p>
            <a:r>
              <a:rPr lang="en-US"/>
              <a:t>Note: </a:t>
            </a:r>
            <a:endParaRPr lang="en-US" dirty="0"/>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433030765"/>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Columns </a:t>
            </a:r>
            <a:r>
              <a:rPr lang="en-US"/>
              <a:t>without gaps</a:t>
            </a:r>
            <a:endParaRPr lang="en-GB"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316285605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Autofit/>
          </a:bodyPr>
          <a:lstStyle/>
          <a:p>
            <a:r>
              <a:rPr lang="en-US" dirty="0"/>
              <a:t>Source: </a:t>
            </a:r>
          </a:p>
          <a:p>
            <a:r>
              <a:rPr lang="en-US" dirty="0"/>
              <a:t>Note: </a:t>
            </a:r>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895991426"/>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B</a:t>
            </a:r>
            <a:r>
              <a:rPr lang="en-US"/>
              <a:t>ars</a:t>
            </a:r>
            <a:endParaRPr lang="en-GB"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51024085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7"/>
          <p:cNvSpPr>
            <a:spLocks noGrp="1"/>
          </p:cNvSpPr>
          <p:nvPr>
            <p:ph type="body" sz="quarter" idx="18"/>
          </p:nvPr>
        </p:nvSpPr>
        <p:spPr/>
        <p:txBody>
          <a:bodyPr/>
          <a:lstStyle/>
          <a:p>
            <a:r>
              <a:rPr lang="en-US" dirty="0"/>
              <a:t>Chart title runs here (units)</a:t>
            </a:r>
          </a:p>
        </p:txBody>
      </p:sp>
      <p:sp>
        <p:nvSpPr>
          <p:cNvPr id="10" name="Text Placeholder 9"/>
          <p:cNvSpPr>
            <a:spLocks noGrp="1"/>
          </p:cNvSpPr>
          <p:nvPr>
            <p:ph type="body" sz="quarter" idx="23"/>
          </p:nvPr>
        </p:nvSpPr>
        <p:spPr/>
        <p:txBody>
          <a:bodyPr>
            <a:noAutofit/>
          </a:bodyPr>
          <a:lstStyle/>
          <a:p>
            <a:r>
              <a:rPr lang="en-US"/>
              <a:t>Source: </a:t>
            </a:r>
          </a:p>
          <a:p>
            <a:r>
              <a:rPr lang="en-US"/>
              <a:t>Note: </a:t>
            </a:r>
            <a:endParaRPr lang="en-US" dirty="0"/>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1905957652"/>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en-US" altLang="ja-JP"/>
              <a:t>B</a:t>
            </a:r>
            <a:r>
              <a:rPr lang="en-US"/>
              <a:t>ars with</a:t>
            </a:r>
            <a:r>
              <a:rPr lang="en-US" altLang="ja-JP"/>
              <a:t>out</a:t>
            </a:r>
            <a:r>
              <a:rPr lang="en-US"/>
              <a:t> gaps</a:t>
            </a:r>
            <a:endParaRPr lang="en-GB"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84415954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8"/>
          </p:nvPr>
        </p:nvSpPr>
        <p:spPr/>
        <p:txBody>
          <a:bodyPr/>
          <a:lstStyle/>
          <a:p>
            <a:r>
              <a:rPr lang="en-US" dirty="0"/>
              <a:t>Chart title runs here (units)</a:t>
            </a:r>
          </a:p>
        </p:txBody>
      </p:sp>
      <p:sp>
        <p:nvSpPr>
          <p:cNvPr id="6" name="Text Placeholder 5"/>
          <p:cNvSpPr>
            <a:spLocks noGrp="1"/>
          </p:cNvSpPr>
          <p:nvPr>
            <p:ph type="body" sz="quarter" idx="23"/>
          </p:nvPr>
        </p:nvSpPr>
        <p:spPr/>
        <p:txBody>
          <a:bodyPr>
            <a:noAutofit/>
          </a:bodyPr>
          <a:lstStyle/>
          <a:p>
            <a:r>
              <a:rPr lang="en-US"/>
              <a:t>Source: </a:t>
            </a:r>
          </a:p>
          <a:p>
            <a:r>
              <a:rPr lang="en-US"/>
              <a:t>Note: </a:t>
            </a:r>
            <a:endParaRPr lang="en-US" dirty="0"/>
          </a:p>
        </p:txBody>
      </p:sp>
      <p:sp>
        <p:nvSpPr>
          <p:cNvPr id="12" name="Title 11"/>
          <p:cNvSpPr>
            <a:spLocks noGrp="1"/>
          </p:cNvSpPr>
          <p:nvPr>
            <p:ph type="title"/>
          </p:nvPr>
        </p:nvSpPr>
        <p:spPr/>
        <p:txBody>
          <a:bodyPr/>
          <a:lstStyle/>
          <a:p>
            <a:r>
              <a:rPr lang="en-US" altLang="ja-JP"/>
              <a:t>Waterfall </a:t>
            </a:r>
            <a:endParaRPr lang="en-US" dirty="0"/>
          </a:p>
        </p:txBody>
      </p:sp>
    </p:spTree>
    <p:extLst>
      <p:ext uri="{BB962C8B-B14F-4D97-AF65-F5344CB8AC3E}">
        <p14:creationId xmlns:p14="http://schemas.microsoft.com/office/powerpoint/2010/main" val="3775256467"/>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20" name="Chart Placeholder 15"/>
          <p:cNvGraphicFramePr>
            <a:graphicFrameLocks noGrp="1"/>
          </p:cNvGraphicFramePr>
          <p:nvPr>
            <p:ph type="chart" sz="quarter" idx="15"/>
            <p:extLst>
              <p:ext uri="{D42A27DB-BD31-4B8C-83A1-F6EECF244321}">
                <p14:modId xmlns:p14="http://schemas.microsoft.com/office/powerpoint/2010/main" val="1351405090"/>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US" dirty="0"/>
              <a:t>Chart title runs here (units)</a:t>
            </a:r>
          </a:p>
        </p:txBody>
      </p:sp>
      <p:sp>
        <p:nvSpPr>
          <p:cNvPr id="7" name="Text Placeholder 6"/>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t>High-low</a:t>
            </a:r>
            <a:r>
              <a:rPr lang="en-US" altLang="ja-JP"/>
              <a:t>-median c</a:t>
            </a:r>
            <a:r>
              <a:rPr lang="en-US"/>
              <a:t>hart</a:t>
            </a:r>
            <a:r>
              <a:rPr lang="en-US" altLang="ja-JP"/>
              <a:t> </a:t>
            </a:r>
            <a:endParaRPr lang="en-US" dirty="0"/>
          </a:p>
        </p:txBody>
      </p:sp>
    </p:spTree>
    <p:extLst>
      <p:ext uri="{BB962C8B-B14F-4D97-AF65-F5344CB8AC3E}">
        <p14:creationId xmlns:p14="http://schemas.microsoft.com/office/powerpoint/2010/main" val="317785877"/>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17" name="Chart Placeholder 16"/>
          <p:cNvGraphicFramePr>
            <a:graphicFrameLocks noGrp="1"/>
          </p:cNvGraphicFramePr>
          <p:nvPr>
            <p:ph type="chart" sz="quarter" idx="15"/>
            <p:extLst>
              <p:ext uri="{D42A27DB-BD31-4B8C-83A1-F6EECF244321}">
                <p14:modId xmlns:p14="http://schemas.microsoft.com/office/powerpoint/2010/main" val="4258848834"/>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18"/>
          <p:cNvSpPr>
            <a:spLocks noGrp="1"/>
          </p:cNvSpPr>
          <p:nvPr>
            <p:ph type="body" sz="quarter" idx="18"/>
          </p:nvPr>
        </p:nvSpPr>
        <p:spPr/>
        <p:txBody>
          <a:bodyPr/>
          <a:lstStyle/>
          <a:p>
            <a:r>
              <a:rPr lang="en-US" dirty="0"/>
              <a:t>Chart title runs here (units)</a:t>
            </a:r>
          </a:p>
        </p:txBody>
      </p:sp>
      <p:sp>
        <p:nvSpPr>
          <p:cNvPr id="7" name="Text Placeholder 6"/>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t>Stock/</a:t>
            </a:r>
            <a:r>
              <a:rPr lang="en-US" altLang="ja-JP"/>
              <a:t>e</a:t>
            </a:r>
            <a:r>
              <a:rPr lang="en-US"/>
              <a:t>levator </a:t>
            </a:r>
            <a:r>
              <a:rPr lang="en-US" altLang="ja-JP"/>
              <a:t>c</a:t>
            </a:r>
            <a:r>
              <a:rPr lang="en-US"/>
              <a:t>hart</a:t>
            </a:r>
            <a:r>
              <a:rPr lang="en-US" altLang="ja-JP"/>
              <a:t> </a:t>
            </a:r>
            <a:endParaRPr lang="en-US" dirty="0"/>
          </a:p>
        </p:txBody>
      </p:sp>
    </p:spTree>
    <p:extLst>
      <p:ext uri="{BB962C8B-B14F-4D97-AF65-F5344CB8AC3E}">
        <p14:creationId xmlns:p14="http://schemas.microsoft.com/office/powerpoint/2010/main" val="636265116"/>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2897477191"/>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18"/>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Autofit/>
          </a:bodyPr>
          <a:lstStyle/>
          <a:p>
            <a:r>
              <a:rPr lang="en-US"/>
              <a:t>Source:</a:t>
            </a:r>
          </a:p>
          <a:p>
            <a:r>
              <a:rPr lang="en-US"/>
              <a:t>Note: </a:t>
            </a:r>
            <a:endParaRPr lang="en-US" dirty="0"/>
          </a:p>
        </p:txBody>
      </p:sp>
      <p:sp>
        <p:nvSpPr>
          <p:cNvPr id="2" name="Title 1"/>
          <p:cNvSpPr>
            <a:spLocks noGrp="1"/>
          </p:cNvSpPr>
          <p:nvPr>
            <p:ph type="title"/>
          </p:nvPr>
        </p:nvSpPr>
        <p:spPr/>
        <p:txBody>
          <a:bodyPr/>
          <a:lstStyle/>
          <a:p>
            <a:r>
              <a:rPr lang="en-US"/>
              <a:t>Scatter chart</a:t>
            </a:r>
            <a:r>
              <a:rPr lang="en-US" altLang="ja-JP"/>
              <a:t> </a:t>
            </a:r>
            <a:endParaRPr lang="en-US" dirty="0"/>
          </a:p>
        </p:txBody>
      </p:sp>
    </p:spTree>
    <p:extLst>
      <p:ext uri="{BB962C8B-B14F-4D97-AF65-F5344CB8AC3E}">
        <p14:creationId xmlns:p14="http://schemas.microsoft.com/office/powerpoint/2010/main" val="3995844030"/>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t>Subtitle runs here</a:t>
            </a:r>
            <a:endParaRPr lang="en-US" dirty="0"/>
          </a:p>
        </p:txBody>
      </p:sp>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1452781926"/>
              </p:ext>
            </p:extLst>
          </p:nvPr>
        </p:nvGraphicFramePr>
        <p:xfrm>
          <a:off x="501650" y="2052638"/>
          <a:ext cx="111887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8"/>
          </p:nvPr>
        </p:nvSpPr>
        <p:spPr/>
        <p:txBody>
          <a:bodyPr/>
          <a:lstStyle/>
          <a:p>
            <a:r>
              <a:rPr lang="en-US" dirty="0"/>
              <a:t>Chart title runs here (units)</a:t>
            </a:r>
          </a:p>
        </p:txBody>
      </p:sp>
      <p:sp>
        <p:nvSpPr>
          <p:cNvPr id="18" name="Text Placeholder 17"/>
          <p:cNvSpPr>
            <a:spLocks noGrp="1"/>
          </p:cNvSpPr>
          <p:nvPr>
            <p:ph type="body" sz="quarter" idx="23"/>
          </p:nvPr>
        </p:nvSpPr>
        <p:spPr/>
        <p:txBody>
          <a:bodyPr>
            <a:noAutofit/>
          </a:bodyPr>
          <a:lstStyle/>
          <a:p>
            <a:r>
              <a:rPr lang="en-US"/>
              <a:t>Source: </a:t>
            </a:r>
          </a:p>
          <a:p>
            <a:r>
              <a:rPr lang="en-US"/>
              <a:t>Note: </a:t>
            </a:r>
            <a:endParaRPr lang="en-US" dirty="0"/>
          </a:p>
        </p:txBody>
      </p:sp>
      <p:sp>
        <p:nvSpPr>
          <p:cNvPr id="2" name="Title 1"/>
          <p:cNvSpPr>
            <a:spLocks noGrp="1"/>
          </p:cNvSpPr>
          <p:nvPr>
            <p:ph type="title"/>
          </p:nvPr>
        </p:nvSpPr>
        <p:spPr/>
        <p:txBody>
          <a:bodyPr/>
          <a:lstStyle/>
          <a:p>
            <a:r>
              <a:rPr lang="en-US"/>
              <a:t>Bubble chart</a:t>
            </a:r>
            <a:r>
              <a:rPr lang="en-US" altLang="ja-JP"/>
              <a:t> </a:t>
            </a:r>
            <a:endParaRPr lang="en-US" dirty="0"/>
          </a:p>
        </p:txBody>
      </p:sp>
    </p:spTree>
    <p:extLst>
      <p:ext uri="{BB962C8B-B14F-4D97-AF65-F5344CB8AC3E}">
        <p14:creationId xmlns:p14="http://schemas.microsoft.com/office/powerpoint/2010/main" val="3087479646"/>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Subtitle runs here</a:t>
            </a:r>
            <a:endParaRPr lang="en-US" dirty="0"/>
          </a:p>
        </p:txBody>
      </p:sp>
      <p:sp>
        <p:nvSpPr>
          <p:cNvPr id="668673" name="Title 1"/>
          <p:cNvSpPr>
            <a:spLocks noGrp="1"/>
          </p:cNvSpPr>
          <p:nvPr>
            <p:ph type="title"/>
          </p:nvPr>
        </p:nvSpPr>
        <p:spPr/>
        <p:txBody>
          <a:bodyPr/>
          <a:lstStyle/>
          <a:p>
            <a:r>
              <a:rPr lang="en-US" altLang="ja-JP"/>
              <a:t>Driver tree chart </a:t>
            </a:r>
            <a:endParaRPr lang="en-US" dirty="0"/>
          </a:p>
        </p:txBody>
      </p:sp>
      <p:grpSp>
        <p:nvGrpSpPr>
          <p:cNvPr id="3" name="Group 2">
            <a:extLst>
              <a:ext uri="{FF2B5EF4-FFF2-40B4-BE49-F238E27FC236}">
                <a16:creationId xmlns:a16="http://schemas.microsoft.com/office/drawing/2014/main" id="{A80CF369-20CD-4064-AE5B-D2A0B77783AD}"/>
              </a:ext>
            </a:extLst>
          </p:cNvPr>
          <p:cNvGrpSpPr/>
          <p:nvPr/>
        </p:nvGrpSpPr>
        <p:grpSpPr>
          <a:xfrm>
            <a:off x="515937" y="1976438"/>
            <a:ext cx="11174413" cy="3796227"/>
            <a:chOff x="1889760" y="1976438"/>
            <a:chExt cx="8416290" cy="3796227"/>
          </a:xfrm>
        </p:grpSpPr>
        <p:cxnSp>
          <p:nvCxnSpPr>
            <p:cNvPr id="42" name="Elbow Connector 41"/>
            <p:cNvCxnSpPr>
              <a:stCxn id="44" idx="3"/>
              <a:endCxn id="53" idx="1"/>
            </p:cNvCxnSpPr>
            <p:nvPr/>
          </p:nvCxnSpPr>
          <p:spPr>
            <a:xfrm flipV="1">
              <a:off x="7242520" y="2885021"/>
              <a:ext cx="686091" cy="514993"/>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44" idx="3"/>
              <a:endCxn id="60" idx="1"/>
            </p:cNvCxnSpPr>
            <p:nvPr/>
          </p:nvCxnSpPr>
          <p:spPr>
            <a:xfrm>
              <a:off x="7242520" y="3400013"/>
              <a:ext cx="686091" cy="11984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2" name="Elbow Connector 31"/>
            <p:cNvCxnSpPr>
              <a:stCxn id="14" idx="3"/>
              <a:endCxn id="44" idx="1"/>
            </p:cNvCxnSpPr>
            <p:nvPr/>
          </p:nvCxnSpPr>
          <p:spPr>
            <a:xfrm flipV="1">
              <a:off x="4267201" y="3400013"/>
              <a:ext cx="597879" cy="8662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14" idx="3"/>
              <a:endCxn id="48" idx="1"/>
            </p:cNvCxnSpPr>
            <p:nvPr/>
          </p:nvCxnSpPr>
          <p:spPr>
            <a:xfrm>
              <a:off x="4267201" y="4266299"/>
              <a:ext cx="597879" cy="866286"/>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48" name="Rectangle 47"/>
            <p:cNvSpPr>
              <a:spLocks noChangeArrowheads="1"/>
            </p:cNvSpPr>
            <p:nvPr/>
          </p:nvSpPr>
          <p:spPr bwMode="auto">
            <a:xfrm>
              <a:off x="4865079" y="4492505"/>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51" name="Chart 50"/>
            <p:cNvGraphicFramePr/>
            <p:nvPr>
              <p:extLst>
                <p:ext uri="{D42A27DB-BD31-4B8C-83A1-F6EECF244321}">
                  <p14:modId xmlns:p14="http://schemas.microsoft.com/office/powerpoint/2010/main" val="1295556369"/>
                </p:ext>
              </p:extLst>
            </p:nvPr>
          </p:nvGraphicFramePr>
          <p:xfrm>
            <a:off x="4964014" y="4557278"/>
            <a:ext cx="2179573" cy="1195057"/>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 Box 10"/>
            <p:cNvSpPr txBox="1">
              <a:spLocks noChangeArrowheads="1"/>
            </p:cNvSpPr>
            <p:nvPr/>
          </p:nvSpPr>
          <p:spPr bwMode="auto">
            <a:xfrm>
              <a:off x="4865079" y="4224003"/>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14" name="Rectangle 13"/>
            <p:cNvSpPr>
              <a:spLocks noChangeArrowheads="1"/>
            </p:cNvSpPr>
            <p:nvPr/>
          </p:nvSpPr>
          <p:spPr bwMode="auto">
            <a:xfrm>
              <a:off x="1889760" y="3626219"/>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37" name="Chart 36"/>
            <p:cNvGraphicFramePr/>
            <p:nvPr>
              <p:extLst>
                <p:ext uri="{D42A27DB-BD31-4B8C-83A1-F6EECF244321}">
                  <p14:modId xmlns:p14="http://schemas.microsoft.com/office/powerpoint/2010/main" val="3565654990"/>
                </p:ext>
              </p:extLst>
            </p:nvPr>
          </p:nvGraphicFramePr>
          <p:xfrm>
            <a:off x="1988695" y="3690992"/>
            <a:ext cx="2179573" cy="1195057"/>
          </p:xfrm>
          <a:graphic>
            <a:graphicData uri="http://schemas.openxmlformats.org/drawingml/2006/chart">
              <c:chart xmlns:c="http://schemas.openxmlformats.org/drawingml/2006/chart" xmlns:r="http://schemas.openxmlformats.org/officeDocument/2006/relationships" r:id="rId4"/>
            </a:graphicData>
          </a:graphic>
        </p:graphicFrame>
        <p:sp>
          <p:nvSpPr>
            <p:cNvPr id="668708" name="Text Box 10"/>
            <p:cNvSpPr txBox="1">
              <a:spLocks noChangeArrowheads="1"/>
            </p:cNvSpPr>
            <p:nvPr/>
          </p:nvSpPr>
          <p:spPr bwMode="auto">
            <a:xfrm>
              <a:off x="1889760" y="3357717"/>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44" name="Rectangle 43"/>
            <p:cNvSpPr>
              <a:spLocks noChangeArrowheads="1"/>
            </p:cNvSpPr>
            <p:nvPr/>
          </p:nvSpPr>
          <p:spPr bwMode="auto">
            <a:xfrm>
              <a:off x="4865079" y="2759933"/>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46" name="Chart 45"/>
            <p:cNvGraphicFramePr/>
            <p:nvPr>
              <p:extLst>
                <p:ext uri="{D42A27DB-BD31-4B8C-83A1-F6EECF244321}">
                  <p14:modId xmlns:p14="http://schemas.microsoft.com/office/powerpoint/2010/main" val="3424659856"/>
                </p:ext>
              </p:extLst>
            </p:nvPr>
          </p:nvGraphicFramePr>
          <p:xfrm>
            <a:off x="4964014" y="2824706"/>
            <a:ext cx="2179573" cy="1195057"/>
          </p:xfrm>
          <a:graphic>
            <a:graphicData uri="http://schemas.openxmlformats.org/drawingml/2006/chart">
              <c:chart xmlns:c="http://schemas.openxmlformats.org/drawingml/2006/chart" xmlns:r="http://schemas.openxmlformats.org/officeDocument/2006/relationships" r:id="rId5"/>
            </a:graphicData>
          </a:graphic>
        </p:graphicFrame>
        <p:sp>
          <p:nvSpPr>
            <p:cNvPr id="668706" name="Text Box 10"/>
            <p:cNvSpPr txBox="1">
              <a:spLocks noChangeArrowheads="1"/>
            </p:cNvSpPr>
            <p:nvPr/>
          </p:nvSpPr>
          <p:spPr bwMode="auto">
            <a:xfrm>
              <a:off x="4865079" y="2487429"/>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53" name="Rectangle 52"/>
            <p:cNvSpPr>
              <a:spLocks noChangeArrowheads="1"/>
            </p:cNvSpPr>
            <p:nvPr/>
          </p:nvSpPr>
          <p:spPr bwMode="auto">
            <a:xfrm>
              <a:off x="7928610" y="2244940"/>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54" name="Chart 53"/>
            <p:cNvGraphicFramePr/>
            <p:nvPr>
              <p:extLst>
                <p:ext uri="{D42A27DB-BD31-4B8C-83A1-F6EECF244321}">
                  <p14:modId xmlns:p14="http://schemas.microsoft.com/office/powerpoint/2010/main" val="1345855658"/>
                </p:ext>
              </p:extLst>
            </p:nvPr>
          </p:nvGraphicFramePr>
          <p:xfrm>
            <a:off x="8027545" y="2309713"/>
            <a:ext cx="2179573" cy="1195057"/>
          </p:xfrm>
          <a:graphic>
            <a:graphicData uri="http://schemas.openxmlformats.org/drawingml/2006/chart">
              <c:chart xmlns:c="http://schemas.openxmlformats.org/drawingml/2006/chart" xmlns:r="http://schemas.openxmlformats.org/officeDocument/2006/relationships" r:id="rId6"/>
            </a:graphicData>
          </a:graphic>
        </p:graphicFrame>
        <p:sp>
          <p:nvSpPr>
            <p:cNvPr id="55" name="Text Box 10"/>
            <p:cNvSpPr txBox="1">
              <a:spLocks noChangeArrowheads="1"/>
            </p:cNvSpPr>
            <p:nvPr/>
          </p:nvSpPr>
          <p:spPr bwMode="auto">
            <a:xfrm>
              <a:off x="7928610" y="1976438"/>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sp>
          <p:nvSpPr>
            <p:cNvPr id="60" name="Rectangle 59"/>
            <p:cNvSpPr>
              <a:spLocks noChangeArrowheads="1"/>
            </p:cNvSpPr>
            <p:nvPr/>
          </p:nvSpPr>
          <p:spPr bwMode="auto">
            <a:xfrm>
              <a:off x="7928610" y="3958419"/>
              <a:ext cx="2377440" cy="1280160"/>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graphicFrame>
          <p:nvGraphicFramePr>
            <p:cNvPr id="61" name="Chart 60"/>
            <p:cNvGraphicFramePr/>
            <p:nvPr>
              <p:extLst>
                <p:ext uri="{D42A27DB-BD31-4B8C-83A1-F6EECF244321}">
                  <p14:modId xmlns:p14="http://schemas.microsoft.com/office/powerpoint/2010/main" val="3719354717"/>
                </p:ext>
              </p:extLst>
            </p:nvPr>
          </p:nvGraphicFramePr>
          <p:xfrm>
            <a:off x="8027545" y="4023192"/>
            <a:ext cx="2179573" cy="1195057"/>
          </p:xfrm>
          <a:graphic>
            <a:graphicData uri="http://schemas.openxmlformats.org/drawingml/2006/chart">
              <c:chart xmlns:c="http://schemas.openxmlformats.org/drawingml/2006/chart" xmlns:r="http://schemas.openxmlformats.org/officeDocument/2006/relationships" r:id="rId7"/>
            </a:graphicData>
          </a:graphic>
        </p:graphicFrame>
        <p:sp>
          <p:nvSpPr>
            <p:cNvPr id="62" name="Text Box 10"/>
            <p:cNvSpPr txBox="1">
              <a:spLocks noChangeArrowheads="1"/>
            </p:cNvSpPr>
            <p:nvPr/>
          </p:nvSpPr>
          <p:spPr bwMode="auto">
            <a:xfrm>
              <a:off x="7928610" y="3689917"/>
              <a:ext cx="2377440" cy="274320"/>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200" b="1" dirty="0">
                  <a:solidFill>
                    <a:schemeClr val="bg1"/>
                  </a:solidFill>
                </a:rPr>
                <a:t>Text</a:t>
              </a:r>
            </a:p>
          </p:txBody>
        </p:sp>
      </p:grpSp>
      <p:sp>
        <p:nvSpPr>
          <p:cNvPr id="29" name="Text Placeholder 27"/>
          <p:cNvSpPr txBox="1">
            <a:spLocks/>
          </p:cNvSpPr>
          <p:nvPr/>
        </p:nvSpPr>
        <p:spPr>
          <a:xfrm>
            <a:off x="515937" y="6121014"/>
            <a:ext cx="9758364" cy="274320"/>
          </a:xfrm>
          <a:prstGeom prst="rect">
            <a:avLst/>
          </a:prstGeom>
        </p:spPr>
        <p:txBody>
          <a:bodyPr lIns="0" tIns="0" rIns="0" bIns="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spcAft>
                <a:spcPts val="0"/>
              </a:spcAft>
            </a:pPr>
            <a:r>
              <a:rPr lang="en-US" sz="900" dirty="0"/>
              <a:t>Source: </a:t>
            </a:r>
          </a:p>
          <a:p>
            <a:pPr>
              <a:lnSpc>
                <a:spcPct val="90000"/>
              </a:lnSpc>
              <a:spcAft>
                <a:spcPts val="0"/>
              </a:spcAft>
            </a:pPr>
            <a:r>
              <a:rPr lang="en-US" sz="900" dirty="0"/>
              <a:t>Note: </a:t>
            </a:r>
          </a:p>
        </p:txBody>
      </p:sp>
      <p:sp>
        <p:nvSpPr>
          <p:cNvPr id="30" name="Text Placeholder 5"/>
          <p:cNvSpPr txBox="1">
            <a:spLocks/>
          </p:cNvSpPr>
          <p:nvPr/>
        </p:nvSpPr>
        <p:spPr>
          <a:xfrm>
            <a:off x="501650" y="1664209"/>
            <a:ext cx="9790113" cy="413480"/>
          </a:xfrm>
          <a:prstGeom prst="rect">
            <a:avLst/>
          </a:prstGeom>
        </p:spPr>
        <p:txBody>
          <a:bodyPr lIns="0" tIns="0" rIns="0" bIns="0"/>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300" dirty="0"/>
              <a:t>Chart title runs here (units)</a:t>
            </a:r>
          </a:p>
        </p:txBody>
      </p:sp>
      <p:sp>
        <p:nvSpPr>
          <p:cNvPr id="27" name="Text Box 12">
            <a:extLst>
              <a:ext uri="{FF2B5EF4-FFF2-40B4-BE49-F238E27FC236}">
                <a16:creationId xmlns:a16="http://schemas.microsoft.com/office/drawing/2014/main" id="{0BD1A0B4-564A-BC47-847D-B41EA6A10C1B}"/>
              </a:ext>
            </a:extLst>
          </p:cNvPr>
          <p:cNvSpPr txBox="1">
            <a:spLocks noChangeArrowheads="1"/>
          </p:cNvSpPr>
          <p:nvPr/>
        </p:nvSpPr>
        <p:spPr bwMode="auto">
          <a:xfrm>
            <a:off x="9002233" y="-1"/>
            <a:ext cx="3189767" cy="698501"/>
          </a:xfrm>
          <a:prstGeom prst="rect">
            <a:avLst/>
          </a:prstGeom>
          <a:solidFill>
            <a:srgbClr val="FFCD00"/>
          </a:solidFill>
          <a:ln w="6350" algn="ctr">
            <a:noFill/>
            <a:miter lim="800000"/>
            <a:headEnd/>
            <a:tailEnd/>
          </a:ln>
        </p:spPr>
        <p:txBody>
          <a:bodyPr wrap="square" lIns="88900" tIns="88900" rIns="88900" bIns="88900">
            <a:noAutofit/>
          </a:bodyPr>
          <a:lstStyle/>
          <a:p>
            <a:pPr>
              <a:tabLst>
                <a:tab pos="180975" algn="l"/>
                <a:tab pos="542925" algn="l"/>
                <a:tab pos="893763" algn="l"/>
                <a:tab pos="1254125" algn="l"/>
                <a:tab pos="1616075" algn="l"/>
              </a:tabLst>
              <a:defRPr/>
            </a:pPr>
            <a:r>
              <a:rPr lang="en-US" altLang="ja-JP" sz="1000" b="1" dirty="0">
                <a:ea typeface="ＭＳ Ｐゴシック" pitchFamily="50" charset="-128"/>
              </a:rPr>
              <a:t>Note:</a:t>
            </a:r>
          </a:p>
          <a:p>
            <a:pPr>
              <a:tabLst>
                <a:tab pos="180975" algn="l"/>
                <a:tab pos="542925" algn="l"/>
                <a:tab pos="893763" algn="l"/>
                <a:tab pos="1254125" algn="l"/>
                <a:tab pos="1616075" algn="l"/>
              </a:tabLst>
              <a:defRPr/>
            </a:pPr>
            <a:r>
              <a:rPr lang="en-US" altLang="ja-JP" sz="1000" dirty="0">
                <a:ea typeface="ＭＳ Ｐゴシック" pitchFamily="50" charset="-128"/>
              </a:rPr>
              <a:t>You can use these marks on the </a:t>
            </a:r>
            <a:r>
              <a:rPr lang="en-US" sz="1000" dirty="0">
                <a:ea typeface="ＭＳ Ｐゴシック" pitchFamily="50" charset="-128"/>
              </a:rPr>
              <a:t>driver tree charts</a:t>
            </a:r>
            <a:r>
              <a:rPr lang="en-US" altLang="ja-JP" sz="1000" dirty="0">
                <a:ea typeface="ＭＳ Ｐゴシック" pitchFamily="50" charset="-128"/>
              </a:rPr>
              <a:t>.</a:t>
            </a:r>
          </a:p>
          <a:p>
            <a:pPr>
              <a:tabLst>
                <a:tab pos="180975" algn="l"/>
                <a:tab pos="542925" algn="l"/>
                <a:tab pos="893763" algn="l"/>
                <a:tab pos="1254125" algn="l"/>
                <a:tab pos="1616075" algn="l"/>
              </a:tabLst>
              <a:defRPr/>
            </a:pPr>
            <a:r>
              <a:rPr lang="en-US" altLang="ja-JP" sz="1000" dirty="0">
                <a:ea typeface="ＭＳ Ｐゴシック" pitchFamily="50" charset="-128"/>
              </a:rPr>
              <a:t>	</a:t>
            </a:r>
            <a:r>
              <a:rPr lang="en-US" altLang="ja-JP" sz="1000" b="1" dirty="0">
                <a:ea typeface="ＭＳ Ｐゴシック" pitchFamily="50" charset="-128"/>
              </a:rPr>
              <a:t>X	+	-	/	</a:t>
            </a:r>
            <a:r>
              <a:rPr lang="en-US" altLang="ja-JP" sz="1000" b="1" i="1" dirty="0">
                <a:ea typeface="ＭＳ Ｐゴシック" pitchFamily="50" charset="-128"/>
              </a:rPr>
              <a:t>f</a:t>
            </a:r>
            <a:endParaRPr lang="en-US" sz="1000" b="1" i="1" dirty="0">
              <a:ea typeface="ＭＳ Ｐゴシック" pitchFamily="50" charset="-128"/>
            </a:endParaRPr>
          </a:p>
        </p:txBody>
      </p:sp>
    </p:spTree>
    <p:extLst>
      <p:ext uri="{BB962C8B-B14F-4D97-AF65-F5344CB8AC3E}">
        <p14:creationId xmlns:p14="http://schemas.microsoft.com/office/powerpoint/2010/main" val="387449053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00.xml><?xml version="1.0" encoding="utf-8"?>
<p:tagLst xmlns:a="http://schemas.openxmlformats.org/drawingml/2006/main" xmlns:r="http://schemas.openxmlformats.org/officeDocument/2006/relationships" xmlns:p="http://schemas.openxmlformats.org/presentationml/2006/main">
  <p:tag name="NUM" val="58"/>
</p:tagLst>
</file>

<file path=ppt/tags/tag101.xml><?xml version="1.0" encoding="utf-8"?>
<p:tagLst xmlns:a="http://schemas.openxmlformats.org/drawingml/2006/main" xmlns:r="http://schemas.openxmlformats.org/officeDocument/2006/relationships" xmlns:p="http://schemas.openxmlformats.org/presentationml/2006/main">
  <p:tag name="NUM" val="116"/>
</p:tagLst>
</file>

<file path=ppt/tags/tag102.xml><?xml version="1.0" encoding="utf-8"?>
<p:tagLst xmlns:a="http://schemas.openxmlformats.org/drawingml/2006/main" xmlns:r="http://schemas.openxmlformats.org/officeDocument/2006/relationships" xmlns:p="http://schemas.openxmlformats.org/presentationml/2006/main">
  <p:tag name="NUM" val="54"/>
</p:tagLst>
</file>

<file path=ppt/tags/tag103.xml><?xml version="1.0" encoding="utf-8"?>
<p:tagLst xmlns:a="http://schemas.openxmlformats.org/drawingml/2006/main" xmlns:r="http://schemas.openxmlformats.org/officeDocument/2006/relationships" xmlns:p="http://schemas.openxmlformats.org/presentationml/2006/main">
  <p:tag name="NUM" val="106"/>
</p:tagLst>
</file>

<file path=ppt/tags/tag104.xml><?xml version="1.0" encoding="utf-8"?>
<p:tagLst xmlns:a="http://schemas.openxmlformats.org/drawingml/2006/main" xmlns:r="http://schemas.openxmlformats.org/officeDocument/2006/relationships" xmlns:p="http://schemas.openxmlformats.org/presentationml/2006/main">
  <p:tag name="NUM" val="40"/>
</p:tagLst>
</file>

<file path=ppt/tags/tag105.xml><?xml version="1.0" encoding="utf-8"?>
<p:tagLst xmlns:a="http://schemas.openxmlformats.org/drawingml/2006/main" xmlns:r="http://schemas.openxmlformats.org/officeDocument/2006/relationships" xmlns:p="http://schemas.openxmlformats.org/presentationml/2006/main">
  <p:tag name="NUM" val="55"/>
</p:tagLst>
</file>

<file path=ppt/tags/tag106.xml><?xml version="1.0" encoding="utf-8"?>
<p:tagLst xmlns:a="http://schemas.openxmlformats.org/drawingml/2006/main" xmlns:r="http://schemas.openxmlformats.org/officeDocument/2006/relationships" xmlns:p="http://schemas.openxmlformats.org/presentationml/2006/main">
  <p:tag name="NUM" val="48"/>
</p:tagLst>
</file>

<file path=ppt/tags/tag107.xml><?xml version="1.0" encoding="utf-8"?>
<p:tagLst xmlns:a="http://schemas.openxmlformats.org/drawingml/2006/main" xmlns:r="http://schemas.openxmlformats.org/officeDocument/2006/relationships" xmlns:p="http://schemas.openxmlformats.org/presentationml/2006/main">
  <p:tag name="NUM" val="7"/>
</p:tagLst>
</file>

<file path=ppt/tags/tag108.xml><?xml version="1.0" encoding="utf-8"?>
<p:tagLst xmlns:a="http://schemas.openxmlformats.org/drawingml/2006/main" xmlns:r="http://schemas.openxmlformats.org/officeDocument/2006/relationships" xmlns:p="http://schemas.openxmlformats.org/presentationml/2006/main">
  <p:tag name="NUM" val="7"/>
</p:tagLst>
</file>

<file path=ppt/tags/tag109.xml><?xml version="1.0" encoding="utf-8"?>
<p:tagLst xmlns:a="http://schemas.openxmlformats.org/drawingml/2006/main" xmlns:r="http://schemas.openxmlformats.org/officeDocument/2006/relationships" xmlns:p="http://schemas.openxmlformats.org/presentationml/2006/main">
  <p:tag name="NUM" val="7"/>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Z6U2HC7FTF6PyUnxTQv.j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ztR.Ue6WTxebUF.yeoJk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5.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6.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7.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8.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1.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2.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3.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4.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Vr_LdE.a0KGUtpSHef9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h13sjaCfESbbjsOJEKB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xjr80JyZ0aqiSTAbyd2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BURaAglRkufYf7nhhaKh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7.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48.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4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8amenl.dEWtvIwbng.an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hBHwGdDLEGXNQHHZfkI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9emry4tTEmXQzgyh.Ey6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5vXPMcQClEyQ3GBi61TTZ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7aFJfLs50SD61yleva6c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PtTbDlVv0ia3fxvEKZv3g"/>
</p:tagLst>
</file>

<file path=ppt/tags/tag56.xml><?xml version="1.0" encoding="utf-8"?>
<p:tagLst xmlns:a="http://schemas.openxmlformats.org/drawingml/2006/main" xmlns:r="http://schemas.openxmlformats.org/officeDocument/2006/relationships" xmlns:p="http://schemas.openxmlformats.org/presentationml/2006/main">
  <p:tag name="NUM" val="2"/>
</p:tagLst>
</file>

<file path=ppt/tags/tag57.xml><?xml version="1.0" encoding="utf-8"?>
<p:tagLst xmlns:a="http://schemas.openxmlformats.org/drawingml/2006/main" xmlns:r="http://schemas.openxmlformats.org/officeDocument/2006/relationships" xmlns:p="http://schemas.openxmlformats.org/presentationml/2006/main">
  <p:tag name="NUM" val="4"/>
</p:tagLst>
</file>

<file path=ppt/tags/tag58.xml><?xml version="1.0" encoding="utf-8"?>
<p:tagLst xmlns:a="http://schemas.openxmlformats.org/drawingml/2006/main" xmlns:r="http://schemas.openxmlformats.org/officeDocument/2006/relationships" xmlns:p="http://schemas.openxmlformats.org/presentationml/2006/main">
  <p:tag name="NUM" val="5"/>
</p:tagLst>
</file>

<file path=ppt/tags/tag59.xml><?xml version="1.0" encoding="utf-8"?>
<p:tagLst xmlns:a="http://schemas.openxmlformats.org/drawingml/2006/main" xmlns:r="http://schemas.openxmlformats.org/officeDocument/2006/relationships" xmlns:p="http://schemas.openxmlformats.org/presentationml/2006/main">
  <p:tag name="NUM"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qBBvzvdJEeeIyH.0M4QpA"/>
</p:tagLst>
</file>

<file path=ppt/tags/tag60.xml><?xml version="1.0" encoding="utf-8"?>
<p:tagLst xmlns:a="http://schemas.openxmlformats.org/drawingml/2006/main" xmlns:r="http://schemas.openxmlformats.org/officeDocument/2006/relationships" xmlns:p="http://schemas.openxmlformats.org/presentationml/2006/main">
  <p:tag name="NUM" val="7"/>
</p:tagLst>
</file>

<file path=ppt/tags/tag61.xml><?xml version="1.0" encoding="utf-8"?>
<p:tagLst xmlns:a="http://schemas.openxmlformats.org/drawingml/2006/main" xmlns:r="http://schemas.openxmlformats.org/officeDocument/2006/relationships" xmlns:p="http://schemas.openxmlformats.org/presentationml/2006/main">
  <p:tag name="NUM" val="8"/>
</p:tagLst>
</file>

<file path=ppt/tags/tag62.xml><?xml version="1.0" encoding="utf-8"?>
<p:tagLst xmlns:a="http://schemas.openxmlformats.org/drawingml/2006/main" xmlns:r="http://schemas.openxmlformats.org/officeDocument/2006/relationships" xmlns:p="http://schemas.openxmlformats.org/presentationml/2006/main">
  <p:tag name="NUM" val="9"/>
</p:tagLst>
</file>

<file path=ppt/tags/tag63.xml><?xml version="1.0" encoding="utf-8"?>
<p:tagLst xmlns:a="http://schemas.openxmlformats.org/drawingml/2006/main" xmlns:r="http://schemas.openxmlformats.org/officeDocument/2006/relationships" xmlns:p="http://schemas.openxmlformats.org/presentationml/2006/main">
  <p:tag name="NUM" val="10"/>
</p:tagLst>
</file>

<file path=ppt/tags/tag64.xml><?xml version="1.0" encoding="utf-8"?>
<p:tagLst xmlns:a="http://schemas.openxmlformats.org/drawingml/2006/main" xmlns:r="http://schemas.openxmlformats.org/officeDocument/2006/relationships" xmlns:p="http://schemas.openxmlformats.org/presentationml/2006/main">
  <p:tag name="NUM" val="11"/>
</p:tagLst>
</file>

<file path=ppt/tags/tag65.xml><?xml version="1.0" encoding="utf-8"?>
<p:tagLst xmlns:a="http://schemas.openxmlformats.org/drawingml/2006/main" xmlns:r="http://schemas.openxmlformats.org/officeDocument/2006/relationships" xmlns:p="http://schemas.openxmlformats.org/presentationml/2006/main">
  <p:tag name="NUM" val="12"/>
</p:tagLst>
</file>

<file path=ppt/tags/tag66.xml><?xml version="1.0" encoding="utf-8"?>
<p:tagLst xmlns:a="http://schemas.openxmlformats.org/drawingml/2006/main" xmlns:r="http://schemas.openxmlformats.org/officeDocument/2006/relationships" xmlns:p="http://schemas.openxmlformats.org/presentationml/2006/main">
  <p:tag name="NUM" val="13"/>
</p:tagLst>
</file>

<file path=ppt/tags/tag67.xml><?xml version="1.0" encoding="utf-8"?>
<p:tagLst xmlns:a="http://schemas.openxmlformats.org/drawingml/2006/main" xmlns:r="http://schemas.openxmlformats.org/officeDocument/2006/relationships" xmlns:p="http://schemas.openxmlformats.org/presentationml/2006/main">
  <p:tag name="NUM" val="14"/>
</p:tagLst>
</file>

<file path=ppt/tags/tag68.xml><?xml version="1.0" encoding="utf-8"?>
<p:tagLst xmlns:a="http://schemas.openxmlformats.org/drawingml/2006/main" xmlns:r="http://schemas.openxmlformats.org/officeDocument/2006/relationships" xmlns:p="http://schemas.openxmlformats.org/presentationml/2006/main">
  <p:tag name="NUM" val="15"/>
</p:tagLst>
</file>

<file path=ppt/tags/tag69.xml><?xml version="1.0" encoding="utf-8"?>
<p:tagLst xmlns:a="http://schemas.openxmlformats.org/drawingml/2006/main" xmlns:r="http://schemas.openxmlformats.org/officeDocument/2006/relationships" xmlns:p="http://schemas.openxmlformats.org/presentationml/2006/main">
  <p:tag name="NUM" val="1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70.xml><?xml version="1.0" encoding="utf-8"?>
<p:tagLst xmlns:a="http://schemas.openxmlformats.org/drawingml/2006/main" xmlns:r="http://schemas.openxmlformats.org/officeDocument/2006/relationships" xmlns:p="http://schemas.openxmlformats.org/presentationml/2006/main">
  <p:tag name="NUM" val="17"/>
</p:tagLst>
</file>

<file path=ppt/tags/tag71.xml><?xml version="1.0" encoding="utf-8"?>
<p:tagLst xmlns:a="http://schemas.openxmlformats.org/drawingml/2006/main" xmlns:r="http://schemas.openxmlformats.org/officeDocument/2006/relationships" xmlns:p="http://schemas.openxmlformats.org/presentationml/2006/main">
  <p:tag name="NUM" val="18"/>
</p:tagLst>
</file>

<file path=ppt/tags/tag72.xml><?xml version="1.0" encoding="utf-8"?>
<p:tagLst xmlns:a="http://schemas.openxmlformats.org/drawingml/2006/main" xmlns:r="http://schemas.openxmlformats.org/officeDocument/2006/relationships" xmlns:p="http://schemas.openxmlformats.org/presentationml/2006/main">
  <p:tag name="NUM" val="19"/>
</p:tagLst>
</file>

<file path=ppt/tags/tag73.xml><?xml version="1.0" encoding="utf-8"?>
<p:tagLst xmlns:a="http://schemas.openxmlformats.org/drawingml/2006/main" xmlns:r="http://schemas.openxmlformats.org/officeDocument/2006/relationships" xmlns:p="http://schemas.openxmlformats.org/presentationml/2006/main">
  <p:tag name="NUM" val="20"/>
</p:tagLst>
</file>

<file path=ppt/tags/tag74.xml><?xml version="1.0" encoding="utf-8"?>
<p:tagLst xmlns:a="http://schemas.openxmlformats.org/drawingml/2006/main" xmlns:r="http://schemas.openxmlformats.org/officeDocument/2006/relationships" xmlns:p="http://schemas.openxmlformats.org/presentationml/2006/main">
  <p:tag name="NUM" val="21"/>
</p:tagLst>
</file>

<file path=ppt/tags/tag75.xml><?xml version="1.0" encoding="utf-8"?>
<p:tagLst xmlns:a="http://schemas.openxmlformats.org/drawingml/2006/main" xmlns:r="http://schemas.openxmlformats.org/officeDocument/2006/relationships" xmlns:p="http://schemas.openxmlformats.org/presentationml/2006/main">
  <p:tag name="NUM" val="24"/>
</p:tagLst>
</file>

<file path=ppt/tags/tag76.xml><?xml version="1.0" encoding="utf-8"?>
<p:tagLst xmlns:a="http://schemas.openxmlformats.org/drawingml/2006/main" xmlns:r="http://schemas.openxmlformats.org/officeDocument/2006/relationships" xmlns:p="http://schemas.openxmlformats.org/presentationml/2006/main">
  <p:tag name="NUM" val="26"/>
</p:tagLst>
</file>

<file path=ppt/tags/tag77.xml><?xml version="1.0" encoding="utf-8"?>
<p:tagLst xmlns:a="http://schemas.openxmlformats.org/drawingml/2006/main" xmlns:r="http://schemas.openxmlformats.org/officeDocument/2006/relationships" xmlns:p="http://schemas.openxmlformats.org/presentationml/2006/main">
  <p:tag name="NUM" val="27"/>
</p:tagLst>
</file>

<file path=ppt/tags/tag78.xml><?xml version="1.0" encoding="utf-8"?>
<p:tagLst xmlns:a="http://schemas.openxmlformats.org/drawingml/2006/main" xmlns:r="http://schemas.openxmlformats.org/officeDocument/2006/relationships" xmlns:p="http://schemas.openxmlformats.org/presentationml/2006/main">
  <p:tag name="NUM" val="28"/>
</p:tagLst>
</file>

<file path=ppt/tags/tag79.xml><?xml version="1.0" encoding="utf-8"?>
<p:tagLst xmlns:a="http://schemas.openxmlformats.org/drawingml/2006/main" xmlns:r="http://schemas.openxmlformats.org/officeDocument/2006/relationships" xmlns:p="http://schemas.openxmlformats.org/presentationml/2006/main">
  <p:tag name="NUM" val="29"/>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80.xml><?xml version="1.0" encoding="utf-8"?>
<p:tagLst xmlns:a="http://schemas.openxmlformats.org/drawingml/2006/main" xmlns:r="http://schemas.openxmlformats.org/officeDocument/2006/relationships" xmlns:p="http://schemas.openxmlformats.org/presentationml/2006/main">
  <p:tag name="NUM" val="9"/>
</p:tagLst>
</file>

<file path=ppt/tags/tag81.xml><?xml version="1.0" encoding="utf-8"?>
<p:tagLst xmlns:a="http://schemas.openxmlformats.org/drawingml/2006/main" xmlns:r="http://schemas.openxmlformats.org/officeDocument/2006/relationships" xmlns:p="http://schemas.openxmlformats.org/presentationml/2006/main">
  <p:tag name="NUM" val="10"/>
</p:tagLst>
</file>

<file path=ppt/tags/tag82.xml><?xml version="1.0" encoding="utf-8"?>
<p:tagLst xmlns:a="http://schemas.openxmlformats.org/drawingml/2006/main" xmlns:r="http://schemas.openxmlformats.org/officeDocument/2006/relationships" xmlns:p="http://schemas.openxmlformats.org/presentationml/2006/main">
  <p:tag name="NUM" val="11"/>
</p:tagLst>
</file>

<file path=ppt/tags/tag83.xml><?xml version="1.0" encoding="utf-8"?>
<p:tagLst xmlns:a="http://schemas.openxmlformats.org/drawingml/2006/main" xmlns:r="http://schemas.openxmlformats.org/officeDocument/2006/relationships" xmlns:p="http://schemas.openxmlformats.org/presentationml/2006/main">
  <p:tag name="NUM" val="12"/>
</p:tagLst>
</file>

<file path=ppt/tags/tag84.xml><?xml version="1.0" encoding="utf-8"?>
<p:tagLst xmlns:a="http://schemas.openxmlformats.org/drawingml/2006/main" xmlns:r="http://schemas.openxmlformats.org/officeDocument/2006/relationships" xmlns:p="http://schemas.openxmlformats.org/presentationml/2006/main">
  <p:tag name="NUM" val="14"/>
</p:tagLst>
</file>

<file path=ppt/tags/tag85.xml><?xml version="1.0" encoding="utf-8"?>
<p:tagLst xmlns:a="http://schemas.openxmlformats.org/drawingml/2006/main" xmlns:r="http://schemas.openxmlformats.org/officeDocument/2006/relationships" xmlns:p="http://schemas.openxmlformats.org/presentationml/2006/main">
  <p:tag name="NUM" val="8"/>
</p:tagLst>
</file>

<file path=ppt/tags/tag86.xml><?xml version="1.0" encoding="utf-8"?>
<p:tagLst xmlns:a="http://schemas.openxmlformats.org/drawingml/2006/main" xmlns:r="http://schemas.openxmlformats.org/officeDocument/2006/relationships" xmlns:p="http://schemas.openxmlformats.org/presentationml/2006/main">
  <p:tag name="NUM" val="9"/>
</p:tagLst>
</file>

<file path=ppt/tags/tag87.xml><?xml version="1.0" encoding="utf-8"?>
<p:tagLst xmlns:a="http://schemas.openxmlformats.org/drawingml/2006/main" xmlns:r="http://schemas.openxmlformats.org/officeDocument/2006/relationships" xmlns:p="http://schemas.openxmlformats.org/presentationml/2006/main">
  <p:tag name="NUM" val="10"/>
</p:tagLst>
</file>

<file path=ppt/tags/tag88.xml><?xml version="1.0" encoding="utf-8"?>
<p:tagLst xmlns:a="http://schemas.openxmlformats.org/drawingml/2006/main" xmlns:r="http://schemas.openxmlformats.org/officeDocument/2006/relationships" xmlns:p="http://schemas.openxmlformats.org/presentationml/2006/main">
  <p:tag name="NUM" val="11"/>
</p:tagLst>
</file>

<file path=ppt/tags/tag89.xml><?xml version="1.0" encoding="utf-8"?>
<p:tagLst xmlns:a="http://schemas.openxmlformats.org/drawingml/2006/main" xmlns:r="http://schemas.openxmlformats.org/officeDocument/2006/relationships" xmlns:p="http://schemas.openxmlformats.org/presentationml/2006/main">
  <p:tag name="NUM" val="1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90.xml><?xml version="1.0" encoding="utf-8"?>
<p:tagLst xmlns:a="http://schemas.openxmlformats.org/drawingml/2006/main" xmlns:r="http://schemas.openxmlformats.org/officeDocument/2006/relationships" xmlns:p="http://schemas.openxmlformats.org/presentationml/2006/main">
  <p:tag name="NUM" val="14"/>
</p:tagLst>
</file>

<file path=ppt/tags/tag91.xml><?xml version="1.0" encoding="utf-8"?>
<p:tagLst xmlns:a="http://schemas.openxmlformats.org/drawingml/2006/main" xmlns:r="http://schemas.openxmlformats.org/officeDocument/2006/relationships" xmlns:p="http://schemas.openxmlformats.org/presentationml/2006/main">
  <p:tag name="NUM" val="8"/>
</p:tagLst>
</file>

<file path=ppt/tags/tag92.xml><?xml version="1.0" encoding="utf-8"?>
<p:tagLst xmlns:a="http://schemas.openxmlformats.org/drawingml/2006/main" xmlns:r="http://schemas.openxmlformats.org/officeDocument/2006/relationships" xmlns:p="http://schemas.openxmlformats.org/presentationml/2006/main">
  <p:tag name="NUM" val="62"/>
</p:tagLst>
</file>

<file path=ppt/tags/tag93.xml><?xml version="1.0" encoding="utf-8"?>
<p:tagLst xmlns:a="http://schemas.openxmlformats.org/drawingml/2006/main" xmlns:r="http://schemas.openxmlformats.org/officeDocument/2006/relationships" xmlns:p="http://schemas.openxmlformats.org/presentationml/2006/main">
  <p:tag name="NUM" val="8"/>
</p:tagLst>
</file>

<file path=ppt/tags/tag94.xml><?xml version="1.0" encoding="utf-8"?>
<p:tagLst xmlns:a="http://schemas.openxmlformats.org/drawingml/2006/main" xmlns:r="http://schemas.openxmlformats.org/officeDocument/2006/relationships" xmlns:p="http://schemas.openxmlformats.org/presentationml/2006/main">
  <p:tag name="NUM" val="58"/>
</p:tagLst>
</file>

<file path=ppt/tags/tag95.xml><?xml version="1.0" encoding="utf-8"?>
<p:tagLst xmlns:a="http://schemas.openxmlformats.org/drawingml/2006/main" xmlns:r="http://schemas.openxmlformats.org/officeDocument/2006/relationships" xmlns:p="http://schemas.openxmlformats.org/presentationml/2006/main">
  <p:tag name="NUM" val="116"/>
</p:tagLst>
</file>

<file path=ppt/tags/tag96.xml><?xml version="1.0" encoding="utf-8"?>
<p:tagLst xmlns:a="http://schemas.openxmlformats.org/drawingml/2006/main" xmlns:r="http://schemas.openxmlformats.org/officeDocument/2006/relationships" xmlns:p="http://schemas.openxmlformats.org/presentationml/2006/main">
  <p:tag name="NUM" val="54"/>
</p:tagLst>
</file>

<file path=ppt/tags/tag97.xml><?xml version="1.0" encoding="utf-8"?>
<p:tagLst xmlns:a="http://schemas.openxmlformats.org/drawingml/2006/main" xmlns:r="http://schemas.openxmlformats.org/officeDocument/2006/relationships" xmlns:p="http://schemas.openxmlformats.org/presentationml/2006/main">
  <p:tag name="NUM" val="106"/>
</p:tagLst>
</file>

<file path=ppt/tags/tag98.xml><?xml version="1.0" encoding="utf-8"?>
<p:tagLst xmlns:a="http://schemas.openxmlformats.org/drawingml/2006/main" xmlns:r="http://schemas.openxmlformats.org/officeDocument/2006/relationships" xmlns:p="http://schemas.openxmlformats.org/presentationml/2006/main">
  <p:tag name="NUM" val="62"/>
</p:tagLst>
</file>

<file path=ppt/tags/tag99.xml><?xml version="1.0" encoding="utf-8"?>
<p:tagLst xmlns:a="http://schemas.openxmlformats.org/drawingml/2006/main" xmlns:r="http://schemas.openxmlformats.org/officeDocument/2006/relationships" xmlns:p="http://schemas.openxmlformats.org/presentationml/2006/main">
  <p:tag name="NUM" val="8"/>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Global-Timesaver.pptx" id="{3BE65FCB-CA64-4554-B973-42324886969D}" vid="{D4287889-732D-4B22-9A37-79D0160A049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lobal-Timesaver</Template>
  <TotalTime>3</TotalTime>
  <Words>20500</Words>
  <Application>Microsoft Office PowerPoint</Application>
  <PresentationFormat>Widescreen</PresentationFormat>
  <Paragraphs>5673</Paragraphs>
  <Slides>317</Slides>
  <Notes>201</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317</vt:i4>
      </vt:variant>
    </vt:vector>
  </HeadingPairs>
  <TitlesOfParts>
    <vt:vector size="331" baseType="lpstr">
      <vt:lpstr>华文细黑</vt:lpstr>
      <vt:lpstr>Arial</vt:lpstr>
      <vt:lpstr>Calibri</vt:lpstr>
      <vt:lpstr>Calibri Light</vt:lpstr>
      <vt:lpstr>Chronicle Display Black</vt:lpstr>
      <vt:lpstr>Frutiger Next Pro Light</vt:lpstr>
      <vt:lpstr>Gotham Book</vt:lpstr>
      <vt:lpstr>Open Sans</vt:lpstr>
      <vt:lpstr>Times New Roman</vt:lpstr>
      <vt:lpstr>Verdana</vt:lpstr>
      <vt:lpstr>Wingdings</vt:lpstr>
      <vt:lpstr>Wingdings 2</vt:lpstr>
      <vt:lpstr>Deloitte Brand Theme</vt:lpstr>
      <vt:lpstr>think-cell Slide</vt:lpstr>
      <vt:lpstr>Timesaver Charts, tables, diagrams, icons and more</vt:lpstr>
      <vt:lpstr>Contents</vt:lpstr>
      <vt:lpstr>Tables and structured text</vt:lpstr>
      <vt:lpstr>Outline</vt:lpstr>
      <vt:lpstr>Progressive</vt:lpstr>
      <vt:lpstr>Bars</vt:lpstr>
      <vt:lpstr>Quotes and callouts</vt:lpstr>
      <vt:lpstr>Quotes and callouts</vt:lpstr>
      <vt:lpstr>Highlight numbers</vt:lpstr>
      <vt:lpstr>Agenda</vt:lpstr>
      <vt:lpstr>Tables</vt:lpstr>
      <vt:lpstr>Tables</vt:lpstr>
      <vt:lpstr>Tables</vt:lpstr>
      <vt:lpstr>Tables</vt:lpstr>
      <vt:lpstr>Tables</vt:lpstr>
      <vt:lpstr>Tables</vt:lpstr>
      <vt:lpstr>Table with moons</vt:lpstr>
      <vt:lpstr>More moons (a.k.a. Harvey Balls)</vt:lpstr>
      <vt:lpstr>Table with traffic lights</vt:lpstr>
      <vt:lpstr>Table with arrows</vt:lpstr>
      <vt:lpstr>Flow table</vt:lpstr>
      <vt:lpstr>Flow table </vt:lpstr>
      <vt:lpstr>Project timeline</vt:lpstr>
      <vt:lpstr>Text boxes</vt:lpstr>
      <vt:lpstr>Text boxes</vt:lpstr>
      <vt:lpstr>Text boxes</vt:lpstr>
      <vt:lpstr>Text boxes</vt:lpstr>
      <vt:lpstr>Text boxes with arrows</vt:lpstr>
      <vt:lpstr>Text boxes </vt:lpstr>
      <vt:lpstr>Text boxes</vt:lpstr>
      <vt:lpstr>Text boxes</vt:lpstr>
      <vt:lpstr>Text boxes</vt:lpstr>
      <vt:lpstr>Text blocks</vt:lpstr>
      <vt:lpstr>Text blocks </vt:lpstr>
      <vt:lpstr>Text blocks on solid background </vt:lpstr>
      <vt:lpstr>Text blocks</vt:lpstr>
      <vt:lpstr>Text blocks </vt:lpstr>
      <vt:lpstr>Text blocks</vt:lpstr>
      <vt:lpstr>Text blocks </vt:lpstr>
      <vt:lpstr>Text blocks</vt:lpstr>
      <vt:lpstr>Text blocks on solid background</vt:lpstr>
      <vt:lpstr>Steps</vt:lpstr>
      <vt:lpstr>Steps </vt:lpstr>
      <vt:lpstr>Steps </vt:lpstr>
      <vt:lpstr>Steps </vt:lpstr>
      <vt:lpstr>Steps</vt:lpstr>
      <vt:lpstr>Diagonal boxes </vt:lpstr>
      <vt:lpstr>Diagonal boxes</vt:lpstr>
      <vt:lpstr>Diagonal boxes </vt:lpstr>
      <vt:lpstr>Diagonal boxes </vt:lpstr>
      <vt:lpstr>Charts and graphs</vt:lpstr>
      <vt:lpstr>Bar charts </vt:lpstr>
      <vt:lpstr>Horizontal stacked bar chart</vt:lpstr>
      <vt:lpstr>Bar charts</vt:lpstr>
      <vt:lpstr>100% Stacked bar chart</vt:lpstr>
      <vt:lpstr>Bar charts</vt:lpstr>
      <vt:lpstr>Bar charts</vt:lpstr>
      <vt:lpstr>Tornado chart</vt:lpstr>
      <vt:lpstr>Column chart</vt:lpstr>
      <vt:lpstr>Column chart</vt:lpstr>
      <vt:lpstr>Column charts </vt:lpstr>
      <vt:lpstr>Column chart </vt:lpstr>
      <vt:lpstr>Column chart </vt:lpstr>
      <vt:lpstr>Column charts </vt:lpstr>
      <vt:lpstr>Column charts </vt:lpstr>
      <vt:lpstr>Column chart </vt:lpstr>
      <vt:lpstr>Column charts</vt:lpstr>
      <vt:lpstr>Stacked column charts</vt:lpstr>
      <vt:lpstr>Area chart and stacked column charts on solid background</vt:lpstr>
      <vt:lpstr>Area chart</vt:lpstr>
      <vt:lpstr>Pie chart </vt:lpstr>
      <vt:lpstr>Pie charts </vt:lpstr>
      <vt:lpstr>Pie charts </vt:lpstr>
      <vt:lpstr>Pie charts </vt:lpstr>
      <vt:lpstr>Pie chart </vt:lpstr>
      <vt:lpstr>Pie chart </vt:lpstr>
      <vt:lpstr>Pie chart </vt:lpstr>
      <vt:lpstr>Donut chart</vt:lpstr>
      <vt:lpstr>Radial donut chart on solid background</vt:lpstr>
      <vt:lpstr>Multiple donut charts</vt:lpstr>
      <vt:lpstr>Multiple donut charts</vt:lpstr>
      <vt:lpstr>Multiple donut chart &amp; icons</vt:lpstr>
      <vt:lpstr>Radar chart</vt:lpstr>
      <vt:lpstr>Radial donut chart</vt:lpstr>
      <vt:lpstr>Line chart</vt:lpstr>
      <vt:lpstr>Line charts </vt:lpstr>
      <vt:lpstr>Line charts </vt:lpstr>
      <vt:lpstr>Smoothed line chart  </vt:lpstr>
      <vt:lpstr>Smoothed line charts </vt:lpstr>
      <vt:lpstr>Smoothed line charts </vt:lpstr>
      <vt:lpstr>Waterfall </vt:lpstr>
      <vt:lpstr>Waterfall </vt:lpstr>
      <vt:lpstr>Waterfall </vt:lpstr>
      <vt:lpstr>Waterfall </vt:lpstr>
      <vt:lpstr>High-low-median chart </vt:lpstr>
      <vt:lpstr>Stock/elevator chart </vt:lpstr>
      <vt:lpstr>Scatter chart </vt:lpstr>
      <vt:lpstr>Bubble chart </vt:lpstr>
      <vt:lpstr>Driver tree chart </vt:lpstr>
      <vt:lpstr>Curves</vt:lpstr>
      <vt:lpstr>Curves</vt:lpstr>
      <vt:lpstr>Curves</vt:lpstr>
      <vt:lpstr>Curves</vt:lpstr>
      <vt:lpstr>Other</vt:lpstr>
      <vt:lpstr>Other</vt:lpstr>
      <vt:lpstr>Other</vt:lpstr>
      <vt:lpstr>Other</vt:lpstr>
      <vt:lpstr>Other</vt:lpstr>
      <vt:lpstr>Column chart with icons</vt:lpstr>
      <vt:lpstr>Diagrams</vt:lpstr>
      <vt:lpstr>Road diagram</vt:lpstr>
      <vt:lpstr>Process diagram</vt:lpstr>
      <vt:lpstr>Process diagram</vt:lpstr>
      <vt:lpstr>Process diagram</vt:lpstr>
      <vt:lpstr>Process diagram</vt:lpstr>
      <vt:lpstr>Logic trees</vt:lpstr>
      <vt:lpstr>Logic trees</vt:lpstr>
      <vt:lpstr>Logic trees </vt:lpstr>
      <vt:lpstr>Logic trees on black background </vt:lpstr>
      <vt:lpstr>Logic trees </vt:lpstr>
      <vt:lpstr>Logic trees </vt:lpstr>
      <vt:lpstr>Driver trees </vt:lpstr>
      <vt:lpstr>Driver trees </vt:lpstr>
      <vt:lpstr>Driver trees</vt:lpstr>
      <vt:lpstr>Driver trees </vt:lpstr>
      <vt:lpstr>Driver trees </vt:lpstr>
      <vt:lpstr>Organization chart </vt:lpstr>
      <vt:lpstr>Organization chart</vt:lpstr>
      <vt:lpstr>Organization chart</vt:lpstr>
      <vt:lpstr>Driver tree</vt:lpstr>
      <vt:lpstr>Organization chart</vt:lpstr>
      <vt:lpstr>Proposed team structure and responsibilities</vt:lpstr>
      <vt:lpstr>Chevrons</vt:lpstr>
      <vt:lpstr>Pyramid diagrams</vt:lpstr>
      <vt:lpstr>Pyramid diagrams on solid background</vt:lpstr>
      <vt:lpstr>Levels of maturity</vt:lpstr>
      <vt:lpstr>Heat map</vt:lpstr>
      <vt:lpstr>Generic strategy development framework </vt:lpstr>
      <vt:lpstr>Restructuring framework</vt:lpstr>
      <vt:lpstr>Competitive strategy 3.0 framework </vt:lpstr>
      <vt:lpstr>Strategy development</vt:lpstr>
      <vt:lpstr>Strategy development</vt:lpstr>
      <vt:lpstr>Incremental versus backward strategic planning</vt:lpstr>
      <vt:lpstr>Pentagon </vt:lpstr>
      <vt:lpstr>Strategic disciplines</vt:lpstr>
      <vt:lpstr>7S</vt:lpstr>
      <vt:lpstr>3Cs triangle </vt:lpstr>
      <vt:lpstr>Value creation</vt:lpstr>
      <vt:lpstr>Portfolio matrix</vt:lpstr>
      <vt:lpstr>Business portfolio 3x3</vt:lpstr>
      <vt:lpstr>Business portfolio 3x3</vt:lpstr>
      <vt:lpstr>Five forces</vt:lpstr>
      <vt:lpstr>Activity map – generic</vt:lpstr>
      <vt:lpstr>Activity map</vt:lpstr>
      <vt:lpstr>Activity map</vt:lpstr>
      <vt:lpstr>Activity map</vt:lpstr>
      <vt:lpstr>Activity map</vt:lpstr>
      <vt:lpstr>Activity map </vt:lpstr>
      <vt:lpstr>Swimlanes</vt:lpstr>
      <vt:lpstr>Process flow</vt:lpstr>
      <vt:lpstr>Process map</vt:lpstr>
      <vt:lpstr>Chevrons </vt:lpstr>
      <vt:lpstr>Circles </vt:lpstr>
      <vt:lpstr>Circles </vt:lpstr>
      <vt:lpstr>Circles </vt:lpstr>
      <vt:lpstr>Circles</vt:lpstr>
      <vt:lpstr>Venn diagram</vt:lpstr>
      <vt:lpstr>Venn diagrams</vt:lpstr>
      <vt:lpstr>Spheres</vt:lpstr>
      <vt:lpstr>Spheres </vt:lpstr>
      <vt:lpstr>Spheres</vt:lpstr>
      <vt:lpstr>Spheres </vt:lpstr>
      <vt:lpstr>Spheres</vt:lpstr>
      <vt:lpstr>Spheres </vt:lpstr>
      <vt:lpstr>Boxes</vt:lpstr>
      <vt:lpstr>Boxes</vt:lpstr>
      <vt:lpstr>Triangles </vt:lpstr>
      <vt:lpstr>Triangles</vt:lpstr>
      <vt:lpstr>Puzzles </vt:lpstr>
      <vt:lpstr>Puzzles</vt:lpstr>
      <vt:lpstr>Puzzles</vt:lpstr>
      <vt:lpstr>Others</vt:lpstr>
      <vt:lpstr>Linear text</vt:lpstr>
      <vt:lpstr>Expansion</vt:lpstr>
      <vt:lpstr>Diversion</vt:lpstr>
      <vt:lpstr>Continuous</vt:lpstr>
      <vt:lpstr>Cutout</vt:lpstr>
      <vt:lpstr>Linear</vt:lpstr>
      <vt:lpstr>Linear</vt:lpstr>
      <vt:lpstr>Radiating outward</vt:lpstr>
      <vt:lpstr>Expansion</vt:lpstr>
      <vt:lpstr>Step-by-step actions</vt:lpstr>
      <vt:lpstr>Interrelated stages</vt:lpstr>
      <vt:lpstr>Heptagon</vt:lpstr>
      <vt:lpstr>Leverage</vt:lpstr>
      <vt:lpstr>Balance 1</vt:lpstr>
      <vt:lpstr>Jumping point</vt:lpstr>
      <vt:lpstr>Forces at work</vt:lpstr>
      <vt:lpstr>Forced</vt:lpstr>
      <vt:lpstr>Surround</vt:lpstr>
      <vt:lpstr>Flow down</vt:lpstr>
      <vt:lpstr>History</vt:lpstr>
      <vt:lpstr>Timelines</vt:lpstr>
      <vt:lpstr>Timeline</vt:lpstr>
      <vt:lpstr>Timeline</vt:lpstr>
      <vt:lpstr>Gantt chart or timeline chart</vt:lpstr>
      <vt:lpstr>Calendar</vt:lpstr>
      <vt:lpstr>Calendars</vt:lpstr>
      <vt:lpstr>Calendars</vt:lpstr>
      <vt:lpstr>Illustrative graphics, charts and diagrams</vt:lpstr>
      <vt:lpstr>Agenda </vt:lpstr>
      <vt:lpstr>Icon chart</vt:lpstr>
      <vt:lpstr>Icon chart</vt:lpstr>
      <vt:lpstr>Icon towers</vt:lpstr>
      <vt:lpstr>Icon towers</vt:lpstr>
      <vt:lpstr>Progressive wheel x8</vt:lpstr>
      <vt:lpstr>Progressive wheel x6</vt:lpstr>
      <vt:lpstr>Progressive wheel x6</vt:lpstr>
      <vt:lpstr>Circular network</vt:lpstr>
      <vt:lpstr>Circular network</vt:lpstr>
      <vt:lpstr>Circular network numbered</vt:lpstr>
      <vt:lpstr>Circular network numbered</vt:lpstr>
      <vt:lpstr>Square network numbered</vt:lpstr>
      <vt:lpstr>Gameboard</vt:lpstr>
      <vt:lpstr>Other</vt:lpstr>
      <vt:lpstr>Right brain/Left brain</vt:lpstr>
      <vt:lpstr>Innovation</vt:lpstr>
      <vt:lpstr>Progressive motion</vt:lpstr>
      <vt:lpstr>Directional circles</vt:lpstr>
      <vt:lpstr>3D target</vt:lpstr>
      <vt:lpstr>Stacked levels</vt:lpstr>
      <vt:lpstr>Calendar</vt:lpstr>
      <vt:lpstr>Signposts</vt:lpstr>
      <vt:lpstr>Road and signs</vt:lpstr>
      <vt:lpstr>Road and signs</vt:lpstr>
      <vt:lpstr>Structure—building</vt:lpstr>
      <vt:lpstr>Hexagonal structure</vt:lpstr>
      <vt:lpstr>Masked pie charts</vt:lpstr>
      <vt:lpstr>Target chart</vt:lpstr>
      <vt:lpstr>Dynamic tree</vt:lpstr>
      <vt:lpstr>Tools</vt:lpstr>
      <vt:lpstr>Pipeline</vt:lpstr>
      <vt:lpstr>Helix molecule</vt:lpstr>
      <vt:lpstr>Data visualization</vt:lpstr>
      <vt:lpstr>Data visualization</vt:lpstr>
      <vt:lpstr>Data visualization</vt:lpstr>
      <vt:lpstr>Data visualization</vt:lpstr>
      <vt:lpstr>Funnel</vt:lpstr>
      <vt:lpstr>Funnel</vt:lpstr>
      <vt:lpstr>Process chart</vt:lpstr>
      <vt:lpstr>Icon chart</vt:lpstr>
      <vt:lpstr>Venn diagram</vt:lpstr>
      <vt:lpstr>Venn diagram</vt:lpstr>
      <vt:lpstr>Circle diagram</vt:lpstr>
      <vt:lpstr>Circle diagram</vt:lpstr>
      <vt:lpstr>Icon chart</vt:lpstr>
      <vt:lpstr>Icon graphics</vt:lpstr>
      <vt:lpstr>Tree with accompanying text</vt:lpstr>
      <vt:lpstr>Tree with circular text boxes</vt:lpstr>
      <vt:lpstr>Connectors with honeycomb</vt:lpstr>
      <vt:lpstr>Connectors with honeycomb</vt:lpstr>
      <vt:lpstr>Connectors with honeycomb</vt:lpstr>
      <vt:lpstr>Connectors with bubbles</vt:lpstr>
      <vt:lpstr>Connectors with puzzle pieces</vt:lpstr>
      <vt:lpstr>Connectors with puzzle pieces</vt:lpstr>
      <vt:lpstr>Leaves and bubble combined</vt:lpstr>
      <vt:lpstr>Leaves with text</vt:lpstr>
      <vt:lpstr>Leaves with text</vt:lpstr>
      <vt:lpstr>Ranking elements</vt:lpstr>
      <vt:lpstr>Ranking elements</vt:lpstr>
      <vt:lpstr>Ranking elements</vt:lpstr>
      <vt:lpstr>Ranking elements</vt:lpstr>
      <vt:lpstr>Ranking elements</vt:lpstr>
      <vt:lpstr>Ranking elements</vt:lpstr>
      <vt:lpstr>Ranking elements</vt:lpstr>
      <vt:lpstr>Ranking elements</vt:lpstr>
      <vt:lpstr>Ranking elements</vt:lpstr>
      <vt:lpstr>Ranking elements</vt:lpstr>
      <vt:lpstr>Bends</vt:lpstr>
      <vt:lpstr>Bends</vt:lpstr>
      <vt:lpstr>Bends</vt:lpstr>
      <vt:lpstr>Wreath</vt:lpstr>
      <vt:lpstr>Integrated beach ball with textboxes</vt:lpstr>
      <vt:lpstr>Combined ring and pinpoint icons</vt:lpstr>
      <vt:lpstr>Pinwheel with text</vt:lpstr>
      <vt:lpstr>Golf clubs with text boxes</vt:lpstr>
      <vt:lpstr>Integrated triangles and supportive text</vt:lpstr>
      <vt:lpstr>Elevated hoops</vt:lpstr>
      <vt:lpstr>Elevated hoops</vt:lpstr>
      <vt:lpstr>Process circle</vt:lpstr>
      <vt:lpstr>Animations</vt:lpstr>
      <vt:lpstr>PowerPoint Presentation</vt:lpstr>
      <vt:lpstr>Title</vt:lpstr>
      <vt:lpstr>Title</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Iconography</vt:lpstr>
      <vt:lpstr>Appendix</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mesaver Charts, tables, diagrams, icons and more</dc:title>
  <dc:creator>Addela, Deekshith Reddy</dc:creator>
  <cp:lastModifiedBy>Addela, Deekshith Reddy</cp:lastModifiedBy>
  <cp:revision>1</cp:revision>
  <dcterms:created xsi:type="dcterms:W3CDTF">2021-09-10T03:02:54Z</dcterms:created>
  <dcterms:modified xsi:type="dcterms:W3CDTF">2021-09-10T03:0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9-10T03:03:0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86941811-389b-4d3c-90aa-a75ca5640dcc</vt:lpwstr>
  </property>
  <property fmtid="{D5CDD505-2E9C-101B-9397-08002B2CF9AE}" pid="8" name="MSIP_Label_ea60d57e-af5b-4752-ac57-3e4f28ca11dc_ContentBits">
    <vt:lpwstr>0</vt:lpwstr>
  </property>
</Properties>
</file>